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media/image145.jpg" ContentType="image/jpeg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3" r:id="rId4"/>
    <p:sldMasterId id="2147483905" r:id="rId5"/>
    <p:sldMasterId id="2147483941" r:id="rId6"/>
    <p:sldMasterId id="2147483894" r:id="rId7"/>
    <p:sldMasterId id="2147483818" r:id="rId8"/>
    <p:sldMasterId id="2147483808" r:id="rId9"/>
  </p:sldMasterIdLst>
  <p:notesMasterIdLst>
    <p:notesMasterId r:id="rId25"/>
  </p:notesMasterIdLst>
  <p:handoutMasterIdLst>
    <p:handoutMasterId r:id="rId26"/>
  </p:handoutMasterIdLst>
  <p:sldIdLst>
    <p:sldId id="326" r:id="rId10"/>
    <p:sldId id="343" r:id="rId11"/>
    <p:sldId id="311" r:id="rId12"/>
    <p:sldId id="428" r:id="rId13"/>
    <p:sldId id="421" r:id="rId14"/>
    <p:sldId id="426" r:id="rId15"/>
    <p:sldId id="423" r:id="rId16"/>
    <p:sldId id="429" r:id="rId17"/>
    <p:sldId id="324" r:id="rId18"/>
    <p:sldId id="419" r:id="rId19"/>
    <p:sldId id="418" r:id="rId20"/>
    <p:sldId id="435" r:id="rId21"/>
    <p:sldId id="417" r:id="rId22"/>
    <p:sldId id="433" r:id="rId23"/>
    <p:sldId id="364" r:id="rId24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pertine e indici" id="{83F0CF15-2BEB-41A0-A5B0-57220500955F}">
          <p14:sldIdLst>
            <p14:sldId id="326"/>
            <p14:sldId id="343"/>
            <p14:sldId id="311"/>
          </p14:sldIdLst>
        </p14:section>
        <p14:section name="SLIDE fondo chiaro" id="{C0D7B56D-631F-433A-9028-0E4F7F00D9EC}">
          <p14:sldIdLst>
            <p14:sldId id="428"/>
            <p14:sldId id="421"/>
            <p14:sldId id="426"/>
            <p14:sldId id="423"/>
            <p14:sldId id="429"/>
            <p14:sldId id="324"/>
            <p14:sldId id="419"/>
            <p14:sldId id="418"/>
            <p14:sldId id="435"/>
            <p14:sldId id="417"/>
            <p14:sldId id="433"/>
            <p14:sldId id="364"/>
          </p14:sldIdLst>
        </p14:section>
        <p14:section name="Slide fondo scuro" id="{BBA64683-C219-4262-9850-F9D47798AF27}">
          <p14:sldIdLst/>
        </p14:section>
        <p14:section name="Hero text" id="{9598DFB2-569A-402C-AD7C-FA2B1D249BB9}">
          <p14:sldIdLst/>
        </p14:section>
        <p14:section name="Infografiche" id="{C53F0F62-DF6C-2A4A-9D37-D439BC5DDFAC}">
          <p14:sldIdLst/>
        </p14:section>
        <p14:section name="Intermezzi e fine" id="{294E2F99-9EE2-4143-ACFE-FCF4B980C0B6}">
          <p14:sldIdLst/>
        </p14:section>
        <p14:section name="Toolkit" id="{3EAF87D7-E983-4993-ADFF-983E89134A76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EB6E62"/>
    <a:srgbClr val="3C3C3B"/>
    <a:srgbClr val="000000"/>
    <a:srgbClr val="62A830"/>
    <a:srgbClr val="EB1E3B"/>
    <a:srgbClr val="EFA049"/>
    <a:srgbClr val="22375B"/>
    <a:srgbClr val="DADCDA"/>
    <a:srgbClr val="9A94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F05CE8E-6C96-4376-968D-2528B0E0B396}" v="323" dt="2024-06-12T20:41:43.98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02" autoAdjust="0"/>
    <p:restoredTop sz="96357" autoAdjust="0"/>
  </p:normalViewPr>
  <p:slideViewPr>
    <p:cSldViewPr snapToGrid="0" showGuides="1">
      <p:cViewPr varScale="1">
        <p:scale>
          <a:sx n="91" d="100"/>
          <a:sy n="91" d="100"/>
        </p:scale>
        <p:origin x="518" y="67"/>
      </p:cViewPr>
      <p:guideLst/>
    </p:cSldViewPr>
  </p:slideViewPr>
  <p:outlineViewPr>
    <p:cViewPr>
      <p:scale>
        <a:sx n="33" d="100"/>
        <a:sy n="33" d="100"/>
      </p:scale>
      <p:origin x="0" y="-7242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20" d="100"/>
          <a:sy n="120" d="100"/>
        </p:scale>
        <p:origin x="3714" y="12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openxmlformats.org/officeDocument/2006/relationships/customXml" Target="../customXml/item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presProps" Target="pres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tags" Target="tags/tag1.xml"/><Relationship Id="rId30" Type="http://schemas.openxmlformats.org/officeDocument/2006/relationships/theme" Target="theme/theme1.xml"/><Relationship Id="rId35" Type="http://schemas.openxmlformats.org/officeDocument/2006/relationships/customXml" Target="../customXml/item5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NNACCI LORENZO" userId="d189ff1e-cd06-482b-a187-a1ac098b7893" providerId="ADAL" clId="{AF05CE8E-6C96-4376-968D-2528B0E0B396}"/>
    <pc:docChg chg="undo custSel addSld delSld modSld sldOrd modSection replTag">
      <pc:chgData name="VANNACCI LORENZO" userId="d189ff1e-cd06-482b-a187-a1ac098b7893" providerId="ADAL" clId="{AF05CE8E-6C96-4376-968D-2528B0E0B396}" dt="2024-06-12T21:05:20.141" v="2019" actId="1037"/>
      <pc:docMkLst>
        <pc:docMk/>
      </pc:docMkLst>
      <pc:sldChg chg="modSp">
        <pc:chgData name="VANNACCI LORENZO" userId="d189ff1e-cd06-482b-a187-a1ac098b7893" providerId="ADAL" clId="{AF05CE8E-6C96-4376-968D-2528B0E0B396}" dt="2024-06-12T20:37:11.908" v="1812" actId="20577"/>
        <pc:sldMkLst>
          <pc:docMk/>
          <pc:sldMk cId="169622378" sldId="324"/>
        </pc:sldMkLst>
        <pc:spChg chg="mod">
          <ac:chgData name="VANNACCI LORENZO" userId="d189ff1e-cd06-482b-a187-a1ac098b7893" providerId="ADAL" clId="{AF05CE8E-6C96-4376-968D-2528B0E0B396}" dt="2024-06-12T20:37:11.908" v="1812" actId="20577"/>
          <ac:spMkLst>
            <pc:docMk/>
            <pc:sldMk cId="169622378" sldId="324"/>
            <ac:spMk id="5" creationId="{23F434FC-5FBD-4333-8A2A-18B1C126F070}"/>
          </ac:spMkLst>
        </pc:spChg>
      </pc:sldChg>
      <pc:sldChg chg="addSp delSp modSp mod">
        <pc:chgData name="VANNACCI LORENZO" userId="d189ff1e-cd06-482b-a187-a1ac098b7893" providerId="ADAL" clId="{AF05CE8E-6C96-4376-968D-2528B0E0B396}" dt="2024-06-12T20:59:31.416" v="1985" actId="20577"/>
        <pc:sldMkLst>
          <pc:docMk/>
          <pc:sldMk cId="1835413139" sldId="343"/>
        </pc:sldMkLst>
        <pc:spChg chg="add del mod">
          <ac:chgData name="VANNACCI LORENZO" userId="d189ff1e-cd06-482b-a187-a1ac098b7893" providerId="ADAL" clId="{AF05CE8E-6C96-4376-968D-2528B0E0B396}" dt="2024-06-12T13:04:59.871" v="5" actId="478"/>
          <ac:spMkLst>
            <pc:docMk/>
            <pc:sldMk cId="1835413139" sldId="343"/>
            <ac:spMk id="3" creationId="{B42DA76F-2146-EB9B-AB42-01BC9C1E074C}"/>
          </ac:spMkLst>
        </pc:spChg>
        <pc:spChg chg="add del mod">
          <ac:chgData name="VANNACCI LORENZO" userId="d189ff1e-cd06-482b-a187-a1ac098b7893" providerId="ADAL" clId="{AF05CE8E-6C96-4376-968D-2528B0E0B396}" dt="2024-06-12T13:04:56.829" v="3" actId="478"/>
          <ac:spMkLst>
            <pc:docMk/>
            <pc:sldMk cId="1835413139" sldId="343"/>
            <ac:spMk id="5" creationId="{0B0AC8EC-33BA-9D82-9ACC-7E150667065B}"/>
          </ac:spMkLst>
        </pc:spChg>
        <pc:spChg chg="add del mod">
          <ac:chgData name="VANNACCI LORENZO" userId="d189ff1e-cd06-482b-a187-a1ac098b7893" providerId="ADAL" clId="{AF05CE8E-6C96-4376-968D-2528B0E0B396}" dt="2024-06-12T13:04:58.085" v="4" actId="478"/>
          <ac:spMkLst>
            <pc:docMk/>
            <pc:sldMk cId="1835413139" sldId="343"/>
            <ac:spMk id="7" creationId="{6FAFB1DA-FDEE-EAF6-869D-ADEA6ED74D7A}"/>
          </ac:spMkLst>
        </pc:spChg>
        <pc:spChg chg="mod">
          <ac:chgData name="VANNACCI LORENZO" userId="d189ff1e-cd06-482b-a187-a1ac098b7893" providerId="ADAL" clId="{AF05CE8E-6C96-4376-968D-2528B0E0B396}" dt="2024-06-12T20:59:20.810" v="1983" actId="20577"/>
          <ac:spMkLst>
            <pc:docMk/>
            <pc:sldMk cId="1835413139" sldId="343"/>
            <ac:spMk id="42" creationId="{3F168F9C-08F3-17E9-B618-67A874856242}"/>
          </ac:spMkLst>
        </pc:spChg>
        <pc:spChg chg="mod">
          <ac:chgData name="VANNACCI LORENZO" userId="d189ff1e-cd06-482b-a187-a1ac098b7893" providerId="ADAL" clId="{AF05CE8E-6C96-4376-968D-2528B0E0B396}" dt="2024-06-12T13:05:26.217" v="7" actId="20577"/>
          <ac:spMkLst>
            <pc:docMk/>
            <pc:sldMk cId="1835413139" sldId="343"/>
            <ac:spMk id="45" creationId="{0F418AC7-CAB4-94FC-337C-398C1506DA7D}"/>
          </ac:spMkLst>
        </pc:spChg>
        <pc:spChg chg="mod">
          <ac:chgData name="VANNACCI LORENZO" userId="d189ff1e-cd06-482b-a187-a1ac098b7893" providerId="ADAL" clId="{AF05CE8E-6C96-4376-968D-2528B0E0B396}" dt="2024-06-12T20:59:31.416" v="1985" actId="20577"/>
          <ac:spMkLst>
            <pc:docMk/>
            <pc:sldMk cId="1835413139" sldId="343"/>
            <ac:spMk id="48" creationId="{41584701-D557-67D1-01C4-225308C0DDD5}"/>
          </ac:spMkLst>
        </pc:spChg>
        <pc:spChg chg="del">
          <ac:chgData name="VANNACCI LORENZO" userId="d189ff1e-cd06-482b-a187-a1ac098b7893" providerId="ADAL" clId="{AF05CE8E-6C96-4376-968D-2528B0E0B396}" dt="2024-06-12T13:04:54.020" v="2" actId="478"/>
          <ac:spMkLst>
            <pc:docMk/>
            <pc:sldMk cId="1835413139" sldId="343"/>
            <ac:spMk id="50" creationId="{ABBB3E16-E00E-A000-5322-9593F686D443}"/>
          </ac:spMkLst>
        </pc:spChg>
        <pc:spChg chg="del">
          <ac:chgData name="VANNACCI LORENZO" userId="d189ff1e-cd06-482b-a187-a1ac098b7893" providerId="ADAL" clId="{AF05CE8E-6C96-4376-968D-2528B0E0B396}" dt="2024-06-12T13:04:54.020" v="2" actId="478"/>
          <ac:spMkLst>
            <pc:docMk/>
            <pc:sldMk cId="1835413139" sldId="343"/>
            <ac:spMk id="51" creationId="{3CE0A966-245C-5DB1-7784-B56CC0E5F0F5}"/>
          </ac:spMkLst>
        </pc:spChg>
        <pc:spChg chg="del">
          <ac:chgData name="VANNACCI LORENZO" userId="d189ff1e-cd06-482b-a187-a1ac098b7893" providerId="ADAL" clId="{AF05CE8E-6C96-4376-968D-2528B0E0B396}" dt="2024-06-12T13:04:54.020" v="2" actId="478"/>
          <ac:spMkLst>
            <pc:docMk/>
            <pc:sldMk cId="1835413139" sldId="343"/>
            <ac:spMk id="52" creationId="{156AF726-9EF5-B324-83FE-5A17386ADB07}"/>
          </ac:spMkLst>
        </pc:spChg>
      </pc:sldChg>
      <pc:sldChg chg="addSp delSp modSp mod">
        <pc:chgData name="VANNACCI LORENZO" userId="d189ff1e-cd06-482b-a187-a1ac098b7893" providerId="ADAL" clId="{AF05CE8E-6C96-4376-968D-2528B0E0B396}" dt="2024-06-12T21:05:20.141" v="2019" actId="1037"/>
        <pc:sldMkLst>
          <pc:docMk/>
          <pc:sldMk cId="1900373978" sldId="364"/>
        </pc:sldMkLst>
        <pc:spChg chg="mod ord">
          <ac:chgData name="VANNACCI LORENZO" userId="d189ff1e-cd06-482b-a187-a1ac098b7893" providerId="ADAL" clId="{AF05CE8E-6C96-4376-968D-2528B0E0B396}" dt="2024-06-12T17:35:58.830" v="657"/>
          <ac:spMkLst>
            <pc:docMk/>
            <pc:sldMk cId="1900373978" sldId="364"/>
            <ac:spMk id="3" creationId="{7CFF2173-94A7-C024-4DD7-158EB8F6457C}"/>
          </ac:spMkLst>
        </pc:spChg>
        <pc:spChg chg="mod ord">
          <ac:chgData name="VANNACCI LORENZO" userId="d189ff1e-cd06-482b-a187-a1ac098b7893" providerId="ADAL" clId="{AF05CE8E-6C96-4376-968D-2528B0E0B396}" dt="2024-06-12T17:35:58.830" v="659"/>
          <ac:spMkLst>
            <pc:docMk/>
            <pc:sldMk cId="1900373978" sldId="364"/>
            <ac:spMk id="4" creationId="{832EF483-7479-26D4-993B-7A4104FD4323}"/>
          </ac:spMkLst>
        </pc:spChg>
        <pc:spChg chg="mod ord">
          <ac:chgData name="VANNACCI LORENZO" userId="d189ff1e-cd06-482b-a187-a1ac098b7893" providerId="ADAL" clId="{AF05CE8E-6C96-4376-968D-2528B0E0B396}" dt="2024-06-12T17:36:14.584" v="684" actId="114"/>
          <ac:spMkLst>
            <pc:docMk/>
            <pc:sldMk cId="1900373978" sldId="364"/>
            <ac:spMk id="5" creationId="{1BD46E54-0B8C-7118-A4B4-435B2EEA86F8}"/>
          </ac:spMkLst>
        </pc:spChg>
        <pc:spChg chg="mod ord">
          <ac:chgData name="VANNACCI LORENZO" userId="d189ff1e-cd06-482b-a187-a1ac098b7893" providerId="ADAL" clId="{AF05CE8E-6C96-4376-968D-2528B0E0B396}" dt="2024-06-12T17:35:58.830" v="655"/>
          <ac:spMkLst>
            <pc:docMk/>
            <pc:sldMk cId="1900373978" sldId="364"/>
            <ac:spMk id="6" creationId="{2D167F02-F886-F58D-6AC6-D57A2F74201E}"/>
          </ac:spMkLst>
        </pc:spChg>
        <pc:spChg chg="mod">
          <ac:chgData name="VANNACCI LORENZO" userId="d189ff1e-cd06-482b-a187-a1ac098b7893" providerId="ADAL" clId="{AF05CE8E-6C96-4376-968D-2528B0E0B396}" dt="2024-06-12T16:54:10.710" v="457"/>
          <ac:spMkLst>
            <pc:docMk/>
            <pc:sldMk cId="1900373978" sldId="364"/>
            <ac:spMk id="9" creationId="{53A762AC-4DD5-676D-278E-E76ED3A1C14E}"/>
          </ac:spMkLst>
        </pc:spChg>
        <pc:spChg chg="mod">
          <ac:chgData name="VANNACCI LORENZO" userId="d189ff1e-cd06-482b-a187-a1ac098b7893" providerId="ADAL" clId="{AF05CE8E-6C96-4376-968D-2528B0E0B396}" dt="2024-06-12T16:54:10.710" v="457"/>
          <ac:spMkLst>
            <pc:docMk/>
            <pc:sldMk cId="1900373978" sldId="364"/>
            <ac:spMk id="11" creationId="{FAA3246B-9EE6-8CDD-567E-7F7BB7D35F4F}"/>
          </ac:spMkLst>
        </pc:spChg>
        <pc:spChg chg="mod">
          <ac:chgData name="VANNACCI LORENZO" userId="d189ff1e-cd06-482b-a187-a1ac098b7893" providerId="ADAL" clId="{AF05CE8E-6C96-4376-968D-2528B0E0B396}" dt="2024-06-12T16:54:10.710" v="457"/>
          <ac:spMkLst>
            <pc:docMk/>
            <pc:sldMk cId="1900373978" sldId="364"/>
            <ac:spMk id="12" creationId="{F06A7E29-1738-4C83-16CD-E14CCC18978C}"/>
          </ac:spMkLst>
        </pc:spChg>
        <pc:spChg chg="mod">
          <ac:chgData name="VANNACCI LORENZO" userId="d189ff1e-cd06-482b-a187-a1ac098b7893" providerId="ADAL" clId="{AF05CE8E-6C96-4376-968D-2528B0E0B396}" dt="2024-06-12T16:54:10.710" v="457"/>
          <ac:spMkLst>
            <pc:docMk/>
            <pc:sldMk cId="1900373978" sldId="364"/>
            <ac:spMk id="14" creationId="{89757D24-E71D-B81F-BA87-5A5DBA44526F}"/>
          </ac:spMkLst>
        </pc:spChg>
        <pc:spChg chg="mod">
          <ac:chgData name="VANNACCI LORENZO" userId="d189ff1e-cd06-482b-a187-a1ac098b7893" providerId="ADAL" clId="{AF05CE8E-6C96-4376-968D-2528B0E0B396}" dt="2024-06-12T16:54:10.710" v="457"/>
          <ac:spMkLst>
            <pc:docMk/>
            <pc:sldMk cId="1900373978" sldId="364"/>
            <ac:spMk id="15" creationId="{374F77A7-F9DE-2A03-73A0-32E092080AAE}"/>
          </ac:spMkLst>
        </pc:spChg>
        <pc:spChg chg="mod">
          <ac:chgData name="VANNACCI LORENZO" userId="d189ff1e-cd06-482b-a187-a1ac098b7893" providerId="ADAL" clId="{AF05CE8E-6C96-4376-968D-2528B0E0B396}" dt="2024-06-12T16:54:10.710" v="457"/>
          <ac:spMkLst>
            <pc:docMk/>
            <pc:sldMk cId="1900373978" sldId="364"/>
            <ac:spMk id="16" creationId="{35BBDEF7-DD61-6112-CDFA-E84E50830E37}"/>
          </ac:spMkLst>
        </pc:spChg>
        <pc:spChg chg="mod">
          <ac:chgData name="VANNACCI LORENZO" userId="d189ff1e-cd06-482b-a187-a1ac098b7893" providerId="ADAL" clId="{AF05CE8E-6C96-4376-968D-2528B0E0B396}" dt="2024-06-12T16:54:10.717" v="458"/>
          <ac:spMkLst>
            <pc:docMk/>
            <pc:sldMk cId="1900373978" sldId="364"/>
            <ac:spMk id="19" creationId="{17696526-0255-AF3C-422C-9BEEFF3E82C8}"/>
          </ac:spMkLst>
        </pc:spChg>
        <pc:spChg chg="mod">
          <ac:chgData name="VANNACCI LORENZO" userId="d189ff1e-cd06-482b-a187-a1ac098b7893" providerId="ADAL" clId="{AF05CE8E-6C96-4376-968D-2528B0E0B396}" dt="2024-06-12T16:54:10.717" v="458"/>
          <ac:spMkLst>
            <pc:docMk/>
            <pc:sldMk cId="1900373978" sldId="364"/>
            <ac:spMk id="21" creationId="{D675C957-6741-5566-2EA7-41C9618041A5}"/>
          </ac:spMkLst>
        </pc:spChg>
        <pc:spChg chg="mod">
          <ac:chgData name="VANNACCI LORENZO" userId="d189ff1e-cd06-482b-a187-a1ac098b7893" providerId="ADAL" clId="{AF05CE8E-6C96-4376-968D-2528B0E0B396}" dt="2024-06-12T16:54:10.717" v="458"/>
          <ac:spMkLst>
            <pc:docMk/>
            <pc:sldMk cId="1900373978" sldId="364"/>
            <ac:spMk id="22" creationId="{206D0D4D-5670-2F3D-896D-FCD03A313980}"/>
          </ac:spMkLst>
        </pc:spChg>
        <pc:spChg chg="mod">
          <ac:chgData name="VANNACCI LORENZO" userId="d189ff1e-cd06-482b-a187-a1ac098b7893" providerId="ADAL" clId="{AF05CE8E-6C96-4376-968D-2528B0E0B396}" dt="2024-06-12T16:54:10.717" v="458"/>
          <ac:spMkLst>
            <pc:docMk/>
            <pc:sldMk cId="1900373978" sldId="364"/>
            <ac:spMk id="24" creationId="{EE3FB4FB-C2C7-8350-A807-3813D776A7DD}"/>
          </ac:spMkLst>
        </pc:spChg>
        <pc:spChg chg="mod">
          <ac:chgData name="VANNACCI LORENZO" userId="d189ff1e-cd06-482b-a187-a1ac098b7893" providerId="ADAL" clId="{AF05CE8E-6C96-4376-968D-2528B0E0B396}" dt="2024-06-12T16:54:10.717" v="458"/>
          <ac:spMkLst>
            <pc:docMk/>
            <pc:sldMk cId="1900373978" sldId="364"/>
            <ac:spMk id="25" creationId="{980A1DAA-C123-FB57-E99B-7DB1503F203A}"/>
          </ac:spMkLst>
        </pc:spChg>
        <pc:spChg chg="mod">
          <ac:chgData name="VANNACCI LORENZO" userId="d189ff1e-cd06-482b-a187-a1ac098b7893" providerId="ADAL" clId="{AF05CE8E-6C96-4376-968D-2528B0E0B396}" dt="2024-06-12T16:54:10.717" v="458"/>
          <ac:spMkLst>
            <pc:docMk/>
            <pc:sldMk cId="1900373978" sldId="364"/>
            <ac:spMk id="26" creationId="{E501C9E6-A024-1A23-CF88-D45243DDAB68}"/>
          </ac:spMkLst>
        </pc:spChg>
        <pc:spChg chg="add mod ord">
          <ac:chgData name="VANNACCI LORENZO" userId="d189ff1e-cd06-482b-a187-a1ac098b7893" providerId="ADAL" clId="{AF05CE8E-6C96-4376-968D-2528B0E0B396}" dt="2024-06-12T17:35:58.834" v="663"/>
          <ac:spMkLst>
            <pc:docMk/>
            <pc:sldMk cId="1900373978" sldId="364"/>
            <ac:spMk id="27" creationId="{58089D83-3AF8-5544-878C-0FB0260C1356}"/>
          </ac:spMkLst>
        </pc:spChg>
        <pc:spChg chg="add mod ord">
          <ac:chgData name="VANNACCI LORENZO" userId="d189ff1e-cd06-482b-a187-a1ac098b7893" providerId="ADAL" clId="{AF05CE8E-6C96-4376-968D-2528B0E0B396}" dt="2024-06-12T21:05:20.141" v="2019" actId="1037"/>
          <ac:spMkLst>
            <pc:docMk/>
            <pc:sldMk cId="1900373978" sldId="364"/>
            <ac:spMk id="40" creationId="{85474B18-3052-F9C0-7D33-7A5429E57357}"/>
          </ac:spMkLst>
        </pc:spChg>
        <pc:spChg chg="add del mod modVis">
          <ac:chgData name="VANNACCI LORENZO" userId="d189ff1e-cd06-482b-a187-a1ac098b7893" providerId="ADAL" clId="{AF05CE8E-6C96-4376-968D-2528B0E0B396}" dt="2024-06-12T17:35:58.834" v="681"/>
          <ac:spMkLst>
            <pc:docMk/>
            <pc:sldMk cId="1900373978" sldId="364"/>
            <ac:spMk id="43" creationId="{1FE1F008-4E68-EC6E-7291-BD8393A4D31C}"/>
          </ac:spMkLst>
        </pc:spChg>
        <pc:grpChg chg="add del mod">
          <ac:chgData name="VANNACCI LORENZO" userId="d189ff1e-cd06-482b-a187-a1ac098b7893" providerId="ADAL" clId="{AF05CE8E-6C96-4376-968D-2528B0E0B396}" dt="2024-06-12T16:54:16.857" v="460" actId="478"/>
          <ac:grpSpMkLst>
            <pc:docMk/>
            <pc:sldMk cId="1900373978" sldId="364"/>
            <ac:grpSpMk id="7" creationId="{8C344BAE-6151-8E38-7AF3-9660D95521F1}"/>
          </ac:grpSpMkLst>
        </pc:grpChg>
        <pc:grpChg chg="mod">
          <ac:chgData name="VANNACCI LORENZO" userId="d189ff1e-cd06-482b-a187-a1ac098b7893" providerId="ADAL" clId="{AF05CE8E-6C96-4376-968D-2528B0E0B396}" dt="2024-06-12T16:54:10.710" v="457"/>
          <ac:grpSpMkLst>
            <pc:docMk/>
            <pc:sldMk cId="1900373978" sldId="364"/>
            <ac:grpSpMk id="8" creationId="{23424675-600C-02D6-5010-0DADD4007D6F}"/>
          </ac:grpSpMkLst>
        </pc:grpChg>
        <pc:grpChg chg="mod">
          <ac:chgData name="VANNACCI LORENZO" userId="d189ff1e-cd06-482b-a187-a1ac098b7893" providerId="ADAL" clId="{AF05CE8E-6C96-4376-968D-2528B0E0B396}" dt="2024-06-12T16:54:10.710" v="457"/>
          <ac:grpSpMkLst>
            <pc:docMk/>
            <pc:sldMk cId="1900373978" sldId="364"/>
            <ac:grpSpMk id="13" creationId="{1CD316AD-DEB1-B8D9-A82B-E92FBAEA299B}"/>
          </ac:grpSpMkLst>
        </pc:grpChg>
        <pc:grpChg chg="add mod ord">
          <ac:chgData name="VANNACCI LORENZO" userId="d189ff1e-cd06-482b-a187-a1ac098b7893" providerId="ADAL" clId="{AF05CE8E-6C96-4376-968D-2528B0E0B396}" dt="2024-06-12T17:35:58.834" v="661"/>
          <ac:grpSpMkLst>
            <pc:docMk/>
            <pc:sldMk cId="1900373978" sldId="364"/>
            <ac:grpSpMk id="17" creationId="{20F7B4E6-BF70-803C-28D1-A6AF9F8B2896}"/>
          </ac:grpSpMkLst>
        </pc:grpChg>
        <pc:grpChg chg="mod">
          <ac:chgData name="VANNACCI LORENZO" userId="d189ff1e-cd06-482b-a187-a1ac098b7893" providerId="ADAL" clId="{AF05CE8E-6C96-4376-968D-2528B0E0B396}" dt="2024-06-12T16:54:10.717" v="458"/>
          <ac:grpSpMkLst>
            <pc:docMk/>
            <pc:sldMk cId="1900373978" sldId="364"/>
            <ac:grpSpMk id="18" creationId="{36AD4171-11D8-2B24-5F24-378A211FC6FA}"/>
          </ac:grpSpMkLst>
        </pc:grpChg>
        <pc:grpChg chg="mod">
          <ac:chgData name="VANNACCI LORENZO" userId="d189ff1e-cd06-482b-a187-a1ac098b7893" providerId="ADAL" clId="{AF05CE8E-6C96-4376-968D-2528B0E0B396}" dt="2024-06-12T16:54:10.717" v="458"/>
          <ac:grpSpMkLst>
            <pc:docMk/>
            <pc:sldMk cId="1900373978" sldId="364"/>
            <ac:grpSpMk id="23" creationId="{A8EE8407-477D-E35F-F8FD-AB0327E16D60}"/>
          </ac:grpSpMkLst>
        </pc:grpChg>
        <pc:grpChg chg="add del mod">
          <ac:chgData name="VANNACCI LORENZO" userId="d189ff1e-cd06-482b-a187-a1ac098b7893" providerId="ADAL" clId="{AF05CE8E-6C96-4376-968D-2528B0E0B396}" dt="2024-06-12T17:16:36.110" v="516" actId="165"/>
          <ac:grpSpMkLst>
            <pc:docMk/>
            <pc:sldMk cId="1900373978" sldId="364"/>
            <ac:grpSpMk id="30" creationId="{4D5F78DC-2948-1972-2F17-04C4350F889F}"/>
          </ac:grpSpMkLst>
        </pc:grpChg>
        <pc:graphicFrameChg chg="mod">
          <ac:chgData name="VANNACCI LORENZO" userId="d189ff1e-cd06-482b-a187-a1ac098b7893" providerId="ADAL" clId="{AF05CE8E-6C96-4376-968D-2528B0E0B396}" dt="2024-06-12T17:35:58.834" v="683"/>
          <ac:graphicFrameMkLst>
            <pc:docMk/>
            <pc:sldMk cId="1900373978" sldId="364"/>
            <ac:graphicFrameMk id="2" creationId="{234AC149-F5C4-7A7F-F5A2-B8960C11BB45}"/>
          </ac:graphicFrameMkLst>
        </pc:graphicFrameChg>
        <pc:picChg chg="mod">
          <ac:chgData name="VANNACCI LORENZO" userId="d189ff1e-cd06-482b-a187-a1ac098b7893" providerId="ADAL" clId="{AF05CE8E-6C96-4376-968D-2528B0E0B396}" dt="2024-06-12T16:54:10.710" v="457"/>
          <ac:picMkLst>
            <pc:docMk/>
            <pc:sldMk cId="1900373978" sldId="364"/>
            <ac:picMk id="10" creationId="{2CF8C901-36A4-50D7-A0B0-04371117048F}"/>
          </ac:picMkLst>
        </pc:picChg>
        <pc:picChg chg="mod">
          <ac:chgData name="VANNACCI LORENZO" userId="d189ff1e-cd06-482b-a187-a1ac098b7893" providerId="ADAL" clId="{AF05CE8E-6C96-4376-968D-2528B0E0B396}" dt="2024-06-12T16:54:10.717" v="458"/>
          <ac:picMkLst>
            <pc:docMk/>
            <pc:sldMk cId="1900373978" sldId="364"/>
            <ac:picMk id="20" creationId="{FB510FE0-4962-7619-114A-B9102CACC068}"/>
          </ac:picMkLst>
        </pc:picChg>
        <pc:picChg chg="mod ord topLvl modCrop">
          <ac:chgData name="VANNACCI LORENZO" userId="d189ff1e-cd06-482b-a187-a1ac098b7893" providerId="ADAL" clId="{AF05CE8E-6C96-4376-968D-2528B0E0B396}" dt="2024-06-12T17:35:58.834" v="667"/>
          <ac:picMkLst>
            <pc:docMk/>
            <pc:sldMk cId="1900373978" sldId="364"/>
            <ac:picMk id="31" creationId="{02FCFE13-3214-9712-EB2B-56635C6AC813}"/>
          </ac:picMkLst>
        </pc:picChg>
        <pc:picChg chg="mod ord topLvl">
          <ac:chgData name="VANNACCI LORENZO" userId="d189ff1e-cd06-482b-a187-a1ac098b7893" providerId="ADAL" clId="{AF05CE8E-6C96-4376-968D-2528B0E0B396}" dt="2024-06-12T17:35:58.834" v="669"/>
          <ac:picMkLst>
            <pc:docMk/>
            <pc:sldMk cId="1900373978" sldId="364"/>
            <ac:picMk id="32" creationId="{05AFA7A2-C2E2-3D64-B893-B322CC061729}"/>
          </ac:picMkLst>
        </pc:picChg>
        <pc:picChg chg="mod ord topLvl">
          <ac:chgData name="VANNACCI LORENZO" userId="d189ff1e-cd06-482b-a187-a1ac098b7893" providerId="ADAL" clId="{AF05CE8E-6C96-4376-968D-2528B0E0B396}" dt="2024-06-12T17:35:58.834" v="671"/>
          <ac:picMkLst>
            <pc:docMk/>
            <pc:sldMk cId="1900373978" sldId="364"/>
            <ac:picMk id="33" creationId="{1C607901-45A8-DC3C-B8B7-72A337D9BD0A}"/>
          </ac:picMkLst>
        </pc:picChg>
        <pc:picChg chg="del mod topLvl">
          <ac:chgData name="VANNACCI LORENZO" userId="d189ff1e-cd06-482b-a187-a1ac098b7893" providerId="ADAL" clId="{AF05CE8E-6C96-4376-968D-2528B0E0B396}" dt="2024-06-12T17:16:50.530" v="519" actId="478"/>
          <ac:picMkLst>
            <pc:docMk/>
            <pc:sldMk cId="1900373978" sldId="364"/>
            <ac:picMk id="34" creationId="{F5DC0E6B-9A7A-2444-C777-554074598886}"/>
          </ac:picMkLst>
        </pc:picChg>
        <pc:picChg chg="mod ord topLvl">
          <ac:chgData name="VANNACCI LORENZO" userId="d189ff1e-cd06-482b-a187-a1ac098b7893" providerId="ADAL" clId="{AF05CE8E-6C96-4376-968D-2528B0E0B396}" dt="2024-06-12T21:05:20.141" v="2019" actId="1037"/>
          <ac:picMkLst>
            <pc:docMk/>
            <pc:sldMk cId="1900373978" sldId="364"/>
            <ac:picMk id="35" creationId="{53B19458-90F9-B4EF-1BE8-94A89C54F74B}"/>
          </ac:picMkLst>
        </pc:picChg>
        <pc:picChg chg="del mod topLvl">
          <ac:chgData name="VANNACCI LORENZO" userId="d189ff1e-cd06-482b-a187-a1ac098b7893" providerId="ADAL" clId="{AF05CE8E-6C96-4376-968D-2528B0E0B396}" dt="2024-06-12T17:17:27.955" v="522" actId="478"/>
          <ac:picMkLst>
            <pc:docMk/>
            <pc:sldMk cId="1900373978" sldId="364"/>
            <ac:picMk id="36" creationId="{C6802F82-F355-110F-1B98-9F6429E5EE55}"/>
          </ac:picMkLst>
        </pc:picChg>
        <pc:picChg chg="del mod topLvl">
          <ac:chgData name="VANNACCI LORENZO" userId="d189ff1e-cd06-482b-a187-a1ac098b7893" providerId="ADAL" clId="{AF05CE8E-6C96-4376-968D-2528B0E0B396}" dt="2024-06-12T17:17:30.466" v="523" actId="478"/>
          <ac:picMkLst>
            <pc:docMk/>
            <pc:sldMk cId="1900373978" sldId="364"/>
            <ac:picMk id="37" creationId="{D52770D6-04A5-B042-6C31-4C8213652724}"/>
          </ac:picMkLst>
        </pc:picChg>
        <pc:picChg chg="del mod topLvl">
          <ac:chgData name="VANNACCI LORENZO" userId="d189ff1e-cd06-482b-a187-a1ac098b7893" providerId="ADAL" clId="{AF05CE8E-6C96-4376-968D-2528B0E0B396}" dt="2024-06-12T17:16:47.324" v="518" actId="478"/>
          <ac:picMkLst>
            <pc:docMk/>
            <pc:sldMk cId="1900373978" sldId="364"/>
            <ac:picMk id="38" creationId="{6DDDFDD0-5164-F481-81E7-2D826032EAAD}"/>
          </ac:picMkLst>
        </pc:picChg>
        <pc:picChg chg="del mod topLvl">
          <ac:chgData name="VANNACCI LORENZO" userId="d189ff1e-cd06-482b-a187-a1ac098b7893" providerId="ADAL" clId="{AF05CE8E-6C96-4376-968D-2528B0E0B396}" dt="2024-06-12T17:17:07.073" v="521" actId="478"/>
          <ac:picMkLst>
            <pc:docMk/>
            <pc:sldMk cId="1900373978" sldId="364"/>
            <ac:picMk id="39" creationId="{52E1E017-BB73-8D2D-FDE5-C0538D580596}"/>
          </ac:picMkLst>
        </pc:picChg>
        <pc:picChg chg="add mod ord">
          <ac:chgData name="VANNACCI LORENZO" userId="d189ff1e-cd06-482b-a187-a1ac098b7893" providerId="ADAL" clId="{AF05CE8E-6C96-4376-968D-2528B0E0B396}" dt="2024-06-12T21:05:20.141" v="2019" actId="1037"/>
          <ac:picMkLst>
            <pc:docMk/>
            <pc:sldMk cId="1900373978" sldId="364"/>
            <ac:picMk id="42" creationId="{E0939ED3-A5DF-C9B3-8E3A-785354FE5316}"/>
          </ac:picMkLst>
        </pc:picChg>
        <pc:cxnChg chg="add mod ord">
          <ac:chgData name="VANNACCI LORENZO" userId="d189ff1e-cd06-482b-a187-a1ac098b7893" providerId="ADAL" clId="{AF05CE8E-6C96-4376-968D-2528B0E0B396}" dt="2024-06-12T17:35:58.834" v="665"/>
          <ac:cxnSpMkLst>
            <pc:docMk/>
            <pc:sldMk cId="1900373978" sldId="364"/>
            <ac:cxnSpMk id="29" creationId="{EB688095-CAC1-0DE0-0FF9-A2302AFBB99C}"/>
          </ac:cxnSpMkLst>
        </pc:cxnChg>
      </pc:sldChg>
      <pc:sldChg chg="del ord">
        <pc:chgData name="VANNACCI LORENZO" userId="d189ff1e-cd06-482b-a187-a1ac098b7893" providerId="ADAL" clId="{AF05CE8E-6C96-4376-968D-2528B0E0B396}" dt="2024-06-12T17:36:21.794" v="689" actId="47"/>
        <pc:sldMkLst>
          <pc:docMk/>
          <pc:sldMk cId="3422433748" sldId="365"/>
        </pc:sldMkLst>
      </pc:sldChg>
      <pc:sldChg chg="addSp modSp mod">
        <pc:chgData name="VANNACCI LORENZO" userId="d189ff1e-cd06-482b-a187-a1ac098b7893" providerId="ADAL" clId="{AF05CE8E-6C96-4376-968D-2528B0E0B396}" dt="2024-06-12T16:41:39.368" v="326" actId="1035"/>
        <pc:sldMkLst>
          <pc:docMk/>
          <pc:sldMk cId="1789432679" sldId="417"/>
        </pc:sldMkLst>
        <pc:spChg chg="mod">
          <ac:chgData name="VANNACCI LORENZO" userId="d189ff1e-cd06-482b-a187-a1ac098b7893" providerId="ADAL" clId="{AF05CE8E-6C96-4376-968D-2528B0E0B396}" dt="2024-06-12T16:41:39.368" v="326" actId="1035"/>
          <ac:spMkLst>
            <pc:docMk/>
            <pc:sldMk cId="1789432679" sldId="417"/>
            <ac:spMk id="5" creationId="{6C34E0AF-B69A-471F-8329-F570B8AB7EBC}"/>
          </ac:spMkLst>
        </pc:spChg>
        <pc:picChg chg="add mod">
          <ac:chgData name="VANNACCI LORENZO" userId="d189ff1e-cd06-482b-a187-a1ac098b7893" providerId="ADAL" clId="{AF05CE8E-6C96-4376-968D-2528B0E0B396}" dt="2024-06-12T16:41:30.752" v="310" actId="1076"/>
          <ac:picMkLst>
            <pc:docMk/>
            <pc:sldMk cId="1789432679" sldId="417"/>
            <ac:picMk id="3" creationId="{00CC00F2-9917-81B6-2107-D9D22309FD57}"/>
          </ac:picMkLst>
        </pc:picChg>
        <pc:picChg chg="add mod">
          <ac:chgData name="VANNACCI LORENZO" userId="d189ff1e-cd06-482b-a187-a1ac098b7893" providerId="ADAL" clId="{AF05CE8E-6C96-4376-968D-2528B0E0B396}" dt="2024-06-12T16:41:30.752" v="310" actId="1076"/>
          <ac:picMkLst>
            <pc:docMk/>
            <pc:sldMk cId="1789432679" sldId="417"/>
            <ac:picMk id="4" creationId="{8216F800-5A42-BC42-FA3C-180DDE4F6CF5}"/>
          </ac:picMkLst>
        </pc:picChg>
        <pc:picChg chg="add mod">
          <ac:chgData name="VANNACCI LORENZO" userId="d189ff1e-cd06-482b-a187-a1ac098b7893" providerId="ADAL" clId="{AF05CE8E-6C96-4376-968D-2528B0E0B396}" dt="2024-06-12T16:41:30.752" v="310" actId="1076"/>
          <ac:picMkLst>
            <pc:docMk/>
            <pc:sldMk cId="1789432679" sldId="417"/>
            <ac:picMk id="6" creationId="{3717840F-0844-4CB9-B026-162C75C209E5}"/>
          </ac:picMkLst>
        </pc:picChg>
      </pc:sldChg>
      <pc:sldChg chg="addSp delSp modSp mod modAnim">
        <pc:chgData name="VANNACCI LORENZO" userId="d189ff1e-cd06-482b-a187-a1ac098b7893" providerId="ADAL" clId="{AF05CE8E-6C96-4376-968D-2528B0E0B396}" dt="2024-06-12T16:28:33.843" v="299" actId="1076"/>
        <pc:sldMkLst>
          <pc:docMk/>
          <pc:sldMk cId="3998329734" sldId="418"/>
        </pc:sldMkLst>
        <pc:spChg chg="add del mod">
          <ac:chgData name="VANNACCI LORENZO" userId="d189ff1e-cd06-482b-a187-a1ac098b7893" providerId="ADAL" clId="{AF05CE8E-6C96-4376-968D-2528B0E0B396}" dt="2024-06-12T16:25:04.195" v="198"/>
          <ac:spMkLst>
            <pc:docMk/>
            <pc:sldMk cId="3998329734" sldId="418"/>
            <ac:spMk id="4" creationId="{4ED3FDBC-4170-1DA5-5EEE-645C92B4828E}"/>
          </ac:spMkLst>
        </pc:spChg>
        <pc:spChg chg="mod">
          <ac:chgData name="VANNACCI LORENZO" userId="d189ff1e-cd06-482b-a187-a1ac098b7893" providerId="ADAL" clId="{AF05CE8E-6C96-4376-968D-2528B0E0B396}" dt="2024-06-12T16:26:35.051" v="274" actId="1076"/>
          <ac:spMkLst>
            <pc:docMk/>
            <pc:sldMk cId="3998329734" sldId="418"/>
            <ac:spMk id="10" creationId="{78261ACA-E52D-834C-BD16-54A01F1F5FDA}"/>
          </ac:spMkLst>
        </pc:spChg>
        <pc:spChg chg="mod">
          <ac:chgData name="VANNACCI LORENZO" userId="d189ff1e-cd06-482b-a187-a1ac098b7893" providerId="ADAL" clId="{AF05CE8E-6C96-4376-968D-2528B0E0B396}" dt="2024-06-12T16:26:35.051" v="274" actId="1076"/>
          <ac:spMkLst>
            <pc:docMk/>
            <pc:sldMk cId="3998329734" sldId="418"/>
            <ac:spMk id="15" creationId="{20EC8E95-1F9E-C597-7973-D66080AD2B36}"/>
          </ac:spMkLst>
        </pc:spChg>
        <pc:spChg chg="mod">
          <ac:chgData name="VANNACCI LORENZO" userId="d189ff1e-cd06-482b-a187-a1ac098b7893" providerId="ADAL" clId="{AF05CE8E-6C96-4376-968D-2528B0E0B396}" dt="2024-06-12T16:25:50.058" v="269" actId="1035"/>
          <ac:spMkLst>
            <pc:docMk/>
            <pc:sldMk cId="3998329734" sldId="418"/>
            <ac:spMk id="18" creationId="{1D6B1DCF-E699-8780-805E-6825A872FB88}"/>
          </ac:spMkLst>
        </pc:spChg>
        <pc:spChg chg="mod">
          <ac:chgData name="VANNACCI LORENZO" userId="d189ff1e-cd06-482b-a187-a1ac098b7893" providerId="ADAL" clId="{AF05CE8E-6C96-4376-968D-2528B0E0B396}" dt="2024-06-12T16:26:35.051" v="274" actId="1076"/>
          <ac:spMkLst>
            <pc:docMk/>
            <pc:sldMk cId="3998329734" sldId="418"/>
            <ac:spMk id="25" creationId="{6C9662E4-BD72-D0AE-D2C1-02411628F37A}"/>
          </ac:spMkLst>
        </pc:spChg>
        <pc:spChg chg="mod">
          <ac:chgData name="VANNACCI LORENZO" userId="d189ff1e-cd06-482b-a187-a1ac098b7893" providerId="ADAL" clId="{AF05CE8E-6C96-4376-968D-2528B0E0B396}" dt="2024-06-12T16:26:35.051" v="274" actId="1076"/>
          <ac:spMkLst>
            <pc:docMk/>
            <pc:sldMk cId="3998329734" sldId="418"/>
            <ac:spMk id="31" creationId="{5D7B2FFE-A3A1-4065-5836-45EBA54D0F2F}"/>
          </ac:spMkLst>
        </pc:spChg>
        <pc:spChg chg="mod">
          <ac:chgData name="VANNACCI LORENZO" userId="d189ff1e-cd06-482b-a187-a1ac098b7893" providerId="ADAL" clId="{AF05CE8E-6C96-4376-968D-2528B0E0B396}" dt="2024-06-12T16:25:50.058" v="269" actId="1035"/>
          <ac:spMkLst>
            <pc:docMk/>
            <pc:sldMk cId="3998329734" sldId="418"/>
            <ac:spMk id="39" creationId="{514B3794-2A7E-E661-516F-BB58549E2EDF}"/>
          </ac:spMkLst>
        </pc:spChg>
        <pc:spChg chg="mod">
          <ac:chgData name="VANNACCI LORENZO" userId="d189ff1e-cd06-482b-a187-a1ac098b7893" providerId="ADAL" clId="{AF05CE8E-6C96-4376-968D-2528B0E0B396}" dt="2024-06-12T16:25:28.059" v="220" actId="1036"/>
          <ac:spMkLst>
            <pc:docMk/>
            <pc:sldMk cId="3998329734" sldId="418"/>
            <ac:spMk id="46" creationId="{9C21E167-4271-BBA9-A2F2-F95E98C81C47}"/>
          </ac:spMkLst>
        </pc:spChg>
        <pc:spChg chg="add del mod">
          <ac:chgData name="VANNACCI LORENZO" userId="d189ff1e-cd06-482b-a187-a1ac098b7893" providerId="ADAL" clId="{AF05CE8E-6C96-4376-968D-2528B0E0B396}" dt="2024-06-12T16:25:04.195" v="198"/>
          <ac:spMkLst>
            <pc:docMk/>
            <pc:sldMk cId="3998329734" sldId="418"/>
            <ac:spMk id="47" creationId="{95F9C546-351C-BC62-A98E-9B31FFAC7E44}"/>
          </ac:spMkLst>
        </pc:spChg>
        <pc:spChg chg="add del mod">
          <ac:chgData name="VANNACCI LORENZO" userId="d189ff1e-cd06-482b-a187-a1ac098b7893" providerId="ADAL" clId="{AF05CE8E-6C96-4376-968D-2528B0E0B396}" dt="2024-06-12T16:25:04.195" v="198"/>
          <ac:spMkLst>
            <pc:docMk/>
            <pc:sldMk cId="3998329734" sldId="418"/>
            <ac:spMk id="48" creationId="{A3A69FE3-B065-51AB-121F-FA6E7FCCD7E5}"/>
          </ac:spMkLst>
        </pc:spChg>
        <pc:spChg chg="add del mod">
          <ac:chgData name="VANNACCI LORENZO" userId="d189ff1e-cd06-482b-a187-a1ac098b7893" providerId="ADAL" clId="{AF05CE8E-6C96-4376-968D-2528B0E0B396}" dt="2024-06-12T16:25:04.195" v="198"/>
          <ac:spMkLst>
            <pc:docMk/>
            <pc:sldMk cId="3998329734" sldId="418"/>
            <ac:spMk id="49" creationId="{F92EB774-080D-62EE-0231-246BDA748D66}"/>
          </ac:spMkLst>
        </pc:spChg>
        <pc:spChg chg="mod">
          <ac:chgData name="VANNACCI LORENZO" userId="d189ff1e-cd06-482b-a187-a1ac098b7893" providerId="ADAL" clId="{AF05CE8E-6C96-4376-968D-2528B0E0B396}" dt="2024-06-12T16:25:54.970" v="270" actId="1076"/>
          <ac:spMkLst>
            <pc:docMk/>
            <pc:sldMk cId="3998329734" sldId="418"/>
            <ac:spMk id="54" creationId="{AD971D3D-7D7A-41F7-5A2B-D221542D2D62}"/>
          </ac:spMkLst>
        </pc:spChg>
        <pc:spChg chg="mod">
          <ac:chgData name="VANNACCI LORENZO" userId="d189ff1e-cd06-482b-a187-a1ac098b7893" providerId="ADAL" clId="{AF05CE8E-6C96-4376-968D-2528B0E0B396}" dt="2024-06-12T16:26:02.039" v="271" actId="1076"/>
          <ac:spMkLst>
            <pc:docMk/>
            <pc:sldMk cId="3998329734" sldId="418"/>
            <ac:spMk id="55" creationId="{2A3E8E5B-C11F-3D11-D404-877C774F0D15}"/>
          </ac:spMkLst>
        </pc:spChg>
        <pc:spChg chg="add mod">
          <ac:chgData name="VANNACCI LORENZO" userId="d189ff1e-cd06-482b-a187-a1ac098b7893" providerId="ADAL" clId="{AF05CE8E-6C96-4376-968D-2528B0E0B396}" dt="2024-06-12T16:27:48.173" v="293" actId="1038"/>
          <ac:spMkLst>
            <pc:docMk/>
            <pc:sldMk cId="3998329734" sldId="418"/>
            <ac:spMk id="61" creationId="{B12E8631-8AE3-0D3E-AD04-D59D487BD2F8}"/>
          </ac:spMkLst>
        </pc:spChg>
        <pc:spChg chg="add mod">
          <ac:chgData name="VANNACCI LORENZO" userId="d189ff1e-cd06-482b-a187-a1ac098b7893" providerId="ADAL" clId="{AF05CE8E-6C96-4376-968D-2528B0E0B396}" dt="2024-06-12T16:28:23.394" v="297" actId="1076"/>
          <ac:spMkLst>
            <pc:docMk/>
            <pc:sldMk cId="3998329734" sldId="418"/>
            <ac:spMk id="62" creationId="{0093C1E3-3A05-7EB3-439C-19A9A68AA36C}"/>
          </ac:spMkLst>
        </pc:spChg>
        <pc:spChg chg="add mod">
          <ac:chgData name="VANNACCI LORENZO" userId="d189ff1e-cd06-482b-a187-a1ac098b7893" providerId="ADAL" clId="{AF05CE8E-6C96-4376-968D-2528B0E0B396}" dt="2024-06-12T16:28:11.859" v="295" actId="1076"/>
          <ac:spMkLst>
            <pc:docMk/>
            <pc:sldMk cId="3998329734" sldId="418"/>
            <ac:spMk id="63" creationId="{2221CB62-BFD0-21AB-2656-E61425A7D50F}"/>
          </ac:spMkLst>
        </pc:spChg>
        <pc:spChg chg="add mod">
          <ac:chgData name="VANNACCI LORENZO" userId="d189ff1e-cd06-482b-a187-a1ac098b7893" providerId="ADAL" clId="{AF05CE8E-6C96-4376-968D-2528B0E0B396}" dt="2024-06-12T16:28:18.070" v="296" actId="1076"/>
          <ac:spMkLst>
            <pc:docMk/>
            <pc:sldMk cId="3998329734" sldId="418"/>
            <ac:spMk id="64" creationId="{5BBF48D4-F99C-0B6D-FDE7-A8C45E282168}"/>
          </ac:spMkLst>
        </pc:spChg>
        <pc:spChg chg="add mod">
          <ac:chgData name="VANNACCI LORENZO" userId="d189ff1e-cd06-482b-a187-a1ac098b7893" providerId="ADAL" clId="{AF05CE8E-6C96-4376-968D-2528B0E0B396}" dt="2024-06-12T16:28:33.843" v="299" actId="1076"/>
          <ac:spMkLst>
            <pc:docMk/>
            <pc:sldMk cId="3998329734" sldId="418"/>
            <ac:spMk id="65" creationId="{87FAC796-366B-653A-3BE9-4DDECB6B5412}"/>
          </ac:spMkLst>
        </pc:spChg>
        <pc:grpChg chg="mod">
          <ac:chgData name="VANNACCI LORENZO" userId="d189ff1e-cd06-482b-a187-a1ac098b7893" providerId="ADAL" clId="{AF05CE8E-6C96-4376-968D-2528B0E0B396}" dt="2024-06-12T16:26:35.051" v="274" actId="1076"/>
          <ac:grpSpMkLst>
            <pc:docMk/>
            <pc:sldMk cId="3998329734" sldId="418"/>
            <ac:grpSpMk id="5" creationId="{AAB693CE-2873-F4F0-50B4-1DA1A1993193}"/>
          </ac:grpSpMkLst>
        </pc:grpChg>
        <pc:grpChg chg="mod">
          <ac:chgData name="VANNACCI LORENZO" userId="d189ff1e-cd06-482b-a187-a1ac098b7893" providerId="ADAL" clId="{AF05CE8E-6C96-4376-968D-2528B0E0B396}" dt="2024-06-12T16:26:35.051" v="274" actId="1076"/>
          <ac:grpSpMkLst>
            <pc:docMk/>
            <pc:sldMk cId="3998329734" sldId="418"/>
            <ac:grpSpMk id="8" creationId="{582FA31E-6878-5DE9-C345-7E83FCB0AA57}"/>
          </ac:grpSpMkLst>
        </pc:grpChg>
        <pc:grpChg chg="mod">
          <ac:chgData name="VANNACCI LORENZO" userId="d189ff1e-cd06-482b-a187-a1ac098b7893" providerId="ADAL" clId="{AF05CE8E-6C96-4376-968D-2528B0E0B396}" dt="2024-06-12T16:26:35.051" v="274" actId="1076"/>
          <ac:grpSpMkLst>
            <pc:docMk/>
            <pc:sldMk cId="3998329734" sldId="418"/>
            <ac:grpSpMk id="11" creationId="{44908A2E-42C7-3C35-B0CC-0095C083F70E}"/>
          </ac:grpSpMkLst>
        </pc:grpChg>
        <pc:grpChg chg="mod">
          <ac:chgData name="VANNACCI LORENZO" userId="d189ff1e-cd06-482b-a187-a1ac098b7893" providerId="ADAL" clId="{AF05CE8E-6C96-4376-968D-2528B0E0B396}" dt="2024-06-12T16:26:35.051" v="274" actId="1076"/>
          <ac:grpSpMkLst>
            <pc:docMk/>
            <pc:sldMk cId="3998329734" sldId="418"/>
            <ac:grpSpMk id="13" creationId="{B6E941AE-F37A-AA26-99EC-B80E83E6B2C9}"/>
          </ac:grpSpMkLst>
        </pc:grpChg>
        <pc:grpChg chg="mod">
          <ac:chgData name="VANNACCI LORENZO" userId="d189ff1e-cd06-482b-a187-a1ac098b7893" providerId="ADAL" clId="{AF05CE8E-6C96-4376-968D-2528B0E0B396}" dt="2024-06-12T16:25:50.058" v="269" actId="1035"/>
          <ac:grpSpMkLst>
            <pc:docMk/>
            <pc:sldMk cId="3998329734" sldId="418"/>
            <ac:grpSpMk id="16" creationId="{C68FAFA6-5643-55AE-B8EB-714D116460D6}"/>
          </ac:grpSpMkLst>
        </pc:grpChg>
        <pc:grpChg chg="mod">
          <ac:chgData name="VANNACCI LORENZO" userId="d189ff1e-cd06-482b-a187-a1ac098b7893" providerId="ADAL" clId="{AF05CE8E-6C96-4376-968D-2528B0E0B396}" dt="2024-06-12T16:25:50.058" v="269" actId="1035"/>
          <ac:grpSpMkLst>
            <pc:docMk/>
            <pc:sldMk cId="3998329734" sldId="418"/>
            <ac:grpSpMk id="17" creationId="{AAE8DF44-EE71-9B8F-CB39-854C94662636}"/>
          </ac:grpSpMkLst>
        </pc:grpChg>
        <pc:grpChg chg="del mod">
          <ac:chgData name="VANNACCI LORENZO" userId="d189ff1e-cd06-482b-a187-a1ac098b7893" providerId="ADAL" clId="{AF05CE8E-6C96-4376-968D-2528B0E0B396}" dt="2024-06-12T16:26:31.886" v="273" actId="165"/>
          <ac:grpSpMkLst>
            <pc:docMk/>
            <pc:sldMk cId="3998329734" sldId="418"/>
            <ac:grpSpMk id="21" creationId="{5F0B2F14-1757-7B47-8958-922926620FC4}"/>
          </ac:grpSpMkLst>
        </pc:grpChg>
        <pc:grpChg chg="mod topLvl">
          <ac:chgData name="VANNACCI LORENZO" userId="d189ff1e-cd06-482b-a187-a1ac098b7893" providerId="ADAL" clId="{AF05CE8E-6C96-4376-968D-2528B0E0B396}" dt="2024-06-12T16:26:35.051" v="274" actId="1076"/>
          <ac:grpSpMkLst>
            <pc:docMk/>
            <pc:sldMk cId="3998329734" sldId="418"/>
            <ac:grpSpMk id="22" creationId="{55B16DCE-640A-384E-A8B1-1A67304961BA}"/>
          </ac:grpSpMkLst>
        </pc:grpChg>
        <pc:grpChg chg="mod">
          <ac:chgData name="VANNACCI LORENZO" userId="d189ff1e-cd06-482b-a187-a1ac098b7893" providerId="ADAL" clId="{AF05CE8E-6C96-4376-968D-2528B0E0B396}" dt="2024-06-12T16:26:35.051" v="274" actId="1076"/>
          <ac:grpSpMkLst>
            <pc:docMk/>
            <pc:sldMk cId="3998329734" sldId="418"/>
            <ac:grpSpMk id="26" creationId="{6589B45E-A702-60A2-315A-4CFF2172F3D6}"/>
          </ac:grpSpMkLst>
        </pc:grpChg>
        <pc:grpChg chg="mod">
          <ac:chgData name="VANNACCI LORENZO" userId="d189ff1e-cd06-482b-a187-a1ac098b7893" providerId="ADAL" clId="{AF05CE8E-6C96-4376-968D-2528B0E0B396}" dt="2024-06-12T16:26:35.051" v="274" actId="1076"/>
          <ac:grpSpMkLst>
            <pc:docMk/>
            <pc:sldMk cId="3998329734" sldId="418"/>
            <ac:grpSpMk id="29" creationId="{BD4035DF-F94D-259C-9DD0-D316E3DBE16A}"/>
          </ac:grpSpMkLst>
        </pc:grpChg>
        <pc:grpChg chg="mod">
          <ac:chgData name="VANNACCI LORENZO" userId="d189ff1e-cd06-482b-a187-a1ac098b7893" providerId="ADAL" clId="{AF05CE8E-6C96-4376-968D-2528B0E0B396}" dt="2024-06-12T16:26:35.051" v="274" actId="1076"/>
          <ac:grpSpMkLst>
            <pc:docMk/>
            <pc:sldMk cId="3998329734" sldId="418"/>
            <ac:grpSpMk id="30" creationId="{68D84F87-CB20-1645-7FFB-A7011ED324D4}"/>
          </ac:grpSpMkLst>
        </pc:grpChg>
        <pc:grpChg chg="mod">
          <ac:chgData name="VANNACCI LORENZO" userId="d189ff1e-cd06-482b-a187-a1ac098b7893" providerId="ADAL" clId="{AF05CE8E-6C96-4376-968D-2528B0E0B396}" dt="2024-06-12T16:25:50.058" v="269" actId="1035"/>
          <ac:grpSpMkLst>
            <pc:docMk/>
            <pc:sldMk cId="3998329734" sldId="418"/>
            <ac:grpSpMk id="34" creationId="{555D790A-92CF-63EE-6EE1-7F2CD1DFEF5C}"/>
          </ac:grpSpMkLst>
        </pc:grpChg>
        <pc:grpChg chg="mod">
          <ac:chgData name="VANNACCI LORENZO" userId="d189ff1e-cd06-482b-a187-a1ac098b7893" providerId="ADAL" clId="{AF05CE8E-6C96-4376-968D-2528B0E0B396}" dt="2024-06-12T16:25:50.058" v="269" actId="1035"/>
          <ac:grpSpMkLst>
            <pc:docMk/>
            <pc:sldMk cId="3998329734" sldId="418"/>
            <ac:grpSpMk id="37" creationId="{A1325BE3-6BD2-7BE0-BF36-9BADB689246B}"/>
          </ac:grpSpMkLst>
        </pc:grpChg>
        <pc:grpChg chg="mod">
          <ac:chgData name="VANNACCI LORENZO" userId="d189ff1e-cd06-482b-a187-a1ac098b7893" providerId="ADAL" clId="{AF05CE8E-6C96-4376-968D-2528B0E0B396}" dt="2024-06-12T16:25:50.058" v="269" actId="1035"/>
          <ac:grpSpMkLst>
            <pc:docMk/>
            <pc:sldMk cId="3998329734" sldId="418"/>
            <ac:grpSpMk id="38" creationId="{B270DE37-F0A1-612E-210B-59CE4726CBEB}"/>
          </ac:grpSpMkLst>
        </pc:grpChg>
        <pc:grpChg chg="mod">
          <ac:chgData name="VANNACCI LORENZO" userId="d189ff1e-cd06-482b-a187-a1ac098b7893" providerId="ADAL" clId="{AF05CE8E-6C96-4376-968D-2528B0E0B396}" dt="2024-06-12T16:25:50.058" v="269" actId="1035"/>
          <ac:grpSpMkLst>
            <pc:docMk/>
            <pc:sldMk cId="3998329734" sldId="418"/>
            <ac:grpSpMk id="40" creationId="{7EFC068D-E578-4C86-30F7-9FCD6C5EAA39}"/>
          </ac:grpSpMkLst>
        </pc:grpChg>
        <pc:grpChg chg="mod">
          <ac:chgData name="VANNACCI LORENZO" userId="d189ff1e-cd06-482b-a187-a1ac098b7893" providerId="ADAL" clId="{AF05CE8E-6C96-4376-968D-2528B0E0B396}" dt="2024-06-12T16:25:50.058" v="269" actId="1035"/>
          <ac:grpSpMkLst>
            <pc:docMk/>
            <pc:sldMk cId="3998329734" sldId="418"/>
            <ac:grpSpMk id="43" creationId="{90D37A52-6890-721E-185F-DDA18542D477}"/>
          </ac:grpSpMkLst>
        </pc:grpChg>
        <pc:picChg chg="mod">
          <ac:chgData name="VANNACCI LORENZO" userId="d189ff1e-cd06-482b-a187-a1ac098b7893" providerId="ADAL" clId="{AF05CE8E-6C96-4376-968D-2528B0E0B396}" dt="2024-06-12T16:26:35.051" v="274" actId="1076"/>
          <ac:picMkLst>
            <pc:docMk/>
            <pc:sldMk cId="3998329734" sldId="418"/>
            <ac:picMk id="9" creationId="{DEA66AFA-09D3-F19C-4B00-8CBAAA4CC764}"/>
          </ac:picMkLst>
        </pc:picChg>
        <pc:picChg chg="mod">
          <ac:chgData name="VANNACCI LORENZO" userId="d189ff1e-cd06-482b-a187-a1ac098b7893" providerId="ADAL" clId="{AF05CE8E-6C96-4376-968D-2528B0E0B396}" dt="2024-06-12T16:26:35.051" v="274" actId="1076"/>
          <ac:picMkLst>
            <pc:docMk/>
            <pc:sldMk cId="3998329734" sldId="418"/>
            <ac:picMk id="14" creationId="{C48744EA-1D4E-5E93-7DD8-955CE0A91B09}"/>
          </ac:picMkLst>
        </pc:picChg>
        <pc:picChg chg="mod">
          <ac:chgData name="VANNACCI LORENZO" userId="d189ff1e-cd06-482b-a187-a1ac098b7893" providerId="ADAL" clId="{AF05CE8E-6C96-4376-968D-2528B0E0B396}" dt="2024-06-12T16:25:50.058" v="269" actId="1035"/>
          <ac:picMkLst>
            <pc:docMk/>
            <pc:sldMk cId="3998329734" sldId="418"/>
            <ac:picMk id="19" creationId="{B6F44A60-9C6B-F9D3-4375-42A55903CE44}"/>
          </ac:picMkLst>
        </pc:picChg>
        <pc:picChg chg="mod">
          <ac:chgData name="VANNACCI LORENZO" userId="d189ff1e-cd06-482b-a187-a1ac098b7893" providerId="ADAL" clId="{AF05CE8E-6C96-4376-968D-2528B0E0B396}" dt="2024-06-12T16:25:50.058" v="269" actId="1035"/>
          <ac:picMkLst>
            <pc:docMk/>
            <pc:sldMk cId="3998329734" sldId="418"/>
            <ac:picMk id="20" creationId="{A6D99A14-4F01-0117-7E8C-5CFE6C5F3F75}"/>
          </ac:picMkLst>
        </pc:picChg>
        <pc:picChg chg="mod">
          <ac:chgData name="VANNACCI LORENZO" userId="d189ff1e-cd06-482b-a187-a1ac098b7893" providerId="ADAL" clId="{AF05CE8E-6C96-4376-968D-2528B0E0B396}" dt="2024-06-12T16:26:35.051" v="274" actId="1076"/>
          <ac:picMkLst>
            <pc:docMk/>
            <pc:sldMk cId="3998329734" sldId="418"/>
            <ac:picMk id="24" creationId="{6C8650A0-60F0-1899-6E81-0C213E47C269}"/>
          </ac:picMkLst>
        </pc:picChg>
        <pc:picChg chg="mod">
          <ac:chgData name="VANNACCI LORENZO" userId="d189ff1e-cd06-482b-a187-a1ac098b7893" providerId="ADAL" clId="{AF05CE8E-6C96-4376-968D-2528B0E0B396}" dt="2024-06-12T16:26:35.051" v="274" actId="1076"/>
          <ac:picMkLst>
            <pc:docMk/>
            <pc:sldMk cId="3998329734" sldId="418"/>
            <ac:picMk id="32" creationId="{BEFA2DE1-1FD4-AAC1-83FA-95747F34FF0E}"/>
          </ac:picMkLst>
        </pc:picChg>
        <pc:picChg chg="mod">
          <ac:chgData name="VANNACCI LORENZO" userId="d189ff1e-cd06-482b-a187-a1ac098b7893" providerId="ADAL" clId="{AF05CE8E-6C96-4376-968D-2528B0E0B396}" dt="2024-06-12T16:26:35.051" v="274" actId="1076"/>
          <ac:picMkLst>
            <pc:docMk/>
            <pc:sldMk cId="3998329734" sldId="418"/>
            <ac:picMk id="33" creationId="{7BF23583-CC9E-A7BC-2CA7-1028A33C00FE}"/>
          </ac:picMkLst>
        </pc:picChg>
        <pc:picChg chg="mod">
          <ac:chgData name="VANNACCI LORENZO" userId="d189ff1e-cd06-482b-a187-a1ac098b7893" providerId="ADAL" clId="{AF05CE8E-6C96-4376-968D-2528B0E0B396}" dt="2024-06-12T16:25:50.058" v="269" actId="1035"/>
          <ac:picMkLst>
            <pc:docMk/>
            <pc:sldMk cId="3998329734" sldId="418"/>
            <ac:picMk id="42" creationId="{E58B9DB7-E4F7-79D5-EDE6-7DA7BCEF3D2B}"/>
          </ac:picMkLst>
        </pc:picChg>
        <pc:picChg chg="mod">
          <ac:chgData name="VANNACCI LORENZO" userId="d189ff1e-cd06-482b-a187-a1ac098b7893" providerId="ADAL" clId="{AF05CE8E-6C96-4376-968D-2528B0E0B396}" dt="2024-06-12T16:25:50.058" v="269" actId="1035"/>
          <ac:picMkLst>
            <pc:docMk/>
            <pc:sldMk cId="3998329734" sldId="418"/>
            <ac:picMk id="44" creationId="{814BDFB9-6271-D040-9681-A25290861E15}"/>
          </ac:picMkLst>
        </pc:picChg>
        <pc:picChg chg="mod">
          <ac:chgData name="VANNACCI LORENZO" userId="d189ff1e-cd06-482b-a187-a1ac098b7893" providerId="ADAL" clId="{AF05CE8E-6C96-4376-968D-2528B0E0B396}" dt="2024-06-12T16:25:50.058" v="269" actId="1035"/>
          <ac:picMkLst>
            <pc:docMk/>
            <pc:sldMk cId="3998329734" sldId="418"/>
            <ac:picMk id="45" creationId="{9E379DB3-0799-176E-7204-69D89CDB6216}"/>
          </ac:picMkLst>
        </pc:picChg>
        <pc:picChg chg="add del mod">
          <ac:chgData name="VANNACCI LORENZO" userId="d189ff1e-cd06-482b-a187-a1ac098b7893" providerId="ADAL" clId="{AF05CE8E-6C96-4376-968D-2528B0E0B396}" dt="2024-06-12T16:25:04.195" v="198"/>
          <ac:picMkLst>
            <pc:docMk/>
            <pc:sldMk cId="3998329734" sldId="418"/>
            <ac:picMk id="50" creationId="{7278FC15-7A6E-720E-2E3E-11527B084EC9}"/>
          </ac:picMkLst>
        </pc:picChg>
        <pc:picChg chg="add del mod">
          <ac:chgData name="VANNACCI LORENZO" userId="d189ff1e-cd06-482b-a187-a1ac098b7893" providerId="ADAL" clId="{AF05CE8E-6C96-4376-968D-2528B0E0B396}" dt="2024-06-12T16:25:04.195" v="198"/>
          <ac:picMkLst>
            <pc:docMk/>
            <pc:sldMk cId="3998329734" sldId="418"/>
            <ac:picMk id="51" creationId="{A1FDF236-6402-C2CB-D39B-0F5A118E1C19}"/>
          </ac:picMkLst>
        </pc:picChg>
        <pc:picChg chg="add del mod">
          <ac:chgData name="VANNACCI LORENZO" userId="d189ff1e-cd06-482b-a187-a1ac098b7893" providerId="ADAL" clId="{AF05CE8E-6C96-4376-968D-2528B0E0B396}" dt="2024-06-12T16:25:04.195" v="198"/>
          <ac:picMkLst>
            <pc:docMk/>
            <pc:sldMk cId="3998329734" sldId="418"/>
            <ac:picMk id="52" creationId="{737E3205-DE76-3F5E-6CDC-7BC78A6F6611}"/>
          </ac:picMkLst>
        </pc:picChg>
        <pc:picChg chg="add del mod">
          <ac:chgData name="VANNACCI LORENZO" userId="d189ff1e-cd06-482b-a187-a1ac098b7893" providerId="ADAL" clId="{AF05CE8E-6C96-4376-968D-2528B0E0B396}" dt="2024-06-12T16:25:04.195" v="198"/>
          <ac:picMkLst>
            <pc:docMk/>
            <pc:sldMk cId="3998329734" sldId="418"/>
            <ac:picMk id="56" creationId="{870B0300-CC08-1136-F586-30F6BA7E04D3}"/>
          </ac:picMkLst>
        </pc:picChg>
        <pc:cxnChg chg="mod">
          <ac:chgData name="VANNACCI LORENZO" userId="d189ff1e-cd06-482b-a187-a1ac098b7893" providerId="ADAL" clId="{AF05CE8E-6C96-4376-968D-2528B0E0B396}" dt="2024-06-12T16:26:35.051" v="274" actId="1076"/>
          <ac:cxnSpMkLst>
            <pc:docMk/>
            <pc:sldMk cId="3998329734" sldId="418"/>
            <ac:cxnSpMk id="7" creationId="{D6B0D81F-0217-42E7-FF46-52100DC5DBF5}"/>
          </ac:cxnSpMkLst>
        </pc:cxnChg>
        <pc:cxnChg chg="mod">
          <ac:chgData name="VANNACCI LORENZO" userId="d189ff1e-cd06-482b-a187-a1ac098b7893" providerId="ADAL" clId="{AF05CE8E-6C96-4376-968D-2528B0E0B396}" dt="2024-06-12T16:26:35.051" v="274" actId="1076"/>
          <ac:cxnSpMkLst>
            <pc:docMk/>
            <pc:sldMk cId="3998329734" sldId="418"/>
            <ac:cxnSpMk id="12" creationId="{B615EACE-3248-E58C-C388-D10844486C20}"/>
          </ac:cxnSpMkLst>
        </pc:cxnChg>
        <pc:cxnChg chg="mod topLvl">
          <ac:chgData name="VANNACCI LORENZO" userId="d189ff1e-cd06-482b-a187-a1ac098b7893" providerId="ADAL" clId="{AF05CE8E-6C96-4376-968D-2528B0E0B396}" dt="2024-06-12T16:26:51.217" v="275" actId="14100"/>
          <ac:cxnSpMkLst>
            <pc:docMk/>
            <pc:sldMk cId="3998329734" sldId="418"/>
            <ac:cxnSpMk id="23" creationId="{DD7E6867-BDF5-600B-101E-7D83CF9DEE4F}"/>
          </ac:cxnSpMkLst>
        </pc:cxnChg>
        <pc:cxnChg chg="mod">
          <ac:chgData name="VANNACCI LORENZO" userId="d189ff1e-cd06-482b-a187-a1ac098b7893" providerId="ADAL" clId="{AF05CE8E-6C96-4376-968D-2528B0E0B396}" dt="2024-06-12T16:26:35.051" v="274" actId="1076"/>
          <ac:cxnSpMkLst>
            <pc:docMk/>
            <pc:sldMk cId="3998329734" sldId="418"/>
            <ac:cxnSpMk id="27" creationId="{F4356FFE-6D4E-F1C8-0D8D-33B744D70666}"/>
          </ac:cxnSpMkLst>
        </pc:cxnChg>
        <pc:cxnChg chg="mod">
          <ac:chgData name="VANNACCI LORENZO" userId="d189ff1e-cd06-482b-a187-a1ac098b7893" providerId="ADAL" clId="{AF05CE8E-6C96-4376-968D-2528B0E0B396}" dt="2024-06-12T16:26:35.051" v="274" actId="1076"/>
          <ac:cxnSpMkLst>
            <pc:docMk/>
            <pc:sldMk cId="3998329734" sldId="418"/>
            <ac:cxnSpMk id="28" creationId="{5D6533D6-C0D7-7C92-EA1C-0E9593144625}"/>
          </ac:cxnSpMkLst>
        </pc:cxnChg>
        <pc:cxnChg chg="mod">
          <ac:chgData name="VANNACCI LORENZO" userId="d189ff1e-cd06-482b-a187-a1ac098b7893" providerId="ADAL" clId="{AF05CE8E-6C96-4376-968D-2528B0E0B396}" dt="2024-06-12T16:25:50.058" v="269" actId="1035"/>
          <ac:cxnSpMkLst>
            <pc:docMk/>
            <pc:sldMk cId="3998329734" sldId="418"/>
            <ac:cxnSpMk id="35" creationId="{58319F6B-4052-4F50-1B92-0141E07CCE3F}"/>
          </ac:cxnSpMkLst>
        </pc:cxnChg>
        <pc:cxnChg chg="mod">
          <ac:chgData name="VANNACCI LORENZO" userId="d189ff1e-cd06-482b-a187-a1ac098b7893" providerId="ADAL" clId="{AF05CE8E-6C96-4376-968D-2528B0E0B396}" dt="2024-06-12T16:25:50.058" v="269" actId="1035"/>
          <ac:cxnSpMkLst>
            <pc:docMk/>
            <pc:sldMk cId="3998329734" sldId="418"/>
            <ac:cxnSpMk id="36" creationId="{A7D169FE-DAC8-5E2F-ACD1-A11407D99394}"/>
          </ac:cxnSpMkLst>
        </pc:cxnChg>
        <pc:cxnChg chg="mod">
          <ac:chgData name="VANNACCI LORENZO" userId="d189ff1e-cd06-482b-a187-a1ac098b7893" providerId="ADAL" clId="{AF05CE8E-6C96-4376-968D-2528B0E0B396}" dt="2024-06-12T16:26:09.714" v="272" actId="14100"/>
          <ac:cxnSpMkLst>
            <pc:docMk/>
            <pc:sldMk cId="3998329734" sldId="418"/>
            <ac:cxnSpMk id="41" creationId="{4B95D689-2BA1-21FE-B42F-C52948DFE7DA}"/>
          </ac:cxnSpMkLst>
        </pc:cxnChg>
        <pc:cxnChg chg="mod">
          <ac:chgData name="VANNACCI LORENZO" userId="d189ff1e-cd06-482b-a187-a1ac098b7893" providerId="ADAL" clId="{AF05CE8E-6C96-4376-968D-2528B0E0B396}" dt="2024-06-12T16:25:28.059" v="220" actId="1036"/>
          <ac:cxnSpMkLst>
            <pc:docMk/>
            <pc:sldMk cId="3998329734" sldId="418"/>
            <ac:cxnSpMk id="57" creationId="{1984523B-4E58-5379-4E2E-4E8B932EEAD3}"/>
          </ac:cxnSpMkLst>
        </pc:cxnChg>
        <pc:cxnChg chg="mod">
          <ac:chgData name="VANNACCI LORENZO" userId="d189ff1e-cd06-482b-a187-a1ac098b7893" providerId="ADAL" clId="{AF05CE8E-6C96-4376-968D-2528B0E0B396}" dt="2024-06-12T16:25:28.059" v="220" actId="1036"/>
          <ac:cxnSpMkLst>
            <pc:docMk/>
            <pc:sldMk cId="3998329734" sldId="418"/>
            <ac:cxnSpMk id="58" creationId="{BF73D843-4FF9-46EE-F955-C9273B00DC99}"/>
          </ac:cxnSpMkLst>
        </pc:cxnChg>
      </pc:sldChg>
      <pc:sldChg chg="modSp">
        <pc:chgData name="VANNACCI LORENZO" userId="d189ff1e-cd06-482b-a187-a1ac098b7893" providerId="ADAL" clId="{AF05CE8E-6C96-4376-968D-2528B0E0B396}" dt="2024-06-12T19:44:46.313" v="722" actId="113"/>
        <pc:sldMkLst>
          <pc:docMk/>
          <pc:sldMk cId="210681782" sldId="419"/>
        </pc:sldMkLst>
        <pc:spChg chg="mod">
          <ac:chgData name="VANNACCI LORENZO" userId="d189ff1e-cd06-482b-a187-a1ac098b7893" providerId="ADAL" clId="{AF05CE8E-6C96-4376-968D-2528B0E0B396}" dt="2024-06-12T19:44:46.313" v="722" actId="113"/>
          <ac:spMkLst>
            <pc:docMk/>
            <pc:sldMk cId="210681782" sldId="419"/>
            <ac:spMk id="3" creationId="{770F0241-2F41-413C-B1CF-6DAF71F29ED7}"/>
          </ac:spMkLst>
        </pc:spChg>
      </pc:sldChg>
      <pc:sldChg chg="del">
        <pc:chgData name="VANNACCI LORENZO" userId="d189ff1e-cd06-482b-a187-a1ac098b7893" providerId="ADAL" clId="{AF05CE8E-6C96-4376-968D-2528B0E0B396}" dt="2024-06-12T12:41:55.489" v="0" actId="47"/>
        <pc:sldMkLst>
          <pc:docMk/>
          <pc:sldMk cId="325550356" sldId="422"/>
        </pc:sldMkLst>
      </pc:sldChg>
      <pc:sldChg chg="modSp mod">
        <pc:chgData name="VANNACCI LORENZO" userId="d189ff1e-cd06-482b-a187-a1ac098b7893" providerId="ADAL" clId="{AF05CE8E-6C96-4376-968D-2528B0E0B396}" dt="2024-06-12T20:59:50.173" v="1999" actId="20577"/>
        <pc:sldMkLst>
          <pc:docMk/>
          <pc:sldMk cId="758239583" sldId="423"/>
        </pc:sldMkLst>
        <pc:spChg chg="mod">
          <ac:chgData name="VANNACCI LORENZO" userId="d189ff1e-cd06-482b-a187-a1ac098b7893" providerId="ADAL" clId="{AF05CE8E-6C96-4376-968D-2528B0E0B396}" dt="2024-06-12T20:59:50.173" v="1999" actId="20577"/>
          <ac:spMkLst>
            <pc:docMk/>
            <pc:sldMk cId="758239583" sldId="423"/>
            <ac:spMk id="7" creationId="{46F317B5-B345-222A-BEA9-A8C6700A35C5}"/>
          </ac:spMkLst>
        </pc:spChg>
      </pc:sldChg>
      <pc:sldChg chg="del ord">
        <pc:chgData name="VANNACCI LORENZO" userId="d189ff1e-cd06-482b-a187-a1ac098b7893" providerId="ADAL" clId="{AF05CE8E-6C96-4376-968D-2528B0E0B396}" dt="2024-06-12T17:36:24.039" v="690" actId="47"/>
        <pc:sldMkLst>
          <pc:docMk/>
          <pc:sldMk cId="2729575244" sldId="424"/>
        </pc:sldMkLst>
      </pc:sldChg>
      <pc:sldChg chg="addSp delSp modSp mod">
        <pc:chgData name="VANNACCI LORENZO" userId="d189ff1e-cd06-482b-a187-a1ac098b7893" providerId="ADAL" clId="{AF05CE8E-6C96-4376-968D-2528B0E0B396}" dt="2024-06-12T16:22:54.247" v="196" actId="1076"/>
        <pc:sldMkLst>
          <pc:docMk/>
          <pc:sldMk cId="270458028" sldId="426"/>
        </pc:sldMkLst>
        <pc:spChg chg="add mod">
          <ac:chgData name="VANNACCI LORENZO" userId="d189ff1e-cd06-482b-a187-a1ac098b7893" providerId="ADAL" clId="{AF05CE8E-6C96-4376-968D-2528B0E0B396}" dt="2024-06-12T16:22:54.247" v="196" actId="1076"/>
          <ac:spMkLst>
            <pc:docMk/>
            <pc:sldMk cId="270458028" sldId="426"/>
            <ac:spMk id="19" creationId="{13F2BC33-5A21-118A-8AE0-D413ABD9FE2E}"/>
          </ac:spMkLst>
        </pc:spChg>
        <pc:spChg chg="add del mod modVis">
          <ac:chgData name="VANNACCI LORENZO" userId="d189ff1e-cd06-482b-a187-a1ac098b7893" providerId="ADAL" clId="{AF05CE8E-6C96-4376-968D-2528B0E0B396}" dt="2024-06-12T16:22:19.474" v="183"/>
          <ac:spMkLst>
            <pc:docMk/>
            <pc:sldMk cId="270458028" sldId="426"/>
            <ac:spMk id="21" creationId="{B838BC7F-FC62-82D8-9EDF-99AF8406B8A6}"/>
          </ac:spMkLst>
        </pc:spChg>
        <pc:spChg chg="mod">
          <ac:chgData name="VANNACCI LORENZO" userId="d189ff1e-cd06-482b-a187-a1ac098b7893" providerId="ADAL" clId="{AF05CE8E-6C96-4376-968D-2528B0E0B396}" dt="2024-06-12T16:19:28.272" v="35" actId="1076"/>
          <ac:spMkLst>
            <pc:docMk/>
            <pc:sldMk cId="270458028" sldId="426"/>
            <ac:spMk id="180" creationId="{13283579-C36D-E219-E31C-966CECD6F2E2}"/>
          </ac:spMkLst>
        </pc:spChg>
        <pc:spChg chg="mod">
          <ac:chgData name="VANNACCI LORENZO" userId="d189ff1e-cd06-482b-a187-a1ac098b7893" providerId="ADAL" clId="{AF05CE8E-6C96-4376-968D-2528B0E0B396}" dt="2024-06-12T16:22:19.396" v="160" actId="948"/>
          <ac:spMkLst>
            <pc:docMk/>
            <pc:sldMk cId="270458028" sldId="426"/>
            <ac:spMk id="237" creationId="{DB9C3473-DC53-CFA5-6785-21FF4605567B}"/>
          </ac:spMkLst>
        </pc:spChg>
        <pc:grpChg chg="mod">
          <ac:chgData name="VANNACCI LORENZO" userId="d189ff1e-cd06-482b-a187-a1ac098b7893" providerId="ADAL" clId="{AF05CE8E-6C96-4376-968D-2528B0E0B396}" dt="2024-06-12T16:20:56.369" v="81" actId="1036"/>
          <ac:grpSpMkLst>
            <pc:docMk/>
            <pc:sldMk cId="270458028" sldId="426"/>
            <ac:grpSpMk id="46" creationId="{E799C6DB-BB6D-7C1B-FCA0-309A01EB5EF0}"/>
          </ac:grpSpMkLst>
        </pc:grpChg>
        <pc:grpChg chg="mod">
          <ac:chgData name="VANNACCI LORENZO" userId="d189ff1e-cd06-482b-a187-a1ac098b7893" providerId="ADAL" clId="{AF05CE8E-6C96-4376-968D-2528B0E0B396}" dt="2024-06-12T16:21:16.281" v="115" actId="1036"/>
          <ac:grpSpMkLst>
            <pc:docMk/>
            <pc:sldMk cId="270458028" sldId="426"/>
            <ac:grpSpMk id="85" creationId="{EC6E04C9-1375-EAC6-4809-C041C2855361}"/>
          </ac:grpSpMkLst>
        </pc:grpChg>
        <pc:grpChg chg="mod">
          <ac:chgData name="VANNACCI LORENZO" userId="d189ff1e-cd06-482b-a187-a1ac098b7893" providerId="ADAL" clId="{AF05CE8E-6C96-4376-968D-2528B0E0B396}" dt="2024-06-12T16:21:05.849" v="93" actId="1036"/>
          <ac:grpSpMkLst>
            <pc:docMk/>
            <pc:sldMk cId="270458028" sldId="426"/>
            <ac:grpSpMk id="92" creationId="{1218BE95-14E9-4AE1-39D1-C506A2B832F4}"/>
          </ac:grpSpMkLst>
        </pc:grpChg>
        <pc:grpChg chg="mod">
          <ac:chgData name="VANNACCI LORENZO" userId="d189ff1e-cd06-482b-a187-a1ac098b7893" providerId="ADAL" clId="{AF05CE8E-6C96-4376-968D-2528B0E0B396}" dt="2024-06-12T16:20:56.369" v="81" actId="1036"/>
          <ac:grpSpMkLst>
            <pc:docMk/>
            <pc:sldMk cId="270458028" sldId="426"/>
            <ac:grpSpMk id="98" creationId="{4B5DAF40-DE37-5A16-AB1D-D180653D4524}"/>
          </ac:grpSpMkLst>
        </pc:grpChg>
        <pc:grpChg chg="mod">
          <ac:chgData name="VANNACCI LORENZO" userId="d189ff1e-cd06-482b-a187-a1ac098b7893" providerId="ADAL" clId="{AF05CE8E-6C96-4376-968D-2528B0E0B396}" dt="2024-06-12T16:20:56.369" v="81" actId="1036"/>
          <ac:grpSpMkLst>
            <pc:docMk/>
            <pc:sldMk cId="270458028" sldId="426"/>
            <ac:grpSpMk id="107" creationId="{7B8C616A-F5BF-BC89-2482-13A628988F21}"/>
          </ac:grpSpMkLst>
        </pc:grpChg>
        <pc:grpChg chg="mod">
          <ac:chgData name="VANNACCI LORENZO" userId="d189ff1e-cd06-482b-a187-a1ac098b7893" providerId="ADAL" clId="{AF05CE8E-6C96-4376-968D-2528B0E0B396}" dt="2024-06-12T16:21:10.934" v="105" actId="1036"/>
          <ac:grpSpMkLst>
            <pc:docMk/>
            <pc:sldMk cId="270458028" sldId="426"/>
            <ac:grpSpMk id="123" creationId="{6F9695E0-1AA0-CA7A-A20C-A7A097E2C857}"/>
          </ac:grpSpMkLst>
        </pc:grpChg>
        <pc:graphicFrameChg chg="mod">
          <ac:chgData name="VANNACCI LORENZO" userId="d189ff1e-cd06-482b-a187-a1ac098b7893" providerId="ADAL" clId="{AF05CE8E-6C96-4376-968D-2528B0E0B396}" dt="2024-06-12T16:22:19.474" v="185"/>
          <ac:graphicFrameMkLst>
            <pc:docMk/>
            <pc:sldMk cId="270458028" sldId="426"/>
            <ac:graphicFrameMk id="3" creationId="{C0CC82C4-A045-690C-27E4-737E213CD90A}"/>
          </ac:graphicFrameMkLst>
        </pc:graphicFrameChg>
        <pc:picChg chg="mod">
          <ac:chgData name="VANNACCI LORENZO" userId="d189ff1e-cd06-482b-a187-a1ac098b7893" providerId="ADAL" clId="{AF05CE8E-6C96-4376-968D-2528B0E0B396}" dt="2024-06-12T16:19:31.695" v="36" actId="1076"/>
          <ac:picMkLst>
            <pc:docMk/>
            <pc:sldMk cId="270458028" sldId="426"/>
            <ac:picMk id="181" creationId="{1482B8DE-8C92-8D43-58F8-93A404E653E2}"/>
          </ac:picMkLst>
        </pc:picChg>
        <pc:cxnChg chg="mod">
          <ac:chgData name="VANNACCI LORENZO" userId="d189ff1e-cd06-482b-a187-a1ac098b7893" providerId="ADAL" clId="{AF05CE8E-6C96-4376-968D-2528B0E0B396}" dt="2024-06-12T16:20:04.131" v="38" actId="14100"/>
          <ac:cxnSpMkLst>
            <pc:docMk/>
            <pc:sldMk cId="270458028" sldId="426"/>
            <ac:cxnSpMk id="11" creationId="{172DE776-0E24-B62B-6693-FDEFC2810D92}"/>
          </ac:cxnSpMkLst>
        </pc:cxnChg>
        <pc:cxnChg chg="mod">
          <ac:chgData name="VANNACCI LORENZO" userId="d189ff1e-cd06-482b-a187-a1ac098b7893" providerId="ADAL" clId="{AF05CE8E-6C96-4376-968D-2528B0E0B396}" dt="2024-06-12T16:20:15.500" v="40" actId="14100"/>
          <ac:cxnSpMkLst>
            <pc:docMk/>
            <pc:sldMk cId="270458028" sldId="426"/>
            <ac:cxnSpMk id="58" creationId="{0EDDB288-E11D-43C3-6A9B-3E0D5AE543F3}"/>
          </ac:cxnSpMkLst>
        </pc:cxnChg>
        <pc:cxnChg chg="mod">
          <ac:chgData name="VANNACCI LORENZO" userId="d189ff1e-cd06-482b-a187-a1ac098b7893" providerId="ADAL" clId="{AF05CE8E-6C96-4376-968D-2528B0E0B396}" dt="2024-06-12T16:19:52.676" v="37" actId="14100"/>
          <ac:cxnSpMkLst>
            <pc:docMk/>
            <pc:sldMk cId="270458028" sldId="426"/>
            <ac:cxnSpMk id="65" creationId="{911E4518-2983-9C76-9CB2-3B46B40A6158}"/>
          </ac:cxnSpMkLst>
        </pc:cxnChg>
        <pc:cxnChg chg="mod">
          <ac:chgData name="VANNACCI LORENZO" userId="d189ff1e-cd06-482b-a187-a1ac098b7893" providerId="ADAL" clId="{AF05CE8E-6C96-4376-968D-2528B0E0B396}" dt="2024-06-12T16:20:09.340" v="39" actId="14100"/>
          <ac:cxnSpMkLst>
            <pc:docMk/>
            <pc:sldMk cId="270458028" sldId="426"/>
            <ac:cxnSpMk id="72" creationId="{9E1ACF10-CFFF-3046-BB1F-DA020CDB1851}"/>
          </ac:cxnSpMkLst>
        </pc:cxnChg>
        <pc:cxnChg chg="mod">
          <ac:chgData name="VANNACCI LORENZO" userId="d189ff1e-cd06-482b-a187-a1ac098b7893" providerId="ADAL" clId="{AF05CE8E-6C96-4376-968D-2528B0E0B396}" dt="2024-06-12T16:20:30.187" v="42" actId="14100"/>
          <ac:cxnSpMkLst>
            <pc:docMk/>
            <pc:sldMk cId="270458028" sldId="426"/>
            <ac:cxnSpMk id="211" creationId="{8C5621BE-00D8-00F2-462E-DC360050544B}"/>
          </ac:cxnSpMkLst>
        </pc:cxnChg>
        <pc:cxnChg chg="mod">
          <ac:chgData name="VANNACCI LORENZO" userId="d189ff1e-cd06-482b-a187-a1ac098b7893" providerId="ADAL" clId="{AF05CE8E-6C96-4376-968D-2528B0E0B396}" dt="2024-06-12T16:20:20.508" v="41" actId="14100"/>
          <ac:cxnSpMkLst>
            <pc:docMk/>
            <pc:sldMk cId="270458028" sldId="426"/>
            <ac:cxnSpMk id="214" creationId="{0E948926-4ECA-1CE6-5196-ABE87E2972C6}"/>
          </ac:cxnSpMkLst>
        </pc:cxnChg>
      </pc:sldChg>
      <pc:sldChg chg="addSp delSp modSp add del mod">
        <pc:chgData name="VANNACCI LORENZO" userId="d189ff1e-cd06-482b-a187-a1ac098b7893" providerId="ADAL" clId="{AF05CE8E-6C96-4376-968D-2528B0E0B396}" dt="2024-06-12T20:17:00.934" v="1529" actId="47"/>
        <pc:sldMkLst>
          <pc:docMk/>
          <pc:sldMk cId="2692021260" sldId="427"/>
        </pc:sldMkLst>
        <pc:spChg chg="mod">
          <ac:chgData name="VANNACCI LORENZO" userId="d189ff1e-cd06-482b-a187-a1ac098b7893" providerId="ADAL" clId="{AF05CE8E-6C96-4376-968D-2528B0E0B396}" dt="2024-06-12T19:52:34.924" v="1499" actId="948"/>
          <ac:spMkLst>
            <pc:docMk/>
            <pc:sldMk cId="2692021260" sldId="427"/>
            <ac:spMk id="3" creationId="{58BFC41D-11B8-2787-996A-65A16E0BBC62}"/>
          </ac:spMkLst>
        </pc:spChg>
        <pc:spChg chg="add del mod modVis">
          <ac:chgData name="VANNACCI LORENZO" userId="d189ff1e-cd06-482b-a187-a1ac098b7893" providerId="ADAL" clId="{AF05CE8E-6C96-4376-968D-2528B0E0B396}" dt="2024-06-12T19:51:49.925" v="1218"/>
          <ac:spMkLst>
            <pc:docMk/>
            <pc:sldMk cId="2692021260" sldId="427"/>
            <ac:spMk id="5" creationId="{A32EFB8A-9357-51F6-3841-38BA886D2037}"/>
          </ac:spMkLst>
        </pc:spChg>
        <pc:spChg chg="add del mod modVis">
          <ac:chgData name="VANNACCI LORENZO" userId="d189ff1e-cd06-482b-a187-a1ac098b7893" providerId="ADAL" clId="{AF05CE8E-6C96-4376-968D-2528B0E0B396}" dt="2024-06-12T19:51:51.867" v="1247"/>
          <ac:spMkLst>
            <pc:docMk/>
            <pc:sldMk cId="2692021260" sldId="427"/>
            <ac:spMk id="8" creationId="{0B25F1CD-A92B-5680-0363-BDA2B9A67F02}"/>
          </ac:spMkLst>
        </pc:spChg>
        <pc:spChg chg="add del mod modVis">
          <ac:chgData name="VANNACCI LORENZO" userId="d189ff1e-cd06-482b-a187-a1ac098b7893" providerId="ADAL" clId="{AF05CE8E-6C96-4376-968D-2528B0E0B396}" dt="2024-06-12T19:51:54.917" v="1283"/>
          <ac:spMkLst>
            <pc:docMk/>
            <pc:sldMk cId="2692021260" sldId="427"/>
            <ac:spMk id="9" creationId="{B95C65AD-C88C-3084-3BF5-49EAB527CF8F}"/>
          </ac:spMkLst>
        </pc:spChg>
        <pc:spChg chg="add del mod modVis">
          <ac:chgData name="VANNACCI LORENZO" userId="d189ff1e-cd06-482b-a187-a1ac098b7893" providerId="ADAL" clId="{AF05CE8E-6C96-4376-968D-2528B0E0B396}" dt="2024-06-12T19:51:55.650" v="1310"/>
          <ac:spMkLst>
            <pc:docMk/>
            <pc:sldMk cId="2692021260" sldId="427"/>
            <ac:spMk id="10" creationId="{B45FD7A9-218A-1666-AD38-547B12C39C21}"/>
          </ac:spMkLst>
        </pc:spChg>
        <pc:spChg chg="add del mod modVis">
          <ac:chgData name="VANNACCI LORENZO" userId="d189ff1e-cd06-482b-a187-a1ac098b7893" providerId="ADAL" clId="{AF05CE8E-6C96-4376-968D-2528B0E0B396}" dt="2024-06-12T19:51:56.910" v="1340"/>
          <ac:spMkLst>
            <pc:docMk/>
            <pc:sldMk cId="2692021260" sldId="427"/>
            <ac:spMk id="11" creationId="{3197ABD1-83A9-DF25-B0C8-745B21546C35}"/>
          </ac:spMkLst>
        </pc:spChg>
        <pc:spChg chg="add del mod modVis">
          <ac:chgData name="VANNACCI LORENZO" userId="d189ff1e-cd06-482b-a187-a1ac098b7893" providerId="ADAL" clId="{AF05CE8E-6C96-4376-968D-2528B0E0B396}" dt="2024-06-12T19:51:57.678" v="1367"/>
          <ac:spMkLst>
            <pc:docMk/>
            <pc:sldMk cId="2692021260" sldId="427"/>
            <ac:spMk id="12" creationId="{5606881E-2B31-6B21-39BF-6C733DDD1312}"/>
          </ac:spMkLst>
        </pc:spChg>
        <pc:spChg chg="add del mod modVis">
          <ac:chgData name="VANNACCI LORENZO" userId="d189ff1e-cd06-482b-a187-a1ac098b7893" providerId="ADAL" clId="{AF05CE8E-6C96-4376-968D-2528B0E0B396}" dt="2024-06-12T19:51:59.147" v="1397"/>
          <ac:spMkLst>
            <pc:docMk/>
            <pc:sldMk cId="2692021260" sldId="427"/>
            <ac:spMk id="13" creationId="{19FC68E8-1938-C37C-F2DB-3A83EC88C0C3}"/>
          </ac:spMkLst>
        </pc:spChg>
        <pc:spChg chg="add del mod modVis">
          <ac:chgData name="VANNACCI LORENZO" userId="d189ff1e-cd06-482b-a187-a1ac098b7893" providerId="ADAL" clId="{AF05CE8E-6C96-4376-968D-2528B0E0B396}" dt="2024-06-12T19:52:00.407" v="1426"/>
          <ac:spMkLst>
            <pc:docMk/>
            <pc:sldMk cId="2692021260" sldId="427"/>
            <ac:spMk id="14" creationId="{85714EEE-5452-DD66-D38C-DD293D47B665}"/>
          </ac:spMkLst>
        </pc:spChg>
        <pc:spChg chg="add del mod modVis">
          <ac:chgData name="VANNACCI LORENZO" userId="d189ff1e-cd06-482b-a187-a1ac098b7893" providerId="ADAL" clId="{AF05CE8E-6C96-4376-968D-2528B0E0B396}" dt="2024-06-12T19:52:04.698" v="1466"/>
          <ac:spMkLst>
            <pc:docMk/>
            <pc:sldMk cId="2692021260" sldId="427"/>
            <ac:spMk id="15" creationId="{EE55D09C-4AFA-8B4C-EFEE-42A2B9E5315D}"/>
          </ac:spMkLst>
        </pc:spChg>
        <pc:spChg chg="add del mod modVis">
          <ac:chgData name="VANNACCI LORENZO" userId="d189ff1e-cd06-482b-a187-a1ac098b7893" providerId="ADAL" clId="{AF05CE8E-6C96-4376-968D-2528B0E0B396}" dt="2024-06-12T19:52:30.099" v="1495"/>
          <ac:spMkLst>
            <pc:docMk/>
            <pc:sldMk cId="2692021260" sldId="427"/>
            <ac:spMk id="16" creationId="{7B736A28-2EB1-0C2A-499C-CB95158761E8}"/>
          </ac:spMkLst>
        </pc:spChg>
        <pc:spChg chg="add del mod modVis">
          <ac:chgData name="VANNACCI LORENZO" userId="d189ff1e-cd06-482b-a187-a1ac098b7893" providerId="ADAL" clId="{AF05CE8E-6C96-4376-968D-2528B0E0B396}" dt="2024-06-12T19:52:34.944" v="1522"/>
          <ac:spMkLst>
            <pc:docMk/>
            <pc:sldMk cId="2692021260" sldId="427"/>
            <ac:spMk id="17" creationId="{A60795C8-942A-8673-2C86-89E8AC159C61}"/>
          </ac:spMkLst>
        </pc:spChg>
        <pc:graphicFrameChg chg="add mod ord modVis replST">
          <ac:chgData name="VANNACCI LORENZO" userId="d189ff1e-cd06-482b-a187-a1ac098b7893" providerId="ADAL" clId="{AF05CE8E-6C96-4376-968D-2528B0E0B396}" dt="2024-06-12T20:00:16.813" v="1528"/>
          <ac:graphicFrameMkLst>
            <pc:docMk/>
            <pc:sldMk cId="2692021260" sldId="427"/>
            <ac:graphicFrameMk id="4" creationId="{33E3B45D-4FE0-6F70-6E01-EFDCA232E8C0}"/>
          </ac:graphicFrameMkLst>
        </pc:graphicFrameChg>
      </pc:sldChg>
      <pc:sldChg chg="addSp delSp modSp mod modNotesTx">
        <pc:chgData name="VANNACCI LORENZO" userId="d189ff1e-cd06-482b-a187-a1ac098b7893" providerId="ADAL" clId="{AF05CE8E-6C96-4376-968D-2528B0E0B396}" dt="2024-06-12T17:44:49.084" v="711" actId="1076"/>
        <pc:sldMkLst>
          <pc:docMk/>
          <pc:sldMk cId="2343048918" sldId="428"/>
        </pc:sldMkLst>
        <pc:spChg chg="mod">
          <ac:chgData name="VANNACCI LORENZO" userId="d189ff1e-cd06-482b-a187-a1ac098b7893" providerId="ADAL" clId="{AF05CE8E-6C96-4376-968D-2528B0E0B396}" dt="2024-06-12T13:10:43.957" v="23" actId="404"/>
          <ac:spMkLst>
            <pc:docMk/>
            <pc:sldMk cId="2343048918" sldId="428"/>
            <ac:spMk id="28" creationId="{61D91307-AF8B-7190-FEF5-C241D1E577F6}"/>
          </ac:spMkLst>
        </pc:spChg>
        <pc:spChg chg="mod">
          <ac:chgData name="VANNACCI LORENZO" userId="d189ff1e-cd06-482b-a187-a1ac098b7893" providerId="ADAL" clId="{AF05CE8E-6C96-4376-968D-2528B0E0B396}" dt="2024-06-12T13:10:35.878" v="21" actId="404"/>
          <ac:spMkLst>
            <pc:docMk/>
            <pc:sldMk cId="2343048918" sldId="428"/>
            <ac:spMk id="30" creationId="{14F9D5B4-13B9-7711-1E9F-B4D317A65012}"/>
          </ac:spMkLst>
        </pc:spChg>
        <pc:spChg chg="mod">
          <ac:chgData name="VANNACCI LORENZO" userId="d189ff1e-cd06-482b-a187-a1ac098b7893" providerId="ADAL" clId="{AF05CE8E-6C96-4376-968D-2528B0E0B396}" dt="2024-06-12T13:16:02.151" v="29" actId="1076"/>
          <ac:spMkLst>
            <pc:docMk/>
            <pc:sldMk cId="2343048918" sldId="428"/>
            <ac:spMk id="408" creationId="{4729BCB1-F7AC-1E03-5716-293E3A8CACFE}"/>
          </ac:spMkLst>
        </pc:spChg>
        <pc:spChg chg="mod">
          <ac:chgData name="VANNACCI LORENZO" userId="d189ff1e-cd06-482b-a187-a1ac098b7893" providerId="ADAL" clId="{AF05CE8E-6C96-4376-968D-2528B0E0B396}" dt="2024-06-12T13:15:42.720" v="25" actId="14100"/>
          <ac:spMkLst>
            <pc:docMk/>
            <pc:sldMk cId="2343048918" sldId="428"/>
            <ac:spMk id="433" creationId="{174D861A-2C74-268C-5F7E-D433849D5BC4}"/>
          </ac:spMkLst>
        </pc:spChg>
        <pc:spChg chg="mod">
          <ac:chgData name="VANNACCI LORENZO" userId="d189ff1e-cd06-482b-a187-a1ac098b7893" providerId="ADAL" clId="{AF05CE8E-6C96-4376-968D-2528B0E0B396}" dt="2024-06-12T17:40:38.900" v="698" actId="207"/>
          <ac:spMkLst>
            <pc:docMk/>
            <pc:sldMk cId="2343048918" sldId="428"/>
            <ac:spMk id="653" creationId="{490C3DF7-822F-57D1-2B5A-FF97C9FC3C80}"/>
          </ac:spMkLst>
        </pc:spChg>
        <pc:spChg chg="mod">
          <ac:chgData name="VANNACCI LORENZO" userId="d189ff1e-cd06-482b-a187-a1ac098b7893" providerId="ADAL" clId="{AF05CE8E-6C96-4376-968D-2528B0E0B396}" dt="2024-06-12T17:40:30.475" v="697" actId="207"/>
          <ac:spMkLst>
            <pc:docMk/>
            <pc:sldMk cId="2343048918" sldId="428"/>
            <ac:spMk id="663" creationId="{B56EDE41-8DC2-D72D-F955-0C860A32F97F}"/>
          </ac:spMkLst>
        </pc:spChg>
        <pc:spChg chg="mod">
          <ac:chgData name="VANNACCI LORENZO" userId="d189ff1e-cd06-482b-a187-a1ac098b7893" providerId="ADAL" clId="{AF05CE8E-6C96-4376-968D-2528B0E0B396}" dt="2024-06-12T17:40:03.451" v="693" actId="207"/>
          <ac:spMkLst>
            <pc:docMk/>
            <pc:sldMk cId="2343048918" sldId="428"/>
            <ac:spMk id="668" creationId="{DCBB6E52-5257-E81A-D6B5-FA7EA9E6C468}"/>
          </ac:spMkLst>
        </pc:spChg>
        <pc:spChg chg="mod">
          <ac:chgData name="VANNACCI LORENZO" userId="d189ff1e-cd06-482b-a187-a1ac098b7893" providerId="ADAL" clId="{AF05CE8E-6C96-4376-968D-2528B0E0B396}" dt="2024-06-12T17:40:12.775" v="695" actId="207"/>
          <ac:spMkLst>
            <pc:docMk/>
            <pc:sldMk cId="2343048918" sldId="428"/>
            <ac:spMk id="670" creationId="{9B2085CA-F5E6-D32C-D2C7-875D68C8D86C}"/>
          </ac:spMkLst>
        </pc:spChg>
        <pc:spChg chg="mod">
          <ac:chgData name="VANNACCI LORENZO" userId="d189ff1e-cd06-482b-a187-a1ac098b7893" providerId="ADAL" clId="{AF05CE8E-6C96-4376-968D-2528B0E0B396}" dt="2024-06-12T17:39:53.227" v="692" actId="207"/>
          <ac:spMkLst>
            <pc:docMk/>
            <pc:sldMk cId="2343048918" sldId="428"/>
            <ac:spMk id="674" creationId="{61FE61A5-28B8-DE32-2169-E67859D2E0EC}"/>
          </ac:spMkLst>
        </pc:spChg>
        <pc:spChg chg="mod">
          <ac:chgData name="VANNACCI LORENZO" userId="d189ff1e-cd06-482b-a187-a1ac098b7893" providerId="ADAL" clId="{AF05CE8E-6C96-4376-968D-2528B0E0B396}" dt="2024-06-12T17:39:40.584" v="691" actId="207"/>
          <ac:spMkLst>
            <pc:docMk/>
            <pc:sldMk cId="2343048918" sldId="428"/>
            <ac:spMk id="675" creationId="{1AD1A44A-C98E-ED27-BEA9-6A1F7995EDA0}"/>
          </ac:spMkLst>
        </pc:spChg>
        <pc:spChg chg="mod">
          <ac:chgData name="VANNACCI LORENZO" userId="d189ff1e-cd06-482b-a187-a1ac098b7893" providerId="ADAL" clId="{AF05CE8E-6C96-4376-968D-2528B0E0B396}" dt="2024-06-12T17:40:21.198" v="696" actId="207"/>
          <ac:spMkLst>
            <pc:docMk/>
            <pc:sldMk cId="2343048918" sldId="428"/>
            <ac:spMk id="676" creationId="{9387A3D4-CF34-6322-05ED-3E53119291F5}"/>
          </ac:spMkLst>
        </pc:spChg>
        <pc:spChg chg="add del mod">
          <ac:chgData name="VANNACCI LORENZO" userId="d189ff1e-cd06-482b-a187-a1ac098b7893" providerId="ADAL" clId="{AF05CE8E-6C96-4376-968D-2528B0E0B396}" dt="2024-06-12T13:08:33.913" v="19" actId="478"/>
          <ac:spMkLst>
            <pc:docMk/>
            <pc:sldMk cId="2343048918" sldId="428"/>
            <ac:spMk id="716" creationId="{CF297AA0-7D14-75C0-EB49-930CCCA0149F}"/>
          </ac:spMkLst>
        </pc:spChg>
        <pc:picChg chg="add mod">
          <ac:chgData name="VANNACCI LORENZO" userId="d189ff1e-cd06-482b-a187-a1ac098b7893" providerId="ADAL" clId="{AF05CE8E-6C96-4376-968D-2528B0E0B396}" dt="2024-06-12T17:44:13.047" v="708" actId="1076"/>
          <ac:picMkLst>
            <pc:docMk/>
            <pc:sldMk cId="2343048918" sldId="428"/>
            <ac:picMk id="3" creationId="{3055D344-E612-25A0-334B-F62C8A5DC157}"/>
          </ac:picMkLst>
        </pc:picChg>
        <pc:picChg chg="add mod">
          <ac:chgData name="VANNACCI LORENZO" userId="d189ff1e-cd06-482b-a187-a1ac098b7893" providerId="ADAL" clId="{AF05CE8E-6C96-4376-968D-2528B0E0B396}" dt="2024-06-12T17:44:49.084" v="711" actId="1076"/>
          <ac:picMkLst>
            <pc:docMk/>
            <pc:sldMk cId="2343048918" sldId="428"/>
            <ac:picMk id="5" creationId="{464D1781-8D82-7FD9-E0D0-B8595A04A8A9}"/>
          </ac:picMkLst>
        </pc:picChg>
        <pc:picChg chg="mod">
          <ac:chgData name="VANNACCI LORENZO" userId="d189ff1e-cd06-482b-a187-a1ac098b7893" providerId="ADAL" clId="{AF05CE8E-6C96-4376-968D-2528B0E0B396}" dt="2024-06-12T13:15:57.628" v="28" actId="1076"/>
          <ac:picMkLst>
            <pc:docMk/>
            <pc:sldMk cId="2343048918" sldId="428"/>
            <ac:picMk id="409" creationId="{3A5FE461-BBAA-8A4E-F785-DD2419B6E86C}"/>
          </ac:picMkLst>
        </pc:picChg>
        <pc:picChg chg="mod">
          <ac:chgData name="VANNACCI LORENZO" userId="d189ff1e-cd06-482b-a187-a1ac098b7893" providerId="ADAL" clId="{AF05CE8E-6C96-4376-968D-2528B0E0B396}" dt="2024-06-12T13:15:50.733" v="26" actId="1076"/>
          <ac:picMkLst>
            <pc:docMk/>
            <pc:sldMk cId="2343048918" sldId="428"/>
            <ac:picMk id="438" creationId="{15235833-5CFF-4334-4BA1-EB0F2C7E06E1}"/>
          </ac:picMkLst>
        </pc:picChg>
        <pc:picChg chg="add mod">
          <ac:chgData name="VANNACCI LORENZO" userId="d189ff1e-cd06-482b-a187-a1ac098b7893" providerId="ADAL" clId="{AF05CE8E-6C96-4376-968D-2528B0E0B396}" dt="2024-06-12T17:44:04.061" v="707" actId="1076"/>
          <ac:picMkLst>
            <pc:docMk/>
            <pc:sldMk cId="2343048918" sldId="428"/>
            <ac:picMk id="1026" creationId="{FB0C28DB-AD4B-0E9D-5B44-0B6621AAB137}"/>
          </ac:picMkLst>
        </pc:picChg>
      </pc:sldChg>
      <pc:sldChg chg="del">
        <pc:chgData name="VANNACCI LORENZO" userId="d189ff1e-cd06-482b-a187-a1ac098b7893" providerId="ADAL" clId="{AF05CE8E-6C96-4376-968D-2528B0E0B396}" dt="2024-06-12T12:43:08.095" v="1" actId="47"/>
        <pc:sldMkLst>
          <pc:docMk/>
          <pc:sldMk cId="2833823011" sldId="432"/>
        </pc:sldMkLst>
      </pc:sldChg>
      <pc:sldChg chg="addSp delSp modSp mod">
        <pc:chgData name="VANNACCI LORENZO" userId="d189ff1e-cd06-482b-a187-a1ac098b7893" providerId="ADAL" clId="{AF05CE8E-6C96-4376-968D-2528B0E0B396}" dt="2024-06-12T20:42:32.165" v="1981" actId="1037"/>
        <pc:sldMkLst>
          <pc:docMk/>
          <pc:sldMk cId="303731146" sldId="435"/>
        </pc:sldMkLst>
        <pc:spChg chg="add del mod modVis">
          <ac:chgData name="VANNACCI LORENZO" userId="d189ff1e-cd06-482b-a187-a1ac098b7893" providerId="ADAL" clId="{AF05CE8E-6C96-4376-968D-2528B0E0B396}" dt="2024-06-12T19:46:38.881" v="762"/>
          <ac:spMkLst>
            <pc:docMk/>
            <pc:sldMk cId="303731146" sldId="435"/>
            <ac:spMk id="2" creationId="{BAA3AEE7-60DC-5D48-52BE-2DE37A4CC225}"/>
          </ac:spMkLst>
        </pc:spChg>
        <pc:spChg chg="mod">
          <ac:chgData name="VANNACCI LORENZO" userId="d189ff1e-cd06-482b-a187-a1ac098b7893" providerId="ADAL" clId="{AF05CE8E-6C96-4376-968D-2528B0E0B396}" dt="2024-06-12T20:21:36.978" v="1689" actId="948"/>
          <ac:spMkLst>
            <pc:docMk/>
            <pc:sldMk cId="303731146" sldId="435"/>
            <ac:spMk id="3" creationId="{FDACE4DD-ED3F-1DBD-8430-72DF01C7F4EB}"/>
          </ac:spMkLst>
        </pc:spChg>
        <pc:spChg chg="add del mod modVis">
          <ac:chgData name="VANNACCI LORENZO" userId="d189ff1e-cd06-482b-a187-a1ac098b7893" providerId="ADAL" clId="{AF05CE8E-6C96-4376-968D-2528B0E0B396}" dt="2024-06-12T19:46:39.648" v="790"/>
          <ac:spMkLst>
            <pc:docMk/>
            <pc:sldMk cId="303731146" sldId="435"/>
            <ac:spMk id="6" creationId="{85CD2331-23DC-0966-09AD-A2F00C58FF75}"/>
          </ac:spMkLst>
        </pc:spChg>
        <pc:spChg chg="add del mod modVis">
          <ac:chgData name="VANNACCI LORENZO" userId="d189ff1e-cd06-482b-a187-a1ac098b7893" providerId="ADAL" clId="{AF05CE8E-6C96-4376-968D-2528B0E0B396}" dt="2024-06-12T19:46:41.976" v="823"/>
          <ac:spMkLst>
            <pc:docMk/>
            <pc:sldMk cId="303731146" sldId="435"/>
            <ac:spMk id="8" creationId="{40C0FA5F-658E-DCFE-7DD4-E8920D0CBDEB}"/>
          </ac:spMkLst>
        </pc:spChg>
        <pc:spChg chg="mod">
          <ac:chgData name="VANNACCI LORENZO" userId="d189ff1e-cd06-482b-a187-a1ac098b7893" providerId="ADAL" clId="{AF05CE8E-6C96-4376-968D-2528B0E0B396}" dt="2024-06-12T20:42:05.660" v="1950" actId="1037"/>
          <ac:spMkLst>
            <pc:docMk/>
            <pc:sldMk cId="303731146" sldId="435"/>
            <ac:spMk id="9" creationId="{5AF4608E-4080-A000-810D-E404B8E5B319}"/>
          </ac:spMkLst>
        </pc:spChg>
        <pc:spChg chg="add del mod modVis">
          <ac:chgData name="VANNACCI LORENZO" userId="d189ff1e-cd06-482b-a187-a1ac098b7893" providerId="ADAL" clId="{AF05CE8E-6C96-4376-968D-2528B0E0B396}" dt="2024-06-12T19:46:42.789" v="851"/>
          <ac:spMkLst>
            <pc:docMk/>
            <pc:sldMk cId="303731146" sldId="435"/>
            <ac:spMk id="10" creationId="{33058B73-06E2-5319-A741-707B7EA6ED55}"/>
          </ac:spMkLst>
        </pc:spChg>
        <pc:spChg chg="add del mod modVis">
          <ac:chgData name="VANNACCI LORENZO" userId="d189ff1e-cd06-482b-a187-a1ac098b7893" providerId="ADAL" clId="{AF05CE8E-6C96-4376-968D-2528B0E0B396}" dt="2024-06-12T19:46:44.279" v="883"/>
          <ac:spMkLst>
            <pc:docMk/>
            <pc:sldMk cId="303731146" sldId="435"/>
            <ac:spMk id="11" creationId="{5464371B-43A7-B6AF-906F-EF4F07DBE2AD}"/>
          </ac:spMkLst>
        </pc:spChg>
        <pc:spChg chg="add del mod modVis">
          <ac:chgData name="VANNACCI LORENZO" userId="d189ff1e-cd06-482b-a187-a1ac098b7893" providerId="ADAL" clId="{AF05CE8E-6C96-4376-968D-2528B0E0B396}" dt="2024-06-12T19:46:47.055" v="917"/>
          <ac:spMkLst>
            <pc:docMk/>
            <pc:sldMk cId="303731146" sldId="435"/>
            <ac:spMk id="12" creationId="{C183A34F-8AD6-F2DA-0394-65813CF2BF44}"/>
          </ac:spMkLst>
        </pc:spChg>
        <pc:spChg chg="add del mod modVis">
          <ac:chgData name="VANNACCI LORENZO" userId="d189ff1e-cd06-482b-a187-a1ac098b7893" providerId="ADAL" clId="{AF05CE8E-6C96-4376-968D-2528B0E0B396}" dt="2024-06-12T19:46:50.091" v="951"/>
          <ac:spMkLst>
            <pc:docMk/>
            <pc:sldMk cId="303731146" sldId="435"/>
            <ac:spMk id="13" creationId="{516C74B6-6593-221A-6258-CBEE6DB3F982}"/>
          </ac:spMkLst>
        </pc:spChg>
        <pc:spChg chg="add del mod modVis">
          <ac:chgData name="VANNACCI LORENZO" userId="d189ff1e-cd06-482b-a187-a1ac098b7893" providerId="ADAL" clId="{AF05CE8E-6C96-4376-968D-2528B0E0B396}" dt="2024-06-12T19:46:52.942" v="978"/>
          <ac:spMkLst>
            <pc:docMk/>
            <pc:sldMk cId="303731146" sldId="435"/>
            <ac:spMk id="14" creationId="{FCC2B358-8699-D886-84AC-CE5DB8C37B06}"/>
          </ac:spMkLst>
        </pc:spChg>
        <pc:spChg chg="add del mod modVis">
          <ac:chgData name="VANNACCI LORENZO" userId="d189ff1e-cd06-482b-a187-a1ac098b7893" providerId="ADAL" clId="{AF05CE8E-6C96-4376-968D-2528B0E0B396}" dt="2024-06-12T19:46:53.959" v="1006"/>
          <ac:spMkLst>
            <pc:docMk/>
            <pc:sldMk cId="303731146" sldId="435"/>
            <ac:spMk id="15" creationId="{571FCDB9-9824-597E-5605-D3212A12E87B}"/>
          </ac:spMkLst>
        </pc:spChg>
        <pc:spChg chg="add del mod modVis">
          <ac:chgData name="VANNACCI LORENZO" userId="d189ff1e-cd06-482b-a187-a1ac098b7893" providerId="ADAL" clId="{AF05CE8E-6C96-4376-968D-2528B0E0B396}" dt="2024-06-12T19:46:56.126" v="1038"/>
          <ac:spMkLst>
            <pc:docMk/>
            <pc:sldMk cId="303731146" sldId="435"/>
            <ac:spMk id="16" creationId="{3AF4FDEF-C157-091C-8652-F4E71BB95F3A}"/>
          </ac:spMkLst>
        </pc:spChg>
        <pc:spChg chg="add del mod modVis">
          <ac:chgData name="VANNACCI LORENZO" userId="d189ff1e-cd06-482b-a187-a1ac098b7893" providerId="ADAL" clId="{AF05CE8E-6C96-4376-968D-2528B0E0B396}" dt="2024-06-12T19:47:03.597" v="1065"/>
          <ac:spMkLst>
            <pc:docMk/>
            <pc:sldMk cId="303731146" sldId="435"/>
            <ac:spMk id="17" creationId="{56C56569-64F7-D4D7-5CAF-BFE2B80D2DC6}"/>
          </ac:spMkLst>
        </pc:spChg>
        <pc:spChg chg="add del mod modVis">
          <ac:chgData name="VANNACCI LORENZO" userId="d189ff1e-cd06-482b-a187-a1ac098b7893" providerId="ADAL" clId="{AF05CE8E-6C96-4376-968D-2528B0E0B396}" dt="2024-06-12T19:51:03.670" v="1139"/>
          <ac:spMkLst>
            <pc:docMk/>
            <pc:sldMk cId="303731146" sldId="435"/>
            <ac:spMk id="18" creationId="{3FF38E9A-AE8B-C1E5-2045-BF07CB2BC634}"/>
          </ac:spMkLst>
        </pc:spChg>
        <pc:spChg chg="add del mod modVis">
          <ac:chgData name="VANNACCI LORENZO" userId="d189ff1e-cd06-482b-a187-a1ac098b7893" providerId="ADAL" clId="{AF05CE8E-6C96-4376-968D-2528B0E0B396}" dt="2024-06-12T19:51:05.065" v="1169"/>
          <ac:spMkLst>
            <pc:docMk/>
            <pc:sldMk cId="303731146" sldId="435"/>
            <ac:spMk id="19" creationId="{18E11A87-517F-C6E0-04C5-8B31840B257F}"/>
          </ac:spMkLst>
        </pc:spChg>
        <pc:spChg chg="mod">
          <ac:chgData name="VANNACCI LORENZO" userId="d189ff1e-cd06-482b-a187-a1ac098b7893" providerId="ADAL" clId="{AF05CE8E-6C96-4376-968D-2528B0E0B396}" dt="2024-06-12T20:42:21.978" v="1974" actId="1038"/>
          <ac:spMkLst>
            <pc:docMk/>
            <pc:sldMk cId="303731146" sldId="435"/>
            <ac:spMk id="31" creationId="{A09FFF15-7EE7-8DA9-4CCE-C24816007AFC}"/>
          </ac:spMkLst>
        </pc:spChg>
        <pc:spChg chg="mod">
          <ac:chgData name="VANNACCI LORENZO" userId="d189ff1e-cd06-482b-a187-a1ac098b7893" providerId="ADAL" clId="{AF05CE8E-6C96-4376-968D-2528B0E0B396}" dt="2024-06-12T20:42:05.660" v="1950" actId="1037"/>
          <ac:spMkLst>
            <pc:docMk/>
            <pc:sldMk cId="303731146" sldId="435"/>
            <ac:spMk id="32" creationId="{2C8ABC09-2FCE-B5DE-ED9E-711E8D899D5D}"/>
          </ac:spMkLst>
        </pc:spChg>
        <pc:spChg chg="add del mod modVis">
          <ac:chgData name="VANNACCI LORENZO" userId="d189ff1e-cd06-482b-a187-a1ac098b7893" providerId="ADAL" clId="{AF05CE8E-6C96-4376-968D-2528B0E0B396}" dt="2024-06-12T20:17:51.415" v="1560"/>
          <ac:spMkLst>
            <pc:docMk/>
            <pc:sldMk cId="303731146" sldId="435"/>
            <ac:spMk id="35" creationId="{986123A4-B4C3-EC6F-1B13-DCDD6C552279}"/>
          </ac:spMkLst>
        </pc:spChg>
        <pc:spChg chg="add del mod modVis">
          <ac:chgData name="VANNACCI LORENZO" userId="d189ff1e-cd06-482b-a187-a1ac098b7893" providerId="ADAL" clId="{AF05CE8E-6C96-4376-968D-2528B0E0B396}" dt="2024-06-12T20:21:13.551" v="1587"/>
          <ac:spMkLst>
            <pc:docMk/>
            <pc:sldMk cId="303731146" sldId="435"/>
            <ac:spMk id="36" creationId="{51B779F4-E109-2635-4A5A-19D1FA816CBE}"/>
          </ac:spMkLst>
        </pc:spChg>
        <pc:spChg chg="add del mod modVis">
          <ac:chgData name="VANNACCI LORENZO" userId="d189ff1e-cd06-482b-a187-a1ac098b7893" providerId="ADAL" clId="{AF05CE8E-6C96-4376-968D-2528B0E0B396}" dt="2024-06-12T20:21:16.265" v="1623"/>
          <ac:spMkLst>
            <pc:docMk/>
            <pc:sldMk cId="303731146" sldId="435"/>
            <ac:spMk id="38" creationId="{DB265F13-8DBC-67A7-6193-6D421ED13E96}"/>
          </ac:spMkLst>
        </pc:spChg>
        <pc:spChg chg="add del mod modVis">
          <ac:chgData name="VANNACCI LORENZO" userId="d189ff1e-cd06-482b-a187-a1ac098b7893" providerId="ADAL" clId="{AF05CE8E-6C96-4376-968D-2528B0E0B396}" dt="2024-06-12T20:21:17.145" v="1651"/>
          <ac:spMkLst>
            <pc:docMk/>
            <pc:sldMk cId="303731146" sldId="435"/>
            <ac:spMk id="40" creationId="{A82FEB5E-0486-B772-05FE-230EC3C22F70}"/>
          </ac:spMkLst>
        </pc:spChg>
        <pc:spChg chg="mod">
          <ac:chgData name="VANNACCI LORENZO" userId="d189ff1e-cd06-482b-a187-a1ac098b7893" providerId="ADAL" clId="{AF05CE8E-6C96-4376-968D-2528B0E0B396}" dt="2024-06-12T20:42:05.660" v="1950" actId="1037"/>
          <ac:spMkLst>
            <pc:docMk/>
            <pc:sldMk cId="303731146" sldId="435"/>
            <ac:spMk id="42" creationId="{4C59568B-9084-A9A6-BB79-F693F40A66FB}"/>
          </ac:spMkLst>
        </pc:spChg>
        <pc:spChg chg="mod">
          <ac:chgData name="VANNACCI LORENZO" userId="d189ff1e-cd06-482b-a187-a1ac098b7893" providerId="ADAL" clId="{AF05CE8E-6C96-4376-968D-2528B0E0B396}" dt="2024-06-12T20:42:05.660" v="1950" actId="1037"/>
          <ac:spMkLst>
            <pc:docMk/>
            <pc:sldMk cId="303731146" sldId="435"/>
            <ac:spMk id="43" creationId="{AEFC4430-01FF-F876-7B1E-DE49A60F1026}"/>
          </ac:spMkLst>
        </pc:spChg>
        <pc:spChg chg="mod">
          <ac:chgData name="VANNACCI LORENZO" userId="d189ff1e-cd06-482b-a187-a1ac098b7893" providerId="ADAL" clId="{AF05CE8E-6C96-4376-968D-2528B0E0B396}" dt="2024-06-12T20:42:05.660" v="1950" actId="1037"/>
          <ac:spMkLst>
            <pc:docMk/>
            <pc:sldMk cId="303731146" sldId="435"/>
            <ac:spMk id="44" creationId="{4AF1936E-E0D2-140E-C052-9E6676A7A937}"/>
          </ac:spMkLst>
        </pc:spChg>
        <pc:spChg chg="mod">
          <ac:chgData name="VANNACCI LORENZO" userId="d189ff1e-cd06-482b-a187-a1ac098b7893" providerId="ADAL" clId="{AF05CE8E-6C96-4376-968D-2528B0E0B396}" dt="2024-06-12T20:42:05.660" v="1950" actId="1037"/>
          <ac:spMkLst>
            <pc:docMk/>
            <pc:sldMk cId="303731146" sldId="435"/>
            <ac:spMk id="45" creationId="{8D7CBDD4-E0EC-32F7-018E-CEC0437E8FBA}"/>
          </ac:spMkLst>
        </pc:spChg>
        <pc:spChg chg="mod">
          <ac:chgData name="VANNACCI LORENZO" userId="d189ff1e-cd06-482b-a187-a1ac098b7893" providerId="ADAL" clId="{AF05CE8E-6C96-4376-968D-2528B0E0B396}" dt="2024-06-12T20:42:05.660" v="1950" actId="1037"/>
          <ac:spMkLst>
            <pc:docMk/>
            <pc:sldMk cId="303731146" sldId="435"/>
            <ac:spMk id="46" creationId="{74CFEB6B-8FC7-64D8-9E6B-0358310FE334}"/>
          </ac:spMkLst>
        </pc:spChg>
        <pc:spChg chg="mod">
          <ac:chgData name="VANNACCI LORENZO" userId="d189ff1e-cd06-482b-a187-a1ac098b7893" providerId="ADAL" clId="{AF05CE8E-6C96-4376-968D-2528B0E0B396}" dt="2024-06-12T20:42:05.660" v="1950" actId="1037"/>
          <ac:spMkLst>
            <pc:docMk/>
            <pc:sldMk cId="303731146" sldId="435"/>
            <ac:spMk id="47" creationId="{BEEF0099-B020-87AE-6C29-5C0823647C68}"/>
          </ac:spMkLst>
        </pc:spChg>
        <pc:spChg chg="mod">
          <ac:chgData name="VANNACCI LORENZO" userId="d189ff1e-cd06-482b-a187-a1ac098b7893" providerId="ADAL" clId="{AF05CE8E-6C96-4376-968D-2528B0E0B396}" dt="2024-06-12T20:42:05.660" v="1950" actId="1037"/>
          <ac:spMkLst>
            <pc:docMk/>
            <pc:sldMk cId="303731146" sldId="435"/>
            <ac:spMk id="48" creationId="{29EA2CDB-2ADE-FF24-55C1-DE2F190887CD}"/>
          </ac:spMkLst>
        </pc:spChg>
        <pc:spChg chg="mod">
          <ac:chgData name="VANNACCI LORENZO" userId="d189ff1e-cd06-482b-a187-a1ac098b7893" providerId="ADAL" clId="{AF05CE8E-6C96-4376-968D-2528B0E0B396}" dt="2024-06-12T20:42:05.660" v="1950" actId="1037"/>
          <ac:spMkLst>
            <pc:docMk/>
            <pc:sldMk cId="303731146" sldId="435"/>
            <ac:spMk id="49" creationId="{FA2B8D62-8DD9-7222-FB30-298F4C779607}"/>
          </ac:spMkLst>
        </pc:spChg>
        <pc:spChg chg="mod">
          <ac:chgData name="VANNACCI LORENZO" userId="d189ff1e-cd06-482b-a187-a1ac098b7893" providerId="ADAL" clId="{AF05CE8E-6C96-4376-968D-2528B0E0B396}" dt="2024-06-12T20:42:05.660" v="1950" actId="1037"/>
          <ac:spMkLst>
            <pc:docMk/>
            <pc:sldMk cId="303731146" sldId="435"/>
            <ac:spMk id="50" creationId="{0BE102A1-6E5A-8084-9ADE-3B2807B86EA6}"/>
          </ac:spMkLst>
        </pc:spChg>
        <pc:spChg chg="mod">
          <ac:chgData name="VANNACCI LORENZO" userId="d189ff1e-cd06-482b-a187-a1ac098b7893" providerId="ADAL" clId="{AF05CE8E-6C96-4376-968D-2528B0E0B396}" dt="2024-06-12T20:42:05.660" v="1950" actId="1037"/>
          <ac:spMkLst>
            <pc:docMk/>
            <pc:sldMk cId="303731146" sldId="435"/>
            <ac:spMk id="51" creationId="{167AB0AD-531E-DBAF-D2D2-FC1FDD938B7D}"/>
          </ac:spMkLst>
        </pc:spChg>
        <pc:spChg chg="add del mod modVis">
          <ac:chgData name="VANNACCI LORENZO" userId="d189ff1e-cd06-482b-a187-a1ac098b7893" providerId="ADAL" clId="{AF05CE8E-6C96-4376-968D-2528B0E0B396}" dt="2024-06-12T20:21:19.251" v="1683"/>
          <ac:spMkLst>
            <pc:docMk/>
            <pc:sldMk cId="303731146" sldId="435"/>
            <ac:spMk id="52" creationId="{680B41BB-58C1-BECF-6EA2-5694B61913A5}"/>
          </ac:spMkLst>
        </pc:spChg>
        <pc:spChg chg="add del mod modVis">
          <ac:chgData name="VANNACCI LORENZO" userId="d189ff1e-cd06-482b-a187-a1ac098b7893" providerId="ADAL" clId="{AF05CE8E-6C96-4376-968D-2528B0E0B396}" dt="2024-06-12T20:21:37.008" v="1712"/>
          <ac:spMkLst>
            <pc:docMk/>
            <pc:sldMk cId="303731146" sldId="435"/>
            <ac:spMk id="54" creationId="{F35F828F-9FE8-6DE2-EEC6-A279C47BCB8B}"/>
          </ac:spMkLst>
        </pc:spChg>
        <pc:spChg chg="add mod">
          <ac:chgData name="VANNACCI LORENZO" userId="d189ff1e-cd06-482b-a187-a1ac098b7893" providerId="ADAL" clId="{AF05CE8E-6C96-4376-968D-2528B0E0B396}" dt="2024-06-12T20:42:05.660" v="1950" actId="1037"/>
          <ac:spMkLst>
            <pc:docMk/>
            <pc:sldMk cId="303731146" sldId="435"/>
            <ac:spMk id="55" creationId="{0B8CA286-B1FD-A892-007D-2A1A946FB604}"/>
          </ac:spMkLst>
        </pc:spChg>
        <pc:spChg chg="add mod">
          <ac:chgData name="VANNACCI LORENZO" userId="d189ff1e-cd06-482b-a187-a1ac098b7893" providerId="ADAL" clId="{AF05CE8E-6C96-4376-968D-2528B0E0B396}" dt="2024-06-12T20:42:15.614" v="1969" actId="1038"/>
          <ac:spMkLst>
            <pc:docMk/>
            <pc:sldMk cId="303731146" sldId="435"/>
            <ac:spMk id="60" creationId="{15E65B67-CBF3-EA3C-69CD-36C2EC7D1254}"/>
          </ac:spMkLst>
        </pc:spChg>
        <pc:grpChg chg="mod">
          <ac:chgData name="VANNACCI LORENZO" userId="d189ff1e-cd06-482b-a187-a1ac098b7893" providerId="ADAL" clId="{AF05CE8E-6C96-4376-968D-2528B0E0B396}" dt="2024-06-12T20:42:21.978" v="1974" actId="1038"/>
          <ac:grpSpMkLst>
            <pc:docMk/>
            <pc:sldMk cId="303731146" sldId="435"/>
            <ac:grpSpMk id="29" creationId="{C2810AEC-04D7-B7D3-4D69-B04624644FBC}"/>
          </ac:grpSpMkLst>
        </pc:grpChg>
        <pc:graphicFrameChg chg="mod">
          <ac:chgData name="VANNACCI LORENZO" userId="d189ff1e-cd06-482b-a187-a1ac098b7893" providerId="ADAL" clId="{AF05CE8E-6C96-4376-968D-2528B0E0B396}" dt="2024-06-12T20:21:37.013" v="1714"/>
          <ac:graphicFrameMkLst>
            <pc:docMk/>
            <pc:sldMk cId="303731146" sldId="435"/>
            <ac:graphicFrameMk id="7" creationId="{59E8747E-48FA-AB4B-8A98-04805BAB50E1}"/>
          </ac:graphicFrameMkLst>
        </pc:graphicFrameChg>
        <pc:picChg chg="mod">
          <ac:chgData name="VANNACCI LORENZO" userId="d189ff1e-cd06-482b-a187-a1ac098b7893" providerId="ADAL" clId="{AF05CE8E-6C96-4376-968D-2528B0E0B396}" dt="2024-06-12T20:42:05.660" v="1950" actId="1037"/>
          <ac:picMkLst>
            <pc:docMk/>
            <pc:sldMk cId="303731146" sldId="435"/>
            <ac:picMk id="30" creationId="{76CC731C-7FBF-1945-9411-B34E603DAB1E}"/>
          </ac:picMkLst>
        </pc:picChg>
        <pc:picChg chg="mod">
          <ac:chgData name="VANNACCI LORENZO" userId="d189ff1e-cd06-482b-a187-a1ac098b7893" providerId="ADAL" clId="{AF05CE8E-6C96-4376-968D-2528B0E0B396}" dt="2024-06-12T20:42:05.660" v="1950" actId="1037"/>
          <ac:picMkLst>
            <pc:docMk/>
            <pc:sldMk cId="303731146" sldId="435"/>
            <ac:picMk id="37" creationId="{379541CC-D373-8B28-1C4D-107756EE083C}"/>
          </ac:picMkLst>
        </pc:picChg>
        <pc:picChg chg="mod">
          <ac:chgData name="VANNACCI LORENZO" userId="d189ff1e-cd06-482b-a187-a1ac098b7893" providerId="ADAL" clId="{AF05CE8E-6C96-4376-968D-2528B0E0B396}" dt="2024-06-12T20:42:05.660" v="1950" actId="1037"/>
          <ac:picMkLst>
            <pc:docMk/>
            <pc:sldMk cId="303731146" sldId="435"/>
            <ac:picMk id="39" creationId="{4062723F-F041-D35C-7F91-F18A5D877ED1}"/>
          </ac:picMkLst>
        </pc:picChg>
        <pc:picChg chg="mod">
          <ac:chgData name="VANNACCI LORENZO" userId="d189ff1e-cd06-482b-a187-a1ac098b7893" providerId="ADAL" clId="{AF05CE8E-6C96-4376-968D-2528B0E0B396}" dt="2024-06-12T20:42:32.165" v="1981" actId="1037"/>
          <ac:picMkLst>
            <pc:docMk/>
            <pc:sldMk cId="303731146" sldId="435"/>
            <ac:picMk id="41" creationId="{397F5890-2FA9-6221-AB85-7E3671CDF64B}"/>
          </ac:picMkLst>
        </pc:picChg>
        <pc:picChg chg="mod">
          <ac:chgData name="VANNACCI LORENZO" userId="d189ff1e-cd06-482b-a187-a1ac098b7893" providerId="ADAL" clId="{AF05CE8E-6C96-4376-968D-2528B0E0B396}" dt="2024-06-12T20:42:05.660" v="1950" actId="1037"/>
          <ac:picMkLst>
            <pc:docMk/>
            <pc:sldMk cId="303731146" sldId="435"/>
            <ac:picMk id="53" creationId="{88B4D3AB-4563-2FEB-B615-CF28F9FE8A39}"/>
          </ac:picMkLst>
        </pc:picChg>
        <pc:picChg chg="mod">
          <ac:chgData name="VANNACCI LORENZO" userId="d189ff1e-cd06-482b-a187-a1ac098b7893" providerId="ADAL" clId="{AF05CE8E-6C96-4376-968D-2528B0E0B396}" dt="2024-06-12T20:42:05.660" v="1950" actId="1037"/>
          <ac:picMkLst>
            <pc:docMk/>
            <pc:sldMk cId="303731146" sldId="435"/>
            <ac:picMk id="57" creationId="{F6115E51-6881-9F0B-D8B2-97D1AFD93E7B}"/>
          </ac:picMkLst>
        </pc:picChg>
        <pc:picChg chg="add mod">
          <ac:chgData name="VANNACCI LORENZO" userId="d189ff1e-cd06-482b-a187-a1ac098b7893" providerId="ADAL" clId="{AF05CE8E-6C96-4376-968D-2528B0E0B396}" dt="2024-06-12T20:42:21.978" v="1974" actId="1038"/>
          <ac:picMkLst>
            <pc:docMk/>
            <pc:sldMk cId="303731146" sldId="435"/>
            <ac:picMk id="58" creationId="{AE424030-D9C4-F095-BA69-0451097D257B}"/>
          </ac:picMkLst>
        </pc:picChg>
        <pc:picChg chg="mod">
          <ac:chgData name="VANNACCI LORENZO" userId="d189ff1e-cd06-482b-a187-a1ac098b7893" providerId="ADAL" clId="{AF05CE8E-6C96-4376-968D-2528B0E0B396}" dt="2024-06-12T20:42:05.660" v="1950" actId="1037"/>
          <ac:picMkLst>
            <pc:docMk/>
            <pc:sldMk cId="303731146" sldId="435"/>
            <ac:picMk id="59" creationId="{93C303D9-D56F-4AFA-47E6-C94290299CE6}"/>
          </ac:picMkLst>
        </pc:picChg>
        <pc:cxnChg chg="add mod">
          <ac:chgData name="VANNACCI LORENZO" userId="d189ff1e-cd06-482b-a187-a1ac098b7893" providerId="ADAL" clId="{AF05CE8E-6C96-4376-968D-2528B0E0B396}" dt="2024-06-12T20:42:21.978" v="1974" actId="1038"/>
          <ac:cxnSpMkLst>
            <pc:docMk/>
            <pc:sldMk cId="303731146" sldId="435"/>
            <ac:cxnSpMk id="34" creationId="{45FC5829-22C5-44D6-55B9-DD2F34C1064D}"/>
          </ac:cxnSpMkLst>
        </pc:cxnChg>
      </pc:sldChg>
      <pc:sldMasterChg chg="delSldLayout">
        <pc:chgData name="VANNACCI LORENZO" userId="d189ff1e-cd06-482b-a187-a1ac098b7893" providerId="ADAL" clId="{AF05CE8E-6C96-4376-968D-2528B0E0B396}" dt="2024-06-12T17:36:24.039" v="690" actId="47"/>
        <pc:sldMasterMkLst>
          <pc:docMk/>
          <pc:sldMasterMk cId="2137779750" sldId="2147483733"/>
        </pc:sldMasterMkLst>
        <pc:sldLayoutChg chg="del">
          <pc:chgData name="VANNACCI LORENZO" userId="d189ff1e-cd06-482b-a187-a1ac098b7893" providerId="ADAL" clId="{AF05CE8E-6C96-4376-968D-2528B0E0B396}" dt="2024-06-12T17:36:24.039" v="690" actId="47"/>
          <pc:sldLayoutMkLst>
            <pc:docMk/>
            <pc:sldMasterMk cId="2137779750" sldId="2147483733"/>
            <pc:sldLayoutMk cId="3822968820" sldId="2147483955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0FE731-46A2-46A5-9AD2-A416FE8CEE67}" type="datetimeFigureOut">
              <a:rPr lang="en-GB" smtClean="0"/>
              <a:t>12/06/2024</a:t>
            </a:fld>
            <a:endParaRPr lang="en-GB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9669B9-D8F4-4B71-AFE9-987693379946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0809414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4BD0BD-8420-46F9-8257-B8F286606235}" type="datetimeFigureOut">
              <a:rPr lang="it-IT" smtClean="0"/>
              <a:t>12/06/202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D64B0E-3DDE-4A0E-88A9-3A41651A4597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281016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 err="1"/>
              <a:t>Give</a:t>
            </a:r>
            <a:r>
              <a:rPr lang="it-IT" dirty="0"/>
              <a:t> a minute to </a:t>
            </a:r>
            <a:r>
              <a:rPr lang="it-IT" dirty="0" err="1"/>
              <a:t>explain</a:t>
            </a:r>
            <a:r>
              <a:rPr lang="it-IT" dirty="0"/>
              <a:t> to </a:t>
            </a:r>
            <a:r>
              <a:rPr lang="it-IT" dirty="0" err="1"/>
              <a:t>who</a:t>
            </a:r>
            <a:r>
              <a:rPr lang="it-IT" dirty="0"/>
              <a:t> </a:t>
            </a:r>
            <a:r>
              <a:rPr lang="it-IT" dirty="0" err="1"/>
              <a:t>is</a:t>
            </a:r>
            <a:r>
              <a:rPr lang="it-IT" dirty="0"/>
              <a:t> </a:t>
            </a:r>
            <a:r>
              <a:rPr lang="it-IT" dirty="0" err="1"/>
              <a:t>not</a:t>
            </a:r>
            <a:r>
              <a:rPr lang="it-IT" dirty="0"/>
              <a:t> </a:t>
            </a:r>
            <a:r>
              <a:rPr lang="it-IT" dirty="0" err="1"/>
              <a:t>familiar</a:t>
            </a:r>
            <a:r>
              <a:rPr lang="it-IT" dirty="0"/>
              <a:t> </a:t>
            </a:r>
            <a:r>
              <a:rPr lang="it-IT" dirty="0" err="1"/>
              <a:t>who</a:t>
            </a:r>
            <a:r>
              <a:rPr lang="it-IT" dirty="0"/>
              <a:t> we are and </a:t>
            </a:r>
            <a:r>
              <a:rPr lang="it-IT" dirty="0" err="1"/>
              <a:t>what</a:t>
            </a:r>
            <a:r>
              <a:rPr lang="it-IT" dirty="0"/>
              <a:t> we are </a:t>
            </a:r>
            <a:r>
              <a:rPr lang="it-IT" dirty="0" err="1"/>
              <a:t>doing</a:t>
            </a:r>
            <a:r>
              <a:rPr lang="it-IT" dirty="0"/>
              <a:t> 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D64B0E-3DDE-4A0E-88A9-3A41651A4597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229345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D64B0E-3DDE-4A0E-88A9-3A41651A4597}" type="slidenum">
              <a:rPr lang="it-IT" smtClean="0"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694135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D64B0E-3DDE-4A0E-88A9-3A41651A4597}" type="slidenum">
              <a:rPr lang="it-IT" smtClean="0"/>
              <a:t>15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786130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png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olo 5">
            <a:extLst>
              <a:ext uri="{FF2B5EF4-FFF2-40B4-BE49-F238E27FC236}">
                <a16:creationId xmlns:a16="http://schemas.microsoft.com/office/drawing/2014/main" id="{F660379B-B364-4C22-88EF-8F0E9270E9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4" name="Segnaposto testo 20">
            <a:extLst>
              <a:ext uri="{FF2B5EF4-FFF2-40B4-BE49-F238E27FC236}">
                <a16:creationId xmlns:a16="http://schemas.microsoft.com/office/drawing/2014/main" id="{E59E9ACE-5A2D-A06D-A727-FC5A4B547C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5" name="Segnaposto testo 20">
            <a:extLst>
              <a:ext uri="{FF2B5EF4-FFF2-40B4-BE49-F238E27FC236}">
                <a16:creationId xmlns:a16="http://schemas.microsoft.com/office/drawing/2014/main" id="{A25C78C9-98D6-F4C7-0F22-4607BAB9BF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pic>
        <p:nvPicPr>
          <p:cNvPr id="2" name="Elemento grafico 8">
            <a:extLst>
              <a:ext uri="{FF2B5EF4-FFF2-40B4-BE49-F238E27FC236}">
                <a16:creationId xmlns:a16="http://schemas.microsoft.com/office/drawing/2014/main" id="{3B6DC9A8-1973-43B3-8AD6-902F7B2014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69"/>
            <a:ext cx="576553" cy="498669"/>
          </a:xfrm>
          <a:prstGeom prst="rect">
            <a:avLst/>
          </a:prstGeom>
        </p:spPr>
      </p:pic>
      <p:pic>
        <p:nvPicPr>
          <p:cNvPr id="3" name="Immagine 2" descr="Immagine che contiene testo, Carattere, Elementi grafici, schermata&#10;&#10;Descrizione generata automaticamente">
            <a:extLst>
              <a:ext uri="{FF2B5EF4-FFF2-40B4-BE49-F238E27FC236}">
                <a16:creationId xmlns:a16="http://schemas.microsoft.com/office/drawing/2014/main" id="{0B137297-9144-DA47-21E3-F853741EEB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7911" y="6108492"/>
            <a:ext cx="750338" cy="548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7953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 testo+3 box immagine bas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immagine 5">
            <a:extLst>
              <a:ext uri="{FF2B5EF4-FFF2-40B4-BE49-F238E27FC236}">
                <a16:creationId xmlns:a16="http://schemas.microsoft.com/office/drawing/2014/main" id="{F13292F2-1BF2-B8BD-1602-0BC60ECED53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" y="3429001"/>
            <a:ext cx="4165600" cy="2413000"/>
          </a:xfrm>
          <a:prstGeom prst="rect">
            <a:avLst/>
          </a:prstGeom>
          <a:noFill/>
        </p:spPr>
        <p:txBody>
          <a:bodyPr/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 dirty="0"/>
              <a:t>Fare clic sull'icona per inserire un'immagine</a:t>
            </a:r>
          </a:p>
        </p:txBody>
      </p:sp>
      <p:sp>
        <p:nvSpPr>
          <p:cNvPr id="4" name="Segnaposto immagine 5">
            <a:extLst>
              <a:ext uri="{FF2B5EF4-FFF2-40B4-BE49-F238E27FC236}">
                <a16:creationId xmlns:a16="http://schemas.microsoft.com/office/drawing/2014/main" id="{44C540A7-2C3F-418F-D54C-D07E701AF9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57686" y="3429001"/>
            <a:ext cx="3605213" cy="2413000"/>
          </a:xfrm>
          <a:prstGeom prst="rect">
            <a:avLst/>
          </a:prstGeom>
          <a:noFill/>
        </p:spPr>
        <p:txBody>
          <a:bodyPr/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</a:p>
        </p:txBody>
      </p:sp>
      <p:sp>
        <p:nvSpPr>
          <p:cNvPr id="5" name="Segnaposto immagine 5">
            <a:extLst>
              <a:ext uri="{FF2B5EF4-FFF2-40B4-BE49-F238E27FC236}">
                <a16:creationId xmlns:a16="http://schemas.microsoft.com/office/drawing/2014/main" id="{F150D881-8181-F6C1-0C03-0BD80092974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056562" y="3429001"/>
            <a:ext cx="4135437" cy="2413000"/>
          </a:xfrm>
          <a:prstGeom prst="rect">
            <a:avLst/>
          </a:prstGeom>
          <a:noFill/>
        </p:spPr>
        <p:txBody>
          <a:bodyPr/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</a:p>
        </p:txBody>
      </p:sp>
      <p:sp>
        <p:nvSpPr>
          <p:cNvPr id="12" name="Titolo 5">
            <a:extLst>
              <a:ext uri="{FF2B5EF4-FFF2-40B4-BE49-F238E27FC236}">
                <a16:creationId xmlns:a16="http://schemas.microsoft.com/office/drawing/2014/main" id="{E530723D-C8D6-9E71-D701-92509C52D9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7" name="Segnaposto contenuto 2">
            <a:extLst>
              <a:ext uri="{FF2B5EF4-FFF2-40B4-BE49-F238E27FC236}">
                <a16:creationId xmlns:a16="http://schemas.microsoft.com/office/drawing/2014/main" id="{C6A6CF03-9438-DB91-AA67-099555891B81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109093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8" name="Segnaposto testo 20">
            <a:extLst>
              <a:ext uri="{FF2B5EF4-FFF2-40B4-BE49-F238E27FC236}">
                <a16:creationId xmlns:a16="http://schemas.microsoft.com/office/drawing/2014/main" id="{DE96988E-5B5D-1CB9-8D39-E9D0106243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14" name="Segnaposto testo 20">
            <a:extLst>
              <a:ext uri="{FF2B5EF4-FFF2-40B4-BE49-F238E27FC236}">
                <a16:creationId xmlns:a16="http://schemas.microsoft.com/office/drawing/2014/main" id="{AB17A3C0-E1B0-FA5A-9877-EC35B3EA0A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sp>
        <p:nvSpPr>
          <p:cNvPr id="17" name="Segnaposto testo 4">
            <a:extLst>
              <a:ext uri="{FF2B5EF4-FFF2-40B4-BE49-F238E27FC236}">
                <a16:creationId xmlns:a16="http://schemas.microsoft.com/office/drawing/2014/main" id="{00B2536F-72F0-9B22-CE2F-2632A4F5EF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57688" y="1449389"/>
            <a:ext cx="3509929" cy="16748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8" name="Segnaposto testo 4">
            <a:extLst>
              <a:ext uri="{FF2B5EF4-FFF2-40B4-BE49-F238E27FC236}">
                <a16:creationId xmlns:a16="http://schemas.microsoft.com/office/drawing/2014/main" id="{75EC860D-E337-5506-828E-001520C4A4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5671" y="1449389"/>
            <a:ext cx="3509929" cy="16748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9" name="Segnaposto testo 4">
            <a:extLst>
              <a:ext uri="{FF2B5EF4-FFF2-40B4-BE49-F238E27FC236}">
                <a16:creationId xmlns:a16="http://schemas.microsoft.com/office/drawing/2014/main" id="{09BD2A8C-AD0E-E2B2-E4DC-DB5AC6EE699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056563" y="1449389"/>
            <a:ext cx="3527359" cy="16748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pic>
        <p:nvPicPr>
          <p:cNvPr id="9" name="Elemento grafico 8">
            <a:extLst>
              <a:ext uri="{FF2B5EF4-FFF2-40B4-BE49-F238E27FC236}">
                <a16:creationId xmlns:a16="http://schemas.microsoft.com/office/drawing/2014/main" id="{BB677ECB-A6EE-1B18-5133-AF4CE188A6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69"/>
            <a:ext cx="576553" cy="498669"/>
          </a:xfrm>
          <a:prstGeom prst="rect">
            <a:avLst/>
          </a:prstGeom>
        </p:spPr>
      </p:pic>
      <p:pic>
        <p:nvPicPr>
          <p:cNvPr id="10" name="Immagine 9" descr="Immagine che contiene testo, Carattere, Elementi grafici, schermata&#10;&#10;Descrizione generata automaticamente">
            <a:extLst>
              <a:ext uri="{FF2B5EF4-FFF2-40B4-BE49-F238E27FC236}">
                <a16:creationId xmlns:a16="http://schemas.microsoft.com/office/drawing/2014/main" id="{51414607-6533-934E-87A5-3AFE549957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7911" y="6108492"/>
            <a:ext cx="750338" cy="548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4600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 testo+3 box immagine al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immagine 5">
            <a:extLst>
              <a:ext uri="{FF2B5EF4-FFF2-40B4-BE49-F238E27FC236}">
                <a16:creationId xmlns:a16="http://schemas.microsoft.com/office/drawing/2014/main" id="{F13292F2-1BF2-B8BD-1602-0BC60ECED53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" y="1449389"/>
            <a:ext cx="4135438" cy="1979612"/>
          </a:xfrm>
          <a:prstGeom prst="rect">
            <a:avLst/>
          </a:prstGeom>
          <a:noFill/>
        </p:spPr>
        <p:txBody>
          <a:bodyPr/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 dirty="0"/>
              <a:t>Fare clic sull'icona per inserire un'immagine</a:t>
            </a:r>
          </a:p>
        </p:txBody>
      </p:sp>
      <p:sp>
        <p:nvSpPr>
          <p:cNvPr id="4" name="Segnaposto immagine 5">
            <a:extLst>
              <a:ext uri="{FF2B5EF4-FFF2-40B4-BE49-F238E27FC236}">
                <a16:creationId xmlns:a16="http://schemas.microsoft.com/office/drawing/2014/main" id="{44C540A7-2C3F-418F-D54C-D07E701AF9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57688" y="1449389"/>
            <a:ext cx="3502025" cy="1979612"/>
          </a:xfrm>
          <a:prstGeom prst="rect">
            <a:avLst/>
          </a:prstGeom>
          <a:noFill/>
        </p:spPr>
        <p:txBody>
          <a:bodyPr/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it-IT" dirty="0"/>
          </a:p>
        </p:txBody>
      </p:sp>
      <p:sp>
        <p:nvSpPr>
          <p:cNvPr id="5" name="Segnaposto immagine 5">
            <a:extLst>
              <a:ext uri="{FF2B5EF4-FFF2-40B4-BE49-F238E27FC236}">
                <a16:creationId xmlns:a16="http://schemas.microsoft.com/office/drawing/2014/main" id="{F150D881-8181-F6C1-0C03-0BD80092974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056563" y="1449389"/>
            <a:ext cx="4135436" cy="1979612"/>
          </a:xfrm>
          <a:prstGeom prst="rect">
            <a:avLst/>
          </a:prstGeom>
          <a:noFill/>
        </p:spPr>
        <p:txBody>
          <a:bodyPr/>
          <a:lstStyle>
            <a:lvl1pPr algn="ctr">
              <a:defRPr sz="1100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sull'icona per inserire un'immagine</a:t>
            </a:r>
          </a:p>
        </p:txBody>
      </p:sp>
      <p:sp>
        <p:nvSpPr>
          <p:cNvPr id="12" name="Titolo 5">
            <a:extLst>
              <a:ext uri="{FF2B5EF4-FFF2-40B4-BE49-F238E27FC236}">
                <a16:creationId xmlns:a16="http://schemas.microsoft.com/office/drawing/2014/main" id="{A8994E87-92EB-AEC2-B355-2025BED229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7" name="Segnaposto contenuto 2">
            <a:extLst>
              <a:ext uri="{FF2B5EF4-FFF2-40B4-BE49-F238E27FC236}">
                <a16:creationId xmlns:a16="http://schemas.microsoft.com/office/drawing/2014/main" id="{8ABDA10E-7455-8177-A938-F01B91BBEE20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109093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8" name="Segnaposto testo 20">
            <a:extLst>
              <a:ext uri="{FF2B5EF4-FFF2-40B4-BE49-F238E27FC236}">
                <a16:creationId xmlns:a16="http://schemas.microsoft.com/office/drawing/2014/main" id="{3E71A17B-663E-6EAE-3B0D-CEFF4C4EEF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14" name="Segnaposto testo 20">
            <a:extLst>
              <a:ext uri="{FF2B5EF4-FFF2-40B4-BE49-F238E27FC236}">
                <a16:creationId xmlns:a16="http://schemas.microsoft.com/office/drawing/2014/main" id="{FA4DA1F6-6595-C491-3E82-41A6E8854A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sp>
        <p:nvSpPr>
          <p:cNvPr id="17" name="Segnaposto testo 4">
            <a:extLst>
              <a:ext uri="{FF2B5EF4-FFF2-40B4-BE49-F238E27FC236}">
                <a16:creationId xmlns:a16="http://schemas.microsoft.com/office/drawing/2014/main" id="{CD81FD0E-353E-57A5-784B-C4B33A4A0AC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57688" y="3724275"/>
            <a:ext cx="3509929" cy="2117725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8" name="Segnaposto testo 4">
            <a:extLst>
              <a:ext uri="{FF2B5EF4-FFF2-40B4-BE49-F238E27FC236}">
                <a16:creationId xmlns:a16="http://schemas.microsoft.com/office/drawing/2014/main" id="{DE057BA7-5973-30EF-7C21-49812C672F2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5671" y="3724275"/>
            <a:ext cx="3509929" cy="2117725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9" name="Segnaposto testo 4">
            <a:extLst>
              <a:ext uri="{FF2B5EF4-FFF2-40B4-BE49-F238E27FC236}">
                <a16:creationId xmlns:a16="http://schemas.microsoft.com/office/drawing/2014/main" id="{7276B0CF-F5F5-970B-82BB-8249870F58AF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056563" y="3724275"/>
            <a:ext cx="3527359" cy="2117725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pic>
        <p:nvPicPr>
          <p:cNvPr id="9" name="Elemento grafico 8">
            <a:extLst>
              <a:ext uri="{FF2B5EF4-FFF2-40B4-BE49-F238E27FC236}">
                <a16:creationId xmlns:a16="http://schemas.microsoft.com/office/drawing/2014/main" id="{1877C43D-657C-999F-7A89-8876DBDCF7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69"/>
            <a:ext cx="576553" cy="498669"/>
          </a:xfrm>
          <a:prstGeom prst="rect">
            <a:avLst/>
          </a:prstGeom>
        </p:spPr>
      </p:pic>
      <p:pic>
        <p:nvPicPr>
          <p:cNvPr id="10" name="Immagine 9" descr="Immagine che contiene testo, Carattere, Elementi grafici, schermata&#10;&#10;Descrizione generata automaticamente">
            <a:extLst>
              <a:ext uri="{FF2B5EF4-FFF2-40B4-BE49-F238E27FC236}">
                <a16:creationId xmlns:a16="http://schemas.microsoft.com/office/drawing/2014/main" id="{F99095A4-C47B-FB75-AE48-CE15B20EC9F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7911" y="6108492"/>
            <a:ext cx="750338" cy="548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048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sott+testo con immag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4348147" y="1441725"/>
            <a:ext cx="7219965" cy="29591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anchor="ctr"/>
          <a:lstStyle>
            <a:lvl1pPr>
              <a:defRPr lang="it-IT" sz="1050" b="1" baseline="0" dirty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it-IT" dirty="0"/>
              <a:t>Titolo Montserrat </a:t>
            </a:r>
            <a:r>
              <a:rPr lang="it-IT" dirty="0" err="1"/>
              <a:t>bold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4357688" y="1791769"/>
            <a:ext cx="7210378" cy="1018106"/>
          </a:xfrm>
          <a:prstGeom prst="rect">
            <a:avLst/>
          </a:prstGeom>
        </p:spPr>
        <p:txBody>
          <a:bodyPr tIns="108000"/>
          <a:lstStyle>
            <a:lvl1pPr>
              <a:defRPr sz="1000" b="0" baseline="0">
                <a:latin typeface="Montserrat" pitchFamily="2" charset="0"/>
              </a:defRPr>
            </a:lvl1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5" name="Segnaposto testo 16">
            <a:extLst>
              <a:ext uri="{FF2B5EF4-FFF2-40B4-BE49-F238E27FC236}">
                <a16:creationId xmlns:a16="http://schemas.microsoft.com/office/drawing/2014/main" id="{038FA9B8-F5AF-48C1-7605-CCBDD23B305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48147" y="2945046"/>
            <a:ext cx="7219965" cy="29591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anchor="ctr"/>
          <a:lstStyle>
            <a:lvl1pPr>
              <a:defRPr lang="it-IT" sz="1050" b="1" baseline="0" dirty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it-IT" dirty="0"/>
              <a:t>Titolo Montserrat </a:t>
            </a:r>
            <a:r>
              <a:rPr lang="it-IT" dirty="0" err="1"/>
              <a:t>bold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6" name="Segnaposto testo 16">
            <a:extLst>
              <a:ext uri="{FF2B5EF4-FFF2-40B4-BE49-F238E27FC236}">
                <a16:creationId xmlns:a16="http://schemas.microsoft.com/office/drawing/2014/main" id="{3C59E6EE-C932-F652-7B76-F98F6C4924C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57688" y="3295090"/>
            <a:ext cx="7210378" cy="1018106"/>
          </a:xfrm>
          <a:prstGeom prst="rect">
            <a:avLst/>
          </a:prstGeom>
        </p:spPr>
        <p:txBody>
          <a:bodyPr tIns="108000"/>
          <a:lstStyle>
            <a:lvl1pPr>
              <a:defRPr sz="1000" b="0" baseline="0">
                <a:latin typeface="Montserrat" pitchFamily="2" charset="0"/>
              </a:defRPr>
            </a:lvl1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9" name="Segnaposto testo 16">
            <a:extLst>
              <a:ext uri="{FF2B5EF4-FFF2-40B4-BE49-F238E27FC236}">
                <a16:creationId xmlns:a16="http://schemas.microsoft.com/office/drawing/2014/main" id="{2C0D6C02-BE5A-63E7-B3A9-BD353711C8C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48147" y="4473850"/>
            <a:ext cx="7219965" cy="29591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anchor="ctr"/>
          <a:lstStyle>
            <a:lvl1pPr>
              <a:defRPr lang="it-IT" sz="1050" b="1" baseline="0" dirty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it-IT" dirty="0"/>
              <a:t>Titol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0" name="Segnaposto testo 16">
            <a:extLst>
              <a:ext uri="{FF2B5EF4-FFF2-40B4-BE49-F238E27FC236}">
                <a16:creationId xmlns:a16="http://schemas.microsoft.com/office/drawing/2014/main" id="{C5162305-6877-D984-59CB-BA8E7511F58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57688" y="4823894"/>
            <a:ext cx="7210378" cy="1018106"/>
          </a:xfrm>
          <a:prstGeom prst="rect">
            <a:avLst/>
          </a:prstGeom>
        </p:spPr>
        <p:txBody>
          <a:bodyPr tIns="108000"/>
          <a:lstStyle>
            <a:lvl1pPr>
              <a:defRPr sz="1000" b="0" baseline="0">
                <a:latin typeface="Montserrat" pitchFamily="2" charset="0"/>
              </a:defRPr>
            </a:lvl1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7" name="Titolo 5">
            <a:extLst>
              <a:ext uri="{FF2B5EF4-FFF2-40B4-BE49-F238E27FC236}">
                <a16:creationId xmlns:a16="http://schemas.microsoft.com/office/drawing/2014/main" id="{A1C840EC-DF3A-B918-132E-77DBD843D1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2" name="Segnaposto contenuto 2">
            <a:extLst>
              <a:ext uri="{FF2B5EF4-FFF2-40B4-BE49-F238E27FC236}">
                <a16:creationId xmlns:a16="http://schemas.microsoft.com/office/drawing/2014/main" id="{0633627B-158C-2EB7-03DA-9A87E5461B19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109093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3" name="Segnaposto testo 20">
            <a:extLst>
              <a:ext uri="{FF2B5EF4-FFF2-40B4-BE49-F238E27FC236}">
                <a16:creationId xmlns:a16="http://schemas.microsoft.com/office/drawing/2014/main" id="{B2613841-D906-6446-C826-70C0278076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4" name="Segnaposto testo 20">
            <a:extLst>
              <a:ext uri="{FF2B5EF4-FFF2-40B4-BE49-F238E27FC236}">
                <a16:creationId xmlns:a16="http://schemas.microsoft.com/office/drawing/2014/main" id="{8B9930AE-76CF-F74E-069B-7F123120C2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sp>
        <p:nvSpPr>
          <p:cNvPr id="13" name="Segnaposto immagine 12">
            <a:extLst>
              <a:ext uri="{FF2B5EF4-FFF2-40B4-BE49-F238E27FC236}">
                <a16:creationId xmlns:a16="http://schemas.microsoft.com/office/drawing/2014/main" id="{659AC776-23D1-0A72-24BC-ECB30386701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658813" y="1449388"/>
            <a:ext cx="3506787" cy="4392612"/>
          </a:xfrm>
          <a:prstGeom prst="rect">
            <a:avLst/>
          </a:prstGeom>
          <a:noFill/>
        </p:spPr>
        <p:txBody>
          <a:bodyPr/>
          <a:lstStyle>
            <a:lvl1pPr>
              <a:defRPr lang="it-IT" sz="1400"/>
            </a:lvl1pPr>
          </a:lstStyle>
          <a:p>
            <a:pPr lvl="0" algn="ctr"/>
            <a:endParaRPr lang="it-IT" dirty="0"/>
          </a:p>
          <a:p>
            <a:pPr lvl="0" algn="ctr"/>
            <a:r>
              <a:rPr lang="it-IT" dirty="0"/>
              <a:t>Fare clic sull'icona per inserire un'immagine</a:t>
            </a:r>
          </a:p>
        </p:txBody>
      </p:sp>
      <p:pic>
        <p:nvPicPr>
          <p:cNvPr id="8" name="Elemento grafico 8">
            <a:extLst>
              <a:ext uri="{FF2B5EF4-FFF2-40B4-BE49-F238E27FC236}">
                <a16:creationId xmlns:a16="http://schemas.microsoft.com/office/drawing/2014/main" id="{F5C52938-E07A-4E4E-990F-8B92E37F18E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69"/>
            <a:ext cx="576553" cy="498669"/>
          </a:xfrm>
          <a:prstGeom prst="rect">
            <a:avLst/>
          </a:prstGeom>
        </p:spPr>
      </p:pic>
      <p:pic>
        <p:nvPicPr>
          <p:cNvPr id="9" name="Immagine 8" descr="Immagine che contiene testo, Carattere, Elementi grafici, schermata&#10;&#10;Descrizione generata automaticamente">
            <a:extLst>
              <a:ext uri="{FF2B5EF4-FFF2-40B4-BE49-F238E27FC236}">
                <a16:creationId xmlns:a16="http://schemas.microsoft.com/office/drawing/2014/main" id="{8E47D394-E7C0-8EB2-459A-815947D96F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7911" y="6108492"/>
            <a:ext cx="750338" cy="548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1537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sott+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5">
            <a:extLst>
              <a:ext uri="{FF2B5EF4-FFF2-40B4-BE49-F238E27FC236}">
                <a16:creationId xmlns:a16="http://schemas.microsoft.com/office/drawing/2014/main" id="{B10B0B08-2B8B-A6C8-E2B6-C29FBDD697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2" name="Segnaposto contenuto 2">
            <a:extLst>
              <a:ext uri="{FF2B5EF4-FFF2-40B4-BE49-F238E27FC236}">
                <a16:creationId xmlns:a16="http://schemas.microsoft.com/office/drawing/2014/main" id="{450641EA-4F4C-5E88-3A47-C81D513367FE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109093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12" name="Segnaposto testo 20">
            <a:extLst>
              <a:ext uri="{FF2B5EF4-FFF2-40B4-BE49-F238E27FC236}">
                <a16:creationId xmlns:a16="http://schemas.microsoft.com/office/drawing/2014/main" id="{BFFAC0F8-52BC-4CC1-5C22-1A3DAC92AD5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13" name="Segnaposto testo 20">
            <a:extLst>
              <a:ext uri="{FF2B5EF4-FFF2-40B4-BE49-F238E27FC236}">
                <a16:creationId xmlns:a16="http://schemas.microsoft.com/office/drawing/2014/main" id="{D1189147-86DF-DB20-EB72-199AACD9F8F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sp>
        <p:nvSpPr>
          <p:cNvPr id="14" name="Segnaposto immagine 4">
            <a:extLst>
              <a:ext uri="{FF2B5EF4-FFF2-40B4-BE49-F238E27FC236}">
                <a16:creationId xmlns:a16="http://schemas.microsoft.com/office/drawing/2014/main" id="{07A5E88C-1699-568B-8E18-78BEA63E814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449388"/>
            <a:ext cx="12192000" cy="4392612"/>
          </a:xfrm>
          <a:prstGeom prst="rect">
            <a:avLst/>
          </a:prstGeom>
          <a:noFill/>
        </p:spPr>
        <p:txBody>
          <a:bodyPr lIns="216000" tIns="576000" rIns="108000"/>
          <a:lstStyle>
            <a:lvl1pPr>
              <a:defRPr lang="it-IT" sz="14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it-IT" dirty="0"/>
              <a:t>Fare clic sull'icona per inserire un'immagine</a:t>
            </a:r>
          </a:p>
        </p:txBody>
      </p:sp>
      <p:pic>
        <p:nvPicPr>
          <p:cNvPr id="5" name="Elemento grafico 8">
            <a:extLst>
              <a:ext uri="{FF2B5EF4-FFF2-40B4-BE49-F238E27FC236}">
                <a16:creationId xmlns:a16="http://schemas.microsoft.com/office/drawing/2014/main" id="{F5F76486-C462-1DBC-347C-3631D10C91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69"/>
            <a:ext cx="576553" cy="498669"/>
          </a:xfrm>
          <a:prstGeom prst="rect">
            <a:avLst/>
          </a:prstGeom>
        </p:spPr>
      </p:pic>
      <p:pic>
        <p:nvPicPr>
          <p:cNvPr id="7" name="Immagine 6" descr="Immagine che contiene testo, Carattere, Elementi grafici, schermata&#10;&#10;Descrizione generata automaticamente">
            <a:extLst>
              <a:ext uri="{FF2B5EF4-FFF2-40B4-BE49-F238E27FC236}">
                <a16:creationId xmlns:a16="http://schemas.microsoft.com/office/drawing/2014/main" id="{178A5193-6422-25FB-2777-66D3CC2FFFF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7911" y="6108492"/>
            <a:ext cx="750338" cy="548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865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3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58814" y="1737044"/>
            <a:ext cx="3506786" cy="410495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lIns="144000" tIns="144000" rIns="144000" bIns="144000" rtlCol="0">
            <a:normAutofit/>
          </a:bodyPr>
          <a:lstStyle>
            <a:lvl1pPr algn="ctr">
              <a:spcBef>
                <a:spcPts val="1200"/>
              </a:spcBef>
              <a:defRPr lang="it-IT" sz="1050" b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7" name="Titolo 5">
            <a:extLst>
              <a:ext uri="{FF2B5EF4-FFF2-40B4-BE49-F238E27FC236}">
                <a16:creationId xmlns:a16="http://schemas.microsoft.com/office/drawing/2014/main" id="{A7848FB1-09BF-F412-5F8C-0C5C8EB52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10" name="Segnaposto testo 9">
            <a:extLst>
              <a:ext uri="{FF2B5EF4-FFF2-40B4-BE49-F238E27FC236}">
                <a16:creationId xmlns:a16="http://schemas.microsoft.com/office/drawing/2014/main" id="{92613E51-B835-4728-AEF6-18D69002D8D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8813" y="1449388"/>
            <a:ext cx="3506787" cy="28765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anchor="ctr"/>
          <a:lstStyle>
            <a:lvl1pPr algn="ctr"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it-IT" dirty="0"/>
              <a:t>Titolo Montserrat </a:t>
            </a:r>
            <a:r>
              <a:rPr lang="it-IT" dirty="0" err="1"/>
              <a:t>bold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99735F82-3AD0-FAEA-0BBA-837572551528}"/>
              </a:ext>
            </a:extLst>
          </p:cNvPr>
          <p:cNvSpPr>
            <a:spLocks noGrp="1"/>
          </p:cNvSpPr>
          <p:nvPr>
            <p:ph idx="43" hasCustomPrompt="1"/>
          </p:nvPr>
        </p:nvSpPr>
        <p:spPr>
          <a:xfrm>
            <a:off x="4357689" y="1737044"/>
            <a:ext cx="3506786" cy="410495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lIns="144000" tIns="144000" rIns="144000" bIns="144000" rtlCol="0">
            <a:normAutofit/>
          </a:bodyPr>
          <a:lstStyle>
            <a:lvl1pPr algn="ctr">
              <a:spcBef>
                <a:spcPts val="1200"/>
              </a:spcBef>
              <a:defRPr lang="it-IT" sz="1050" b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2" name="Segnaposto testo 9">
            <a:extLst>
              <a:ext uri="{FF2B5EF4-FFF2-40B4-BE49-F238E27FC236}">
                <a16:creationId xmlns:a16="http://schemas.microsoft.com/office/drawing/2014/main" id="{15F733F7-A34B-B864-12D0-9C4F2953941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357688" y="1449388"/>
            <a:ext cx="3506787" cy="28765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anchor="ctr"/>
          <a:lstStyle>
            <a:lvl1pPr algn="ctr"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it-IT" dirty="0"/>
              <a:t>Titolo Montserrat </a:t>
            </a:r>
            <a:r>
              <a:rPr lang="it-IT" dirty="0" err="1"/>
              <a:t>bold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B1A4AE98-8F32-AC73-315C-9BC7210C1203}"/>
              </a:ext>
            </a:extLst>
          </p:cNvPr>
          <p:cNvSpPr>
            <a:spLocks noGrp="1"/>
          </p:cNvSpPr>
          <p:nvPr>
            <p:ph idx="45" hasCustomPrompt="1"/>
          </p:nvPr>
        </p:nvSpPr>
        <p:spPr>
          <a:xfrm>
            <a:off x="8061327" y="1737044"/>
            <a:ext cx="3506786" cy="410495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vert="horz" lIns="144000" tIns="144000" rIns="144000" bIns="144000" rtlCol="0">
            <a:normAutofit/>
          </a:bodyPr>
          <a:lstStyle>
            <a:lvl1pPr algn="ctr">
              <a:spcBef>
                <a:spcPts val="1200"/>
              </a:spcBef>
              <a:defRPr lang="it-IT" sz="1050" b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4" name="Segnaposto testo 9">
            <a:extLst>
              <a:ext uri="{FF2B5EF4-FFF2-40B4-BE49-F238E27FC236}">
                <a16:creationId xmlns:a16="http://schemas.microsoft.com/office/drawing/2014/main" id="{FEFB6A37-12F1-A334-2262-1B937E421A8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061326" y="1449388"/>
            <a:ext cx="3506787" cy="28765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txBody>
          <a:bodyPr anchor="ctr"/>
          <a:lstStyle>
            <a:lvl1pPr algn="ctr">
              <a:defRPr sz="1100" b="1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it-IT" dirty="0"/>
              <a:t>Titolo Montserrat </a:t>
            </a:r>
            <a:r>
              <a:rPr lang="it-IT" dirty="0" err="1"/>
              <a:t>bold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" name="Segnaposto contenuto 2">
            <a:extLst>
              <a:ext uri="{FF2B5EF4-FFF2-40B4-BE49-F238E27FC236}">
                <a16:creationId xmlns:a16="http://schemas.microsoft.com/office/drawing/2014/main" id="{2D780A1B-87DD-5836-2FAA-6F3D0BC0E9CE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109093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3" name="Segnaposto testo 20">
            <a:extLst>
              <a:ext uri="{FF2B5EF4-FFF2-40B4-BE49-F238E27FC236}">
                <a16:creationId xmlns:a16="http://schemas.microsoft.com/office/drawing/2014/main" id="{899C9E18-5BC4-5988-596D-E32B9ACAE2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4" name="Segnaposto testo 20">
            <a:extLst>
              <a:ext uri="{FF2B5EF4-FFF2-40B4-BE49-F238E27FC236}">
                <a16:creationId xmlns:a16="http://schemas.microsoft.com/office/drawing/2014/main" id="{911E68C5-D3DE-D6F2-89EC-69BFF97C6E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pic>
        <p:nvPicPr>
          <p:cNvPr id="8" name="Elemento grafico 8">
            <a:extLst>
              <a:ext uri="{FF2B5EF4-FFF2-40B4-BE49-F238E27FC236}">
                <a16:creationId xmlns:a16="http://schemas.microsoft.com/office/drawing/2014/main" id="{B91113A6-E11C-4FA9-8C4B-C6E7C7E18D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69"/>
            <a:ext cx="576553" cy="498669"/>
          </a:xfrm>
          <a:prstGeom prst="rect">
            <a:avLst/>
          </a:prstGeom>
        </p:spPr>
      </p:pic>
      <p:pic>
        <p:nvPicPr>
          <p:cNvPr id="9" name="Immagine 8" descr="Immagine che contiene testo, Carattere, Elementi grafici, schermata&#10;&#10;Descrizione generata automaticamente">
            <a:extLst>
              <a:ext uri="{FF2B5EF4-FFF2-40B4-BE49-F238E27FC236}">
                <a16:creationId xmlns:a16="http://schemas.microsoft.com/office/drawing/2014/main" id="{0817FCBA-769B-2526-51A0-581E4255A4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7911" y="6108492"/>
            <a:ext cx="750338" cy="548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3514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+immagine 2/3s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D45D39EE-D281-BE73-44F0-663A5A6CF7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56563" y="1449388"/>
            <a:ext cx="3509929" cy="43926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" name="Segnaposto immagine 4">
            <a:extLst>
              <a:ext uri="{FF2B5EF4-FFF2-40B4-BE49-F238E27FC236}">
                <a16:creationId xmlns:a16="http://schemas.microsoft.com/office/drawing/2014/main" id="{85759565-9536-191E-3066-7CF0F4196B7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7859713" cy="6858000"/>
          </a:xfrm>
          <a:prstGeom prst="rect">
            <a:avLst/>
          </a:prstGeom>
          <a:noFill/>
        </p:spPr>
        <p:txBody>
          <a:bodyPr lIns="216000" tIns="576000" rIns="108000"/>
          <a:lstStyle>
            <a:lvl1pPr>
              <a:defRPr lang="it-IT" sz="14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it-IT" dirty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1719294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+immagine 1/3s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D45D39EE-D281-BE73-44F0-663A5A6CF7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57689" y="1449388"/>
            <a:ext cx="7208804" cy="43926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" name="Titolo 5">
            <a:extLst>
              <a:ext uri="{FF2B5EF4-FFF2-40B4-BE49-F238E27FC236}">
                <a16:creationId xmlns:a16="http://schemas.microsoft.com/office/drawing/2014/main" id="{A0341C0C-9B54-A188-FD05-9E9DC940AE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7688" y="518884"/>
            <a:ext cx="72009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5" name="Segnaposto contenuto 2">
            <a:extLst>
              <a:ext uri="{FF2B5EF4-FFF2-40B4-BE49-F238E27FC236}">
                <a16:creationId xmlns:a16="http://schemas.microsoft.com/office/drawing/2014/main" id="{CEDD0803-D160-684B-578A-23F8FF104221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4367213" y="817735"/>
            <a:ext cx="72009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6" name="Segnaposto immagine 4">
            <a:extLst>
              <a:ext uri="{FF2B5EF4-FFF2-40B4-BE49-F238E27FC236}">
                <a16:creationId xmlns:a16="http://schemas.microsoft.com/office/drawing/2014/main" id="{7D3D6882-6720-05D3-ECCE-B8BCB1567B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4165600" cy="6858000"/>
          </a:xfrm>
          <a:prstGeom prst="rect">
            <a:avLst/>
          </a:prstGeom>
          <a:noFill/>
        </p:spPr>
        <p:txBody>
          <a:bodyPr lIns="216000" tIns="576000" rIns="108000"/>
          <a:lstStyle>
            <a:lvl1pPr>
              <a:defRPr lang="it-IT" sz="14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it-IT" dirty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19488108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agine pagina int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lIns="216000" tIns="576000" rIns="108000"/>
          <a:lstStyle>
            <a:lvl1pPr>
              <a:defRPr lang="it-IT" sz="1400"/>
            </a:lvl1pPr>
          </a:lstStyle>
          <a:p>
            <a:pPr lvl="0" algn="ctr"/>
            <a:r>
              <a:rPr lang="it-IT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26160956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ro text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658813" y="944564"/>
            <a:ext cx="10871234" cy="4897436"/>
          </a:xfrm>
          <a:prstGeom prst="rect">
            <a:avLst/>
          </a:prstGeom>
        </p:spPr>
        <p:txBody>
          <a:bodyPr anchor="ctr" anchorCtr="0"/>
          <a:lstStyle>
            <a:lvl1pPr algn="ctr">
              <a:defRPr sz="4800" b="1">
                <a:solidFill>
                  <a:schemeClr val="tx1"/>
                </a:solidFill>
                <a:latin typeface="Montserrat Medium" pitchFamily="2" charset="0"/>
              </a:defRPr>
            </a:lvl1pPr>
          </a:lstStyle>
          <a:p>
            <a:pPr lvl="0"/>
            <a:r>
              <a:rPr lang="it-IT" dirty="0"/>
              <a:t>Hero text</a:t>
            </a:r>
          </a:p>
          <a:p>
            <a:pPr lvl="0"/>
            <a:r>
              <a:rPr lang="it-IT" dirty="0"/>
              <a:t>Montserrat medium 40/60pt</a:t>
            </a:r>
          </a:p>
        </p:txBody>
      </p:sp>
      <p:sp>
        <p:nvSpPr>
          <p:cNvPr id="4" name="Segnaposto testo 20">
            <a:extLst>
              <a:ext uri="{FF2B5EF4-FFF2-40B4-BE49-F238E27FC236}">
                <a16:creationId xmlns:a16="http://schemas.microsoft.com/office/drawing/2014/main" id="{87944381-7315-2387-80B4-21FEC0F3FD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5" name="Segnaposto testo 20">
            <a:extLst>
              <a:ext uri="{FF2B5EF4-FFF2-40B4-BE49-F238E27FC236}">
                <a16:creationId xmlns:a16="http://schemas.microsoft.com/office/drawing/2014/main" id="{C88712EF-8A22-2B79-5919-C5858398562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pic>
        <p:nvPicPr>
          <p:cNvPr id="7" name="Elemento grafico 8">
            <a:extLst>
              <a:ext uri="{FF2B5EF4-FFF2-40B4-BE49-F238E27FC236}">
                <a16:creationId xmlns:a16="http://schemas.microsoft.com/office/drawing/2014/main" id="{0F54D219-D193-96D3-8A0E-6B04AF5450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69"/>
            <a:ext cx="576553" cy="498669"/>
          </a:xfrm>
          <a:prstGeom prst="rect">
            <a:avLst/>
          </a:prstGeom>
        </p:spPr>
      </p:pic>
      <p:pic>
        <p:nvPicPr>
          <p:cNvPr id="8" name="Immagine 7" descr="Immagine che contiene testo, Carattere, Elementi grafici, schermata&#10;&#10;Descrizione generata automaticamente">
            <a:extLst>
              <a:ext uri="{FF2B5EF4-FFF2-40B4-BE49-F238E27FC236}">
                <a16:creationId xmlns:a16="http://schemas.microsoft.com/office/drawing/2014/main" id="{0099142B-CF47-6847-3C26-8DE5599C70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7911" y="6108492"/>
            <a:ext cx="750338" cy="548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8901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ro text 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B7DA111A-279C-61CE-1928-850425A63B56}"/>
              </a:ext>
            </a:extLst>
          </p:cNvPr>
          <p:cNvSpPr/>
          <p:nvPr userDrawn="1"/>
        </p:nvSpPr>
        <p:spPr>
          <a:xfrm>
            <a:off x="6096000" y="0"/>
            <a:ext cx="61087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Segnaposto testo 4">
            <a:extLst>
              <a:ext uri="{FF2B5EF4-FFF2-40B4-BE49-F238E27FC236}">
                <a16:creationId xmlns:a16="http://schemas.microsoft.com/office/drawing/2014/main" id="{930D7D6F-78CD-D46F-91EF-C9B748DA3E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54813" y="0"/>
            <a:ext cx="5215690" cy="6858000"/>
          </a:xfrm>
          <a:prstGeom prst="rect">
            <a:avLst/>
          </a:prstGeom>
        </p:spPr>
        <p:txBody>
          <a:bodyPr lIns="0" tIns="0" rIns="0" bIns="0" numCol="1" spcCol="180000" anchor="ctr"/>
          <a:lstStyle>
            <a:lvl1pPr marL="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Hero text</a:t>
            </a:r>
          </a:p>
          <a:p>
            <a:pPr lvl="0"/>
            <a:r>
              <a:rPr lang="it-IT" dirty="0"/>
              <a:t>Montserrat medium 32/44pt</a:t>
            </a:r>
          </a:p>
        </p:txBody>
      </p:sp>
      <p:sp>
        <p:nvSpPr>
          <p:cNvPr id="2" name="Segnaposto immagine 4">
            <a:extLst>
              <a:ext uri="{FF2B5EF4-FFF2-40B4-BE49-F238E27FC236}">
                <a16:creationId xmlns:a16="http://schemas.microsoft.com/office/drawing/2014/main" id="{F2ACA5D0-D32D-F5C5-C01B-43CFB83742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9526" y="0"/>
            <a:ext cx="6118225" cy="6858000"/>
          </a:xfrm>
          <a:prstGeom prst="rect">
            <a:avLst/>
          </a:prstGeom>
          <a:noFill/>
        </p:spPr>
        <p:txBody>
          <a:bodyPr lIns="216000" tIns="576000" rIns="108000"/>
          <a:lstStyle>
            <a:lvl1pPr>
              <a:defRPr lang="it-IT" sz="14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it-IT" dirty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39899233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4">
            <a:extLst>
              <a:ext uri="{FF2B5EF4-FFF2-40B4-BE49-F238E27FC236}">
                <a16:creationId xmlns:a16="http://schemas.microsoft.com/office/drawing/2014/main" id="{5A81C66B-A65D-41B3-DDC9-05031A3E1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1449389"/>
            <a:ext cx="10909300" cy="43926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buClr>
                <a:schemeClr val="tx1"/>
              </a:buClr>
              <a:buSzPct val="110000"/>
              <a:buFont typeface="Wingdings" panose="05000000000000000000" pitchFamily="2" charset="2"/>
              <a:buNone/>
              <a:defRPr sz="1200">
                <a:latin typeface="Montserrat" pitchFamily="2" charset="0"/>
              </a:defRPr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400">
                <a:latin typeface="Montserrat" pitchFamily="2" charset="0"/>
              </a:defRPr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100">
                <a:latin typeface="Montserrat" pitchFamily="2" charset="0"/>
              </a:defRPr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05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792C1C3D-AC81-C99D-03DF-BB902461DE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8" name="Segnaposto testo 20">
            <a:extLst>
              <a:ext uri="{FF2B5EF4-FFF2-40B4-BE49-F238E27FC236}">
                <a16:creationId xmlns:a16="http://schemas.microsoft.com/office/drawing/2014/main" id="{081D75DA-0AAC-9B44-972F-D0CEFE1CDBC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9" name="Segnaposto testo 20">
            <a:extLst>
              <a:ext uri="{FF2B5EF4-FFF2-40B4-BE49-F238E27FC236}">
                <a16:creationId xmlns:a16="http://schemas.microsoft.com/office/drawing/2014/main" id="{03A979E8-022A-11B2-DBF5-49783919446C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pic>
        <p:nvPicPr>
          <p:cNvPr id="11" name="Elemento grafico 8">
            <a:extLst>
              <a:ext uri="{FF2B5EF4-FFF2-40B4-BE49-F238E27FC236}">
                <a16:creationId xmlns:a16="http://schemas.microsoft.com/office/drawing/2014/main" id="{5D86BDFC-87F2-C2D8-1B60-2AB808D0E5A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69"/>
            <a:ext cx="576553" cy="498669"/>
          </a:xfrm>
          <a:prstGeom prst="rect">
            <a:avLst/>
          </a:prstGeom>
        </p:spPr>
      </p:pic>
      <p:pic>
        <p:nvPicPr>
          <p:cNvPr id="12" name="Immagine 11" descr="Immagine che contiene testo, Carattere, Elementi grafici, schermata&#10;&#10;Descrizione generata automaticamente">
            <a:extLst>
              <a:ext uri="{FF2B5EF4-FFF2-40B4-BE49-F238E27FC236}">
                <a16:creationId xmlns:a16="http://schemas.microsoft.com/office/drawing/2014/main" id="{F3932242-A62B-FDCE-1F1A-38FB93C7738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7911" y="6108492"/>
            <a:ext cx="750338" cy="548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4060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ro text 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egnaposto testo 4">
            <a:extLst>
              <a:ext uri="{FF2B5EF4-FFF2-40B4-BE49-F238E27FC236}">
                <a16:creationId xmlns:a16="http://schemas.microsoft.com/office/drawing/2014/main" id="{930D7D6F-78CD-D46F-91EF-C9B748DA3EB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54813" y="0"/>
            <a:ext cx="5215690" cy="6858000"/>
          </a:xfrm>
          <a:prstGeom prst="rect">
            <a:avLst/>
          </a:prstGeom>
        </p:spPr>
        <p:txBody>
          <a:bodyPr lIns="0" tIns="0" rIns="0" bIns="0" numCol="1" spcCol="180000" anchor="ctr"/>
          <a:lstStyle>
            <a:lvl1pPr marL="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4400">
                <a:solidFill>
                  <a:schemeClr val="tx1"/>
                </a:solidFill>
                <a:latin typeface="+mj-lt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Hero text</a:t>
            </a:r>
          </a:p>
          <a:p>
            <a:pPr lvl="0"/>
            <a:r>
              <a:rPr lang="it-IT" dirty="0"/>
              <a:t>Montserrat medium 32/44pt</a:t>
            </a:r>
          </a:p>
        </p:txBody>
      </p:sp>
      <p:sp>
        <p:nvSpPr>
          <p:cNvPr id="2" name="Segnaposto immagine 4">
            <a:extLst>
              <a:ext uri="{FF2B5EF4-FFF2-40B4-BE49-F238E27FC236}">
                <a16:creationId xmlns:a16="http://schemas.microsoft.com/office/drawing/2014/main" id="{F2ACA5D0-D32D-F5C5-C01B-43CFB83742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-9526" y="0"/>
            <a:ext cx="6118225" cy="6858000"/>
          </a:xfrm>
          <a:prstGeom prst="rect">
            <a:avLst/>
          </a:prstGeom>
          <a:noFill/>
        </p:spPr>
        <p:txBody>
          <a:bodyPr lIns="216000" tIns="576000" rIns="108000"/>
          <a:lstStyle>
            <a:lvl1pPr>
              <a:defRPr lang="it-IT" sz="14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it-IT" dirty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23190911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65456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ezione positiv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78925F9A-A494-FE46-8B67-19461F071F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0999" y="4813301"/>
            <a:ext cx="12877410" cy="2070100"/>
          </a:xfrm>
          <a:prstGeom prst="rect">
            <a:avLst/>
          </a:prstGeom>
        </p:spPr>
      </p:pic>
      <p:sp>
        <p:nvSpPr>
          <p:cNvPr id="7" name="Titolo 1">
            <a:extLst>
              <a:ext uri="{FF2B5EF4-FFF2-40B4-BE49-F238E27FC236}">
                <a16:creationId xmlns:a16="http://schemas.microsoft.com/office/drawing/2014/main" id="{086271E7-4C62-9B76-EA88-8727266055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2785423"/>
            <a:ext cx="10874376" cy="297646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ctr">
            <a:spAutoFit/>
          </a:bodyPr>
          <a:lstStyle>
            <a:lvl1pPr algn="ctr">
              <a:lnSpc>
                <a:spcPct val="80000"/>
              </a:lnSpc>
              <a:defRPr lang="it-IT" sz="2400" b="0">
                <a:solidFill>
                  <a:schemeClr val="tx1"/>
                </a:solidFill>
                <a:latin typeface="Montserrat" pitchFamily="2" charset="0"/>
              </a:defRPr>
            </a:lvl1pPr>
          </a:lstStyle>
          <a:p>
            <a:pPr lvl="0"/>
            <a:r>
              <a:rPr lang="it-IT" dirty="0"/>
              <a:t>Copertina sezione 1 – Montserrat 24pt</a:t>
            </a:r>
          </a:p>
        </p:txBody>
      </p:sp>
      <p:sp>
        <p:nvSpPr>
          <p:cNvPr id="15" name="Segnaposto testo 5">
            <a:extLst>
              <a:ext uri="{FF2B5EF4-FFF2-40B4-BE49-F238E27FC236}">
                <a16:creationId xmlns:a16="http://schemas.microsoft.com/office/drawing/2014/main" id="{2600960A-82E4-C711-4D99-5F91C43911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813" y="3153790"/>
            <a:ext cx="10890250" cy="460268"/>
          </a:xfrm>
          <a:prstGeom prst="rect">
            <a:avLst/>
          </a:prstGeom>
        </p:spPr>
        <p:txBody>
          <a:bodyPr anchor="ctr"/>
          <a:lstStyle>
            <a:lvl1pPr algn="ctr">
              <a:defRPr sz="1800">
                <a:latin typeface="Montserrat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it-IT" dirty="0"/>
              <a:t>Sottotitolo Montserrat 18pt</a:t>
            </a:r>
          </a:p>
        </p:txBody>
      </p:sp>
      <p:pic>
        <p:nvPicPr>
          <p:cNvPr id="4" name="Elemento grafico 8">
            <a:extLst>
              <a:ext uri="{FF2B5EF4-FFF2-40B4-BE49-F238E27FC236}">
                <a16:creationId xmlns:a16="http://schemas.microsoft.com/office/drawing/2014/main" id="{63152141-598E-34DF-4476-2BC8EDDCE4A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72452" y="648913"/>
            <a:ext cx="979279" cy="846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480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testo 2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1700000" cy="828000"/>
          </a:xfrm>
          <a:prstGeom prst="rect">
            <a:avLst/>
          </a:prstGeom>
        </p:spPr>
        <p:txBody>
          <a:bodyPr vert="horz" lIns="39600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 err="1"/>
              <a:t>Titolo</a:t>
            </a:r>
            <a:r>
              <a:rPr lang="en-GB" noProof="0" dirty="0"/>
              <a:t>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1260000"/>
            <a:ext cx="10800000" cy="48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it-IT" dirty="0"/>
            </a:lvl1pPr>
            <a:lvl2pPr>
              <a:lnSpc>
                <a:spcPct val="90000"/>
              </a:lnSpc>
              <a:defRPr lang="it-IT" dirty="0"/>
            </a:lvl2pPr>
            <a:lvl3pPr>
              <a:lnSpc>
                <a:spcPct val="90000"/>
              </a:lnSpc>
              <a:defRPr lang="it-IT" dirty="0"/>
            </a:lvl3pPr>
            <a:lvl4pPr>
              <a:lnSpc>
                <a:spcPct val="90000"/>
              </a:lnSpc>
              <a:defRPr lang="it-IT" dirty="0"/>
            </a:lvl4pPr>
            <a:lvl5pPr>
              <a:lnSpc>
                <a:spcPct val="90000"/>
              </a:lnSpc>
              <a:defRPr lang="it-IT" dirty="0"/>
            </a:lvl5pPr>
          </a:lstStyle>
          <a:p>
            <a:pPr lvl="0">
              <a:lnSpc>
                <a:spcPct val="105000"/>
              </a:lnSpc>
              <a:spcBef>
                <a:spcPts val="1200"/>
              </a:spcBef>
            </a:pPr>
            <a:r>
              <a:rPr lang="en-GB" noProof="0" dirty="0"/>
              <a:t>Testo 20pt</a:t>
            </a:r>
          </a:p>
          <a:p>
            <a:pPr marL="541338" lvl="1" indent="-358775">
              <a:lnSpc>
                <a:spcPct val="105000"/>
              </a:lnSpc>
              <a:spcAft>
                <a:spcPts val="1000"/>
              </a:spcAft>
              <a:buClr>
                <a:schemeClr val="accent1"/>
              </a:buClr>
              <a:buFont typeface="Wingdings" panose="05000000000000000000" pitchFamily="2" charset="2"/>
              <a:buChar char="ü"/>
              <a:tabLst>
                <a:tab pos="541338" algn="l"/>
              </a:tabLst>
            </a:pPr>
            <a:r>
              <a:rPr lang="en-GB" noProof="0" dirty="0"/>
              <a:t>Secondo </a:t>
            </a:r>
            <a:r>
              <a:rPr lang="en-GB" noProof="0" dirty="0" err="1"/>
              <a:t>livello</a:t>
            </a:r>
            <a:r>
              <a:rPr lang="en-GB" noProof="0" dirty="0"/>
              <a:t> 18pt</a:t>
            </a:r>
          </a:p>
          <a:p>
            <a:pPr marL="898525" lvl="2" indent="-357188">
              <a:lnSpc>
                <a:spcPct val="105000"/>
              </a:lnSpc>
              <a:spcAft>
                <a:spcPts val="10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GB" noProof="0" dirty="0" err="1"/>
              <a:t>Terzo</a:t>
            </a:r>
            <a:r>
              <a:rPr lang="en-GB" noProof="0" dirty="0"/>
              <a:t> </a:t>
            </a:r>
            <a:r>
              <a:rPr lang="en-GB" noProof="0" dirty="0" err="1"/>
              <a:t>livello</a:t>
            </a:r>
            <a:r>
              <a:rPr lang="en-GB" noProof="0" dirty="0"/>
              <a:t> 16pt</a:t>
            </a:r>
          </a:p>
          <a:p>
            <a:pPr marL="1255713" lvl="3" indent="-357188">
              <a:lnSpc>
                <a:spcPct val="105000"/>
              </a:lnSpc>
              <a:spcAft>
                <a:spcPts val="1000"/>
              </a:spcAft>
              <a:buClr>
                <a:schemeClr val="accent1"/>
              </a:buClr>
              <a:buFont typeface="Wingdings" panose="05000000000000000000" pitchFamily="2" charset="2"/>
              <a:buChar char="ü"/>
              <a:tabLst>
                <a:tab pos="1255713" algn="l"/>
              </a:tabLst>
            </a:pPr>
            <a:r>
              <a:rPr lang="en-GB" noProof="0" dirty="0"/>
              <a:t>Quarto </a:t>
            </a:r>
            <a:r>
              <a:rPr lang="en-GB" noProof="0" dirty="0" err="1"/>
              <a:t>livello</a:t>
            </a:r>
            <a:r>
              <a:rPr lang="en-GB" noProof="0" dirty="0"/>
              <a:t> 14pt</a:t>
            </a:r>
          </a:p>
          <a:p>
            <a:pPr marL="1614488" lvl="4" indent="-358775">
              <a:lnSpc>
                <a:spcPct val="105000"/>
              </a:lnSpc>
              <a:spcAft>
                <a:spcPts val="10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GB" noProof="0" dirty="0"/>
              <a:t>Quinto </a:t>
            </a:r>
            <a:r>
              <a:rPr lang="en-GB" noProof="0" dirty="0" err="1"/>
              <a:t>livello</a:t>
            </a:r>
            <a:r>
              <a:rPr lang="en-GB" noProof="0" dirty="0"/>
              <a:t>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100" y="6414801"/>
            <a:ext cx="900888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en-US" noProof="0"/>
              <a:t>12 December 2023</a:t>
            </a:r>
            <a:endParaRPr lang="en-GB" noProof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63988" y="6551995"/>
            <a:ext cx="7920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it-IT"/>
              <a:t>Mario Tartaglia   |   Official Statistics Board del Gruppo F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07793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olo e testo 20p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1700000" cy="828000"/>
          </a:xfrm>
          <a:prstGeom prst="rect">
            <a:avLst/>
          </a:prstGeom>
        </p:spPr>
        <p:txBody>
          <a:bodyPr vert="horz" lIns="39600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 err="1"/>
              <a:t>Titolo</a:t>
            </a:r>
            <a:r>
              <a:rPr lang="en-GB" noProof="0" dirty="0"/>
              <a:t>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000" y="1260000"/>
            <a:ext cx="5040000" cy="48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it-IT" dirty="0"/>
            </a:lvl1pPr>
            <a:lvl2pPr>
              <a:lnSpc>
                <a:spcPct val="90000"/>
              </a:lnSpc>
              <a:defRPr lang="it-IT" dirty="0"/>
            </a:lvl2pPr>
            <a:lvl3pPr>
              <a:lnSpc>
                <a:spcPct val="90000"/>
              </a:lnSpc>
              <a:defRPr lang="it-IT" dirty="0"/>
            </a:lvl3pPr>
            <a:lvl4pPr>
              <a:lnSpc>
                <a:spcPct val="90000"/>
              </a:lnSpc>
              <a:defRPr lang="it-IT" dirty="0"/>
            </a:lvl4pPr>
            <a:lvl5pPr>
              <a:lnSpc>
                <a:spcPct val="90000"/>
              </a:lnSpc>
              <a:defRPr lang="it-IT" dirty="0"/>
            </a:lvl5pPr>
          </a:lstStyle>
          <a:p>
            <a:pPr lvl="0">
              <a:lnSpc>
                <a:spcPct val="105000"/>
              </a:lnSpc>
              <a:spcBef>
                <a:spcPts val="1200"/>
              </a:spcBef>
            </a:pPr>
            <a:r>
              <a:rPr lang="en-GB" noProof="0" dirty="0"/>
              <a:t>Testo 20pt</a:t>
            </a:r>
          </a:p>
          <a:p>
            <a:pPr marL="541338" lvl="1" indent="-358775">
              <a:lnSpc>
                <a:spcPct val="105000"/>
              </a:lnSpc>
              <a:spcAft>
                <a:spcPts val="1000"/>
              </a:spcAft>
              <a:buClr>
                <a:schemeClr val="accent1"/>
              </a:buClr>
              <a:buFont typeface="Wingdings" panose="05000000000000000000" pitchFamily="2" charset="2"/>
              <a:buChar char="ü"/>
              <a:tabLst>
                <a:tab pos="541338" algn="l"/>
              </a:tabLst>
            </a:pPr>
            <a:r>
              <a:rPr lang="en-GB" noProof="0" dirty="0"/>
              <a:t>Secondo </a:t>
            </a:r>
            <a:r>
              <a:rPr lang="en-GB" noProof="0" dirty="0" err="1"/>
              <a:t>livello</a:t>
            </a:r>
            <a:r>
              <a:rPr lang="en-GB" noProof="0" dirty="0"/>
              <a:t> 18pt</a:t>
            </a:r>
          </a:p>
          <a:p>
            <a:pPr marL="898525" lvl="2" indent="-357188">
              <a:lnSpc>
                <a:spcPct val="105000"/>
              </a:lnSpc>
              <a:spcAft>
                <a:spcPts val="10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GB" noProof="0" dirty="0" err="1"/>
              <a:t>Terzo</a:t>
            </a:r>
            <a:r>
              <a:rPr lang="en-GB" noProof="0" dirty="0"/>
              <a:t> </a:t>
            </a:r>
            <a:r>
              <a:rPr lang="en-GB" noProof="0" dirty="0" err="1"/>
              <a:t>livello</a:t>
            </a:r>
            <a:r>
              <a:rPr lang="en-GB" noProof="0" dirty="0"/>
              <a:t> 16pt</a:t>
            </a:r>
          </a:p>
          <a:p>
            <a:pPr marL="1255713" lvl="3" indent="-357188">
              <a:lnSpc>
                <a:spcPct val="105000"/>
              </a:lnSpc>
              <a:spcAft>
                <a:spcPts val="1000"/>
              </a:spcAft>
              <a:buClr>
                <a:schemeClr val="accent1"/>
              </a:buClr>
              <a:buFont typeface="Wingdings" panose="05000000000000000000" pitchFamily="2" charset="2"/>
              <a:buChar char="ü"/>
              <a:tabLst>
                <a:tab pos="1255713" algn="l"/>
              </a:tabLst>
            </a:pPr>
            <a:r>
              <a:rPr lang="en-GB" noProof="0" dirty="0"/>
              <a:t>Quarto </a:t>
            </a:r>
            <a:r>
              <a:rPr lang="en-GB" noProof="0" dirty="0" err="1"/>
              <a:t>livello</a:t>
            </a:r>
            <a:r>
              <a:rPr lang="en-GB" noProof="0" dirty="0"/>
              <a:t> 14pt</a:t>
            </a:r>
          </a:p>
          <a:p>
            <a:pPr marL="1614488" lvl="4" indent="-358775">
              <a:lnSpc>
                <a:spcPct val="105000"/>
              </a:lnSpc>
              <a:spcAft>
                <a:spcPts val="10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GB" noProof="0" dirty="0"/>
              <a:t>Quinto </a:t>
            </a:r>
            <a:r>
              <a:rPr lang="en-GB" noProof="0" dirty="0" err="1"/>
              <a:t>livello</a:t>
            </a:r>
            <a:r>
              <a:rPr lang="en-GB" noProof="0" dirty="0"/>
              <a:t>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683100" y="6414801"/>
            <a:ext cx="900888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en-US" noProof="0"/>
              <a:t>12 December 2023</a:t>
            </a:r>
            <a:endParaRPr lang="en-GB" noProof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63988" y="6551995"/>
            <a:ext cx="792000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it-IT" noProof="0"/>
              <a:t>Mario Tartaglia   |   Official Statistics Board del Gruppo FS</a:t>
            </a:r>
            <a:endParaRPr lang="en-GB" noProof="0"/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8479A023-45EA-9072-27A2-6F940F2952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28000" y="1260000"/>
            <a:ext cx="5040000" cy="486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90000"/>
              </a:lnSpc>
              <a:defRPr lang="it-IT" dirty="0"/>
            </a:lvl1pPr>
            <a:lvl2pPr>
              <a:lnSpc>
                <a:spcPct val="90000"/>
              </a:lnSpc>
              <a:defRPr lang="it-IT" dirty="0"/>
            </a:lvl2pPr>
            <a:lvl3pPr>
              <a:lnSpc>
                <a:spcPct val="90000"/>
              </a:lnSpc>
              <a:defRPr lang="it-IT" dirty="0"/>
            </a:lvl3pPr>
            <a:lvl4pPr>
              <a:lnSpc>
                <a:spcPct val="90000"/>
              </a:lnSpc>
              <a:defRPr lang="it-IT" dirty="0"/>
            </a:lvl4pPr>
            <a:lvl5pPr>
              <a:lnSpc>
                <a:spcPct val="90000"/>
              </a:lnSpc>
              <a:defRPr lang="it-IT" dirty="0"/>
            </a:lvl5pPr>
          </a:lstStyle>
          <a:p>
            <a:pPr lvl="0">
              <a:lnSpc>
                <a:spcPct val="105000"/>
              </a:lnSpc>
              <a:spcBef>
                <a:spcPts val="1200"/>
              </a:spcBef>
            </a:pPr>
            <a:r>
              <a:rPr lang="en-GB" noProof="0" dirty="0"/>
              <a:t>Testo 20pt</a:t>
            </a:r>
          </a:p>
          <a:p>
            <a:pPr marL="541338" lvl="1" indent="-358775">
              <a:lnSpc>
                <a:spcPct val="105000"/>
              </a:lnSpc>
              <a:spcAft>
                <a:spcPts val="1000"/>
              </a:spcAft>
              <a:buClr>
                <a:schemeClr val="accent1"/>
              </a:buClr>
              <a:buFont typeface="Wingdings" panose="05000000000000000000" pitchFamily="2" charset="2"/>
              <a:buChar char="ü"/>
              <a:tabLst>
                <a:tab pos="541338" algn="l"/>
              </a:tabLst>
            </a:pPr>
            <a:r>
              <a:rPr lang="en-GB" noProof="0" dirty="0"/>
              <a:t>Secondo </a:t>
            </a:r>
            <a:r>
              <a:rPr lang="en-GB" noProof="0" dirty="0" err="1"/>
              <a:t>livello</a:t>
            </a:r>
            <a:r>
              <a:rPr lang="en-GB" noProof="0" dirty="0"/>
              <a:t> 18pt</a:t>
            </a:r>
          </a:p>
          <a:p>
            <a:pPr marL="898525" lvl="2" indent="-357188">
              <a:lnSpc>
                <a:spcPct val="105000"/>
              </a:lnSpc>
              <a:spcAft>
                <a:spcPts val="10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GB" noProof="0" dirty="0" err="1"/>
              <a:t>Terzo</a:t>
            </a:r>
            <a:r>
              <a:rPr lang="en-GB" noProof="0" dirty="0"/>
              <a:t> </a:t>
            </a:r>
            <a:r>
              <a:rPr lang="en-GB" noProof="0" dirty="0" err="1"/>
              <a:t>livello</a:t>
            </a:r>
            <a:r>
              <a:rPr lang="en-GB" noProof="0" dirty="0"/>
              <a:t> 16pt</a:t>
            </a:r>
          </a:p>
          <a:p>
            <a:pPr marL="1255713" lvl="3" indent="-357188">
              <a:lnSpc>
                <a:spcPct val="105000"/>
              </a:lnSpc>
              <a:spcAft>
                <a:spcPts val="1000"/>
              </a:spcAft>
              <a:buClr>
                <a:schemeClr val="accent1"/>
              </a:buClr>
              <a:buFont typeface="Wingdings" panose="05000000000000000000" pitchFamily="2" charset="2"/>
              <a:buChar char="ü"/>
              <a:tabLst>
                <a:tab pos="1255713" algn="l"/>
              </a:tabLst>
            </a:pPr>
            <a:r>
              <a:rPr lang="en-GB" noProof="0" dirty="0"/>
              <a:t>Quarto </a:t>
            </a:r>
            <a:r>
              <a:rPr lang="en-GB" noProof="0" dirty="0" err="1"/>
              <a:t>livello</a:t>
            </a:r>
            <a:r>
              <a:rPr lang="en-GB" noProof="0" dirty="0"/>
              <a:t> 14pt</a:t>
            </a:r>
          </a:p>
          <a:p>
            <a:pPr marL="1614488" lvl="4" indent="-358775">
              <a:lnSpc>
                <a:spcPct val="105000"/>
              </a:lnSpc>
              <a:spcAft>
                <a:spcPts val="10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GB" noProof="0" dirty="0"/>
              <a:t>Quinto </a:t>
            </a:r>
            <a:r>
              <a:rPr lang="en-GB" noProof="0" dirty="0" err="1"/>
              <a:t>livello</a:t>
            </a:r>
            <a:r>
              <a:rPr lang="en-GB" noProof="0" dirty="0"/>
              <a:t> 12pt</a:t>
            </a:r>
          </a:p>
        </p:txBody>
      </p:sp>
    </p:spTree>
    <p:extLst>
      <p:ext uri="{BB962C8B-B14F-4D97-AF65-F5344CB8AC3E}">
        <p14:creationId xmlns:p14="http://schemas.microsoft.com/office/powerpoint/2010/main" val="1394659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2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06/02/2020</a:t>
            </a:r>
            <a:endParaRPr lang="en-GB" dirty="0"/>
          </a:p>
        </p:txBody>
      </p:sp>
      <p:sp>
        <p:nvSpPr>
          <p:cNvPr id="2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it-IT"/>
              <a:t>La DdG 238/2019   I   Mario Tartagli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38772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5">
            <a:extLst>
              <a:ext uri="{FF2B5EF4-FFF2-40B4-BE49-F238E27FC236}">
                <a16:creationId xmlns:a16="http://schemas.microsoft.com/office/drawing/2014/main" id="{B6EE62BE-5710-94CF-9F21-6E0BF52841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4" name="Segnaposto testo 20">
            <a:extLst>
              <a:ext uri="{FF2B5EF4-FFF2-40B4-BE49-F238E27FC236}">
                <a16:creationId xmlns:a16="http://schemas.microsoft.com/office/drawing/2014/main" id="{E6BF007A-C0BD-562D-73BD-22E8215D4C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5" name="Segnaposto testo 20">
            <a:extLst>
              <a:ext uri="{FF2B5EF4-FFF2-40B4-BE49-F238E27FC236}">
                <a16:creationId xmlns:a16="http://schemas.microsoft.com/office/drawing/2014/main" id="{751C85D7-4C24-B64C-3336-EEDD8CEB17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pic>
        <p:nvPicPr>
          <p:cNvPr id="2" name="Elemento grafico 8">
            <a:extLst>
              <a:ext uri="{FF2B5EF4-FFF2-40B4-BE49-F238E27FC236}">
                <a16:creationId xmlns:a16="http://schemas.microsoft.com/office/drawing/2014/main" id="{58100D78-1A65-8B62-2E71-98B2110FE0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70"/>
            <a:ext cx="576553" cy="498667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4A5B6014-2C12-EC7F-EF8D-FF6019E89A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67911" y="6109059"/>
            <a:ext cx="750338" cy="546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7907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testo 4">
            <a:extLst>
              <a:ext uri="{FF2B5EF4-FFF2-40B4-BE49-F238E27FC236}">
                <a16:creationId xmlns:a16="http://schemas.microsoft.com/office/drawing/2014/main" id="{5A81C66B-A65D-41B3-DDC9-05031A3E1A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1449388"/>
            <a:ext cx="10874375" cy="44275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buClr>
                <a:schemeClr val="tx1"/>
              </a:buClr>
              <a:buSzPct val="110000"/>
              <a:buFont typeface="Wingdings" panose="05000000000000000000" pitchFamily="2" charset="2"/>
              <a:buNone/>
              <a:defRPr sz="12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400">
                <a:latin typeface="Montserrat" pitchFamily="2" charset="0"/>
              </a:defRPr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100">
                <a:latin typeface="Montserrat" pitchFamily="2" charset="0"/>
              </a:defRPr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05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C2D08B12-FC55-D306-A347-EB348FD74B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3" name="Segnaposto testo 20">
            <a:extLst>
              <a:ext uri="{FF2B5EF4-FFF2-40B4-BE49-F238E27FC236}">
                <a16:creationId xmlns:a16="http://schemas.microsoft.com/office/drawing/2014/main" id="{659E1253-46AD-C04C-5837-EC895E8532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8" name="Segnaposto testo 20">
            <a:extLst>
              <a:ext uri="{FF2B5EF4-FFF2-40B4-BE49-F238E27FC236}">
                <a16:creationId xmlns:a16="http://schemas.microsoft.com/office/drawing/2014/main" id="{EA34EA9F-F89D-F7D8-7E0E-97BEC90A9B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pic>
        <p:nvPicPr>
          <p:cNvPr id="5" name="Elemento grafico 8">
            <a:extLst>
              <a:ext uri="{FF2B5EF4-FFF2-40B4-BE49-F238E27FC236}">
                <a16:creationId xmlns:a16="http://schemas.microsoft.com/office/drawing/2014/main" id="{381834A7-E120-22CB-5E8A-B04F823B2D1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70"/>
            <a:ext cx="576553" cy="498667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A8ABE4EA-9CE6-F03B-A3D4-04A7E989A2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67911" y="6109059"/>
            <a:ext cx="750338" cy="546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3542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Testo bull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A81F51AC-A65B-AD81-34F6-81926EB3A2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1449388"/>
            <a:ext cx="10874375" cy="442753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50000"/>
              </a:lnSpc>
              <a:buClr>
                <a:schemeClr val="bg1">
                  <a:lumMod val="95000"/>
                </a:schemeClr>
              </a:buClr>
              <a:buSzPct val="110000"/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400">
                <a:latin typeface="Montserrat" pitchFamily="2" charset="0"/>
              </a:defRPr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100">
                <a:latin typeface="Montserrat" pitchFamily="2" charset="0"/>
              </a:defRPr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05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716E6A83-43E7-C08E-5968-D77CD8CF95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3" name="Segnaposto testo 20">
            <a:extLst>
              <a:ext uri="{FF2B5EF4-FFF2-40B4-BE49-F238E27FC236}">
                <a16:creationId xmlns:a16="http://schemas.microsoft.com/office/drawing/2014/main" id="{FCEB2F69-72C2-74AE-E291-2187A635B31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8" name="Segnaposto testo 20">
            <a:extLst>
              <a:ext uri="{FF2B5EF4-FFF2-40B4-BE49-F238E27FC236}">
                <a16:creationId xmlns:a16="http://schemas.microsoft.com/office/drawing/2014/main" id="{5A157740-4167-AF3C-880D-5439850592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pic>
        <p:nvPicPr>
          <p:cNvPr id="2" name="Elemento grafico 8">
            <a:extLst>
              <a:ext uri="{FF2B5EF4-FFF2-40B4-BE49-F238E27FC236}">
                <a16:creationId xmlns:a16="http://schemas.microsoft.com/office/drawing/2014/main" id="{7E0925BB-6D90-BFFE-12F8-1C8EEFB3E7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70"/>
            <a:ext cx="576553" cy="498667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4FE5B2A5-1319-10EC-2BC0-403E7EB6269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67911" y="6109059"/>
            <a:ext cx="750338" cy="546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573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5">
            <a:extLst>
              <a:ext uri="{FF2B5EF4-FFF2-40B4-BE49-F238E27FC236}">
                <a16:creationId xmlns:a16="http://schemas.microsoft.com/office/drawing/2014/main" id="{EF7D7CAB-1669-8F84-C0AE-DF3D48E8F3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4" name="Segnaposto contenuto 2">
            <a:extLst>
              <a:ext uri="{FF2B5EF4-FFF2-40B4-BE49-F238E27FC236}">
                <a16:creationId xmlns:a16="http://schemas.microsoft.com/office/drawing/2014/main" id="{4C331153-C7F6-1BB0-8E5E-5505D1111E84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109093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bg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7" name="Segnaposto testo 20">
            <a:extLst>
              <a:ext uri="{FF2B5EF4-FFF2-40B4-BE49-F238E27FC236}">
                <a16:creationId xmlns:a16="http://schemas.microsoft.com/office/drawing/2014/main" id="{E7FF8B08-2913-F69A-0CE2-1E54FC2F59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8" name="Segnaposto testo 20">
            <a:extLst>
              <a:ext uri="{FF2B5EF4-FFF2-40B4-BE49-F238E27FC236}">
                <a16:creationId xmlns:a16="http://schemas.microsoft.com/office/drawing/2014/main" id="{B0B7A4FA-1B96-722F-9AF6-EED3308176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pic>
        <p:nvPicPr>
          <p:cNvPr id="3" name="Elemento grafico 8">
            <a:extLst>
              <a:ext uri="{FF2B5EF4-FFF2-40B4-BE49-F238E27FC236}">
                <a16:creationId xmlns:a16="http://schemas.microsoft.com/office/drawing/2014/main" id="{DD874E28-74CF-1B31-4C49-61B6569441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70"/>
            <a:ext cx="576553" cy="498667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B7A8E7A5-36E7-E2C0-7DCA-FAC68232586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67911" y="6109059"/>
            <a:ext cx="750338" cy="546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7872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Testo bull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A81F51AC-A65B-AD81-34F6-81926EB3A2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1449389"/>
            <a:ext cx="10909300" cy="4392612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50000"/>
              </a:lnSpc>
              <a:buClr>
                <a:schemeClr val="tx1"/>
              </a:buClr>
              <a:buSzPct val="110000"/>
              <a:buFont typeface="Wingdings" panose="05000000000000000000" pitchFamily="2" charset="2"/>
              <a:buChar char="§"/>
              <a:defRPr sz="1200">
                <a:latin typeface="Montserrat" pitchFamily="2" charset="0"/>
              </a:defRPr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400">
                <a:latin typeface="Montserrat" pitchFamily="2" charset="0"/>
              </a:defRPr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100">
                <a:latin typeface="Montserrat" pitchFamily="2" charset="0"/>
              </a:defRPr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05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6E3EA8EF-28ED-DBC8-7815-35CDD6D86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8" name="Segnaposto testo 20">
            <a:extLst>
              <a:ext uri="{FF2B5EF4-FFF2-40B4-BE49-F238E27FC236}">
                <a16:creationId xmlns:a16="http://schemas.microsoft.com/office/drawing/2014/main" id="{AC7228F4-AEC9-2D50-9591-F2D2964720F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9" name="Segnaposto testo 20">
            <a:extLst>
              <a:ext uri="{FF2B5EF4-FFF2-40B4-BE49-F238E27FC236}">
                <a16:creationId xmlns:a16="http://schemas.microsoft.com/office/drawing/2014/main" id="{7CAF60C0-C079-9E14-5198-BE40AC513C5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pic>
        <p:nvPicPr>
          <p:cNvPr id="2" name="Elemento grafico 8">
            <a:extLst>
              <a:ext uri="{FF2B5EF4-FFF2-40B4-BE49-F238E27FC236}">
                <a16:creationId xmlns:a16="http://schemas.microsoft.com/office/drawing/2014/main" id="{F8EE565C-33B4-81B7-0E1B-3E22D02CB4F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69"/>
            <a:ext cx="576553" cy="498669"/>
          </a:xfrm>
          <a:prstGeom prst="rect">
            <a:avLst/>
          </a:prstGeom>
        </p:spPr>
      </p:pic>
      <p:pic>
        <p:nvPicPr>
          <p:cNvPr id="3" name="Immagine 2" descr="Immagine che contiene testo, Carattere, Elementi grafici, schermata&#10;&#10;Descrizione generata automaticamente">
            <a:extLst>
              <a:ext uri="{FF2B5EF4-FFF2-40B4-BE49-F238E27FC236}">
                <a16:creationId xmlns:a16="http://schemas.microsoft.com/office/drawing/2014/main" id="{AF9E2743-3F84-A57C-66E6-7357C0FEA73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7911" y="6108492"/>
            <a:ext cx="750338" cy="548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65909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Sott.+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1449388"/>
            <a:ext cx="10874375" cy="442753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buClr>
                <a:schemeClr val="tx2"/>
              </a:buClr>
              <a:buSzPct val="140000"/>
              <a:buFontTx/>
              <a:buNone/>
              <a:defRPr sz="12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400">
                <a:latin typeface="Montserrat" pitchFamily="2" charset="0"/>
              </a:defRPr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100">
                <a:latin typeface="Montserrat" pitchFamily="2" charset="0"/>
              </a:defRPr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05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4" name="Titolo 5">
            <a:extLst>
              <a:ext uri="{FF2B5EF4-FFF2-40B4-BE49-F238E27FC236}">
                <a16:creationId xmlns:a16="http://schemas.microsoft.com/office/drawing/2014/main" id="{3EB2F68F-A5BD-98A9-C6DB-D8B1D41AD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6" name="Segnaposto contenuto 2">
            <a:extLst>
              <a:ext uri="{FF2B5EF4-FFF2-40B4-BE49-F238E27FC236}">
                <a16:creationId xmlns:a16="http://schemas.microsoft.com/office/drawing/2014/main" id="{08FFE2FD-4FBD-A3EE-2C1E-0FF15DB5894A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109093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bg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7" name="Segnaposto testo 20">
            <a:extLst>
              <a:ext uri="{FF2B5EF4-FFF2-40B4-BE49-F238E27FC236}">
                <a16:creationId xmlns:a16="http://schemas.microsoft.com/office/drawing/2014/main" id="{DF498B7A-C178-0A83-CB16-2974F2BCD61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8" name="Segnaposto testo 20">
            <a:extLst>
              <a:ext uri="{FF2B5EF4-FFF2-40B4-BE49-F238E27FC236}">
                <a16:creationId xmlns:a16="http://schemas.microsoft.com/office/drawing/2014/main" id="{57898CB7-FD6A-7279-BF1C-F14DD70B535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pic>
        <p:nvPicPr>
          <p:cNvPr id="5" name="Elemento grafico 8">
            <a:extLst>
              <a:ext uri="{FF2B5EF4-FFF2-40B4-BE49-F238E27FC236}">
                <a16:creationId xmlns:a16="http://schemas.microsoft.com/office/drawing/2014/main" id="{009C5D45-2979-3B4A-CC02-81A2678CA6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70"/>
            <a:ext cx="576553" cy="498667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4BBC9923-9583-6ACB-7679-874E327AB0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67911" y="6109059"/>
            <a:ext cx="750338" cy="546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1380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+Sott+Testo bull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0C495454-3D2B-5358-D858-21EE008F90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1449388"/>
            <a:ext cx="10874375" cy="4427537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50000"/>
              </a:lnSpc>
              <a:buClr>
                <a:schemeClr val="bg1">
                  <a:lumMod val="95000"/>
                </a:schemeClr>
              </a:buClr>
              <a:buSzPct val="110000"/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400">
                <a:latin typeface="Montserrat" pitchFamily="2" charset="0"/>
              </a:defRPr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100">
                <a:latin typeface="Montserrat" pitchFamily="2" charset="0"/>
              </a:defRPr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05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4" name="Titolo 5">
            <a:extLst>
              <a:ext uri="{FF2B5EF4-FFF2-40B4-BE49-F238E27FC236}">
                <a16:creationId xmlns:a16="http://schemas.microsoft.com/office/drawing/2014/main" id="{DDD314DC-707C-EEA2-28E1-2E6814168E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6" name="Segnaposto contenuto 2">
            <a:extLst>
              <a:ext uri="{FF2B5EF4-FFF2-40B4-BE49-F238E27FC236}">
                <a16:creationId xmlns:a16="http://schemas.microsoft.com/office/drawing/2014/main" id="{5AE1DDCB-EC21-A9A3-644F-7F0D93D68B60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109093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bg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7" name="Segnaposto testo 20">
            <a:extLst>
              <a:ext uri="{FF2B5EF4-FFF2-40B4-BE49-F238E27FC236}">
                <a16:creationId xmlns:a16="http://schemas.microsoft.com/office/drawing/2014/main" id="{6D756EF3-8401-45D5-3CA2-B680040C8E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8" name="Segnaposto testo 20">
            <a:extLst>
              <a:ext uri="{FF2B5EF4-FFF2-40B4-BE49-F238E27FC236}">
                <a16:creationId xmlns:a16="http://schemas.microsoft.com/office/drawing/2014/main" id="{2CC4AC03-3C29-D22B-06A3-F663742349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pic>
        <p:nvPicPr>
          <p:cNvPr id="9" name="Elemento grafico 8">
            <a:extLst>
              <a:ext uri="{FF2B5EF4-FFF2-40B4-BE49-F238E27FC236}">
                <a16:creationId xmlns:a16="http://schemas.microsoft.com/office/drawing/2014/main" id="{33ACB692-3024-F3C6-B716-33B681F0A04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70"/>
            <a:ext cx="576553" cy="498667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2C7D34AE-E993-6174-B2AE-7B6112B573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67911" y="6109059"/>
            <a:ext cx="750338" cy="546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0097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magine pagina int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 lIns="216000" tIns="576000" rIns="108000"/>
          <a:lstStyle>
            <a:lvl1pPr>
              <a:defRPr lang="it-IT" sz="1400" dirty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 algn="ctr"/>
            <a:r>
              <a:rPr lang="it-IT" dirty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13620564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Sott+Testo+immagine sx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>
            <a:extLst>
              <a:ext uri="{FF2B5EF4-FFF2-40B4-BE49-F238E27FC236}">
                <a16:creationId xmlns:a16="http://schemas.microsoft.com/office/drawing/2014/main" id="{9891F56A-910D-483F-D914-413B2A8A0B9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4165600" cy="6858000"/>
          </a:xfrm>
          <a:prstGeom prst="rect">
            <a:avLst/>
          </a:prstGeom>
          <a:noFill/>
        </p:spPr>
        <p:txBody>
          <a:bodyPr lIns="216000" tIns="576000" rIns="108000"/>
          <a:lstStyle>
            <a:lvl1pPr>
              <a:defRPr lang="it-IT" sz="1400" dirty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 algn="ctr"/>
            <a:r>
              <a:rPr lang="it-IT" dirty="0"/>
              <a:t>Fare clic sull'icona per inserire un'immagine</a:t>
            </a:r>
          </a:p>
        </p:txBody>
      </p:sp>
      <p:sp>
        <p:nvSpPr>
          <p:cNvPr id="8" name="Segnaposto testo 4">
            <a:extLst>
              <a:ext uri="{FF2B5EF4-FFF2-40B4-BE49-F238E27FC236}">
                <a16:creationId xmlns:a16="http://schemas.microsoft.com/office/drawing/2014/main" id="{44D2928D-5F91-63B9-EC12-2E8B08ED7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57688" y="1449388"/>
            <a:ext cx="7175500" cy="4427537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5CCF372E-15A2-1737-E7B9-8EE8CFDA0B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7687" y="518884"/>
            <a:ext cx="7210425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A377B2A0-88C6-5CB3-0ECF-1333CA099080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4357687" y="817735"/>
            <a:ext cx="7210426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bg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</p:spTree>
    <p:extLst>
      <p:ext uri="{BB962C8B-B14F-4D97-AF65-F5344CB8AC3E}">
        <p14:creationId xmlns:p14="http://schemas.microsoft.com/office/powerpoint/2010/main" val="128184096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Sott+Testo+immagine d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4">
            <a:extLst>
              <a:ext uri="{FF2B5EF4-FFF2-40B4-BE49-F238E27FC236}">
                <a16:creationId xmlns:a16="http://schemas.microsoft.com/office/drawing/2014/main" id="{FB7E880A-4EC8-4524-AE25-1D504F7341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056562" y="0"/>
            <a:ext cx="4135437" cy="6858000"/>
          </a:xfrm>
          <a:prstGeom prst="rect">
            <a:avLst/>
          </a:prstGeom>
          <a:noFill/>
        </p:spPr>
        <p:txBody>
          <a:bodyPr lIns="216000" tIns="576000" rIns="108000"/>
          <a:lstStyle>
            <a:lvl1pPr>
              <a:defRPr lang="it-IT" sz="1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 algn="ctr"/>
            <a:r>
              <a:rPr lang="it-IT"/>
              <a:t>Fare clic sull'icona per inserire un'immagine</a:t>
            </a:r>
          </a:p>
        </p:txBody>
      </p:sp>
      <p:sp>
        <p:nvSpPr>
          <p:cNvPr id="7" name="Segnaposto testo 4">
            <a:extLst>
              <a:ext uri="{FF2B5EF4-FFF2-40B4-BE49-F238E27FC236}">
                <a16:creationId xmlns:a16="http://schemas.microsoft.com/office/drawing/2014/main" id="{A72CA536-722A-A2BD-FD63-EC69262B18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8975" y="1449388"/>
            <a:ext cx="7175500" cy="4427537"/>
          </a:xfrm>
          <a:prstGeom prst="rect">
            <a:avLst/>
          </a:prstGeom>
        </p:spPr>
        <p:txBody>
          <a:bodyPr lIns="0" tIns="0" rIns="216000" bIns="0" numCol="1" spcCol="180000"/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1000"/>
              </a:spcAft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1" name="Titolo 5">
            <a:extLst>
              <a:ext uri="{FF2B5EF4-FFF2-40B4-BE49-F238E27FC236}">
                <a16:creationId xmlns:a16="http://schemas.microsoft.com/office/drawing/2014/main" id="{5DB63CE5-EA1C-9CDD-C0FA-3E50EA23A3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72009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442F5D36-7B3D-813B-85A4-F97E9593FCDB}"/>
              </a:ext>
            </a:extLst>
          </p:cNvPr>
          <p:cNvSpPr/>
          <p:nvPr userDrawn="1"/>
        </p:nvSpPr>
        <p:spPr>
          <a:xfrm>
            <a:off x="421105" y="6112042"/>
            <a:ext cx="751974" cy="7459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26E01C0E-00FC-5403-5DCC-E566FF518AE5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72009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bg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</p:spTree>
    <p:extLst>
      <p:ext uri="{BB962C8B-B14F-4D97-AF65-F5344CB8AC3E}">
        <p14:creationId xmlns:p14="http://schemas.microsoft.com/office/powerpoint/2010/main" val="1967363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o+ immagine 1/2 sx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4">
            <a:extLst>
              <a:ext uri="{FF2B5EF4-FFF2-40B4-BE49-F238E27FC236}">
                <a16:creationId xmlns:a16="http://schemas.microsoft.com/office/drawing/2014/main" id="{FB7E880A-4EC8-4524-AE25-1D504F7341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7859713" cy="6858000"/>
          </a:xfrm>
          <a:prstGeom prst="rect">
            <a:avLst/>
          </a:prstGeom>
          <a:noFill/>
        </p:spPr>
        <p:txBody>
          <a:bodyPr lIns="216000" tIns="576000" rIns="108000"/>
          <a:lstStyle>
            <a:lvl1pPr>
              <a:defRPr lang="it-IT" sz="1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 algn="ctr"/>
            <a:r>
              <a:rPr lang="it-IT"/>
              <a:t>Fare clic sull'icona per inserire un'immagine</a:t>
            </a:r>
          </a:p>
        </p:txBody>
      </p:sp>
      <p:sp>
        <p:nvSpPr>
          <p:cNvPr id="7" name="Segnaposto testo 4">
            <a:extLst>
              <a:ext uri="{FF2B5EF4-FFF2-40B4-BE49-F238E27FC236}">
                <a16:creationId xmlns:a16="http://schemas.microsoft.com/office/drawing/2014/main" id="{A72CA536-722A-A2BD-FD63-EC69262B180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56563" y="1449388"/>
            <a:ext cx="3476625" cy="4427538"/>
          </a:xfrm>
          <a:prstGeom prst="rect">
            <a:avLst/>
          </a:prstGeom>
          <a:noFill/>
        </p:spPr>
        <p:txBody>
          <a:bodyPr lIns="0" tIns="0" rIns="0" bIns="0" numCol="1" spcCol="180000"/>
          <a:lstStyle>
            <a:lvl1pPr marL="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56411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+sott+testo con immag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4348147" y="1441725"/>
            <a:ext cx="7219965" cy="295910"/>
          </a:xfrm>
          <a:prstGeom prst="rect">
            <a:avLst/>
          </a:prstGeom>
          <a:noFill/>
          <a:ln>
            <a:noFill/>
          </a:ln>
          <a:effectLst/>
        </p:spPr>
        <p:txBody>
          <a:bodyPr anchor="ctr"/>
          <a:lstStyle>
            <a:lvl1pPr>
              <a:defRPr lang="it-IT" sz="1050" b="1" baseline="0" dirty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it-IT" dirty="0"/>
              <a:t>Titolo Montserrat </a:t>
            </a:r>
            <a:r>
              <a:rPr lang="it-IT" dirty="0" err="1"/>
              <a:t>bold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4357688" y="1791769"/>
            <a:ext cx="7210378" cy="1018106"/>
          </a:xfrm>
          <a:prstGeom prst="rect">
            <a:avLst/>
          </a:prstGeom>
          <a:noFill/>
        </p:spPr>
        <p:txBody>
          <a:bodyPr tIns="108000"/>
          <a:lstStyle>
            <a:lvl1pPr>
              <a:defRPr sz="1000" b="0" baseline="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5" name="Segnaposto testo 16">
            <a:extLst>
              <a:ext uri="{FF2B5EF4-FFF2-40B4-BE49-F238E27FC236}">
                <a16:creationId xmlns:a16="http://schemas.microsoft.com/office/drawing/2014/main" id="{038FA9B8-F5AF-48C1-7605-CCBDD23B305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348147" y="2945046"/>
            <a:ext cx="7219965" cy="295910"/>
          </a:xfrm>
          <a:prstGeom prst="rect">
            <a:avLst/>
          </a:prstGeom>
          <a:noFill/>
          <a:ln>
            <a:noFill/>
          </a:ln>
          <a:effectLst/>
        </p:spPr>
        <p:txBody>
          <a:bodyPr anchor="ctr"/>
          <a:lstStyle>
            <a:lvl1pPr>
              <a:defRPr lang="it-IT" sz="1050" b="1" baseline="0" dirty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it-IT" dirty="0"/>
              <a:t>Titolo Montserrat </a:t>
            </a:r>
            <a:r>
              <a:rPr lang="it-IT" dirty="0" err="1"/>
              <a:t>bold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6" name="Segnaposto testo 16">
            <a:extLst>
              <a:ext uri="{FF2B5EF4-FFF2-40B4-BE49-F238E27FC236}">
                <a16:creationId xmlns:a16="http://schemas.microsoft.com/office/drawing/2014/main" id="{3C59E6EE-C932-F652-7B76-F98F6C4924C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57688" y="3295090"/>
            <a:ext cx="7210378" cy="1018106"/>
          </a:xfrm>
          <a:prstGeom prst="rect">
            <a:avLst/>
          </a:prstGeom>
          <a:noFill/>
        </p:spPr>
        <p:txBody>
          <a:bodyPr tIns="108000"/>
          <a:lstStyle>
            <a:lvl1pPr>
              <a:defRPr sz="1000" b="0" baseline="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9" name="Segnaposto testo 16">
            <a:extLst>
              <a:ext uri="{FF2B5EF4-FFF2-40B4-BE49-F238E27FC236}">
                <a16:creationId xmlns:a16="http://schemas.microsoft.com/office/drawing/2014/main" id="{2C0D6C02-BE5A-63E7-B3A9-BD353711C8C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48147" y="4473850"/>
            <a:ext cx="7219965" cy="295910"/>
          </a:xfrm>
          <a:prstGeom prst="rect">
            <a:avLst/>
          </a:prstGeom>
          <a:noFill/>
          <a:ln>
            <a:noFill/>
          </a:ln>
          <a:effectLst/>
        </p:spPr>
        <p:txBody>
          <a:bodyPr anchor="ctr"/>
          <a:lstStyle>
            <a:lvl1pPr>
              <a:defRPr lang="it-IT" sz="1050" b="1" baseline="0" dirty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it-IT" dirty="0"/>
              <a:t>Titol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0" name="Segnaposto testo 16">
            <a:extLst>
              <a:ext uri="{FF2B5EF4-FFF2-40B4-BE49-F238E27FC236}">
                <a16:creationId xmlns:a16="http://schemas.microsoft.com/office/drawing/2014/main" id="{C5162305-6877-D984-59CB-BA8E7511F58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57688" y="4823894"/>
            <a:ext cx="7210378" cy="1018106"/>
          </a:xfrm>
          <a:prstGeom prst="rect">
            <a:avLst/>
          </a:prstGeom>
          <a:noFill/>
        </p:spPr>
        <p:txBody>
          <a:bodyPr tIns="108000"/>
          <a:lstStyle>
            <a:lvl1pPr>
              <a:defRPr sz="1000" b="0" baseline="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7" name="Titolo 5">
            <a:extLst>
              <a:ext uri="{FF2B5EF4-FFF2-40B4-BE49-F238E27FC236}">
                <a16:creationId xmlns:a16="http://schemas.microsoft.com/office/drawing/2014/main" id="{A1C840EC-DF3A-B918-132E-77DBD843D1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2" name="Segnaposto contenuto 2">
            <a:extLst>
              <a:ext uri="{FF2B5EF4-FFF2-40B4-BE49-F238E27FC236}">
                <a16:creationId xmlns:a16="http://schemas.microsoft.com/office/drawing/2014/main" id="{0633627B-158C-2EB7-03DA-9A87E5461B19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10909300" cy="1661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3" name="Segnaposto testo 20">
            <a:extLst>
              <a:ext uri="{FF2B5EF4-FFF2-40B4-BE49-F238E27FC236}">
                <a16:creationId xmlns:a16="http://schemas.microsoft.com/office/drawing/2014/main" id="{B2613841-D906-6446-C826-70C02780767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4" name="Segnaposto testo 20">
            <a:extLst>
              <a:ext uri="{FF2B5EF4-FFF2-40B4-BE49-F238E27FC236}">
                <a16:creationId xmlns:a16="http://schemas.microsoft.com/office/drawing/2014/main" id="{8B9930AE-76CF-F74E-069B-7F123120C2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sp>
        <p:nvSpPr>
          <p:cNvPr id="13" name="Segnaposto immagine 12">
            <a:extLst>
              <a:ext uri="{FF2B5EF4-FFF2-40B4-BE49-F238E27FC236}">
                <a16:creationId xmlns:a16="http://schemas.microsoft.com/office/drawing/2014/main" id="{659AC776-23D1-0A72-24BC-ECB30386701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658813" y="1449388"/>
            <a:ext cx="3506787" cy="4392612"/>
          </a:xfrm>
          <a:prstGeom prst="rect">
            <a:avLst/>
          </a:prstGeom>
          <a:noFill/>
        </p:spPr>
        <p:txBody>
          <a:bodyPr/>
          <a:lstStyle>
            <a:lvl1pPr>
              <a:defRPr lang="it-IT" sz="14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 algn="ctr"/>
            <a:endParaRPr lang="it-IT" dirty="0"/>
          </a:p>
          <a:p>
            <a:pPr lvl="0" algn="ctr"/>
            <a:r>
              <a:rPr lang="it-IT" dirty="0"/>
              <a:t>Fare clic sull'icona per inserire un'immagine</a:t>
            </a:r>
          </a:p>
        </p:txBody>
      </p:sp>
      <p:pic>
        <p:nvPicPr>
          <p:cNvPr id="5" name="Elemento grafico 8">
            <a:extLst>
              <a:ext uri="{FF2B5EF4-FFF2-40B4-BE49-F238E27FC236}">
                <a16:creationId xmlns:a16="http://schemas.microsoft.com/office/drawing/2014/main" id="{1C088D47-7DC7-23CF-2C0F-599CC1D2135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70"/>
            <a:ext cx="576553" cy="498667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D1072F76-49E3-0B3A-1B99-87A57EBA33C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67911" y="6109059"/>
            <a:ext cx="750338" cy="546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8313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+immagine 1/3d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olo 5">
            <a:extLst>
              <a:ext uri="{FF2B5EF4-FFF2-40B4-BE49-F238E27FC236}">
                <a16:creationId xmlns:a16="http://schemas.microsoft.com/office/drawing/2014/main" id="{CB9CD2B5-B672-8B13-7650-E892D6546D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72009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D45D39EE-D281-BE73-44F0-663A5A6CF7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5671" y="1449388"/>
            <a:ext cx="7204042" cy="43926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5" name="Segnaposto contenuto 2">
            <a:extLst>
              <a:ext uri="{FF2B5EF4-FFF2-40B4-BE49-F238E27FC236}">
                <a16:creationId xmlns:a16="http://schemas.microsoft.com/office/drawing/2014/main" id="{9616DA7C-EA90-6E27-0E86-8A4B0A14EF77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72009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8" name="Segnaposto immagine 4">
            <a:extLst>
              <a:ext uri="{FF2B5EF4-FFF2-40B4-BE49-F238E27FC236}">
                <a16:creationId xmlns:a16="http://schemas.microsoft.com/office/drawing/2014/main" id="{ACCA51D4-1163-4E69-3E2D-BBF30477769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056562" y="0"/>
            <a:ext cx="4135437" cy="6858000"/>
          </a:xfrm>
          <a:prstGeom prst="rect">
            <a:avLst/>
          </a:prstGeom>
          <a:noFill/>
        </p:spPr>
        <p:txBody>
          <a:bodyPr lIns="216000" tIns="576000" rIns="108000"/>
          <a:lstStyle>
            <a:lvl1pPr>
              <a:defRPr lang="it-IT" sz="14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it-IT" dirty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547955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+immagine 2/3d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testo 4">
            <a:extLst>
              <a:ext uri="{FF2B5EF4-FFF2-40B4-BE49-F238E27FC236}">
                <a16:creationId xmlns:a16="http://schemas.microsoft.com/office/drawing/2014/main" id="{E349A27B-D112-C767-F6D2-B5803215AD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5671" y="1449388"/>
            <a:ext cx="3509929" cy="43926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" name="Segnaposto immagine 4">
            <a:extLst>
              <a:ext uri="{FF2B5EF4-FFF2-40B4-BE49-F238E27FC236}">
                <a16:creationId xmlns:a16="http://schemas.microsoft.com/office/drawing/2014/main" id="{F8B94A98-7CF6-8230-B52A-08AAD92C11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57688" y="0"/>
            <a:ext cx="7834312" cy="6858000"/>
          </a:xfrm>
          <a:prstGeom prst="rect">
            <a:avLst/>
          </a:prstGeom>
          <a:noFill/>
        </p:spPr>
        <p:txBody>
          <a:bodyPr lIns="216000" tIns="576000" rIns="108000"/>
          <a:lstStyle>
            <a:lvl1pPr>
              <a:defRPr lang="it-IT" sz="14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it-IT" dirty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33332603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+immagine 2/3s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D45D39EE-D281-BE73-44F0-663A5A6CF7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56563" y="1449388"/>
            <a:ext cx="3509929" cy="43926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" name="Segnaposto immagine 4">
            <a:extLst>
              <a:ext uri="{FF2B5EF4-FFF2-40B4-BE49-F238E27FC236}">
                <a16:creationId xmlns:a16="http://schemas.microsoft.com/office/drawing/2014/main" id="{85759565-9536-191E-3066-7CF0F4196B7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7859713" cy="6858000"/>
          </a:xfrm>
          <a:prstGeom prst="rect">
            <a:avLst/>
          </a:prstGeom>
          <a:noFill/>
        </p:spPr>
        <p:txBody>
          <a:bodyPr lIns="216000" tIns="576000" rIns="108000"/>
          <a:lstStyle>
            <a:lvl1pPr>
              <a:defRPr lang="it-IT" sz="14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it-IT" dirty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1065975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5">
            <a:extLst>
              <a:ext uri="{FF2B5EF4-FFF2-40B4-BE49-F238E27FC236}">
                <a16:creationId xmlns:a16="http://schemas.microsoft.com/office/drawing/2014/main" id="{EE0E1CD5-0ECC-0521-1C49-70E757D1D1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6" name="Segnaposto contenuto 2">
            <a:extLst>
              <a:ext uri="{FF2B5EF4-FFF2-40B4-BE49-F238E27FC236}">
                <a16:creationId xmlns:a16="http://schemas.microsoft.com/office/drawing/2014/main" id="{13CA9066-8B11-8E34-F0CC-C0CFFBE66519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109093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8" name="Segnaposto testo 20">
            <a:extLst>
              <a:ext uri="{FF2B5EF4-FFF2-40B4-BE49-F238E27FC236}">
                <a16:creationId xmlns:a16="http://schemas.microsoft.com/office/drawing/2014/main" id="{09BDD83A-F14A-7169-3971-0BDD57800AB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9" name="Segnaposto testo 20">
            <a:extLst>
              <a:ext uri="{FF2B5EF4-FFF2-40B4-BE49-F238E27FC236}">
                <a16:creationId xmlns:a16="http://schemas.microsoft.com/office/drawing/2014/main" id="{03377DE9-A888-D972-C967-80757DDB54C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pic>
        <p:nvPicPr>
          <p:cNvPr id="4" name="Elemento grafico 8">
            <a:extLst>
              <a:ext uri="{FF2B5EF4-FFF2-40B4-BE49-F238E27FC236}">
                <a16:creationId xmlns:a16="http://schemas.microsoft.com/office/drawing/2014/main" id="{A4C2B150-6236-111D-7DD9-6DF570DD5A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69"/>
            <a:ext cx="576553" cy="498669"/>
          </a:xfrm>
          <a:prstGeom prst="rect">
            <a:avLst/>
          </a:prstGeom>
        </p:spPr>
      </p:pic>
      <p:pic>
        <p:nvPicPr>
          <p:cNvPr id="7" name="Immagine 6" descr="Immagine che contiene testo, Carattere, Elementi grafici, schermata&#10;&#10;Descrizione generata automaticamente">
            <a:extLst>
              <a:ext uri="{FF2B5EF4-FFF2-40B4-BE49-F238E27FC236}">
                <a16:creationId xmlns:a16="http://schemas.microsoft.com/office/drawing/2014/main" id="{A9329BA9-CFD1-4F53-05A8-FB9E3164E4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7911" y="6108492"/>
            <a:ext cx="750338" cy="548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1128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o+immagine 1/3s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D45D39EE-D281-BE73-44F0-663A5A6CF7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57689" y="1449388"/>
            <a:ext cx="7208804" cy="43926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" name="Titolo 5">
            <a:extLst>
              <a:ext uri="{FF2B5EF4-FFF2-40B4-BE49-F238E27FC236}">
                <a16:creationId xmlns:a16="http://schemas.microsoft.com/office/drawing/2014/main" id="{A0341C0C-9B54-A188-FD05-9E9DC940AE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7688" y="518884"/>
            <a:ext cx="72009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5" name="Segnaposto contenuto 2">
            <a:extLst>
              <a:ext uri="{FF2B5EF4-FFF2-40B4-BE49-F238E27FC236}">
                <a16:creationId xmlns:a16="http://schemas.microsoft.com/office/drawing/2014/main" id="{CEDD0803-D160-684B-578A-23F8FF104221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4367213" y="817735"/>
            <a:ext cx="72009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6" name="Segnaposto immagine 4">
            <a:extLst>
              <a:ext uri="{FF2B5EF4-FFF2-40B4-BE49-F238E27FC236}">
                <a16:creationId xmlns:a16="http://schemas.microsoft.com/office/drawing/2014/main" id="{7D3D6882-6720-05D3-ECCE-B8BCB1567BA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4165600" cy="6858000"/>
          </a:xfrm>
          <a:prstGeom prst="rect">
            <a:avLst/>
          </a:prstGeom>
          <a:noFill/>
        </p:spPr>
        <p:txBody>
          <a:bodyPr lIns="216000" tIns="576000" rIns="108000"/>
          <a:lstStyle>
            <a:lvl1pPr>
              <a:defRPr lang="it-IT" sz="140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it-IT" dirty="0"/>
              <a:t>Fare clic sull'icona per inserire un'immagine</a:t>
            </a:r>
          </a:p>
        </p:txBody>
      </p:sp>
    </p:spTree>
    <p:extLst>
      <p:ext uri="{BB962C8B-B14F-4D97-AF65-F5344CB8AC3E}">
        <p14:creationId xmlns:p14="http://schemas.microsoft.com/office/powerpoint/2010/main" val="70958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 testo+Immagine al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AF9CBC5E-E1CD-6725-B261-34A47C51B39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3429000"/>
          </a:xfrm>
          <a:prstGeom prst="rect">
            <a:avLst/>
          </a:prstGeom>
          <a:noFill/>
        </p:spPr>
        <p:txBody>
          <a:bodyPr lIns="216000" tIns="576000" rIns="108000"/>
          <a:lstStyle>
            <a:lvl1pPr algn="ctr">
              <a:defRPr lang="it-IT" sz="1400" dirty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it-IT"/>
              <a:t>Fare clic sull'icona per inserire un'immagine</a:t>
            </a:r>
            <a:endParaRPr lang="it-IT" dirty="0"/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5671" y="3844704"/>
            <a:ext cx="3509929" cy="2032221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5" name="Segnaposto testo 4">
            <a:extLst>
              <a:ext uri="{FF2B5EF4-FFF2-40B4-BE49-F238E27FC236}">
                <a16:creationId xmlns:a16="http://schemas.microsoft.com/office/drawing/2014/main" id="{D6FA3FD6-324D-40F6-06D9-B1B066F448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57688" y="3844704"/>
            <a:ext cx="3509929" cy="2032221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6" name="Segnaposto testo 4">
            <a:extLst>
              <a:ext uri="{FF2B5EF4-FFF2-40B4-BE49-F238E27FC236}">
                <a16:creationId xmlns:a16="http://schemas.microsoft.com/office/drawing/2014/main" id="{2ED7168C-76F1-2A79-3511-01C66F73557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56563" y="3844704"/>
            <a:ext cx="3509929" cy="2032221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pic>
        <p:nvPicPr>
          <p:cNvPr id="2" name="Elemento grafico 8">
            <a:extLst>
              <a:ext uri="{FF2B5EF4-FFF2-40B4-BE49-F238E27FC236}">
                <a16:creationId xmlns:a16="http://schemas.microsoft.com/office/drawing/2014/main" id="{46A0FC27-77F8-1953-E01E-621B6F7200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1965" y="6145354"/>
            <a:ext cx="576554" cy="498669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:a16="http://schemas.microsoft.com/office/drawing/2014/main" id="{25F5884D-F7AC-782F-1B2E-62AC93A163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67911" y="6097135"/>
            <a:ext cx="750338" cy="546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392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 testo+Immagine bas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immagine 5">
            <a:extLst>
              <a:ext uri="{FF2B5EF4-FFF2-40B4-BE49-F238E27FC236}">
                <a16:creationId xmlns:a16="http://schemas.microsoft.com/office/drawing/2014/main" id="{F13292F2-1BF2-B8BD-1602-0BC60ECED53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3429000"/>
            <a:ext cx="12192000" cy="3429000"/>
          </a:xfrm>
          <a:prstGeom prst="rect">
            <a:avLst/>
          </a:prstGeom>
        </p:spPr>
        <p:txBody>
          <a:bodyPr/>
          <a:lstStyle>
            <a:lvl1pPr algn="ctr">
              <a:defRPr sz="16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it-IT" dirty="0"/>
              <a:t>Fare clic sull'icona per inserire un'immagine</a:t>
            </a:r>
          </a:p>
        </p:txBody>
      </p:sp>
      <p:sp>
        <p:nvSpPr>
          <p:cNvPr id="9" name="Segnaposto testo 4">
            <a:extLst>
              <a:ext uri="{FF2B5EF4-FFF2-40B4-BE49-F238E27FC236}">
                <a16:creationId xmlns:a16="http://schemas.microsoft.com/office/drawing/2014/main" id="{02AEE64B-A6E9-7836-30F4-2B0234A3642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5671" y="1449388"/>
            <a:ext cx="3509929" cy="1527396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0" name="Segnaposto testo 4">
            <a:extLst>
              <a:ext uri="{FF2B5EF4-FFF2-40B4-BE49-F238E27FC236}">
                <a16:creationId xmlns:a16="http://schemas.microsoft.com/office/drawing/2014/main" id="{E85D582F-4962-4012-3237-FA669F7EE92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57688" y="1449388"/>
            <a:ext cx="3509929" cy="1527396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5CAEE721-0C9A-43B9-7ECF-BEA108CCF8F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56563" y="1449388"/>
            <a:ext cx="3511550" cy="1527396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4" name="Titolo 5">
            <a:extLst>
              <a:ext uri="{FF2B5EF4-FFF2-40B4-BE49-F238E27FC236}">
                <a16:creationId xmlns:a16="http://schemas.microsoft.com/office/drawing/2014/main" id="{A7F0C6F0-21F2-785B-E7EB-4A438DEA94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2" name="Segnaposto contenuto 2">
            <a:extLst>
              <a:ext uri="{FF2B5EF4-FFF2-40B4-BE49-F238E27FC236}">
                <a16:creationId xmlns:a16="http://schemas.microsoft.com/office/drawing/2014/main" id="{32FC1E4E-7D0E-0A32-AE8A-297793F9C91B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109093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bg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</p:spTree>
    <p:extLst>
      <p:ext uri="{BB962C8B-B14F-4D97-AF65-F5344CB8AC3E}">
        <p14:creationId xmlns:p14="http://schemas.microsoft.com/office/powerpoint/2010/main" val="1882928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box testo+3 box immagine bas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immagine 5">
            <a:extLst>
              <a:ext uri="{FF2B5EF4-FFF2-40B4-BE49-F238E27FC236}">
                <a16:creationId xmlns:a16="http://schemas.microsoft.com/office/drawing/2014/main" id="{F13292F2-1BF2-B8BD-1602-0BC60ECED53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" y="3429001"/>
            <a:ext cx="4165600" cy="2413000"/>
          </a:xfrm>
          <a:prstGeom prst="rect">
            <a:avLst/>
          </a:prstGeom>
          <a:noFill/>
        </p:spPr>
        <p:txBody>
          <a:bodyPr/>
          <a:lstStyle>
            <a:lvl1pPr algn="ctr">
              <a:defRPr sz="11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it-IT" dirty="0"/>
              <a:t>Fare clic sull'icona per inserire un'immagine</a:t>
            </a:r>
          </a:p>
        </p:txBody>
      </p:sp>
      <p:sp>
        <p:nvSpPr>
          <p:cNvPr id="4" name="Segnaposto immagine 5">
            <a:extLst>
              <a:ext uri="{FF2B5EF4-FFF2-40B4-BE49-F238E27FC236}">
                <a16:creationId xmlns:a16="http://schemas.microsoft.com/office/drawing/2014/main" id="{44C540A7-2C3F-418F-D54C-D07E701AF9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57686" y="3429001"/>
            <a:ext cx="3605213" cy="2413000"/>
          </a:xfrm>
          <a:prstGeom prst="rect">
            <a:avLst/>
          </a:prstGeom>
          <a:noFill/>
        </p:spPr>
        <p:txBody>
          <a:bodyPr/>
          <a:lstStyle>
            <a:lvl1pPr algn="ctr">
              <a:defRPr sz="11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it-IT"/>
              <a:t>Fare clic sull'icona per inserire un'immagine</a:t>
            </a:r>
          </a:p>
        </p:txBody>
      </p:sp>
      <p:sp>
        <p:nvSpPr>
          <p:cNvPr id="5" name="Segnaposto immagine 5">
            <a:extLst>
              <a:ext uri="{FF2B5EF4-FFF2-40B4-BE49-F238E27FC236}">
                <a16:creationId xmlns:a16="http://schemas.microsoft.com/office/drawing/2014/main" id="{F150D881-8181-F6C1-0C03-0BD80092974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056562" y="3429001"/>
            <a:ext cx="4135437" cy="2413000"/>
          </a:xfrm>
          <a:prstGeom prst="rect">
            <a:avLst/>
          </a:prstGeom>
          <a:noFill/>
        </p:spPr>
        <p:txBody>
          <a:bodyPr/>
          <a:lstStyle>
            <a:lvl1pPr algn="ctr">
              <a:defRPr sz="11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it-IT"/>
              <a:t>Fare clic sull'icona per inserire un'immagine</a:t>
            </a:r>
          </a:p>
        </p:txBody>
      </p:sp>
      <p:sp>
        <p:nvSpPr>
          <p:cNvPr id="12" name="Titolo 5">
            <a:extLst>
              <a:ext uri="{FF2B5EF4-FFF2-40B4-BE49-F238E27FC236}">
                <a16:creationId xmlns:a16="http://schemas.microsoft.com/office/drawing/2014/main" id="{E530723D-C8D6-9E71-D701-92509C52D9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7" name="Segnaposto contenuto 2">
            <a:extLst>
              <a:ext uri="{FF2B5EF4-FFF2-40B4-BE49-F238E27FC236}">
                <a16:creationId xmlns:a16="http://schemas.microsoft.com/office/drawing/2014/main" id="{C6A6CF03-9438-DB91-AA67-099555891B81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109093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8" name="Segnaposto testo 20">
            <a:extLst>
              <a:ext uri="{FF2B5EF4-FFF2-40B4-BE49-F238E27FC236}">
                <a16:creationId xmlns:a16="http://schemas.microsoft.com/office/drawing/2014/main" id="{DE96988E-5B5D-1CB9-8D39-E9D0106243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14" name="Segnaposto testo 20">
            <a:extLst>
              <a:ext uri="{FF2B5EF4-FFF2-40B4-BE49-F238E27FC236}">
                <a16:creationId xmlns:a16="http://schemas.microsoft.com/office/drawing/2014/main" id="{AB17A3C0-E1B0-FA5A-9877-EC35B3EA0AC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sp>
        <p:nvSpPr>
          <p:cNvPr id="17" name="Segnaposto testo 4">
            <a:extLst>
              <a:ext uri="{FF2B5EF4-FFF2-40B4-BE49-F238E27FC236}">
                <a16:creationId xmlns:a16="http://schemas.microsoft.com/office/drawing/2014/main" id="{00B2536F-72F0-9B22-CE2F-2632A4F5EF9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57688" y="1449389"/>
            <a:ext cx="3509929" cy="16748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8" name="Segnaposto testo 4">
            <a:extLst>
              <a:ext uri="{FF2B5EF4-FFF2-40B4-BE49-F238E27FC236}">
                <a16:creationId xmlns:a16="http://schemas.microsoft.com/office/drawing/2014/main" id="{75EC860D-E337-5506-828E-001520C4A4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5671" y="1449389"/>
            <a:ext cx="3509929" cy="16748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9" name="Segnaposto testo 4">
            <a:extLst>
              <a:ext uri="{FF2B5EF4-FFF2-40B4-BE49-F238E27FC236}">
                <a16:creationId xmlns:a16="http://schemas.microsoft.com/office/drawing/2014/main" id="{09BD2A8C-AD0E-E2B2-E4DC-DB5AC6EE699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056563" y="1449389"/>
            <a:ext cx="3527359" cy="16748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pic>
        <p:nvPicPr>
          <p:cNvPr id="2" name="Elemento grafico 8">
            <a:extLst>
              <a:ext uri="{FF2B5EF4-FFF2-40B4-BE49-F238E27FC236}">
                <a16:creationId xmlns:a16="http://schemas.microsoft.com/office/drawing/2014/main" id="{41E49640-6B72-C7D4-5F66-EA112ED900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70"/>
            <a:ext cx="576553" cy="498667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id="{733C9D43-E5B2-EA4C-4BFA-18D312C549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67911" y="6109059"/>
            <a:ext cx="750338" cy="546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9957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 testo+3 box immagine al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immagine 5">
            <a:extLst>
              <a:ext uri="{FF2B5EF4-FFF2-40B4-BE49-F238E27FC236}">
                <a16:creationId xmlns:a16="http://schemas.microsoft.com/office/drawing/2014/main" id="{F13292F2-1BF2-B8BD-1602-0BC60ECED53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449389"/>
            <a:ext cx="4165599" cy="1979612"/>
          </a:xfrm>
          <a:prstGeom prst="rect">
            <a:avLst/>
          </a:prstGeom>
        </p:spPr>
        <p:txBody>
          <a:bodyPr anchor="t"/>
          <a:lstStyle>
            <a:lvl1pPr algn="ctr">
              <a:defRPr sz="11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it-IT" dirty="0"/>
              <a:t>Fare clic sull'icona per inserire un'immagine</a:t>
            </a:r>
          </a:p>
        </p:txBody>
      </p:sp>
      <p:sp>
        <p:nvSpPr>
          <p:cNvPr id="4" name="Segnaposto immagine 5">
            <a:extLst>
              <a:ext uri="{FF2B5EF4-FFF2-40B4-BE49-F238E27FC236}">
                <a16:creationId xmlns:a16="http://schemas.microsoft.com/office/drawing/2014/main" id="{44C540A7-2C3F-418F-D54C-D07E701AF90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357688" y="1449389"/>
            <a:ext cx="3502026" cy="1979612"/>
          </a:xfrm>
          <a:prstGeom prst="rect">
            <a:avLst/>
          </a:prstGeom>
        </p:spPr>
        <p:txBody>
          <a:bodyPr anchor="t"/>
          <a:lstStyle>
            <a:lvl1pPr algn="ctr">
              <a:defRPr sz="11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it-IT"/>
              <a:t>Fare clic sull'icona per inserire un'immagine</a:t>
            </a:r>
            <a:endParaRPr lang="it-IT" dirty="0"/>
          </a:p>
        </p:txBody>
      </p:sp>
      <p:sp>
        <p:nvSpPr>
          <p:cNvPr id="5" name="Segnaposto immagine 5">
            <a:extLst>
              <a:ext uri="{FF2B5EF4-FFF2-40B4-BE49-F238E27FC236}">
                <a16:creationId xmlns:a16="http://schemas.microsoft.com/office/drawing/2014/main" id="{F150D881-8181-F6C1-0C03-0BD80092974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056564" y="1449389"/>
            <a:ext cx="4135436" cy="1979612"/>
          </a:xfrm>
          <a:prstGeom prst="rect">
            <a:avLst/>
          </a:prstGeom>
        </p:spPr>
        <p:txBody>
          <a:bodyPr anchor="t"/>
          <a:lstStyle>
            <a:lvl1pPr algn="ctr">
              <a:defRPr sz="11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it-IT"/>
              <a:t>Fare clic sull'icona per inserire un'immagine</a:t>
            </a:r>
          </a:p>
        </p:txBody>
      </p:sp>
      <p:sp>
        <p:nvSpPr>
          <p:cNvPr id="2" name="Titolo 5">
            <a:extLst>
              <a:ext uri="{FF2B5EF4-FFF2-40B4-BE49-F238E27FC236}">
                <a16:creationId xmlns:a16="http://schemas.microsoft.com/office/drawing/2014/main" id="{08A17093-88A6-CDC0-BA35-4839C329E1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7" name="Segnaposto contenuto 2">
            <a:extLst>
              <a:ext uri="{FF2B5EF4-FFF2-40B4-BE49-F238E27FC236}">
                <a16:creationId xmlns:a16="http://schemas.microsoft.com/office/drawing/2014/main" id="{D64D24D5-F70D-2768-868B-96E37270B814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109093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bg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8" name="Segnaposto testo 20">
            <a:extLst>
              <a:ext uri="{FF2B5EF4-FFF2-40B4-BE49-F238E27FC236}">
                <a16:creationId xmlns:a16="http://schemas.microsoft.com/office/drawing/2014/main" id="{A6BE1C3D-7112-74C7-5B58-C3265E269E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12" name="Segnaposto testo 20">
            <a:extLst>
              <a:ext uri="{FF2B5EF4-FFF2-40B4-BE49-F238E27FC236}">
                <a16:creationId xmlns:a16="http://schemas.microsoft.com/office/drawing/2014/main" id="{E549970C-6B25-F3C9-A026-911ACB061B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sp>
        <p:nvSpPr>
          <p:cNvPr id="13" name="Segnaposto testo 4">
            <a:extLst>
              <a:ext uri="{FF2B5EF4-FFF2-40B4-BE49-F238E27FC236}">
                <a16:creationId xmlns:a16="http://schemas.microsoft.com/office/drawing/2014/main" id="{69B5048E-6201-C2F6-E6EE-4D56E2B8A94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57688" y="3705225"/>
            <a:ext cx="3509929" cy="2171700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4" name="Segnaposto testo 4">
            <a:extLst>
              <a:ext uri="{FF2B5EF4-FFF2-40B4-BE49-F238E27FC236}">
                <a16:creationId xmlns:a16="http://schemas.microsoft.com/office/drawing/2014/main" id="{70DAF691-36DB-0C82-FA82-50FAA22DC14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5671" y="3705225"/>
            <a:ext cx="3509929" cy="2171700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5" name="Segnaposto testo 4">
            <a:extLst>
              <a:ext uri="{FF2B5EF4-FFF2-40B4-BE49-F238E27FC236}">
                <a16:creationId xmlns:a16="http://schemas.microsoft.com/office/drawing/2014/main" id="{5C49B214-0261-A5C8-228E-6D29DE09D09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056563" y="3705225"/>
            <a:ext cx="3527359" cy="2171700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pic>
        <p:nvPicPr>
          <p:cNvPr id="10" name="Elemento grafico 8">
            <a:extLst>
              <a:ext uri="{FF2B5EF4-FFF2-40B4-BE49-F238E27FC236}">
                <a16:creationId xmlns:a16="http://schemas.microsoft.com/office/drawing/2014/main" id="{EEF35B48-652C-8922-433A-1D42D73188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70"/>
            <a:ext cx="576553" cy="498667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5BB24C88-ED53-797C-A61D-1B47D8E009E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67911" y="6109059"/>
            <a:ext cx="750338" cy="546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60346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sott+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5">
            <a:extLst>
              <a:ext uri="{FF2B5EF4-FFF2-40B4-BE49-F238E27FC236}">
                <a16:creationId xmlns:a16="http://schemas.microsoft.com/office/drawing/2014/main" id="{2570D183-096B-9C52-4C80-71ACA8A9FB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3" name="Segnaposto testo 20">
            <a:extLst>
              <a:ext uri="{FF2B5EF4-FFF2-40B4-BE49-F238E27FC236}">
                <a16:creationId xmlns:a16="http://schemas.microsoft.com/office/drawing/2014/main" id="{3147B977-0FD7-75FE-3DD7-1BA617249E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7" name="Segnaposto testo 20">
            <a:extLst>
              <a:ext uri="{FF2B5EF4-FFF2-40B4-BE49-F238E27FC236}">
                <a16:creationId xmlns:a16="http://schemas.microsoft.com/office/drawing/2014/main" id="{4EEC6887-A35C-7BAC-4C77-71FF3DD51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sp>
        <p:nvSpPr>
          <p:cNvPr id="8" name="Segnaposto immagine 5">
            <a:extLst>
              <a:ext uri="{FF2B5EF4-FFF2-40B4-BE49-F238E27FC236}">
                <a16:creationId xmlns:a16="http://schemas.microsoft.com/office/drawing/2014/main" id="{65A273B3-6891-B91F-9DB0-D27A7FA3F6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449387"/>
            <a:ext cx="12192000" cy="4427537"/>
          </a:xfrm>
          <a:prstGeom prst="rect">
            <a:avLst/>
          </a:prstGeom>
        </p:spPr>
        <p:txBody>
          <a:bodyPr/>
          <a:lstStyle>
            <a:lvl1pPr algn="ctr">
              <a:defRPr sz="16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it-IT" dirty="0"/>
              <a:t>Fare clic sull'icona per inserire un'immagin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B200BC2-DD3D-C6DA-6F85-65289A5F32B1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109093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pic>
        <p:nvPicPr>
          <p:cNvPr id="5" name="Elemento grafico 8">
            <a:extLst>
              <a:ext uri="{FF2B5EF4-FFF2-40B4-BE49-F238E27FC236}">
                <a16:creationId xmlns:a16="http://schemas.microsoft.com/office/drawing/2014/main" id="{0A30734C-1173-70EF-4D6E-2D3958324A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70"/>
            <a:ext cx="576553" cy="498667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78D10DAA-87FB-45DD-3BA9-308CCC7D23F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67911" y="6109059"/>
            <a:ext cx="750338" cy="546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1159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3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5">
            <a:extLst>
              <a:ext uri="{FF2B5EF4-FFF2-40B4-BE49-F238E27FC236}">
                <a16:creationId xmlns:a16="http://schemas.microsoft.com/office/drawing/2014/main" id="{4C01BCD3-A659-66EA-D627-2970906EE4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bg1">
                    <a:lumMod val="95000"/>
                  </a:schemeClr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7" name="Segnaposto contenuto 2">
            <a:extLst>
              <a:ext uri="{FF2B5EF4-FFF2-40B4-BE49-F238E27FC236}">
                <a16:creationId xmlns:a16="http://schemas.microsoft.com/office/drawing/2014/main" id="{4796F545-B2E8-DF3D-2F31-9EDA819D6C81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58814" y="1737044"/>
            <a:ext cx="3506786" cy="4104956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txBody>
          <a:bodyPr vert="horz" lIns="144000" tIns="144000" rIns="144000" bIns="144000" rtlCol="0">
            <a:normAutofit/>
          </a:bodyPr>
          <a:lstStyle>
            <a:lvl1pPr algn="ctr">
              <a:spcBef>
                <a:spcPts val="1200"/>
              </a:spcBef>
              <a:defRPr lang="it-IT" sz="1050" b="0" smtClean="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8" name="Segnaposto testo 9">
            <a:extLst>
              <a:ext uri="{FF2B5EF4-FFF2-40B4-BE49-F238E27FC236}">
                <a16:creationId xmlns:a16="http://schemas.microsoft.com/office/drawing/2014/main" id="{A37E6129-9917-B87D-41E7-4845076F11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8813" y="1449388"/>
            <a:ext cx="3506787" cy="2876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algn="ctr"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it-IT" dirty="0"/>
              <a:t>Titolo Montserrat </a:t>
            </a:r>
            <a:r>
              <a:rPr lang="it-IT" dirty="0" err="1"/>
              <a:t>bold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9" name="Segnaposto contenuto 2">
            <a:extLst>
              <a:ext uri="{FF2B5EF4-FFF2-40B4-BE49-F238E27FC236}">
                <a16:creationId xmlns:a16="http://schemas.microsoft.com/office/drawing/2014/main" id="{08B0131B-D5A4-A4AC-0FAA-BDAAA1E2AF9B}"/>
              </a:ext>
            </a:extLst>
          </p:cNvPr>
          <p:cNvSpPr>
            <a:spLocks noGrp="1"/>
          </p:cNvSpPr>
          <p:nvPr>
            <p:ph idx="43" hasCustomPrompt="1"/>
          </p:nvPr>
        </p:nvSpPr>
        <p:spPr>
          <a:xfrm>
            <a:off x="4357689" y="1737044"/>
            <a:ext cx="3506786" cy="4104956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txBody>
          <a:bodyPr vert="horz" lIns="144000" tIns="144000" rIns="144000" bIns="144000" rtlCol="0">
            <a:normAutofit/>
          </a:bodyPr>
          <a:lstStyle>
            <a:lvl1pPr algn="ctr">
              <a:spcBef>
                <a:spcPts val="1200"/>
              </a:spcBef>
              <a:defRPr lang="it-IT" sz="1050" b="0" smtClean="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0" name="Segnaposto testo 9">
            <a:extLst>
              <a:ext uri="{FF2B5EF4-FFF2-40B4-BE49-F238E27FC236}">
                <a16:creationId xmlns:a16="http://schemas.microsoft.com/office/drawing/2014/main" id="{6A94BB67-3D0B-B5F6-C18C-524F82CA155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357688" y="1449388"/>
            <a:ext cx="3506787" cy="2876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algn="ctr"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it-IT" dirty="0"/>
              <a:t>Titolo Montserrat </a:t>
            </a:r>
            <a:r>
              <a:rPr lang="it-IT" dirty="0" err="1"/>
              <a:t>bold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9C5878E7-0C3C-8F5E-2C18-A70EF9234E06}"/>
              </a:ext>
            </a:extLst>
          </p:cNvPr>
          <p:cNvSpPr>
            <a:spLocks noGrp="1"/>
          </p:cNvSpPr>
          <p:nvPr>
            <p:ph idx="45" hasCustomPrompt="1"/>
          </p:nvPr>
        </p:nvSpPr>
        <p:spPr>
          <a:xfrm>
            <a:off x="8061327" y="1737044"/>
            <a:ext cx="3506786" cy="4104956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</p:spPr>
        <p:txBody>
          <a:bodyPr vert="horz" lIns="144000" tIns="144000" rIns="144000" bIns="144000" rtlCol="0">
            <a:normAutofit/>
          </a:bodyPr>
          <a:lstStyle>
            <a:lvl1pPr algn="ctr">
              <a:spcBef>
                <a:spcPts val="1200"/>
              </a:spcBef>
              <a:defRPr lang="it-IT" sz="1050" b="0" smtClean="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2" name="Segnaposto testo 9">
            <a:extLst>
              <a:ext uri="{FF2B5EF4-FFF2-40B4-BE49-F238E27FC236}">
                <a16:creationId xmlns:a16="http://schemas.microsoft.com/office/drawing/2014/main" id="{83E898D2-B4DB-421E-5973-4C6DA9433689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061326" y="1449388"/>
            <a:ext cx="3506787" cy="28765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anchor="ctr"/>
          <a:lstStyle>
            <a:lvl1pPr algn="ctr">
              <a:defRPr sz="1100" b="1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it-IT" dirty="0"/>
              <a:t>Titolo Montserrat </a:t>
            </a:r>
            <a:r>
              <a:rPr lang="it-IT" dirty="0" err="1"/>
              <a:t>bold</a:t>
            </a:r>
            <a:r>
              <a:rPr lang="it-IT" dirty="0"/>
              <a:t>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8204BD80-69E7-EDDC-B08B-7CCCBA466FFF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109093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bg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14" name="Segnaposto testo 20">
            <a:extLst>
              <a:ext uri="{FF2B5EF4-FFF2-40B4-BE49-F238E27FC236}">
                <a16:creationId xmlns:a16="http://schemas.microsoft.com/office/drawing/2014/main" id="{A8E04D38-6728-E9C7-D0FD-EABA391BD6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15" name="Segnaposto testo 20">
            <a:extLst>
              <a:ext uri="{FF2B5EF4-FFF2-40B4-BE49-F238E27FC236}">
                <a16:creationId xmlns:a16="http://schemas.microsoft.com/office/drawing/2014/main" id="{B355C345-8F64-1A77-52E7-07EC9CE7C8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pic>
        <p:nvPicPr>
          <p:cNvPr id="5" name="Elemento grafico 8">
            <a:extLst>
              <a:ext uri="{FF2B5EF4-FFF2-40B4-BE49-F238E27FC236}">
                <a16:creationId xmlns:a16="http://schemas.microsoft.com/office/drawing/2014/main" id="{B90808EF-56BB-01AB-7E6E-BFBCAA04F7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70"/>
            <a:ext cx="576553" cy="498667"/>
          </a:xfrm>
          <a:prstGeom prst="rect">
            <a:avLst/>
          </a:prstGeom>
        </p:spPr>
      </p:pic>
      <p:pic>
        <p:nvPicPr>
          <p:cNvPr id="6" name="Immagine 5">
            <a:extLst>
              <a:ext uri="{FF2B5EF4-FFF2-40B4-BE49-F238E27FC236}">
                <a16:creationId xmlns:a16="http://schemas.microsoft.com/office/drawing/2014/main" id="{FA924C97-9E6C-52E4-64E9-B0557CF72E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67911" y="6109059"/>
            <a:ext cx="750338" cy="546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8259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ro text 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658813" y="944564"/>
            <a:ext cx="10871234" cy="4932362"/>
          </a:xfrm>
          <a:prstGeom prst="rect">
            <a:avLst/>
          </a:prstGeom>
        </p:spPr>
        <p:txBody>
          <a:bodyPr anchor="ctr" anchorCtr="0"/>
          <a:lstStyle>
            <a:lvl1pPr algn="ctr">
              <a:defRPr sz="4800" b="1">
                <a:solidFill>
                  <a:schemeClr val="bg1">
                    <a:lumMod val="95000"/>
                  </a:schemeClr>
                </a:solidFill>
                <a:latin typeface="Montserrat Medium" pitchFamily="2" charset="0"/>
              </a:defRPr>
            </a:lvl1pPr>
          </a:lstStyle>
          <a:p>
            <a:pPr lvl="0"/>
            <a:r>
              <a:rPr lang="it-IT" dirty="0"/>
              <a:t>Hero text</a:t>
            </a:r>
          </a:p>
          <a:p>
            <a:pPr lvl="0"/>
            <a:r>
              <a:rPr lang="it-IT" dirty="0"/>
              <a:t>Montserrat medium 40/60pt</a:t>
            </a:r>
          </a:p>
        </p:txBody>
      </p:sp>
      <p:sp>
        <p:nvSpPr>
          <p:cNvPr id="4" name="Segnaposto testo 20">
            <a:extLst>
              <a:ext uri="{FF2B5EF4-FFF2-40B4-BE49-F238E27FC236}">
                <a16:creationId xmlns:a16="http://schemas.microsoft.com/office/drawing/2014/main" id="{0F742AE1-9F51-DB35-F3F2-743B0BD08DE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5" name="Segnaposto testo 20">
            <a:extLst>
              <a:ext uri="{FF2B5EF4-FFF2-40B4-BE49-F238E27FC236}">
                <a16:creationId xmlns:a16="http://schemas.microsoft.com/office/drawing/2014/main" id="{EA56B324-5985-CC63-E824-5D75AD6F96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pic>
        <p:nvPicPr>
          <p:cNvPr id="7" name="Elemento grafico 8">
            <a:extLst>
              <a:ext uri="{FF2B5EF4-FFF2-40B4-BE49-F238E27FC236}">
                <a16:creationId xmlns:a16="http://schemas.microsoft.com/office/drawing/2014/main" id="{2F852380-95FD-2FCB-AA51-72BF5989E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70"/>
            <a:ext cx="576553" cy="498667"/>
          </a:xfrm>
          <a:prstGeom prst="rect">
            <a:avLst/>
          </a:prstGeom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06CFC599-5511-4E22-A7BF-61F7C6811E1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67911" y="6109059"/>
            <a:ext cx="750338" cy="546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2891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009090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sto+box colo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5">
            <a:extLst>
              <a:ext uri="{FF2B5EF4-FFF2-40B4-BE49-F238E27FC236}">
                <a16:creationId xmlns:a16="http://schemas.microsoft.com/office/drawing/2014/main" id="{FFDF9CED-8EAF-D872-B7C0-C32BB6532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720566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4" name="Segnaposto contenuto 2">
            <a:extLst>
              <a:ext uri="{FF2B5EF4-FFF2-40B4-BE49-F238E27FC236}">
                <a16:creationId xmlns:a16="http://schemas.microsoft.com/office/drawing/2014/main" id="{6AFCD2CB-2B93-FE0E-1CFE-FFC00CA144FA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7205662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lang="it-IT" sz="1200" b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F9418E3D-4077-7BD6-A879-5344B557553F}"/>
              </a:ext>
            </a:extLst>
          </p:cNvPr>
          <p:cNvSpPr/>
          <p:nvPr userDrawn="1"/>
        </p:nvSpPr>
        <p:spPr>
          <a:xfrm>
            <a:off x="8058150" y="0"/>
            <a:ext cx="413385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Segnaposto testo 4">
            <a:extLst>
              <a:ext uri="{FF2B5EF4-FFF2-40B4-BE49-F238E27FC236}">
                <a16:creationId xmlns:a16="http://schemas.microsoft.com/office/drawing/2014/main" id="{EE795E68-2F50-0F51-EC23-65B0A2074D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5671" y="1449387"/>
            <a:ext cx="7204042" cy="4427537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948470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+Sott.+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1449389"/>
            <a:ext cx="10909300" cy="439261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50000"/>
              </a:lnSpc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400">
                <a:latin typeface="Montserrat" pitchFamily="2" charset="0"/>
              </a:defRPr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100">
                <a:latin typeface="Montserrat" pitchFamily="2" charset="0"/>
              </a:defRPr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05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4" name="Titolo 5">
            <a:extLst>
              <a:ext uri="{FF2B5EF4-FFF2-40B4-BE49-F238E27FC236}">
                <a16:creationId xmlns:a16="http://schemas.microsoft.com/office/drawing/2014/main" id="{5D2DF9DF-B772-7A55-2B9A-472F218114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6" name="Segnaposto contenuto 2">
            <a:extLst>
              <a:ext uri="{FF2B5EF4-FFF2-40B4-BE49-F238E27FC236}">
                <a16:creationId xmlns:a16="http://schemas.microsoft.com/office/drawing/2014/main" id="{69D8C4C9-01D7-F2B0-BA47-D31B1F7B72AD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109093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12" name="Segnaposto testo 20">
            <a:extLst>
              <a:ext uri="{FF2B5EF4-FFF2-40B4-BE49-F238E27FC236}">
                <a16:creationId xmlns:a16="http://schemas.microsoft.com/office/drawing/2014/main" id="{2A46FB38-98D2-CECD-B3A1-C0EE9259CE5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13" name="Segnaposto testo 20">
            <a:extLst>
              <a:ext uri="{FF2B5EF4-FFF2-40B4-BE49-F238E27FC236}">
                <a16:creationId xmlns:a16="http://schemas.microsoft.com/office/drawing/2014/main" id="{80BB6326-9EFB-5C57-238C-31ADF859167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pic>
        <p:nvPicPr>
          <p:cNvPr id="5" name="Elemento grafico 8">
            <a:extLst>
              <a:ext uri="{FF2B5EF4-FFF2-40B4-BE49-F238E27FC236}">
                <a16:creationId xmlns:a16="http://schemas.microsoft.com/office/drawing/2014/main" id="{AB5158BB-7FF2-90D3-92F1-789A293E80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69"/>
            <a:ext cx="576553" cy="498669"/>
          </a:xfrm>
          <a:prstGeom prst="rect">
            <a:avLst/>
          </a:prstGeom>
        </p:spPr>
      </p:pic>
      <p:pic>
        <p:nvPicPr>
          <p:cNvPr id="7" name="Immagine 6" descr="Immagine che contiene testo, Carattere, Elementi grafici, schermata&#10;&#10;Descrizione generata automaticamente">
            <a:extLst>
              <a:ext uri="{FF2B5EF4-FFF2-40B4-BE49-F238E27FC236}">
                <a16:creationId xmlns:a16="http://schemas.microsoft.com/office/drawing/2014/main" id="{9862E3B6-9375-F8BC-3707-DB9A6A6A925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7911" y="6108492"/>
            <a:ext cx="750338" cy="548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3241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sto+box colo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5">
            <a:extLst>
              <a:ext uri="{FF2B5EF4-FFF2-40B4-BE49-F238E27FC236}">
                <a16:creationId xmlns:a16="http://schemas.microsoft.com/office/drawing/2014/main" id="{FFDF9CED-8EAF-D872-B7C0-C32BB6532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5270064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4" name="Segnaposto contenuto 2">
            <a:extLst>
              <a:ext uri="{FF2B5EF4-FFF2-40B4-BE49-F238E27FC236}">
                <a16:creationId xmlns:a16="http://schemas.microsoft.com/office/drawing/2014/main" id="{6AFCD2CB-2B93-FE0E-1CFE-FFC00CA144FA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5270064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lang="it-IT" sz="1200" b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F9418E3D-4077-7BD6-A879-5344B557553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Segnaposto testo 4">
            <a:extLst>
              <a:ext uri="{FF2B5EF4-FFF2-40B4-BE49-F238E27FC236}">
                <a16:creationId xmlns:a16="http://schemas.microsoft.com/office/drawing/2014/main" id="{EE795E68-2F50-0F51-EC23-65B0A2074D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5671" y="1449387"/>
            <a:ext cx="5268879" cy="4427537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2927241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sto+box colo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5">
            <a:extLst>
              <a:ext uri="{FF2B5EF4-FFF2-40B4-BE49-F238E27FC236}">
                <a16:creationId xmlns:a16="http://schemas.microsoft.com/office/drawing/2014/main" id="{FFDF9CED-8EAF-D872-B7C0-C32BB6532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71942" y="518884"/>
            <a:ext cx="7205662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4" name="Segnaposto contenuto 2">
            <a:extLst>
              <a:ext uri="{FF2B5EF4-FFF2-40B4-BE49-F238E27FC236}">
                <a16:creationId xmlns:a16="http://schemas.microsoft.com/office/drawing/2014/main" id="{6AFCD2CB-2B93-FE0E-1CFE-FFC00CA144FA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4371942" y="817735"/>
            <a:ext cx="7205662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lang="it-IT" sz="1200" b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F9418E3D-4077-7BD6-A879-5344B557553F}"/>
              </a:ext>
            </a:extLst>
          </p:cNvPr>
          <p:cNvSpPr/>
          <p:nvPr userDrawn="1"/>
        </p:nvSpPr>
        <p:spPr>
          <a:xfrm>
            <a:off x="-1" y="0"/>
            <a:ext cx="4168775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Segnaposto testo 4">
            <a:extLst>
              <a:ext uri="{FF2B5EF4-FFF2-40B4-BE49-F238E27FC236}">
                <a16:creationId xmlns:a16="http://schemas.microsoft.com/office/drawing/2014/main" id="{EE795E68-2F50-0F51-EC23-65B0A2074D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68800" y="1449387"/>
            <a:ext cx="7204042" cy="4427537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8083374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sto+box colore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5">
            <a:extLst>
              <a:ext uri="{FF2B5EF4-FFF2-40B4-BE49-F238E27FC236}">
                <a16:creationId xmlns:a16="http://schemas.microsoft.com/office/drawing/2014/main" id="{FFDF9CED-8EAF-D872-B7C0-C32BB6532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2376" y="518884"/>
            <a:ext cx="5270064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4" name="Segnaposto contenuto 2">
            <a:extLst>
              <a:ext uri="{FF2B5EF4-FFF2-40B4-BE49-F238E27FC236}">
                <a16:creationId xmlns:a16="http://schemas.microsoft.com/office/drawing/2014/main" id="{6AFCD2CB-2B93-FE0E-1CFE-FFC00CA144FA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302376" y="817735"/>
            <a:ext cx="5270064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>
              <a:spcBef>
                <a:spcPts val="0"/>
              </a:spcBef>
              <a:buNone/>
              <a:defRPr lang="it-IT" sz="1200" b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F9418E3D-4077-7BD6-A879-5344B557553F}"/>
              </a:ext>
            </a:extLst>
          </p:cNvPr>
          <p:cNvSpPr/>
          <p:nvPr userDrawn="1"/>
        </p:nvSpPr>
        <p:spPr>
          <a:xfrm flipH="1"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Segnaposto testo 4">
            <a:extLst>
              <a:ext uri="{FF2B5EF4-FFF2-40B4-BE49-F238E27FC236}">
                <a16:creationId xmlns:a16="http://schemas.microsoft.com/office/drawing/2014/main" id="{EE795E68-2F50-0F51-EC23-65B0A2074D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9234" y="1449387"/>
            <a:ext cx="5268879" cy="4427537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8528621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positi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magine 22">
            <a:extLst>
              <a:ext uri="{FF2B5EF4-FFF2-40B4-BE49-F238E27FC236}">
                <a16:creationId xmlns:a16="http://schemas.microsoft.com/office/drawing/2014/main" id="{92B4BA14-2320-A709-DB41-FC23ECABEC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5000"/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0999" y="4813301"/>
            <a:ext cx="12877410" cy="2070100"/>
          </a:xfrm>
          <a:prstGeom prst="rect">
            <a:avLst/>
          </a:prstGeom>
        </p:spPr>
      </p:pic>
      <p:sp>
        <p:nvSpPr>
          <p:cNvPr id="26" name="Titolo 8">
            <a:extLst>
              <a:ext uri="{FF2B5EF4-FFF2-40B4-BE49-F238E27FC236}">
                <a16:creationId xmlns:a16="http://schemas.microsoft.com/office/drawing/2014/main" id="{3E77D8CD-994D-BA9E-0857-324796137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4129" y="3215640"/>
            <a:ext cx="10879059" cy="426720"/>
          </a:xfrm>
          <a:prstGeom prst="rect">
            <a:avLst/>
          </a:prstGeom>
        </p:spPr>
        <p:txBody>
          <a:bodyPr anchor="ctr"/>
          <a:lstStyle>
            <a:lvl1pPr algn="ctr">
              <a:defRPr sz="2400">
                <a:solidFill>
                  <a:schemeClr val="tx1"/>
                </a:solidFill>
                <a:latin typeface="Montserrat Medium" pitchFamily="2" charset="0"/>
              </a:defRPr>
            </a:lvl1pPr>
          </a:lstStyle>
          <a:p>
            <a:r>
              <a:rPr lang="it-IT" dirty="0"/>
              <a:t>Titolo Montserrat Medium 24pt</a:t>
            </a:r>
          </a:p>
        </p:txBody>
      </p:sp>
      <p:sp>
        <p:nvSpPr>
          <p:cNvPr id="27" name="Segnaposto testo 12">
            <a:extLst>
              <a:ext uri="{FF2B5EF4-FFF2-40B4-BE49-F238E27FC236}">
                <a16:creationId xmlns:a16="http://schemas.microsoft.com/office/drawing/2014/main" id="{CADF518A-0800-37C1-6C5F-34671D3638F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4129" y="3642361"/>
            <a:ext cx="10879059" cy="304800"/>
          </a:xfrm>
          <a:prstGeom prst="rect">
            <a:avLst/>
          </a:prstGeom>
        </p:spPr>
        <p:txBody>
          <a:bodyPr anchor="ctr"/>
          <a:lstStyle>
            <a:lvl1pPr algn="ctr"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it-IT" dirty="0"/>
              <a:t>Sottotitolo Montserrat 18pt</a:t>
            </a: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4FA1FF1E-5BD3-7BC8-B1D5-634006D838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245126" y="657225"/>
            <a:ext cx="1702477" cy="1418222"/>
          </a:xfrm>
          <a:prstGeom prst="rect">
            <a:avLst/>
          </a:prstGeom>
        </p:spPr>
      </p:pic>
      <p:sp>
        <p:nvSpPr>
          <p:cNvPr id="3" name="Segnaposto testo 3">
            <a:extLst>
              <a:ext uri="{FF2B5EF4-FFF2-40B4-BE49-F238E27FC236}">
                <a16:creationId xmlns:a16="http://schemas.microsoft.com/office/drawing/2014/main" id="{1D803047-8DAF-08CA-41AA-191BE5D2C4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4129" y="5729979"/>
            <a:ext cx="1553547" cy="322467"/>
          </a:xfrm>
          <a:prstGeom prst="rect">
            <a:avLst/>
          </a:prstGeom>
        </p:spPr>
        <p:txBody>
          <a:bodyPr lIns="0" rIns="0"/>
          <a:lstStyle>
            <a:lvl1pPr algn="l">
              <a:defRPr sz="1050" b="0" baseline="0">
                <a:solidFill>
                  <a:schemeClr val="tx1"/>
                </a:solidFill>
                <a:latin typeface="Montserrat Medium" pitchFamily="2" charset="0"/>
              </a:defRPr>
            </a:lvl1pPr>
          </a:lstStyle>
          <a:p>
            <a:pPr lvl="0"/>
            <a:r>
              <a:rPr lang="it-IT" dirty="0"/>
              <a:t>00 mese 0000</a:t>
            </a:r>
          </a:p>
        </p:txBody>
      </p:sp>
    </p:spTree>
    <p:extLst>
      <p:ext uri="{BB962C8B-B14F-4D97-AF65-F5344CB8AC3E}">
        <p14:creationId xmlns:p14="http://schemas.microsoft.com/office/powerpoint/2010/main" val="168186292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5999" y="2359333"/>
            <a:ext cx="4944257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lang="it-IT" sz="1200" baseline="0" smtClean="0">
                <a:solidFill>
                  <a:schemeClr val="bg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12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1040257" y="2359333"/>
            <a:ext cx="492931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it-IT" sz="1200" baseline="0" smtClean="0">
                <a:solidFill>
                  <a:schemeClr val="bg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N </a:t>
            </a:r>
          </a:p>
        </p:txBody>
      </p:sp>
      <p:sp>
        <p:nvSpPr>
          <p:cNvPr id="28" name="CasellaDiTesto 27"/>
          <p:cNvSpPr txBox="1"/>
          <p:nvPr userDrawn="1"/>
        </p:nvSpPr>
        <p:spPr>
          <a:xfrm>
            <a:off x="9020905" y="1659492"/>
            <a:ext cx="2512283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it-IT" sz="1800" b="0" kern="1200" dirty="0">
                <a:solidFill>
                  <a:schemeClr val="bg1"/>
                </a:solidFill>
                <a:latin typeface="Montserrat Medium" pitchFamily="2" charset="0"/>
                <a:ea typeface="+mj-ea"/>
                <a:cs typeface="+mj-cs"/>
              </a:rPr>
              <a:t>Indice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986373" y="2359333"/>
            <a:ext cx="2109627" cy="166199"/>
          </a:xfrm>
          <a:prstGeom prst="rect">
            <a:avLst/>
          </a:prstGeom>
        </p:spPr>
        <p:txBody>
          <a:bodyPr vert="horz" wrap="square" lIns="0" tIns="0" rIns="108000" bIns="0" rtlCol="0" anchor="ctr" anchorCtr="0">
            <a:spAutoFit/>
          </a:bodyPr>
          <a:lstStyle>
            <a:lvl1pPr algn="r">
              <a:defRPr lang="it-IT" sz="1200" b="0" baseline="0" smtClean="0">
                <a:solidFill>
                  <a:schemeClr val="bg1"/>
                </a:solidFill>
                <a:latin typeface="Montserrat Medium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medium 12 </a:t>
            </a:r>
            <a:r>
              <a:rPr lang="it-IT" dirty="0" err="1"/>
              <a:t>pt</a:t>
            </a:r>
            <a:endParaRPr lang="it-IT" dirty="0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0778AFAC-8E73-33FE-48B4-971D826DEC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0999" y="4813301"/>
            <a:ext cx="12877410" cy="2070100"/>
          </a:xfrm>
          <a:prstGeom prst="rect">
            <a:avLst/>
          </a:prstGeom>
        </p:spPr>
      </p:pic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11E03024-6132-8746-EDF7-1684A98A64E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095999" y="2683525"/>
            <a:ext cx="4944257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lang="it-IT" sz="1200" baseline="0" smtClean="0">
                <a:solidFill>
                  <a:schemeClr val="bg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12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73C80908-254F-EBBD-320B-8A8F298D403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1040257" y="2683525"/>
            <a:ext cx="492931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it-IT" sz="1200" baseline="0" smtClean="0">
                <a:solidFill>
                  <a:schemeClr val="bg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N 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87F3FA15-BF54-362B-E8C7-55A2B0EC76CD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986373" y="2683525"/>
            <a:ext cx="2109627" cy="166199"/>
          </a:xfrm>
          <a:prstGeom prst="rect">
            <a:avLst/>
          </a:prstGeom>
        </p:spPr>
        <p:txBody>
          <a:bodyPr vert="horz" wrap="square" lIns="0" tIns="0" rIns="108000" bIns="0" rtlCol="0" anchor="ctr" anchorCtr="0">
            <a:spAutoFit/>
          </a:bodyPr>
          <a:lstStyle>
            <a:lvl1pPr algn="r">
              <a:defRPr lang="it-IT" sz="1200" b="0" baseline="0" smtClean="0">
                <a:solidFill>
                  <a:schemeClr val="bg1"/>
                </a:solidFill>
                <a:latin typeface="Montserrat Medium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medium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42" name="Segnaposto contenuto 2">
            <a:extLst>
              <a:ext uri="{FF2B5EF4-FFF2-40B4-BE49-F238E27FC236}">
                <a16:creationId xmlns:a16="http://schemas.microsoft.com/office/drawing/2014/main" id="{FDBEAF47-A1A2-D810-011D-B34BE520A626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095999" y="3007717"/>
            <a:ext cx="4944257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lang="it-IT" sz="1200" baseline="0" smtClean="0">
                <a:solidFill>
                  <a:schemeClr val="bg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12pt</a:t>
            </a:r>
          </a:p>
        </p:txBody>
      </p:sp>
      <p:sp>
        <p:nvSpPr>
          <p:cNvPr id="43" name="Segnaposto contenuto 2">
            <a:extLst>
              <a:ext uri="{FF2B5EF4-FFF2-40B4-BE49-F238E27FC236}">
                <a16:creationId xmlns:a16="http://schemas.microsoft.com/office/drawing/2014/main" id="{8DD76CFE-59F5-A14C-8E0A-B35C1AC80D90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1040257" y="3007717"/>
            <a:ext cx="492931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it-IT" sz="1200" baseline="0" smtClean="0">
                <a:solidFill>
                  <a:schemeClr val="bg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N </a:t>
            </a:r>
          </a:p>
        </p:txBody>
      </p:sp>
      <p:sp>
        <p:nvSpPr>
          <p:cNvPr id="44" name="Segnaposto contenuto 2">
            <a:extLst>
              <a:ext uri="{FF2B5EF4-FFF2-40B4-BE49-F238E27FC236}">
                <a16:creationId xmlns:a16="http://schemas.microsoft.com/office/drawing/2014/main" id="{CD300C5C-A31F-3C02-8B4E-14535B52B81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986373" y="3007717"/>
            <a:ext cx="2109627" cy="166199"/>
          </a:xfrm>
          <a:prstGeom prst="rect">
            <a:avLst/>
          </a:prstGeom>
        </p:spPr>
        <p:txBody>
          <a:bodyPr vert="horz" wrap="square" lIns="0" tIns="0" rIns="108000" bIns="0" rtlCol="0" anchor="ctr" anchorCtr="0">
            <a:spAutoFit/>
          </a:bodyPr>
          <a:lstStyle>
            <a:lvl1pPr algn="r">
              <a:defRPr lang="it-IT" sz="1200" b="0" baseline="0" smtClean="0">
                <a:solidFill>
                  <a:schemeClr val="bg1"/>
                </a:solidFill>
                <a:latin typeface="Montserrat Medium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medium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45" name="Segnaposto contenuto 2">
            <a:extLst>
              <a:ext uri="{FF2B5EF4-FFF2-40B4-BE49-F238E27FC236}">
                <a16:creationId xmlns:a16="http://schemas.microsoft.com/office/drawing/2014/main" id="{3316CA9F-EA7D-2173-E74F-AB625F6ED56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095999" y="3331909"/>
            <a:ext cx="4944257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lang="it-IT" sz="1200" baseline="0" smtClean="0">
                <a:solidFill>
                  <a:schemeClr val="bg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12pt</a:t>
            </a:r>
          </a:p>
        </p:txBody>
      </p:sp>
      <p:sp>
        <p:nvSpPr>
          <p:cNvPr id="46" name="Segnaposto contenuto 2">
            <a:extLst>
              <a:ext uri="{FF2B5EF4-FFF2-40B4-BE49-F238E27FC236}">
                <a16:creationId xmlns:a16="http://schemas.microsoft.com/office/drawing/2014/main" id="{EFF2DB0E-081C-13E7-D5FE-6C4D494D0EB1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11040257" y="3331909"/>
            <a:ext cx="492931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it-IT" sz="1200" baseline="0" smtClean="0">
                <a:solidFill>
                  <a:schemeClr val="bg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N </a:t>
            </a:r>
          </a:p>
        </p:txBody>
      </p:sp>
      <p:sp>
        <p:nvSpPr>
          <p:cNvPr id="47" name="Segnaposto contenuto 2">
            <a:extLst>
              <a:ext uri="{FF2B5EF4-FFF2-40B4-BE49-F238E27FC236}">
                <a16:creationId xmlns:a16="http://schemas.microsoft.com/office/drawing/2014/main" id="{F22894C7-DACE-72A3-E2F3-BDDE501547E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986373" y="3331909"/>
            <a:ext cx="2109627" cy="166199"/>
          </a:xfrm>
          <a:prstGeom prst="rect">
            <a:avLst/>
          </a:prstGeom>
        </p:spPr>
        <p:txBody>
          <a:bodyPr vert="horz" wrap="square" lIns="0" tIns="0" rIns="108000" bIns="0" rtlCol="0" anchor="ctr" anchorCtr="0">
            <a:spAutoFit/>
          </a:bodyPr>
          <a:lstStyle>
            <a:lvl1pPr algn="r">
              <a:defRPr lang="it-IT" sz="1200" b="0" baseline="0" smtClean="0">
                <a:solidFill>
                  <a:schemeClr val="bg1"/>
                </a:solidFill>
                <a:latin typeface="Montserrat Medium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medium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48" name="Segnaposto contenuto 2">
            <a:extLst>
              <a:ext uri="{FF2B5EF4-FFF2-40B4-BE49-F238E27FC236}">
                <a16:creationId xmlns:a16="http://schemas.microsoft.com/office/drawing/2014/main" id="{035F97E4-9A50-B93C-4E2D-2E6505D55798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095999" y="3654934"/>
            <a:ext cx="4944257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lang="it-IT" sz="1200" baseline="0" smtClean="0">
                <a:solidFill>
                  <a:schemeClr val="bg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12pt</a:t>
            </a:r>
          </a:p>
        </p:txBody>
      </p:sp>
      <p:sp>
        <p:nvSpPr>
          <p:cNvPr id="49" name="Segnaposto contenuto 2">
            <a:extLst>
              <a:ext uri="{FF2B5EF4-FFF2-40B4-BE49-F238E27FC236}">
                <a16:creationId xmlns:a16="http://schemas.microsoft.com/office/drawing/2014/main" id="{E6154BE4-F971-C926-5DA8-C0D5D787B92A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11040257" y="3654934"/>
            <a:ext cx="492931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it-IT" sz="1200" baseline="0" smtClean="0">
                <a:solidFill>
                  <a:schemeClr val="bg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N </a:t>
            </a:r>
          </a:p>
        </p:txBody>
      </p:sp>
      <p:sp>
        <p:nvSpPr>
          <p:cNvPr id="50" name="Segnaposto contenuto 2">
            <a:extLst>
              <a:ext uri="{FF2B5EF4-FFF2-40B4-BE49-F238E27FC236}">
                <a16:creationId xmlns:a16="http://schemas.microsoft.com/office/drawing/2014/main" id="{65DE0D6D-62BD-7550-BD9E-2F53618C2D54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3986373" y="3654934"/>
            <a:ext cx="2109627" cy="166199"/>
          </a:xfrm>
          <a:prstGeom prst="rect">
            <a:avLst/>
          </a:prstGeom>
        </p:spPr>
        <p:txBody>
          <a:bodyPr vert="horz" wrap="square" lIns="0" tIns="0" rIns="108000" bIns="0" rtlCol="0" anchor="ctr" anchorCtr="0">
            <a:spAutoFit/>
          </a:bodyPr>
          <a:lstStyle>
            <a:lvl1pPr algn="r">
              <a:defRPr lang="it-IT" sz="1200" b="0" baseline="0" smtClean="0">
                <a:solidFill>
                  <a:schemeClr val="bg1"/>
                </a:solidFill>
                <a:latin typeface="Montserrat Medium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medium 12 </a:t>
            </a:r>
            <a:r>
              <a:rPr lang="it-IT" dirty="0" err="1"/>
              <a:t>pt</a:t>
            </a:r>
            <a:endParaRPr lang="it-IT" dirty="0"/>
          </a:p>
        </p:txBody>
      </p:sp>
      <p:pic>
        <p:nvPicPr>
          <p:cNvPr id="51" name="Immagine 50">
            <a:extLst>
              <a:ext uri="{FF2B5EF4-FFF2-40B4-BE49-F238E27FC236}">
                <a16:creationId xmlns:a16="http://schemas.microsoft.com/office/drawing/2014/main" id="{D1C06113-1DE2-83D4-4FC6-B67499B982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419"/>
          <a:stretch/>
        </p:blipFill>
        <p:spPr>
          <a:xfrm>
            <a:off x="1443935" y="2387459"/>
            <a:ext cx="1811944" cy="11106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6859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nd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Immagine 54">
            <a:extLst>
              <a:ext uri="{FF2B5EF4-FFF2-40B4-BE49-F238E27FC236}">
                <a16:creationId xmlns:a16="http://schemas.microsoft.com/office/drawing/2014/main" id="{34C2C5B6-9AD3-2993-667A-B672289D7F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  <a:alphaModFix amt="3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0999" y="4813301"/>
            <a:ext cx="12877410" cy="2070100"/>
          </a:xfrm>
          <a:prstGeom prst="rect">
            <a:avLst/>
          </a:prstGeom>
          <a:effectLst/>
        </p:spPr>
      </p:pic>
      <p:sp>
        <p:nvSpPr>
          <p:cNvPr id="56" name="Segnaposto contenuto 2">
            <a:extLst>
              <a:ext uri="{FF2B5EF4-FFF2-40B4-BE49-F238E27FC236}">
                <a16:creationId xmlns:a16="http://schemas.microsoft.com/office/drawing/2014/main" id="{400E1E85-D554-3114-2EA8-F50269EF31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5999" y="2359333"/>
            <a:ext cx="4944257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lang="it-IT" sz="1200" baseline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12pt</a:t>
            </a:r>
          </a:p>
        </p:txBody>
      </p:sp>
      <p:sp>
        <p:nvSpPr>
          <p:cNvPr id="57" name="Segnaposto contenuto 2">
            <a:extLst>
              <a:ext uri="{FF2B5EF4-FFF2-40B4-BE49-F238E27FC236}">
                <a16:creationId xmlns:a16="http://schemas.microsoft.com/office/drawing/2014/main" id="{6FABE2EB-7757-E9BA-11CB-689B34C5671A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1040257" y="2359333"/>
            <a:ext cx="492931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it-IT" sz="1200" baseline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N </a:t>
            </a:r>
          </a:p>
        </p:txBody>
      </p:sp>
      <p:sp>
        <p:nvSpPr>
          <p:cNvPr id="58" name="CasellaDiTesto 57">
            <a:extLst>
              <a:ext uri="{FF2B5EF4-FFF2-40B4-BE49-F238E27FC236}">
                <a16:creationId xmlns:a16="http://schemas.microsoft.com/office/drawing/2014/main" id="{F9A8DEB5-031A-EC27-FEF6-991696C5439A}"/>
              </a:ext>
            </a:extLst>
          </p:cNvPr>
          <p:cNvSpPr txBox="1"/>
          <p:nvPr userDrawn="1"/>
        </p:nvSpPr>
        <p:spPr>
          <a:xfrm>
            <a:off x="9020905" y="1659492"/>
            <a:ext cx="2512283" cy="27699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it-IT" sz="1800" b="0" kern="1200" dirty="0">
                <a:solidFill>
                  <a:schemeClr val="tx1"/>
                </a:solidFill>
                <a:latin typeface="Montserrat Medium" pitchFamily="2" charset="0"/>
                <a:ea typeface="+mj-ea"/>
                <a:cs typeface="+mj-cs"/>
              </a:rPr>
              <a:t>Indice</a:t>
            </a:r>
          </a:p>
        </p:txBody>
      </p:sp>
      <p:sp>
        <p:nvSpPr>
          <p:cNvPr id="59" name="Segnaposto contenuto 2">
            <a:extLst>
              <a:ext uri="{FF2B5EF4-FFF2-40B4-BE49-F238E27FC236}">
                <a16:creationId xmlns:a16="http://schemas.microsoft.com/office/drawing/2014/main" id="{EEDD0BDD-5A87-4337-E676-2136E3B00CFD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3986373" y="2359333"/>
            <a:ext cx="2109627" cy="166199"/>
          </a:xfrm>
          <a:prstGeom prst="rect">
            <a:avLst/>
          </a:prstGeom>
        </p:spPr>
        <p:txBody>
          <a:bodyPr vert="horz" wrap="square" lIns="0" tIns="0" rIns="108000" bIns="0" rtlCol="0" anchor="ctr" anchorCtr="0">
            <a:spAutoFit/>
          </a:bodyPr>
          <a:lstStyle>
            <a:lvl1pPr algn="r">
              <a:defRPr lang="it-IT" sz="1200" b="0" baseline="0" smtClean="0">
                <a:solidFill>
                  <a:schemeClr val="tx1"/>
                </a:solidFill>
                <a:latin typeface="Montserrat Medium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medium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61" name="Segnaposto contenuto 2">
            <a:extLst>
              <a:ext uri="{FF2B5EF4-FFF2-40B4-BE49-F238E27FC236}">
                <a16:creationId xmlns:a16="http://schemas.microsoft.com/office/drawing/2014/main" id="{FD01DB17-2171-9867-9AC5-852D8707F701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095999" y="2683525"/>
            <a:ext cx="4944257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lang="it-IT" sz="1200" baseline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12pt</a:t>
            </a:r>
          </a:p>
        </p:txBody>
      </p:sp>
      <p:sp>
        <p:nvSpPr>
          <p:cNvPr id="62" name="Segnaposto contenuto 2">
            <a:extLst>
              <a:ext uri="{FF2B5EF4-FFF2-40B4-BE49-F238E27FC236}">
                <a16:creationId xmlns:a16="http://schemas.microsoft.com/office/drawing/2014/main" id="{F0B90F04-3556-5D07-0ED8-2DE73D887DA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1040257" y="2683525"/>
            <a:ext cx="492931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it-IT" sz="1200" baseline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N </a:t>
            </a:r>
          </a:p>
        </p:txBody>
      </p:sp>
      <p:sp>
        <p:nvSpPr>
          <p:cNvPr id="63" name="Segnaposto contenuto 2">
            <a:extLst>
              <a:ext uri="{FF2B5EF4-FFF2-40B4-BE49-F238E27FC236}">
                <a16:creationId xmlns:a16="http://schemas.microsoft.com/office/drawing/2014/main" id="{DA70134C-0E7A-96FB-9C78-E6461358122E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986373" y="2683525"/>
            <a:ext cx="2109627" cy="166199"/>
          </a:xfrm>
          <a:prstGeom prst="rect">
            <a:avLst/>
          </a:prstGeom>
        </p:spPr>
        <p:txBody>
          <a:bodyPr vert="horz" wrap="square" lIns="0" tIns="0" rIns="108000" bIns="0" rtlCol="0" anchor="ctr" anchorCtr="0">
            <a:spAutoFit/>
          </a:bodyPr>
          <a:lstStyle>
            <a:lvl1pPr algn="r">
              <a:defRPr lang="it-IT" sz="1200" b="0" baseline="0" smtClean="0">
                <a:solidFill>
                  <a:schemeClr val="tx1"/>
                </a:solidFill>
                <a:latin typeface="Montserrat Medium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medium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64" name="Segnaposto contenuto 2">
            <a:extLst>
              <a:ext uri="{FF2B5EF4-FFF2-40B4-BE49-F238E27FC236}">
                <a16:creationId xmlns:a16="http://schemas.microsoft.com/office/drawing/2014/main" id="{36F4F475-FE29-6AE9-D534-9D3713FC1AE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095999" y="3007717"/>
            <a:ext cx="4944257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lang="it-IT" sz="1200" baseline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12pt</a:t>
            </a:r>
          </a:p>
        </p:txBody>
      </p:sp>
      <p:sp>
        <p:nvSpPr>
          <p:cNvPr id="65" name="Segnaposto contenuto 2">
            <a:extLst>
              <a:ext uri="{FF2B5EF4-FFF2-40B4-BE49-F238E27FC236}">
                <a16:creationId xmlns:a16="http://schemas.microsoft.com/office/drawing/2014/main" id="{67AA8BEE-7912-3C22-DEA3-965480FD767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11040257" y="3007717"/>
            <a:ext cx="492931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it-IT" sz="1200" baseline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N </a:t>
            </a:r>
          </a:p>
        </p:txBody>
      </p:sp>
      <p:sp>
        <p:nvSpPr>
          <p:cNvPr id="66" name="Segnaposto contenuto 2">
            <a:extLst>
              <a:ext uri="{FF2B5EF4-FFF2-40B4-BE49-F238E27FC236}">
                <a16:creationId xmlns:a16="http://schemas.microsoft.com/office/drawing/2014/main" id="{3BB48FE5-D5DC-28EE-94D8-529AF784D0C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986373" y="3007717"/>
            <a:ext cx="2109627" cy="166199"/>
          </a:xfrm>
          <a:prstGeom prst="rect">
            <a:avLst/>
          </a:prstGeom>
        </p:spPr>
        <p:txBody>
          <a:bodyPr vert="horz" wrap="square" lIns="0" tIns="0" rIns="108000" bIns="0" rtlCol="0" anchor="ctr" anchorCtr="0">
            <a:spAutoFit/>
          </a:bodyPr>
          <a:lstStyle>
            <a:lvl1pPr algn="r">
              <a:defRPr lang="it-IT" sz="1200" b="0" baseline="0" smtClean="0">
                <a:solidFill>
                  <a:schemeClr val="tx1"/>
                </a:solidFill>
                <a:latin typeface="Montserrat Medium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medium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67" name="Segnaposto contenuto 2">
            <a:extLst>
              <a:ext uri="{FF2B5EF4-FFF2-40B4-BE49-F238E27FC236}">
                <a16:creationId xmlns:a16="http://schemas.microsoft.com/office/drawing/2014/main" id="{6433E991-F861-E529-3637-AE3AC80EC4A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095999" y="3331909"/>
            <a:ext cx="4944257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lang="it-IT" sz="1200" baseline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12pt</a:t>
            </a:r>
          </a:p>
        </p:txBody>
      </p:sp>
      <p:sp>
        <p:nvSpPr>
          <p:cNvPr id="68" name="Segnaposto contenuto 2">
            <a:extLst>
              <a:ext uri="{FF2B5EF4-FFF2-40B4-BE49-F238E27FC236}">
                <a16:creationId xmlns:a16="http://schemas.microsoft.com/office/drawing/2014/main" id="{551A6094-28EE-9801-C9F0-86AFA341EB80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11040257" y="3331909"/>
            <a:ext cx="492931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it-IT" sz="1200" baseline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N </a:t>
            </a:r>
          </a:p>
        </p:txBody>
      </p:sp>
      <p:sp>
        <p:nvSpPr>
          <p:cNvPr id="69" name="Segnaposto contenuto 2">
            <a:extLst>
              <a:ext uri="{FF2B5EF4-FFF2-40B4-BE49-F238E27FC236}">
                <a16:creationId xmlns:a16="http://schemas.microsoft.com/office/drawing/2014/main" id="{C9502E19-958A-8492-C7F2-7B8937A0D2B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986373" y="3331909"/>
            <a:ext cx="2109627" cy="166199"/>
          </a:xfrm>
          <a:prstGeom prst="rect">
            <a:avLst/>
          </a:prstGeom>
        </p:spPr>
        <p:txBody>
          <a:bodyPr vert="horz" wrap="square" lIns="0" tIns="0" rIns="108000" bIns="0" rtlCol="0" anchor="ctr" anchorCtr="0">
            <a:spAutoFit/>
          </a:bodyPr>
          <a:lstStyle>
            <a:lvl1pPr algn="r">
              <a:defRPr lang="it-IT" sz="1200" b="0" baseline="0" smtClean="0">
                <a:solidFill>
                  <a:schemeClr val="tx1"/>
                </a:solidFill>
                <a:latin typeface="Montserrat Medium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medium 12 </a:t>
            </a:r>
            <a:r>
              <a:rPr lang="it-IT" dirty="0" err="1"/>
              <a:t>pt</a:t>
            </a:r>
            <a:endParaRPr lang="it-IT" dirty="0"/>
          </a:p>
        </p:txBody>
      </p:sp>
      <p:sp>
        <p:nvSpPr>
          <p:cNvPr id="70" name="Segnaposto contenuto 2">
            <a:extLst>
              <a:ext uri="{FF2B5EF4-FFF2-40B4-BE49-F238E27FC236}">
                <a16:creationId xmlns:a16="http://schemas.microsoft.com/office/drawing/2014/main" id="{AF6E900D-EB4D-21E7-18C6-84CE9EEE472B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095999" y="3654934"/>
            <a:ext cx="4944257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>
              <a:defRPr lang="it-IT" sz="1200" baseline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12pt</a:t>
            </a:r>
          </a:p>
        </p:txBody>
      </p:sp>
      <p:sp>
        <p:nvSpPr>
          <p:cNvPr id="71" name="Segnaposto contenuto 2">
            <a:extLst>
              <a:ext uri="{FF2B5EF4-FFF2-40B4-BE49-F238E27FC236}">
                <a16:creationId xmlns:a16="http://schemas.microsoft.com/office/drawing/2014/main" id="{5F07781B-88B1-40C3-8C10-013C665E9C39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11040257" y="3654934"/>
            <a:ext cx="492931" cy="1661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it-IT" sz="1200" baseline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N </a:t>
            </a:r>
          </a:p>
        </p:txBody>
      </p:sp>
      <p:sp>
        <p:nvSpPr>
          <p:cNvPr id="72" name="Segnaposto contenuto 2">
            <a:extLst>
              <a:ext uri="{FF2B5EF4-FFF2-40B4-BE49-F238E27FC236}">
                <a16:creationId xmlns:a16="http://schemas.microsoft.com/office/drawing/2014/main" id="{1742B9D4-B118-03E5-C86B-34500E1441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3986373" y="3654934"/>
            <a:ext cx="2109627" cy="166199"/>
          </a:xfrm>
          <a:prstGeom prst="rect">
            <a:avLst/>
          </a:prstGeom>
        </p:spPr>
        <p:txBody>
          <a:bodyPr vert="horz" wrap="square" lIns="0" tIns="0" rIns="108000" bIns="0" rtlCol="0" anchor="ctr" anchorCtr="0">
            <a:spAutoFit/>
          </a:bodyPr>
          <a:lstStyle>
            <a:lvl1pPr algn="r">
              <a:defRPr lang="it-IT" sz="1200" b="0" baseline="0" smtClean="0">
                <a:solidFill>
                  <a:schemeClr val="tx1"/>
                </a:solidFill>
                <a:latin typeface="Montserrat Medium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Montserrat medium 12 </a:t>
            </a:r>
            <a:r>
              <a:rPr lang="it-IT" dirty="0" err="1"/>
              <a:t>pt</a:t>
            </a:r>
            <a:endParaRPr lang="it-IT" dirty="0"/>
          </a:p>
        </p:txBody>
      </p:sp>
      <p:pic>
        <p:nvPicPr>
          <p:cNvPr id="75" name="Immagine 74">
            <a:extLst>
              <a:ext uri="{FF2B5EF4-FFF2-40B4-BE49-F238E27FC236}">
                <a16:creationId xmlns:a16="http://schemas.microsoft.com/office/drawing/2014/main" id="{189E7833-FF34-8CA1-7B09-700869FFCB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487"/>
          <a:stretch/>
        </p:blipFill>
        <p:spPr>
          <a:xfrm>
            <a:off x="1443934" y="2387459"/>
            <a:ext cx="1811946" cy="1185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04320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ezione negativ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8C51FA56-724F-7823-606B-362AE12D74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0999" y="4813301"/>
            <a:ext cx="12877410" cy="2070100"/>
          </a:xfrm>
          <a:prstGeom prst="rect">
            <a:avLst/>
          </a:prstGeom>
        </p:spPr>
      </p:pic>
      <p:sp>
        <p:nvSpPr>
          <p:cNvPr id="7" name="Titolo 1">
            <a:extLst>
              <a:ext uri="{FF2B5EF4-FFF2-40B4-BE49-F238E27FC236}">
                <a16:creationId xmlns:a16="http://schemas.microsoft.com/office/drawing/2014/main" id="{BEC67FA8-3D87-274B-9834-66761061A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2785423"/>
            <a:ext cx="10874376" cy="297646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ctr">
            <a:spAutoFit/>
          </a:bodyPr>
          <a:lstStyle>
            <a:lvl1pPr algn="ctr">
              <a:lnSpc>
                <a:spcPct val="80000"/>
              </a:lnSpc>
              <a:defRPr lang="it-IT" sz="2400" b="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</a:lstStyle>
          <a:p>
            <a:pPr lvl="0"/>
            <a:r>
              <a:rPr lang="it-IT" dirty="0"/>
              <a:t>Copertina sezione 1 – Montserrat 24pt</a:t>
            </a:r>
          </a:p>
        </p:txBody>
      </p:sp>
      <p:sp>
        <p:nvSpPr>
          <p:cNvPr id="10" name="Segnaposto testo 5">
            <a:extLst>
              <a:ext uri="{FF2B5EF4-FFF2-40B4-BE49-F238E27FC236}">
                <a16:creationId xmlns:a16="http://schemas.microsoft.com/office/drawing/2014/main" id="{CE2A1D0F-B99E-BBF4-4171-7C88701462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813" y="3153790"/>
            <a:ext cx="10890250" cy="460268"/>
          </a:xfrm>
          <a:prstGeom prst="rect">
            <a:avLst/>
          </a:prstGeom>
        </p:spPr>
        <p:txBody>
          <a:bodyPr anchor="ctr"/>
          <a:lstStyle>
            <a:lvl1pPr algn="ctr">
              <a:defRPr sz="18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it-IT" dirty="0"/>
              <a:t>Sottotitolo Montserrat 18pt</a:t>
            </a:r>
          </a:p>
        </p:txBody>
      </p:sp>
      <p:pic>
        <p:nvPicPr>
          <p:cNvPr id="2" name="Elemento grafico 8">
            <a:extLst>
              <a:ext uri="{FF2B5EF4-FFF2-40B4-BE49-F238E27FC236}">
                <a16:creationId xmlns:a16="http://schemas.microsoft.com/office/drawing/2014/main" id="{D67A1158-0666-06CC-357F-E06C936F06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68066" y="649822"/>
            <a:ext cx="979279" cy="846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5307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ezione positiv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78925F9A-A494-FE46-8B67-19461F071F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0999" y="4813301"/>
            <a:ext cx="12877410" cy="2070100"/>
          </a:xfrm>
          <a:prstGeom prst="rect">
            <a:avLst/>
          </a:prstGeom>
        </p:spPr>
      </p:pic>
      <p:sp>
        <p:nvSpPr>
          <p:cNvPr id="7" name="Titolo 1">
            <a:extLst>
              <a:ext uri="{FF2B5EF4-FFF2-40B4-BE49-F238E27FC236}">
                <a16:creationId xmlns:a16="http://schemas.microsoft.com/office/drawing/2014/main" id="{086271E7-4C62-9B76-EA88-8727266055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2785423"/>
            <a:ext cx="10874376" cy="297646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ctr">
            <a:spAutoFit/>
          </a:bodyPr>
          <a:lstStyle>
            <a:lvl1pPr algn="ctr">
              <a:lnSpc>
                <a:spcPct val="80000"/>
              </a:lnSpc>
              <a:defRPr lang="it-IT" sz="2400" b="0">
                <a:solidFill>
                  <a:schemeClr val="tx1"/>
                </a:solidFill>
                <a:latin typeface="Montserrat" pitchFamily="2" charset="0"/>
              </a:defRPr>
            </a:lvl1pPr>
          </a:lstStyle>
          <a:p>
            <a:pPr lvl="0"/>
            <a:r>
              <a:rPr lang="it-IT" dirty="0"/>
              <a:t>Copertina sezione 1 – Montserrat 24pt</a:t>
            </a:r>
          </a:p>
        </p:txBody>
      </p:sp>
      <p:sp>
        <p:nvSpPr>
          <p:cNvPr id="15" name="Segnaposto testo 5">
            <a:extLst>
              <a:ext uri="{FF2B5EF4-FFF2-40B4-BE49-F238E27FC236}">
                <a16:creationId xmlns:a16="http://schemas.microsoft.com/office/drawing/2014/main" id="{2600960A-82E4-C711-4D99-5F91C439110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58813" y="3153790"/>
            <a:ext cx="10890250" cy="460268"/>
          </a:xfrm>
          <a:prstGeom prst="rect">
            <a:avLst/>
          </a:prstGeom>
        </p:spPr>
        <p:txBody>
          <a:bodyPr anchor="ctr"/>
          <a:lstStyle>
            <a:lvl1pPr algn="ctr">
              <a:defRPr sz="1800">
                <a:latin typeface="Montserrat" pitchFamily="2" charset="0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it-IT" dirty="0"/>
              <a:t>Sottotitolo Montserrat 18pt</a:t>
            </a:r>
          </a:p>
        </p:txBody>
      </p:sp>
      <p:pic>
        <p:nvPicPr>
          <p:cNvPr id="4" name="Elemento grafico 8">
            <a:extLst>
              <a:ext uri="{FF2B5EF4-FFF2-40B4-BE49-F238E27FC236}">
                <a16:creationId xmlns:a16="http://schemas.microsoft.com/office/drawing/2014/main" id="{63152141-598E-34DF-4476-2BC8EDDCE4A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72452" y="648913"/>
            <a:ext cx="979279" cy="846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92407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mezz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619020" y="1881188"/>
            <a:ext cx="10914168" cy="3995737"/>
          </a:xfrm>
          <a:prstGeom prst="rect">
            <a:avLst/>
          </a:prstGeom>
        </p:spPr>
        <p:txBody>
          <a:bodyPr anchor="t" anchorCtr="0"/>
          <a:lstStyle>
            <a:lvl1pPr algn="ctr">
              <a:defRPr sz="32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1pPr>
            <a:lvl2pPr algn="ctr">
              <a:defRPr sz="28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2pPr>
            <a:lvl3pPr algn="ctr">
              <a:defRPr sz="24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3pPr>
            <a:lvl4pPr algn="ctr">
              <a:defRPr sz="18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4pPr>
            <a:lvl5pPr algn="ctr">
              <a:defRPr sz="1400">
                <a:solidFill>
                  <a:schemeClr val="bg1">
                    <a:lumMod val="95000"/>
                  </a:schemeClr>
                </a:solidFill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Modifica gli stili del testo dello schema 32pt</a:t>
            </a:r>
          </a:p>
          <a:p>
            <a:pPr lvl="1"/>
            <a:r>
              <a:rPr lang="it-IT" dirty="0"/>
              <a:t>Secondo livello 28pt</a:t>
            </a:r>
          </a:p>
          <a:p>
            <a:pPr lvl="2"/>
            <a:r>
              <a:rPr lang="it-IT" dirty="0"/>
              <a:t>Terzo livello 24pt</a:t>
            </a:r>
          </a:p>
          <a:p>
            <a:pPr lvl="3"/>
            <a:r>
              <a:rPr lang="it-IT" dirty="0"/>
              <a:t>Quarto livello 18 </a:t>
            </a:r>
            <a:r>
              <a:rPr lang="it-IT" dirty="0" err="1"/>
              <a:t>pt</a:t>
            </a:r>
            <a:endParaRPr lang="it-IT" dirty="0"/>
          </a:p>
          <a:p>
            <a:pPr lvl="4"/>
            <a:r>
              <a:rPr lang="it-IT" dirty="0"/>
              <a:t>Quinto livello 14 </a:t>
            </a:r>
            <a:r>
              <a:rPr lang="it-IT" dirty="0" err="1"/>
              <a:t>pt</a:t>
            </a:r>
            <a:endParaRPr lang="it-IT" dirty="0"/>
          </a:p>
        </p:txBody>
      </p:sp>
      <p:pic>
        <p:nvPicPr>
          <p:cNvPr id="5" name="Elemento grafico 8">
            <a:extLst>
              <a:ext uri="{FF2B5EF4-FFF2-40B4-BE49-F238E27FC236}">
                <a16:creationId xmlns:a16="http://schemas.microsoft.com/office/drawing/2014/main" id="{F88789A4-539F-F260-F7F4-3EB369CFAB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06360" y="675698"/>
            <a:ext cx="979279" cy="846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2690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ermezz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619020" y="1881188"/>
            <a:ext cx="10914168" cy="3995737"/>
          </a:xfrm>
          <a:prstGeom prst="rect">
            <a:avLst/>
          </a:prstGeom>
        </p:spPr>
        <p:txBody>
          <a:bodyPr anchor="t" anchorCtr="0"/>
          <a:lstStyle>
            <a:lvl1pPr algn="ctr">
              <a:defRPr sz="3200">
                <a:solidFill>
                  <a:schemeClr val="tx1"/>
                </a:solidFill>
                <a:latin typeface="Montserrat" pitchFamily="2" charset="0"/>
              </a:defRPr>
            </a:lvl1pPr>
            <a:lvl2pPr algn="ctr">
              <a:defRPr sz="2800">
                <a:solidFill>
                  <a:schemeClr val="tx1"/>
                </a:solidFill>
                <a:latin typeface="Montserrat" pitchFamily="2" charset="0"/>
              </a:defRPr>
            </a:lvl2pPr>
            <a:lvl3pPr algn="ctr">
              <a:defRPr sz="2400">
                <a:solidFill>
                  <a:schemeClr val="tx1"/>
                </a:solidFill>
                <a:latin typeface="Montserrat" pitchFamily="2" charset="0"/>
              </a:defRPr>
            </a:lvl3pPr>
            <a:lvl4pPr algn="ctr">
              <a:defRPr sz="1800">
                <a:solidFill>
                  <a:schemeClr val="tx1"/>
                </a:solidFill>
                <a:latin typeface="Montserrat" pitchFamily="2" charset="0"/>
              </a:defRPr>
            </a:lvl4pPr>
            <a:lvl5pPr algn="ctr">
              <a:defRPr sz="1400">
                <a:solidFill>
                  <a:schemeClr val="tx1"/>
                </a:solidFill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Modifica gli stili del testo dello schema 32pt</a:t>
            </a:r>
          </a:p>
          <a:p>
            <a:pPr lvl="1"/>
            <a:r>
              <a:rPr lang="it-IT" dirty="0"/>
              <a:t>Secondo livello 28pt</a:t>
            </a:r>
          </a:p>
          <a:p>
            <a:pPr lvl="2"/>
            <a:r>
              <a:rPr lang="it-IT" dirty="0"/>
              <a:t>Terzo livello 24pt</a:t>
            </a:r>
          </a:p>
          <a:p>
            <a:pPr lvl="3"/>
            <a:r>
              <a:rPr lang="it-IT" dirty="0"/>
              <a:t>Quarto livello 18 </a:t>
            </a:r>
            <a:r>
              <a:rPr lang="it-IT" dirty="0" err="1"/>
              <a:t>pt</a:t>
            </a:r>
            <a:endParaRPr lang="it-IT" dirty="0"/>
          </a:p>
          <a:p>
            <a:pPr lvl="4"/>
            <a:r>
              <a:rPr lang="it-IT" dirty="0"/>
              <a:t>Quinto livello 14 </a:t>
            </a:r>
            <a:r>
              <a:rPr lang="it-IT" dirty="0" err="1"/>
              <a:t>pt</a:t>
            </a:r>
            <a:endParaRPr lang="it-IT" dirty="0"/>
          </a:p>
        </p:txBody>
      </p:sp>
      <p:pic>
        <p:nvPicPr>
          <p:cNvPr id="4" name="Elemento grafico 8">
            <a:extLst>
              <a:ext uri="{FF2B5EF4-FFF2-40B4-BE49-F238E27FC236}">
                <a16:creationId xmlns:a16="http://schemas.microsoft.com/office/drawing/2014/main" id="{B85A86B7-9D51-DECC-0D92-8CFCA97CEB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72452" y="648913"/>
            <a:ext cx="979279" cy="846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374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+Sott+Testo bull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0C495454-3D2B-5358-D858-21EE008F90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1449389"/>
            <a:ext cx="10909300" cy="4392612"/>
          </a:xfrm>
          <a:prstGeom prst="rect">
            <a:avLst/>
          </a:prstGeom>
        </p:spPr>
        <p:txBody>
          <a:bodyPr lIns="0" tIns="0" rIns="0" bIns="0"/>
          <a:lstStyle>
            <a:lvl1pPr marL="171450" indent="-171450">
              <a:lnSpc>
                <a:spcPct val="150000"/>
              </a:lnSpc>
              <a:buClr>
                <a:schemeClr val="tx1"/>
              </a:buClr>
              <a:buSzPct val="110000"/>
              <a:buFont typeface="Wingdings" panose="05000000000000000000" pitchFamily="2" charset="2"/>
              <a:buChar char="§"/>
              <a:defRPr sz="1200">
                <a:latin typeface="Montserrat" pitchFamily="2" charset="0"/>
              </a:defRPr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400">
                <a:latin typeface="Montserrat" pitchFamily="2" charset="0"/>
              </a:defRPr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200">
                <a:latin typeface="Montserrat" pitchFamily="2" charset="0"/>
              </a:defRPr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100">
                <a:latin typeface="Montserrat" pitchFamily="2" charset="0"/>
              </a:defRPr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05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2" name="Segnaposto testo 20">
            <a:extLst>
              <a:ext uri="{FF2B5EF4-FFF2-40B4-BE49-F238E27FC236}">
                <a16:creationId xmlns:a16="http://schemas.microsoft.com/office/drawing/2014/main" id="{E75AE5B5-FEEC-BE94-C405-DC0A1F8BEA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3" name="Segnaposto testo 20">
            <a:extLst>
              <a:ext uri="{FF2B5EF4-FFF2-40B4-BE49-F238E27FC236}">
                <a16:creationId xmlns:a16="http://schemas.microsoft.com/office/drawing/2014/main" id="{D162674C-315B-014C-1219-095161354B3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sp>
        <p:nvSpPr>
          <p:cNvPr id="4" name="Titolo 5">
            <a:extLst>
              <a:ext uri="{FF2B5EF4-FFF2-40B4-BE49-F238E27FC236}">
                <a16:creationId xmlns:a16="http://schemas.microsoft.com/office/drawing/2014/main" id="{A20B7076-72A2-DBC1-710F-319EA7F310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6" name="Segnaposto contenuto 2">
            <a:extLst>
              <a:ext uri="{FF2B5EF4-FFF2-40B4-BE49-F238E27FC236}">
                <a16:creationId xmlns:a16="http://schemas.microsoft.com/office/drawing/2014/main" id="{BC2CC349-6637-AEBC-EF77-0A1E7136B776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109093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pic>
        <p:nvPicPr>
          <p:cNvPr id="7" name="Elemento grafico 8">
            <a:extLst>
              <a:ext uri="{FF2B5EF4-FFF2-40B4-BE49-F238E27FC236}">
                <a16:creationId xmlns:a16="http://schemas.microsoft.com/office/drawing/2014/main" id="{1605EC33-46AD-90A8-B6D0-32CE314C9A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69"/>
            <a:ext cx="576553" cy="498669"/>
          </a:xfrm>
          <a:prstGeom prst="rect">
            <a:avLst/>
          </a:prstGeom>
        </p:spPr>
      </p:pic>
      <p:pic>
        <p:nvPicPr>
          <p:cNvPr id="8" name="Immagine 7" descr="Immagine che contiene testo, Carattere, Elementi grafici, schermata&#10;&#10;Descrizione generata automaticamente">
            <a:extLst>
              <a:ext uri="{FF2B5EF4-FFF2-40B4-BE49-F238E27FC236}">
                <a16:creationId xmlns:a16="http://schemas.microsoft.com/office/drawing/2014/main" id="{D82B27D9-DCFD-8B52-80AC-936E76A720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7911" y="6108492"/>
            <a:ext cx="750338" cy="548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6134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zie - F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3212" y="3429000"/>
            <a:ext cx="10889976" cy="737300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ctr">
              <a:lnSpc>
                <a:spcPct val="80000"/>
              </a:lnSpc>
              <a:defRPr lang="it-IT" sz="4400" b="0">
                <a:solidFill>
                  <a:schemeClr val="bg1"/>
                </a:solidFill>
                <a:latin typeface="Montserrat" pitchFamily="2" charset="0"/>
              </a:defRPr>
            </a:lvl1pPr>
          </a:lstStyle>
          <a:p>
            <a:pPr lvl="0"/>
            <a:r>
              <a:rPr lang="it-IT" dirty="0"/>
              <a:t>Grazie</a:t>
            </a:r>
          </a:p>
        </p:txBody>
      </p:sp>
      <p:pic>
        <p:nvPicPr>
          <p:cNvPr id="2" name="Elemento grafico 8">
            <a:extLst>
              <a:ext uri="{FF2B5EF4-FFF2-40B4-BE49-F238E27FC236}">
                <a16:creationId xmlns:a16="http://schemas.microsoft.com/office/drawing/2014/main" id="{756E58D0-100B-15DF-BD93-65B1D9F7FA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68066" y="649822"/>
            <a:ext cx="979279" cy="846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29992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zie - F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3212" y="3429000"/>
            <a:ext cx="10889976" cy="737300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ctr">
              <a:lnSpc>
                <a:spcPct val="80000"/>
              </a:lnSpc>
              <a:defRPr lang="it-IT" sz="4400" b="0">
                <a:solidFill>
                  <a:schemeClr val="tx1"/>
                </a:solidFill>
                <a:latin typeface="Montserrat" pitchFamily="2" charset="0"/>
              </a:defRPr>
            </a:lvl1pPr>
          </a:lstStyle>
          <a:p>
            <a:pPr lvl="0"/>
            <a:r>
              <a:rPr lang="it-IT" dirty="0"/>
              <a:t>Grazie</a:t>
            </a: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5A3CF578-B1C4-4609-E06E-985CCD1BBE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0999" y="4813301"/>
            <a:ext cx="12877410" cy="2070100"/>
          </a:xfrm>
          <a:prstGeom prst="rect">
            <a:avLst/>
          </a:prstGeom>
        </p:spPr>
      </p:pic>
      <p:pic>
        <p:nvPicPr>
          <p:cNvPr id="2" name="Elemento grafico 8">
            <a:extLst>
              <a:ext uri="{FF2B5EF4-FFF2-40B4-BE49-F238E27FC236}">
                <a16:creationId xmlns:a16="http://schemas.microsoft.com/office/drawing/2014/main" id="{AE34583A-BB6E-8D76-C770-D75397CC883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572452" y="648913"/>
            <a:ext cx="979279" cy="846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08155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06/02/2020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it-IT"/>
              <a:t>La DdG 238/2019   I   Mario Tartagli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6701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2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06/02/2020</a:t>
            </a:r>
            <a:endParaRPr lang="en-GB" dirty="0"/>
          </a:p>
        </p:txBody>
      </p:sp>
      <p:sp>
        <p:nvSpPr>
          <p:cNvPr id="2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it-IT"/>
              <a:t>La DdG 238/2019   I   Mario Tartagli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251818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pertina Sottosezione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36667" y="2020033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 dirty="0"/>
              <a:t>Sottotitolo</a:t>
            </a:r>
          </a:p>
        </p:txBody>
      </p:sp>
      <p:sp>
        <p:nvSpPr>
          <p:cNvPr id="2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 dirty="0"/>
              <a:t>Copertina sezione - alt 1</a:t>
            </a:r>
          </a:p>
        </p:txBody>
      </p:sp>
    </p:spTree>
    <p:extLst>
      <p:ext uri="{BB962C8B-B14F-4D97-AF65-F5344CB8AC3E}">
        <p14:creationId xmlns:p14="http://schemas.microsoft.com/office/powerpoint/2010/main" val="12053206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to+Sup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3">
            <a:extLst>
              <a:ext uri="{FF2B5EF4-FFF2-40B4-BE49-F238E27FC236}">
                <a16:creationId xmlns:a16="http://schemas.microsoft.com/office/drawing/2014/main" id="{2D703AF6-6C49-405B-2E06-C10EFBBF4A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txBody>
          <a:bodyPr/>
          <a:lstStyle/>
          <a:p>
            <a:r>
              <a:rPr lang="it-IT"/>
              <a:t>Fare clic sull'icona per inserire un'immagine</a:t>
            </a:r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75E0BF9E-2286-B573-8EBE-33E14FFBA5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5267325"/>
            <a:ext cx="7859713" cy="933450"/>
          </a:xfrm>
          <a:prstGeom prst="rect">
            <a:avLst/>
          </a:prstGeom>
          <a:solidFill>
            <a:schemeClr val="tx1">
              <a:alpha val="85000"/>
            </a:schemeClr>
          </a:solidFill>
        </p:spPr>
        <p:txBody>
          <a:bodyPr lIns="648000" tIns="0" rIns="0" bIns="0" anchor="ctr"/>
          <a:lstStyle>
            <a:lvl1pPr algn="l"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Titolo Montserrat 20/30pt</a:t>
            </a:r>
          </a:p>
        </p:txBody>
      </p:sp>
    </p:spTree>
    <p:extLst>
      <p:ext uri="{BB962C8B-B14F-4D97-AF65-F5344CB8AC3E}">
        <p14:creationId xmlns:p14="http://schemas.microsoft.com/office/powerpoint/2010/main" val="29077106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 testo+Immagine al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AF9CBC5E-E1CD-6725-B261-34A47C51B39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2000" cy="3429000"/>
          </a:xfrm>
          <a:prstGeom prst="rect">
            <a:avLst/>
          </a:prstGeom>
          <a:noFill/>
        </p:spPr>
        <p:txBody>
          <a:bodyPr/>
          <a:lstStyle>
            <a:lvl1pPr algn="ctr">
              <a:defRPr sz="1200"/>
            </a:lvl1pPr>
          </a:lstStyle>
          <a:p>
            <a:endParaRPr lang="it-IT" dirty="0"/>
          </a:p>
          <a:p>
            <a:r>
              <a:rPr lang="it-IT" dirty="0"/>
              <a:t>Fare clic sull'icona per inserire un'immagine</a:t>
            </a:r>
          </a:p>
        </p:txBody>
      </p:sp>
      <p:sp>
        <p:nvSpPr>
          <p:cNvPr id="15" name="Segnaposto testo 4">
            <a:extLst>
              <a:ext uri="{FF2B5EF4-FFF2-40B4-BE49-F238E27FC236}">
                <a16:creationId xmlns:a16="http://schemas.microsoft.com/office/drawing/2014/main" id="{D6FA3FD6-324D-40F6-06D9-B1B066F448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57688" y="3809779"/>
            <a:ext cx="3509929" cy="2032221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8" name="Segnaposto testo 4">
            <a:extLst>
              <a:ext uri="{FF2B5EF4-FFF2-40B4-BE49-F238E27FC236}">
                <a16:creationId xmlns:a16="http://schemas.microsoft.com/office/drawing/2014/main" id="{BEA710E5-49BF-7074-24D2-677EFC07200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5671" y="3809779"/>
            <a:ext cx="3509929" cy="2032221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9" name="Segnaposto testo 4">
            <a:extLst>
              <a:ext uri="{FF2B5EF4-FFF2-40B4-BE49-F238E27FC236}">
                <a16:creationId xmlns:a16="http://schemas.microsoft.com/office/drawing/2014/main" id="{29347B0F-E2FB-45A5-ACA2-B7245CAF99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56563" y="3809779"/>
            <a:ext cx="3527359" cy="2032221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pic>
        <p:nvPicPr>
          <p:cNvPr id="5" name="Elemento grafico 8">
            <a:extLst>
              <a:ext uri="{FF2B5EF4-FFF2-40B4-BE49-F238E27FC236}">
                <a16:creationId xmlns:a16="http://schemas.microsoft.com/office/drawing/2014/main" id="{E09D0E9B-0782-9024-9CCD-06268C942A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4872" y="6133169"/>
            <a:ext cx="576553" cy="498669"/>
          </a:xfrm>
          <a:prstGeom prst="rect">
            <a:avLst/>
          </a:prstGeom>
        </p:spPr>
      </p:pic>
      <p:pic>
        <p:nvPicPr>
          <p:cNvPr id="6" name="Immagine 5" descr="Immagine che contiene testo, Carattere, Elementi grafici, schermata&#10;&#10;Descrizione generata automaticamente">
            <a:extLst>
              <a:ext uri="{FF2B5EF4-FFF2-40B4-BE49-F238E27FC236}">
                <a16:creationId xmlns:a16="http://schemas.microsoft.com/office/drawing/2014/main" id="{1D8E1D72-82CF-F8FE-0686-852821FB31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7911" y="6108492"/>
            <a:ext cx="750338" cy="548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0807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ox testo+Immagine bas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immagine 5">
            <a:extLst>
              <a:ext uri="{FF2B5EF4-FFF2-40B4-BE49-F238E27FC236}">
                <a16:creationId xmlns:a16="http://schemas.microsoft.com/office/drawing/2014/main" id="{F13292F2-1BF2-B8BD-1602-0BC60ECED53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3429000"/>
            <a:ext cx="12192000" cy="3429000"/>
          </a:xfrm>
          <a:prstGeom prst="rect">
            <a:avLst/>
          </a:prstGeom>
          <a:noFill/>
        </p:spPr>
        <p:txBody>
          <a:bodyPr/>
          <a:lstStyle>
            <a:lvl1pPr algn="ctr">
              <a:defRPr sz="1200"/>
            </a:lvl1pPr>
          </a:lstStyle>
          <a:p>
            <a:endParaRPr lang="it-IT" dirty="0"/>
          </a:p>
          <a:p>
            <a:r>
              <a:rPr lang="it-IT" dirty="0"/>
              <a:t>Fare clic sull'icona per inserire un'immagine</a:t>
            </a:r>
          </a:p>
        </p:txBody>
      </p:sp>
      <p:sp>
        <p:nvSpPr>
          <p:cNvPr id="4" name="Titolo 5">
            <a:extLst>
              <a:ext uri="{FF2B5EF4-FFF2-40B4-BE49-F238E27FC236}">
                <a16:creationId xmlns:a16="http://schemas.microsoft.com/office/drawing/2014/main" id="{CFBF87AE-5816-7121-58BA-7A611F0B61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518884"/>
            <a:ext cx="10909300" cy="27699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it-IT" dirty="0"/>
              <a:t>Titolo Montserrat medium 20pt</a:t>
            </a:r>
          </a:p>
        </p:txBody>
      </p:sp>
      <p:sp>
        <p:nvSpPr>
          <p:cNvPr id="2" name="Segnaposto contenuto 2">
            <a:extLst>
              <a:ext uri="{FF2B5EF4-FFF2-40B4-BE49-F238E27FC236}">
                <a16:creationId xmlns:a16="http://schemas.microsoft.com/office/drawing/2014/main" id="{B16DA1B1-EFC7-590D-923C-774192643F49}"/>
              </a:ext>
            </a:extLst>
          </p:cNvPr>
          <p:cNvSpPr>
            <a:spLocks noGrp="1"/>
          </p:cNvSpPr>
          <p:nvPr>
            <p:ph idx="41" hasCustomPrompt="1"/>
          </p:nvPr>
        </p:nvSpPr>
        <p:spPr>
          <a:xfrm>
            <a:off x="658813" y="817735"/>
            <a:ext cx="10909300" cy="1661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spcBef>
                <a:spcPts val="0"/>
              </a:spcBef>
              <a:defRPr lang="it-IT" sz="1200" b="0" smtClean="0">
                <a:solidFill>
                  <a:schemeClr val="tx1"/>
                </a:solidFill>
                <a:latin typeface="Montserrat" pitchFamily="2" charset="0"/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Montserrat 12pt</a:t>
            </a:r>
          </a:p>
        </p:txBody>
      </p:sp>
      <p:sp>
        <p:nvSpPr>
          <p:cNvPr id="3" name="Segnaposto testo 20">
            <a:extLst>
              <a:ext uri="{FF2B5EF4-FFF2-40B4-BE49-F238E27FC236}">
                <a16:creationId xmlns:a16="http://schemas.microsoft.com/office/drawing/2014/main" id="{8812C2A1-CC64-FC4D-3494-56EEFDCA050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Formato data GG/MESE/AAAA</a:t>
            </a:r>
          </a:p>
        </p:txBody>
      </p:sp>
      <p:sp>
        <p:nvSpPr>
          <p:cNvPr id="7" name="Segnaposto testo 20">
            <a:extLst>
              <a:ext uri="{FF2B5EF4-FFF2-40B4-BE49-F238E27FC236}">
                <a16:creationId xmlns:a16="http://schemas.microsoft.com/office/drawing/2014/main" id="{559007E9-D6F3-A823-4174-E1CFD24E306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it-IT" dirty="0"/>
          </a:p>
        </p:txBody>
      </p:sp>
      <p:sp>
        <p:nvSpPr>
          <p:cNvPr id="8" name="Segnaposto testo 4">
            <a:extLst>
              <a:ext uri="{FF2B5EF4-FFF2-40B4-BE49-F238E27FC236}">
                <a16:creationId xmlns:a16="http://schemas.microsoft.com/office/drawing/2014/main" id="{5FC8D955-6CB9-5326-812A-3321B4B142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57688" y="1449389"/>
            <a:ext cx="3509929" cy="16748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01F57215-5195-A8E3-2771-241B809B5FC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5671" y="1449389"/>
            <a:ext cx="3509929" cy="16748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  <p:sp>
        <p:nvSpPr>
          <p:cNvPr id="13" name="Segnaposto testo 4">
            <a:extLst>
              <a:ext uri="{FF2B5EF4-FFF2-40B4-BE49-F238E27FC236}">
                <a16:creationId xmlns:a16="http://schemas.microsoft.com/office/drawing/2014/main" id="{F99504B4-C56E-E4EE-18CA-BEFDFDE60C4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56563" y="1449389"/>
            <a:ext cx="3527359" cy="1674812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>
              <a:lnSpc>
                <a:spcPct val="120000"/>
              </a:lnSpc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1pPr>
            <a:lvl2pPr marL="452437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200">
                <a:latin typeface="Montserrat" pitchFamily="2" charset="0"/>
              </a:defRPr>
            </a:lvl2pPr>
            <a:lvl3pPr marL="895350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>
                <a:latin typeface="Montserrat" pitchFamily="2" charset="0"/>
              </a:defRPr>
            </a:lvl3pPr>
            <a:lvl4pPr marL="1343025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>
                <a:latin typeface="Montserrat" pitchFamily="2" charset="0"/>
              </a:defRPr>
            </a:lvl4pPr>
            <a:lvl5pPr marL="1795462" indent="0"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>
                <a:latin typeface="Montserrat" pitchFamily="2" charset="0"/>
              </a:defRPr>
            </a:lvl5pPr>
          </a:lstStyle>
          <a:p>
            <a:pPr lvl="0"/>
            <a:r>
              <a:rPr lang="it-IT" dirty="0"/>
              <a:t>Corpo Montserrat 10/16 </a:t>
            </a:r>
            <a:r>
              <a:rPr lang="it-IT" dirty="0" err="1"/>
              <a:t>pt</a:t>
            </a:r>
            <a:r>
              <a:rPr lang="it-IT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154052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tags" Target="../tags/tag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51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tags" Target="../tags/tag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5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tags" Target="../tags/tag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60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image" Target="../media/image9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77B92ED-AEE8-4D98-21BA-15615209BC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980211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8" imgW="352" imgH="321" progId="TCLayout.ActiveDocument.1">
                  <p:embed/>
                </p:oleObj>
              </mc:Choice>
              <mc:Fallback>
                <p:oleObj name="Diapositiva think-cell" r:id="rId28" imgW="352" imgH="32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7B92ED-AEE8-4D98-21BA-15615209BC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37779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821" r:id="rId2"/>
    <p:sldLayoutId id="2147483739" r:id="rId3"/>
    <p:sldLayoutId id="2147483790" r:id="rId4"/>
    <p:sldLayoutId id="2147483811" r:id="rId5"/>
    <p:sldLayoutId id="2147483855" r:id="rId6"/>
    <p:sldLayoutId id="2147483851" r:id="rId7"/>
    <p:sldLayoutId id="2147483853" r:id="rId8"/>
    <p:sldLayoutId id="2147483854" r:id="rId9"/>
    <p:sldLayoutId id="2147483886" r:id="rId10"/>
    <p:sldLayoutId id="2147483887" r:id="rId11"/>
    <p:sldLayoutId id="2147483812" r:id="rId12"/>
    <p:sldLayoutId id="2147483791" r:id="rId13"/>
    <p:sldLayoutId id="2147483815" r:id="rId14"/>
    <p:sldLayoutId id="2147483937" r:id="rId15"/>
    <p:sldLayoutId id="2147483938" r:id="rId16"/>
    <p:sldLayoutId id="2147483804" r:id="rId17"/>
    <p:sldLayoutId id="2147483806" r:id="rId18"/>
    <p:sldLayoutId id="2147483939" r:id="rId19"/>
    <p:sldLayoutId id="2147483944" r:id="rId20"/>
    <p:sldLayoutId id="2147483889" r:id="rId21"/>
    <p:sldLayoutId id="2147483954" r:id="rId22"/>
    <p:sldLayoutId id="2147483956" r:id="rId23"/>
    <p:sldLayoutId id="2147483957" r:id="rId24"/>
    <p:sldLayoutId id="2147483958" r:id="rId25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Montserrat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Montserrat" pitchFamily="2" charset="0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Montserrat" pitchFamily="2" charset="0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Montserrat" pitchFamily="2" charset="0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Montserrat" pitchFamily="2" charset="0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Montserrat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624" userDrawn="1">
          <p15:clr>
            <a:srgbClr val="9FCC3B"/>
          </p15:clr>
        </p15:guide>
        <p15:guide id="4" orient="horz" pos="3861" userDrawn="1">
          <p15:clr>
            <a:srgbClr val="F26B43"/>
          </p15:clr>
        </p15:guide>
        <p15:guide id="5" pos="7287" userDrawn="1">
          <p15:clr>
            <a:srgbClr val="9FCC3B"/>
          </p15:clr>
        </p15:guide>
        <p15:guide id="6" pos="415" userDrawn="1">
          <p15:clr>
            <a:srgbClr val="9FCC3B"/>
          </p15:clr>
        </p15:guide>
        <p15:guide id="7" orient="horz" pos="459" userDrawn="1">
          <p15:clr>
            <a:srgbClr val="F26B43"/>
          </p15:clr>
        </p15:guide>
        <p15:guide id="8" orient="horz" pos="595" userDrawn="1">
          <p15:clr>
            <a:srgbClr val="F26B43"/>
          </p15:clr>
        </p15:guide>
        <p15:guide id="9" orient="horz" pos="913" userDrawn="1">
          <p15:clr>
            <a:srgbClr val="F26B43"/>
          </p15:clr>
        </p15:guide>
        <p15:guide id="10" orient="horz" pos="3680" userDrawn="1">
          <p15:clr>
            <a:srgbClr val="F26B43"/>
          </p15:clr>
        </p15:guide>
        <p15:guide id="14" pos="5016" userDrawn="1">
          <p15:clr>
            <a:srgbClr val="F26B43"/>
          </p15:clr>
        </p15:guide>
        <p15:guide id="15" pos="2745" userDrawn="1">
          <p15:clr>
            <a:srgbClr val="9FCC3B"/>
          </p15:clr>
        </p15:guide>
        <p15:guide id="19" pos="3848" userDrawn="1">
          <p15:clr>
            <a:srgbClr val="F26B43"/>
          </p15:clr>
        </p15:guide>
        <p15:guide id="20" pos="2683" userDrawn="1">
          <p15:clr>
            <a:srgbClr val="F26B43"/>
          </p15:clr>
        </p15:guide>
        <p15:guide id="21" pos="4951" userDrawn="1">
          <p15:clr>
            <a:srgbClr val="9FCC3B"/>
          </p15:clr>
        </p15:guide>
        <p15:guide id="22" pos="5075" userDrawn="1">
          <p15:clr>
            <a:srgbClr val="9FCC3B"/>
          </p15:clr>
        </p15:guide>
        <p15:guide id="23" orient="horz" pos="2160" userDrawn="1">
          <p15:clr>
            <a:srgbClr val="F26B43"/>
          </p15:clr>
        </p15:guide>
        <p15:guide id="24" orient="horz" pos="416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2F95A53-DE0D-878B-DF05-FF66E539A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797884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6" imgW="352" imgH="321" progId="TCLayout.ActiveDocument.1">
                  <p:embed/>
                </p:oleObj>
              </mc:Choice>
              <mc:Fallback>
                <p:oleObj name="Diapositiva think-cell" r:id="rId26" imgW="352" imgH="32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F95A53-DE0D-878B-DF05-FF66E539A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293218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5" r:id="rId7"/>
    <p:sldLayoutId id="2147483916" r:id="rId8"/>
    <p:sldLayoutId id="2147483917" r:id="rId9"/>
    <p:sldLayoutId id="2147483919" r:id="rId10"/>
    <p:sldLayoutId id="2147483946" r:id="rId11"/>
    <p:sldLayoutId id="2147483947" r:id="rId12"/>
    <p:sldLayoutId id="2147483948" r:id="rId13"/>
    <p:sldLayoutId id="2147483949" r:id="rId14"/>
    <p:sldLayoutId id="2147483950" r:id="rId15"/>
    <p:sldLayoutId id="2147483920" r:id="rId16"/>
    <p:sldLayoutId id="2147483921" r:id="rId17"/>
    <p:sldLayoutId id="2147483945" r:id="rId18"/>
    <p:sldLayoutId id="2147483923" r:id="rId19"/>
    <p:sldLayoutId id="2147483926" r:id="rId20"/>
    <p:sldLayoutId id="2147483927" r:id="rId21"/>
    <p:sldLayoutId id="2147483940" r:id="rId22"/>
    <p:sldLayoutId id="2147483929" r:id="rId23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Montserrat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Montserrat" pitchFamily="2" charset="0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Montserrat" pitchFamily="2" charset="0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Montserrat" pitchFamily="2" charset="0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Montserrat" pitchFamily="2" charset="0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Montserrat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624" userDrawn="1">
          <p15:clr>
            <a:srgbClr val="9FCC3B"/>
          </p15:clr>
        </p15:guide>
        <p15:guide id="4" orient="horz" pos="3906" userDrawn="1">
          <p15:clr>
            <a:srgbClr val="F26B43"/>
          </p15:clr>
        </p15:guide>
        <p15:guide id="5" pos="7287" userDrawn="1">
          <p15:clr>
            <a:srgbClr val="9FCC3B"/>
          </p15:clr>
        </p15:guide>
        <p15:guide id="6" pos="415" userDrawn="1">
          <p15:clr>
            <a:srgbClr val="9FCC3B"/>
          </p15:clr>
        </p15:guide>
        <p15:guide id="7" orient="horz" pos="459" userDrawn="1">
          <p15:clr>
            <a:srgbClr val="F26B43"/>
          </p15:clr>
        </p15:guide>
        <p15:guide id="8" orient="horz" pos="595" userDrawn="1">
          <p15:clr>
            <a:srgbClr val="F26B43"/>
          </p15:clr>
        </p15:guide>
        <p15:guide id="9" orient="horz" pos="913" userDrawn="1">
          <p15:clr>
            <a:srgbClr val="F26B43"/>
          </p15:clr>
        </p15:guide>
        <p15:guide id="10" orient="horz" pos="3702" userDrawn="1">
          <p15:clr>
            <a:srgbClr val="F26B43"/>
          </p15:clr>
        </p15:guide>
        <p15:guide id="14" pos="5016" userDrawn="1">
          <p15:clr>
            <a:srgbClr val="F26B43"/>
          </p15:clr>
        </p15:guide>
        <p15:guide id="15" pos="2745" userDrawn="1">
          <p15:clr>
            <a:srgbClr val="9FCC3B"/>
          </p15:clr>
        </p15:guide>
        <p15:guide id="19" pos="3848" userDrawn="1">
          <p15:clr>
            <a:srgbClr val="F26B43"/>
          </p15:clr>
        </p15:guide>
        <p15:guide id="20" pos="2683" userDrawn="1">
          <p15:clr>
            <a:srgbClr val="F26B43"/>
          </p15:clr>
        </p15:guide>
        <p15:guide id="21" pos="4951" userDrawn="1">
          <p15:clr>
            <a:srgbClr val="9FCC3B"/>
          </p15:clr>
        </p15:guide>
        <p15:guide id="22" pos="5075" userDrawn="1">
          <p15:clr>
            <a:srgbClr val="9FCC3B"/>
          </p15:clr>
        </p15:guide>
        <p15:guide id="23" orient="horz" pos="2160" userDrawn="1">
          <p15:clr>
            <a:srgbClr val="F26B43"/>
          </p15:clr>
        </p15:guide>
        <p15:guide id="24" orient="horz" pos="4128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6CAD4E3-F3AA-152F-4C73-0B52047C20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07613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7" imgW="352" imgH="321" progId="TCLayout.ActiveDocument.1">
                  <p:embed/>
                </p:oleObj>
              </mc:Choice>
              <mc:Fallback>
                <p:oleObj name="Diapositiva think-cell" r:id="rId7" imgW="352" imgH="32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CAD4E3-F3AA-152F-4C73-0B52047C2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82441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942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913" userDrawn="1">
          <p15:clr>
            <a:srgbClr val="F26B43"/>
          </p15:clr>
        </p15:guide>
        <p15:guide id="4" orient="horz" pos="595" userDrawn="1">
          <p15:clr>
            <a:srgbClr val="F26B43"/>
          </p15:clr>
        </p15:guide>
        <p15:guide id="5" orient="horz" pos="459" userDrawn="1">
          <p15:clr>
            <a:srgbClr val="F26B43"/>
          </p15:clr>
        </p15:guide>
        <p15:guide id="6" pos="4951" userDrawn="1">
          <p15:clr>
            <a:srgbClr val="F26B43"/>
          </p15:clr>
        </p15:guide>
        <p15:guide id="7" pos="5076" userDrawn="1">
          <p15:clr>
            <a:srgbClr val="F26B43"/>
          </p15:clr>
        </p15:guide>
        <p15:guide id="8" pos="2752" userDrawn="1">
          <p15:clr>
            <a:srgbClr val="F26B43"/>
          </p15:clr>
        </p15:guide>
        <p15:guide id="9" pos="2626" userDrawn="1">
          <p15:clr>
            <a:srgbClr val="F26B43"/>
          </p15:clr>
        </p15:guide>
        <p15:guide id="10" pos="2686" userDrawn="1">
          <p15:clr>
            <a:srgbClr val="F26B43"/>
          </p15:clr>
        </p15:guide>
        <p15:guide id="11" pos="5014" userDrawn="1">
          <p15:clr>
            <a:srgbClr val="F26B43"/>
          </p15:clr>
        </p15:guide>
        <p15:guide id="12" orient="horz" pos="3702" userDrawn="1">
          <p15:clr>
            <a:srgbClr val="F26B43"/>
          </p15:clr>
        </p15:guide>
        <p15:guide id="13" orient="horz" pos="3906" userDrawn="1">
          <p15:clr>
            <a:srgbClr val="F26B43"/>
          </p15:clr>
        </p15:guide>
        <p15:guide id="14" orient="horz" pos="4128" userDrawn="1">
          <p15:clr>
            <a:srgbClr val="F26B43"/>
          </p15:clr>
        </p15:guide>
        <p15:guide id="15" pos="7287" userDrawn="1">
          <p15:clr>
            <a:srgbClr val="F26B43"/>
          </p15:clr>
        </p15:guide>
        <p15:guide id="16" pos="415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86DF8A0-830E-5CCE-2EEE-38AB4DFB4F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09200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352" imgH="321" progId="TCLayout.ActiveDocument.1">
                  <p:embed/>
                </p:oleObj>
              </mc:Choice>
              <mc:Fallback>
                <p:oleObj name="Diapositiva think-cell" r:id="rId4" imgW="352" imgH="32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6DF8A0-830E-5CCE-2EEE-38AB4DFB4F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76673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65" userDrawn="1">
          <p15:clr>
            <a:srgbClr val="F26B43"/>
          </p15:clr>
        </p15:guide>
        <p15:guide id="6" pos="415" userDrawn="1">
          <p15:clr>
            <a:srgbClr val="F26B43"/>
          </p15:clr>
        </p15:guide>
        <p15:guide id="8" pos="3840" userDrawn="1">
          <p15:clr>
            <a:srgbClr val="F26B43"/>
          </p15:clr>
        </p15:guide>
        <p15:guide id="9" pos="2126" userDrawn="1">
          <p15:clr>
            <a:srgbClr val="F26B43"/>
          </p15:clr>
        </p15:guide>
        <p15:guide id="10" pos="5549" userDrawn="1">
          <p15:clr>
            <a:srgbClr val="F26B43"/>
          </p15:clr>
        </p15:guide>
        <p15:guide id="11" orient="horz" pos="41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CBE9978-ED34-2DCF-C88E-37C0300119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09749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352" imgH="321" progId="TCLayout.ActiveDocument.1">
                  <p:embed/>
                </p:oleObj>
              </mc:Choice>
              <mc:Fallback>
                <p:oleObj name="Diapositiva think-cell" r:id="rId5" imgW="352" imgH="32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CBE9978-ED34-2DCF-C88E-37C0300119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16851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31" r:id="rId2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orient="horz" pos="3702" userDrawn="1">
          <p15:clr>
            <a:srgbClr val="F26B43"/>
          </p15:clr>
        </p15:guide>
        <p15:guide id="4" orient="horz" pos="3906" userDrawn="1">
          <p15:clr>
            <a:srgbClr val="F26B43"/>
          </p15:clr>
        </p15:guide>
        <p15:guide id="5" pos="7265" userDrawn="1">
          <p15:clr>
            <a:srgbClr val="F26B43"/>
          </p15:clr>
        </p15:guide>
        <p15:guide id="6" pos="415" userDrawn="1">
          <p15:clr>
            <a:srgbClr val="F26B43"/>
          </p15:clr>
        </p15:guide>
        <p15:guide id="7" orient="horz" pos="1185" userDrawn="1">
          <p15:clr>
            <a:srgbClr val="F26B43"/>
          </p15:clr>
        </p15:guide>
        <p15:guide id="8" pos="5019" userDrawn="1">
          <p15:clr>
            <a:srgbClr val="F26B43"/>
          </p15:clr>
        </p15:guide>
        <p15:guide id="9" pos="4929" userDrawn="1">
          <p15:clr>
            <a:srgbClr val="F26B43"/>
          </p15:clr>
        </p15:guide>
        <p15:guide id="10" pos="2751" userDrawn="1">
          <p15:clr>
            <a:srgbClr val="F26B43"/>
          </p15:clr>
        </p15:guide>
        <p15:guide id="11" pos="2661" userDrawn="1">
          <p15:clr>
            <a:srgbClr val="F26B43"/>
          </p15:clr>
        </p15:guide>
        <p15:guide id="12" orient="horz" pos="913" userDrawn="1">
          <p15:clr>
            <a:srgbClr val="F26B43"/>
          </p15:clr>
        </p15:guide>
        <p15:guide id="13" orient="horz" pos="709" userDrawn="1">
          <p15:clr>
            <a:srgbClr val="F26B43"/>
          </p15:clr>
        </p15:guide>
        <p15:guide id="14" orient="horz" pos="414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CF08C47-3CF3-286B-2E5D-436A0866A5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53008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2" imgW="352" imgH="321" progId="TCLayout.ActiveDocument.1">
                  <p:embed/>
                </p:oleObj>
              </mc:Choice>
              <mc:Fallback>
                <p:oleObj name="Diapositiva think-cell" r:id="rId12" imgW="352" imgH="32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F08C47-3CF3-286B-2E5D-436A0866A5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Immagine 23">
            <a:extLst>
              <a:ext uri="{FF2B5EF4-FFF2-40B4-BE49-F238E27FC236}">
                <a16:creationId xmlns:a16="http://schemas.microsoft.com/office/drawing/2014/main" id="{95C7A6C0-B6C5-D9FF-E99C-58CCE8D0A5C9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80999" y="4813301"/>
            <a:ext cx="12877410" cy="207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835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817" r:id="rId3"/>
    <p:sldLayoutId id="2147483936" r:id="rId4"/>
    <p:sldLayoutId id="2147483803" r:id="rId5"/>
    <p:sldLayoutId id="2147483879" r:id="rId6"/>
    <p:sldLayoutId id="2147483951" r:id="rId7"/>
    <p:sldLayoutId id="2147483952" r:id="rId8"/>
    <p:sldLayoutId id="2147483953" r:id="rId9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06" userDrawn="1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702" userDrawn="1">
          <p15:clr>
            <a:srgbClr val="F26B43"/>
          </p15:clr>
        </p15:guide>
        <p15:guide id="5" pos="7265" userDrawn="1">
          <p15:clr>
            <a:srgbClr val="F26B43"/>
          </p15:clr>
        </p15:guide>
        <p15:guide id="6" pos="415" userDrawn="1">
          <p15:clr>
            <a:srgbClr val="F26B43"/>
          </p15:clr>
        </p15:guide>
        <p15:guide id="7" orient="horz" pos="1185" userDrawn="1">
          <p15:clr>
            <a:srgbClr val="F26B43"/>
          </p15:clr>
        </p15:guide>
        <p15:guide id="8" orient="horz" pos="913" userDrawn="1">
          <p15:clr>
            <a:srgbClr val="F26B43"/>
          </p15:clr>
        </p15:guide>
        <p15:guide id="9" orient="horz" pos="709" userDrawn="1">
          <p15:clr>
            <a:srgbClr val="F26B43"/>
          </p15:clr>
        </p15:guide>
        <p15:guide id="10" orient="horz" pos="414" userDrawn="1">
          <p15:clr>
            <a:srgbClr val="F26B43"/>
          </p15:clr>
        </p15:guide>
        <p15:guide id="11" pos="2661" userDrawn="1">
          <p15:clr>
            <a:srgbClr val="F26B43"/>
          </p15:clr>
        </p15:guide>
        <p15:guide id="12" pos="2751" userDrawn="1">
          <p15:clr>
            <a:srgbClr val="F26B43"/>
          </p15:clr>
        </p15:guide>
        <p15:guide id="13" pos="4929" userDrawn="1">
          <p15:clr>
            <a:srgbClr val="F26B43"/>
          </p15:clr>
        </p15:guide>
        <p15:guide id="14" pos="501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jpeg"/><Relationship Id="rId13" Type="http://schemas.openxmlformats.org/officeDocument/2006/relationships/image" Target="../media/image133.jpeg"/><Relationship Id="rId18" Type="http://schemas.openxmlformats.org/officeDocument/2006/relationships/image" Target="../media/image137.jpeg"/><Relationship Id="rId26" Type="http://schemas.openxmlformats.org/officeDocument/2006/relationships/image" Target="../media/image145.jpg"/><Relationship Id="rId3" Type="http://schemas.openxmlformats.org/officeDocument/2006/relationships/image" Target="../media/image123.jpeg"/><Relationship Id="rId21" Type="http://schemas.openxmlformats.org/officeDocument/2006/relationships/image" Target="../media/image140.jpeg"/><Relationship Id="rId7" Type="http://schemas.openxmlformats.org/officeDocument/2006/relationships/image" Target="../media/image127.jpeg"/><Relationship Id="rId12" Type="http://schemas.openxmlformats.org/officeDocument/2006/relationships/image" Target="../media/image132.jpeg"/><Relationship Id="rId17" Type="http://schemas.openxmlformats.org/officeDocument/2006/relationships/image" Target="../media/image136.png"/><Relationship Id="rId25" Type="http://schemas.openxmlformats.org/officeDocument/2006/relationships/image" Target="../media/image144.png"/><Relationship Id="rId2" Type="http://schemas.openxmlformats.org/officeDocument/2006/relationships/notesSlide" Target="../notesSlides/notesSlide2.xml"/><Relationship Id="rId16" Type="http://schemas.openxmlformats.org/officeDocument/2006/relationships/hyperlink" Target="https://www.google.it/url?sa=i&amp;url=https%3A%2F%2Flogos-download.com%2F34654-c2c-logo-download.html&amp;psig=AOvVaw3zftbDFZNJTZg19CnfVzbo&amp;ust=1580755341553000&amp;source=images&amp;cd=vfe&amp;ved=0CAIQjRxqFwoTCMjLotbCs-cCFQAAAAAdAAAAABAD" TargetMode="External"/><Relationship Id="rId20" Type="http://schemas.openxmlformats.org/officeDocument/2006/relationships/image" Target="../media/image13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6.jpeg"/><Relationship Id="rId11" Type="http://schemas.openxmlformats.org/officeDocument/2006/relationships/image" Target="../media/image131.jpeg"/><Relationship Id="rId24" Type="http://schemas.openxmlformats.org/officeDocument/2006/relationships/image" Target="../media/image143.png"/><Relationship Id="rId5" Type="http://schemas.openxmlformats.org/officeDocument/2006/relationships/image" Target="../media/image125.jpeg"/><Relationship Id="rId15" Type="http://schemas.openxmlformats.org/officeDocument/2006/relationships/image" Target="../media/image135.png"/><Relationship Id="rId23" Type="http://schemas.openxmlformats.org/officeDocument/2006/relationships/image" Target="../media/image142.jpeg"/><Relationship Id="rId28" Type="http://schemas.openxmlformats.org/officeDocument/2006/relationships/image" Target="../media/image64.png"/><Relationship Id="rId10" Type="http://schemas.openxmlformats.org/officeDocument/2006/relationships/image" Target="../media/image130.jpeg"/><Relationship Id="rId19" Type="http://schemas.openxmlformats.org/officeDocument/2006/relationships/image" Target="../media/image138.jpeg"/><Relationship Id="rId4" Type="http://schemas.openxmlformats.org/officeDocument/2006/relationships/image" Target="../media/image124.jpeg"/><Relationship Id="rId9" Type="http://schemas.openxmlformats.org/officeDocument/2006/relationships/image" Target="../media/image129.jpeg"/><Relationship Id="rId14" Type="http://schemas.openxmlformats.org/officeDocument/2006/relationships/image" Target="../media/image134.jpeg"/><Relationship Id="rId22" Type="http://schemas.openxmlformats.org/officeDocument/2006/relationships/image" Target="../media/image141.jpeg"/><Relationship Id="rId27" Type="http://schemas.openxmlformats.org/officeDocument/2006/relationships/image" Target="../media/image6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9.jpeg"/><Relationship Id="rId3" Type="http://schemas.openxmlformats.org/officeDocument/2006/relationships/oleObject" Target="../embeddings/oleObject15.bin"/><Relationship Id="rId7" Type="http://schemas.openxmlformats.org/officeDocument/2006/relationships/image" Target="../media/image148.pn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6.xml"/><Relationship Id="rId6" Type="http://schemas.openxmlformats.org/officeDocument/2006/relationships/image" Target="../media/image147.png"/><Relationship Id="rId5" Type="http://schemas.openxmlformats.org/officeDocument/2006/relationships/image" Target="../media/image146.png"/><Relationship Id="rId4" Type="http://schemas.openxmlformats.org/officeDocument/2006/relationships/image" Target="../media/image1.emf"/><Relationship Id="rId9" Type="http://schemas.openxmlformats.org/officeDocument/2006/relationships/image" Target="../media/image15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4.svg"/><Relationship Id="rId13" Type="http://schemas.openxmlformats.org/officeDocument/2006/relationships/image" Target="../media/image159.png"/><Relationship Id="rId18" Type="http://schemas.openxmlformats.org/officeDocument/2006/relationships/image" Target="../media/image164.sv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153.png"/><Relationship Id="rId12" Type="http://schemas.openxmlformats.org/officeDocument/2006/relationships/image" Target="../media/image158.svg"/><Relationship Id="rId17" Type="http://schemas.openxmlformats.org/officeDocument/2006/relationships/image" Target="../media/image16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62.svg"/><Relationship Id="rId20" Type="http://schemas.openxmlformats.org/officeDocument/2006/relationships/image" Target="../media/image166.svg"/><Relationship Id="rId1" Type="http://schemas.openxmlformats.org/officeDocument/2006/relationships/tags" Target="../tags/tag17.xml"/><Relationship Id="rId6" Type="http://schemas.openxmlformats.org/officeDocument/2006/relationships/image" Target="../media/image152.png"/><Relationship Id="rId11" Type="http://schemas.openxmlformats.org/officeDocument/2006/relationships/image" Target="../media/image157.png"/><Relationship Id="rId5" Type="http://schemas.openxmlformats.org/officeDocument/2006/relationships/image" Target="../media/image151.png"/><Relationship Id="rId15" Type="http://schemas.openxmlformats.org/officeDocument/2006/relationships/image" Target="../media/image161.png"/><Relationship Id="rId10" Type="http://schemas.openxmlformats.org/officeDocument/2006/relationships/image" Target="../media/image156.svg"/><Relationship Id="rId19" Type="http://schemas.openxmlformats.org/officeDocument/2006/relationships/image" Target="../media/image165.png"/><Relationship Id="rId4" Type="http://schemas.openxmlformats.org/officeDocument/2006/relationships/image" Target="../media/image13.emf"/><Relationship Id="rId9" Type="http://schemas.openxmlformats.org/officeDocument/2006/relationships/image" Target="../media/image155.png"/><Relationship Id="rId14" Type="http://schemas.openxmlformats.org/officeDocument/2006/relationships/image" Target="../media/image160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png"/><Relationship Id="rId2" Type="http://schemas.openxmlformats.org/officeDocument/2006/relationships/image" Target="../media/image16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0.png"/><Relationship Id="rId4" Type="http://schemas.openxmlformats.org/officeDocument/2006/relationships/image" Target="../media/image16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8.xml"/><Relationship Id="rId4" Type="http://schemas.openxmlformats.org/officeDocument/2006/relationships/image" Target="../media/image13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2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7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151.png"/><Relationship Id="rId11" Type="http://schemas.openxmlformats.org/officeDocument/2006/relationships/image" Target="../media/image175.png"/><Relationship Id="rId5" Type="http://schemas.openxmlformats.org/officeDocument/2006/relationships/image" Target="../media/image13.emf"/><Relationship Id="rId10" Type="http://schemas.openxmlformats.org/officeDocument/2006/relationships/image" Target="../media/image174.pn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17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9.xml"/><Relationship Id="rId4" Type="http://schemas.openxmlformats.org/officeDocument/2006/relationships/image" Target="../media/image13.emf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26" Type="http://schemas.openxmlformats.org/officeDocument/2006/relationships/image" Target="../media/image34.png"/><Relationship Id="rId39" Type="http://schemas.openxmlformats.org/officeDocument/2006/relationships/image" Target="../media/image47.png"/><Relationship Id="rId21" Type="http://schemas.openxmlformats.org/officeDocument/2006/relationships/image" Target="../media/image29.png"/><Relationship Id="rId34" Type="http://schemas.openxmlformats.org/officeDocument/2006/relationships/image" Target="../media/image42.png"/><Relationship Id="rId42" Type="http://schemas.openxmlformats.org/officeDocument/2006/relationships/image" Target="../media/image50.png"/><Relationship Id="rId47" Type="http://schemas.openxmlformats.org/officeDocument/2006/relationships/image" Target="../media/image55.png"/><Relationship Id="rId50" Type="http://schemas.openxmlformats.org/officeDocument/2006/relationships/image" Target="../media/image58.png"/><Relationship Id="rId55" Type="http://schemas.openxmlformats.org/officeDocument/2006/relationships/image" Target="../media/image63.png"/><Relationship Id="rId63" Type="http://schemas.openxmlformats.org/officeDocument/2006/relationships/image" Target="../media/image71.jpeg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24.png"/><Relationship Id="rId29" Type="http://schemas.openxmlformats.org/officeDocument/2006/relationships/image" Target="../media/image37.png"/><Relationship Id="rId11" Type="http://schemas.openxmlformats.org/officeDocument/2006/relationships/image" Target="../media/image19.png"/><Relationship Id="rId24" Type="http://schemas.openxmlformats.org/officeDocument/2006/relationships/image" Target="../media/image32.png"/><Relationship Id="rId32" Type="http://schemas.openxmlformats.org/officeDocument/2006/relationships/image" Target="../media/image40.png"/><Relationship Id="rId37" Type="http://schemas.openxmlformats.org/officeDocument/2006/relationships/image" Target="../media/image45.png"/><Relationship Id="rId40" Type="http://schemas.openxmlformats.org/officeDocument/2006/relationships/image" Target="../media/image48.png"/><Relationship Id="rId45" Type="http://schemas.openxmlformats.org/officeDocument/2006/relationships/image" Target="../media/image53.png"/><Relationship Id="rId53" Type="http://schemas.openxmlformats.org/officeDocument/2006/relationships/image" Target="../media/image61.png"/><Relationship Id="rId58" Type="http://schemas.openxmlformats.org/officeDocument/2006/relationships/image" Target="../media/image66.png"/><Relationship Id="rId5" Type="http://schemas.openxmlformats.org/officeDocument/2006/relationships/image" Target="../media/image13.emf"/><Relationship Id="rId61" Type="http://schemas.openxmlformats.org/officeDocument/2006/relationships/image" Target="../media/image69.png"/><Relationship Id="rId19" Type="http://schemas.openxmlformats.org/officeDocument/2006/relationships/image" Target="../media/image27.png"/><Relationship Id="rId14" Type="http://schemas.openxmlformats.org/officeDocument/2006/relationships/image" Target="../media/image22.png"/><Relationship Id="rId22" Type="http://schemas.openxmlformats.org/officeDocument/2006/relationships/image" Target="../media/image30.png"/><Relationship Id="rId27" Type="http://schemas.openxmlformats.org/officeDocument/2006/relationships/image" Target="../media/image35.png"/><Relationship Id="rId30" Type="http://schemas.openxmlformats.org/officeDocument/2006/relationships/image" Target="../media/image38.png"/><Relationship Id="rId35" Type="http://schemas.openxmlformats.org/officeDocument/2006/relationships/image" Target="../media/image43.png"/><Relationship Id="rId43" Type="http://schemas.openxmlformats.org/officeDocument/2006/relationships/image" Target="../media/image51.png"/><Relationship Id="rId48" Type="http://schemas.openxmlformats.org/officeDocument/2006/relationships/image" Target="../media/image56.png"/><Relationship Id="rId56" Type="http://schemas.openxmlformats.org/officeDocument/2006/relationships/image" Target="../media/image64.png"/><Relationship Id="rId8" Type="http://schemas.openxmlformats.org/officeDocument/2006/relationships/image" Target="../media/image16.png"/><Relationship Id="rId51" Type="http://schemas.openxmlformats.org/officeDocument/2006/relationships/image" Target="../media/image59.png"/><Relationship Id="rId3" Type="http://schemas.openxmlformats.org/officeDocument/2006/relationships/notesSlide" Target="../notesSlides/notesSlide1.xml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5" Type="http://schemas.openxmlformats.org/officeDocument/2006/relationships/image" Target="../media/image33.png"/><Relationship Id="rId33" Type="http://schemas.openxmlformats.org/officeDocument/2006/relationships/image" Target="../media/image41.png"/><Relationship Id="rId38" Type="http://schemas.openxmlformats.org/officeDocument/2006/relationships/image" Target="../media/image46.png"/><Relationship Id="rId46" Type="http://schemas.openxmlformats.org/officeDocument/2006/relationships/image" Target="../media/image54.png"/><Relationship Id="rId59" Type="http://schemas.openxmlformats.org/officeDocument/2006/relationships/image" Target="../media/image67.png"/><Relationship Id="rId20" Type="http://schemas.openxmlformats.org/officeDocument/2006/relationships/image" Target="../media/image28.png"/><Relationship Id="rId41" Type="http://schemas.openxmlformats.org/officeDocument/2006/relationships/image" Target="../media/image49.png"/><Relationship Id="rId54" Type="http://schemas.openxmlformats.org/officeDocument/2006/relationships/image" Target="../media/image62.png"/><Relationship Id="rId62" Type="http://schemas.openxmlformats.org/officeDocument/2006/relationships/image" Target="../media/image70.png"/><Relationship Id="rId1" Type="http://schemas.openxmlformats.org/officeDocument/2006/relationships/tags" Target="../tags/tag10.xml"/><Relationship Id="rId6" Type="http://schemas.openxmlformats.org/officeDocument/2006/relationships/image" Target="../media/image14.png"/><Relationship Id="rId15" Type="http://schemas.openxmlformats.org/officeDocument/2006/relationships/image" Target="../media/image23.png"/><Relationship Id="rId23" Type="http://schemas.openxmlformats.org/officeDocument/2006/relationships/image" Target="../media/image31.png"/><Relationship Id="rId28" Type="http://schemas.openxmlformats.org/officeDocument/2006/relationships/image" Target="../media/image36.png"/><Relationship Id="rId36" Type="http://schemas.openxmlformats.org/officeDocument/2006/relationships/image" Target="../media/image44.png"/><Relationship Id="rId49" Type="http://schemas.openxmlformats.org/officeDocument/2006/relationships/image" Target="../media/image57.png"/><Relationship Id="rId57" Type="http://schemas.openxmlformats.org/officeDocument/2006/relationships/image" Target="../media/image65.jpg"/><Relationship Id="rId10" Type="http://schemas.openxmlformats.org/officeDocument/2006/relationships/image" Target="../media/image18.png"/><Relationship Id="rId31" Type="http://schemas.openxmlformats.org/officeDocument/2006/relationships/image" Target="../media/image39.png"/><Relationship Id="rId44" Type="http://schemas.openxmlformats.org/officeDocument/2006/relationships/image" Target="../media/image52.png"/><Relationship Id="rId52" Type="http://schemas.openxmlformats.org/officeDocument/2006/relationships/image" Target="../media/image60.png"/><Relationship Id="rId60" Type="http://schemas.openxmlformats.org/officeDocument/2006/relationships/image" Target="../media/image68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80.png"/><Relationship Id="rId18" Type="http://schemas.openxmlformats.org/officeDocument/2006/relationships/image" Target="../media/image85.png"/><Relationship Id="rId26" Type="http://schemas.openxmlformats.org/officeDocument/2006/relationships/image" Target="../media/image93.png"/><Relationship Id="rId39" Type="http://schemas.openxmlformats.org/officeDocument/2006/relationships/image" Target="../media/image106.png"/><Relationship Id="rId21" Type="http://schemas.openxmlformats.org/officeDocument/2006/relationships/image" Target="../media/image88.png"/><Relationship Id="rId34" Type="http://schemas.openxmlformats.org/officeDocument/2006/relationships/image" Target="../media/image101.png"/><Relationship Id="rId42" Type="http://schemas.openxmlformats.org/officeDocument/2006/relationships/image" Target="../media/image109.png"/><Relationship Id="rId47" Type="http://schemas.openxmlformats.org/officeDocument/2006/relationships/image" Target="../media/image114.jpeg"/><Relationship Id="rId7" Type="http://schemas.openxmlformats.org/officeDocument/2006/relationships/image" Target="../media/image7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83.png"/><Relationship Id="rId29" Type="http://schemas.openxmlformats.org/officeDocument/2006/relationships/image" Target="../media/image96.png"/><Relationship Id="rId1" Type="http://schemas.openxmlformats.org/officeDocument/2006/relationships/tags" Target="../tags/tag11.xml"/><Relationship Id="rId6" Type="http://schemas.openxmlformats.org/officeDocument/2006/relationships/image" Target="../media/image73.png"/><Relationship Id="rId11" Type="http://schemas.openxmlformats.org/officeDocument/2006/relationships/image" Target="../media/image78.png"/><Relationship Id="rId24" Type="http://schemas.openxmlformats.org/officeDocument/2006/relationships/image" Target="../media/image91.png"/><Relationship Id="rId32" Type="http://schemas.openxmlformats.org/officeDocument/2006/relationships/image" Target="../media/image99.png"/><Relationship Id="rId37" Type="http://schemas.openxmlformats.org/officeDocument/2006/relationships/image" Target="../media/image104.png"/><Relationship Id="rId40" Type="http://schemas.openxmlformats.org/officeDocument/2006/relationships/image" Target="../media/image107.png"/><Relationship Id="rId45" Type="http://schemas.openxmlformats.org/officeDocument/2006/relationships/image" Target="../media/image112.jpeg"/><Relationship Id="rId5" Type="http://schemas.openxmlformats.org/officeDocument/2006/relationships/image" Target="../media/image72.png"/><Relationship Id="rId15" Type="http://schemas.openxmlformats.org/officeDocument/2006/relationships/image" Target="../media/image82.png"/><Relationship Id="rId23" Type="http://schemas.openxmlformats.org/officeDocument/2006/relationships/image" Target="../media/image90.png"/><Relationship Id="rId28" Type="http://schemas.openxmlformats.org/officeDocument/2006/relationships/image" Target="../media/image95.png"/><Relationship Id="rId36" Type="http://schemas.openxmlformats.org/officeDocument/2006/relationships/image" Target="../media/image103.png"/><Relationship Id="rId10" Type="http://schemas.openxmlformats.org/officeDocument/2006/relationships/image" Target="../media/image77.png"/><Relationship Id="rId19" Type="http://schemas.openxmlformats.org/officeDocument/2006/relationships/image" Target="../media/image86.png"/><Relationship Id="rId31" Type="http://schemas.openxmlformats.org/officeDocument/2006/relationships/image" Target="../media/image98.png"/><Relationship Id="rId44" Type="http://schemas.openxmlformats.org/officeDocument/2006/relationships/image" Target="../media/image111.jpeg"/><Relationship Id="rId4" Type="http://schemas.openxmlformats.org/officeDocument/2006/relationships/image" Target="../media/image13.emf"/><Relationship Id="rId9" Type="http://schemas.openxmlformats.org/officeDocument/2006/relationships/image" Target="../media/image76.png"/><Relationship Id="rId14" Type="http://schemas.openxmlformats.org/officeDocument/2006/relationships/image" Target="../media/image81.png"/><Relationship Id="rId22" Type="http://schemas.openxmlformats.org/officeDocument/2006/relationships/image" Target="../media/image89.png"/><Relationship Id="rId27" Type="http://schemas.openxmlformats.org/officeDocument/2006/relationships/image" Target="../media/image94.png"/><Relationship Id="rId30" Type="http://schemas.openxmlformats.org/officeDocument/2006/relationships/image" Target="../media/image97.png"/><Relationship Id="rId35" Type="http://schemas.openxmlformats.org/officeDocument/2006/relationships/image" Target="../media/image102.png"/><Relationship Id="rId43" Type="http://schemas.openxmlformats.org/officeDocument/2006/relationships/image" Target="../media/image110.png"/><Relationship Id="rId48" Type="http://schemas.openxmlformats.org/officeDocument/2006/relationships/image" Target="../media/image115.jpeg"/><Relationship Id="rId8" Type="http://schemas.openxmlformats.org/officeDocument/2006/relationships/image" Target="../media/image75.png"/><Relationship Id="rId3" Type="http://schemas.openxmlformats.org/officeDocument/2006/relationships/oleObject" Target="../embeddings/oleObject10.bin"/><Relationship Id="rId12" Type="http://schemas.openxmlformats.org/officeDocument/2006/relationships/image" Target="../media/image79.png"/><Relationship Id="rId17" Type="http://schemas.openxmlformats.org/officeDocument/2006/relationships/image" Target="../media/image84.png"/><Relationship Id="rId25" Type="http://schemas.openxmlformats.org/officeDocument/2006/relationships/image" Target="../media/image92.png"/><Relationship Id="rId33" Type="http://schemas.openxmlformats.org/officeDocument/2006/relationships/image" Target="../media/image100.png"/><Relationship Id="rId38" Type="http://schemas.openxmlformats.org/officeDocument/2006/relationships/image" Target="../media/image105.png"/><Relationship Id="rId46" Type="http://schemas.openxmlformats.org/officeDocument/2006/relationships/image" Target="../media/image113.jpeg"/><Relationship Id="rId20" Type="http://schemas.openxmlformats.org/officeDocument/2006/relationships/image" Target="../media/image87.png"/><Relationship Id="rId41" Type="http://schemas.openxmlformats.org/officeDocument/2006/relationships/image" Target="../media/image10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9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6" Type="http://schemas.openxmlformats.org/officeDocument/2006/relationships/image" Target="../media/image117.svg"/><Relationship Id="rId5" Type="http://schemas.openxmlformats.org/officeDocument/2006/relationships/image" Target="../media/image116.png"/><Relationship Id="rId4" Type="http://schemas.openxmlformats.org/officeDocument/2006/relationships/image" Target="../media/image13.emf"/><Relationship Id="rId9" Type="http://schemas.openxmlformats.org/officeDocument/2006/relationships/image" Target="../media/image1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3.xml"/><Relationship Id="rId4" Type="http://schemas.openxmlformats.org/officeDocument/2006/relationships/image" Target="../media/image13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119.jpe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2.pn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1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120.png"/><Relationship Id="rId5" Type="http://schemas.openxmlformats.org/officeDocument/2006/relationships/hyperlink" Target="https://www.google.it/url?sa=i&amp;url=https%3A%2F%2Fwww.iconfinder.com%2Ficons%2F4034320%2Fbusiness_archive_business_document_certificate_data_catalogue_official_paper_icon&amp;psig=AOvVaw2y46K9-jBymALe9Xq3vbdd&amp;ust=1580739129109000&amp;source=images&amp;cd=vfe&amp;ved=0CAIQjRxqFwoTCICisa6Gs-cCFQAAAAAdAAAAABAD" TargetMode="Externa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3AAA48A-E888-B14E-894D-35939AD647B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755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52" imgH="321" progId="TCLayout.ActiveDocument.1">
                  <p:embed/>
                </p:oleObj>
              </mc:Choice>
              <mc:Fallback>
                <p:oleObj name="Diapositiva think-cell" r:id="rId3" imgW="352" imgH="32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AAA48A-E888-B14E-894D-35939AD647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/>
          <a:lstStyle/>
          <a:p>
            <a:r>
              <a:rPr lang="it-IT" dirty="0"/>
              <a:t>Data </a:t>
            </a:r>
            <a:r>
              <a:rPr lang="it-IT" dirty="0" err="1"/>
              <a:t>quality</a:t>
            </a:r>
            <a:r>
              <a:rPr lang="it-IT" dirty="0"/>
              <a:t> </a:t>
            </a:r>
            <a:r>
              <a:rPr lang="it-IT" dirty="0" err="1"/>
              <a:t>process</a:t>
            </a:r>
            <a:r>
              <a:rPr lang="it-IT" dirty="0"/>
              <a:t> </a:t>
            </a:r>
            <a:r>
              <a:rPr lang="it-IT" dirty="0" err="1"/>
              <a:t>at</a:t>
            </a:r>
            <a:r>
              <a:rPr lang="it-IT" dirty="0"/>
              <a:t> Ferrovie dello Stato Italiane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FBE7BB4C-4530-3F29-491F-D523131165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Official Statistics and data dissemination 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it-IT" dirty="0"/>
              <a:t>19 June 2024</a:t>
            </a:r>
          </a:p>
        </p:txBody>
      </p:sp>
    </p:spTree>
    <p:extLst>
      <p:ext uri="{BB962C8B-B14F-4D97-AF65-F5344CB8AC3E}">
        <p14:creationId xmlns:p14="http://schemas.microsoft.com/office/powerpoint/2010/main" val="33042579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770F0241-2F41-413C-B1CF-6DAF71F29E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8813" y="1337187"/>
            <a:ext cx="5347298" cy="450481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600" dirty="0"/>
              <a:t>… are required to </a:t>
            </a:r>
            <a:r>
              <a:rPr lang="en-GB" sz="1600" b="1" dirty="0">
                <a:solidFill>
                  <a:srgbClr val="3C3C3B"/>
                </a:solidFill>
              </a:rPr>
              <a:t>incorporate</a:t>
            </a:r>
            <a:r>
              <a:rPr lang="en-GB" sz="1600" dirty="0"/>
              <a:t> the contents of this Group Disposal into their internal regulatory system and guarantee the correct and constant </a:t>
            </a:r>
            <a:r>
              <a:rPr lang="en-GB" sz="1600" b="1" dirty="0">
                <a:solidFill>
                  <a:srgbClr val="3C3C3B"/>
                </a:solidFill>
              </a:rPr>
              <a:t>application</a:t>
            </a:r>
            <a:r>
              <a:rPr lang="en-GB" sz="1600" dirty="0"/>
              <a:t> also at its </a:t>
            </a:r>
            <a:r>
              <a:rPr lang="en-GB" sz="1600" b="1" dirty="0">
                <a:solidFill>
                  <a:srgbClr val="3C3C3B"/>
                </a:solidFill>
              </a:rPr>
              <a:t>Subsidiaries</a:t>
            </a:r>
            <a:r>
              <a:rPr lang="en-GB" sz="1600" dirty="0">
                <a:solidFill>
                  <a:schemeClr val="accent1"/>
                </a:solidFill>
              </a:rPr>
              <a:t>.</a:t>
            </a: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600" dirty="0"/>
              <a:t>… also guarantee the correct and timely activation (or modification) and </a:t>
            </a:r>
            <a:r>
              <a:rPr lang="en-GB" sz="1600" b="1" dirty="0"/>
              <a:t>transmission</a:t>
            </a:r>
            <a:r>
              <a:rPr lang="en-GB" sz="1600" dirty="0"/>
              <a:t> to FSR of the </a:t>
            </a:r>
            <a:r>
              <a:rPr lang="en-GB" sz="1600" b="1" dirty="0"/>
              <a:t>official</a:t>
            </a:r>
            <a:r>
              <a:rPr lang="en-GB" sz="1600" dirty="0"/>
              <a:t> </a:t>
            </a:r>
            <a:r>
              <a:rPr lang="en-GB" sz="1600" b="1" dirty="0">
                <a:solidFill>
                  <a:srgbClr val="3C3C3B"/>
                </a:solidFill>
              </a:rPr>
              <a:t>data</a:t>
            </a:r>
            <a:r>
              <a:rPr lang="en-GB" sz="1600" dirty="0">
                <a:solidFill>
                  <a:schemeClr val="accent1"/>
                </a:solidFill>
              </a:rPr>
              <a:t> </a:t>
            </a:r>
            <a:r>
              <a:rPr lang="en-GB" sz="1600" dirty="0">
                <a:solidFill>
                  <a:srgbClr val="3C3C3B"/>
                </a:solidFill>
              </a:rPr>
              <a:t>flows</a:t>
            </a:r>
            <a:r>
              <a:rPr lang="en-GB" sz="1600" dirty="0"/>
              <a:t> requested.</a:t>
            </a: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600" dirty="0"/>
              <a:t>… ensure the unique</a:t>
            </a:r>
            <a:r>
              <a:rPr lang="en-GB" sz="1600" dirty="0">
                <a:solidFill>
                  <a:schemeClr val="accent1"/>
                </a:solidFill>
              </a:rPr>
              <a:t> </a:t>
            </a:r>
            <a:r>
              <a:rPr lang="en-GB" sz="1600" b="1" dirty="0">
                <a:solidFill>
                  <a:srgbClr val="3C3C3B"/>
                </a:solidFill>
              </a:rPr>
              <a:t>identification</a:t>
            </a:r>
            <a:r>
              <a:rPr lang="en-GB" sz="1600" dirty="0">
                <a:solidFill>
                  <a:schemeClr val="accent1"/>
                </a:solidFill>
              </a:rPr>
              <a:t> </a:t>
            </a:r>
            <a:r>
              <a:rPr lang="en-GB" sz="1600" dirty="0"/>
              <a:t>and the appointments of the requested </a:t>
            </a:r>
            <a:r>
              <a:rPr lang="en-GB" sz="1600" b="1" dirty="0"/>
              <a:t>roles</a:t>
            </a:r>
            <a:r>
              <a:rPr lang="en-GB" sz="1600" dirty="0"/>
              <a:t>, that can coexist in the same person or be exercised by distinct individuals.</a:t>
            </a: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0FCAD25A-5C3B-4BEA-8C12-2A74F45EB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FS Group Companies</a:t>
            </a:r>
            <a:endParaRPr lang="en-GB" dirty="0"/>
          </a:p>
        </p:txBody>
      </p:sp>
      <p:grpSp>
        <p:nvGrpSpPr>
          <p:cNvPr id="6" name="Gruppo 5">
            <a:extLst>
              <a:ext uri="{FF2B5EF4-FFF2-40B4-BE49-F238E27FC236}">
                <a16:creationId xmlns:a16="http://schemas.microsoft.com/office/drawing/2014/main" id="{2328ECF3-4BE1-4410-8579-67717AF6CD9C}"/>
              </a:ext>
            </a:extLst>
          </p:cNvPr>
          <p:cNvGrpSpPr/>
          <p:nvPr/>
        </p:nvGrpSpPr>
        <p:grpSpPr>
          <a:xfrm>
            <a:off x="6278791" y="1446840"/>
            <a:ext cx="4565674" cy="4105228"/>
            <a:chOff x="6278791" y="1446840"/>
            <a:chExt cx="4565674" cy="4105228"/>
          </a:xfrm>
        </p:grpSpPr>
        <p:sp>
          <p:nvSpPr>
            <p:cNvPr id="12" name="Ovale 11">
              <a:extLst>
                <a:ext uri="{FF2B5EF4-FFF2-40B4-BE49-F238E27FC236}">
                  <a16:creationId xmlns:a16="http://schemas.microsoft.com/office/drawing/2014/main" id="{DF66871B-35C8-4AE2-BBD6-ADDD04F671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06560" y="1863336"/>
              <a:ext cx="3420000" cy="3420000"/>
            </a:xfrm>
            <a:prstGeom prst="ellipse">
              <a:avLst/>
            </a:prstGeom>
            <a:noFill/>
            <a:ln>
              <a:solidFill>
                <a:schemeClr val="tx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2" name="Ovale 41">
              <a:extLst>
                <a:ext uri="{FF2B5EF4-FFF2-40B4-BE49-F238E27FC236}">
                  <a16:creationId xmlns:a16="http://schemas.microsoft.com/office/drawing/2014/main" id="{42241FB4-0363-4734-A494-68501CCDD96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371471" y="1915403"/>
              <a:ext cx="828891" cy="828891"/>
            </a:xfrm>
            <a:prstGeom prst="ellipse">
              <a:avLst/>
            </a:prstGeom>
            <a:noFill/>
            <a:ln>
              <a:solidFill>
                <a:schemeClr val="tx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Immagine 6" descr="Immagine che contiene disegnando&#10;&#10;Descrizione generata automaticamente">
              <a:extLst>
                <a:ext uri="{FF2B5EF4-FFF2-40B4-BE49-F238E27FC236}">
                  <a16:creationId xmlns:a16="http://schemas.microsoft.com/office/drawing/2014/main" id="{6385926D-6DA8-42BF-A759-BBEB4ECF1D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79409" y="3213336"/>
              <a:ext cx="1074302" cy="720000"/>
            </a:xfrm>
            <a:prstGeom prst="rect">
              <a:avLst/>
            </a:prstGeom>
          </p:spPr>
        </p:pic>
        <p:sp>
          <p:nvSpPr>
            <p:cNvPr id="61" name="Ovale 60">
              <a:extLst>
                <a:ext uri="{FF2B5EF4-FFF2-40B4-BE49-F238E27FC236}">
                  <a16:creationId xmlns:a16="http://schemas.microsoft.com/office/drawing/2014/main" id="{DD711CE4-E3E2-4466-A714-32F31BD1516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896560" y="2853336"/>
              <a:ext cx="1440000" cy="1440000"/>
            </a:xfrm>
            <a:prstGeom prst="ellipse">
              <a:avLst/>
            </a:prstGeom>
            <a:noFill/>
            <a:ln>
              <a:solidFill>
                <a:schemeClr val="tx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5" name="Immagine 14" descr="Immagine che contiene disegnando&#10;&#10;Descrizione generata automaticamente">
              <a:extLst>
                <a:ext uri="{FF2B5EF4-FFF2-40B4-BE49-F238E27FC236}">
                  <a16:creationId xmlns:a16="http://schemas.microsoft.com/office/drawing/2014/main" id="{2BDC1515-FBFF-40C8-B4C9-C8AAB1D70C0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13186" y="4486128"/>
              <a:ext cx="1032813" cy="252000"/>
            </a:xfrm>
            <a:prstGeom prst="rect">
              <a:avLst/>
            </a:prstGeom>
          </p:spPr>
        </p:pic>
        <p:pic>
          <p:nvPicPr>
            <p:cNvPr id="17" name="Immagine 16" descr="Immagine che contiene disegnando&#10;&#10;Descrizione generata automaticamente">
              <a:extLst>
                <a:ext uri="{FF2B5EF4-FFF2-40B4-BE49-F238E27FC236}">
                  <a16:creationId xmlns:a16="http://schemas.microsoft.com/office/drawing/2014/main" id="{2DA3ECF6-7477-44DF-A1A8-9F84598F8CB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82294" y="1880856"/>
              <a:ext cx="789970" cy="252000"/>
            </a:xfrm>
            <a:prstGeom prst="rect">
              <a:avLst/>
            </a:prstGeom>
          </p:spPr>
        </p:pic>
        <p:pic>
          <p:nvPicPr>
            <p:cNvPr id="19" name="Immagine 18" descr="Immagine che contiene disegnando&#10;&#10;Descrizione generata automaticamente">
              <a:extLst>
                <a:ext uri="{FF2B5EF4-FFF2-40B4-BE49-F238E27FC236}">
                  <a16:creationId xmlns:a16="http://schemas.microsoft.com/office/drawing/2014/main" id="{65399DA8-10A2-4C1A-B2BB-1085F0750D7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01402" y="4735325"/>
              <a:ext cx="838747" cy="252000"/>
            </a:xfrm>
            <a:prstGeom prst="rect">
              <a:avLst/>
            </a:prstGeom>
          </p:spPr>
        </p:pic>
        <p:pic>
          <p:nvPicPr>
            <p:cNvPr id="21" name="Immagine 20" descr="Immagine che contiene disegnando&#10;&#10;Descrizione generata automaticamente">
              <a:extLst>
                <a:ext uri="{FF2B5EF4-FFF2-40B4-BE49-F238E27FC236}">
                  <a16:creationId xmlns:a16="http://schemas.microsoft.com/office/drawing/2014/main" id="{1F044357-FBFD-4EE4-BF8C-DD99A2E626F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51933" y="2172730"/>
              <a:ext cx="785920" cy="252000"/>
            </a:xfrm>
            <a:prstGeom prst="rect">
              <a:avLst/>
            </a:prstGeom>
          </p:spPr>
        </p:pic>
        <p:pic>
          <p:nvPicPr>
            <p:cNvPr id="23" name="Immagine 22" descr="Immagine che contiene disegnando&#10;&#10;Descrizione generata automaticamente">
              <a:extLst>
                <a:ext uri="{FF2B5EF4-FFF2-40B4-BE49-F238E27FC236}">
                  <a16:creationId xmlns:a16="http://schemas.microsoft.com/office/drawing/2014/main" id="{C01B6FE7-F478-41DE-8FCC-D3A087F39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68668" y="3202931"/>
              <a:ext cx="875797" cy="252000"/>
            </a:xfrm>
            <a:prstGeom prst="rect">
              <a:avLst/>
            </a:prstGeom>
          </p:spPr>
        </p:pic>
        <p:pic>
          <p:nvPicPr>
            <p:cNvPr id="25" name="Immagine 24" descr="Immagine che contiene disegnando&#10;&#10;Descrizione generata automaticamente">
              <a:extLst>
                <a:ext uri="{FF2B5EF4-FFF2-40B4-BE49-F238E27FC236}">
                  <a16:creationId xmlns:a16="http://schemas.microsoft.com/office/drawing/2014/main" id="{DB7B8E3A-EA87-4023-8FE1-E584CBDC93C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39355" y="3791426"/>
              <a:ext cx="875797" cy="252000"/>
            </a:xfrm>
            <a:prstGeom prst="rect">
              <a:avLst/>
            </a:prstGeom>
          </p:spPr>
        </p:pic>
        <p:pic>
          <p:nvPicPr>
            <p:cNvPr id="27" name="Immagine 26" descr="Immagine che contiene disegnando&#10;&#10;Descrizione generata automaticamente">
              <a:extLst>
                <a:ext uri="{FF2B5EF4-FFF2-40B4-BE49-F238E27FC236}">
                  <a16:creationId xmlns:a16="http://schemas.microsoft.com/office/drawing/2014/main" id="{3C6A19A7-8308-4C72-AF04-4909F49F2CB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6898"/>
            <a:stretch/>
          </p:blipFill>
          <p:spPr>
            <a:xfrm>
              <a:off x="9968668" y="4847119"/>
              <a:ext cx="685450" cy="180000"/>
            </a:xfrm>
            <a:prstGeom prst="rect">
              <a:avLst/>
            </a:prstGeom>
          </p:spPr>
        </p:pic>
        <p:pic>
          <p:nvPicPr>
            <p:cNvPr id="29" name="Immagine 28" descr="Immagine che contiene disegnando&#10;&#10;Descrizione generata automaticamente">
              <a:extLst>
                <a:ext uri="{FF2B5EF4-FFF2-40B4-BE49-F238E27FC236}">
                  <a16:creationId xmlns:a16="http://schemas.microsoft.com/office/drawing/2014/main" id="{A96892D9-952B-47C0-994F-4EAF91C3C4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85438" y="3933336"/>
              <a:ext cx="963803" cy="252000"/>
            </a:xfrm>
            <a:prstGeom prst="rect">
              <a:avLst/>
            </a:prstGeom>
          </p:spPr>
        </p:pic>
        <p:pic>
          <p:nvPicPr>
            <p:cNvPr id="31" name="Immagine 30" descr="Immagine che contiene disegnando&#10;&#10;Descrizione generata automaticamente">
              <a:extLst>
                <a:ext uri="{FF2B5EF4-FFF2-40B4-BE49-F238E27FC236}">
                  <a16:creationId xmlns:a16="http://schemas.microsoft.com/office/drawing/2014/main" id="{4B79730F-5530-4063-A547-A7EFB95B0C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34538" y="3202931"/>
              <a:ext cx="789342" cy="252000"/>
            </a:xfrm>
            <a:prstGeom prst="rect">
              <a:avLst/>
            </a:prstGeom>
          </p:spPr>
        </p:pic>
        <p:pic>
          <p:nvPicPr>
            <p:cNvPr id="33" name="Immagine 32" descr="Immagine che contiene disegnando&#10;&#10;Descrizione generata automaticamente">
              <a:extLst>
                <a:ext uri="{FF2B5EF4-FFF2-40B4-BE49-F238E27FC236}">
                  <a16:creationId xmlns:a16="http://schemas.microsoft.com/office/drawing/2014/main" id="{D30A36A1-46D2-41E4-9BE2-6816DF519B7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00736" y="3687781"/>
              <a:ext cx="963416" cy="252000"/>
            </a:xfrm>
            <a:prstGeom prst="rect">
              <a:avLst/>
            </a:prstGeom>
          </p:spPr>
        </p:pic>
        <p:pic>
          <p:nvPicPr>
            <p:cNvPr id="38" name="Immagine 37">
              <a:extLst>
                <a:ext uri="{FF2B5EF4-FFF2-40B4-BE49-F238E27FC236}">
                  <a16:creationId xmlns:a16="http://schemas.microsoft.com/office/drawing/2014/main" id="{4F207DBA-4C33-49A9-9573-21F2F928F9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6569" b="26569"/>
            <a:stretch/>
          </p:blipFill>
          <p:spPr>
            <a:xfrm>
              <a:off x="9806867" y="2682129"/>
              <a:ext cx="789237" cy="252000"/>
            </a:xfrm>
            <a:prstGeom prst="rect">
              <a:avLst/>
            </a:prstGeom>
          </p:spPr>
        </p:pic>
        <p:pic>
          <p:nvPicPr>
            <p:cNvPr id="45" name="Immagine 44" descr="Immagine che contiene metro, disegnando&#10;&#10;Descrizione generata automaticamente">
              <a:extLst>
                <a:ext uri="{FF2B5EF4-FFF2-40B4-BE49-F238E27FC236}">
                  <a16:creationId xmlns:a16="http://schemas.microsoft.com/office/drawing/2014/main" id="{F86B1628-33BE-4DA7-8B04-ECAC82D920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2250" y="4972584"/>
              <a:ext cx="361129" cy="180000"/>
            </a:xfrm>
            <a:prstGeom prst="rect">
              <a:avLst/>
            </a:prstGeom>
          </p:spPr>
        </p:pic>
        <p:pic>
          <p:nvPicPr>
            <p:cNvPr id="1026" name="Picture 2" descr="Risultato immagini per c2c logo&quot;">
              <a:hlinkClick r:id="rId16"/>
              <a:extLst>
                <a:ext uri="{FF2B5EF4-FFF2-40B4-BE49-F238E27FC236}">
                  <a16:creationId xmlns:a16="http://schemas.microsoft.com/office/drawing/2014/main" id="{754B540F-FA07-40A8-9580-DA16DBA16B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6060" y="1894644"/>
              <a:ext cx="405763" cy="25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1" name="Immagine 50" descr="Immagine che contiene disegnando&#10;&#10;Descrizione generata automaticamente">
              <a:extLst>
                <a:ext uri="{FF2B5EF4-FFF2-40B4-BE49-F238E27FC236}">
                  <a16:creationId xmlns:a16="http://schemas.microsoft.com/office/drawing/2014/main" id="{D1506950-3DFB-4D0D-83F2-00AAB2E4C4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94531" y="1533353"/>
              <a:ext cx="745618" cy="252000"/>
            </a:xfrm>
            <a:prstGeom prst="rect">
              <a:avLst/>
            </a:prstGeom>
          </p:spPr>
        </p:pic>
        <p:pic>
          <p:nvPicPr>
            <p:cNvPr id="53" name="Immagine 52" descr="Immagine che contiene disegnando&#10;&#10;Descrizione generata automaticamente">
              <a:extLst>
                <a:ext uri="{FF2B5EF4-FFF2-40B4-BE49-F238E27FC236}">
                  <a16:creationId xmlns:a16="http://schemas.microsoft.com/office/drawing/2014/main" id="{7597470F-6F3E-4EAF-8778-C0E3031ABA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78791" y="3144694"/>
              <a:ext cx="598606" cy="468000"/>
            </a:xfrm>
            <a:prstGeom prst="rect">
              <a:avLst/>
            </a:prstGeom>
          </p:spPr>
        </p:pic>
        <p:pic>
          <p:nvPicPr>
            <p:cNvPr id="55" name="Immagine 54" descr="Immagine che contiene disegnando&#10;&#10;Descrizione generata automaticamente">
              <a:extLst>
                <a:ext uri="{FF2B5EF4-FFF2-40B4-BE49-F238E27FC236}">
                  <a16:creationId xmlns:a16="http://schemas.microsoft.com/office/drawing/2014/main" id="{10E921EC-7293-4243-8A6E-9AB950AC638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245494" y="2381225"/>
              <a:ext cx="561373" cy="180000"/>
            </a:xfrm>
            <a:prstGeom prst="rect">
              <a:avLst/>
            </a:prstGeom>
          </p:spPr>
        </p:pic>
        <p:pic>
          <p:nvPicPr>
            <p:cNvPr id="57" name="Immagine 56" descr="Immagine che contiene disegnando&#10;&#10;Descrizione generata automaticamente">
              <a:extLst>
                <a:ext uri="{FF2B5EF4-FFF2-40B4-BE49-F238E27FC236}">
                  <a16:creationId xmlns:a16="http://schemas.microsoft.com/office/drawing/2014/main" id="{0B40E196-FDED-4DF9-B237-C7514D6027C4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25802" y="2502129"/>
              <a:ext cx="561373" cy="180000"/>
            </a:xfrm>
            <a:prstGeom prst="rect">
              <a:avLst/>
            </a:prstGeom>
          </p:spPr>
        </p:pic>
        <p:pic>
          <p:nvPicPr>
            <p:cNvPr id="59" name="Immagine 58" descr="Immagine che contiene disegnando&#10;&#10;Descrizione generata automaticamente">
              <a:extLst>
                <a:ext uri="{FF2B5EF4-FFF2-40B4-BE49-F238E27FC236}">
                  <a16:creationId xmlns:a16="http://schemas.microsoft.com/office/drawing/2014/main" id="{E084DD58-18A4-495F-8966-EA546D738945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111373" y="2166121"/>
              <a:ext cx="561373" cy="180000"/>
            </a:xfrm>
            <a:prstGeom prst="rect">
              <a:avLst/>
            </a:prstGeom>
          </p:spPr>
        </p:pic>
        <p:sp>
          <p:nvSpPr>
            <p:cNvPr id="34" name="Ovale 33">
              <a:extLst>
                <a:ext uri="{FF2B5EF4-FFF2-40B4-BE49-F238E27FC236}">
                  <a16:creationId xmlns:a16="http://schemas.microsoft.com/office/drawing/2014/main" id="{FD177293-F52C-4083-9B94-02A1092E054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927775" y="4395533"/>
              <a:ext cx="1080000" cy="1080000"/>
            </a:xfrm>
            <a:prstGeom prst="ellipse">
              <a:avLst/>
            </a:prstGeom>
            <a:noFill/>
            <a:ln>
              <a:solidFill>
                <a:schemeClr val="tx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39" name="Ovale 38">
              <a:extLst>
                <a:ext uri="{FF2B5EF4-FFF2-40B4-BE49-F238E27FC236}">
                  <a16:creationId xmlns:a16="http://schemas.microsoft.com/office/drawing/2014/main" id="{196FF3BD-09C9-4030-9F26-A2729956613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496339" y="1446840"/>
              <a:ext cx="1080000" cy="1080000"/>
            </a:xfrm>
            <a:prstGeom prst="ellipse">
              <a:avLst/>
            </a:prstGeom>
            <a:noFill/>
            <a:ln>
              <a:solidFill>
                <a:schemeClr val="tx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43" name="Ovale 42">
              <a:extLst>
                <a:ext uri="{FF2B5EF4-FFF2-40B4-BE49-F238E27FC236}">
                  <a16:creationId xmlns:a16="http://schemas.microsoft.com/office/drawing/2014/main" id="{C404FAAA-E125-4C7C-9C1F-26D918B45CA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15974" y="3285104"/>
              <a:ext cx="1080000" cy="1080000"/>
            </a:xfrm>
            <a:prstGeom prst="ellipse">
              <a:avLst/>
            </a:prstGeom>
            <a:noFill/>
            <a:ln>
              <a:solidFill>
                <a:schemeClr val="tx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4" name="Immagine 43" descr="Immagine che contiene disegnando&#10;&#10;Descrizione generata automaticamente">
              <a:extLst>
                <a:ext uri="{FF2B5EF4-FFF2-40B4-BE49-F238E27FC236}">
                  <a16:creationId xmlns:a16="http://schemas.microsoft.com/office/drawing/2014/main" id="{6228D663-EA1B-40EA-AD38-E8F4653A1A1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67339" y="5140854"/>
              <a:ext cx="737723" cy="180000"/>
            </a:xfrm>
            <a:prstGeom prst="rect">
              <a:avLst/>
            </a:prstGeom>
          </p:spPr>
        </p:pic>
        <p:pic>
          <p:nvPicPr>
            <p:cNvPr id="36" name="Immagine 35">
              <a:extLst>
                <a:ext uri="{FF2B5EF4-FFF2-40B4-BE49-F238E27FC236}">
                  <a16:creationId xmlns:a16="http://schemas.microsoft.com/office/drawing/2014/main" id="{5BF1C3A7-5E27-44D4-9173-0083D881F89F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66374" y="2286385"/>
              <a:ext cx="833539" cy="252000"/>
            </a:xfrm>
            <a:prstGeom prst="rect">
              <a:avLst/>
            </a:prstGeom>
          </p:spPr>
        </p:pic>
        <p:pic>
          <p:nvPicPr>
            <p:cNvPr id="8" name="Immagine 7">
              <a:extLst>
                <a:ext uri="{FF2B5EF4-FFF2-40B4-BE49-F238E27FC236}">
                  <a16:creationId xmlns:a16="http://schemas.microsoft.com/office/drawing/2014/main" id="{4F7E6887-194B-401D-9EFA-34E7E0466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55746" y="1942791"/>
              <a:ext cx="448249" cy="180000"/>
            </a:xfrm>
            <a:prstGeom prst="rect">
              <a:avLst/>
            </a:prstGeom>
          </p:spPr>
        </p:pic>
        <p:pic>
          <p:nvPicPr>
            <p:cNvPr id="47" name="Immagine 46">
              <a:extLst>
                <a:ext uri="{FF2B5EF4-FFF2-40B4-BE49-F238E27FC236}">
                  <a16:creationId xmlns:a16="http://schemas.microsoft.com/office/drawing/2014/main" id="{37F2C53A-6175-450A-B37B-97C902BE56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51" t="27156" r="11840" b="18628"/>
            <a:stretch/>
          </p:blipFill>
          <p:spPr>
            <a:xfrm>
              <a:off x="7049130" y="5336068"/>
              <a:ext cx="765049" cy="216000"/>
            </a:xfrm>
            <a:prstGeom prst="rect">
              <a:avLst/>
            </a:prstGeom>
          </p:spPr>
        </p:pic>
      </p:grpSp>
      <p:pic>
        <p:nvPicPr>
          <p:cNvPr id="4" name="object 37">
            <a:extLst>
              <a:ext uri="{FF2B5EF4-FFF2-40B4-BE49-F238E27FC236}">
                <a16:creationId xmlns:a16="http://schemas.microsoft.com/office/drawing/2014/main" id="{881AB69E-3E80-7670-4E95-D4733C3E473E}"/>
              </a:ext>
            </a:extLst>
          </p:cNvPr>
          <p:cNvPicPr/>
          <p:nvPr/>
        </p:nvPicPr>
        <p:blipFill>
          <a:blip r:embed="rId27" cstate="print"/>
          <a:stretch>
            <a:fillRect/>
          </a:stretch>
        </p:blipFill>
        <p:spPr>
          <a:xfrm>
            <a:off x="8128619" y="1569892"/>
            <a:ext cx="1051079" cy="236229"/>
          </a:xfrm>
          <a:prstGeom prst="rect">
            <a:avLst/>
          </a:prstGeom>
        </p:spPr>
      </p:pic>
      <p:pic>
        <p:nvPicPr>
          <p:cNvPr id="5" name="object 23">
            <a:extLst>
              <a:ext uri="{FF2B5EF4-FFF2-40B4-BE49-F238E27FC236}">
                <a16:creationId xmlns:a16="http://schemas.microsoft.com/office/drawing/2014/main" id="{7E08D6F0-3C57-F59A-8A94-CB0CFB08A5BF}"/>
              </a:ext>
            </a:extLst>
          </p:cNvPr>
          <p:cNvPicPr/>
          <p:nvPr/>
        </p:nvPicPr>
        <p:blipFill>
          <a:blip r:embed="rId28" cstate="print"/>
          <a:stretch>
            <a:fillRect/>
          </a:stretch>
        </p:blipFill>
        <p:spPr>
          <a:xfrm>
            <a:off x="7940149" y="1301612"/>
            <a:ext cx="738556" cy="231741"/>
          </a:xfrm>
          <a:prstGeom prst="rect">
            <a:avLst/>
          </a:prstGeom>
        </p:spPr>
      </p:pic>
      <p:sp>
        <p:nvSpPr>
          <p:cNvPr id="11" name="Segnaposto testo 10">
            <a:extLst>
              <a:ext uri="{FF2B5EF4-FFF2-40B4-BE49-F238E27FC236}">
                <a16:creationId xmlns:a16="http://schemas.microsoft.com/office/drawing/2014/main" id="{081D6D9E-FBE6-5BE5-1FD6-86B00394837E}"/>
              </a:ext>
            </a:extLst>
          </p:cNvPr>
          <p:cNvSpPr txBox="1">
            <a:spLocks/>
          </p:cNvSpPr>
          <p:nvPr/>
        </p:nvSpPr>
        <p:spPr>
          <a:xfrm>
            <a:off x="8173737" y="97289"/>
            <a:ext cx="3502025" cy="96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/>
              <a:t>19/06/2024</a:t>
            </a:r>
          </a:p>
        </p:txBody>
      </p:sp>
      <p:sp>
        <p:nvSpPr>
          <p:cNvPr id="13" name="Segnaposto testo 26">
            <a:extLst>
              <a:ext uri="{FF2B5EF4-FFF2-40B4-BE49-F238E27FC236}">
                <a16:creationId xmlns:a16="http://schemas.microsoft.com/office/drawing/2014/main" id="{C7C9EB3C-F7EB-1318-A527-9D444949600D}"/>
              </a:ext>
            </a:extLst>
          </p:cNvPr>
          <p:cNvSpPr txBox="1">
            <a:spLocks/>
          </p:cNvSpPr>
          <p:nvPr/>
        </p:nvSpPr>
        <p:spPr>
          <a:xfrm>
            <a:off x="8173737" y="194239"/>
            <a:ext cx="3502025" cy="96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/>
              <a:t>Data </a:t>
            </a:r>
            <a:r>
              <a:rPr lang="it-IT" sz="700" dirty="0" err="1"/>
              <a:t>quality</a:t>
            </a:r>
            <a:r>
              <a:rPr lang="it-IT" sz="700" dirty="0"/>
              <a:t> </a:t>
            </a:r>
            <a:r>
              <a:rPr lang="it-IT" sz="700" dirty="0" err="1"/>
              <a:t>process</a:t>
            </a:r>
            <a:r>
              <a:rPr lang="it-IT" sz="700" dirty="0"/>
              <a:t> </a:t>
            </a:r>
            <a:r>
              <a:rPr lang="it-IT" sz="700" dirty="0" err="1"/>
              <a:t>at</a:t>
            </a:r>
            <a:r>
              <a:rPr lang="it-IT" sz="700" dirty="0"/>
              <a:t> Ferrovie dello Stato Italiane | Lorenzo Vannacci</a:t>
            </a:r>
          </a:p>
        </p:txBody>
      </p:sp>
      <p:sp>
        <p:nvSpPr>
          <p:cNvPr id="14" name="Ovale 13">
            <a:extLst>
              <a:ext uri="{FF2B5EF4-FFF2-40B4-BE49-F238E27FC236}">
                <a16:creationId xmlns:a16="http://schemas.microsoft.com/office/drawing/2014/main" id="{7EDC7362-1888-DE2F-0E5F-B528B0CEC89A}"/>
              </a:ext>
            </a:extLst>
          </p:cNvPr>
          <p:cNvSpPr>
            <a:spLocks noChangeAspect="1"/>
          </p:cNvSpPr>
          <p:nvPr/>
        </p:nvSpPr>
        <p:spPr>
          <a:xfrm>
            <a:off x="9420187" y="4100641"/>
            <a:ext cx="1080000" cy="1080000"/>
          </a:xfrm>
          <a:prstGeom prst="ellipse">
            <a:avLst/>
          </a:prstGeom>
          <a:noFill/>
          <a:ln>
            <a:solidFill>
              <a:schemeClr val="tx1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6817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think-cell data - do not delete" hidden="1">
            <a:extLst>
              <a:ext uri="{FF2B5EF4-FFF2-40B4-BE49-F238E27FC236}">
                <a16:creationId xmlns:a16="http://schemas.microsoft.com/office/drawing/2014/main" id="{6A4E6143-CED7-E42F-2FBC-02458E849A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0761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52" imgH="321" progId="TCLayout.ActiveDocument.1">
                  <p:embed/>
                </p:oleObj>
              </mc:Choice>
              <mc:Fallback>
                <p:oleObj name="Diapositiva think-cell" r:id="rId3" imgW="352" imgH="321" progId="TCLayout.ActiveDocument.1">
                  <p:embed/>
                  <p:pic>
                    <p:nvPicPr>
                      <p:cNvPr id="5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4E6143-CED7-E42F-2FBC-02458E849A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olo 5">
            <a:extLst>
              <a:ext uri="{FF2B5EF4-FFF2-40B4-BE49-F238E27FC236}">
                <a16:creationId xmlns:a16="http://schemas.microsoft.com/office/drawing/2014/main" id="{AB6D1D0C-4DB6-4188-AA39-DD768F071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Roles involved</a:t>
            </a:r>
          </a:p>
        </p:txBody>
      </p:sp>
      <p:grpSp>
        <p:nvGrpSpPr>
          <p:cNvPr id="5" name="Gruppo 4">
            <a:extLst>
              <a:ext uri="{FF2B5EF4-FFF2-40B4-BE49-F238E27FC236}">
                <a16:creationId xmlns:a16="http://schemas.microsoft.com/office/drawing/2014/main" id="{AAB693CE-2873-F4F0-50B4-1DA1A1993193}"/>
              </a:ext>
            </a:extLst>
          </p:cNvPr>
          <p:cNvGrpSpPr/>
          <p:nvPr/>
        </p:nvGrpSpPr>
        <p:grpSpPr>
          <a:xfrm>
            <a:off x="1407072" y="4166341"/>
            <a:ext cx="1365358" cy="2084797"/>
            <a:chOff x="1407072" y="3830781"/>
            <a:chExt cx="1365358" cy="2084797"/>
          </a:xfrm>
        </p:grpSpPr>
        <p:cxnSp>
          <p:nvCxnSpPr>
            <p:cNvPr id="7" name="Connettore a gomito 6">
              <a:extLst>
                <a:ext uri="{FF2B5EF4-FFF2-40B4-BE49-F238E27FC236}">
                  <a16:creationId xmlns:a16="http://schemas.microsoft.com/office/drawing/2014/main" id="{D6B0D81F-0217-42E7-FF46-52100DC5DBF5}"/>
                </a:ext>
              </a:extLst>
            </p:cNvPr>
            <p:cNvCxnSpPr>
              <a:cxnSpLocks/>
              <a:stCxn id="24" idx="2"/>
              <a:endCxn id="9" idx="0"/>
            </p:cNvCxnSpPr>
            <p:nvPr/>
          </p:nvCxnSpPr>
          <p:spPr>
            <a:xfrm rot="5400000">
              <a:off x="1898159" y="3830194"/>
              <a:ext cx="641006" cy="64217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Gruppo 7">
              <a:extLst>
                <a:ext uri="{FF2B5EF4-FFF2-40B4-BE49-F238E27FC236}">
                  <a16:creationId xmlns:a16="http://schemas.microsoft.com/office/drawing/2014/main" id="{582FA31E-6878-5DE9-C345-7E83FCB0AA57}"/>
                </a:ext>
              </a:extLst>
            </p:cNvPr>
            <p:cNvGrpSpPr/>
            <p:nvPr/>
          </p:nvGrpSpPr>
          <p:grpSpPr>
            <a:xfrm>
              <a:off x="1407072" y="4471786"/>
              <a:ext cx="1365358" cy="1443792"/>
              <a:chOff x="1407072" y="4471786"/>
              <a:chExt cx="1365358" cy="1443792"/>
            </a:xfrm>
          </p:grpSpPr>
          <p:pic>
            <p:nvPicPr>
              <p:cNvPr id="9" name="Picture 12" descr="Risultato immagini per data owner icon&quot;">
                <a:extLst>
                  <a:ext uri="{FF2B5EF4-FFF2-40B4-BE49-F238E27FC236}">
                    <a16:creationId xmlns:a16="http://schemas.microsoft.com/office/drawing/2014/main" id="{DEA66AFA-09D3-F19C-4B00-8CBAAA4CC76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07072" y="4471786"/>
                <a:ext cx="981000" cy="90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0" name="CasellaDiTesto 9">
                <a:extLst>
                  <a:ext uri="{FF2B5EF4-FFF2-40B4-BE49-F238E27FC236}">
                    <a16:creationId xmlns:a16="http://schemas.microsoft.com/office/drawing/2014/main" id="{78261ACA-E52D-834C-BD16-54A01F1F5FDA}"/>
                  </a:ext>
                </a:extLst>
              </p:cNvPr>
              <p:cNvSpPr txBox="1"/>
              <p:nvPr/>
            </p:nvSpPr>
            <p:spPr>
              <a:xfrm>
                <a:off x="1853332" y="5392358"/>
                <a:ext cx="919098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GB" sz="1400" dirty="0"/>
                  <a:t>DC Data </a:t>
                </a:r>
              </a:p>
              <a:p>
                <a:pPr algn="ctr"/>
                <a:r>
                  <a:rPr lang="en-GB" sz="1400" dirty="0"/>
                  <a:t>Controller</a:t>
                </a:r>
              </a:p>
            </p:txBody>
          </p:sp>
        </p:grpSp>
      </p:grpSp>
      <p:grpSp>
        <p:nvGrpSpPr>
          <p:cNvPr id="11" name="Gruppo 10">
            <a:extLst>
              <a:ext uri="{FF2B5EF4-FFF2-40B4-BE49-F238E27FC236}">
                <a16:creationId xmlns:a16="http://schemas.microsoft.com/office/drawing/2014/main" id="{44908A2E-42C7-3C35-B0CC-0095C083F70E}"/>
              </a:ext>
            </a:extLst>
          </p:cNvPr>
          <p:cNvGrpSpPr/>
          <p:nvPr/>
        </p:nvGrpSpPr>
        <p:grpSpPr>
          <a:xfrm>
            <a:off x="2539750" y="4166340"/>
            <a:ext cx="1716942" cy="2300242"/>
            <a:chOff x="2539750" y="3830780"/>
            <a:chExt cx="1716942" cy="2300242"/>
          </a:xfrm>
        </p:grpSpPr>
        <p:cxnSp>
          <p:nvCxnSpPr>
            <p:cNvPr id="12" name="Connettore a gomito 11">
              <a:extLst>
                <a:ext uri="{FF2B5EF4-FFF2-40B4-BE49-F238E27FC236}">
                  <a16:creationId xmlns:a16="http://schemas.microsoft.com/office/drawing/2014/main" id="{B615EACE-3248-E58C-C388-D10844486C20}"/>
                </a:ext>
              </a:extLst>
            </p:cNvPr>
            <p:cNvCxnSpPr>
              <a:cxnSpLocks/>
              <a:stCxn id="24" idx="2"/>
              <a:endCxn id="14" idx="0"/>
            </p:cNvCxnSpPr>
            <p:nvPr/>
          </p:nvCxnSpPr>
          <p:spPr>
            <a:xfrm rot="16200000" flipH="1">
              <a:off x="2560587" y="3809943"/>
              <a:ext cx="641006" cy="68267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3" name="Gruppo 12">
              <a:extLst>
                <a:ext uri="{FF2B5EF4-FFF2-40B4-BE49-F238E27FC236}">
                  <a16:creationId xmlns:a16="http://schemas.microsoft.com/office/drawing/2014/main" id="{B6E941AE-F37A-AA26-99EC-B80E83E6B2C9}"/>
                </a:ext>
              </a:extLst>
            </p:cNvPr>
            <p:cNvGrpSpPr/>
            <p:nvPr/>
          </p:nvGrpSpPr>
          <p:grpSpPr>
            <a:xfrm>
              <a:off x="2772430" y="4471786"/>
              <a:ext cx="1484262" cy="1659236"/>
              <a:chOff x="2772430" y="4471786"/>
              <a:chExt cx="1484262" cy="1659236"/>
            </a:xfrm>
          </p:grpSpPr>
          <p:pic>
            <p:nvPicPr>
              <p:cNvPr id="14" name="Picture 2" descr="Risultato immagini per official data icon&quot;">
                <a:extLst>
                  <a:ext uri="{FF2B5EF4-FFF2-40B4-BE49-F238E27FC236}">
                    <a16:creationId xmlns:a16="http://schemas.microsoft.com/office/drawing/2014/main" id="{C48744EA-1D4E-5E93-7DD8-955CE0A91B0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72430" y="4471786"/>
                <a:ext cx="900000" cy="90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" name="CasellaDiTesto 14">
                <a:extLst>
                  <a:ext uri="{FF2B5EF4-FFF2-40B4-BE49-F238E27FC236}">
                    <a16:creationId xmlns:a16="http://schemas.microsoft.com/office/drawing/2014/main" id="{20EC8E95-1F9E-C597-7973-D66080AD2B36}"/>
                  </a:ext>
                </a:extLst>
              </p:cNvPr>
              <p:cNvSpPr txBox="1"/>
              <p:nvPr/>
            </p:nvSpPr>
            <p:spPr>
              <a:xfrm>
                <a:off x="3088167" y="5392358"/>
                <a:ext cx="1168525" cy="73866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GB" sz="1400" dirty="0"/>
                  <a:t>RTD Data</a:t>
                </a:r>
              </a:p>
              <a:p>
                <a:pPr algn="ctr"/>
                <a:r>
                  <a:rPr lang="en-GB" sz="1400" dirty="0"/>
                  <a:t>Transmission </a:t>
                </a:r>
              </a:p>
              <a:p>
                <a:pPr algn="ctr"/>
                <a:r>
                  <a:rPr lang="en-GB" sz="1400" dirty="0"/>
                  <a:t>Manager</a:t>
                </a:r>
              </a:p>
            </p:txBody>
          </p:sp>
        </p:grpSp>
      </p:grp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C68FAFA6-5643-55AE-B8EB-714D116460D6}"/>
              </a:ext>
            </a:extLst>
          </p:cNvPr>
          <p:cNvGrpSpPr/>
          <p:nvPr/>
        </p:nvGrpSpPr>
        <p:grpSpPr>
          <a:xfrm>
            <a:off x="5312999" y="499474"/>
            <a:ext cx="3705322" cy="1260000"/>
            <a:chOff x="5312999" y="944091"/>
            <a:chExt cx="3705322" cy="1260000"/>
          </a:xfrm>
        </p:grpSpPr>
        <p:grpSp>
          <p:nvGrpSpPr>
            <p:cNvPr id="17" name="Gruppo 16">
              <a:extLst>
                <a:ext uri="{FF2B5EF4-FFF2-40B4-BE49-F238E27FC236}">
                  <a16:creationId xmlns:a16="http://schemas.microsoft.com/office/drawing/2014/main" id="{AAE8DF44-EE71-9B8F-CB39-854C9466263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312999" y="944091"/>
              <a:ext cx="1260000" cy="1260000"/>
              <a:chOff x="5379439" y="1156041"/>
              <a:chExt cx="1080000" cy="1080000"/>
            </a:xfrm>
          </p:grpSpPr>
          <p:pic>
            <p:nvPicPr>
              <p:cNvPr id="19" name="Picture 10" descr="boss, business person, businessman, employer, entrepreneur icon">
                <a:extLst>
                  <a:ext uri="{FF2B5EF4-FFF2-40B4-BE49-F238E27FC236}">
                    <a16:creationId xmlns:a16="http://schemas.microsoft.com/office/drawing/2014/main" id="{B6F44A60-9C6B-F9D3-4375-42A55903CE4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79439" y="1156041"/>
                <a:ext cx="1080000" cy="1080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" name="Immagine 19" descr="Immagine che contiene disegnando&#10;&#10;Descrizione generata automaticamente">
                <a:extLst>
                  <a:ext uri="{FF2B5EF4-FFF2-40B4-BE49-F238E27FC236}">
                    <a16:creationId xmlns:a16="http://schemas.microsoft.com/office/drawing/2014/main" id="{A6D99A14-4F01-0117-7E8C-5CFE6C5F3F7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432894" y="1289719"/>
                <a:ext cx="537150" cy="360000"/>
              </a:xfrm>
              <a:prstGeom prst="rect">
                <a:avLst/>
              </a:prstGeom>
            </p:spPr>
          </p:pic>
        </p:grpSp>
        <p:sp>
          <p:nvSpPr>
            <p:cNvPr id="18" name="CasellaDiTesto 17">
              <a:extLst>
                <a:ext uri="{FF2B5EF4-FFF2-40B4-BE49-F238E27FC236}">
                  <a16:creationId xmlns:a16="http://schemas.microsoft.com/office/drawing/2014/main" id="{1D6B1DCF-E699-8780-805E-6825A872FB88}"/>
                </a:ext>
              </a:extLst>
            </p:cNvPr>
            <p:cNvSpPr txBox="1"/>
            <p:nvPr/>
          </p:nvSpPr>
          <p:spPr>
            <a:xfrm>
              <a:off x="6736926" y="1310049"/>
              <a:ext cx="2281395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400" dirty="0"/>
                <a:t>FS Holding</a:t>
              </a:r>
            </a:p>
            <a:p>
              <a:pPr algn="ctr"/>
              <a:r>
                <a:rPr lang="en-GB" sz="1400" dirty="0"/>
                <a:t>Official Statistic Bureau</a:t>
              </a:r>
            </a:p>
            <a:p>
              <a:pPr algn="ctr"/>
              <a:r>
                <a:rPr lang="en-GB" sz="1400" dirty="0"/>
                <a:t>Process Owner</a:t>
              </a:r>
            </a:p>
          </p:txBody>
        </p:sp>
      </p:grpSp>
      <p:grpSp>
        <p:nvGrpSpPr>
          <p:cNvPr id="22" name="Gruppo 21">
            <a:extLst>
              <a:ext uri="{FF2B5EF4-FFF2-40B4-BE49-F238E27FC236}">
                <a16:creationId xmlns:a16="http://schemas.microsoft.com/office/drawing/2014/main" id="{55B16DCE-640A-384E-A8B1-1A67304961BA}"/>
              </a:ext>
            </a:extLst>
          </p:cNvPr>
          <p:cNvGrpSpPr/>
          <p:nvPr/>
        </p:nvGrpSpPr>
        <p:grpSpPr>
          <a:xfrm>
            <a:off x="494886" y="3266340"/>
            <a:ext cx="2494865" cy="900000"/>
            <a:chOff x="494886" y="2930779"/>
            <a:chExt cx="2494865" cy="900000"/>
          </a:xfrm>
        </p:grpSpPr>
        <p:pic>
          <p:nvPicPr>
            <p:cNvPr id="24" name="Picture 4" descr="Risultato immagini per official data icon&quot;">
              <a:extLst>
                <a:ext uri="{FF2B5EF4-FFF2-40B4-BE49-F238E27FC236}">
                  <a16:creationId xmlns:a16="http://schemas.microsoft.com/office/drawing/2014/main" id="{6C8650A0-60F0-1899-6E81-0C213E47C2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89751" y="2930779"/>
              <a:ext cx="900000" cy="90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CasellaDiTesto 24">
              <a:extLst>
                <a:ext uri="{FF2B5EF4-FFF2-40B4-BE49-F238E27FC236}">
                  <a16:creationId xmlns:a16="http://schemas.microsoft.com/office/drawing/2014/main" id="{6C9662E4-BD72-D0AE-D2C1-02411628F37A}"/>
                </a:ext>
              </a:extLst>
            </p:cNvPr>
            <p:cNvSpPr txBox="1"/>
            <p:nvPr/>
          </p:nvSpPr>
          <p:spPr>
            <a:xfrm>
              <a:off x="494886" y="3167390"/>
              <a:ext cx="148553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GB" sz="1400" dirty="0"/>
                <a:t>ODR Official Data </a:t>
              </a:r>
            </a:p>
            <a:p>
              <a:pPr algn="ctr"/>
              <a:r>
                <a:rPr lang="en-GB" sz="1400" dirty="0"/>
                <a:t>Representative</a:t>
              </a:r>
            </a:p>
          </p:txBody>
        </p:sp>
      </p:grpSp>
      <p:cxnSp>
        <p:nvCxnSpPr>
          <p:cNvPr id="23" name="Connettore a gomito 22">
            <a:extLst>
              <a:ext uri="{FF2B5EF4-FFF2-40B4-BE49-F238E27FC236}">
                <a16:creationId xmlns:a16="http://schemas.microsoft.com/office/drawing/2014/main" id="{DD7E6867-BDF5-600B-101E-7D83CF9DEE4F}"/>
              </a:ext>
            </a:extLst>
          </p:cNvPr>
          <p:cNvCxnSpPr>
            <a:cxnSpLocks/>
            <a:endCxn id="24" idx="0"/>
          </p:cNvCxnSpPr>
          <p:nvPr/>
        </p:nvCxnSpPr>
        <p:spPr>
          <a:xfrm rot="5400000">
            <a:off x="3487943" y="811283"/>
            <a:ext cx="1506865" cy="3403248"/>
          </a:xfrm>
          <a:prstGeom prst="bentConnector3">
            <a:avLst>
              <a:gd name="adj1" fmla="val 80063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Gruppo 25">
            <a:extLst>
              <a:ext uri="{FF2B5EF4-FFF2-40B4-BE49-F238E27FC236}">
                <a16:creationId xmlns:a16="http://schemas.microsoft.com/office/drawing/2014/main" id="{6589B45E-A702-60A2-315A-4CFF2172F3D6}"/>
              </a:ext>
            </a:extLst>
          </p:cNvPr>
          <p:cNvGrpSpPr/>
          <p:nvPr/>
        </p:nvGrpSpPr>
        <p:grpSpPr>
          <a:xfrm>
            <a:off x="2989751" y="3408561"/>
            <a:ext cx="5068556" cy="2298785"/>
            <a:chOff x="2989751" y="3073001"/>
            <a:chExt cx="5068556" cy="2298785"/>
          </a:xfrm>
        </p:grpSpPr>
        <p:cxnSp>
          <p:nvCxnSpPr>
            <p:cNvPr id="27" name="Connettore a gomito 26">
              <a:extLst>
                <a:ext uri="{FF2B5EF4-FFF2-40B4-BE49-F238E27FC236}">
                  <a16:creationId xmlns:a16="http://schemas.microsoft.com/office/drawing/2014/main" id="{F4356FFE-6D4E-F1C8-0D8D-33B744D70666}"/>
                </a:ext>
              </a:extLst>
            </p:cNvPr>
            <p:cNvCxnSpPr>
              <a:cxnSpLocks/>
              <a:stCxn id="24" idx="3"/>
              <a:endCxn id="32" idx="0"/>
            </p:cNvCxnSpPr>
            <p:nvPr/>
          </p:nvCxnSpPr>
          <p:spPr>
            <a:xfrm>
              <a:off x="2989751" y="3380780"/>
              <a:ext cx="4618556" cy="1091006"/>
            </a:xfrm>
            <a:prstGeom prst="bentConnector2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ttore a gomito 27">
              <a:extLst>
                <a:ext uri="{FF2B5EF4-FFF2-40B4-BE49-F238E27FC236}">
                  <a16:creationId xmlns:a16="http://schemas.microsoft.com/office/drawing/2014/main" id="{5D6533D6-C0D7-7C92-EA1C-0E9593144625}"/>
                </a:ext>
              </a:extLst>
            </p:cNvPr>
            <p:cNvCxnSpPr>
              <a:cxnSpLocks/>
              <a:stCxn id="24" idx="3"/>
              <a:endCxn id="33" idx="0"/>
            </p:cNvCxnSpPr>
            <p:nvPr/>
          </p:nvCxnSpPr>
          <p:spPr>
            <a:xfrm>
              <a:off x="2989751" y="3380780"/>
              <a:ext cx="3293698" cy="1091006"/>
            </a:xfrm>
            <a:prstGeom prst="bentConnector2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9" name="Gruppo 28">
              <a:extLst>
                <a:ext uri="{FF2B5EF4-FFF2-40B4-BE49-F238E27FC236}">
                  <a16:creationId xmlns:a16="http://schemas.microsoft.com/office/drawing/2014/main" id="{BD4035DF-F94D-259C-9DD0-D316E3DBE16A}"/>
                </a:ext>
              </a:extLst>
            </p:cNvPr>
            <p:cNvGrpSpPr/>
            <p:nvPr/>
          </p:nvGrpSpPr>
          <p:grpSpPr>
            <a:xfrm>
              <a:off x="5792949" y="3073001"/>
              <a:ext cx="2265358" cy="2298785"/>
              <a:chOff x="5792949" y="3073001"/>
              <a:chExt cx="2265358" cy="2298785"/>
            </a:xfrm>
          </p:grpSpPr>
          <p:grpSp>
            <p:nvGrpSpPr>
              <p:cNvPr id="30" name="Gruppo 29">
                <a:extLst>
                  <a:ext uri="{FF2B5EF4-FFF2-40B4-BE49-F238E27FC236}">
                    <a16:creationId xmlns:a16="http://schemas.microsoft.com/office/drawing/2014/main" id="{68D84F87-CB20-1645-7FFB-A7011ED324D4}"/>
                  </a:ext>
                </a:extLst>
              </p:cNvPr>
              <p:cNvGrpSpPr/>
              <p:nvPr/>
            </p:nvGrpSpPr>
            <p:grpSpPr>
              <a:xfrm>
                <a:off x="5792949" y="4471786"/>
                <a:ext cx="2265358" cy="900000"/>
                <a:chOff x="4810320" y="4392599"/>
                <a:chExt cx="2265358" cy="900000"/>
              </a:xfrm>
            </p:grpSpPr>
            <p:pic>
              <p:nvPicPr>
                <p:cNvPr id="32" name="Picture 2" descr="Risultato immagini per official data icon&quot;">
                  <a:extLst>
                    <a:ext uri="{FF2B5EF4-FFF2-40B4-BE49-F238E27FC236}">
                      <a16:creationId xmlns:a16="http://schemas.microsoft.com/office/drawing/2014/main" id="{BEFA2DE1-1FD4-AAC1-83FA-95747F34FF0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 cstate="hqprint">
                  <a:duotone>
                    <a:prstClr val="black"/>
                    <a:srgbClr val="D9C3A5">
                      <a:tint val="50000"/>
                      <a:satMod val="180000"/>
                    </a:srgbClr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175678" y="4392599"/>
                  <a:ext cx="900000" cy="900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3" name="Picture 12" descr="Risultato immagini per data owner icon&quot;">
                  <a:extLst>
                    <a:ext uri="{FF2B5EF4-FFF2-40B4-BE49-F238E27FC236}">
                      <a16:creationId xmlns:a16="http://schemas.microsoft.com/office/drawing/2014/main" id="{7BF23583-CC9E-A7BC-2CA7-1028A33C00FE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5" cstate="hq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duotone>
                    <a:prstClr val="black"/>
                    <a:srgbClr val="D9C3A5">
                      <a:tint val="50000"/>
                      <a:satMod val="180000"/>
                    </a:srgbClr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810320" y="4392599"/>
                  <a:ext cx="981000" cy="90000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31" name="CasellaDiTesto 30">
                <a:extLst>
                  <a:ext uri="{FF2B5EF4-FFF2-40B4-BE49-F238E27FC236}">
                    <a16:creationId xmlns:a16="http://schemas.microsoft.com/office/drawing/2014/main" id="{5D7B2FFE-A3A1-4065-5836-45EBA54D0F2F}"/>
                  </a:ext>
                </a:extLst>
              </p:cNvPr>
              <p:cNvSpPr txBox="1"/>
              <p:nvPr/>
            </p:nvSpPr>
            <p:spPr>
              <a:xfrm>
                <a:off x="6333619" y="3073001"/>
                <a:ext cx="100566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GB" sz="1400" dirty="0" err="1"/>
                  <a:t>DataFlow</a:t>
                </a:r>
                <a:r>
                  <a:rPr lang="en-GB" sz="1400" dirty="0"/>
                  <a:t> n</a:t>
                </a:r>
              </a:p>
            </p:txBody>
          </p:sp>
        </p:grpSp>
      </p:grpSp>
      <p:grpSp>
        <p:nvGrpSpPr>
          <p:cNvPr id="34" name="Gruppo 33">
            <a:extLst>
              <a:ext uri="{FF2B5EF4-FFF2-40B4-BE49-F238E27FC236}">
                <a16:creationId xmlns:a16="http://schemas.microsoft.com/office/drawing/2014/main" id="{555D790A-92CF-63EE-6EE1-7F2CD1DFEF5C}"/>
              </a:ext>
            </a:extLst>
          </p:cNvPr>
          <p:cNvGrpSpPr/>
          <p:nvPr/>
        </p:nvGrpSpPr>
        <p:grpSpPr>
          <a:xfrm>
            <a:off x="5943000" y="1759473"/>
            <a:ext cx="4980622" cy="3947873"/>
            <a:chOff x="5943000" y="1423913"/>
            <a:chExt cx="4980622" cy="3947873"/>
          </a:xfrm>
        </p:grpSpPr>
        <p:cxnSp>
          <p:nvCxnSpPr>
            <p:cNvPr id="35" name="Connettore a gomito 34">
              <a:extLst>
                <a:ext uri="{FF2B5EF4-FFF2-40B4-BE49-F238E27FC236}">
                  <a16:creationId xmlns:a16="http://schemas.microsoft.com/office/drawing/2014/main" id="{58319F6B-4052-4F50-1B92-0141E07CCE3F}"/>
                </a:ext>
              </a:extLst>
            </p:cNvPr>
            <p:cNvCxnSpPr>
              <a:cxnSpLocks/>
              <a:stCxn id="42" idx="2"/>
              <a:endCxn id="44" idx="0"/>
            </p:cNvCxnSpPr>
            <p:nvPr/>
          </p:nvCxnSpPr>
          <p:spPr>
            <a:xfrm rot="16200000" flipH="1">
              <a:off x="9811779" y="3809942"/>
              <a:ext cx="641007" cy="68267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nettore a gomito 35">
              <a:extLst>
                <a:ext uri="{FF2B5EF4-FFF2-40B4-BE49-F238E27FC236}">
                  <a16:creationId xmlns:a16="http://schemas.microsoft.com/office/drawing/2014/main" id="{A7D169FE-DAC8-5E2F-ACD1-A11407D99394}"/>
                </a:ext>
              </a:extLst>
            </p:cNvPr>
            <p:cNvCxnSpPr>
              <a:cxnSpLocks/>
              <a:stCxn id="42" idx="2"/>
              <a:endCxn id="45" idx="0"/>
            </p:cNvCxnSpPr>
            <p:nvPr/>
          </p:nvCxnSpPr>
          <p:spPr>
            <a:xfrm rot="5400000">
              <a:off x="9149351" y="3830193"/>
              <a:ext cx="641007" cy="64217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" name="Gruppo 36">
              <a:extLst>
                <a:ext uri="{FF2B5EF4-FFF2-40B4-BE49-F238E27FC236}">
                  <a16:creationId xmlns:a16="http://schemas.microsoft.com/office/drawing/2014/main" id="{A1325BE3-6BD2-7BE0-BF36-9BADB689246B}"/>
                </a:ext>
              </a:extLst>
            </p:cNvPr>
            <p:cNvGrpSpPr/>
            <p:nvPr/>
          </p:nvGrpSpPr>
          <p:grpSpPr>
            <a:xfrm>
              <a:off x="5943000" y="1423913"/>
              <a:ext cx="4980622" cy="3947873"/>
              <a:chOff x="5943000" y="1423913"/>
              <a:chExt cx="4980622" cy="3947873"/>
            </a:xfrm>
          </p:grpSpPr>
          <p:grpSp>
            <p:nvGrpSpPr>
              <p:cNvPr id="38" name="Gruppo 37">
                <a:extLst>
                  <a:ext uri="{FF2B5EF4-FFF2-40B4-BE49-F238E27FC236}">
                    <a16:creationId xmlns:a16="http://schemas.microsoft.com/office/drawing/2014/main" id="{B270DE37-F0A1-612E-210B-59CE4726CBEB}"/>
                  </a:ext>
                </a:extLst>
              </p:cNvPr>
              <p:cNvGrpSpPr/>
              <p:nvPr/>
            </p:nvGrpSpPr>
            <p:grpSpPr>
              <a:xfrm>
                <a:off x="5943000" y="1423913"/>
                <a:ext cx="4980622" cy="3947873"/>
                <a:chOff x="5943000" y="1423913"/>
                <a:chExt cx="4980622" cy="3947873"/>
              </a:xfrm>
            </p:grpSpPr>
            <p:grpSp>
              <p:nvGrpSpPr>
                <p:cNvPr id="40" name="Gruppo 39">
                  <a:extLst>
                    <a:ext uri="{FF2B5EF4-FFF2-40B4-BE49-F238E27FC236}">
                      <a16:creationId xmlns:a16="http://schemas.microsoft.com/office/drawing/2014/main" id="{7EFC068D-E578-4C86-30F7-9FCD6C5EAA39}"/>
                    </a:ext>
                  </a:extLst>
                </p:cNvPr>
                <p:cNvGrpSpPr/>
                <p:nvPr/>
              </p:nvGrpSpPr>
              <p:grpSpPr>
                <a:xfrm>
                  <a:off x="8658264" y="2930779"/>
                  <a:ext cx="2265358" cy="2441007"/>
                  <a:chOff x="4810320" y="2851592"/>
                  <a:chExt cx="2265358" cy="2441007"/>
                </a:xfrm>
              </p:grpSpPr>
              <p:pic>
                <p:nvPicPr>
                  <p:cNvPr id="42" name="Picture 4" descr="Risultato immagini per official data icon&quot;">
                    <a:extLst>
                      <a:ext uri="{FF2B5EF4-FFF2-40B4-BE49-F238E27FC236}">
                        <a16:creationId xmlns:a16="http://schemas.microsoft.com/office/drawing/2014/main" id="{E58B9DB7-E4F7-79D5-EDE6-7DA7BCEF3D2B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9" cstate="hqprint">
                    <a:duotone>
                      <a:schemeClr val="bg2">
                        <a:shade val="45000"/>
                        <a:satMod val="135000"/>
                      </a:schemeClr>
                      <a:prstClr val="white"/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5492999" y="2851592"/>
                    <a:ext cx="900000" cy="90000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grpSp>
                <p:nvGrpSpPr>
                  <p:cNvPr id="43" name="Gruppo 42">
                    <a:extLst>
                      <a:ext uri="{FF2B5EF4-FFF2-40B4-BE49-F238E27FC236}">
                        <a16:creationId xmlns:a16="http://schemas.microsoft.com/office/drawing/2014/main" id="{90D37A52-6890-721E-185F-DDA18542D477}"/>
                      </a:ext>
                    </a:extLst>
                  </p:cNvPr>
                  <p:cNvGrpSpPr/>
                  <p:nvPr/>
                </p:nvGrpSpPr>
                <p:grpSpPr>
                  <a:xfrm>
                    <a:off x="4810320" y="4392599"/>
                    <a:ext cx="2265358" cy="900000"/>
                    <a:chOff x="4810320" y="4392599"/>
                    <a:chExt cx="2265358" cy="900000"/>
                  </a:xfrm>
                </p:grpSpPr>
                <p:pic>
                  <p:nvPicPr>
                    <p:cNvPr id="44" name="Picture 2" descr="Risultato immagini per official data icon&quot;">
                      <a:extLst>
                        <a:ext uri="{FF2B5EF4-FFF2-40B4-BE49-F238E27FC236}">
                          <a16:creationId xmlns:a16="http://schemas.microsoft.com/office/drawing/2014/main" id="{814BDFB9-6271-D040-9681-A25290861E15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6" cstate="hqprint">
                      <a:duotone>
                        <a:schemeClr val="bg2">
                          <a:shade val="45000"/>
                          <a:satMod val="135000"/>
                        </a:schemeClr>
                        <a:prstClr val="white"/>
                      </a:duotone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6175678" y="4392599"/>
                      <a:ext cx="900000" cy="900000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  <p:pic>
                  <p:nvPicPr>
                    <p:cNvPr id="45" name="Picture 12" descr="Risultato immagini per data owner icon&quot;">
                      <a:extLst>
                        <a:ext uri="{FF2B5EF4-FFF2-40B4-BE49-F238E27FC236}">
                          <a16:creationId xmlns:a16="http://schemas.microsoft.com/office/drawing/2014/main" id="{9E379DB3-0799-176E-7204-69D89CDB6216}"/>
                        </a:ext>
                      </a:extLst>
                    </p:cNvPr>
                    <p:cNvPicPr>
                      <a:picLocks noChangeAspect="1" noChangeArrowheads="1"/>
                    </p:cNvPicPr>
                    <p:nvPr/>
                  </p:nvPicPr>
                  <p:blipFill>
                    <a:blip r:embed="rId5" cstate="hqprint">
                      <a:duotone>
                        <a:schemeClr val="bg2">
                          <a:shade val="45000"/>
                          <a:satMod val="135000"/>
                        </a:schemeClr>
                        <a:prstClr val="white"/>
                      </a:duotone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4810320" y="4392599"/>
                      <a:ext cx="981000" cy="900000"/>
                    </a:xfrm>
                    <a:prstGeom prst="rect">
                      <a:avLst/>
                    </a:prstGeom>
                    <a:noFill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</a:extLst>
                  </p:spPr>
                </p:pic>
              </p:grpSp>
            </p:grpSp>
            <p:cxnSp>
              <p:nvCxnSpPr>
                <p:cNvPr id="41" name="Connettore a gomito 40">
                  <a:extLst>
                    <a:ext uri="{FF2B5EF4-FFF2-40B4-BE49-F238E27FC236}">
                      <a16:creationId xmlns:a16="http://schemas.microsoft.com/office/drawing/2014/main" id="{4B95D689-2BA1-21FE-B42F-C52948DFE7DA}"/>
                    </a:ext>
                  </a:extLst>
                </p:cNvPr>
                <p:cNvCxnSpPr>
                  <a:stCxn id="19" idx="2"/>
                  <a:endCxn id="42" idx="0"/>
                </p:cNvCxnSpPr>
                <p:nvPr/>
              </p:nvCxnSpPr>
              <p:spPr>
                <a:xfrm rot="16200000" flipH="1">
                  <a:off x="7113539" y="253374"/>
                  <a:ext cx="1506865" cy="3847944"/>
                </a:xfrm>
                <a:prstGeom prst="bentConnector3">
                  <a:avLst>
                    <a:gd name="adj1" fmla="val 80063"/>
                  </a:avLst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9" name="CasellaDiTesto 38">
                <a:extLst>
                  <a:ext uri="{FF2B5EF4-FFF2-40B4-BE49-F238E27FC236}">
                    <a16:creationId xmlns:a16="http://schemas.microsoft.com/office/drawing/2014/main" id="{514B3794-2A7E-E661-516F-BB58549E2EDF}"/>
                  </a:ext>
                </a:extLst>
              </p:cNvPr>
              <p:cNvSpPr txBox="1"/>
              <p:nvPr/>
            </p:nvSpPr>
            <p:spPr>
              <a:xfrm>
                <a:off x="9211296" y="3782911"/>
                <a:ext cx="1159293" cy="307777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GB" sz="1400" dirty="0" err="1"/>
                  <a:t>DataFlow</a:t>
                </a:r>
                <a:r>
                  <a:rPr lang="en-GB" sz="1400" dirty="0"/>
                  <a:t> 1</a:t>
                </a:r>
              </a:p>
            </p:txBody>
          </p:sp>
        </p:grpSp>
      </p:grpSp>
      <p:sp>
        <p:nvSpPr>
          <p:cNvPr id="46" name="CasellaDiTesto 45">
            <a:extLst>
              <a:ext uri="{FF2B5EF4-FFF2-40B4-BE49-F238E27FC236}">
                <a16:creationId xmlns:a16="http://schemas.microsoft.com/office/drawing/2014/main" id="{9C21E167-4271-BBA9-A2F2-F95E98C81C47}"/>
              </a:ext>
            </a:extLst>
          </p:cNvPr>
          <p:cNvSpPr txBox="1"/>
          <p:nvPr/>
        </p:nvSpPr>
        <p:spPr>
          <a:xfrm>
            <a:off x="2027847" y="4139739"/>
            <a:ext cx="1002454" cy="307777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GB" sz="1400" dirty="0" err="1"/>
              <a:t>DataFlow</a:t>
            </a:r>
            <a:r>
              <a:rPr lang="en-GB" sz="1400" dirty="0"/>
              <a:t> 1</a:t>
            </a:r>
          </a:p>
        </p:txBody>
      </p:sp>
      <p:sp>
        <p:nvSpPr>
          <p:cNvPr id="54" name="CasellaDiTesto 53">
            <a:extLst>
              <a:ext uri="{FF2B5EF4-FFF2-40B4-BE49-F238E27FC236}">
                <a16:creationId xmlns:a16="http://schemas.microsoft.com/office/drawing/2014/main" id="{AD971D3D-7D7A-41F7-5A2B-D221542D2D62}"/>
              </a:ext>
            </a:extLst>
          </p:cNvPr>
          <p:cNvSpPr txBox="1"/>
          <p:nvPr/>
        </p:nvSpPr>
        <p:spPr>
          <a:xfrm>
            <a:off x="1936058" y="2943827"/>
            <a:ext cx="120738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b="1" dirty="0"/>
              <a:t>Company 1</a:t>
            </a:r>
          </a:p>
        </p:txBody>
      </p:sp>
      <p:sp>
        <p:nvSpPr>
          <p:cNvPr id="55" name="CasellaDiTesto 54">
            <a:extLst>
              <a:ext uri="{FF2B5EF4-FFF2-40B4-BE49-F238E27FC236}">
                <a16:creationId xmlns:a16="http://schemas.microsoft.com/office/drawing/2014/main" id="{2A3E8E5B-C11F-3D11-D404-877C774F0D15}"/>
              </a:ext>
            </a:extLst>
          </p:cNvPr>
          <p:cNvSpPr txBox="1"/>
          <p:nvPr/>
        </p:nvSpPr>
        <p:spPr>
          <a:xfrm>
            <a:off x="9041869" y="2958561"/>
            <a:ext cx="12602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400" b="1" dirty="0"/>
              <a:t>Company n</a:t>
            </a:r>
          </a:p>
        </p:txBody>
      </p:sp>
      <p:cxnSp>
        <p:nvCxnSpPr>
          <p:cNvPr id="57" name="Connettore diritto 56">
            <a:extLst>
              <a:ext uri="{FF2B5EF4-FFF2-40B4-BE49-F238E27FC236}">
                <a16:creationId xmlns:a16="http://schemas.microsoft.com/office/drawing/2014/main" id="{1984523B-4E58-5379-4E2E-4E8B932EEAD3}"/>
              </a:ext>
            </a:extLst>
          </p:cNvPr>
          <p:cNvCxnSpPr/>
          <p:nvPr/>
        </p:nvCxnSpPr>
        <p:spPr>
          <a:xfrm>
            <a:off x="4484914" y="3716339"/>
            <a:ext cx="0" cy="770502"/>
          </a:xfrm>
          <a:prstGeom prst="line">
            <a:avLst/>
          </a:prstGeom>
          <a:ln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ttore diritto 57">
            <a:extLst>
              <a:ext uri="{FF2B5EF4-FFF2-40B4-BE49-F238E27FC236}">
                <a16:creationId xmlns:a16="http://schemas.microsoft.com/office/drawing/2014/main" id="{BF73D843-4FF9-46EE-F955-C9273B00DC99}"/>
              </a:ext>
            </a:extLst>
          </p:cNvPr>
          <p:cNvCxnSpPr>
            <a:cxnSpLocks/>
            <a:stCxn id="42" idx="3"/>
          </p:cNvCxnSpPr>
          <p:nvPr/>
        </p:nvCxnSpPr>
        <p:spPr>
          <a:xfrm>
            <a:off x="10240943" y="3716339"/>
            <a:ext cx="682679" cy="0"/>
          </a:xfrm>
          <a:prstGeom prst="line">
            <a:avLst/>
          </a:prstGeom>
          <a:ln>
            <a:solidFill>
              <a:schemeClr val="tx1"/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egnaposto testo 10">
            <a:extLst>
              <a:ext uri="{FF2B5EF4-FFF2-40B4-BE49-F238E27FC236}">
                <a16:creationId xmlns:a16="http://schemas.microsoft.com/office/drawing/2014/main" id="{16892BCD-AD21-F44A-D4F7-D0D92292EA42}"/>
              </a:ext>
            </a:extLst>
          </p:cNvPr>
          <p:cNvSpPr txBox="1">
            <a:spLocks/>
          </p:cNvSpPr>
          <p:nvPr/>
        </p:nvSpPr>
        <p:spPr>
          <a:xfrm>
            <a:off x="8173737" y="97289"/>
            <a:ext cx="3502025" cy="96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/>
              <a:t>19/06/2024</a:t>
            </a:r>
          </a:p>
        </p:txBody>
      </p:sp>
      <p:sp>
        <p:nvSpPr>
          <p:cNvPr id="3" name="Segnaposto testo 26">
            <a:extLst>
              <a:ext uri="{FF2B5EF4-FFF2-40B4-BE49-F238E27FC236}">
                <a16:creationId xmlns:a16="http://schemas.microsoft.com/office/drawing/2014/main" id="{19E8615C-7DBF-44F4-BC85-F8B1217CDD4A}"/>
              </a:ext>
            </a:extLst>
          </p:cNvPr>
          <p:cNvSpPr txBox="1">
            <a:spLocks/>
          </p:cNvSpPr>
          <p:nvPr/>
        </p:nvSpPr>
        <p:spPr>
          <a:xfrm>
            <a:off x="8173737" y="194239"/>
            <a:ext cx="3502025" cy="96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/>
              <a:t>Data </a:t>
            </a:r>
            <a:r>
              <a:rPr lang="it-IT" sz="700" dirty="0" err="1"/>
              <a:t>quality</a:t>
            </a:r>
            <a:r>
              <a:rPr lang="it-IT" sz="700" dirty="0"/>
              <a:t> </a:t>
            </a:r>
            <a:r>
              <a:rPr lang="it-IT" sz="700" dirty="0" err="1"/>
              <a:t>process</a:t>
            </a:r>
            <a:r>
              <a:rPr lang="it-IT" sz="700" dirty="0"/>
              <a:t> </a:t>
            </a:r>
            <a:r>
              <a:rPr lang="it-IT" sz="700" dirty="0" err="1"/>
              <a:t>at</a:t>
            </a:r>
            <a:r>
              <a:rPr lang="it-IT" sz="700" dirty="0"/>
              <a:t> Ferrovie dello Stato Italiane | Lorenzo Vannacci</a:t>
            </a:r>
          </a:p>
        </p:txBody>
      </p:sp>
      <p:sp>
        <p:nvSpPr>
          <p:cNvPr id="61" name="Ovale 60">
            <a:extLst>
              <a:ext uri="{FF2B5EF4-FFF2-40B4-BE49-F238E27FC236}">
                <a16:creationId xmlns:a16="http://schemas.microsoft.com/office/drawing/2014/main" id="{B12E8631-8AE3-0D3E-AD04-D59D487BD2F8}"/>
              </a:ext>
            </a:extLst>
          </p:cNvPr>
          <p:cNvSpPr>
            <a:spLocks noChangeAspect="1"/>
          </p:cNvSpPr>
          <p:nvPr/>
        </p:nvSpPr>
        <p:spPr>
          <a:xfrm>
            <a:off x="5473738" y="1849791"/>
            <a:ext cx="945720" cy="945720"/>
          </a:xfrm>
          <a:prstGeom prst="ellipse">
            <a:avLst/>
          </a:prstGeom>
          <a:gradFill flip="none" rotWithShape="1">
            <a:gsLst>
              <a:gs pos="69000">
                <a:schemeClr val="bg1"/>
              </a:gs>
              <a:gs pos="68000">
                <a:srgbClr val="F2F2F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dirty="0">
                <a:solidFill>
                  <a:srgbClr val="3C3C3B"/>
                </a:solidFill>
              </a:rPr>
              <a:t>Hub</a:t>
            </a:r>
          </a:p>
        </p:txBody>
      </p:sp>
      <p:sp>
        <p:nvSpPr>
          <p:cNvPr id="62" name="CasellaDiTesto 61">
            <a:extLst>
              <a:ext uri="{FF2B5EF4-FFF2-40B4-BE49-F238E27FC236}">
                <a16:creationId xmlns:a16="http://schemas.microsoft.com/office/drawing/2014/main" id="{0093C1E3-3A05-7EB3-439C-19A9A68AA36C}"/>
              </a:ext>
            </a:extLst>
          </p:cNvPr>
          <p:cNvSpPr txBox="1"/>
          <p:nvPr/>
        </p:nvSpPr>
        <p:spPr>
          <a:xfrm>
            <a:off x="4892693" y="2453461"/>
            <a:ext cx="194375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it-IT" b="1" dirty="0">
                <a:solidFill>
                  <a:srgbClr val="EB1E3B"/>
                </a:solidFill>
              </a:rPr>
              <a:t>PASSENGERS</a:t>
            </a:r>
          </a:p>
        </p:txBody>
      </p:sp>
      <p:sp>
        <p:nvSpPr>
          <p:cNvPr id="63" name="CasellaDiTesto 62">
            <a:extLst>
              <a:ext uri="{FF2B5EF4-FFF2-40B4-BE49-F238E27FC236}">
                <a16:creationId xmlns:a16="http://schemas.microsoft.com/office/drawing/2014/main" id="{2221CB62-BFD0-21AB-2656-E61425A7D50F}"/>
              </a:ext>
            </a:extLst>
          </p:cNvPr>
          <p:cNvSpPr txBox="1"/>
          <p:nvPr/>
        </p:nvSpPr>
        <p:spPr>
          <a:xfrm>
            <a:off x="4485766" y="1993175"/>
            <a:ext cx="15162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00">
                <a:solidFill>
                  <a:schemeClr val="bg1"/>
                </a:solidFill>
              </a:defRPr>
            </a:lvl1pPr>
          </a:lstStyle>
          <a:p>
            <a:r>
              <a:rPr lang="it-IT" b="1" dirty="0">
                <a:solidFill>
                  <a:srgbClr val="22375B"/>
                </a:solidFill>
              </a:rPr>
              <a:t>INFRASTRUCTURE</a:t>
            </a:r>
          </a:p>
        </p:txBody>
      </p:sp>
      <p:sp>
        <p:nvSpPr>
          <p:cNvPr id="64" name="CasellaDiTesto 63">
            <a:extLst>
              <a:ext uri="{FF2B5EF4-FFF2-40B4-BE49-F238E27FC236}">
                <a16:creationId xmlns:a16="http://schemas.microsoft.com/office/drawing/2014/main" id="{5BBF48D4-F99C-0B6D-FDE7-A8C45E282168}"/>
              </a:ext>
            </a:extLst>
          </p:cNvPr>
          <p:cNvSpPr txBox="1"/>
          <p:nvPr/>
        </p:nvSpPr>
        <p:spPr>
          <a:xfrm>
            <a:off x="4769869" y="2010437"/>
            <a:ext cx="191473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00">
                <a:solidFill>
                  <a:schemeClr val="bg1"/>
                </a:solidFill>
              </a:defRPr>
            </a:lvl1pPr>
          </a:lstStyle>
          <a:p>
            <a:pPr algn="r"/>
            <a:r>
              <a:rPr lang="it-IT" b="1" dirty="0">
                <a:solidFill>
                  <a:srgbClr val="EFA049"/>
                </a:solidFill>
              </a:rPr>
              <a:t>LOGISTIC</a:t>
            </a:r>
          </a:p>
        </p:txBody>
      </p:sp>
      <p:sp>
        <p:nvSpPr>
          <p:cNvPr id="65" name="CasellaDiTesto 64">
            <a:extLst>
              <a:ext uri="{FF2B5EF4-FFF2-40B4-BE49-F238E27FC236}">
                <a16:creationId xmlns:a16="http://schemas.microsoft.com/office/drawing/2014/main" id="{87FAC796-366B-653A-3BE9-4DDECB6B5412}"/>
              </a:ext>
            </a:extLst>
          </p:cNvPr>
          <p:cNvSpPr txBox="1"/>
          <p:nvPr/>
        </p:nvSpPr>
        <p:spPr>
          <a:xfrm>
            <a:off x="4730205" y="2530405"/>
            <a:ext cx="184148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000">
                <a:solidFill>
                  <a:schemeClr val="bg1"/>
                </a:solidFill>
              </a:defRPr>
            </a:lvl1pPr>
          </a:lstStyle>
          <a:p>
            <a:pPr algn="r"/>
            <a:r>
              <a:rPr lang="it-IT" b="1" dirty="0">
                <a:solidFill>
                  <a:srgbClr val="62A830"/>
                </a:solidFill>
              </a:rPr>
              <a:t>URBAN</a:t>
            </a:r>
          </a:p>
        </p:txBody>
      </p:sp>
    </p:spTree>
    <p:extLst>
      <p:ext uri="{BB962C8B-B14F-4D97-AF65-F5344CB8AC3E}">
        <p14:creationId xmlns:p14="http://schemas.microsoft.com/office/powerpoint/2010/main" val="39983297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9E8747E-48FA-AB4B-8A98-04805BAB50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2922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425" imgH="424" progId="TCLayout.ActiveDocument.1">
                  <p:embed/>
                </p:oleObj>
              </mc:Choice>
              <mc:Fallback>
                <p:oleObj name="Diapositiva think-cell" r:id="rId3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9E8747E-48FA-AB4B-8A98-04805BAB50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olo 2">
            <a:extLst>
              <a:ext uri="{FF2B5EF4-FFF2-40B4-BE49-F238E27FC236}">
                <a16:creationId xmlns:a16="http://schemas.microsoft.com/office/drawing/2014/main" id="{FDACE4DD-ED3F-1DBD-8430-72DF01C7F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/>
              <a:t>Official and certified data storage and external provision</a:t>
            </a:r>
          </a:p>
        </p:txBody>
      </p:sp>
      <p:sp>
        <p:nvSpPr>
          <p:cNvPr id="4" name="Segnaposto testo 3">
            <a:extLst>
              <a:ext uri="{FF2B5EF4-FFF2-40B4-BE49-F238E27FC236}">
                <a16:creationId xmlns:a16="http://schemas.microsoft.com/office/drawing/2014/main" id="{5B30F6F1-FD9B-1248-0F6E-03DDF542FEB4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3BF83AB6-FB71-D1CB-8780-55CF11A856A1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Ovale 8">
            <a:extLst>
              <a:ext uri="{FF2B5EF4-FFF2-40B4-BE49-F238E27FC236}">
                <a16:creationId xmlns:a16="http://schemas.microsoft.com/office/drawing/2014/main" id="{5AF4608E-4080-A000-810D-E404B8E5B319}"/>
              </a:ext>
            </a:extLst>
          </p:cNvPr>
          <p:cNvSpPr>
            <a:spLocks noChangeAspect="1"/>
          </p:cNvSpPr>
          <p:nvPr/>
        </p:nvSpPr>
        <p:spPr>
          <a:xfrm>
            <a:off x="199848" y="2652967"/>
            <a:ext cx="1869035" cy="1869035"/>
          </a:xfrm>
          <a:prstGeom prst="ellipse">
            <a:avLst/>
          </a:prstGeom>
          <a:gradFill flip="none" rotWithShape="1">
            <a:gsLst>
              <a:gs pos="69000">
                <a:schemeClr val="bg1"/>
              </a:gs>
              <a:gs pos="68000">
                <a:srgbClr val="F2F2F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grpSp>
        <p:nvGrpSpPr>
          <p:cNvPr id="29" name="Gruppo 28">
            <a:extLst>
              <a:ext uri="{FF2B5EF4-FFF2-40B4-BE49-F238E27FC236}">
                <a16:creationId xmlns:a16="http://schemas.microsoft.com/office/drawing/2014/main" id="{C2810AEC-04D7-B7D3-4D69-B04624644FBC}"/>
              </a:ext>
            </a:extLst>
          </p:cNvPr>
          <p:cNvGrpSpPr/>
          <p:nvPr/>
        </p:nvGrpSpPr>
        <p:grpSpPr>
          <a:xfrm>
            <a:off x="9536109" y="2593975"/>
            <a:ext cx="1901961" cy="1869036"/>
            <a:chOff x="4719588" y="2169679"/>
            <a:chExt cx="2701058" cy="2654300"/>
          </a:xfrm>
        </p:grpSpPr>
        <p:grpSp>
          <p:nvGrpSpPr>
            <p:cNvPr id="20" name="Gruppo 19">
              <a:extLst>
                <a:ext uri="{FF2B5EF4-FFF2-40B4-BE49-F238E27FC236}">
                  <a16:creationId xmlns:a16="http://schemas.microsoft.com/office/drawing/2014/main" id="{D5431F5D-0853-6E33-5649-E6FBBC343CF5}"/>
                </a:ext>
              </a:extLst>
            </p:cNvPr>
            <p:cNvGrpSpPr/>
            <p:nvPr/>
          </p:nvGrpSpPr>
          <p:grpSpPr>
            <a:xfrm>
              <a:off x="4719588" y="2169679"/>
              <a:ext cx="2701058" cy="2654300"/>
              <a:chOff x="2171702" y="2238376"/>
              <a:chExt cx="2600324" cy="2555311"/>
            </a:xfrm>
          </p:grpSpPr>
          <p:sp>
            <p:nvSpPr>
              <p:cNvPr id="21" name="Ovale 20">
                <a:extLst>
                  <a:ext uri="{FF2B5EF4-FFF2-40B4-BE49-F238E27FC236}">
                    <a16:creationId xmlns:a16="http://schemas.microsoft.com/office/drawing/2014/main" id="{0AF4B61E-4090-AEAC-9848-56192B05C2A3}"/>
                  </a:ext>
                </a:extLst>
              </p:cNvPr>
              <p:cNvSpPr/>
              <p:nvPr/>
            </p:nvSpPr>
            <p:spPr>
              <a:xfrm>
                <a:off x="2206970" y="2273033"/>
                <a:ext cx="2503144" cy="2459814"/>
              </a:xfrm>
              <a:prstGeom prst="ellipse">
                <a:avLst/>
              </a:prstGeom>
              <a:noFill/>
              <a:ln w="19050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>
                    <a:solidFill>
                      <a:schemeClr val="bg1"/>
                    </a:solidFill>
                  </a:rPr>
                  <a:t>    </a:t>
                </a:r>
              </a:p>
            </p:txBody>
          </p:sp>
          <p:sp>
            <p:nvSpPr>
              <p:cNvPr id="22" name="Ovale 21">
                <a:extLst>
                  <a:ext uri="{FF2B5EF4-FFF2-40B4-BE49-F238E27FC236}">
                    <a16:creationId xmlns:a16="http://schemas.microsoft.com/office/drawing/2014/main" id="{1653C9F3-F19B-C720-0758-B827DB74A354}"/>
                  </a:ext>
                </a:extLst>
              </p:cNvPr>
              <p:cNvSpPr/>
              <p:nvPr/>
            </p:nvSpPr>
            <p:spPr>
              <a:xfrm>
                <a:off x="2283168" y="2347914"/>
                <a:ext cx="2384424" cy="2343149"/>
              </a:xfrm>
              <a:prstGeom prst="ellipse">
                <a:avLst/>
              </a:prstGeom>
              <a:solidFill>
                <a:srgbClr val="0033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>
                    <a:solidFill>
                      <a:schemeClr val="bg1"/>
                    </a:solidFill>
                  </a:rPr>
                  <a:t>    </a:t>
                </a:r>
              </a:p>
            </p:txBody>
          </p:sp>
          <p:grpSp>
            <p:nvGrpSpPr>
              <p:cNvPr id="23" name="Gruppo 22">
                <a:extLst>
                  <a:ext uri="{FF2B5EF4-FFF2-40B4-BE49-F238E27FC236}">
                    <a16:creationId xmlns:a16="http://schemas.microsoft.com/office/drawing/2014/main" id="{7094C262-01FE-B7BD-DE19-F4ED8466E416}"/>
                  </a:ext>
                </a:extLst>
              </p:cNvPr>
              <p:cNvGrpSpPr/>
              <p:nvPr/>
            </p:nvGrpSpPr>
            <p:grpSpPr>
              <a:xfrm>
                <a:off x="2319680" y="2363788"/>
                <a:ext cx="2311400" cy="2311400"/>
                <a:chOff x="2051050" y="2117725"/>
                <a:chExt cx="2311400" cy="2311400"/>
              </a:xfrm>
              <a:effectLst>
                <a:outerShdw blurRad="571500" dist="165100" dir="8100000" sx="101000" sy="101000" algn="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25" name="Ovale 24">
                  <a:extLst>
                    <a:ext uri="{FF2B5EF4-FFF2-40B4-BE49-F238E27FC236}">
                      <a16:creationId xmlns:a16="http://schemas.microsoft.com/office/drawing/2014/main" id="{36F5C6A1-EC23-3554-28B0-7BE67C2469FD}"/>
                    </a:ext>
                  </a:extLst>
                </p:cNvPr>
                <p:cNvSpPr/>
                <p:nvPr/>
              </p:nvSpPr>
              <p:spPr>
                <a:xfrm>
                  <a:off x="2051050" y="2117725"/>
                  <a:ext cx="2311400" cy="2311400"/>
                </a:xfrm>
                <a:prstGeom prst="ellipse">
                  <a:avLst/>
                </a:prstGeom>
                <a:gradFill>
                  <a:gsLst>
                    <a:gs pos="49000">
                      <a:schemeClr val="bg1"/>
                    </a:gs>
                    <a:gs pos="79000">
                      <a:schemeClr val="tx1">
                        <a:lumMod val="60000"/>
                        <a:lumOff val="40000"/>
                      </a:schemeClr>
                    </a:gs>
                  </a:gsLst>
                  <a:lin ang="7800000" scaled="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6" name="Ovale 25">
                  <a:extLst>
                    <a:ext uri="{FF2B5EF4-FFF2-40B4-BE49-F238E27FC236}">
                      <a16:creationId xmlns:a16="http://schemas.microsoft.com/office/drawing/2014/main" id="{35AECFFF-E74D-7DC8-2E19-CF2D5A272A96}"/>
                    </a:ext>
                  </a:extLst>
                </p:cNvPr>
                <p:cNvSpPr/>
                <p:nvPr/>
              </p:nvSpPr>
              <p:spPr>
                <a:xfrm>
                  <a:off x="2114550" y="2200275"/>
                  <a:ext cx="2162175" cy="2162175"/>
                </a:xfrm>
                <a:prstGeom prst="ellipse">
                  <a:avLst/>
                </a:prstGeom>
                <a:gradFill flip="none" rotWithShape="1">
                  <a:gsLst>
                    <a:gs pos="69000">
                      <a:schemeClr val="bg1"/>
                    </a:gs>
                    <a:gs pos="68000">
                      <a:srgbClr val="F2F2F2"/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24" name="Ovale 23">
                <a:extLst>
                  <a:ext uri="{FF2B5EF4-FFF2-40B4-BE49-F238E27FC236}">
                    <a16:creationId xmlns:a16="http://schemas.microsoft.com/office/drawing/2014/main" id="{3BBC841D-CD38-2201-1757-45BB118A0F83}"/>
                  </a:ext>
                </a:extLst>
              </p:cNvPr>
              <p:cNvSpPr/>
              <p:nvPr/>
            </p:nvSpPr>
            <p:spPr>
              <a:xfrm>
                <a:off x="2171702" y="2238376"/>
                <a:ext cx="2600324" cy="2555311"/>
              </a:xfrm>
              <a:prstGeom prst="ellipse">
                <a:avLst/>
              </a:prstGeom>
              <a:noFill/>
              <a:ln w="9525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>
                    <a:solidFill>
                      <a:schemeClr val="bg1"/>
                    </a:solidFill>
                  </a:rPr>
                  <a:t>    </a:t>
                </a:r>
              </a:p>
            </p:txBody>
          </p:sp>
        </p:grpSp>
        <p:sp>
          <p:nvSpPr>
            <p:cNvPr id="27" name="CasellaDiTesto 26">
              <a:extLst>
                <a:ext uri="{FF2B5EF4-FFF2-40B4-BE49-F238E27FC236}">
                  <a16:creationId xmlns:a16="http://schemas.microsoft.com/office/drawing/2014/main" id="{4642C6A6-53E8-D840-5EED-944D7A351165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5180485" y="2614508"/>
              <a:ext cx="1800729" cy="1800729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/>
              </a:prstTxWarp>
              <a:spAutoFit/>
            </a:bodyPr>
            <a:lstStyle/>
            <a:p>
              <a:pPr algn="ctr"/>
              <a:r>
                <a:rPr lang="en-GB" dirty="0">
                  <a:latin typeface="Montserrat Black" pitchFamily="2" charset="0"/>
                </a:rPr>
                <a:t>FS Research Centre</a:t>
              </a:r>
            </a:p>
          </p:txBody>
        </p:sp>
        <p:pic>
          <p:nvPicPr>
            <p:cNvPr id="28" name="Immagine 27" descr="Immagine che contiene logo, Elementi grafici, simbolo, grafica&#10;&#10;Descrizione generata automaticamente">
              <a:extLst>
                <a:ext uri="{FF2B5EF4-FFF2-40B4-BE49-F238E27FC236}">
                  <a16:creationId xmlns:a16="http://schemas.microsoft.com/office/drawing/2014/main" id="{910BF7C6-EA26-A6CE-5943-D39B870AAF7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35353" y="2813948"/>
              <a:ext cx="1792937" cy="1819214"/>
            </a:xfrm>
            <a:prstGeom prst="rect">
              <a:avLst/>
            </a:prstGeom>
          </p:spPr>
        </p:pic>
      </p:grpSp>
      <p:pic>
        <p:nvPicPr>
          <p:cNvPr id="30" name="Immagine 29" descr="Immagine che contiene logo, Elementi grafici, simbolo, grafica&#10;&#10;Descrizione generata automaticamente">
            <a:extLst>
              <a:ext uri="{FF2B5EF4-FFF2-40B4-BE49-F238E27FC236}">
                <a16:creationId xmlns:a16="http://schemas.microsoft.com/office/drawing/2014/main" id="{76CC731C-7FBF-1945-9411-B34E603DAB1E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046" y="2878789"/>
            <a:ext cx="1396917" cy="1417390"/>
          </a:xfrm>
          <a:prstGeom prst="rect">
            <a:avLst/>
          </a:prstGeom>
        </p:spPr>
      </p:pic>
      <p:sp>
        <p:nvSpPr>
          <p:cNvPr id="31" name="CasellaDiTesto 30">
            <a:extLst>
              <a:ext uri="{FF2B5EF4-FFF2-40B4-BE49-F238E27FC236}">
                <a16:creationId xmlns:a16="http://schemas.microsoft.com/office/drawing/2014/main" id="{A09FFF15-7EE7-8DA9-4CCE-C24816007AFC}"/>
              </a:ext>
            </a:extLst>
          </p:cNvPr>
          <p:cNvSpPr txBox="1"/>
          <p:nvPr/>
        </p:nvSpPr>
        <p:spPr>
          <a:xfrm>
            <a:off x="9318338" y="5077578"/>
            <a:ext cx="258564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200" dirty="0"/>
              <a:t>Ministry  of Transport</a:t>
            </a:r>
          </a:p>
          <a:p>
            <a:r>
              <a:rPr lang="en-GB" sz="1200" dirty="0"/>
              <a:t>National Institute of Statistics</a:t>
            </a:r>
          </a:p>
          <a:p>
            <a:r>
              <a:rPr lang="en-GB" sz="1200" dirty="0"/>
              <a:t>UIC</a:t>
            </a:r>
          </a:p>
          <a:p>
            <a:r>
              <a:rPr lang="en-GB" sz="1200" dirty="0"/>
              <a:t>…..</a:t>
            </a:r>
            <a:endParaRPr lang="it-IT" sz="1200" dirty="0"/>
          </a:p>
        </p:txBody>
      </p:sp>
      <p:sp>
        <p:nvSpPr>
          <p:cNvPr id="32" name="Callout 10 108">
            <a:extLst>
              <a:ext uri="{FF2B5EF4-FFF2-40B4-BE49-F238E27FC236}">
                <a16:creationId xmlns:a16="http://schemas.microsoft.com/office/drawing/2014/main" id="{2C8ABC09-2FCE-B5DE-ED9E-711E8D899D5D}"/>
              </a:ext>
            </a:extLst>
          </p:cNvPr>
          <p:cNvSpPr/>
          <p:nvPr/>
        </p:nvSpPr>
        <p:spPr>
          <a:xfrm flipH="1">
            <a:off x="2094960" y="3316710"/>
            <a:ext cx="1068835" cy="942180"/>
          </a:xfrm>
          <a:prstGeom prst="callout2">
            <a:avLst>
              <a:gd name="adj1" fmla="val 26992"/>
              <a:gd name="adj2" fmla="val -22592"/>
              <a:gd name="adj3" fmla="val 25925"/>
              <a:gd name="adj4" fmla="val -21507"/>
              <a:gd name="adj5" fmla="val 28819"/>
              <a:gd name="adj6" fmla="val 88838"/>
            </a:avLst>
          </a:prstGeom>
          <a:noFill/>
          <a:ln>
            <a:solidFill>
              <a:schemeClr val="bg1">
                <a:lumMod val="50000"/>
              </a:schemeClr>
            </a:solidFill>
            <a:headEnd type="oval" w="lg" len="lg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pic>
        <p:nvPicPr>
          <p:cNvPr id="37" name="Elemento grafico 36" descr="Apri cartella contorno">
            <a:extLst>
              <a:ext uri="{FF2B5EF4-FFF2-40B4-BE49-F238E27FC236}">
                <a16:creationId xmlns:a16="http://schemas.microsoft.com/office/drawing/2014/main" id="{379541CC-D373-8B28-1C4D-107756EE083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518478" y="3138613"/>
            <a:ext cx="914400" cy="914400"/>
          </a:xfrm>
          <a:prstGeom prst="rect">
            <a:avLst/>
          </a:prstGeom>
        </p:spPr>
      </p:pic>
      <p:pic>
        <p:nvPicPr>
          <p:cNvPr id="39" name="Elemento grafico 38" descr="Pezzi del puzzle contorno">
            <a:extLst>
              <a:ext uri="{FF2B5EF4-FFF2-40B4-BE49-F238E27FC236}">
                <a16:creationId xmlns:a16="http://schemas.microsoft.com/office/drawing/2014/main" id="{4062723F-F041-D35C-7F91-F18A5D877ED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444941" y="3110620"/>
            <a:ext cx="914400" cy="914400"/>
          </a:xfrm>
          <a:prstGeom prst="rect">
            <a:avLst/>
          </a:prstGeom>
        </p:spPr>
      </p:pic>
      <p:pic>
        <p:nvPicPr>
          <p:cNvPr id="41" name="Elemento grafico 40" descr="Database contorno">
            <a:extLst>
              <a:ext uri="{FF2B5EF4-FFF2-40B4-BE49-F238E27FC236}">
                <a16:creationId xmlns:a16="http://schemas.microsoft.com/office/drawing/2014/main" id="{397F5890-2FA9-6221-AB85-7E3671CDF64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717533" y="3090956"/>
            <a:ext cx="914400" cy="914400"/>
          </a:xfrm>
          <a:prstGeom prst="rect">
            <a:avLst/>
          </a:prstGeom>
        </p:spPr>
      </p:pic>
      <p:sp>
        <p:nvSpPr>
          <p:cNvPr id="42" name="Callout 10 108">
            <a:extLst>
              <a:ext uri="{FF2B5EF4-FFF2-40B4-BE49-F238E27FC236}">
                <a16:creationId xmlns:a16="http://schemas.microsoft.com/office/drawing/2014/main" id="{4C59568B-9084-A9A6-BB79-F693F40A66FB}"/>
              </a:ext>
            </a:extLst>
          </p:cNvPr>
          <p:cNvSpPr/>
          <p:nvPr/>
        </p:nvSpPr>
        <p:spPr>
          <a:xfrm flipH="1">
            <a:off x="4355661" y="3316710"/>
            <a:ext cx="1068835" cy="942180"/>
          </a:xfrm>
          <a:prstGeom prst="callout2">
            <a:avLst>
              <a:gd name="adj1" fmla="val 28036"/>
              <a:gd name="adj2" fmla="val 8685"/>
              <a:gd name="adj3" fmla="val 28013"/>
              <a:gd name="adj4" fmla="val 15289"/>
              <a:gd name="adj5" fmla="val 28819"/>
              <a:gd name="adj6" fmla="val 88838"/>
            </a:avLst>
          </a:prstGeom>
          <a:noFill/>
          <a:ln>
            <a:solidFill>
              <a:schemeClr val="bg1">
                <a:lumMod val="50000"/>
              </a:schemeClr>
            </a:solidFill>
            <a:headEnd type="oval" w="lg" len="lg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3" name="Callout 10 108">
            <a:extLst>
              <a:ext uri="{FF2B5EF4-FFF2-40B4-BE49-F238E27FC236}">
                <a16:creationId xmlns:a16="http://schemas.microsoft.com/office/drawing/2014/main" id="{AEFC4430-01FF-F876-7B1E-DE49A60F1026}"/>
              </a:ext>
            </a:extLst>
          </p:cNvPr>
          <p:cNvSpPr/>
          <p:nvPr/>
        </p:nvSpPr>
        <p:spPr>
          <a:xfrm flipH="1">
            <a:off x="6400717" y="3316710"/>
            <a:ext cx="1068835" cy="942180"/>
          </a:xfrm>
          <a:prstGeom prst="callout2">
            <a:avLst>
              <a:gd name="adj1" fmla="val 26992"/>
              <a:gd name="adj2" fmla="val -22592"/>
              <a:gd name="adj3" fmla="val 25925"/>
              <a:gd name="adj4" fmla="val -21507"/>
              <a:gd name="adj5" fmla="val 28819"/>
              <a:gd name="adj6" fmla="val 109076"/>
            </a:avLst>
          </a:prstGeom>
          <a:noFill/>
          <a:ln>
            <a:solidFill>
              <a:schemeClr val="bg1">
                <a:lumMod val="50000"/>
              </a:schemeClr>
            </a:solidFill>
            <a:headEnd type="oval" w="lg" len="lg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4" name="CasellaDiTesto 43">
            <a:extLst>
              <a:ext uri="{FF2B5EF4-FFF2-40B4-BE49-F238E27FC236}">
                <a16:creationId xmlns:a16="http://schemas.microsoft.com/office/drawing/2014/main" id="{4AF1936E-E0D2-140E-C052-9E6676A7A937}"/>
              </a:ext>
            </a:extLst>
          </p:cNvPr>
          <p:cNvSpPr txBox="1"/>
          <p:nvPr/>
        </p:nvSpPr>
        <p:spPr>
          <a:xfrm rot="19408477">
            <a:off x="2697852" y="4148618"/>
            <a:ext cx="176202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Shared input folder</a:t>
            </a:r>
            <a:endParaRPr lang="it-IT" sz="1600" dirty="0"/>
          </a:p>
        </p:txBody>
      </p:sp>
      <p:sp>
        <p:nvSpPr>
          <p:cNvPr id="45" name="CasellaDiTesto 44">
            <a:extLst>
              <a:ext uri="{FF2B5EF4-FFF2-40B4-BE49-F238E27FC236}">
                <a16:creationId xmlns:a16="http://schemas.microsoft.com/office/drawing/2014/main" id="{8D7CBDD4-E0EC-32F7-018E-CEC0437E8FBA}"/>
              </a:ext>
            </a:extLst>
          </p:cNvPr>
          <p:cNvSpPr txBox="1"/>
          <p:nvPr/>
        </p:nvSpPr>
        <p:spPr>
          <a:xfrm rot="19408477">
            <a:off x="7243551" y="3855350"/>
            <a:ext cx="176202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/>
              <a:t>Storage</a:t>
            </a:r>
            <a:endParaRPr lang="it-IT" sz="1600" dirty="0"/>
          </a:p>
        </p:txBody>
      </p:sp>
      <p:sp>
        <p:nvSpPr>
          <p:cNvPr id="46" name="CasellaDiTesto 45">
            <a:extLst>
              <a:ext uri="{FF2B5EF4-FFF2-40B4-BE49-F238E27FC236}">
                <a16:creationId xmlns:a16="http://schemas.microsoft.com/office/drawing/2014/main" id="{74CFEB6B-8FC7-64D8-9E6B-0358310FE334}"/>
              </a:ext>
            </a:extLst>
          </p:cNvPr>
          <p:cNvSpPr txBox="1"/>
          <p:nvPr/>
        </p:nvSpPr>
        <p:spPr>
          <a:xfrm rot="19408477">
            <a:off x="4561243" y="3983380"/>
            <a:ext cx="176202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600" dirty="0"/>
              <a:t>ETL +</a:t>
            </a:r>
          </a:p>
          <a:p>
            <a:pPr algn="ctr"/>
            <a:r>
              <a:rPr lang="en-GB" sz="1600" dirty="0"/>
              <a:t> hashing </a:t>
            </a:r>
            <a:endParaRPr lang="it-IT" sz="1600" dirty="0"/>
          </a:p>
        </p:txBody>
      </p:sp>
      <p:sp>
        <p:nvSpPr>
          <p:cNvPr id="47" name="Callout 10 108">
            <a:extLst>
              <a:ext uri="{FF2B5EF4-FFF2-40B4-BE49-F238E27FC236}">
                <a16:creationId xmlns:a16="http://schemas.microsoft.com/office/drawing/2014/main" id="{BEEF0099-B020-87AE-6C29-5C0823647C68}"/>
              </a:ext>
            </a:extLst>
          </p:cNvPr>
          <p:cNvSpPr/>
          <p:nvPr/>
        </p:nvSpPr>
        <p:spPr>
          <a:xfrm flipH="1">
            <a:off x="6318663" y="2407699"/>
            <a:ext cx="1068835" cy="942180"/>
          </a:xfrm>
          <a:prstGeom prst="callout2">
            <a:avLst>
              <a:gd name="adj1" fmla="val 121956"/>
              <a:gd name="adj2" fmla="val 27083"/>
              <a:gd name="adj3" fmla="val 57233"/>
              <a:gd name="adj4" fmla="val 26328"/>
              <a:gd name="adj5" fmla="val 61169"/>
              <a:gd name="adj6" fmla="val 523953"/>
            </a:avLst>
          </a:prstGeom>
          <a:noFill/>
          <a:ln>
            <a:solidFill>
              <a:schemeClr val="bg1">
                <a:lumMod val="50000"/>
              </a:schemeClr>
            </a:solidFill>
            <a:headEnd type="oval" w="lg" len="lg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>
              <a:solidFill>
                <a:schemeClr val="bg1"/>
              </a:solidFill>
            </a:endParaRPr>
          </a:p>
        </p:txBody>
      </p:sp>
      <p:sp>
        <p:nvSpPr>
          <p:cNvPr id="48" name="CasellaDiTesto 47">
            <a:extLst>
              <a:ext uri="{FF2B5EF4-FFF2-40B4-BE49-F238E27FC236}">
                <a16:creationId xmlns:a16="http://schemas.microsoft.com/office/drawing/2014/main" id="{29EA2CDB-2ADE-FF24-55C1-DE2F190887CD}"/>
              </a:ext>
            </a:extLst>
          </p:cNvPr>
          <p:cNvSpPr txBox="1"/>
          <p:nvPr/>
        </p:nvSpPr>
        <p:spPr>
          <a:xfrm rot="19408477">
            <a:off x="5774560" y="3962235"/>
            <a:ext cx="176202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/>
              <a:t>Quality check</a:t>
            </a:r>
            <a:endParaRPr lang="it-IT" sz="1600" dirty="0"/>
          </a:p>
        </p:txBody>
      </p:sp>
      <p:sp>
        <p:nvSpPr>
          <p:cNvPr id="49" name="CasellaDiTesto 48">
            <a:extLst>
              <a:ext uri="{FF2B5EF4-FFF2-40B4-BE49-F238E27FC236}">
                <a16:creationId xmlns:a16="http://schemas.microsoft.com/office/drawing/2014/main" id="{FA2B8D62-8DD9-7222-FB30-298F4C779607}"/>
              </a:ext>
            </a:extLst>
          </p:cNvPr>
          <p:cNvSpPr txBox="1"/>
          <p:nvPr/>
        </p:nvSpPr>
        <p:spPr>
          <a:xfrm>
            <a:off x="3743446" y="2691284"/>
            <a:ext cx="273236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/>
              <a:t>&lt;&lt; feedback to Company  </a:t>
            </a:r>
            <a:endParaRPr lang="it-IT" sz="1400" dirty="0"/>
          </a:p>
        </p:txBody>
      </p:sp>
      <p:sp>
        <p:nvSpPr>
          <p:cNvPr id="50" name="Ovale 49">
            <a:extLst>
              <a:ext uri="{FF2B5EF4-FFF2-40B4-BE49-F238E27FC236}">
                <a16:creationId xmlns:a16="http://schemas.microsoft.com/office/drawing/2014/main" id="{0BE102A1-6E5A-8084-9ADE-3B2807B86EA6}"/>
              </a:ext>
            </a:extLst>
          </p:cNvPr>
          <p:cNvSpPr/>
          <p:nvPr/>
        </p:nvSpPr>
        <p:spPr>
          <a:xfrm>
            <a:off x="7011547" y="3481626"/>
            <a:ext cx="180000" cy="180000"/>
          </a:xfrm>
          <a:prstGeom prst="ellipse">
            <a:avLst/>
          </a:prstGeom>
          <a:solidFill>
            <a:srgbClr val="3C3C3B"/>
          </a:solidFill>
          <a:ln>
            <a:solidFill>
              <a:srgbClr val="3C3C3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1" name="Fumetto: rettangolo 50">
            <a:extLst>
              <a:ext uri="{FF2B5EF4-FFF2-40B4-BE49-F238E27FC236}">
                <a16:creationId xmlns:a16="http://schemas.microsoft.com/office/drawing/2014/main" id="{167AB0AD-531E-DBAF-D2D2-FC1FDD938B7D}"/>
              </a:ext>
            </a:extLst>
          </p:cNvPr>
          <p:cNvSpPr/>
          <p:nvPr/>
        </p:nvSpPr>
        <p:spPr>
          <a:xfrm>
            <a:off x="4568546" y="5296759"/>
            <a:ext cx="2518231" cy="1067232"/>
          </a:xfrm>
          <a:custGeom>
            <a:avLst/>
            <a:gdLst>
              <a:gd name="connsiteX0" fmla="*/ 0 w 2518231"/>
              <a:gd name="connsiteY0" fmla="*/ 0 h 1067232"/>
              <a:gd name="connsiteX1" fmla="*/ 445587 w 2518231"/>
              <a:gd name="connsiteY1" fmla="*/ 0 h 1067232"/>
              <a:gd name="connsiteX2" fmla="*/ 891174 w 2518231"/>
              <a:gd name="connsiteY2" fmla="*/ 0 h 1067232"/>
              <a:gd name="connsiteX3" fmla="*/ 1468968 w 2518231"/>
              <a:gd name="connsiteY3" fmla="*/ 0 h 1067232"/>
              <a:gd name="connsiteX4" fmla="*/ 1514117 w 2518231"/>
              <a:gd name="connsiteY4" fmla="*/ -305544 h 1067232"/>
              <a:gd name="connsiteX5" fmla="*/ 1565030 w 2518231"/>
              <a:gd name="connsiteY5" fmla="*/ -650094 h 1067232"/>
              <a:gd name="connsiteX6" fmla="*/ 1831778 w 2518231"/>
              <a:gd name="connsiteY6" fmla="*/ -325047 h 1067232"/>
              <a:gd name="connsiteX7" fmla="*/ 2098526 w 2518231"/>
              <a:gd name="connsiteY7" fmla="*/ 0 h 1067232"/>
              <a:gd name="connsiteX8" fmla="*/ 2518231 w 2518231"/>
              <a:gd name="connsiteY8" fmla="*/ 0 h 1067232"/>
              <a:gd name="connsiteX9" fmla="*/ 2518231 w 2518231"/>
              <a:gd name="connsiteY9" fmla="*/ 177872 h 1067232"/>
              <a:gd name="connsiteX10" fmla="*/ 2518231 w 2518231"/>
              <a:gd name="connsiteY10" fmla="*/ 177872 h 1067232"/>
              <a:gd name="connsiteX11" fmla="*/ 2518231 w 2518231"/>
              <a:gd name="connsiteY11" fmla="*/ 444680 h 1067232"/>
              <a:gd name="connsiteX12" fmla="*/ 2518231 w 2518231"/>
              <a:gd name="connsiteY12" fmla="*/ 762182 h 1067232"/>
              <a:gd name="connsiteX13" fmla="*/ 2518231 w 2518231"/>
              <a:gd name="connsiteY13" fmla="*/ 1067232 h 1067232"/>
              <a:gd name="connsiteX14" fmla="*/ 2098526 w 2518231"/>
              <a:gd name="connsiteY14" fmla="*/ 1067232 h 1067232"/>
              <a:gd name="connsiteX15" fmla="*/ 1777451 w 2518231"/>
              <a:gd name="connsiteY15" fmla="*/ 1067232 h 1067232"/>
              <a:gd name="connsiteX16" fmla="*/ 1468968 w 2518231"/>
              <a:gd name="connsiteY16" fmla="*/ 1067232 h 1067232"/>
              <a:gd name="connsiteX17" fmla="*/ 1468968 w 2518231"/>
              <a:gd name="connsiteY17" fmla="*/ 1067232 h 1067232"/>
              <a:gd name="connsiteX18" fmla="*/ 1023381 w 2518231"/>
              <a:gd name="connsiteY18" fmla="*/ 1067232 h 1067232"/>
              <a:gd name="connsiteX19" fmla="*/ 548415 w 2518231"/>
              <a:gd name="connsiteY19" fmla="*/ 1067232 h 1067232"/>
              <a:gd name="connsiteX20" fmla="*/ 0 w 2518231"/>
              <a:gd name="connsiteY20" fmla="*/ 1067232 h 1067232"/>
              <a:gd name="connsiteX21" fmla="*/ 0 w 2518231"/>
              <a:gd name="connsiteY21" fmla="*/ 743505 h 1067232"/>
              <a:gd name="connsiteX22" fmla="*/ 0 w 2518231"/>
              <a:gd name="connsiteY22" fmla="*/ 444680 h 1067232"/>
              <a:gd name="connsiteX23" fmla="*/ 0 w 2518231"/>
              <a:gd name="connsiteY23" fmla="*/ 177872 h 1067232"/>
              <a:gd name="connsiteX24" fmla="*/ 0 w 2518231"/>
              <a:gd name="connsiteY24" fmla="*/ 177872 h 1067232"/>
              <a:gd name="connsiteX25" fmla="*/ 0 w 2518231"/>
              <a:gd name="connsiteY25" fmla="*/ 0 h 1067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518231" h="1067232" extrusionOk="0">
                <a:moveTo>
                  <a:pt x="0" y="0"/>
                </a:moveTo>
                <a:cubicBezTo>
                  <a:pt x="176911" y="-49328"/>
                  <a:pt x="281751" y="16663"/>
                  <a:pt x="445587" y="0"/>
                </a:cubicBezTo>
                <a:cubicBezTo>
                  <a:pt x="609423" y="-16663"/>
                  <a:pt x="717700" y="11280"/>
                  <a:pt x="891174" y="0"/>
                </a:cubicBezTo>
                <a:cubicBezTo>
                  <a:pt x="1064648" y="-11280"/>
                  <a:pt x="1197020" y="13460"/>
                  <a:pt x="1468968" y="0"/>
                </a:cubicBezTo>
                <a:cubicBezTo>
                  <a:pt x="1467223" y="-101653"/>
                  <a:pt x="1513466" y="-151008"/>
                  <a:pt x="1514117" y="-305544"/>
                </a:cubicBezTo>
                <a:cubicBezTo>
                  <a:pt x="1514768" y="-460080"/>
                  <a:pt x="1573525" y="-519298"/>
                  <a:pt x="1565030" y="-650094"/>
                </a:cubicBezTo>
                <a:cubicBezTo>
                  <a:pt x="1694332" y="-530414"/>
                  <a:pt x="1703423" y="-406103"/>
                  <a:pt x="1831778" y="-325047"/>
                </a:cubicBezTo>
                <a:cubicBezTo>
                  <a:pt x="1960133" y="-243991"/>
                  <a:pt x="1958383" y="-136900"/>
                  <a:pt x="2098526" y="0"/>
                </a:cubicBezTo>
                <a:cubicBezTo>
                  <a:pt x="2263593" y="-12331"/>
                  <a:pt x="2379834" y="18102"/>
                  <a:pt x="2518231" y="0"/>
                </a:cubicBezTo>
                <a:cubicBezTo>
                  <a:pt x="2519703" y="73761"/>
                  <a:pt x="2506336" y="101192"/>
                  <a:pt x="2518231" y="177872"/>
                </a:cubicBezTo>
                <a:lnTo>
                  <a:pt x="2518231" y="177872"/>
                </a:lnTo>
                <a:cubicBezTo>
                  <a:pt x="2524117" y="267214"/>
                  <a:pt x="2510823" y="349325"/>
                  <a:pt x="2518231" y="444680"/>
                </a:cubicBezTo>
                <a:cubicBezTo>
                  <a:pt x="2555758" y="508466"/>
                  <a:pt x="2506420" y="675481"/>
                  <a:pt x="2518231" y="762182"/>
                </a:cubicBezTo>
                <a:cubicBezTo>
                  <a:pt x="2530042" y="848883"/>
                  <a:pt x="2483635" y="921985"/>
                  <a:pt x="2518231" y="1067232"/>
                </a:cubicBezTo>
                <a:cubicBezTo>
                  <a:pt x="2423428" y="1088585"/>
                  <a:pt x="2244976" y="1035343"/>
                  <a:pt x="2098526" y="1067232"/>
                </a:cubicBezTo>
                <a:cubicBezTo>
                  <a:pt x="1948697" y="1102584"/>
                  <a:pt x="1876402" y="1061444"/>
                  <a:pt x="1777451" y="1067232"/>
                </a:cubicBezTo>
                <a:cubicBezTo>
                  <a:pt x="1678501" y="1073020"/>
                  <a:pt x="1578125" y="1047284"/>
                  <a:pt x="1468968" y="1067232"/>
                </a:cubicBezTo>
                <a:lnTo>
                  <a:pt x="1468968" y="1067232"/>
                </a:lnTo>
                <a:cubicBezTo>
                  <a:pt x="1277690" y="1083111"/>
                  <a:pt x="1223672" y="1026319"/>
                  <a:pt x="1023381" y="1067232"/>
                </a:cubicBezTo>
                <a:cubicBezTo>
                  <a:pt x="823090" y="1108145"/>
                  <a:pt x="682044" y="1022828"/>
                  <a:pt x="548415" y="1067232"/>
                </a:cubicBezTo>
                <a:cubicBezTo>
                  <a:pt x="414786" y="1111636"/>
                  <a:pt x="130636" y="1008566"/>
                  <a:pt x="0" y="1067232"/>
                </a:cubicBezTo>
                <a:cubicBezTo>
                  <a:pt x="-3902" y="944857"/>
                  <a:pt x="16657" y="856422"/>
                  <a:pt x="0" y="743505"/>
                </a:cubicBezTo>
                <a:cubicBezTo>
                  <a:pt x="-16657" y="630588"/>
                  <a:pt x="16495" y="555549"/>
                  <a:pt x="0" y="444680"/>
                </a:cubicBezTo>
                <a:cubicBezTo>
                  <a:pt x="-24473" y="343048"/>
                  <a:pt x="25329" y="273601"/>
                  <a:pt x="0" y="177872"/>
                </a:cubicBezTo>
                <a:lnTo>
                  <a:pt x="0" y="177872"/>
                </a:lnTo>
                <a:cubicBezTo>
                  <a:pt x="-7366" y="123901"/>
                  <a:pt x="15805" y="38004"/>
                  <a:pt x="0" y="0"/>
                </a:cubicBezTo>
                <a:close/>
              </a:path>
            </a:pathLst>
          </a:custGeom>
          <a:noFill/>
          <a:ln>
            <a:solidFill>
              <a:srgbClr val="3C3C3B"/>
            </a:solidFill>
            <a:extLst>
              <a:ext uri="{C807C97D-BFC1-408E-A445-0C87EB9F89A2}">
                <ask:lineSketchStyleProps xmlns:ask="http://schemas.microsoft.com/office/drawing/2018/sketchyshapes" sd="3573920969">
                  <a:prstGeom prst="wedgeRectCallout">
                    <a:avLst>
                      <a:gd name="adj1" fmla="val 12148"/>
                      <a:gd name="adj2" fmla="val -110914"/>
                    </a:avLst>
                  </a:prstGeom>
                  <ask:type>
                    <ask:lineSketchScribble/>
                  </ask:type>
                </ask:lineSketchStyleProps>
              </a:ext>
            </a:extLst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3C3C3B"/>
                </a:solidFill>
              </a:rPr>
              <a:t>Automatic contr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3C3C3B"/>
                </a:solidFill>
              </a:rPr>
              <a:t>Staging moni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3C3C3B"/>
                </a:solidFill>
              </a:rPr>
              <a:t>Historical check (temporal stability)</a:t>
            </a:r>
          </a:p>
        </p:txBody>
      </p:sp>
      <p:pic>
        <p:nvPicPr>
          <p:cNvPr id="53" name="Elemento grafico 52" descr="Ricerca contorno">
            <a:extLst>
              <a:ext uri="{FF2B5EF4-FFF2-40B4-BE49-F238E27FC236}">
                <a16:creationId xmlns:a16="http://schemas.microsoft.com/office/drawing/2014/main" id="{88B4D3AB-4563-2FEB-B615-CF28F9FE8A3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086777" y="5599348"/>
            <a:ext cx="701081" cy="701081"/>
          </a:xfrm>
          <a:prstGeom prst="rect">
            <a:avLst/>
          </a:prstGeom>
        </p:spPr>
      </p:pic>
      <p:pic>
        <p:nvPicPr>
          <p:cNvPr id="57" name="Elemento grafico 56" descr="Pollice abbassato con riempimento a tinta unita">
            <a:extLst>
              <a:ext uri="{FF2B5EF4-FFF2-40B4-BE49-F238E27FC236}">
                <a16:creationId xmlns:a16="http://schemas.microsoft.com/office/drawing/2014/main" id="{F6115E51-6881-9F0B-D8B2-97D1AFD93E7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921876" y="3064931"/>
            <a:ext cx="281299" cy="281299"/>
          </a:xfrm>
          <a:prstGeom prst="rect">
            <a:avLst/>
          </a:prstGeom>
        </p:spPr>
      </p:pic>
      <p:pic>
        <p:nvPicPr>
          <p:cNvPr id="59" name="Elemento grafico 58" descr="Segna Pollice su con riempimento a tinta unita">
            <a:extLst>
              <a:ext uri="{FF2B5EF4-FFF2-40B4-BE49-F238E27FC236}">
                <a16:creationId xmlns:a16="http://schemas.microsoft.com/office/drawing/2014/main" id="{93C303D9-D56F-4AFA-47E6-C94290299CE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296669" y="3387843"/>
            <a:ext cx="281299" cy="281299"/>
          </a:xfrm>
          <a:prstGeom prst="rect">
            <a:avLst/>
          </a:prstGeom>
        </p:spPr>
      </p:pic>
      <p:cxnSp>
        <p:nvCxnSpPr>
          <p:cNvPr id="34" name="Connettore 2 33">
            <a:extLst>
              <a:ext uri="{FF2B5EF4-FFF2-40B4-BE49-F238E27FC236}">
                <a16:creationId xmlns:a16="http://schemas.microsoft.com/office/drawing/2014/main" id="{45FC5829-22C5-44D6-55B9-DD2F34C1064D}"/>
              </a:ext>
            </a:extLst>
          </p:cNvPr>
          <p:cNvCxnSpPr>
            <a:stCxn id="24" idx="4"/>
          </p:cNvCxnSpPr>
          <p:nvPr/>
        </p:nvCxnSpPr>
        <p:spPr>
          <a:xfrm flipH="1">
            <a:off x="10486239" y="4463011"/>
            <a:ext cx="851" cy="611952"/>
          </a:xfrm>
          <a:prstGeom prst="straightConnector1">
            <a:avLst/>
          </a:prstGeom>
          <a:ln w="38100">
            <a:solidFill>
              <a:srgbClr val="7F7F7F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CasellaDiTesto 54">
            <a:extLst>
              <a:ext uri="{FF2B5EF4-FFF2-40B4-BE49-F238E27FC236}">
                <a16:creationId xmlns:a16="http://schemas.microsoft.com/office/drawing/2014/main" id="{0B8CA286-B1FD-A892-007D-2A1A946FB604}"/>
              </a:ext>
            </a:extLst>
          </p:cNvPr>
          <p:cNvSpPr txBox="1"/>
          <p:nvPr/>
        </p:nvSpPr>
        <p:spPr>
          <a:xfrm>
            <a:off x="541313" y="2494191"/>
            <a:ext cx="176202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600" dirty="0"/>
              <a:t>Company #1 </a:t>
            </a:r>
            <a:endParaRPr lang="it-IT" sz="1600" dirty="0"/>
          </a:p>
        </p:txBody>
      </p:sp>
      <p:pic>
        <p:nvPicPr>
          <p:cNvPr id="58" name="Elemento grafico 57" descr="Grafico a barre contorno">
            <a:extLst>
              <a:ext uri="{FF2B5EF4-FFF2-40B4-BE49-F238E27FC236}">
                <a16:creationId xmlns:a16="http://schemas.microsoft.com/office/drawing/2014/main" id="{AE424030-D9C4-F095-BA69-0451097D257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378784" y="4318123"/>
            <a:ext cx="624013" cy="624013"/>
          </a:xfrm>
          <a:prstGeom prst="rect">
            <a:avLst/>
          </a:prstGeom>
        </p:spPr>
      </p:pic>
      <p:sp>
        <p:nvSpPr>
          <p:cNvPr id="60" name="Callout 10 108">
            <a:extLst>
              <a:ext uri="{FF2B5EF4-FFF2-40B4-BE49-F238E27FC236}">
                <a16:creationId xmlns:a16="http://schemas.microsoft.com/office/drawing/2014/main" id="{15E65B67-CBF3-EA3C-69CD-36C2EC7D1254}"/>
              </a:ext>
            </a:extLst>
          </p:cNvPr>
          <p:cNvSpPr/>
          <p:nvPr/>
        </p:nvSpPr>
        <p:spPr>
          <a:xfrm flipH="1">
            <a:off x="8474986" y="3289499"/>
            <a:ext cx="1068835" cy="942180"/>
          </a:xfrm>
          <a:prstGeom prst="callout2">
            <a:avLst>
              <a:gd name="adj1" fmla="val 28036"/>
              <a:gd name="adj2" fmla="val 8685"/>
              <a:gd name="adj3" fmla="val 28013"/>
              <a:gd name="adj4" fmla="val 15289"/>
              <a:gd name="adj5" fmla="val 28819"/>
              <a:gd name="adj6" fmla="val 88838"/>
            </a:avLst>
          </a:prstGeom>
          <a:noFill/>
          <a:ln>
            <a:solidFill>
              <a:schemeClr val="bg1">
                <a:lumMod val="50000"/>
              </a:schemeClr>
            </a:solidFill>
            <a:headEnd type="oval" w="lg" len="lg"/>
            <a:tailEnd type="oval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311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6C34E0AF-B69A-471F-8329-F570B8AB7E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8813" y="1130607"/>
            <a:ext cx="10909300" cy="4392612"/>
          </a:xfrm>
        </p:spPr>
        <p:txBody>
          <a:bodyPr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/>
              <a:t>All data is processed in compliance with the </a:t>
            </a:r>
            <a:r>
              <a:rPr lang="en-US" sz="1600" dirty="0">
                <a:solidFill>
                  <a:schemeClr val="accent1"/>
                </a:solidFill>
              </a:rPr>
              <a:t>confidentiality</a:t>
            </a:r>
            <a:r>
              <a:rPr lang="en-US" sz="1600" dirty="0"/>
              <a:t> obligations and the prerogatives of </a:t>
            </a:r>
            <a:r>
              <a:rPr lang="en-US" sz="1600" dirty="0">
                <a:solidFill>
                  <a:schemeClr val="accent1"/>
                </a:solidFill>
              </a:rPr>
              <a:t>autonomy</a:t>
            </a:r>
            <a:r>
              <a:rPr lang="en-US" sz="1600" dirty="0"/>
              <a:t> </a:t>
            </a:r>
            <a:r>
              <a:rPr lang="en-US" sz="1600" dirty="0">
                <a:solidFill>
                  <a:schemeClr val="accent1"/>
                </a:solidFill>
              </a:rPr>
              <a:t>and independence </a:t>
            </a:r>
            <a:r>
              <a:rPr lang="en-US" sz="1600" dirty="0"/>
              <a:t>of each Company and, in particular,  of the Railway Infrastructure Manager.</a:t>
            </a:r>
            <a:endParaRPr lang="it-IT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1600" dirty="0"/>
              <a:t>… </a:t>
            </a:r>
            <a:r>
              <a:rPr lang="en-US" sz="1600" dirty="0"/>
              <a:t>in compliance with the current </a:t>
            </a:r>
            <a:r>
              <a:rPr lang="en-US" sz="1600" dirty="0">
                <a:solidFill>
                  <a:schemeClr val="accent1"/>
                </a:solidFill>
              </a:rPr>
              <a:t>provisions on competition</a:t>
            </a:r>
            <a:r>
              <a:rPr lang="en-US" sz="1600" dirty="0"/>
              <a:t>, </a:t>
            </a:r>
            <a:r>
              <a:rPr lang="en-US" sz="1600" dirty="0">
                <a:solidFill>
                  <a:schemeClr val="accent1"/>
                </a:solidFill>
              </a:rPr>
              <a:t>data protection </a:t>
            </a:r>
            <a:r>
              <a:rPr lang="en-US" sz="1600" dirty="0"/>
              <a:t>on the management and </a:t>
            </a:r>
            <a:r>
              <a:rPr lang="en-US" sz="1600" dirty="0">
                <a:solidFill>
                  <a:schemeClr val="accent1"/>
                </a:solidFill>
              </a:rPr>
              <a:t>disclosure of privileged information</a:t>
            </a:r>
            <a:r>
              <a:rPr lang="en-US" sz="1600" dirty="0"/>
              <a:t> (also called "price sensitive") as well as with the current provisions regarding the classification of information in terms of </a:t>
            </a:r>
            <a:r>
              <a:rPr lang="en-US" sz="1600" dirty="0">
                <a:solidFill>
                  <a:schemeClr val="accent1"/>
                </a:solidFill>
              </a:rPr>
              <a:t>confidentiality</a:t>
            </a:r>
            <a:r>
              <a:rPr lang="it-IT" sz="1600" dirty="0"/>
              <a:t>. </a:t>
            </a:r>
            <a:endParaRPr lang="en-GB" sz="1600" dirty="0"/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9E0E7DE8-C2E1-40F6-800A-F710774C4C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fidentiality, autonomy and independence</a:t>
            </a:r>
          </a:p>
        </p:txBody>
      </p:sp>
      <p:pic>
        <p:nvPicPr>
          <p:cNvPr id="9" name="Immagine 8" descr="Immagine che contiene tavolo, sedendo, giallo, piccolo&#10;&#10;Descrizione generata automaticamente">
            <a:extLst>
              <a:ext uri="{FF2B5EF4-FFF2-40B4-BE49-F238E27FC236}">
                <a16:creationId xmlns:a16="http://schemas.microsoft.com/office/drawing/2014/main" id="{0983ECB6-81FF-4684-9725-4410BC36FC0A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2429" y="7101408"/>
            <a:ext cx="4738127" cy="3384376"/>
          </a:xfrm>
          <a:prstGeom prst="rect">
            <a:avLst/>
          </a:prstGeom>
        </p:spPr>
      </p:pic>
      <p:sp>
        <p:nvSpPr>
          <p:cNvPr id="8" name="Segnaposto testo 10">
            <a:extLst>
              <a:ext uri="{FF2B5EF4-FFF2-40B4-BE49-F238E27FC236}">
                <a16:creationId xmlns:a16="http://schemas.microsoft.com/office/drawing/2014/main" id="{49270AAB-679A-2713-78CD-C466B141055F}"/>
              </a:ext>
            </a:extLst>
          </p:cNvPr>
          <p:cNvSpPr txBox="1">
            <a:spLocks/>
          </p:cNvSpPr>
          <p:nvPr/>
        </p:nvSpPr>
        <p:spPr>
          <a:xfrm>
            <a:off x="8173737" y="97289"/>
            <a:ext cx="3502025" cy="96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/>
              <a:t>19/06/2024</a:t>
            </a:r>
          </a:p>
        </p:txBody>
      </p:sp>
      <p:sp>
        <p:nvSpPr>
          <p:cNvPr id="10" name="Segnaposto testo 26">
            <a:extLst>
              <a:ext uri="{FF2B5EF4-FFF2-40B4-BE49-F238E27FC236}">
                <a16:creationId xmlns:a16="http://schemas.microsoft.com/office/drawing/2014/main" id="{AF8C1A85-ACE9-7AA7-A89F-742164B07F68}"/>
              </a:ext>
            </a:extLst>
          </p:cNvPr>
          <p:cNvSpPr txBox="1">
            <a:spLocks/>
          </p:cNvSpPr>
          <p:nvPr/>
        </p:nvSpPr>
        <p:spPr>
          <a:xfrm>
            <a:off x="8173737" y="194239"/>
            <a:ext cx="3502025" cy="96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/>
              <a:t>Data </a:t>
            </a:r>
            <a:r>
              <a:rPr lang="it-IT" sz="700" dirty="0" err="1"/>
              <a:t>quality</a:t>
            </a:r>
            <a:r>
              <a:rPr lang="it-IT" sz="700" dirty="0"/>
              <a:t> </a:t>
            </a:r>
            <a:r>
              <a:rPr lang="it-IT" sz="700" dirty="0" err="1"/>
              <a:t>process</a:t>
            </a:r>
            <a:r>
              <a:rPr lang="it-IT" sz="700" dirty="0"/>
              <a:t> </a:t>
            </a:r>
            <a:r>
              <a:rPr lang="it-IT" sz="700" dirty="0" err="1"/>
              <a:t>at</a:t>
            </a:r>
            <a:r>
              <a:rPr lang="it-IT" sz="700" dirty="0"/>
              <a:t> Ferrovie dello Stato Italiane | Lorenzo Vannacci</a:t>
            </a:r>
          </a:p>
        </p:txBody>
      </p:sp>
      <p:pic>
        <p:nvPicPr>
          <p:cNvPr id="3" name="object 15">
            <a:extLst>
              <a:ext uri="{FF2B5EF4-FFF2-40B4-BE49-F238E27FC236}">
                <a16:creationId xmlns:a16="http://schemas.microsoft.com/office/drawing/2014/main" id="{00CC00F2-9917-81B6-2107-D9D22309FD57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396427" y="4921035"/>
            <a:ext cx="1443139" cy="1099565"/>
          </a:xfrm>
          <a:prstGeom prst="rect">
            <a:avLst/>
          </a:prstGeom>
        </p:spPr>
      </p:pic>
      <p:pic>
        <p:nvPicPr>
          <p:cNvPr id="4" name="object 16">
            <a:extLst>
              <a:ext uri="{FF2B5EF4-FFF2-40B4-BE49-F238E27FC236}">
                <a16:creationId xmlns:a16="http://schemas.microsoft.com/office/drawing/2014/main" id="{8216F800-5A42-BC42-FA3C-180DDE4F6CF5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5390859" y="5239551"/>
            <a:ext cx="1443139" cy="1099565"/>
          </a:xfrm>
          <a:prstGeom prst="rect">
            <a:avLst/>
          </a:prstGeom>
        </p:spPr>
      </p:pic>
      <p:pic>
        <p:nvPicPr>
          <p:cNvPr id="6" name="object 17">
            <a:extLst>
              <a:ext uri="{FF2B5EF4-FFF2-40B4-BE49-F238E27FC236}">
                <a16:creationId xmlns:a16="http://schemas.microsoft.com/office/drawing/2014/main" id="{3717840F-0844-4CB9-B026-162C75C209E5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3079162" y="5024666"/>
            <a:ext cx="1455839" cy="1099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94326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9EB8FB3-8BD7-0817-5C33-E7D1F880D7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8276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425" imgH="424" progId="TCLayout.ActiveDocument.1">
                  <p:embed/>
                </p:oleObj>
              </mc:Choice>
              <mc:Fallback>
                <p:oleObj name="Diapositiva think-cell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EB8FB3-8BD7-0817-5C33-E7D1F880D7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olo 5">
            <a:extLst>
              <a:ext uri="{FF2B5EF4-FFF2-40B4-BE49-F238E27FC236}">
                <a16:creationId xmlns:a16="http://schemas.microsoft.com/office/drawing/2014/main" id="{62A47140-963F-08B9-54D1-52BD0DCED6D8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/>
          <a:lstStyle/>
          <a:p>
            <a:r>
              <a:rPr lang="it-IT" dirty="0"/>
              <a:t>Data </a:t>
            </a:r>
            <a:r>
              <a:rPr lang="en-GB" dirty="0"/>
              <a:t>dissemination</a:t>
            </a:r>
            <a:endParaRPr lang="en-GB" dirty="0">
              <a:solidFill>
                <a:srgbClr val="9A94BC"/>
              </a:solidFill>
            </a:endParaRP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46F317B5-B345-222A-BEA9-A8C6700A35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Accuracy and opportunitie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266251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34AC149-F5C4-7A7F-F5A2-B8960C11BB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1340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25" imgH="424" progId="TCLayout.ActiveDocument.1">
                  <p:embed/>
                </p:oleObj>
              </mc:Choice>
              <mc:Fallback>
                <p:oleObj name="Diapositiva think-cell" r:id="rId4" imgW="425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4AC149-F5C4-7A7F-F5A2-B8960C11B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1BD46E54-0B8C-7118-A4B4-435B2EEA86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sz="1600" b="1" dirty="0"/>
              <a:t>FS Research Centre </a:t>
            </a:r>
            <a:r>
              <a:rPr lang="en-GB" sz="1600" dirty="0"/>
              <a:t>publishes </a:t>
            </a:r>
            <a:r>
              <a:rPr lang="en-GB" sz="1600" b="1" dirty="0"/>
              <a:t>monthly</a:t>
            </a:r>
            <a:r>
              <a:rPr lang="en-GB" sz="1600" dirty="0"/>
              <a:t> mobility data for Italy and Station attendance of Italian main stations Mobility based on mobile network data.</a:t>
            </a:r>
          </a:p>
          <a:p>
            <a:r>
              <a:rPr lang="en-GB" sz="1600" dirty="0"/>
              <a:t>FS Research Centre collaborate with Italian </a:t>
            </a:r>
            <a:r>
              <a:rPr lang="en-GB" sz="1600" b="1" dirty="0"/>
              <a:t>Transport Ministry </a:t>
            </a:r>
            <a:r>
              <a:rPr lang="en-GB" sz="1600" dirty="0"/>
              <a:t>for mobility trends analysis.</a:t>
            </a:r>
          </a:p>
          <a:p>
            <a:pPr algn="ctr"/>
            <a:r>
              <a:rPr lang="en-GB" sz="1600" i="1" dirty="0"/>
              <a:t>There is a need of a previous data quality check before disseminating mobility data knowledge</a:t>
            </a:r>
          </a:p>
          <a:p>
            <a:pPr algn="ctr"/>
            <a:r>
              <a:rPr lang="en-GB" sz="1600" i="1" dirty="0"/>
              <a:t>How we can guarantee data accuracy of mobility analysis if we are not the data producer?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2D167F02-F886-F58D-6AC6-D57A2F742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Data </a:t>
            </a:r>
            <a:r>
              <a:rPr lang="en-GB" dirty="0"/>
              <a:t>accuracy</a:t>
            </a:r>
            <a:r>
              <a:rPr lang="it-IT" dirty="0"/>
              <a:t> and </a:t>
            </a:r>
            <a:r>
              <a:rPr lang="en-GB" dirty="0"/>
              <a:t>dissemination</a:t>
            </a:r>
            <a:r>
              <a:rPr lang="it-IT" dirty="0"/>
              <a:t> </a:t>
            </a:r>
          </a:p>
        </p:txBody>
      </p:sp>
      <p:sp>
        <p:nvSpPr>
          <p:cNvPr id="3" name="Segnaposto testo 10">
            <a:extLst>
              <a:ext uri="{FF2B5EF4-FFF2-40B4-BE49-F238E27FC236}">
                <a16:creationId xmlns:a16="http://schemas.microsoft.com/office/drawing/2014/main" id="{7CFF2173-94A7-C024-4DD7-158EB8F6457C}"/>
              </a:ext>
            </a:extLst>
          </p:cNvPr>
          <p:cNvSpPr txBox="1">
            <a:spLocks/>
          </p:cNvSpPr>
          <p:nvPr/>
        </p:nvSpPr>
        <p:spPr>
          <a:xfrm>
            <a:off x="8173737" y="97289"/>
            <a:ext cx="3502025" cy="96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/>
              <a:t>19/06/2024</a:t>
            </a:r>
          </a:p>
        </p:txBody>
      </p:sp>
      <p:sp>
        <p:nvSpPr>
          <p:cNvPr id="4" name="Segnaposto testo 26">
            <a:extLst>
              <a:ext uri="{FF2B5EF4-FFF2-40B4-BE49-F238E27FC236}">
                <a16:creationId xmlns:a16="http://schemas.microsoft.com/office/drawing/2014/main" id="{832EF483-7479-26D4-993B-7A4104FD4323}"/>
              </a:ext>
            </a:extLst>
          </p:cNvPr>
          <p:cNvSpPr txBox="1">
            <a:spLocks/>
          </p:cNvSpPr>
          <p:nvPr/>
        </p:nvSpPr>
        <p:spPr>
          <a:xfrm>
            <a:off x="8173737" y="194239"/>
            <a:ext cx="3502025" cy="96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/>
              <a:t>Data </a:t>
            </a:r>
            <a:r>
              <a:rPr lang="it-IT" sz="700" dirty="0" err="1"/>
              <a:t>quality</a:t>
            </a:r>
            <a:r>
              <a:rPr lang="it-IT" sz="700" dirty="0"/>
              <a:t> </a:t>
            </a:r>
            <a:r>
              <a:rPr lang="it-IT" sz="700" dirty="0" err="1"/>
              <a:t>process</a:t>
            </a:r>
            <a:r>
              <a:rPr lang="it-IT" sz="700" dirty="0"/>
              <a:t> </a:t>
            </a:r>
            <a:r>
              <a:rPr lang="it-IT" sz="700" dirty="0" err="1"/>
              <a:t>at</a:t>
            </a:r>
            <a:r>
              <a:rPr lang="it-IT" sz="700" dirty="0"/>
              <a:t> Ferrovie dello Stato Italiane | Lorenzo Vannacci</a:t>
            </a:r>
          </a:p>
        </p:txBody>
      </p:sp>
      <p:grpSp>
        <p:nvGrpSpPr>
          <p:cNvPr id="17" name="Gruppo 16">
            <a:extLst>
              <a:ext uri="{FF2B5EF4-FFF2-40B4-BE49-F238E27FC236}">
                <a16:creationId xmlns:a16="http://schemas.microsoft.com/office/drawing/2014/main" id="{20F7B4E6-BF70-803C-28D1-A6AF9F8B2896}"/>
              </a:ext>
            </a:extLst>
          </p:cNvPr>
          <p:cNvGrpSpPr/>
          <p:nvPr/>
        </p:nvGrpSpPr>
        <p:grpSpPr>
          <a:xfrm>
            <a:off x="9194530" y="4114742"/>
            <a:ext cx="1901961" cy="1869036"/>
            <a:chOff x="4719588" y="2169679"/>
            <a:chExt cx="2701058" cy="2654300"/>
          </a:xfrm>
        </p:grpSpPr>
        <p:grpSp>
          <p:nvGrpSpPr>
            <p:cNvPr id="18" name="Gruppo 17">
              <a:extLst>
                <a:ext uri="{FF2B5EF4-FFF2-40B4-BE49-F238E27FC236}">
                  <a16:creationId xmlns:a16="http://schemas.microsoft.com/office/drawing/2014/main" id="{36AD4171-11D8-2B24-5F24-378A211FC6FA}"/>
                </a:ext>
              </a:extLst>
            </p:cNvPr>
            <p:cNvGrpSpPr/>
            <p:nvPr/>
          </p:nvGrpSpPr>
          <p:grpSpPr>
            <a:xfrm>
              <a:off x="4719588" y="2169679"/>
              <a:ext cx="2701058" cy="2654300"/>
              <a:chOff x="2171702" y="2238376"/>
              <a:chExt cx="2600324" cy="2555311"/>
            </a:xfrm>
          </p:grpSpPr>
          <p:sp>
            <p:nvSpPr>
              <p:cNvPr id="21" name="Ovale 20">
                <a:extLst>
                  <a:ext uri="{FF2B5EF4-FFF2-40B4-BE49-F238E27FC236}">
                    <a16:creationId xmlns:a16="http://schemas.microsoft.com/office/drawing/2014/main" id="{D675C957-6741-5566-2EA7-41C9618041A5}"/>
                  </a:ext>
                </a:extLst>
              </p:cNvPr>
              <p:cNvSpPr/>
              <p:nvPr/>
            </p:nvSpPr>
            <p:spPr>
              <a:xfrm>
                <a:off x="2206970" y="2273033"/>
                <a:ext cx="2503144" cy="2459814"/>
              </a:xfrm>
              <a:prstGeom prst="ellipse">
                <a:avLst/>
              </a:prstGeom>
              <a:noFill/>
              <a:ln w="19050">
                <a:solidFill>
                  <a:srgbClr val="007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>
                    <a:solidFill>
                      <a:schemeClr val="bg1"/>
                    </a:solidFill>
                  </a:rPr>
                  <a:t>    </a:t>
                </a:r>
              </a:p>
            </p:txBody>
          </p:sp>
          <p:sp>
            <p:nvSpPr>
              <p:cNvPr id="22" name="Ovale 21">
                <a:extLst>
                  <a:ext uri="{FF2B5EF4-FFF2-40B4-BE49-F238E27FC236}">
                    <a16:creationId xmlns:a16="http://schemas.microsoft.com/office/drawing/2014/main" id="{206D0D4D-5670-2F3D-896D-FCD03A313980}"/>
                  </a:ext>
                </a:extLst>
              </p:cNvPr>
              <p:cNvSpPr/>
              <p:nvPr/>
            </p:nvSpPr>
            <p:spPr>
              <a:xfrm>
                <a:off x="2283168" y="2347914"/>
                <a:ext cx="2384424" cy="2343149"/>
              </a:xfrm>
              <a:prstGeom prst="ellipse">
                <a:avLst/>
              </a:prstGeom>
              <a:solidFill>
                <a:srgbClr val="0033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>
                    <a:solidFill>
                      <a:schemeClr val="bg1"/>
                    </a:solidFill>
                  </a:rPr>
                  <a:t>    </a:t>
                </a:r>
              </a:p>
            </p:txBody>
          </p:sp>
          <p:grpSp>
            <p:nvGrpSpPr>
              <p:cNvPr id="23" name="Gruppo 22">
                <a:extLst>
                  <a:ext uri="{FF2B5EF4-FFF2-40B4-BE49-F238E27FC236}">
                    <a16:creationId xmlns:a16="http://schemas.microsoft.com/office/drawing/2014/main" id="{A8EE8407-477D-E35F-F8FD-AB0327E16D60}"/>
                  </a:ext>
                </a:extLst>
              </p:cNvPr>
              <p:cNvGrpSpPr/>
              <p:nvPr/>
            </p:nvGrpSpPr>
            <p:grpSpPr>
              <a:xfrm>
                <a:off x="2319680" y="2363788"/>
                <a:ext cx="2311400" cy="2311400"/>
                <a:chOff x="2051050" y="2117725"/>
                <a:chExt cx="2311400" cy="2311400"/>
              </a:xfrm>
              <a:effectLst>
                <a:outerShdw blurRad="571500" dist="165100" dir="8100000" sx="101000" sy="101000" algn="t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25" name="Ovale 24">
                  <a:extLst>
                    <a:ext uri="{FF2B5EF4-FFF2-40B4-BE49-F238E27FC236}">
                      <a16:creationId xmlns:a16="http://schemas.microsoft.com/office/drawing/2014/main" id="{980A1DAA-C123-FB57-E99B-7DB1503F203A}"/>
                    </a:ext>
                  </a:extLst>
                </p:cNvPr>
                <p:cNvSpPr/>
                <p:nvPr/>
              </p:nvSpPr>
              <p:spPr>
                <a:xfrm>
                  <a:off x="2051050" y="2117725"/>
                  <a:ext cx="2311400" cy="2311400"/>
                </a:xfrm>
                <a:prstGeom prst="ellipse">
                  <a:avLst/>
                </a:prstGeom>
                <a:gradFill>
                  <a:gsLst>
                    <a:gs pos="49000">
                      <a:schemeClr val="bg1"/>
                    </a:gs>
                    <a:gs pos="79000">
                      <a:schemeClr val="tx1">
                        <a:lumMod val="60000"/>
                        <a:lumOff val="40000"/>
                      </a:schemeClr>
                    </a:gs>
                  </a:gsLst>
                  <a:lin ang="7800000" scaled="0"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6" name="Ovale 25">
                  <a:extLst>
                    <a:ext uri="{FF2B5EF4-FFF2-40B4-BE49-F238E27FC236}">
                      <a16:creationId xmlns:a16="http://schemas.microsoft.com/office/drawing/2014/main" id="{E501C9E6-A024-1A23-CF88-D45243DDAB68}"/>
                    </a:ext>
                  </a:extLst>
                </p:cNvPr>
                <p:cNvSpPr/>
                <p:nvPr/>
              </p:nvSpPr>
              <p:spPr>
                <a:xfrm>
                  <a:off x="2114550" y="2200275"/>
                  <a:ext cx="2162175" cy="2162175"/>
                </a:xfrm>
                <a:prstGeom prst="ellipse">
                  <a:avLst/>
                </a:prstGeom>
                <a:gradFill flip="none" rotWithShape="1">
                  <a:gsLst>
                    <a:gs pos="69000">
                      <a:schemeClr val="bg1"/>
                    </a:gs>
                    <a:gs pos="68000">
                      <a:srgbClr val="F2F2F2"/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24" name="Ovale 23">
                <a:extLst>
                  <a:ext uri="{FF2B5EF4-FFF2-40B4-BE49-F238E27FC236}">
                    <a16:creationId xmlns:a16="http://schemas.microsoft.com/office/drawing/2014/main" id="{EE3FB4FB-C2C7-8350-A807-3813D776A7DD}"/>
                  </a:ext>
                </a:extLst>
              </p:cNvPr>
              <p:cNvSpPr/>
              <p:nvPr/>
            </p:nvSpPr>
            <p:spPr>
              <a:xfrm>
                <a:off x="2171702" y="2238376"/>
                <a:ext cx="2600324" cy="2555311"/>
              </a:xfrm>
              <a:prstGeom prst="ellipse">
                <a:avLst/>
              </a:prstGeom>
              <a:noFill/>
              <a:ln w="9525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dirty="0">
                    <a:solidFill>
                      <a:schemeClr val="bg1"/>
                    </a:solidFill>
                  </a:rPr>
                  <a:t>    </a:t>
                </a:r>
              </a:p>
            </p:txBody>
          </p:sp>
        </p:grpSp>
        <p:sp>
          <p:nvSpPr>
            <p:cNvPr id="19" name="CasellaDiTesto 18">
              <a:extLst>
                <a:ext uri="{FF2B5EF4-FFF2-40B4-BE49-F238E27FC236}">
                  <a16:creationId xmlns:a16="http://schemas.microsoft.com/office/drawing/2014/main" id="{17696526-0255-AF3C-422C-9BEEFF3E82C8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5180485" y="2614508"/>
              <a:ext cx="1800729" cy="1800729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/>
              </a:prstTxWarp>
              <a:spAutoFit/>
            </a:bodyPr>
            <a:lstStyle/>
            <a:p>
              <a:pPr algn="ctr"/>
              <a:r>
                <a:rPr lang="en-GB" dirty="0">
                  <a:latin typeface="Montserrat Black" pitchFamily="2" charset="0"/>
                </a:rPr>
                <a:t>FS Research Centre</a:t>
              </a:r>
            </a:p>
          </p:txBody>
        </p:sp>
        <p:pic>
          <p:nvPicPr>
            <p:cNvPr id="20" name="Immagine 19" descr="Immagine che contiene logo, Elementi grafici, simbolo, grafica&#10;&#10;Descrizione generata automaticamente">
              <a:extLst>
                <a:ext uri="{FF2B5EF4-FFF2-40B4-BE49-F238E27FC236}">
                  <a16:creationId xmlns:a16="http://schemas.microsoft.com/office/drawing/2014/main" id="{FB510FE0-4962-7619-114A-B9102CACC06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hq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35353" y="2813948"/>
              <a:ext cx="1792937" cy="1819214"/>
            </a:xfrm>
            <a:prstGeom prst="rect">
              <a:avLst/>
            </a:prstGeom>
          </p:spPr>
        </p:pic>
      </p:grpSp>
      <p:sp>
        <p:nvSpPr>
          <p:cNvPr id="27" name="Ovale 26">
            <a:extLst>
              <a:ext uri="{FF2B5EF4-FFF2-40B4-BE49-F238E27FC236}">
                <a16:creationId xmlns:a16="http://schemas.microsoft.com/office/drawing/2014/main" id="{58089D83-3AF8-5544-878C-0FB0260C1356}"/>
              </a:ext>
            </a:extLst>
          </p:cNvPr>
          <p:cNvSpPr>
            <a:spLocks noChangeAspect="1"/>
          </p:cNvSpPr>
          <p:nvPr/>
        </p:nvSpPr>
        <p:spPr>
          <a:xfrm>
            <a:off x="829022" y="4091157"/>
            <a:ext cx="1869035" cy="1869035"/>
          </a:xfrm>
          <a:prstGeom prst="ellipse">
            <a:avLst/>
          </a:prstGeom>
          <a:gradFill flip="none" rotWithShape="1">
            <a:gsLst>
              <a:gs pos="69000">
                <a:schemeClr val="bg1"/>
              </a:gs>
              <a:gs pos="68000">
                <a:srgbClr val="F2F2F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rgbClr val="3C3C3B"/>
                </a:solidFill>
              </a:rPr>
              <a:t>Data producer</a:t>
            </a:r>
          </a:p>
        </p:txBody>
      </p:sp>
      <p:cxnSp>
        <p:nvCxnSpPr>
          <p:cNvPr id="29" name="Connettore 2 28">
            <a:extLst>
              <a:ext uri="{FF2B5EF4-FFF2-40B4-BE49-F238E27FC236}">
                <a16:creationId xmlns:a16="http://schemas.microsoft.com/office/drawing/2014/main" id="{EB688095-CAC1-0DE0-0FF9-A2302AFBB99C}"/>
              </a:ext>
            </a:extLst>
          </p:cNvPr>
          <p:cNvCxnSpPr>
            <a:stCxn id="27" idx="6"/>
            <a:endCxn id="24" idx="2"/>
          </p:cNvCxnSpPr>
          <p:nvPr/>
        </p:nvCxnSpPr>
        <p:spPr>
          <a:xfrm>
            <a:off x="2698057" y="5025675"/>
            <a:ext cx="6496473" cy="23585"/>
          </a:xfrm>
          <a:prstGeom prst="straightConnector1">
            <a:avLst/>
          </a:prstGeom>
          <a:ln w="38100">
            <a:solidFill>
              <a:srgbClr val="7F7F7F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object 5">
            <a:extLst>
              <a:ext uri="{FF2B5EF4-FFF2-40B4-BE49-F238E27FC236}">
                <a16:creationId xmlns:a16="http://schemas.microsoft.com/office/drawing/2014/main" id="{02FCFE13-3214-9712-EB2B-56635C6AC813}"/>
              </a:ext>
            </a:extLst>
          </p:cNvPr>
          <p:cNvPicPr/>
          <p:nvPr/>
        </p:nvPicPr>
        <p:blipFill rotWithShape="1">
          <a:blip r:embed="rId7" cstate="print"/>
          <a:srcRect l="2790" b="2969"/>
          <a:stretch/>
        </p:blipFill>
        <p:spPr>
          <a:xfrm>
            <a:off x="3082963" y="4053085"/>
            <a:ext cx="2497724" cy="1788916"/>
          </a:xfrm>
          <a:prstGeom prst="rect">
            <a:avLst/>
          </a:prstGeom>
        </p:spPr>
      </p:pic>
      <p:pic>
        <p:nvPicPr>
          <p:cNvPr id="32" name="object 6">
            <a:extLst>
              <a:ext uri="{FF2B5EF4-FFF2-40B4-BE49-F238E27FC236}">
                <a16:creationId xmlns:a16="http://schemas.microsoft.com/office/drawing/2014/main" id="{05AFA7A2-C2E2-3D64-B893-B322CC061729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3558217" y="4796802"/>
            <a:ext cx="1008875" cy="899159"/>
          </a:xfrm>
          <a:prstGeom prst="rect">
            <a:avLst/>
          </a:prstGeom>
        </p:spPr>
      </p:pic>
      <p:pic>
        <p:nvPicPr>
          <p:cNvPr id="33" name="object 7">
            <a:extLst>
              <a:ext uri="{FF2B5EF4-FFF2-40B4-BE49-F238E27FC236}">
                <a16:creationId xmlns:a16="http://schemas.microsoft.com/office/drawing/2014/main" id="{1C607901-45A8-DC3C-B8B7-72A337D9BD0A}"/>
              </a:ext>
            </a:extLst>
          </p:cNvPr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3661705" y="4991077"/>
            <a:ext cx="810945" cy="460800"/>
          </a:xfrm>
          <a:prstGeom prst="rect">
            <a:avLst/>
          </a:prstGeom>
        </p:spPr>
      </p:pic>
      <p:pic>
        <p:nvPicPr>
          <p:cNvPr id="42" name="Immagine 41">
            <a:extLst>
              <a:ext uri="{FF2B5EF4-FFF2-40B4-BE49-F238E27FC236}">
                <a16:creationId xmlns:a16="http://schemas.microsoft.com/office/drawing/2014/main" id="{E0939ED3-A5DF-C9B3-8E3A-785354FE531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078487" y="4154535"/>
            <a:ext cx="2712351" cy="1690633"/>
          </a:xfrm>
          <a:prstGeom prst="rect">
            <a:avLst/>
          </a:prstGeom>
        </p:spPr>
      </p:pic>
      <p:pic>
        <p:nvPicPr>
          <p:cNvPr id="35" name="object 9">
            <a:extLst>
              <a:ext uri="{FF2B5EF4-FFF2-40B4-BE49-F238E27FC236}">
                <a16:creationId xmlns:a16="http://schemas.microsoft.com/office/drawing/2014/main" id="{53B19458-90F9-B4EF-1BE8-94A89C54F74B}"/>
              </a:ext>
            </a:extLst>
          </p:cNvPr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7364292" y="5266192"/>
            <a:ext cx="1007363" cy="899159"/>
          </a:xfrm>
          <a:prstGeom prst="rect">
            <a:avLst/>
          </a:prstGeom>
        </p:spPr>
      </p:pic>
      <p:sp>
        <p:nvSpPr>
          <p:cNvPr id="40" name="object 14">
            <a:extLst>
              <a:ext uri="{FF2B5EF4-FFF2-40B4-BE49-F238E27FC236}">
                <a16:creationId xmlns:a16="http://schemas.microsoft.com/office/drawing/2014/main" id="{85474B18-3052-F9C0-7D33-7A5429E57357}"/>
              </a:ext>
            </a:extLst>
          </p:cNvPr>
          <p:cNvSpPr txBox="1"/>
          <p:nvPr/>
        </p:nvSpPr>
        <p:spPr>
          <a:xfrm rot="172293">
            <a:off x="7485946" y="5395829"/>
            <a:ext cx="855464" cy="50526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28575">
              <a:lnSpc>
                <a:spcPct val="100000"/>
              </a:lnSpc>
              <a:spcBef>
                <a:spcPts val="100"/>
              </a:spcBef>
            </a:pPr>
            <a:r>
              <a:rPr lang="it-IT" sz="1600" b="1" spc="-20" dirty="0">
                <a:latin typeface="Ink Free"/>
                <a:cs typeface="Ink Free"/>
              </a:rPr>
              <a:t>Official </a:t>
            </a:r>
            <a:r>
              <a:rPr lang="it-IT" sz="1600" b="1" spc="-20" dirty="0" err="1">
                <a:latin typeface="Ink Free"/>
                <a:cs typeface="Ink Free"/>
              </a:rPr>
              <a:t>statistics</a:t>
            </a:r>
            <a:endParaRPr sz="1600" dirty="0">
              <a:latin typeface="Ink Free"/>
              <a:cs typeface="Ink Free"/>
            </a:endParaRPr>
          </a:p>
        </p:txBody>
      </p:sp>
    </p:spTree>
    <p:extLst>
      <p:ext uri="{BB962C8B-B14F-4D97-AF65-F5344CB8AC3E}">
        <p14:creationId xmlns:p14="http://schemas.microsoft.com/office/powerpoint/2010/main" val="19003739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egnaposto contenuto 40">
            <a:extLst>
              <a:ext uri="{FF2B5EF4-FFF2-40B4-BE49-F238E27FC236}">
                <a16:creationId xmlns:a16="http://schemas.microsoft.com/office/drawing/2014/main" id="{F41B08A5-3D54-8B46-C325-7F316EE10D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dirty="0"/>
              <a:t>The FS Group</a:t>
            </a:r>
          </a:p>
        </p:txBody>
      </p:sp>
      <p:sp>
        <p:nvSpPr>
          <p:cNvPr id="42" name="Segnaposto contenuto 41">
            <a:extLst>
              <a:ext uri="{FF2B5EF4-FFF2-40B4-BE49-F238E27FC236}">
                <a16:creationId xmlns:a16="http://schemas.microsoft.com/office/drawing/2014/main" id="{3F168F9C-08F3-17E9-B618-67A874856242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it-IT" dirty="0"/>
              <a:t>3</a:t>
            </a:r>
          </a:p>
        </p:txBody>
      </p:sp>
      <p:sp>
        <p:nvSpPr>
          <p:cNvPr id="43" name="Segnaposto contenuto 42">
            <a:extLst>
              <a:ext uri="{FF2B5EF4-FFF2-40B4-BE49-F238E27FC236}">
                <a16:creationId xmlns:a16="http://schemas.microsoft.com/office/drawing/2014/main" id="{2183E88C-86BF-CFFC-D493-E475600F0257}"/>
              </a:ext>
            </a:extLst>
          </p:cNvPr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r>
              <a:rPr lang="it-IT" dirty="0"/>
              <a:t>01</a:t>
            </a:r>
          </a:p>
        </p:txBody>
      </p:sp>
      <p:sp>
        <p:nvSpPr>
          <p:cNvPr id="44" name="Segnaposto contenuto 43">
            <a:extLst>
              <a:ext uri="{FF2B5EF4-FFF2-40B4-BE49-F238E27FC236}">
                <a16:creationId xmlns:a16="http://schemas.microsoft.com/office/drawing/2014/main" id="{83C03107-30ED-E7A2-46AB-3DAFE1D0494F}"/>
              </a:ext>
            </a:extLst>
          </p:cNvPr>
          <p:cNvSpPr>
            <a:spLocks noGrp="1"/>
          </p:cNvSpPr>
          <p:nvPr>
            <p:ph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it-IT" dirty="0"/>
              <a:t>Data </a:t>
            </a:r>
            <a:r>
              <a:rPr lang="it-IT" dirty="0" err="1"/>
              <a:t>provision</a:t>
            </a:r>
            <a:endParaRPr lang="it-IT" dirty="0"/>
          </a:p>
        </p:txBody>
      </p:sp>
      <p:sp>
        <p:nvSpPr>
          <p:cNvPr id="45" name="Segnaposto contenuto 44">
            <a:extLst>
              <a:ext uri="{FF2B5EF4-FFF2-40B4-BE49-F238E27FC236}">
                <a16:creationId xmlns:a16="http://schemas.microsoft.com/office/drawing/2014/main" id="{0F418AC7-CAB4-94FC-337C-398C1506DA7D}"/>
              </a:ext>
            </a:extLst>
          </p:cNvPr>
          <p:cNvSpPr>
            <a:spLocks noGrp="1"/>
          </p:cNvSpPr>
          <p:nvPr>
            <p:ph idx="13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it-IT" dirty="0"/>
              <a:t>7</a:t>
            </a:r>
          </a:p>
        </p:txBody>
      </p:sp>
      <p:sp>
        <p:nvSpPr>
          <p:cNvPr id="46" name="Segnaposto contenuto 45">
            <a:extLst>
              <a:ext uri="{FF2B5EF4-FFF2-40B4-BE49-F238E27FC236}">
                <a16:creationId xmlns:a16="http://schemas.microsoft.com/office/drawing/2014/main" id="{0AFB11BD-D345-A354-1C60-294CAB4A4013}"/>
              </a:ext>
            </a:extLst>
          </p:cNvPr>
          <p:cNvSpPr>
            <a:spLocks noGrp="1"/>
          </p:cNvSpPr>
          <p:nvPr>
            <p:ph idx="14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it-IT" dirty="0"/>
              <a:t>02</a:t>
            </a:r>
          </a:p>
        </p:txBody>
      </p:sp>
      <p:sp>
        <p:nvSpPr>
          <p:cNvPr id="47" name="Segnaposto contenuto 46">
            <a:extLst>
              <a:ext uri="{FF2B5EF4-FFF2-40B4-BE49-F238E27FC236}">
                <a16:creationId xmlns:a16="http://schemas.microsoft.com/office/drawing/2014/main" id="{394A6C98-5427-970C-E5F7-133141D2B186}"/>
              </a:ext>
            </a:extLst>
          </p:cNvPr>
          <p:cNvSpPr>
            <a:spLocks noGrp="1"/>
          </p:cNvSpPr>
          <p:nvPr>
            <p:ph idx="15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Data dissemination</a:t>
            </a:r>
            <a:endParaRPr lang="it-IT" dirty="0"/>
          </a:p>
        </p:txBody>
      </p:sp>
      <p:sp>
        <p:nvSpPr>
          <p:cNvPr id="48" name="Segnaposto contenuto 47">
            <a:extLst>
              <a:ext uri="{FF2B5EF4-FFF2-40B4-BE49-F238E27FC236}">
                <a16:creationId xmlns:a16="http://schemas.microsoft.com/office/drawing/2014/main" id="{41584701-D557-67D1-01C4-225308C0DDD5}"/>
              </a:ext>
            </a:extLst>
          </p:cNvPr>
          <p:cNvSpPr>
            <a:spLocks noGrp="1"/>
          </p:cNvSpPr>
          <p:nvPr>
            <p:ph idx="16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it-IT" dirty="0"/>
              <a:t>14</a:t>
            </a:r>
          </a:p>
        </p:txBody>
      </p:sp>
      <p:sp>
        <p:nvSpPr>
          <p:cNvPr id="49" name="Segnaposto contenuto 48">
            <a:extLst>
              <a:ext uri="{FF2B5EF4-FFF2-40B4-BE49-F238E27FC236}">
                <a16:creationId xmlns:a16="http://schemas.microsoft.com/office/drawing/2014/main" id="{36E3D676-282F-4990-D9B3-DFA6C4ACF678}"/>
              </a:ext>
            </a:extLst>
          </p:cNvPr>
          <p:cNvSpPr>
            <a:spLocks noGrp="1"/>
          </p:cNvSpPr>
          <p:nvPr>
            <p:ph idx="17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it-IT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1835413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9EB8FB3-8BD7-0817-5C33-E7D1F880D7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4707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425" imgH="424" progId="TCLayout.ActiveDocument.1">
                  <p:embed/>
                </p:oleObj>
              </mc:Choice>
              <mc:Fallback>
                <p:oleObj name="Diapositiva think-cell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EB8FB3-8BD7-0817-5C33-E7D1F880D7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olo 5">
            <a:extLst>
              <a:ext uri="{FF2B5EF4-FFF2-40B4-BE49-F238E27FC236}">
                <a16:creationId xmlns:a16="http://schemas.microsoft.com/office/drawing/2014/main" id="{62A47140-963F-08B9-54D1-52BD0DCED6D8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/>
          <a:lstStyle/>
          <a:p>
            <a:r>
              <a:rPr lang="it-IT" dirty="0"/>
              <a:t>The FS Group</a:t>
            </a:r>
            <a:endParaRPr lang="it-IT" dirty="0">
              <a:solidFill>
                <a:srgbClr val="9A94BC"/>
              </a:solidFill>
            </a:endParaRP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46F317B5-B345-222A-BEA9-A8C6700A35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a leader mobility company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1475962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73875AE-FBD5-ABCB-99D1-C0CDB0C40D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8202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25" imgH="424" progId="TCLayout.ActiveDocument.1">
                  <p:embed/>
                </p:oleObj>
              </mc:Choice>
              <mc:Fallback>
                <p:oleObj name="Diapositiva think-cell" r:id="rId4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3875AE-FBD5-ABCB-99D1-C0CDB0C40D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olo 25">
            <a:extLst>
              <a:ext uri="{FF2B5EF4-FFF2-40B4-BE49-F238E27FC236}">
                <a16:creationId xmlns:a16="http://schemas.microsoft.com/office/drawing/2014/main" id="{754ECFCD-A4AC-F604-FCF5-2144ADF7C1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FS Group Key </a:t>
            </a:r>
            <a:r>
              <a:rPr lang="it-IT" dirty="0" err="1"/>
              <a:t>numbers</a:t>
            </a:r>
            <a:endParaRPr lang="it-IT" dirty="0"/>
          </a:p>
        </p:txBody>
      </p:sp>
      <p:sp>
        <p:nvSpPr>
          <p:cNvPr id="11" name="Segnaposto testo 10">
            <a:extLst>
              <a:ext uri="{FF2B5EF4-FFF2-40B4-BE49-F238E27FC236}">
                <a16:creationId xmlns:a16="http://schemas.microsoft.com/office/drawing/2014/main" id="{FA5760A0-D318-5415-0CE4-687DE9D383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it-IT" dirty="0"/>
              <a:t>19/06/2024</a:t>
            </a:r>
          </a:p>
        </p:txBody>
      </p:sp>
      <p:sp>
        <p:nvSpPr>
          <p:cNvPr id="27" name="Segnaposto testo 26">
            <a:extLst>
              <a:ext uri="{FF2B5EF4-FFF2-40B4-BE49-F238E27FC236}">
                <a16:creationId xmlns:a16="http://schemas.microsoft.com/office/drawing/2014/main" id="{31C55070-688A-350F-6C24-89AD82CF8FB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it-IT" dirty="0"/>
              <a:t>Data </a:t>
            </a:r>
            <a:r>
              <a:rPr lang="it-IT" dirty="0" err="1"/>
              <a:t>quality</a:t>
            </a:r>
            <a:r>
              <a:rPr lang="it-IT" dirty="0"/>
              <a:t> </a:t>
            </a:r>
            <a:r>
              <a:rPr lang="it-IT" dirty="0" err="1"/>
              <a:t>process</a:t>
            </a:r>
            <a:r>
              <a:rPr lang="it-IT" dirty="0"/>
              <a:t> </a:t>
            </a:r>
            <a:r>
              <a:rPr lang="it-IT" dirty="0" err="1"/>
              <a:t>at</a:t>
            </a:r>
            <a:r>
              <a:rPr lang="it-IT" dirty="0"/>
              <a:t> Ferrovie dello Stato Italiane | Lorenzo Vannacci</a:t>
            </a:r>
          </a:p>
        </p:txBody>
      </p:sp>
      <p:sp>
        <p:nvSpPr>
          <p:cNvPr id="28" name="Segnaposto testo 27">
            <a:extLst>
              <a:ext uri="{FF2B5EF4-FFF2-40B4-BE49-F238E27FC236}">
                <a16:creationId xmlns:a16="http://schemas.microsoft.com/office/drawing/2014/main" id="{61D91307-AF8B-7190-FEF5-C241D1E577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it-IT" sz="1200" b="1" dirty="0"/>
              <a:t>32,000 km of roads</a:t>
            </a:r>
          </a:p>
          <a:p>
            <a:r>
              <a:rPr lang="it-IT" sz="1050" dirty="0"/>
              <a:t>2,000 </a:t>
            </a:r>
            <a:r>
              <a:rPr lang="it-IT" sz="1050" dirty="0" err="1"/>
              <a:t>tunnels</a:t>
            </a:r>
            <a:endParaRPr lang="it-IT" sz="1050" dirty="0"/>
          </a:p>
          <a:p>
            <a:r>
              <a:rPr lang="it-IT" sz="1050" dirty="0"/>
              <a:t>18,000 </a:t>
            </a:r>
            <a:r>
              <a:rPr lang="it-IT" sz="1050" dirty="0" err="1"/>
              <a:t>bridges</a:t>
            </a:r>
            <a:r>
              <a:rPr lang="it-IT" sz="1050" dirty="0"/>
              <a:t> and </a:t>
            </a:r>
            <a:r>
              <a:rPr lang="it-IT" sz="1050" dirty="0" err="1"/>
              <a:t>viaducts</a:t>
            </a:r>
            <a:endParaRPr lang="it-IT" sz="1050" dirty="0"/>
          </a:p>
          <a:p>
            <a:r>
              <a:rPr lang="it-IT" sz="1050" dirty="0"/>
              <a:t>1,200 </a:t>
            </a:r>
            <a:r>
              <a:rPr lang="it-IT" sz="1050" dirty="0" err="1"/>
              <a:t>roadman’s</a:t>
            </a:r>
            <a:r>
              <a:rPr lang="it-IT" sz="1050" dirty="0"/>
              <a:t> </a:t>
            </a:r>
            <a:r>
              <a:rPr lang="it-IT" sz="1050" dirty="0" err="1"/>
              <a:t>hoses</a:t>
            </a:r>
            <a:r>
              <a:rPr lang="it-IT" sz="1050" dirty="0"/>
              <a:t> </a:t>
            </a:r>
          </a:p>
          <a:p>
            <a:endParaRPr lang="it-IT" sz="1200" dirty="0"/>
          </a:p>
          <a:p>
            <a:endParaRPr lang="it-IT" sz="1200" dirty="0"/>
          </a:p>
          <a:p>
            <a:endParaRPr lang="it-IT" sz="1200" dirty="0"/>
          </a:p>
        </p:txBody>
      </p:sp>
      <p:sp>
        <p:nvSpPr>
          <p:cNvPr id="30" name="Segnaposto testo 29">
            <a:extLst>
              <a:ext uri="{FF2B5EF4-FFF2-40B4-BE49-F238E27FC236}">
                <a16:creationId xmlns:a16="http://schemas.microsoft.com/office/drawing/2014/main" id="{14F9D5B4-13B9-7711-1E9F-B4D317A65012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it-IT" sz="1200" b="1" dirty="0"/>
              <a:t>16,800 km of railway lines</a:t>
            </a:r>
          </a:p>
          <a:p>
            <a:r>
              <a:rPr lang="it-IT" sz="1050" dirty="0"/>
              <a:t>1,670 </a:t>
            </a:r>
            <a:r>
              <a:rPr lang="it-IT" sz="1050" dirty="0" err="1"/>
              <a:t>tunnels</a:t>
            </a:r>
            <a:endParaRPr lang="it-IT" sz="1050" dirty="0"/>
          </a:p>
          <a:p>
            <a:r>
              <a:rPr lang="it-IT" sz="1050" dirty="0"/>
              <a:t>23,000 </a:t>
            </a:r>
            <a:r>
              <a:rPr lang="it-IT" sz="1050" dirty="0" err="1"/>
              <a:t>bridges</a:t>
            </a:r>
            <a:r>
              <a:rPr lang="it-IT" sz="1050" dirty="0"/>
              <a:t> and </a:t>
            </a:r>
            <a:r>
              <a:rPr lang="it-IT" sz="1050" dirty="0" err="1"/>
              <a:t>viaducts</a:t>
            </a:r>
            <a:endParaRPr lang="it-IT" sz="1050" dirty="0"/>
          </a:p>
          <a:p>
            <a:r>
              <a:rPr lang="it-IT" sz="1050" dirty="0"/>
              <a:t>2,200 railway stations</a:t>
            </a:r>
          </a:p>
          <a:p>
            <a:endParaRPr lang="it-IT" sz="1200" dirty="0"/>
          </a:p>
          <a:p>
            <a:endParaRPr lang="it-IT" sz="1200" dirty="0"/>
          </a:p>
        </p:txBody>
      </p:sp>
      <p:sp>
        <p:nvSpPr>
          <p:cNvPr id="31" name="Segnaposto testo 30">
            <a:extLst>
              <a:ext uri="{FF2B5EF4-FFF2-40B4-BE49-F238E27FC236}">
                <a16:creationId xmlns:a16="http://schemas.microsoft.com/office/drawing/2014/main" id="{56F1395D-9E8C-E266-1225-CC9414F68AAA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it-IT" sz="1200" b="1" dirty="0"/>
              <a:t>10,000 </a:t>
            </a:r>
            <a:r>
              <a:rPr lang="it-IT" sz="1200" b="1" dirty="0" err="1"/>
              <a:t>trains</a:t>
            </a:r>
            <a:r>
              <a:rPr lang="it-IT" sz="1200" b="1" dirty="0"/>
              <a:t>/day</a:t>
            </a:r>
          </a:p>
          <a:p>
            <a:r>
              <a:rPr lang="it-IT" sz="1200" b="1" dirty="0"/>
              <a:t>7 </a:t>
            </a:r>
            <a:r>
              <a:rPr lang="it-IT" sz="1200" b="1" dirty="0" err="1"/>
              <a:t>millon</a:t>
            </a:r>
            <a:r>
              <a:rPr lang="it-IT" sz="1200" b="1" dirty="0"/>
              <a:t> </a:t>
            </a:r>
            <a:r>
              <a:rPr lang="it-IT" sz="1200" b="1" dirty="0" err="1"/>
              <a:t>vehicles</a:t>
            </a:r>
            <a:r>
              <a:rPr lang="it-IT" sz="1200" b="1" dirty="0"/>
              <a:t>/day on the roads </a:t>
            </a:r>
          </a:p>
          <a:p>
            <a:endParaRPr lang="it-IT" sz="1200" dirty="0"/>
          </a:p>
        </p:txBody>
      </p:sp>
      <p:sp>
        <p:nvSpPr>
          <p:cNvPr id="2" name="Segnaposto testo 29">
            <a:extLst>
              <a:ext uri="{FF2B5EF4-FFF2-40B4-BE49-F238E27FC236}">
                <a16:creationId xmlns:a16="http://schemas.microsoft.com/office/drawing/2014/main" id="{042A8014-C830-9A71-6DFE-BC645EF0CBD3}"/>
              </a:ext>
            </a:extLst>
          </p:cNvPr>
          <p:cNvSpPr txBox="1">
            <a:spLocks/>
          </p:cNvSpPr>
          <p:nvPr/>
        </p:nvSpPr>
        <p:spPr>
          <a:xfrm>
            <a:off x="3641098" y="6214221"/>
            <a:ext cx="4449245" cy="304838"/>
          </a:xfrm>
          <a:prstGeom prst="rect">
            <a:avLst/>
          </a:prstGeom>
        </p:spPr>
        <p:txBody>
          <a:bodyPr lIns="0" tIns="0" rIns="0" bIns="0" numCol="1" spcCol="180000"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243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140000"/>
              <a:buFont typeface="Arial" panose="020B0604020202020204" pitchFamily="34" charset="0"/>
              <a:buNone/>
              <a:tabLst>
                <a:tab pos="806450" algn="l"/>
              </a:tabLst>
              <a:defRPr sz="12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89535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13430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5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79546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SzPct val="140000"/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it-IT" sz="2400" b="1" dirty="0"/>
              <a:t>More </a:t>
            </a:r>
            <a:r>
              <a:rPr lang="it-IT" sz="2400" b="1" dirty="0" err="1"/>
              <a:t>than</a:t>
            </a:r>
            <a:r>
              <a:rPr lang="it-IT" sz="2400" b="1" dirty="0"/>
              <a:t> 82,000 people</a:t>
            </a:r>
          </a:p>
          <a:p>
            <a:pPr algn="ctr"/>
            <a:endParaRPr lang="it-IT" sz="2400" dirty="0"/>
          </a:p>
          <a:p>
            <a:pPr algn="ctr"/>
            <a:endParaRPr lang="it-IT" sz="2400" dirty="0"/>
          </a:p>
        </p:txBody>
      </p:sp>
      <p:grpSp>
        <p:nvGrpSpPr>
          <p:cNvPr id="715" name="Gruppo 714">
            <a:extLst>
              <a:ext uri="{FF2B5EF4-FFF2-40B4-BE49-F238E27FC236}">
                <a16:creationId xmlns:a16="http://schemas.microsoft.com/office/drawing/2014/main" id="{D4C073C7-C646-CA70-0BDB-B0C83A38E921}"/>
              </a:ext>
            </a:extLst>
          </p:cNvPr>
          <p:cNvGrpSpPr/>
          <p:nvPr/>
        </p:nvGrpSpPr>
        <p:grpSpPr>
          <a:xfrm>
            <a:off x="1244794" y="2251394"/>
            <a:ext cx="9928673" cy="4351276"/>
            <a:chOff x="649688" y="784070"/>
            <a:chExt cx="11102013" cy="4865496"/>
          </a:xfrm>
        </p:grpSpPr>
        <p:grpSp>
          <p:nvGrpSpPr>
            <p:cNvPr id="372" name="Gruppo 371">
              <a:extLst>
                <a:ext uri="{FF2B5EF4-FFF2-40B4-BE49-F238E27FC236}">
                  <a16:creationId xmlns:a16="http://schemas.microsoft.com/office/drawing/2014/main" id="{FD3A9A79-01FC-D264-5DCB-13635EE20BE7}"/>
                </a:ext>
              </a:extLst>
            </p:cNvPr>
            <p:cNvGrpSpPr/>
            <p:nvPr/>
          </p:nvGrpSpPr>
          <p:grpSpPr>
            <a:xfrm>
              <a:off x="6227226" y="784070"/>
              <a:ext cx="5524475" cy="4865496"/>
              <a:chOff x="6224472" y="976392"/>
              <a:chExt cx="5524475" cy="4865496"/>
            </a:xfrm>
          </p:grpSpPr>
          <p:grpSp>
            <p:nvGrpSpPr>
              <p:cNvPr id="373" name="object 24">
                <a:extLst>
                  <a:ext uri="{FF2B5EF4-FFF2-40B4-BE49-F238E27FC236}">
                    <a16:creationId xmlns:a16="http://schemas.microsoft.com/office/drawing/2014/main" id="{61F1774B-7AA9-367E-E7CB-F7B4B7D84FCC}"/>
                  </a:ext>
                </a:extLst>
              </p:cNvPr>
              <p:cNvGrpSpPr/>
              <p:nvPr/>
            </p:nvGrpSpPr>
            <p:grpSpPr>
              <a:xfrm>
                <a:off x="6237167" y="1808351"/>
                <a:ext cx="5039995" cy="2524760"/>
                <a:chOff x="359994" y="1251554"/>
                <a:chExt cx="5039995" cy="2524760"/>
              </a:xfrm>
            </p:grpSpPr>
            <p:sp>
              <p:nvSpPr>
                <p:cNvPr id="485" name="object 25">
                  <a:extLst>
                    <a:ext uri="{FF2B5EF4-FFF2-40B4-BE49-F238E27FC236}">
                      <a16:creationId xmlns:a16="http://schemas.microsoft.com/office/drawing/2014/main" id="{7EF22B45-E90F-9C00-A316-E2999F3DDFBC}"/>
                    </a:ext>
                  </a:extLst>
                </p:cNvPr>
                <p:cNvSpPr/>
                <p:nvPr/>
              </p:nvSpPr>
              <p:spPr>
                <a:xfrm>
                  <a:off x="907338" y="1368221"/>
                  <a:ext cx="1721485" cy="1025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21485" h="1025525">
                      <a:moveTo>
                        <a:pt x="3810" y="680123"/>
                      </a:moveTo>
                      <a:lnTo>
                        <a:pt x="2425" y="681126"/>
                      </a:lnTo>
                      <a:lnTo>
                        <a:pt x="1536" y="680885"/>
                      </a:lnTo>
                      <a:lnTo>
                        <a:pt x="444" y="682358"/>
                      </a:lnTo>
                      <a:lnTo>
                        <a:pt x="279" y="682586"/>
                      </a:lnTo>
                      <a:lnTo>
                        <a:pt x="0" y="683031"/>
                      </a:lnTo>
                      <a:lnTo>
                        <a:pt x="266" y="682802"/>
                      </a:lnTo>
                      <a:lnTo>
                        <a:pt x="546" y="682625"/>
                      </a:lnTo>
                      <a:lnTo>
                        <a:pt x="850" y="682536"/>
                      </a:lnTo>
                      <a:lnTo>
                        <a:pt x="1028" y="682447"/>
                      </a:lnTo>
                      <a:lnTo>
                        <a:pt x="1206" y="682421"/>
                      </a:lnTo>
                      <a:lnTo>
                        <a:pt x="1358" y="682409"/>
                      </a:lnTo>
                      <a:lnTo>
                        <a:pt x="1790" y="681507"/>
                      </a:lnTo>
                      <a:lnTo>
                        <a:pt x="3467" y="680974"/>
                      </a:lnTo>
                      <a:lnTo>
                        <a:pt x="3810" y="680123"/>
                      </a:lnTo>
                      <a:close/>
                    </a:path>
                    <a:path w="1721485" h="1025525">
                      <a:moveTo>
                        <a:pt x="194297" y="1025423"/>
                      </a:moveTo>
                      <a:lnTo>
                        <a:pt x="194157" y="1025436"/>
                      </a:lnTo>
                      <a:lnTo>
                        <a:pt x="194297" y="1025423"/>
                      </a:lnTo>
                      <a:close/>
                    </a:path>
                    <a:path w="1721485" h="1025525">
                      <a:moveTo>
                        <a:pt x="728052" y="835253"/>
                      </a:moveTo>
                      <a:lnTo>
                        <a:pt x="727684" y="835266"/>
                      </a:lnTo>
                      <a:lnTo>
                        <a:pt x="727900" y="835342"/>
                      </a:lnTo>
                      <a:lnTo>
                        <a:pt x="728052" y="835253"/>
                      </a:lnTo>
                      <a:close/>
                    </a:path>
                    <a:path w="1721485" h="1025525">
                      <a:moveTo>
                        <a:pt x="1526324" y="426250"/>
                      </a:moveTo>
                      <a:lnTo>
                        <a:pt x="1524825" y="426567"/>
                      </a:lnTo>
                      <a:lnTo>
                        <a:pt x="1523695" y="427151"/>
                      </a:lnTo>
                      <a:lnTo>
                        <a:pt x="1522539" y="428078"/>
                      </a:lnTo>
                      <a:lnTo>
                        <a:pt x="1523796" y="427482"/>
                      </a:lnTo>
                      <a:lnTo>
                        <a:pt x="1526324" y="426250"/>
                      </a:lnTo>
                      <a:close/>
                    </a:path>
                    <a:path w="1721485" h="1025525">
                      <a:moveTo>
                        <a:pt x="1528699" y="432308"/>
                      </a:moveTo>
                      <a:lnTo>
                        <a:pt x="1527048" y="432358"/>
                      </a:lnTo>
                      <a:lnTo>
                        <a:pt x="1525460" y="432193"/>
                      </a:lnTo>
                      <a:lnTo>
                        <a:pt x="1524000" y="433019"/>
                      </a:lnTo>
                      <a:lnTo>
                        <a:pt x="1525562" y="432790"/>
                      </a:lnTo>
                      <a:lnTo>
                        <a:pt x="1528699" y="432308"/>
                      </a:lnTo>
                      <a:close/>
                    </a:path>
                    <a:path w="1721485" h="1025525">
                      <a:moveTo>
                        <a:pt x="1541894" y="445363"/>
                      </a:moveTo>
                      <a:lnTo>
                        <a:pt x="1541780" y="445516"/>
                      </a:lnTo>
                      <a:lnTo>
                        <a:pt x="1541678" y="445681"/>
                      </a:lnTo>
                      <a:lnTo>
                        <a:pt x="1541564" y="445833"/>
                      </a:lnTo>
                      <a:lnTo>
                        <a:pt x="1541729" y="445681"/>
                      </a:lnTo>
                      <a:lnTo>
                        <a:pt x="1541843" y="445477"/>
                      </a:lnTo>
                      <a:close/>
                    </a:path>
                    <a:path w="1721485" h="1025525">
                      <a:moveTo>
                        <a:pt x="1541919" y="445338"/>
                      </a:moveTo>
                      <a:close/>
                    </a:path>
                    <a:path w="1721485" h="1025525">
                      <a:moveTo>
                        <a:pt x="1541945" y="445287"/>
                      </a:moveTo>
                      <a:close/>
                    </a:path>
                    <a:path w="1721485" h="1025525">
                      <a:moveTo>
                        <a:pt x="1560423" y="44551"/>
                      </a:moveTo>
                      <a:lnTo>
                        <a:pt x="1560398" y="42379"/>
                      </a:lnTo>
                      <a:lnTo>
                        <a:pt x="1558848" y="41617"/>
                      </a:lnTo>
                      <a:lnTo>
                        <a:pt x="1556677" y="43319"/>
                      </a:lnTo>
                      <a:lnTo>
                        <a:pt x="1555788" y="43992"/>
                      </a:lnTo>
                      <a:lnTo>
                        <a:pt x="1552016" y="46507"/>
                      </a:lnTo>
                      <a:lnTo>
                        <a:pt x="1553019" y="48399"/>
                      </a:lnTo>
                      <a:lnTo>
                        <a:pt x="1560093" y="47612"/>
                      </a:lnTo>
                      <a:lnTo>
                        <a:pt x="1559153" y="47371"/>
                      </a:lnTo>
                      <a:lnTo>
                        <a:pt x="1558302" y="47498"/>
                      </a:lnTo>
                      <a:lnTo>
                        <a:pt x="1557324" y="47472"/>
                      </a:lnTo>
                      <a:lnTo>
                        <a:pt x="1559140" y="46964"/>
                      </a:lnTo>
                      <a:lnTo>
                        <a:pt x="1559915" y="47117"/>
                      </a:lnTo>
                      <a:lnTo>
                        <a:pt x="1560296" y="45212"/>
                      </a:lnTo>
                      <a:lnTo>
                        <a:pt x="1560423" y="44551"/>
                      </a:lnTo>
                      <a:close/>
                    </a:path>
                    <a:path w="1721485" h="1025525">
                      <a:moveTo>
                        <a:pt x="1561909" y="3365"/>
                      </a:moveTo>
                      <a:lnTo>
                        <a:pt x="1559788" y="1625"/>
                      </a:lnTo>
                      <a:lnTo>
                        <a:pt x="1556689" y="0"/>
                      </a:lnTo>
                      <a:lnTo>
                        <a:pt x="1550111" y="355"/>
                      </a:lnTo>
                      <a:lnTo>
                        <a:pt x="1550695" y="2641"/>
                      </a:lnTo>
                      <a:lnTo>
                        <a:pt x="1548765" y="4876"/>
                      </a:lnTo>
                      <a:lnTo>
                        <a:pt x="1553146" y="4813"/>
                      </a:lnTo>
                      <a:lnTo>
                        <a:pt x="1557566" y="3924"/>
                      </a:lnTo>
                      <a:lnTo>
                        <a:pt x="1561909" y="3365"/>
                      </a:lnTo>
                      <a:close/>
                    </a:path>
                    <a:path w="1721485" h="1025525">
                      <a:moveTo>
                        <a:pt x="1570736" y="133172"/>
                      </a:moveTo>
                      <a:lnTo>
                        <a:pt x="1569110" y="129209"/>
                      </a:lnTo>
                      <a:lnTo>
                        <a:pt x="1568208" y="127215"/>
                      </a:lnTo>
                      <a:lnTo>
                        <a:pt x="1568157" y="116725"/>
                      </a:lnTo>
                      <a:lnTo>
                        <a:pt x="1568500" y="114134"/>
                      </a:lnTo>
                      <a:lnTo>
                        <a:pt x="1567091" y="111391"/>
                      </a:lnTo>
                      <a:lnTo>
                        <a:pt x="1565656" y="110807"/>
                      </a:lnTo>
                      <a:lnTo>
                        <a:pt x="1563814" y="109588"/>
                      </a:lnTo>
                      <a:lnTo>
                        <a:pt x="1562265" y="109728"/>
                      </a:lnTo>
                      <a:lnTo>
                        <a:pt x="1561973" y="110617"/>
                      </a:lnTo>
                      <a:lnTo>
                        <a:pt x="1563154" y="113512"/>
                      </a:lnTo>
                      <a:lnTo>
                        <a:pt x="1562836" y="113461"/>
                      </a:lnTo>
                      <a:lnTo>
                        <a:pt x="1564144" y="113969"/>
                      </a:lnTo>
                      <a:lnTo>
                        <a:pt x="1567268" y="113893"/>
                      </a:lnTo>
                      <a:lnTo>
                        <a:pt x="1564995" y="115798"/>
                      </a:lnTo>
                      <a:lnTo>
                        <a:pt x="1563230" y="113677"/>
                      </a:lnTo>
                      <a:lnTo>
                        <a:pt x="1561998" y="115112"/>
                      </a:lnTo>
                      <a:lnTo>
                        <a:pt x="1559687" y="117817"/>
                      </a:lnTo>
                      <a:lnTo>
                        <a:pt x="1563674" y="120573"/>
                      </a:lnTo>
                      <a:lnTo>
                        <a:pt x="1564957" y="124777"/>
                      </a:lnTo>
                      <a:lnTo>
                        <a:pt x="1564906" y="126123"/>
                      </a:lnTo>
                      <a:lnTo>
                        <a:pt x="1566760" y="129984"/>
                      </a:lnTo>
                      <a:lnTo>
                        <a:pt x="1567192" y="133273"/>
                      </a:lnTo>
                      <a:lnTo>
                        <a:pt x="1568869" y="135039"/>
                      </a:lnTo>
                      <a:lnTo>
                        <a:pt x="1570736" y="133172"/>
                      </a:lnTo>
                      <a:close/>
                    </a:path>
                    <a:path w="1721485" h="1025525">
                      <a:moveTo>
                        <a:pt x="1572958" y="51015"/>
                      </a:moveTo>
                      <a:lnTo>
                        <a:pt x="1569974" y="49923"/>
                      </a:lnTo>
                      <a:lnTo>
                        <a:pt x="1569605" y="51409"/>
                      </a:lnTo>
                      <a:lnTo>
                        <a:pt x="1567243" y="52628"/>
                      </a:lnTo>
                      <a:lnTo>
                        <a:pt x="1569186" y="52489"/>
                      </a:lnTo>
                      <a:lnTo>
                        <a:pt x="1571117" y="51587"/>
                      </a:lnTo>
                      <a:lnTo>
                        <a:pt x="1572958" y="51015"/>
                      </a:lnTo>
                      <a:close/>
                    </a:path>
                    <a:path w="1721485" h="1025525">
                      <a:moveTo>
                        <a:pt x="1583220" y="77114"/>
                      </a:moveTo>
                      <a:lnTo>
                        <a:pt x="1582381" y="74942"/>
                      </a:lnTo>
                      <a:lnTo>
                        <a:pt x="1581454" y="74714"/>
                      </a:lnTo>
                      <a:lnTo>
                        <a:pt x="1579511" y="74599"/>
                      </a:lnTo>
                      <a:lnTo>
                        <a:pt x="1578190" y="76161"/>
                      </a:lnTo>
                      <a:lnTo>
                        <a:pt x="1578508" y="77165"/>
                      </a:lnTo>
                      <a:lnTo>
                        <a:pt x="1577530" y="78473"/>
                      </a:lnTo>
                      <a:lnTo>
                        <a:pt x="1576578" y="78803"/>
                      </a:lnTo>
                      <a:lnTo>
                        <a:pt x="1575384" y="79895"/>
                      </a:lnTo>
                      <a:lnTo>
                        <a:pt x="1575168" y="80784"/>
                      </a:lnTo>
                      <a:lnTo>
                        <a:pt x="1574368" y="81343"/>
                      </a:lnTo>
                      <a:lnTo>
                        <a:pt x="1575904" y="82181"/>
                      </a:lnTo>
                      <a:lnTo>
                        <a:pt x="1578457" y="82156"/>
                      </a:lnTo>
                      <a:lnTo>
                        <a:pt x="1582966" y="80695"/>
                      </a:lnTo>
                      <a:lnTo>
                        <a:pt x="1583220" y="77114"/>
                      </a:lnTo>
                      <a:close/>
                    </a:path>
                    <a:path w="1721485" h="1025525">
                      <a:moveTo>
                        <a:pt x="1583664" y="36995"/>
                      </a:moveTo>
                      <a:lnTo>
                        <a:pt x="1582356" y="35318"/>
                      </a:lnTo>
                      <a:lnTo>
                        <a:pt x="1581721" y="33528"/>
                      </a:lnTo>
                      <a:lnTo>
                        <a:pt x="1579359" y="33045"/>
                      </a:lnTo>
                      <a:lnTo>
                        <a:pt x="1578838" y="35255"/>
                      </a:lnTo>
                      <a:lnTo>
                        <a:pt x="1576158" y="38163"/>
                      </a:lnTo>
                      <a:lnTo>
                        <a:pt x="1576273" y="38404"/>
                      </a:lnTo>
                      <a:lnTo>
                        <a:pt x="1575981" y="40500"/>
                      </a:lnTo>
                      <a:lnTo>
                        <a:pt x="1577644" y="39852"/>
                      </a:lnTo>
                      <a:lnTo>
                        <a:pt x="1580705" y="39344"/>
                      </a:lnTo>
                      <a:lnTo>
                        <a:pt x="1583664" y="36995"/>
                      </a:lnTo>
                      <a:close/>
                    </a:path>
                    <a:path w="1721485" h="1025525">
                      <a:moveTo>
                        <a:pt x="1587931" y="160058"/>
                      </a:moveTo>
                      <a:lnTo>
                        <a:pt x="1587411" y="157162"/>
                      </a:lnTo>
                      <a:lnTo>
                        <a:pt x="1587080" y="155295"/>
                      </a:lnTo>
                      <a:lnTo>
                        <a:pt x="1583994" y="157391"/>
                      </a:lnTo>
                      <a:lnTo>
                        <a:pt x="1582775" y="159029"/>
                      </a:lnTo>
                      <a:lnTo>
                        <a:pt x="1580883" y="158813"/>
                      </a:lnTo>
                      <a:lnTo>
                        <a:pt x="1579308" y="158076"/>
                      </a:lnTo>
                      <a:lnTo>
                        <a:pt x="1576857" y="156552"/>
                      </a:lnTo>
                      <a:lnTo>
                        <a:pt x="1576641" y="153873"/>
                      </a:lnTo>
                      <a:lnTo>
                        <a:pt x="1581188" y="153416"/>
                      </a:lnTo>
                      <a:lnTo>
                        <a:pt x="1579156" y="149923"/>
                      </a:lnTo>
                      <a:lnTo>
                        <a:pt x="1576844" y="148577"/>
                      </a:lnTo>
                      <a:lnTo>
                        <a:pt x="1574863" y="150393"/>
                      </a:lnTo>
                      <a:lnTo>
                        <a:pt x="1576235" y="152209"/>
                      </a:lnTo>
                      <a:lnTo>
                        <a:pt x="1571777" y="152514"/>
                      </a:lnTo>
                      <a:lnTo>
                        <a:pt x="1571828" y="150914"/>
                      </a:lnTo>
                      <a:lnTo>
                        <a:pt x="1568551" y="150114"/>
                      </a:lnTo>
                      <a:lnTo>
                        <a:pt x="1566494" y="151333"/>
                      </a:lnTo>
                      <a:lnTo>
                        <a:pt x="1564881" y="151701"/>
                      </a:lnTo>
                      <a:lnTo>
                        <a:pt x="1565008" y="152057"/>
                      </a:lnTo>
                      <a:lnTo>
                        <a:pt x="1565071" y="152527"/>
                      </a:lnTo>
                      <a:lnTo>
                        <a:pt x="1565287" y="152831"/>
                      </a:lnTo>
                      <a:lnTo>
                        <a:pt x="1564614" y="161150"/>
                      </a:lnTo>
                      <a:lnTo>
                        <a:pt x="1565122" y="160680"/>
                      </a:lnTo>
                      <a:lnTo>
                        <a:pt x="1567802" y="161531"/>
                      </a:lnTo>
                      <a:lnTo>
                        <a:pt x="1570228" y="161658"/>
                      </a:lnTo>
                      <a:lnTo>
                        <a:pt x="1574800" y="160769"/>
                      </a:lnTo>
                      <a:lnTo>
                        <a:pt x="1577517" y="161721"/>
                      </a:lnTo>
                      <a:lnTo>
                        <a:pt x="1580857" y="162433"/>
                      </a:lnTo>
                      <a:lnTo>
                        <a:pt x="1586407" y="163245"/>
                      </a:lnTo>
                      <a:lnTo>
                        <a:pt x="1584718" y="161023"/>
                      </a:lnTo>
                      <a:lnTo>
                        <a:pt x="1586814" y="160426"/>
                      </a:lnTo>
                      <a:lnTo>
                        <a:pt x="1587931" y="160058"/>
                      </a:lnTo>
                      <a:close/>
                    </a:path>
                    <a:path w="1721485" h="1025525">
                      <a:moveTo>
                        <a:pt x="1626298" y="406222"/>
                      </a:moveTo>
                      <a:lnTo>
                        <a:pt x="1626031" y="406400"/>
                      </a:lnTo>
                      <a:lnTo>
                        <a:pt x="1626184" y="406400"/>
                      </a:lnTo>
                      <a:lnTo>
                        <a:pt x="1626260" y="406273"/>
                      </a:lnTo>
                      <a:close/>
                    </a:path>
                    <a:path w="1721485" h="1025525">
                      <a:moveTo>
                        <a:pt x="1626489" y="405879"/>
                      </a:moveTo>
                      <a:lnTo>
                        <a:pt x="1626273" y="405930"/>
                      </a:lnTo>
                      <a:lnTo>
                        <a:pt x="1626311" y="406171"/>
                      </a:lnTo>
                      <a:lnTo>
                        <a:pt x="1626489" y="405879"/>
                      </a:lnTo>
                      <a:close/>
                    </a:path>
                    <a:path w="1721485" h="1025525">
                      <a:moveTo>
                        <a:pt x="1720977" y="266192"/>
                      </a:moveTo>
                      <a:lnTo>
                        <a:pt x="1704086" y="274142"/>
                      </a:lnTo>
                      <a:lnTo>
                        <a:pt x="1717319" y="270141"/>
                      </a:lnTo>
                      <a:lnTo>
                        <a:pt x="1718894" y="268211"/>
                      </a:lnTo>
                      <a:lnTo>
                        <a:pt x="1720977" y="266192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86" name="object 26">
                  <a:extLst>
                    <a:ext uri="{FF2B5EF4-FFF2-40B4-BE49-F238E27FC236}">
                      <a16:creationId xmlns:a16="http://schemas.microsoft.com/office/drawing/2014/main" id="{C1FA59DE-A7C7-FC4D-E046-F2FD3639032E}"/>
                    </a:ext>
                  </a:extLst>
                </p:cNvPr>
                <p:cNvSpPr/>
                <p:nvPr/>
              </p:nvSpPr>
              <p:spPr>
                <a:xfrm>
                  <a:off x="1683397" y="2252357"/>
                  <a:ext cx="635" cy="6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" h="635">
                      <a:moveTo>
                        <a:pt x="12" y="0"/>
                      </a:move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87" name="object 27">
                  <a:extLst>
                    <a:ext uri="{FF2B5EF4-FFF2-40B4-BE49-F238E27FC236}">
                      <a16:creationId xmlns:a16="http://schemas.microsoft.com/office/drawing/2014/main" id="{E779FAE5-AAF6-9A18-59F3-27B0A1A6FC74}"/>
                    </a:ext>
                  </a:extLst>
                </p:cNvPr>
                <p:cNvSpPr/>
                <p:nvPr/>
              </p:nvSpPr>
              <p:spPr>
                <a:xfrm>
                  <a:off x="877316" y="1681479"/>
                  <a:ext cx="1177925" cy="15697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77925" h="1569720">
                      <a:moveTo>
                        <a:pt x="127" y="332028"/>
                      </a:moveTo>
                      <a:lnTo>
                        <a:pt x="63" y="331317"/>
                      </a:lnTo>
                      <a:lnTo>
                        <a:pt x="0" y="331673"/>
                      </a:lnTo>
                      <a:lnTo>
                        <a:pt x="127" y="332028"/>
                      </a:lnTo>
                      <a:close/>
                    </a:path>
                    <a:path w="1177925" h="1569720">
                      <a:moveTo>
                        <a:pt x="3314" y="318287"/>
                      </a:moveTo>
                      <a:lnTo>
                        <a:pt x="3162" y="318389"/>
                      </a:lnTo>
                      <a:lnTo>
                        <a:pt x="3314" y="318287"/>
                      </a:lnTo>
                      <a:close/>
                    </a:path>
                    <a:path w="1177925" h="1569720">
                      <a:moveTo>
                        <a:pt x="18592" y="348869"/>
                      </a:moveTo>
                      <a:lnTo>
                        <a:pt x="18567" y="348703"/>
                      </a:lnTo>
                      <a:lnTo>
                        <a:pt x="18326" y="348513"/>
                      </a:lnTo>
                      <a:lnTo>
                        <a:pt x="18084" y="348361"/>
                      </a:lnTo>
                      <a:lnTo>
                        <a:pt x="18326" y="348640"/>
                      </a:lnTo>
                      <a:lnTo>
                        <a:pt x="18592" y="348881"/>
                      </a:lnTo>
                      <a:close/>
                    </a:path>
                    <a:path w="1177925" h="1569720">
                      <a:moveTo>
                        <a:pt x="24993" y="359473"/>
                      </a:moveTo>
                      <a:lnTo>
                        <a:pt x="24917" y="357746"/>
                      </a:lnTo>
                      <a:lnTo>
                        <a:pt x="24815" y="356019"/>
                      </a:lnTo>
                      <a:lnTo>
                        <a:pt x="24676" y="355803"/>
                      </a:lnTo>
                      <a:lnTo>
                        <a:pt x="24422" y="355574"/>
                      </a:lnTo>
                      <a:lnTo>
                        <a:pt x="24244" y="356501"/>
                      </a:lnTo>
                      <a:lnTo>
                        <a:pt x="23850" y="358203"/>
                      </a:lnTo>
                      <a:lnTo>
                        <a:pt x="24625" y="357746"/>
                      </a:lnTo>
                      <a:lnTo>
                        <a:pt x="24904" y="358990"/>
                      </a:lnTo>
                      <a:lnTo>
                        <a:pt x="24993" y="359473"/>
                      </a:lnTo>
                      <a:close/>
                    </a:path>
                    <a:path w="1177925" h="1569720">
                      <a:moveTo>
                        <a:pt x="147269" y="1422"/>
                      </a:moveTo>
                      <a:lnTo>
                        <a:pt x="146799" y="0"/>
                      </a:lnTo>
                      <a:lnTo>
                        <a:pt x="146799" y="4305"/>
                      </a:lnTo>
                      <a:lnTo>
                        <a:pt x="147269" y="1422"/>
                      </a:lnTo>
                      <a:close/>
                    </a:path>
                    <a:path w="1177925" h="1569720">
                      <a:moveTo>
                        <a:pt x="744740" y="1075740"/>
                      </a:moveTo>
                      <a:lnTo>
                        <a:pt x="744689" y="1075474"/>
                      </a:lnTo>
                      <a:lnTo>
                        <a:pt x="744626" y="1075169"/>
                      </a:lnTo>
                      <a:lnTo>
                        <a:pt x="744740" y="1075740"/>
                      </a:lnTo>
                      <a:close/>
                    </a:path>
                    <a:path w="1177925" h="1569720">
                      <a:moveTo>
                        <a:pt x="745096" y="1075956"/>
                      </a:moveTo>
                      <a:lnTo>
                        <a:pt x="744804" y="1075817"/>
                      </a:lnTo>
                      <a:lnTo>
                        <a:pt x="745096" y="1075956"/>
                      </a:lnTo>
                      <a:close/>
                    </a:path>
                    <a:path w="1177925" h="1569720">
                      <a:moveTo>
                        <a:pt x="761530" y="673290"/>
                      </a:moveTo>
                      <a:close/>
                    </a:path>
                    <a:path w="1177925" h="1569720">
                      <a:moveTo>
                        <a:pt x="953071" y="410108"/>
                      </a:moveTo>
                      <a:lnTo>
                        <a:pt x="951865" y="410121"/>
                      </a:lnTo>
                      <a:lnTo>
                        <a:pt x="951598" y="410133"/>
                      </a:lnTo>
                      <a:lnTo>
                        <a:pt x="951433" y="410108"/>
                      </a:lnTo>
                      <a:lnTo>
                        <a:pt x="950506" y="410108"/>
                      </a:lnTo>
                      <a:lnTo>
                        <a:pt x="949401" y="410324"/>
                      </a:lnTo>
                      <a:lnTo>
                        <a:pt x="948283" y="410514"/>
                      </a:lnTo>
                      <a:lnTo>
                        <a:pt x="949896" y="410502"/>
                      </a:lnTo>
                      <a:lnTo>
                        <a:pt x="951496" y="410578"/>
                      </a:lnTo>
                      <a:lnTo>
                        <a:pt x="953071" y="410718"/>
                      </a:lnTo>
                      <a:lnTo>
                        <a:pt x="952754" y="410552"/>
                      </a:lnTo>
                      <a:lnTo>
                        <a:pt x="953071" y="410108"/>
                      </a:lnTo>
                      <a:close/>
                    </a:path>
                    <a:path w="1177925" h="1569720">
                      <a:moveTo>
                        <a:pt x="953744" y="410794"/>
                      </a:moveTo>
                      <a:close/>
                    </a:path>
                    <a:path w="1177925" h="1569720">
                      <a:moveTo>
                        <a:pt x="956157" y="411086"/>
                      </a:moveTo>
                      <a:lnTo>
                        <a:pt x="955967" y="410921"/>
                      </a:lnTo>
                      <a:lnTo>
                        <a:pt x="955624" y="410845"/>
                      </a:lnTo>
                      <a:lnTo>
                        <a:pt x="954925" y="410921"/>
                      </a:lnTo>
                      <a:lnTo>
                        <a:pt x="955078" y="410946"/>
                      </a:lnTo>
                      <a:lnTo>
                        <a:pt x="955255" y="410946"/>
                      </a:lnTo>
                      <a:lnTo>
                        <a:pt x="955840" y="411010"/>
                      </a:lnTo>
                      <a:lnTo>
                        <a:pt x="956157" y="411086"/>
                      </a:lnTo>
                      <a:close/>
                    </a:path>
                    <a:path w="1177925" h="1569720">
                      <a:moveTo>
                        <a:pt x="956830" y="411213"/>
                      </a:moveTo>
                      <a:close/>
                    </a:path>
                    <a:path w="1177925" h="1569720">
                      <a:moveTo>
                        <a:pt x="976096" y="66509"/>
                      </a:moveTo>
                      <a:lnTo>
                        <a:pt x="975817" y="66408"/>
                      </a:lnTo>
                      <a:lnTo>
                        <a:pt x="975550" y="66332"/>
                      </a:lnTo>
                      <a:lnTo>
                        <a:pt x="975258" y="66205"/>
                      </a:lnTo>
                      <a:lnTo>
                        <a:pt x="974674" y="66548"/>
                      </a:lnTo>
                      <a:lnTo>
                        <a:pt x="974509" y="66649"/>
                      </a:lnTo>
                      <a:lnTo>
                        <a:pt x="975296" y="67132"/>
                      </a:lnTo>
                      <a:lnTo>
                        <a:pt x="975690" y="66852"/>
                      </a:lnTo>
                      <a:lnTo>
                        <a:pt x="976096" y="66509"/>
                      </a:lnTo>
                      <a:close/>
                    </a:path>
                    <a:path w="1177925" h="1569720">
                      <a:moveTo>
                        <a:pt x="976363" y="1055865"/>
                      </a:moveTo>
                      <a:lnTo>
                        <a:pt x="976160" y="1055763"/>
                      </a:lnTo>
                      <a:lnTo>
                        <a:pt x="976033" y="1055979"/>
                      </a:lnTo>
                      <a:lnTo>
                        <a:pt x="976363" y="1055865"/>
                      </a:lnTo>
                      <a:close/>
                    </a:path>
                    <a:path w="1177925" h="1569720">
                      <a:moveTo>
                        <a:pt x="976579" y="1055966"/>
                      </a:moveTo>
                      <a:lnTo>
                        <a:pt x="976426" y="1055903"/>
                      </a:lnTo>
                      <a:lnTo>
                        <a:pt x="976541" y="1056132"/>
                      </a:lnTo>
                      <a:lnTo>
                        <a:pt x="976579" y="1055966"/>
                      </a:lnTo>
                      <a:close/>
                    </a:path>
                    <a:path w="1177925" h="1569720">
                      <a:moveTo>
                        <a:pt x="1048753" y="388480"/>
                      </a:moveTo>
                      <a:lnTo>
                        <a:pt x="1048600" y="388556"/>
                      </a:lnTo>
                      <a:lnTo>
                        <a:pt x="1047699" y="388861"/>
                      </a:lnTo>
                      <a:lnTo>
                        <a:pt x="1047864" y="388950"/>
                      </a:lnTo>
                      <a:lnTo>
                        <a:pt x="1048397" y="389153"/>
                      </a:lnTo>
                      <a:lnTo>
                        <a:pt x="1048639" y="389318"/>
                      </a:lnTo>
                      <a:lnTo>
                        <a:pt x="1048753" y="388480"/>
                      </a:lnTo>
                      <a:close/>
                    </a:path>
                    <a:path w="1177925" h="1569720">
                      <a:moveTo>
                        <a:pt x="1050480" y="387413"/>
                      </a:moveTo>
                      <a:lnTo>
                        <a:pt x="1049540" y="388035"/>
                      </a:lnTo>
                      <a:lnTo>
                        <a:pt x="1048753" y="388480"/>
                      </a:lnTo>
                      <a:lnTo>
                        <a:pt x="1049794" y="388048"/>
                      </a:lnTo>
                      <a:lnTo>
                        <a:pt x="1050480" y="387413"/>
                      </a:lnTo>
                      <a:close/>
                    </a:path>
                    <a:path w="1177925" h="1569720">
                      <a:moveTo>
                        <a:pt x="1116393" y="1221943"/>
                      </a:moveTo>
                      <a:lnTo>
                        <a:pt x="1116380" y="1221663"/>
                      </a:lnTo>
                      <a:lnTo>
                        <a:pt x="1116368" y="1221384"/>
                      </a:lnTo>
                      <a:lnTo>
                        <a:pt x="1116355" y="1221663"/>
                      </a:lnTo>
                      <a:lnTo>
                        <a:pt x="1116393" y="1221943"/>
                      </a:lnTo>
                      <a:close/>
                    </a:path>
                    <a:path w="1177925" h="1569720">
                      <a:moveTo>
                        <a:pt x="1116406" y="1221943"/>
                      </a:moveTo>
                      <a:lnTo>
                        <a:pt x="1116406" y="1222222"/>
                      </a:lnTo>
                      <a:lnTo>
                        <a:pt x="1116406" y="1221943"/>
                      </a:lnTo>
                      <a:close/>
                    </a:path>
                    <a:path w="1177925" h="1569720">
                      <a:moveTo>
                        <a:pt x="1120940" y="1134897"/>
                      </a:moveTo>
                      <a:lnTo>
                        <a:pt x="1120863" y="1134110"/>
                      </a:lnTo>
                      <a:lnTo>
                        <a:pt x="1120495" y="1134668"/>
                      </a:lnTo>
                      <a:lnTo>
                        <a:pt x="1120101" y="1135202"/>
                      </a:lnTo>
                      <a:lnTo>
                        <a:pt x="1119670" y="1135722"/>
                      </a:lnTo>
                      <a:lnTo>
                        <a:pt x="1120368" y="1135430"/>
                      </a:lnTo>
                      <a:lnTo>
                        <a:pt x="1120940" y="1134897"/>
                      </a:lnTo>
                      <a:close/>
                    </a:path>
                    <a:path w="1177925" h="1569720">
                      <a:moveTo>
                        <a:pt x="1138694" y="1222413"/>
                      </a:moveTo>
                      <a:lnTo>
                        <a:pt x="1138555" y="1222387"/>
                      </a:lnTo>
                      <a:lnTo>
                        <a:pt x="1138694" y="1222451"/>
                      </a:lnTo>
                      <a:close/>
                    </a:path>
                    <a:path w="1177925" h="1569720">
                      <a:moveTo>
                        <a:pt x="1167892" y="1569542"/>
                      </a:moveTo>
                      <a:lnTo>
                        <a:pt x="1167587" y="1569212"/>
                      </a:lnTo>
                      <a:lnTo>
                        <a:pt x="1167269" y="1568894"/>
                      </a:lnTo>
                      <a:lnTo>
                        <a:pt x="1167003" y="1568488"/>
                      </a:lnTo>
                      <a:lnTo>
                        <a:pt x="1167345" y="1569046"/>
                      </a:lnTo>
                      <a:lnTo>
                        <a:pt x="1167612" y="1569364"/>
                      </a:lnTo>
                      <a:lnTo>
                        <a:pt x="1167892" y="1569542"/>
                      </a:lnTo>
                      <a:close/>
                    </a:path>
                    <a:path w="1177925" h="1569720">
                      <a:moveTo>
                        <a:pt x="1177556" y="1563420"/>
                      </a:moveTo>
                      <a:lnTo>
                        <a:pt x="1177340" y="1563268"/>
                      </a:lnTo>
                      <a:lnTo>
                        <a:pt x="1177480" y="1563370"/>
                      </a:lnTo>
                      <a:close/>
                    </a:path>
                    <a:path w="1177925" h="1569720">
                      <a:moveTo>
                        <a:pt x="1177582" y="1563420"/>
                      </a:move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88" name="object 28">
                  <a:extLst>
                    <a:ext uri="{FF2B5EF4-FFF2-40B4-BE49-F238E27FC236}">
                      <a16:creationId xmlns:a16="http://schemas.microsoft.com/office/drawing/2014/main" id="{E00E2FBC-C6C3-262D-685B-2757C01E4E43}"/>
                    </a:ext>
                  </a:extLst>
                </p:cNvPr>
                <p:cNvSpPr/>
                <p:nvPr/>
              </p:nvSpPr>
              <p:spPr>
                <a:xfrm>
                  <a:off x="1143299" y="1451198"/>
                  <a:ext cx="3175" cy="19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75" h="1905">
                      <a:moveTo>
                        <a:pt x="2705" y="0"/>
                      </a:moveTo>
                      <a:lnTo>
                        <a:pt x="1181" y="330"/>
                      </a:lnTo>
                      <a:lnTo>
                        <a:pt x="419" y="482"/>
                      </a:lnTo>
                      <a:lnTo>
                        <a:pt x="266" y="889"/>
                      </a:lnTo>
                      <a:lnTo>
                        <a:pt x="101" y="1270"/>
                      </a:lnTo>
                      <a:lnTo>
                        <a:pt x="0" y="1727"/>
                      </a:lnTo>
                      <a:lnTo>
                        <a:pt x="914" y="1231"/>
                      </a:lnTo>
                      <a:lnTo>
                        <a:pt x="1803" y="635"/>
                      </a:lnTo>
                      <a:lnTo>
                        <a:pt x="2705" y="0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89" name="object 29">
                  <a:extLst>
                    <a:ext uri="{FF2B5EF4-FFF2-40B4-BE49-F238E27FC236}">
                      <a16:creationId xmlns:a16="http://schemas.microsoft.com/office/drawing/2014/main" id="{65673FC1-D544-D801-7ABD-D7EAC2949662}"/>
                    </a:ext>
                  </a:extLst>
                </p:cNvPr>
                <p:cNvSpPr/>
                <p:nvPr/>
              </p:nvSpPr>
              <p:spPr>
                <a:xfrm>
                  <a:off x="573379" y="1280629"/>
                  <a:ext cx="1876425" cy="20999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76425" h="2099945">
                      <a:moveTo>
                        <a:pt x="1968" y="1842046"/>
                      </a:moveTo>
                      <a:lnTo>
                        <a:pt x="1676" y="1841830"/>
                      </a:lnTo>
                      <a:lnTo>
                        <a:pt x="1104" y="1841639"/>
                      </a:lnTo>
                      <a:lnTo>
                        <a:pt x="393" y="1841474"/>
                      </a:lnTo>
                      <a:lnTo>
                        <a:pt x="203" y="1841411"/>
                      </a:lnTo>
                      <a:lnTo>
                        <a:pt x="0" y="1841385"/>
                      </a:lnTo>
                      <a:lnTo>
                        <a:pt x="203" y="1841487"/>
                      </a:lnTo>
                      <a:lnTo>
                        <a:pt x="635" y="1841652"/>
                      </a:lnTo>
                      <a:lnTo>
                        <a:pt x="1485" y="1842046"/>
                      </a:lnTo>
                      <a:lnTo>
                        <a:pt x="1930" y="1842198"/>
                      </a:lnTo>
                      <a:lnTo>
                        <a:pt x="1968" y="1842046"/>
                      </a:lnTo>
                      <a:close/>
                    </a:path>
                    <a:path w="1876425" h="2099945">
                      <a:moveTo>
                        <a:pt x="24434" y="1852396"/>
                      </a:moveTo>
                      <a:lnTo>
                        <a:pt x="23812" y="1852142"/>
                      </a:lnTo>
                      <a:lnTo>
                        <a:pt x="23164" y="1851939"/>
                      </a:lnTo>
                      <a:lnTo>
                        <a:pt x="22517" y="1851774"/>
                      </a:lnTo>
                      <a:lnTo>
                        <a:pt x="22771" y="1852574"/>
                      </a:lnTo>
                      <a:lnTo>
                        <a:pt x="23609" y="1852612"/>
                      </a:lnTo>
                      <a:lnTo>
                        <a:pt x="24434" y="1852396"/>
                      </a:lnTo>
                      <a:close/>
                    </a:path>
                    <a:path w="1876425" h="2099945">
                      <a:moveTo>
                        <a:pt x="34124" y="1855419"/>
                      </a:moveTo>
                      <a:lnTo>
                        <a:pt x="32893" y="1855762"/>
                      </a:lnTo>
                      <a:lnTo>
                        <a:pt x="31800" y="1854923"/>
                      </a:lnTo>
                      <a:lnTo>
                        <a:pt x="31229" y="1855609"/>
                      </a:lnTo>
                      <a:lnTo>
                        <a:pt x="31254" y="1854631"/>
                      </a:lnTo>
                      <a:lnTo>
                        <a:pt x="31280" y="1853717"/>
                      </a:lnTo>
                      <a:lnTo>
                        <a:pt x="31407" y="1853095"/>
                      </a:lnTo>
                      <a:lnTo>
                        <a:pt x="30784" y="1852447"/>
                      </a:lnTo>
                      <a:lnTo>
                        <a:pt x="29146" y="1850999"/>
                      </a:lnTo>
                      <a:lnTo>
                        <a:pt x="27038" y="1852041"/>
                      </a:lnTo>
                      <a:lnTo>
                        <a:pt x="26924" y="1853920"/>
                      </a:lnTo>
                      <a:lnTo>
                        <a:pt x="27889" y="1854365"/>
                      </a:lnTo>
                      <a:lnTo>
                        <a:pt x="28867" y="1854860"/>
                      </a:lnTo>
                      <a:lnTo>
                        <a:pt x="31115" y="1855939"/>
                      </a:lnTo>
                      <a:lnTo>
                        <a:pt x="32397" y="1856498"/>
                      </a:lnTo>
                      <a:lnTo>
                        <a:pt x="33718" y="1856828"/>
                      </a:lnTo>
                      <a:lnTo>
                        <a:pt x="34124" y="1855419"/>
                      </a:lnTo>
                      <a:close/>
                    </a:path>
                    <a:path w="1876425" h="2099945">
                      <a:moveTo>
                        <a:pt x="85686" y="1834184"/>
                      </a:moveTo>
                      <a:lnTo>
                        <a:pt x="85115" y="1833232"/>
                      </a:lnTo>
                      <a:lnTo>
                        <a:pt x="84505" y="1829689"/>
                      </a:lnTo>
                      <a:lnTo>
                        <a:pt x="82981" y="1830616"/>
                      </a:lnTo>
                      <a:lnTo>
                        <a:pt x="83693" y="1831924"/>
                      </a:lnTo>
                      <a:lnTo>
                        <a:pt x="84772" y="1833029"/>
                      </a:lnTo>
                      <a:lnTo>
                        <a:pt x="85686" y="1834184"/>
                      </a:lnTo>
                      <a:close/>
                    </a:path>
                    <a:path w="1876425" h="2099945">
                      <a:moveTo>
                        <a:pt x="92087" y="1847723"/>
                      </a:moveTo>
                      <a:lnTo>
                        <a:pt x="91643" y="1846707"/>
                      </a:lnTo>
                      <a:lnTo>
                        <a:pt x="90944" y="1845830"/>
                      </a:lnTo>
                      <a:lnTo>
                        <a:pt x="90106" y="1845144"/>
                      </a:lnTo>
                      <a:lnTo>
                        <a:pt x="90551" y="1846160"/>
                      </a:lnTo>
                      <a:lnTo>
                        <a:pt x="91236" y="1847024"/>
                      </a:lnTo>
                      <a:lnTo>
                        <a:pt x="92087" y="1847723"/>
                      </a:lnTo>
                      <a:close/>
                    </a:path>
                    <a:path w="1876425" h="2099945">
                      <a:moveTo>
                        <a:pt x="154965" y="1865325"/>
                      </a:moveTo>
                      <a:lnTo>
                        <a:pt x="154660" y="1864906"/>
                      </a:lnTo>
                      <a:lnTo>
                        <a:pt x="154127" y="1864575"/>
                      </a:lnTo>
                      <a:lnTo>
                        <a:pt x="153619" y="1864321"/>
                      </a:lnTo>
                      <a:lnTo>
                        <a:pt x="154038" y="1864690"/>
                      </a:lnTo>
                      <a:lnTo>
                        <a:pt x="154495" y="1865020"/>
                      </a:lnTo>
                      <a:lnTo>
                        <a:pt x="154965" y="1865325"/>
                      </a:lnTo>
                      <a:close/>
                    </a:path>
                    <a:path w="1876425" h="2099945">
                      <a:moveTo>
                        <a:pt x="155638" y="1854593"/>
                      </a:moveTo>
                      <a:lnTo>
                        <a:pt x="154965" y="1855152"/>
                      </a:lnTo>
                      <a:lnTo>
                        <a:pt x="154228" y="1855660"/>
                      </a:lnTo>
                      <a:lnTo>
                        <a:pt x="153238" y="1856359"/>
                      </a:lnTo>
                      <a:lnTo>
                        <a:pt x="152984" y="1856562"/>
                      </a:lnTo>
                      <a:lnTo>
                        <a:pt x="152717" y="1856752"/>
                      </a:lnTo>
                      <a:lnTo>
                        <a:pt x="153111" y="1856676"/>
                      </a:lnTo>
                      <a:lnTo>
                        <a:pt x="153568" y="1856511"/>
                      </a:lnTo>
                      <a:lnTo>
                        <a:pt x="154825" y="1855965"/>
                      </a:lnTo>
                      <a:lnTo>
                        <a:pt x="155562" y="1855419"/>
                      </a:lnTo>
                      <a:lnTo>
                        <a:pt x="155638" y="1854593"/>
                      </a:lnTo>
                      <a:close/>
                    </a:path>
                    <a:path w="1876425" h="2099945">
                      <a:moveTo>
                        <a:pt x="163741" y="1734654"/>
                      </a:moveTo>
                      <a:lnTo>
                        <a:pt x="163550" y="1734134"/>
                      </a:lnTo>
                      <a:lnTo>
                        <a:pt x="163156" y="1733740"/>
                      </a:lnTo>
                      <a:lnTo>
                        <a:pt x="162674" y="1733384"/>
                      </a:lnTo>
                      <a:lnTo>
                        <a:pt x="162953" y="1733867"/>
                      </a:lnTo>
                      <a:lnTo>
                        <a:pt x="163347" y="1734426"/>
                      </a:lnTo>
                      <a:lnTo>
                        <a:pt x="163741" y="1734654"/>
                      </a:lnTo>
                      <a:close/>
                    </a:path>
                    <a:path w="1876425" h="2099945">
                      <a:moveTo>
                        <a:pt x="165265" y="1724431"/>
                      </a:moveTo>
                      <a:lnTo>
                        <a:pt x="162915" y="1725764"/>
                      </a:lnTo>
                      <a:lnTo>
                        <a:pt x="161315" y="1726272"/>
                      </a:lnTo>
                      <a:lnTo>
                        <a:pt x="161607" y="1727809"/>
                      </a:lnTo>
                      <a:lnTo>
                        <a:pt x="162661" y="1727606"/>
                      </a:lnTo>
                      <a:lnTo>
                        <a:pt x="163309" y="1726907"/>
                      </a:lnTo>
                      <a:lnTo>
                        <a:pt x="163664" y="1727022"/>
                      </a:lnTo>
                      <a:lnTo>
                        <a:pt x="164172" y="1726565"/>
                      </a:lnTo>
                      <a:lnTo>
                        <a:pt x="164261" y="1726730"/>
                      </a:lnTo>
                      <a:lnTo>
                        <a:pt x="164350" y="1726590"/>
                      </a:lnTo>
                      <a:lnTo>
                        <a:pt x="164388" y="1726755"/>
                      </a:lnTo>
                      <a:lnTo>
                        <a:pt x="164414" y="1727111"/>
                      </a:lnTo>
                      <a:lnTo>
                        <a:pt x="165265" y="1724431"/>
                      </a:lnTo>
                      <a:close/>
                    </a:path>
                    <a:path w="1876425" h="2099945">
                      <a:moveTo>
                        <a:pt x="178612" y="1741474"/>
                      </a:moveTo>
                      <a:lnTo>
                        <a:pt x="177850" y="1740789"/>
                      </a:lnTo>
                      <a:lnTo>
                        <a:pt x="177558" y="1741385"/>
                      </a:lnTo>
                      <a:lnTo>
                        <a:pt x="177304" y="1741995"/>
                      </a:lnTo>
                      <a:lnTo>
                        <a:pt x="177101" y="1742617"/>
                      </a:lnTo>
                      <a:lnTo>
                        <a:pt x="178054" y="1742122"/>
                      </a:lnTo>
                      <a:lnTo>
                        <a:pt x="178612" y="1741474"/>
                      </a:lnTo>
                      <a:close/>
                    </a:path>
                    <a:path w="1876425" h="2099945">
                      <a:moveTo>
                        <a:pt x="180809" y="1738858"/>
                      </a:moveTo>
                      <a:lnTo>
                        <a:pt x="180378" y="1738706"/>
                      </a:lnTo>
                      <a:lnTo>
                        <a:pt x="179463" y="1738045"/>
                      </a:lnTo>
                      <a:lnTo>
                        <a:pt x="177952" y="1737880"/>
                      </a:lnTo>
                      <a:lnTo>
                        <a:pt x="174891" y="1739798"/>
                      </a:lnTo>
                      <a:lnTo>
                        <a:pt x="178028" y="1739709"/>
                      </a:lnTo>
                      <a:lnTo>
                        <a:pt x="178955" y="1739417"/>
                      </a:lnTo>
                      <a:lnTo>
                        <a:pt x="180809" y="1738858"/>
                      </a:lnTo>
                      <a:close/>
                    </a:path>
                    <a:path w="1876425" h="2099945">
                      <a:moveTo>
                        <a:pt x="217246" y="1867420"/>
                      </a:moveTo>
                      <a:lnTo>
                        <a:pt x="216662" y="1866684"/>
                      </a:lnTo>
                      <a:lnTo>
                        <a:pt x="215950" y="1866519"/>
                      </a:lnTo>
                      <a:lnTo>
                        <a:pt x="215023" y="1866163"/>
                      </a:lnTo>
                      <a:lnTo>
                        <a:pt x="215773" y="1866557"/>
                      </a:lnTo>
                      <a:lnTo>
                        <a:pt x="216535" y="1866950"/>
                      </a:lnTo>
                      <a:lnTo>
                        <a:pt x="217246" y="1867420"/>
                      </a:lnTo>
                      <a:close/>
                    </a:path>
                    <a:path w="1876425" h="2099945">
                      <a:moveTo>
                        <a:pt x="939507" y="1360347"/>
                      </a:moveTo>
                      <a:lnTo>
                        <a:pt x="938707" y="1360322"/>
                      </a:lnTo>
                      <a:lnTo>
                        <a:pt x="938301" y="1361033"/>
                      </a:lnTo>
                      <a:lnTo>
                        <a:pt x="937996" y="1361795"/>
                      </a:lnTo>
                      <a:lnTo>
                        <a:pt x="938542" y="1361351"/>
                      </a:lnTo>
                      <a:lnTo>
                        <a:pt x="939076" y="1360893"/>
                      </a:lnTo>
                      <a:lnTo>
                        <a:pt x="939507" y="1360347"/>
                      </a:lnTo>
                      <a:close/>
                    </a:path>
                    <a:path w="1876425" h="2099945">
                      <a:moveTo>
                        <a:pt x="987463" y="1283982"/>
                      </a:moveTo>
                      <a:lnTo>
                        <a:pt x="985685" y="1281861"/>
                      </a:lnTo>
                      <a:lnTo>
                        <a:pt x="984554" y="1281328"/>
                      </a:lnTo>
                      <a:lnTo>
                        <a:pt x="985647" y="1280248"/>
                      </a:lnTo>
                      <a:lnTo>
                        <a:pt x="983145" y="1279817"/>
                      </a:lnTo>
                      <a:lnTo>
                        <a:pt x="977950" y="1279359"/>
                      </a:lnTo>
                      <a:lnTo>
                        <a:pt x="979932" y="1283284"/>
                      </a:lnTo>
                      <a:lnTo>
                        <a:pt x="979347" y="1285481"/>
                      </a:lnTo>
                      <a:lnTo>
                        <a:pt x="981697" y="1287018"/>
                      </a:lnTo>
                      <a:lnTo>
                        <a:pt x="982662" y="1287221"/>
                      </a:lnTo>
                      <a:lnTo>
                        <a:pt x="985113" y="1286167"/>
                      </a:lnTo>
                      <a:lnTo>
                        <a:pt x="985507" y="1286002"/>
                      </a:lnTo>
                      <a:lnTo>
                        <a:pt x="986637" y="1285684"/>
                      </a:lnTo>
                      <a:lnTo>
                        <a:pt x="987463" y="1283982"/>
                      </a:lnTo>
                      <a:close/>
                    </a:path>
                    <a:path w="1876425" h="2099945">
                      <a:moveTo>
                        <a:pt x="1007554" y="1318298"/>
                      </a:moveTo>
                      <a:lnTo>
                        <a:pt x="1005941" y="1318374"/>
                      </a:lnTo>
                      <a:lnTo>
                        <a:pt x="1004430" y="1317942"/>
                      </a:lnTo>
                      <a:lnTo>
                        <a:pt x="1002817" y="1317891"/>
                      </a:lnTo>
                      <a:lnTo>
                        <a:pt x="1003998" y="1318514"/>
                      </a:lnTo>
                      <a:lnTo>
                        <a:pt x="1002449" y="1320215"/>
                      </a:lnTo>
                      <a:lnTo>
                        <a:pt x="1004849" y="1319618"/>
                      </a:lnTo>
                      <a:lnTo>
                        <a:pt x="1005763" y="1319212"/>
                      </a:lnTo>
                      <a:lnTo>
                        <a:pt x="1006741" y="1318895"/>
                      </a:lnTo>
                      <a:lnTo>
                        <a:pt x="1007554" y="1318298"/>
                      </a:lnTo>
                      <a:close/>
                    </a:path>
                    <a:path w="1876425" h="2099945">
                      <a:moveTo>
                        <a:pt x="1029779" y="1267421"/>
                      </a:moveTo>
                      <a:lnTo>
                        <a:pt x="1029436" y="1266977"/>
                      </a:lnTo>
                      <a:lnTo>
                        <a:pt x="1029512" y="1266545"/>
                      </a:lnTo>
                      <a:lnTo>
                        <a:pt x="1028801" y="1266901"/>
                      </a:lnTo>
                      <a:lnTo>
                        <a:pt x="1029144" y="1267053"/>
                      </a:lnTo>
                      <a:lnTo>
                        <a:pt x="1029449" y="1267256"/>
                      </a:lnTo>
                      <a:lnTo>
                        <a:pt x="1029779" y="1267421"/>
                      </a:lnTo>
                      <a:close/>
                    </a:path>
                    <a:path w="1876425" h="2099945">
                      <a:moveTo>
                        <a:pt x="1031328" y="1268374"/>
                      </a:moveTo>
                      <a:lnTo>
                        <a:pt x="1030947" y="1268031"/>
                      </a:lnTo>
                      <a:lnTo>
                        <a:pt x="1030389" y="1267802"/>
                      </a:lnTo>
                      <a:lnTo>
                        <a:pt x="1029957" y="1267536"/>
                      </a:lnTo>
                      <a:lnTo>
                        <a:pt x="1030173" y="1268082"/>
                      </a:lnTo>
                      <a:lnTo>
                        <a:pt x="1030719" y="1268399"/>
                      </a:lnTo>
                      <a:lnTo>
                        <a:pt x="1031328" y="1268374"/>
                      </a:lnTo>
                      <a:close/>
                    </a:path>
                    <a:path w="1876425" h="2099945">
                      <a:moveTo>
                        <a:pt x="1032484" y="1269085"/>
                      </a:moveTo>
                      <a:lnTo>
                        <a:pt x="1031887" y="1268653"/>
                      </a:lnTo>
                      <a:lnTo>
                        <a:pt x="1031328" y="1268374"/>
                      </a:lnTo>
                      <a:lnTo>
                        <a:pt x="1032484" y="1269085"/>
                      </a:lnTo>
                      <a:close/>
                    </a:path>
                    <a:path w="1876425" h="2099945">
                      <a:moveTo>
                        <a:pt x="1036548" y="1295031"/>
                      </a:moveTo>
                      <a:lnTo>
                        <a:pt x="1035989" y="1294422"/>
                      </a:lnTo>
                      <a:lnTo>
                        <a:pt x="1035164" y="1293901"/>
                      </a:lnTo>
                      <a:lnTo>
                        <a:pt x="1034389" y="1293495"/>
                      </a:lnTo>
                      <a:lnTo>
                        <a:pt x="1035100" y="1294028"/>
                      </a:lnTo>
                      <a:lnTo>
                        <a:pt x="1035773" y="1294612"/>
                      </a:lnTo>
                      <a:lnTo>
                        <a:pt x="1036548" y="1295031"/>
                      </a:lnTo>
                      <a:close/>
                    </a:path>
                    <a:path w="1876425" h="2099945">
                      <a:moveTo>
                        <a:pt x="1040993" y="2099183"/>
                      </a:moveTo>
                      <a:lnTo>
                        <a:pt x="1040549" y="2098611"/>
                      </a:lnTo>
                      <a:lnTo>
                        <a:pt x="1039774" y="2098471"/>
                      </a:lnTo>
                      <a:lnTo>
                        <a:pt x="1039012" y="2098255"/>
                      </a:lnTo>
                      <a:lnTo>
                        <a:pt x="1038580" y="2098598"/>
                      </a:lnTo>
                      <a:lnTo>
                        <a:pt x="1038212" y="2099081"/>
                      </a:lnTo>
                      <a:lnTo>
                        <a:pt x="1037844" y="2099487"/>
                      </a:lnTo>
                      <a:lnTo>
                        <a:pt x="1038898" y="2099348"/>
                      </a:lnTo>
                      <a:lnTo>
                        <a:pt x="1039952" y="2099348"/>
                      </a:lnTo>
                      <a:lnTo>
                        <a:pt x="1040993" y="2099183"/>
                      </a:lnTo>
                      <a:close/>
                    </a:path>
                    <a:path w="1876425" h="2099945">
                      <a:moveTo>
                        <a:pt x="1047076" y="1269492"/>
                      </a:moveTo>
                      <a:lnTo>
                        <a:pt x="1046162" y="1270977"/>
                      </a:lnTo>
                      <a:lnTo>
                        <a:pt x="1044092" y="1270889"/>
                      </a:lnTo>
                      <a:lnTo>
                        <a:pt x="1043470" y="1270863"/>
                      </a:lnTo>
                      <a:lnTo>
                        <a:pt x="1042581" y="1270381"/>
                      </a:lnTo>
                      <a:lnTo>
                        <a:pt x="1042022" y="1270317"/>
                      </a:lnTo>
                      <a:lnTo>
                        <a:pt x="1043546" y="1271257"/>
                      </a:lnTo>
                      <a:lnTo>
                        <a:pt x="1045362" y="1271765"/>
                      </a:lnTo>
                      <a:lnTo>
                        <a:pt x="1047013" y="1272413"/>
                      </a:lnTo>
                      <a:lnTo>
                        <a:pt x="1047076" y="1269492"/>
                      </a:lnTo>
                      <a:close/>
                    </a:path>
                    <a:path w="1876425" h="2099945">
                      <a:moveTo>
                        <a:pt x="1047191" y="1300454"/>
                      </a:moveTo>
                      <a:lnTo>
                        <a:pt x="1046556" y="1300073"/>
                      </a:lnTo>
                      <a:lnTo>
                        <a:pt x="1045946" y="1299552"/>
                      </a:lnTo>
                      <a:lnTo>
                        <a:pt x="1045273" y="1299578"/>
                      </a:lnTo>
                      <a:lnTo>
                        <a:pt x="1045883" y="1299921"/>
                      </a:lnTo>
                      <a:lnTo>
                        <a:pt x="1046530" y="1300187"/>
                      </a:lnTo>
                      <a:lnTo>
                        <a:pt x="1047191" y="1300454"/>
                      </a:lnTo>
                      <a:close/>
                    </a:path>
                    <a:path w="1876425" h="2099945">
                      <a:moveTo>
                        <a:pt x="1051788" y="1274533"/>
                      </a:moveTo>
                      <a:lnTo>
                        <a:pt x="1050226" y="1272794"/>
                      </a:lnTo>
                      <a:lnTo>
                        <a:pt x="1049972" y="1271955"/>
                      </a:lnTo>
                      <a:lnTo>
                        <a:pt x="1047610" y="1272413"/>
                      </a:lnTo>
                      <a:lnTo>
                        <a:pt x="1048715" y="1273467"/>
                      </a:lnTo>
                      <a:lnTo>
                        <a:pt x="1050404" y="1273924"/>
                      </a:lnTo>
                      <a:lnTo>
                        <a:pt x="1051788" y="1274533"/>
                      </a:lnTo>
                      <a:close/>
                    </a:path>
                    <a:path w="1876425" h="2099945">
                      <a:moveTo>
                        <a:pt x="1057262" y="1278356"/>
                      </a:moveTo>
                      <a:lnTo>
                        <a:pt x="1056944" y="1278166"/>
                      </a:lnTo>
                      <a:lnTo>
                        <a:pt x="1056589" y="1277950"/>
                      </a:lnTo>
                      <a:lnTo>
                        <a:pt x="1055916" y="1277785"/>
                      </a:lnTo>
                      <a:lnTo>
                        <a:pt x="1055408" y="1277353"/>
                      </a:lnTo>
                      <a:lnTo>
                        <a:pt x="1055268" y="1277594"/>
                      </a:lnTo>
                      <a:lnTo>
                        <a:pt x="1054887" y="1277924"/>
                      </a:lnTo>
                      <a:lnTo>
                        <a:pt x="1054785" y="1278166"/>
                      </a:lnTo>
                      <a:lnTo>
                        <a:pt x="1054785" y="1277391"/>
                      </a:lnTo>
                      <a:lnTo>
                        <a:pt x="1054887" y="1277239"/>
                      </a:lnTo>
                      <a:lnTo>
                        <a:pt x="1054049" y="1277391"/>
                      </a:lnTo>
                      <a:lnTo>
                        <a:pt x="1054404" y="1276591"/>
                      </a:lnTo>
                      <a:lnTo>
                        <a:pt x="1054696" y="1275905"/>
                      </a:lnTo>
                      <a:lnTo>
                        <a:pt x="1053515" y="1276591"/>
                      </a:lnTo>
                      <a:lnTo>
                        <a:pt x="1053465" y="1275588"/>
                      </a:lnTo>
                      <a:lnTo>
                        <a:pt x="1053452" y="1275308"/>
                      </a:lnTo>
                      <a:lnTo>
                        <a:pt x="1053261" y="1275334"/>
                      </a:lnTo>
                      <a:lnTo>
                        <a:pt x="1053134" y="1275537"/>
                      </a:lnTo>
                      <a:lnTo>
                        <a:pt x="1053007" y="1275588"/>
                      </a:lnTo>
                      <a:lnTo>
                        <a:pt x="1052995" y="1275422"/>
                      </a:lnTo>
                      <a:lnTo>
                        <a:pt x="1053096" y="1275194"/>
                      </a:lnTo>
                      <a:lnTo>
                        <a:pt x="1052918" y="1275092"/>
                      </a:lnTo>
                      <a:lnTo>
                        <a:pt x="1052283" y="1275092"/>
                      </a:lnTo>
                      <a:lnTo>
                        <a:pt x="1052169" y="1274622"/>
                      </a:lnTo>
                      <a:lnTo>
                        <a:pt x="1048791" y="1276032"/>
                      </a:lnTo>
                      <a:lnTo>
                        <a:pt x="1055585" y="1279474"/>
                      </a:lnTo>
                      <a:lnTo>
                        <a:pt x="1056220" y="1280160"/>
                      </a:lnTo>
                      <a:lnTo>
                        <a:pt x="1056614" y="1279601"/>
                      </a:lnTo>
                      <a:lnTo>
                        <a:pt x="1057262" y="1278356"/>
                      </a:lnTo>
                      <a:close/>
                    </a:path>
                    <a:path w="1876425" h="2099945">
                      <a:moveTo>
                        <a:pt x="1058392" y="1248892"/>
                      </a:moveTo>
                      <a:lnTo>
                        <a:pt x="1058354" y="1246695"/>
                      </a:lnTo>
                      <a:lnTo>
                        <a:pt x="1058341" y="1245590"/>
                      </a:lnTo>
                      <a:lnTo>
                        <a:pt x="1057452" y="1245323"/>
                      </a:lnTo>
                      <a:lnTo>
                        <a:pt x="1056601" y="1246695"/>
                      </a:lnTo>
                      <a:lnTo>
                        <a:pt x="1055509" y="1246466"/>
                      </a:lnTo>
                      <a:lnTo>
                        <a:pt x="1057414" y="1242123"/>
                      </a:lnTo>
                      <a:lnTo>
                        <a:pt x="1052893" y="1246060"/>
                      </a:lnTo>
                      <a:lnTo>
                        <a:pt x="1052982" y="1246924"/>
                      </a:lnTo>
                      <a:lnTo>
                        <a:pt x="1054646" y="1248892"/>
                      </a:lnTo>
                      <a:lnTo>
                        <a:pt x="1058392" y="1248892"/>
                      </a:lnTo>
                      <a:close/>
                    </a:path>
                    <a:path w="1876425" h="2099945">
                      <a:moveTo>
                        <a:pt x="1058506" y="1252029"/>
                      </a:moveTo>
                      <a:lnTo>
                        <a:pt x="1058392" y="1249006"/>
                      </a:lnTo>
                      <a:lnTo>
                        <a:pt x="1054747" y="1249006"/>
                      </a:lnTo>
                      <a:lnTo>
                        <a:pt x="1054582" y="1249006"/>
                      </a:lnTo>
                      <a:lnTo>
                        <a:pt x="1054455" y="1251305"/>
                      </a:lnTo>
                      <a:lnTo>
                        <a:pt x="1055204" y="1251343"/>
                      </a:lnTo>
                      <a:lnTo>
                        <a:pt x="1054798" y="1252918"/>
                      </a:lnTo>
                      <a:lnTo>
                        <a:pt x="1056170" y="1252334"/>
                      </a:lnTo>
                      <a:lnTo>
                        <a:pt x="1056995" y="1252969"/>
                      </a:lnTo>
                      <a:lnTo>
                        <a:pt x="1056855" y="1252334"/>
                      </a:lnTo>
                      <a:lnTo>
                        <a:pt x="1056792" y="1252067"/>
                      </a:lnTo>
                      <a:lnTo>
                        <a:pt x="1057605" y="1251940"/>
                      </a:lnTo>
                      <a:lnTo>
                        <a:pt x="1058506" y="1252029"/>
                      </a:lnTo>
                      <a:close/>
                    </a:path>
                    <a:path w="1876425" h="2099945">
                      <a:moveTo>
                        <a:pt x="1059357" y="1281417"/>
                      </a:moveTo>
                      <a:lnTo>
                        <a:pt x="1059205" y="1281112"/>
                      </a:lnTo>
                      <a:lnTo>
                        <a:pt x="1059053" y="1280820"/>
                      </a:lnTo>
                      <a:lnTo>
                        <a:pt x="1058887" y="1280515"/>
                      </a:lnTo>
                      <a:lnTo>
                        <a:pt x="1058506" y="1280439"/>
                      </a:lnTo>
                      <a:lnTo>
                        <a:pt x="1058087" y="1280439"/>
                      </a:lnTo>
                      <a:lnTo>
                        <a:pt x="1057694" y="1280414"/>
                      </a:lnTo>
                      <a:lnTo>
                        <a:pt x="1058087" y="1280934"/>
                      </a:lnTo>
                      <a:lnTo>
                        <a:pt x="1058697" y="1281290"/>
                      </a:lnTo>
                      <a:lnTo>
                        <a:pt x="1059357" y="1281417"/>
                      </a:lnTo>
                      <a:close/>
                    </a:path>
                    <a:path w="1876425" h="2099945">
                      <a:moveTo>
                        <a:pt x="1060246" y="1282103"/>
                      </a:moveTo>
                      <a:lnTo>
                        <a:pt x="1060208" y="1281938"/>
                      </a:lnTo>
                      <a:lnTo>
                        <a:pt x="1059916" y="1282026"/>
                      </a:lnTo>
                      <a:lnTo>
                        <a:pt x="1060246" y="1282103"/>
                      </a:lnTo>
                      <a:close/>
                    </a:path>
                    <a:path w="1876425" h="2099945">
                      <a:moveTo>
                        <a:pt x="1077874" y="1339773"/>
                      </a:moveTo>
                      <a:lnTo>
                        <a:pt x="1076502" y="1336509"/>
                      </a:lnTo>
                      <a:lnTo>
                        <a:pt x="1070648" y="1334452"/>
                      </a:lnTo>
                      <a:lnTo>
                        <a:pt x="1063777" y="1331620"/>
                      </a:lnTo>
                      <a:lnTo>
                        <a:pt x="1059726" y="1331277"/>
                      </a:lnTo>
                      <a:lnTo>
                        <a:pt x="1055725" y="1330807"/>
                      </a:lnTo>
                      <a:lnTo>
                        <a:pt x="1052499" y="1331468"/>
                      </a:lnTo>
                      <a:lnTo>
                        <a:pt x="1050099" y="1332458"/>
                      </a:lnTo>
                      <a:lnTo>
                        <a:pt x="1047115" y="1333881"/>
                      </a:lnTo>
                      <a:lnTo>
                        <a:pt x="1051052" y="1336382"/>
                      </a:lnTo>
                      <a:lnTo>
                        <a:pt x="1055573" y="1340167"/>
                      </a:lnTo>
                      <a:lnTo>
                        <a:pt x="1061707" y="1340548"/>
                      </a:lnTo>
                      <a:lnTo>
                        <a:pt x="1063218" y="1343139"/>
                      </a:lnTo>
                      <a:lnTo>
                        <a:pt x="1064602" y="1342110"/>
                      </a:lnTo>
                      <a:lnTo>
                        <a:pt x="1063332" y="1341767"/>
                      </a:lnTo>
                      <a:lnTo>
                        <a:pt x="1063828" y="1341310"/>
                      </a:lnTo>
                      <a:lnTo>
                        <a:pt x="1063879" y="1340408"/>
                      </a:lnTo>
                      <a:lnTo>
                        <a:pt x="1064971" y="1339494"/>
                      </a:lnTo>
                      <a:lnTo>
                        <a:pt x="1066647" y="1339367"/>
                      </a:lnTo>
                      <a:lnTo>
                        <a:pt x="1067447" y="1339151"/>
                      </a:lnTo>
                      <a:lnTo>
                        <a:pt x="1069200" y="1338656"/>
                      </a:lnTo>
                      <a:lnTo>
                        <a:pt x="1069975" y="1339075"/>
                      </a:lnTo>
                      <a:lnTo>
                        <a:pt x="1074191" y="1340104"/>
                      </a:lnTo>
                      <a:lnTo>
                        <a:pt x="1075524" y="1340523"/>
                      </a:lnTo>
                      <a:lnTo>
                        <a:pt x="1077874" y="1339773"/>
                      </a:lnTo>
                      <a:close/>
                    </a:path>
                    <a:path w="1876425" h="2099945">
                      <a:moveTo>
                        <a:pt x="1082382" y="1255382"/>
                      </a:moveTo>
                      <a:lnTo>
                        <a:pt x="1081316" y="1254810"/>
                      </a:lnTo>
                      <a:lnTo>
                        <a:pt x="1082382" y="1255382"/>
                      </a:lnTo>
                      <a:close/>
                    </a:path>
                    <a:path w="1876425" h="2099945">
                      <a:moveTo>
                        <a:pt x="1085456" y="1257084"/>
                      </a:moveTo>
                      <a:lnTo>
                        <a:pt x="1084173" y="1256169"/>
                      </a:lnTo>
                      <a:lnTo>
                        <a:pt x="1082687" y="1255534"/>
                      </a:lnTo>
                      <a:lnTo>
                        <a:pt x="1082382" y="1255382"/>
                      </a:lnTo>
                      <a:lnTo>
                        <a:pt x="1082840" y="1256118"/>
                      </a:lnTo>
                      <a:lnTo>
                        <a:pt x="1083932" y="1256728"/>
                      </a:lnTo>
                      <a:lnTo>
                        <a:pt x="1084783" y="1256753"/>
                      </a:lnTo>
                      <a:lnTo>
                        <a:pt x="1085456" y="1257084"/>
                      </a:lnTo>
                      <a:close/>
                    </a:path>
                    <a:path w="1876425" h="2099945">
                      <a:moveTo>
                        <a:pt x="1096048" y="1263751"/>
                      </a:moveTo>
                      <a:lnTo>
                        <a:pt x="1093177" y="1258887"/>
                      </a:lnTo>
                      <a:lnTo>
                        <a:pt x="1093851" y="1260602"/>
                      </a:lnTo>
                      <a:lnTo>
                        <a:pt x="1090726" y="1260144"/>
                      </a:lnTo>
                      <a:lnTo>
                        <a:pt x="1092835" y="1261745"/>
                      </a:lnTo>
                      <a:lnTo>
                        <a:pt x="1094028" y="1262659"/>
                      </a:lnTo>
                      <a:lnTo>
                        <a:pt x="1095108" y="1262303"/>
                      </a:lnTo>
                      <a:lnTo>
                        <a:pt x="1096048" y="1263751"/>
                      </a:lnTo>
                      <a:close/>
                    </a:path>
                    <a:path w="1876425" h="2099945">
                      <a:moveTo>
                        <a:pt x="1097826" y="1252931"/>
                      </a:moveTo>
                      <a:lnTo>
                        <a:pt x="1097241" y="1252905"/>
                      </a:lnTo>
                      <a:lnTo>
                        <a:pt x="1096619" y="1253223"/>
                      </a:lnTo>
                      <a:lnTo>
                        <a:pt x="1096200" y="1253718"/>
                      </a:lnTo>
                      <a:lnTo>
                        <a:pt x="1096784" y="1253591"/>
                      </a:lnTo>
                      <a:lnTo>
                        <a:pt x="1097381" y="1253299"/>
                      </a:lnTo>
                      <a:lnTo>
                        <a:pt x="1097826" y="1252931"/>
                      </a:lnTo>
                      <a:close/>
                    </a:path>
                    <a:path w="1876425" h="2099945">
                      <a:moveTo>
                        <a:pt x="1102702" y="1246543"/>
                      </a:moveTo>
                      <a:lnTo>
                        <a:pt x="1101623" y="1246708"/>
                      </a:lnTo>
                      <a:lnTo>
                        <a:pt x="1101458" y="1247559"/>
                      </a:lnTo>
                      <a:lnTo>
                        <a:pt x="1101509" y="1248676"/>
                      </a:lnTo>
                      <a:lnTo>
                        <a:pt x="1101915" y="1247965"/>
                      </a:lnTo>
                      <a:lnTo>
                        <a:pt x="1102321" y="1247267"/>
                      </a:lnTo>
                      <a:lnTo>
                        <a:pt x="1102702" y="1246543"/>
                      </a:lnTo>
                      <a:close/>
                    </a:path>
                    <a:path w="1876425" h="2099945">
                      <a:moveTo>
                        <a:pt x="1107020" y="1267536"/>
                      </a:moveTo>
                      <a:lnTo>
                        <a:pt x="1106424" y="1267002"/>
                      </a:lnTo>
                      <a:lnTo>
                        <a:pt x="1105509" y="1266723"/>
                      </a:lnTo>
                      <a:lnTo>
                        <a:pt x="1104658" y="1267155"/>
                      </a:lnTo>
                      <a:lnTo>
                        <a:pt x="1107020" y="1267536"/>
                      </a:lnTo>
                      <a:close/>
                    </a:path>
                    <a:path w="1876425" h="2099945">
                      <a:moveTo>
                        <a:pt x="1107414" y="1306334"/>
                      </a:moveTo>
                      <a:lnTo>
                        <a:pt x="1088720" y="1297736"/>
                      </a:lnTo>
                      <a:lnTo>
                        <a:pt x="1088351" y="1298194"/>
                      </a:lnTo>
                      <a:lnTo>
                        <a:pt x="1088224" y="1297838"/>
                      </a:lnTo>
                      <a:lnTo>
                        <a:pt x="1086408" y="1292898"/>
                      </a:lnTo>
                      <a:lnTo>
                        <a:pt x="1085913" y="1292288"/>
                      </a:lnTo>
                      <a:lnTo>
                        <a:pt x="1085354" y="1291602"/>
                      </a:lnTo>
                      <a:lnTo>
                        <a:pt x="1079195" y="1292288"/>
                      </a:lnTo>
                      <a:lnTo>
                        <a:pt x="1078915" y="1292186"/>
                      </a:lnTo>
                      <a:lnTo>
                        <a:pt x="1075563" y="1289545"/>
                      </a:lnTo>
                      <a:lnTo>
                        <a:pt x="1075334" y="1289367"/>
                      </a:lnTo>
                      <a:lnTo>
                        <a:pt x="1072934" y="1289545"/>
                      </a:lnTo>
                      <a:lnTo>
                        <a:pt x="1069860" y="1288211"/>
                      </a:lnTo>
                      <a:lnTo>
                        <a:pt x="1067701" y="1287627"/>
                      </a:lnTo>
                      <a:lnTo>
                        <a:pt x="1065771" y="1285544"/>
                      </a:lnTo>
                      <a:lnTo>
                        <a:pt x="1064971" y="1284363"/>
                      </a:lnTo>
                      <a:lnTo>
                        <a:pt x="1064514" y="1284046"/>
                      </a:lnTo>
                      <a:lnTo>
                        <a:pt x="1063396" y="1283271"/>
                      </a:lnTo>
                      <a:lnTo>
                        <a:pt x="1062253" y="1282598"/>
                      </a:lnTo>
                      <a:lnTo>
                        <a:pt x="1060246" y="1282103"/>
                      </a:lnTo>
                      <a:lnTo>
                        <a:pt x="1060729" y="1284046"/>
                      </a:lnTo>
                      <a:lnTo>
                        <a:pt x="1057668" y="1282204"/>
                      </a:lnTo>
                      <a:lnTo>
                        <a:pt x="1055179" y="1281137"/>
                      </a:lnTo>
                      <a:lnTo>
                        <a:pt x="1050594" y="1277480"/>
                      </a:lnTo>
                      <a:lnTo>
                        <a:pt x="1050036" y="1277035"/>
                      </a:lnTo>
                      <a:lnTo>
                        <a:pt x="1047496" y="1275778"/>
                      </a:lnTo>
                      <a:lnTo>
                        <a:pt x="1042974" y="1274508"/>
                      </a:lnTo>
                      <a:lnTo>
                        <a:pt x="1041666" y="1274140"/>
                      </a:lnTo>
                      <a:lnTo>
                        <a:pt x="1038923" y="1272921"/>
                      </a:lnTo>
                      <a:lnTo>
                        <a:pt x="1035100" y="1272235"/>
                      </a:lnTo>
                      <a:lnTo>
                        <a:pt x="1031633" y="1271612"/>
                      </a:lnTo>
                      <a:lnTo>
                        <a:pt x="1030706" y="1271219"/>
                      </a:lnTo>
                      <a:lnTo>
                        <a:pt x="1028738" y="1268095"/>
                      </a:lnTo>
                      <a:lnTo>
                        <a:pt x="1027303" y="1265796"/>
                      </a:lnTo>
                      <a:lnTo>
                        <a:pt x="1027087" y="1265453"/>
                      </a:lnTo>
                      <a:lnTo>
                        <a:pt x="1021676" y="1265796"/>
                      </a:lnTo>
                      <a:lnTo>
                        <a:pt x="1018159" y="1264666"/>
                      </a:lnTo>
                      <a:lnTo>
                        <a:pt x="1016647" y="1263637"/>
                      </a:lnTo>
                      <a:lnTo>
                        <a:pt x="1015352" y="1262976"/>
                      </a:lnTo>
                      <a:lnTo>
                        <a:pt x="1014082" y="1262329"/>
                      </a:lnTo>
                      <a:lnTo>
                        <a:pt x="1012405" y="1262710"/>
                      </a:lnTo>
                      <a:lnTo>
                        <a:pt x="1009396" y="1262786"/>
                      </a:lnTo>
                      <a:lnTo>
                        <a:pt x="1007973" y="1262976"/>
                      </a:lnTo>
                      <a:lnTo>
                        <a:pt x="1006271" y="1262303"/>
                      </a:lnTo>
                      <a:lnTo>
                        <a:pt x="1004785" y="1261719"/>
                      </a:lnTo>
                      <a:lnTo>
                        <a:pt x="1003973" y="1262303"/>
                      </a:lnTo>
                      <a:lnTo>
                        <a:pt x="999477" y="1262075"/>
                      </a:lnTo>
                      <a:lnTo>
                        <a:pt x="996327" y="1261198"/>
                      </a:lnTo>
                      <a:lnTo>
                        <a:pt x="993292" y="1260970"/>
                      </a:lnTo>
                      <a:lnTo>
                        <a:pt x="989139" y="1262075"/>
                      </a:lnTo>
                      <a:lnTo>
                        <a:pt x="985227" y="1263040"/>
                      </a:lnTo>
                      <a:lnTo>
                        <a:pt x="977099" y="1264881"/>
                      </a:lnTo>
                      <a:lnTo>
                        <a:pt x="973251" y="1266266"/>
                      </a:lnTo>
                      <a:lnTo>
                        <a:pt x="966457" y="1267866"/>
                      </a:lnTo>
                      <a:lnTo>
                        <a:pt x="962748" y="1270050"/>
                      </a:lnTo>
                      <a:lnTo>
                        <a:pt x="959916" y="1274610"/>
                      </a:lnTo>
                      <a:lnTo>
                        <a:pt x="961110" y="1276235"/>
                      </a:lnTo>
                      <a:lnTo>
                        <a:pt x="961859" y="1278255"/>
                      </a:lnTo>
                      <a:lnTo>
                        <a:pt x="961923" y="1278559"/>
                      </a:lnTo>
                      <a:lnTo>
                        <a:pt x="960475" y="1279156"/>
                      </a:lnTo>
                      <a:lnTo>
                        <a:pt x="958672" y="1278559"/>
                      </a:lnTo>
                      <a:lnTo>
                        <a:pt x="956233" y="1279207"/>
                      </a:lnTo>
                      <a:lnTo>
                        <a:pt x="955548" y="1279715"/>
                      </a:lnTo>
                      <a:lnTo>
                        <a:pt x="953731" y="1280325"/>
                      </a:lnTo>
                      <a:lnTo>
                        <a:pt x="951585" y="1280325"/>
                      </a:lnTo>
                      <a:lnTo>
                        <a:pt x="953960" y="1281887"/>
                      </a:lnTo>
                      <a:lnTo>
                        <a:pt x="956259" y="1281569"/>
                      </a:lnTo>
                      <a:lnTo>
                        <a:pt x="957275" y="1281595"/>
                      </a:lnTo>
                      <a:lnTo>
                        <a:pt x="957694" y="1281595"/>
                      </a:lnTo>
                      <a:lnTo>
                        <a:pt x="958748" y="1282026"/>
                      </a:lnTo>
                      <a:lnTo>
                        <a:pt x="959878" y="1282090"/>
                      </a:lnTo>
                      <a:lnTo>
                        <a:pt x="961009" y="1281569"/>
                      </a:lnTo>
                      <a:lnTo>
                        <a:pt x="962190" y="1281023"/>
                      </a:lnTo>
                      <a:lnTo>
                        <a:pt x="964349" y="1280325"/>
                      </a:lnTo>
                      <a:lnTo>
                        <a:pt x="964780" y="1280185"/>
                      </a:lnTo>
                      <a:lnTo>
                        <a:pt x="965174" y="1280210"/>
                      </a:lnTo>
                      <a:lnTo>
                        <a:pt x="966012" y="1279156"/>
                      </a:lnTo>
                      <a:lnTo>
                        <a:pt x="966724" y="1278255"/>
                      </a:lnTo>
                      <a:lnTo>
                        <a:pt x="965784" y="1276642"/>
                      </a:lnTo>
                      <a:lnTo>
                        <a:pt x="969073" y="1275981"/>
                      </a:lnTo>
                      <a:lnTo>
                        <a:pt x="970572" y="1275334"/>
                      </a:lnTo>
                      <a:lnTo>
                        <a:pt x="974267" y="1275359"/>
                      </a:lnTo>
                      <a:lnTo>
                        <a:pt x="973747" y="1276235"/>
                      </a:lnTo>
                      <a:lnTo>
                        <a:pt x="974674" y="1275334"/>
                      </a:lnTo>
                      <a:lnTo>
                        <a:pt x="977188" y="1272870"/>
                      </a:lnTo>
                      <a:lnTo>
                        <a:pt x="978916" y="1271714"/>
                      </a:lnTo>
                      <a:lnTo>
                        <a:pt x="981913" y="1270165"/>
                      </a:lnTo>
                      <a:lnTo>
                        <a:pt x="984250" y="1268196"/>
                      </a:lnTo>
                      <a:lnTo>
                        <a:pt x="987425" y="1268399"/>
                      </a:lnTo>
                      <a:lnTo>
                        <a:pt x="989495" y="1268323"/>
                      </a:lnTo>
                      <a:lnTo>
                        <a:pt x="992797" y="1268437"/>
                      </a:lnTo>
                      <a:lnTo>
                        <a:pt x="993800" y="1268323"/>
                      </a:lnTo>
                      <a:lnTo>
                        <a:pt x="994905" y="1268196"/>
                      </a:lnTo>
                      <a:lnTo>
                        <a:pt x="995794" y="1268095"/>
                      </a:lnTo>
                      <a:lnTo>
                        <a:pt x="998994" y="1269733"/>
                      </a:lnTo>
                      <a:lnTo>
                        <a:pt x="1000836" y="1270939"/>
                      </a:lnTo>
                      <a:lnTo>
                        <a:pt x="997292" y="1272235"/>
                      </a:lnTo>
                      <a:lnTo>
                        <a:pt x="996810" y="1272108"/>
                      </a:lnTo>
                      <a:lnTo>
                        <a:pt x="995057" y="1272222"/>
                      </a:lnTo>
                      <a:lnTo>
                        <a:pt x="992225" y="1271727"/>
                      </a:lnTo>
                      <a:lnTo>
                        <a:pt x="992771" y="1273771"/>
                      </a:lnTo>
                      <a:lnTo>
                        <a:pt x="996416" y="1275727"/>
                      </a:lnTo>
                      <a:lnTo>
                        <a:pt x="998969" y="1276400"/>
                      </a:lnTo>
                      <a:lnTo>
                        <a:pt x="1005255" y="1275803"/>
                      </a:lnTo>
                      <a:lnTo>
                        <a:pt x="1005954" y="1274508"/>
                      </a:lnTo>
                      <a:lnTo>
                        <a:pt x="1007160" y="1276235"/>
                      </a:lnTo>
                      <a:lnTo>
                        <a:pt x="1007186" y="1276642"/>
                      </a:lnTo>
                      <a:lnTo>
                        <a:pt x="1006919" y="1277683"/>
                      </a:lnTo>
                      <a:lnTo>
                        <a:pt x="1011936" y="1277861"/>
                      </a:lnTo>
                      <a:lnTo>
                        <a:pt x="1014704" y="1277480"/>
                      </a:lnTo>
                      <a:lnTo>
                        <a:pt x="1018819" y="1279258"/>
                      </a:lnTo>
                      <a:lnTo>
                        <a:pt x="1020318" y="1280972"/>
                      </a:lnTo>
                      <a:lnTo>
                        <a:pt x="1026629" y="1283271"/>
                      </a:lnTo>
                      <a:lnTo>
                        <a:pt x="1030274" y="1284122"/>
                      </a:lnTo>
                      <a:lnTo>
                        <a:pt x="1037120" y="1284643"/>
                      </a:lnTo>
                      <a:lnTo>
                        <a:pt x="1039139" y="1284935"/>
                      </a:lnTo>
                      <a:lnTo>
                        <a:pt x="1043343" y="1285786"/>
                      </a:lnTo>
                      <a:lnTo>
                        <a:pt x="1043736" y="1287805"/>
                      </a:lnTo>
                      <a:lnTo>
                        <a:pt x="1045210" y="1290510"/>
                      </a:lnTo>
                      <a:lnTo>
                        <a:pt x="1044409" y="1292021"/>
                      </a:lnTo>
                      <a:lnTo>
                        <a:pt x="1045273" y="1293723"/>
                      </a:lnTo>
                      <a:lnTo>
                        <a:pt x="1046365" y="1294282"/>
                      </a:lnTo>
                      <a:lnTo>
                        <a:pt x="1050671" y="1297393"/>
                      </a:lnTo>
                      <a:lnTo>
                        <a:pt x="1054773" y="1297978"/>
                      </a:lnTo>
                      <a:lnTo>
                        <a:pt x="1059878" y="1298524"/>
                      </a:lnTo>
                      <a:lnTo>
                        <a:pt x="1060704" y="1297838"/>
                      </a:lnTo>
                      <a:lnTo>
                        <a:pt x="1061948" y="1298143"/>
                      </a:lnTo>
                      <a:lnTo>
                        <a:pt x="1062977" y="1299679"/>
                      </a:lnTo>
                      <a:lnTo>
                        <a:pt x="1065326" y="1302080"/>
                      </a:lnTo>
                      <a:lnTo>
                        <a:pt x="1065047" y="1302207"/>
                      </a:lnTo>
                      <a:lnTo>
                        <a:pt x="1061402" y="1305699"/>
                      </a:lnTo>
                      <a:lnTo>
                        <a:pt x="1058951" y="1306677"/>
                      </a:lnTo>
                      <a:lnTo>
                        <a:pt x="1056703" y="1308912"/>
                      </a:lnTo>
                      <a:lnTo>
                        <a:pt x="1055636" y="1310563"/>
                      </a:lnTo>
                      <a:lnTo>
                        <a:pt x="1061859" y="1311821"/>
                      </a:lnTo>
                      <a:lnTo>
                        <a:pt x="1069822" y="1309992"/>
                      </a:lnTo>
                      <a:lnTo>
                        <a:pt x="1080008" y="1309268"/>
                      </a:lnTo>
                      <a:lnTo>
                        <a:pt x="1082903" y="1309293"/>
                      </a:lnTo>
                      <a:lnTo>
                        <a:pt x="1088275" y="1310182"/>
                      </a:lnTo>
                      <a:lnTo>
                        <a:pt x="1090218" y="1310779"/>
                      </a:lnTo>
                      <a:lnTo>
                        <a:pt x="1092288" y="1310043"/>
                      </a:lnTo>
                      <a:lnTo>
                        <a:pt x="1092669" y="1309268"/>
                      </a:lnTo>
                      <a:lnTo>
                        <a:pt x="1093381" y="1307858"/>
                      </a:lnTo>
                      <a:lnTo>
                        <a:pt x="1093660" y="1310182"/>
                      </a:lnTo>
                      <a:lnTo>
                        <a:pt x="1095375" y="1309204"/>
                      </a:lnTo>
                      <a:lnTo>
                        <a:pt x="1097241" y="1308252"/>
                      </a:lnTo>
                      <a:lnTo>
                        <a:pt x="1099210" y="1307858"/>
                      </a:lnTo>
                      <a:lnTo>
                        <a:pt x="1100937" y="1307515"/>
                      </a:lnTo>
                      <a:lnTo>
                        <a:pt x="1103058" y="1308061"/>
                      </a:lnTo>
                      <a:lnTo>
                        <a:pt x="1104887" y="1307515"/>
                      </a:lnTo>
                      <a:lnTo>
                        <a:pt x="1105065" y="1307465"/>
                      </a:lnTo>
                      <a:lnTo>
                        <a:pt x="1107414" y="1306334"/>
                      </a:lnTo>
                      <a:close/>
                    </a:path>
                    <a:path w="1876425" h="2099945">
                      <a:moveTo>
                        <a:pt x="1107782" y="1267663"/>
                      </a:moveTo>
                      <a:lnTo>
                        <a:pt x="1107528" y="1267625"/>
                      </a:lnTo>
                      <a:lnTo>
                        <a:pt x="1107274" y="1267574"/>
                      </a:lnTo>
                      <a:lnTo>
                        <a:pt x="1107020" y="1267536"/>
                      </a:lnTo>
                      <a:lnTo>
                        <a:pt x="1107236" y="1267587"/>
                      </a:lnTo>
                      <a:lnTo>
                        <a:pt x="1107503" y="1267714"/>
                      </a:lnTo>
                      <a:lnTo>
                        <a:pt x="1107782" y="1267663"/>
                      </a:lnTo>
                      <a:close/>
                    </a:path>
                    <a:path w="1876425" h="2099945">
                      <a:moveTo>
                        <a:pt x="1108697" y="1267802"/>
                      </a:moveTo>
                      <a:lnTo>
                        <a:pt x="1108316" y="1267523"/>
                      </a:lnTo>
                      <a:lnTo>
                        <a:pt x="1108075" y="1267675"/>
                      </a:lnTo>
                      <a:lnTo>
                        <a:pt x="1107782" y="1267663"/>
                      </a:lnTo>
                      <a:lnTo>
                        <a:pt x="1108087" y="1267688"/>
                      </a:lnTo>
                      <a:lnTo>
                        <a:pt x="1108405" y="1267752"/>
                      </a:lnTo>
                      <a:lnTo>
                        <a:pt x="1108697" y="1267802"/>
                      </a:lnTo>
                      <a:close/>
                    </a:path>
                    <a:path w="1876425" h="2099945">
                      <a:moveTo>
                        <a:pt x="1111808" y="1270431"/>
                      </a:moveTo>
                      <a:lnTo>
                        <a:pt x="1111351" y="1268603"/>
                      </a:lnTo>
                      <a:lnTo>
                        <a:pt x="1111186" y="1267625"/>
                      </a:lnTo>
                      <a:lnTo>
                        <a:pt x="1110653" y="1267739"/>
                      </a:lnTo>
                      <a:lnTo>
                        <a:pt x="1110399" y="1267714"/>
                      </a:lnTo>
                      <a:lnTo>
                        <a:pt x="1109827" y="1267777"/>
                      </a:lnTo>
                      <a:lnTo>
                        <a:pt x="1109814" y="1267929"/>
                      </a:lnTo>
                      <a:lnTo>
                        <a:pt x="1109992" y="1268018"/>
                      </a:lnTo>
                      <a:lnTo>
                        <a:pt x="1110005" y="1268145"/>
                      </a:lnTo>
                      <a:lnTo>
                        <a:pt x="1109421" y="1268272"/>
                      </a:lnTo>
                      <a:lnTo>
                        <a:pt x="1109611" y="1268412"/>
                      </a:lnTo>
                      <a:lnTo>
                        <a:pt x="1108925" y="1268374"/>
                      </a:lnTo>
                      <a:lnTo>
                        <a:pt x="1108633" y="1269085"/>
                      </a:lnTo>
                      <a:lnTo>
                        <a:pt x="1108544" y="1269352"/>
                      </a:lnTo>
                      <a:lnTo>
                        <a:pt x="1111681" y="1270076"/>
                      </a:lnTo>
                      <a:lnTo>
                        <a:pt x="1111084" y="1271130"/>
                      </a:lnTo>
                      <a:lnTo>
                        <a:pt x="1107897" y="1273073"/>
                      </a:lnTo>
                      <a:lnTo>
                        <a:pt x="1106932" y="1273606"/>
                      </a:lnTo>
                      <a:lnTo>
                        <a:pt x="1105763" y="1275245"/>
                      </a:lnTo>
                      <a:lnTo>
                        <a:pt x="1107554" y="1273937"/>
                      </a:lnTo>
                      <a:lnTo>
                        <a:pt x="1109484" y="1272717"/>
                      </a:lnTo>
                      <a:lnTo>
                        <a:pt x="1111084" y="1271155"/>
                      </a:lnTo>
                      <a:lnTo>
                        <a:pt x="1111808" y="1270431"/>
                      </a:lnTo>
                      <a:close/>
                    </a:path>
                    <a:path w="1876425" h="2099945">
                      <a:moveTo>
                        <a:pt x="1123797" y="1285519"/>
                      </a:moveTo>
                      <a:lnTo>
                        <a:pt x="1122654" y="1285709"/>
                      </a:lnTo>
                      <a:lnTo>
                        <a:pt x="1122337" y="1286408"/>
                      </a:lnTo>
                      <a:lnTo>
                        <a:pt x="1122819" y="1287322"/>
                      </a:lnTo>
                      <a:lnTo>
                        <a:pt x="1123188" y="1286751"/>
                      </a:lnTo>
                      <a:lnTo>
                        <a:pt x="1123492" y="1286141"/>
                      </a:lnTo>
                      <a:lnTo>
                        <a:pt x="1123797" y="1285519"/>
                      </a:lnTo>
                      <a:close/>
                    </a:path>
                    <a:path w="1876425" h="2099945">
                      <a:moveTo>
                        <a:pt x="1124623" y="1288008"/>
                      </a:moveTo>
                      <a:lnTo>
                        <a:pt x="1121879" y="1289278"/>
                      </a:lnTo>
                      <a:lnTo>
                        <a:pt x="1121752" y="1290840"/>
                      </a:lnTo>
                      <a:lnTo>
                        <a:pt x="1119492" y="1291971"/>
                      </a:lnTo>
                      <a:lnTo>
                        <a:pt x="1118958" y="1291475"/>
                      </a:lnTo>
                      <a:lnTo>
                        <a:pt x="1117904" y="1290269"/>
                      </a:lnTo>
                      <a:lnTo>
                        <a:pt x="1117396" y="1291031"/>
                      </a:lnTo>
                      <a:lnTo>
                        <a:pt x="1116418" y="1290916"/>
                      </a:lnTo>
                      <a:lnTo>
                        <a:pt x="1115212" y="1291361"/>
                      </a:lnTo>
                      <a:lnTo>
                        <a:pt x="1114628" y="1291971"/>
                      </a:lnTo>
                      <a:lnTo>
                        <a:pt x="1113790" y="1292174"/>
                      </a:lnTo>
                      <a:lnTo>
                        <a:pt x="1114056" y="1293177"/>
                      </a:lnTo>
                      <a:lnTo>
                        <a:pt x="1112710" y="1293698"/>
                      </a:lnTo>
                      <a:lnTo>
                        <a:pt x="1114437" y="1294625"/>
                      </a:lnTo>
                      <a:lnTo>
                        <a:pt x="1116901" y="1294460"/>
                      </a:lnTo>
                      <a:lnTo>
                        <a:pt x="1120838" y="1295247"/>
                      </a:lnTo>
                      <a:lnTo>
                        <a:pt x="1122299" y="1292110"/>
                      </a:lnTo>
                      <a:lnTo>
                        <a:pt x="1124623" y="1288008"/>
                      </a:lnTo>
                      <a:close/>
                    </a:path>
                    <a:path w="1876425" h="2099945">
                      <a:moveTo>
                        <a:pt x="1127404" y="1273695"/>
                      </a:moveTo>
                      <a:lnTo>
                        <a:pt x="1126731" y="1273340"/>
                      </a:lnTo>
                      <a:lnTo>
                        <a:pt x="1126185" y="1273009"/>
                      </a:lnTo>
                      <a:lnTo>
                        <a:pt x="1125397" y="1272794"/>
                      </a:lnTo>
                      <a:lnTo>
                        <a:pt x="1124762" y="1272628"/>
                      </a:lnTo>
                      <a:lnTo>
                        <a:pt x="1124508" y="1272819"/>
                      </a:lnTo>
                      <a:lnTo>
                        <a:pt x="1123061" y="1272476"/>
                      </a:lnTo>
                      <a:lnTo>
                        <a:pt x="1121943" y="1271422"/>
                      </a:lnTo>
                      <a:lnTo>
                        <a:pt x="1120889" y="1273517"/>
                      </a:lnTo>
                      <a:lnTo>
                        <a:pt x="1121930" y="1273479"/>
                      </a:lnTo>
                      <a:lnTo>
                        <a:pt x="1122908" y="1273505"/>
                      </a:lnTo>
                      <a:lnTo>
                        <a:pt x="1124394" y="1273594"/>
                      </a:lnTo>
                      <a:lnTo>
                        <a:pt x="1125905" y="1273746"/>
                      </a:lnTo>
                      <a:lnTo>
                        <a:pt x="1127404" y="1273695"/>
                      </a:lnTo>
                      <a:close/>
                    </a:path>
                    <a:path w="1876425" h="2099945">
                      <a:moveTo>
                        <a:pt x="1127467" y="1325105"/>
                      </a:moveTo>
                      <a:lnTo>
                        <a:pt x="1120711" y="1324406"/>
                      </a:lnTo>
                      <a:lnTo>
                        <a:pt x="1119238" y="1324610"/>
                      </a:lnTo>
                      <a:lnTo>
                        <a:pt x="1120000" y="1325816"/>
                      </a:lnTo>
                      <a:lnTo>
                        <a:pt x="1122692" y="1327099"/>
                      </a:lnTo>
                      <a:lnTo>
                        <a:pt x="1124178" y="1327302"/>
                      </a:lnTo>
                      <a:lnTo>
                        <a:pt x="1124877" y="1327569"/>
                      </a:lnTo>
                      <a:lnTo>
                        <a:pt x="1125588" y="1327810"/>
                      </a:lnTo>
                      <a:lnTo>
                        <a:pt x="1126312" y="1327899"/>
                      </a:lnTo>
                      <a:lnTo>
                        <a:pt x="1127467" y="1325105"/>
                      </a:lnTo>
                      <a:close/>
                    </a:path>
                    <a:path w="1876425" h="2099945">
                      <a:moveTo>
                        <a:pt x="1128877" y="1308760"/>
                      </a:moveTo>
                      <a:lnTo>
                        <a:pt x="1128115" y="1308544"/>
                      </a:lnTo>
                      <a:lnTo>
                        <a:pt x="1125156" y="1307896"/>
                      </a:lnTo>
                      <a:lnTo>
                        <a:pt x="1124140" y="1307655"/>
                      </a:lnTo>
                      <a:lnTo>
                        <a:pt x="1124458" y="1307807"/>
                      </a:lnTo>
                      <a:lnTo>
                        <a:pt x="1126401" y="1308468"/>
                      </a:lnTo>
                      <a:lnTo>
                        <a:pt x="1127798" y="1308773"/>
                      </a:lnTo>
                      <a:lnTo>
                        <a:pt x="1128877" y="1308760"/>
                      </a:lnTo>
                      <a:close/>
                    </a:path>
                    <a:path w="1876425" h="2099945">
                      <a:moveTo>
                        <a:pt x="1134148" y="1282026"/>
                      </a:moveTo>
                      <a:lnTo>
                        <a:pt x="1134021" y="1281887"/>
                      </a:lnTo>
                      <a:lnTo>
                        <a:pt x="1132840" y="1282344"/>
                      </a:lnTo>
                      <a:lnTo>
                        <a:pt x="1134148" y="1282026"/>
                      </a:lnTo>
                      <a:close/>
                    </a:path>
                    <a:path w="1876425" h="2099945">
                      <a:moveTo>
                        <a:pt x="1135964" y="1281645"/>
                      </a:moveTo>
                      <a:lnTo>
                        <a:pt x="1134910" y="1281836"/>
                      </a:lnTo>
                      <a:lnTo>
                        <a:pt x="1134148" y="1282026"/>
                      </a:lnTo>
                      <a:lnTo>
                        <a:pt x="1134833" y="1282788"/>
                      </a:lnTo>
                      <a:lnTo>
                        <a:pt x="1135367" y="1281976"/>
                      </a:lnTo>
                      <a:lnTo>
                        <a:pt x="1135443" y="1282268"/>
                      </a:lnTo>
                      <a:lnTo>
                        <a:pt x="1135697" y="1281950"/>
                      </a:lnTo>
                      <a:lnTo>
                        <a:pt x="1135964" y="1281645"/>
                      </a:lnTo>
                      <a:close/>
                    </a:path>
                    <a:path w="1876425" h="2099945">
                      <a:moveTo>
                        <a:pt x="1139761" y="1281239"/>
                      </a:moveTo>
                      <a:lnTo>
                        <a:pt x="1139012" y="1280769"/>
                      </a:lnTo>
                      <a:lnTo>
                        <a:pt x="1138199" y="1280414"/>
                      </a:lnTo>
                      <a:lnTo>
                        <a:pt x="1137399" y="1280020"/>
                      </a:lnTo>
                      <a:lnTo>
                        <a:pt x="1137996" y="1280731"/>
                      </a:lnTo>
                      <a:lnTo>
                        <a:pt x="1138974" y="1281379"/>
                      </a:lnTo>
                      <a:lnTo>
                        <a:pt x="1139761" y="1281239"/>
                      </a:lnTo>
                      <a:close/>
                    </a:path>
                    <a:path w="1876425" h="2099945">
                      <a:moveTo>
                        <a:pt x="1142936" y="1282090"/>
                      </a:moveTo>
                      <a:lnTo>
                        <a:pt x="1142619" y="1280604"/>
                      </a:lnTo>
                      <a:lnTo>
                        <a:pt x="1140942" y="1281226"/>
                      </a:lnTo>
                      <a:lnTo>
                        <a:pt x="1140345" y="1282268"/>
                      </a:lnTo>
                      <a:lnTo>
                        <a:pt x="1141222" y="1282242"/>
                      </a:lnTo>
                      <a:lnTo>
                        <a:pt x="1142085" y="1282242"/>
                      </a:lnTo>
                      <a:lnTo>
                        <a:pt x="1142936" y="1282090"/>
                      </a:lnTo>
                      <a:close/>
                    </a:path>
                    <a:path w="1876425" h="2099945">
                      <a:moveTo>
                        <a:pt x="1186967" y="1336522"/>
                      </a:moveTo>
                      <a:lnTo>
                        <a:pt x="1186827" y="1336281"/>
                      </a:lnTo>
                      <a:lnTo>
                        <a:pt x="1186649" y="1336179"/>
                      </a:lnTo>
                      <a:lnTo>
                        <a:pt x="1186434" y="1336078"/>
                      </a:lnTo>
                      <a:lnTo>
                        <a:pt x="1186294" y="1335989"/>
                      </a:lnTo>
                      <a:lnTo>
                        <a:pt x="1186141" y="1335976"/>
                      </a:lnTo>
                      <a:lnTo>
                        <a:pt x="1186002" y="1335925"/>
                      </a:lnTo>
                      <a:lnTo>
                        <a:pt x="1185367" y="1335747"/>
                      </a:lnTo>
                      <a:lnTo>
                        <a:pt x="1184605" y="1335747"/>
                      </a:lnTo>
                      <a:lnTo>
                        <a:pt x="1184033" y="1335900"/>
                      </a:lnTo>
                      <a:lnTo>
                        <a:pt x="1184744" y="1336065"/>
                      </a:lnTo>
                      <a:lnTo>
                        <a:pt x="1185697" y="1336370"/>
                      </a:lnTo>
                      <a:lnTo>
                        <a:pt x="1186421" y="1336433"/>
                      </a:lnTo>
                      <a:lnTo>
                        <a:pt x="1186599" y="1336459"/>
                      </a:lnTo>
                      <a:lnTo>
                        <a:pt x="1186789" y="1336509"/>
                      </a:lnTo>
                      <a:lnTo>
                        <a:pt x="1186967" y="1336522"/>
                      </a:lnTo>
                      <a:close/>
                    </a:path>
                    <a:path w="1876425" h="2099945">
                      <a:moveTo>
                        <a:pt x="1229880" y="1333931"/>
                      </a:moveTo>
                      <a:lnTo>
                        <a:pt x="1226997" y="1332382"/>
                      </a:lnTo>
                      <a:lnTo>
                        <a:pt x="1225918" y="1331798"/>
                      </a:lnTo>
                      <a:lnTo>
                        <a:pt x="1224800" y="1331798"/>
                      </a:lnTo>
                      <a:lnTo>
                        <a:pt x="1223276" y="1331595"/>
                      </a:lnTo>
                      <a:lnTo>
                        <a:pt x="1222362" y="1331963"/>
                      </a:lnTo>
                      <a:lnTo>
                        <a:pt x="1221943" y="1331544"/>
                      </a:lnTo>
                      <a:lnTo>
                        <a:pt x="1221905" y="1331366"/>
                      </a:lnTo>
                      <a:lnTo>
                        <a:pt x="1212278" y="1331455"/>
                      </a:lnTo>
                      <a:lnTo>
                        <a:pt x="1207985" y="1330655"/>
                      </a:lnTo>
                      <a:lnTo>
                        <a:pt x="1207401" y="1331963"/>
                      </a:lnTo>
                      <a:lnTo>
                        <a:pt x="1205903" y="1332268"/>
                      </a:lnTo>
                      <a:lnTo>
                        <a:pt x="1206284" y="1334325"/>
                      </a:lnTo>
                      <a:lnTo>
                        <a:pt x="1207604" y="1338262"/>
                      </a:lnTo>
                      <a:lnTo>
                        <a:pt x="1207325" y="1339024"/>
                      </a:lnTo>
                      <a:lnTo>
                        <a:pt x="1210589" y="1338986"/>
                      </a:lnTo>
                      <a:lnTo>
                        <a:pt x="1211453" y="1339024"/>
                      </a:lnTo>
                      <a:lnTo>
                        <a:pt x="1213815" y="1337945"/>
                      </a:lnTo>
                      <a:lnTo>
                        <a:pt x="1218399" y="1338414"/>
                      </a:lnTo>
                      <a:lnTo>
                        <a:pt x="1221473" y="1339634"/>
                      </a:lnTo>
                      <a:lnTo>
                        <a:pt x="1225397" y="1338732"/>
                      </a:lnTo>
                      <a:lnTo>
                        <a:pt x="1228420" y="1335227"/>
                      </a:lnTo>
                      <a:lnTo>
                        <a:pt x="1229880" y="1333931"/>
                      </a:lnTo>
                      <a:close/>
                    </a:path>
                    <a:path w="1876425" h="2099945">
                      <a:moveTo>
                        <a:pt x="1232827" y="1336395"/>
                      </a:moveTo>
                      <a:lnTo>
                        <a:pt x="1229766" y="1336662"/>
                      </a:lnTo>
                      <a:lnTo>
                        <a:pt x="1231150" y="1336814"/>
                      </a:lnTo>
                      <a:lnTo>
                        <a:pt x="1231900" y="1337106"/>
                      </a:lnTo>
                      <a:lnTo>
                        <a:pt x="1232827" y="1336395"/>
                      </a:lnTo>
                      <a:close/>
                    </a:path>
                    <a:path w="1876425" h="2099945">
                      <a:moveTo>
                        <a:pt x="1240409" y="1333500"/>
                      </a:moveTo>
                      <a:lnTo>
                        <a:pt x="1239520" y="1333233"/>
                      </a:lnTo>
                      <a:lnTo>
                        <a:pt x="1238592" y="1333042"/>
                      </a:lnTo>
                      <a:lnTo>
                        <a:pt x="1237691" y="1332839"/>
                      </a:lnTo>
                      <a:lnTo>
                        <a:pt x="1238745" y="1333195"/>
                      </a:lnTo>
                      <a:lnTo>
                        <a:pt x="1239431" y="1333893"/>
                      </a:lnTo>
                      <a:lnTo>
                        <a:pt x="1240409" y="1333500"/>
                      </a:lnTo>
                      <a:close/>
                    </a:path>
                    <a:path w="1876425" h="2099945">
                      <a:moveTo>
                        <a:pt x="1244193" y="1341894"/>
                      </a:moveTo>
                      <a:lnTo>
                        <a:pt x="1242568" y="1342110"/>
                      </a:lnTo>
                      <a:lnTo>
                        <a:pt x="1240993" y="1342542"/>
                      </a:lnTo>
                      <a:lnTo>
                        <a:pt x="1239393" y="1342885"/>
                      </a:lnTo>
                      <a:lnTo>
                        <a:pt x="1241247" y="1342618"/>
                      </a:lnTo>
                      <a:lnTo>
                        <a:pt x="1242517" y="1342593"/>
                      </a:lnTo>
                      <a:lnTo>
                        <a:pt x="1244193" y="1341894"/>
                      </a:lnTo>
                      <a:close/>
                    </a:path>
                    <a:path w="1876425" h="2099945">
                      <a:moveTo>
                        <a:pt x="1245057" y="1331925"/>
                      </a:moveTo>
                      <a:lnTo>
                        <a:pt x="1244765" y="1330985"/>
                      </a:lnTo>
                      <a:lnTo>
                        <a:pt x="1244066" y="1331480"/>
                      </a:lnTo>
                      <a:lnTo>
                        <a:pt x="1243418" y="1332026"/>
                      </a:lnTo>
                      <a:lnTo>
                        <a:pt x="1242758" y="1332572"/>
                      </a:lnTo>
                      <a:lnTo>
                        <a:pt x="1243977" y="1332357"/>
                      </a:lnTo>
                      <a:lnTo>
                        <a:pt x="1245057" y="1331925"/>
                      </a:lnTo>
                      <a:close/>
                    </a:path>
                    <a:path w="1876425" h="2099945">
                      <a:moveTo>
                        <a:pt x="1267028" y="1334249"/>
                      </a:moveTo>
                      <a:lnTo>
                        <a:pt x="1266050" y="1334668"/>
                      </a:lnTo>
                      <a:lnTo>
                        <a:pt x="1265135" y="1335227"/>
                      </a:lnTo>
                      <a:lnTo>
                        <a:pt x="1264196" y="1335735"/>
                      </a:lnTo>
                      <a:lnTo>
                        <a:pt x="1265364" y="1335608"/>
                      </a:lnTo>
                      <a:lnTo>
                        <a:pt x="1266609" y="1335316"/>
                      </a:lnTo>
                      <a:lnTo>
                        <a:pt x="1267028" y="1334249"/>
                      </a:lnTo>
                      <a:close/>
                    </a:path>
                    <a:path w="1876425" h="2099945">
                      <a:moveTo>
                        <a:pt x="1271270" y="1349082"/>
                      </a:moveTo>
                      <a:lnTo>
                        <a:pt x="1270381" y="1348486"/>
                      </a:lnTo>
                      <a:lnTo>
                        <a:pt x="1269504" y="1347851"/>
                      </a:lnTo>
                      <a:lnTo>
                        <a:pt x="1268564" y="1347343"/>
                      </a:lnTo>
                      <a:lnTo>
                        <a:pt x="1268730" y="1348359"/>
                      </a:lnTo>
                      <a:lnTo>
                        <a:pt x="1270228" y="1348994"/>
                      </a:lnTo>
                      <a:lnTo>
                        <a:pt x="1271270" y="1349082"/>
                      </a:lnTo>
                      <a:close/>
                    </a:path>
                    <a:path w="1876425" h="2099945">
                      <a:moveTo>
                        <a:pt x="1278648" y="1356182"/>
                      </a:moveTo>
                      <a:lnTo>
                        <a:pt x="1278089" y="1355763"/>
                      </a:lnTo>
                      <a:lnTo>
                        <a:pt x="1277988" y="1356410"/>
                      </a:lnTo>
                      <a:lnTo>
                        <a:pt x="1277937" y="1357071"/>
                      </a:lnTo>
                      <a:lnTo>
                        <a:pt x="1277950" y="1357731"/>
                      </a:lnTo>
                      <a:lnTo>
                        <a:pt x="1278382" y="1357020"/>
                      </a:lnTo>
                      <a:lnTo>
                        <a:pt x="1278648" y="1356182"/>
                      </a:lnTo>
                      <a:close/>
                    </a:path>
                    <a:path w="1876425" h="2099945">
                      <a:moveTo>
                        <a:pt x="1283449" y="1344358"/>
                      </a:moveTo>
                      <a:lnTo>
                        <a:pt x="1283220" y="1342999"/>
                      </a:lnTo>
                      <a:lnTo>
                        <a:pt x="1283068" y="1342326"/>
                      </a:lnTo>
                      <a:lnTo>
                        <a:pt x="1282230" y="1342885"/>
                      </a:lnTo>
                      <a:lnTo>
                        <a:pt x="1282928" y="1343507"/>
                      </a:lnTo>
                      <a:lnTo>
                        <a:pt x="1283449" y="1344358"/>
                      </a:lnTo>
                      <a:close/>
                    </a:path>
                    <a:path w="1876425" h="2099945">
                      <a:moveTo>
                        <a:pt x="1285684" y="1352321"/>
                      </a:moveTo>
                      <a:lnTo>
                        <a:pt x="1285176" y="1351800"/>
                      </a:lnTo>
                      <a:lnTo>
                        <a:pt x="1284528" y="1351229"/>
                      </a:lnTo>
                      <a:lnTo>
                        <a:pt x="1284566" y="1350759"/>
                      </a:lnTo>
                      <a:lnTo>
                        <a:pt x="1283169" y="1350086"/>
                      </a:lnTo>
                      <a:lnTo>
                        <a:pt x="1282966" y="1351407"/>
                      </a:lnTo>
                      <a:lnTo>
                        <a:pt x="1282446" y="1352588"/>
                      </a:lnTo>
                      <a:lnTo>
                        <a:pt x="1283004" y="1352842"/>
                      </a:lnTo>
                      <a:lnTo>
                        <a:pt x="1283690" y="1353007"/>
                      </a:lnTo>
                      <a:lnTo>
                        <a:pt x="1284109" y="1352778"/>
                      </a:lnTo>
                      <a:lnTo>
                        <a:pt x="1284617" y="1353350"/>
                      </a:lnTo>
                      <a:lnTo>
                        <a:pt x="1285087" y="1352753"/>
                      </a:lnTo>
                      <a:lnTo>
                        <a:pt x="1285684" y="1352321"/>
                      </a:lnTo>
                      <a:close/>
                    </a:path>
                    <a:path w="1876425" h="2099945">
                      <a:moveTo>
                        <a:pt x="1286560" y="1423974"/>
                      </a:moveTo>
                      <a:lnTo>
                        <a:pt x="1285811" y="1420342"/>
                      </a:lnTo>
                      <a:lnTo>
                        <a:pt x="1284351" y="1425511"/>
                      </a:lnTo>
                      <a:lnTo>
                        <a:pt x="1284046" y="1425867"/>
                      </a:lnTo>
                      <a:lnTo>
                        <a:pt x="1284897" y="1425257"/>
                      </a:lnTo>
                      <a:lnTo>
                        <a:pt x="1285722" y="1424609"/>
                      </a:lnTo>
                      <a:lnTo>
                        <a:pt x="1286560" y="1423974"/>
                      </a:lnTo>
                      <a:close/>
                    </a:path>
                    <a:path w="1876425" h="2099945">
                      <a:moveTo>
                        <a:pt x="1292186" y="1368221"/>
                      </a:moveTo>
                      <a:lnTo>
                        <a:pt x="1291717" y="1368171"/>
                      </a:lnTo>
                      <a:lnTo>
                        <a:pt x="1291196" y="1368310"/>
                      </a:lnTo>
                      <a:lnTo>
                        <a:pt x="1290726" y="1368361"/>
                      </a:lnTo>
                      <a:lnTo>
                        <a:pt x="1290929" y="1368767"/>
                      </a:lnTo>
                      <a:lnTo>
                        <a:pt x="1291336" y="1369275"/>
                      </a:lnTo>
                      <a:lnTo>
                        <a:pt x="1291678" y="1369568"/>
                      </a:lnTo>
                      <a:lnTo>
                        <a:pt x="1291844" y="1369136"/>
                      </a:lnTo>
                      <a:lnTo>
                        <a:pt x="1292110" y="1368666"/>
                      </a:lnTo>
                      <a:lnTo>
                        <a:pt x="1292186" y="1368221"/>
                      </a:lnTo>
                      <a:close/>
                    </a:path>
                    <a:path w="1876425" h="2099945">
                      <a:moveTo>
                        <a:pt x="1292567" y="1376349"/>
                      </a:moveTo>
                      <a:lnTo>
                        <a:pt x="1291704" y="1375016"/>
                      </a:lnTo>
                      <a:lnTo>
                        <a:pt x="1288846" y="1373085"/>
                      </a:lnTo>
                      <a:lnTo>
                        <a:pt x="1288008" y="1374800"/>
                      </a:lnTo>
                      <a:lnTo>
                        <a:pt x="1289050" y="1377988"/>
                      </a:lnTo>
                      <a:lnTo>
                        <a:pt x="1290332" y="1379334"/>
                      </a:lnTo>
                      <a:lnTo>
                        <a:pt x="1292567" y="1376349"/>
                      </a:lnTo>
                      <a:close/>
                    </a:path>
                    <a:path w="1876425" h="2099945">
                      <a:moveTo>
                        <a:pt x="1292733" y="1364195"/>
                      </a:moveTo>
                      <a:lnTo>
                        <a:pt x="1291767" y="1363281"/>
                      </a:lnTo>
                      <a:lnTo>
                        <a:pt x="1289253" y="1362544"/>
                      </a:lnTo>
                      <a:lnTo>
                        <a:pt x="1289507" y="1361173"/>
                      </a:lnTo>
                      <a:lnTo>
                        <a:pt x="1288376" y="1361643"/>
                      </a:lnTo>
                      <a:lnTo>
                        <a:pt x="1286802" y="1363853"/>
                      </a:lnTo>
                      <a:lnTo>
                        <a:pt x="1286357" y="1363268"/>
                      </a:lnTo>
                      <a:lnTo>
                        <a:pt x="1284617" y="1363649"/>
                      </a:lnTo>
                      <a:lnTo>
                        <a:pt x="1283741" y="1363853"/>
                      </a:lnTo>
                      <a:lnTo>
                        <a:pt x="1284325" y="1365465"/>
                      </a:lnTo>
                      <a:lnTo>
                        <a:pt x="1284084" y="1368552"/>
                      </a:lnTo>
                      <a:lnTo>
                        <a:pt x="1286281" y="1367980"/>
                      </a:lnTo>
                      <a:lnTo>
                        <a:pt x="1287957" y="1367523"/>
                      </a:lnTo>
                      <a:lnTo>
                        <a:pt x="1287157" y="1364437"/>
                      </a:lnTo>
                      <a:lnTo>
                        <a:pt x="1289989" y="1364640"/>
                      </a:lnTo>
                      <a:lnTo>
                        <a:pt x="1291272" y="1364043"/>
                      </a:lnTo>
                      <a:lnTo>
                        <a:pt x="1292733" y="1364195"/>
                      </a:lnTo>
                      <a:close/>
                    </a:path>
                    <a:path w="1876425" h="2099945">
                      <a:moveTo>
                        <a:pt x="1293787" y="1405178"/>
                      </a:moveTo>
                      <a:lnTo>
                        <a:pt x="1291805" y="1406017"/>
                      </a:lnTo>
                      <a:lnTo>
                        <a:pt x="1291374" y="1408087"/>
                      </a:lnTo>
                      <a:lnTo>
                        <a:pt x="1291132" y="1408379"/>
                      </a:lnTo>
                      <a:lnTo>
                        <a:pt x="1292872" y="1410335"/>
                      </a:lnTo>
                      <a:lnTo>
                        <a:pt x="1292923" y="1409331"/>
                      </a:lnTo>
                      <a:lnTo>
                        <a:pt x="1293609" y="1407680"/>
                      </a:lnTo>
                      <a:lnTo>
                        <a:pt x="1293787" y="1405178"/>
                      </a:lnTo>
                      <a:close/>
                    </a:path>
                    <a:path w="1876425" h="2099945">
                      <a:moveTo>
                        <a:pt x="1297241" y="1397419"/>
                      </a:moveTo>
                      <a:lnTo>
                        <a:pt x="1296898" y="1396352"/>
                      </a:lnTo>
                      <a:lnTo>
                        <a:pt x="1296416" y="1395488"/>
                      </a:lnTo>
                      <a:lnTo>
                        <a:pt x="1295527" y="1395920"/>
                      </a:lnTo>
                      <a:lnTo>
                        <a:pt x="1294104" y="1398117"/>
                      </a:lnTo>
                      <a:lnTo>
                        <a:pt x="1294434" y="1400251"/>
                      </a:lnTo>
                      <a:lnTo>
                        <a:pt x="1295476" y="1400746"/>
                      </a:lnTo>
                      <a:lnTo>
                        <a:pt x="1296035" y="1401229"/>
                      </a:lnTo>
                      <a:lnTo>
                        <a:pt x="1296441" y="1400429"/>
                      </a:lnTo>
                      <a:lnTo>
                        <a:pt x="1296657" y="1399565"/>
                      </a:lnTo>
                      <a:lnTo>
                        <a:pt x="1296936" y="1398701"/>
                      </a:lnTo>
                      <a:lnTo>
                        <a:pt x="1297241" y="1397419"/>
                      </a:lnTo>
                      <a:close/>
                    </a:path>
                    <a:path w="1876425" h="2099945">
                      <a:moveTo>
                        <a:pt x="1297901" y="1390053"/>
                      </a:moveTo>
                      <a:lnTo>
                        <a:pt x="1297368" y="1387792"/>
                      </a:lnTo>
                      <a:lnTo>
                        <a:pt x="1295679" y="1385074"/>
                      </a:lnTo>
                      <a:lnTo>
                        <a:pt x="1293444" y="1384211"/>
                      </a:lnTo>
                      <a:lnTo>
                        <a:pt x="1291285" y="1383868"/>
                      </a:lnTo>
                      <a:lnTo>
                        <a:pt x="1292377" y="1386611"/>
                      </a:lnTo>
                      <a:lnTo>
                        <a:pt x="1293139" y="1387487"/>
                      </a:lnTo>
                      <a:lnTo>
                        <a:pt x="1293520" y="1387944"/>
                      </a:lnTo>
                      <a:lnTo>
                        <a:pt x="1296809" y="1389481"/>
                      </a:lnTo>
                      <a:lnTo>
                        <a:pt x="1294206" y="1389100"/>
                      </a:lnTo>
                      <a:lnTo>
                        <a:pt x="1294206" y="1389430"/>
                      </a:lnTo>
                      <a:lnTo>
                        <a:pt x="1294358" y="1390053"/>
                      </a:lnTo>
                      <a:lnTo>
                        <a:pt x="1294523" y="1390357"/>
                      </a:lnTo>
                      <a:lnTo>
                        <a:pt x="1295641" y="1389761"/>
                      </a:lnTo>
                      <a:lnTo>
                        <a:pt x="1296708" y="1390446"/>
                      </a:lnTo>
                      <a:lnTo>
                        <a:pt x="1297901" y="1390053"/>
                      </a:lnTo>
                      <a:close/>
                    </a:path>
                    <a:path w="1876425" h="2099945">
                      <a:moveTo>
                        <a:pt x="1302245" y="1437043"/>
                      </a:moveTo>
                      <a:lnTo>
                        <a:pt x="1302131" y="1435811"/>
                      </a:lnTo>
                      <a:lnTo>
                        <a:pt x="1300276" y="1436281"/>
                      </a:lnTo>
                      <a:lnTo>
                        <a:pt x="1299044" y="1437233"/>
                      </a:lnTo>
                      <a:lnTo>
                        <a:pt x="1297597" y="1438211"/>
                      </a:lnTo>
                      <a:lnTo>
                        <a:pt x="1298498" y="1438338"/>
                      </a:lnTo>
                      <a:lnTo>
                        <a:pt x="1299413" y="1438021"/>
                      </a:lnTo>
                      <a:lnTo>
                        <a:pt x="1300314" y="1437830"/>
                      </a:lnTo>
                      <a:lnTo>
                        <a:pt x="1301508" y="1437271"/>
                      </a:lnTo>
                      <a:lnTo>
                        <a:pt x="1302245" y="1437043"/>
                      </a:lnTo>
                      <a:close/>
                    </a:path>
                    <a:path w="1876425" h="2099945">
                      <a:moveTo>
                        <a:pt x="1318869" y="1410423"/>
                      </a:moveTo>
                      <a:lnTo>
                        <a:pt x="1315961" y="1408277"/>
                      </a:lnTo>
                      <a:lnTo>
                        <a:pt x="1315643" y="1407147"/>
                      </a:lnTo>
                      <a:lnTo>
                        <a:pt x="1313853" y="1407363"/>
                      </a:lnTo>
                      <a:lnTo>
                        <a:pt x="1314411" y="1410449"/>
                      </a:lnTo>
                      <a:lnTo>
                        <a:pt x="1316151" y="1410436"/>
                      </a:lnTo>
                      <a:lnTo>
                        <a:pt x="1318869" y="1410423"/>
                      </a:lnTo>
                      <a:close/>
                    </a:path>
                    <a:path w="1876425" h="2099945">
                      <a:moveTo>
                        <a:pt x="1545932" y="616077"/>
                      </a:moveTo>
                      <a:lnTo>
                        <a:pt x="1545831" y="615823"/>
                      </a:lnTo>
                      <a:lnTo>
                        <a:pt x="1545729" y="615683"/>
                      </a:lnTo>
                      <a:lnTo>
                        <a:pt x="1545551" y="615581"/>
                      </a:lnTo>
                      <a:lnTo>
                        <a:pt x="1545780" y="615823"/>
                      </a:lnTo>
                      <a:lnTo>
                        <a:pt x="1545932" y="616077"/>
                      </a:lnTo>
                      <a:close/>
                    </a:path>
                    <a:path w="1876425" h="2099945">
                      <a:moveTo>
                        <a:pt x="1546059" y="615683"/>
                      </a:moveTo>
                      <a:lnTo>
                        <a:pt x="1545386" y="615480"/>
                      </a:lnTo>
                      <a:lnTo>
                        <a:pt x="1546059" y="615683"/>
                      </a:lnTo>
                      <a:close/>
                    </a:path>
                    <a:path w="1876425" h="2099945">
                      <a:moveTo>
                        <a:pt x="1804644" y="0"/>
                      </a:moveTo>
                      <a:lnTo>
                        <a:pt x="1802422" y="469"/>
                      </a:lnTo>
                      <a:lnTo>
                        <a:pt x="1800174" y="1130"/>
                      </a:lnTo>
                      <a:lnTo>
                        <a:pt x="1797926" y="1358"/>
                      </a:lnTo>
                      <a:lnTo>
                        <a:pt x="1799945" y="1422"/>
                      </a:lnTo>
                      <a:lnTo>
                        <a:pt x="1802409" y="965"/>
                      </a:lnTo>
                      <a:lnTo>
                        <a:pt x="1804644" y="0"/>
                      </a:lnTo>
                      <a:close/>
                    </a:path>
                    <a:path w="1876425" h="2099945">
                      <a:moveTo>
                        <a:pt x="1860283" y="513842"/>
                      </a:moveTo>
                      <a:lnTo>
                        <a:pt x="1858784" y="514159"/>
                      </a:lnTo>
                      <a:lnTo>
                        <a:pt x="1857654" y="514743"/>
                      </a:lnTo>
                      <a:lnTo>
                        <a:pt x="1856498" y="515670"/>
                      </a:lnTo>
                      <a:lnTo>
                        <a:pt x="1857756" y="515073"/>
                      </a:lnTo>
                      <a:lnTo>
                        <a:pt x="1860283" y="513842"/>
                      </a:lnTo>
                      <a:close/>
                    </a:path>
                    <a:path w="1876425" h="2099945">
                      <a:moveTo>
                        <a:pt x="1862658" y="519899"/>
                      </a:moveTo>
                      <a:lnTo>
                        <a:pt x="1861007" y="519950"/>
                      </a:lnTo>
                      <a:lnTo>
                        <a:pt x="1859419" y="519785"/>
                      </a:lnTo>
                      <a:lnTo>
                        <a:pt x="1857959" y="520611"/>
                      </a:lnTo>
                      <a:lnTo>
                        <a:pt x="1859521" y="520382"/>
                      </a:lnTo>
                      <a:lnTo>
                        <a:pt x="1862658" y="519899"/>
                      </a:lnTo>
                      <a:close/>
                    </a:path>
                    <a:path w="1876425" h="2099945">
                      <a:moveTo>
                        <a:pt x="1875878" y="532930"/>
                      </a:moveTo>
                      <a:close/>
                    </a:path>
                    <a:path w="1876425" h="2099945">
                      <a:moveTo>
                        <a:pt x="1875904" y="532853"/>
                      </a:move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90" name="object 30">
                  <a:extLst>
                    <a:ext uri="{FF2B5EF4-FFF2-40B4-BE49-F238E27FC236}">
                      <a16:creationId xmlns:a16="http://schemas.microsoft.com/office/drawing/2014/main" id="{1545AD29-E710-F90F-AB7A-1F957AED69C7}"/>
                    </a:ext>
                  </a:extLst>
                </p:cNvPr>
                <p:cNvSpPr/>
                <p:nvPr/>
              </p:nvSpPr>
              <p:spPr>
                <a:xfrm>
                  <a:off x="359981" y="1888464"/>
                  <a:ext cx="1507490" cy="8026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07489" h="802639">
                      <a:moveTo>
                        <a:pt x="50" y="1905"/>
                      </a:moveTo>
                      <a:lnTo>
                        <a:pt x="0" y="1625"/>
                      </a:lnTo>
                      <a:lnTo>
                        <a:pt x="0" y="1905"/>
                      </a:lnTo>
                      <a:close/>
                    </a:path>
                    <a:path w="1507489" h="802639">
                      <a:moveTo>
                        <a:pt x="1930" y="138658"/>
                      </a:moveTo>
                      <a:lnTo>
                        <a:pt x="1892" y="138493"/>
                      </a:lnTo>
                      <a:lnTo>
                        <a:pt x="1663" y="137490"/>
                      </a:lnTo>
                      <a:lnTo>
                        <a:pt x="0" y="137490"/>
                      </a:lnTo>
                      <a:lnTo>
                        <a:pt x="0" y="138963"/>
                      </a:lnTo>
                      <a:lnTo>
                        <a:pt x="850" y="138493"/>
                      </a:lnTo>
                      <a:lnTo>
                        <a:pt x="1930" y="138658"/>
                      </a:lnTo>
                      <a:close/>
                    </a:path>
                    <a:path w="1507489" h="802639">
                      <a:moveTo>
                        <a:pt x="2540" y="133718"/>
                      </a:moveTo>
                      <a:lnTo>
                        <a:pt x="596" y="132130"/>
                      </a:lnTo>
                      <a:lnTo>
                        <a:pt x="0" y="132054"/>
                      </a:lnTo>
                      <a:lnTo>
                        <a:pt x="0" y="135077"/>
                      </a:lnTo>
                      <a:lnTo>
                        <a:pt x="292" y="134861"/>
                      </a:lnTo>
                      <a:lnTo>
                        <a:pt x="1219" y="134404"/>
                      </a:lnTo>
                      <a:lnTo>
                        <a:pt x="2311" y="135115"/>
                      </a:lnTo>
                      <a:lnTo>
                        <a:pt x="2425" y="134404"/>
                      </a:lnTo>
                      <a:lnTo>
                        <a:pt x="2540" y="133718"/>
                      </a:lnTo>
                      <a:close/>
                    </a:path>
                    <a:path w="1507489" h="802639">
                      <a:moveTo>
                        <a:pt x="10617" y="129400"/>
                      </a:moveTo>
                      <a:lnTo>
                        <a:pt x="9436" y="129133"/>
                      </a:lnTo>
                      <a:lnTo>
                        <a:pt x="8343" y="128752"/>
                      </a:lnTo>
                      <a:lnTo>
                        <a:pt x="7391" y="128219"/>
                      </a:lnTo>
                      <a:lnTo>
                        <a:pt x="6705" y="128028"/>
                      </a:lnTo>
                      <a:lnTo>
                        <a:pt x="5486" y="127533"/>
                      </a:lnTo>
                      <a:lnTo>
                        <a:pt x="3378" y="130302"/>
                      </a:lnTo>
                      <a:lnTo>
                        <a:pt x="5740" y="130797"/>
                      </a:lnTo>
                      <a:lnTo>
                        <a:pt x="7162" y="131572"/>
                      </a:lnTo>
                      <a:lnTo>
                        <a:pt x="7607" y="131152"/>
                      </a:lnTo>
                      <a:lnTo>
                        <a:pt x="10147" y="130860"/>
                      </a:lnTo>
                      <a:lnTo>
                        <a:pt x="10617" y="129400"/>
                      </a:lnTo>
                      <a:close/>
                    </a:path>
                    <a:path w="1507489" h="802639">
                      <a:moveTo>
                        <a:pt x="12992" y="10007"/>
                      </a:moveTo>
                      <a:lnTo>
                        <a:pt x="10922" y="8089"/>
                      </a:lnTo>
                      <a:lnTo>
                        <a:pt x="9677" y="7861"/>
                      </a:lnTo>
                      <a:lnTo>
                        <a:pt x="10490" y="7289"/>
                      </a:lnTo>
                      <a:lnTo>
                        <a:pt x="10109" y="6858"/>
                      </a:lnTo>
                      <a:lnTo>
                        <a:pt x="10274" y="5956"/>
                      </a:lnTo>
                      <a:lnTo>
                        <a:pt x="9652" y="5918"/>
                      </a:lnTo>
                      <a:lnTo>
                        <a:pt x="9575" y="5232"/>
                      </a:lnTo>
                      <a:lnTo>
                        <a:pt x="10248" y="5130"/>
                      </a:lnTo>
                      <a:lnTo>
                        <a:pt x="10147" y="2654"/>
                      </a:lnTo>
                      <a:lnTo>
                        <a:pt x="10147" y="2476"/>
                      </a:lnTo>
                      <a:lnTo>
                        <a:pt x="9093" y="2120"/>
                      </a:lnTo>
                      <a:lnTo>
                        <a:pt x="6057" y="2222"/>
                      </a:lnTo>
                      <a:lnTo>
                        <a:pt x="5410" y="2654"/>
                      </a:lnTo>
                      <a:lnTo>
                        <a:pt x="4406" y="1752"/>
                      </a:lnTo>
                      <a:lnTo>
                        <a:pt x="4330" y="406"/>
                      </a:lnTo>
                      <a:lnTo>
                        <a:pt x="3505" y="0"/>
                      </a:lnTo>
                      <a:lnTo>
                        <a:pt x="812" y="1409"/>
                      </a:lnTo>
                      <a:lnTo>
                        <a:pt x="50" y="1905"/>
                      </a:lnTo>
                      <a:lnTo>
                        <a:pt x="0" y="12877"/>
                      </a:lnTo>
                      <a:lnTo>
                        <a:pt x="3124" y="14541"/>
                      </a:lnTo>
                      <a:lnTo>
                        <a:pt x="2311" y="13233"/>
                      </a:lnTo>
                      <a:lnTo>
                        <a:pt x="1435" y="12052"/>
                      </a:lnTo>
                      <a:lnTo>
                        <a:pt x="4622" y="12573"/>
                      </a:lnTo>
                      <a:lnTo>
                        <a:pt x="4889" y="12255"/>
                      </a:lnTo>
                      <a:lnTo>
                        <a:pt x="6108" y="12052"/>
                      </a:lnTo>
                      <a:lnTo>
                        <a:pt x="6502" y="11988"/>
                      </a:lnTo>
                      <a:lnTo>
                        <a:pt x="7302" y="11607"/>
                      </a:lnTo>
                      <a:lnTo>
                        <a:pt x="8864" y="11442"/>
                      </a:lnTo>
                      <a:lnTo>
                        <a:pt x="9105" y="11061"/>
                      </a:lnTo>
                      <a:lnTo>
                        <a:pt x="9613" y="10947"/>
                      </a:lnTo>
                      <a:lnTo>
                        <a:pt x="9613" y="11506"/>
                      </a:lnTo>
                      <a:lnTo>
                        <a:pt x="10274" y="11442"/>
                      </a:lnTo>
                      <a:lnTo>
                        <a:pt x="11328" y="11391"/>
                      </a:lnTo>
                      <a:lnTo>
                        <a:pt x="11861" y="10947"/>
                      </a:lnTo>
                      <a:lnTo>
                        <a:pt x="12992" y="10007"/>
                      </a:lnTo>
                      <a:close/>
                    </a:path>
                    <a:path w="1507489" h="802639">
                      <a:moveTo>
                        <a:pt x="15735" y="131394"/>
                      </a:moveTo>
                      <a:lnTo>
                        <a:pt x="14947" y="130771"/>
                      </a:lnTo>
                      <a:lnTo>
                        <a:pt x="14211" y="130289"/>
                      </a:lnTo>
                      <a:lnTo>
                        <a:pt x="13271" y="130670"/>
                      </a:lnTo>
                      <a:lnTo>
                        <a:pt x="14071" y="130962"/>
                      </a:lnTo>
                      <a:lnTo>
                        <a:pt x="15735" y="131394"/>
                      </a:lnTo>
                      <a:close/>
                    </a:path>
                    <a:path w="1507489" h="802639">
                      <a:moveTo>
                        <a:pt x="20332" y="129654"/>
                      </a:moveTo>
                      <a:lnTo>
                        <a:pt x="19202" y="129590"/>
                      </a:lnTo>
                      <a:lnTo>
                        <a:pt x="17678" y="129590"/>
                      </a:lnTo>
                      <a:lnTo>
                        <a:pt x="16916" y="130187"/>
                      </a:lnTo>
                      <a:lnTo>
                        <a:pt x="18059" y="130225"/>
                      </a:lnTo>
                      <a:lnTo>
                        <a:pt x="19215" y="129870"/>
                      </a:lnTo>
                      <a:lnTo>
                        <a:pt x="20332" y="129654"/>
                      </a:lnTo>
                      <a:close/>
                    </a:path>
                    <a:path w="1507489" h="802639">
                      <a:moveTo>
                        <a:pt x="54902" y="124625"/>
                      </a:moveTo>
                      <a:lnTo>
                        <a:pt x="54114" y="123812"/>
                      </a:lnTo>
                      <a:lnTo>
                        <a:pt x="53086" y="123228"/>
                      </a:lnTo>
                      <a:lnTo>
                        <a:pt x="52158" y="122593"/>
                      </a:lnTo>
                      <a:lnTo>
                        <a:pt x="52514" y="124117"/>
                      </a:lnTo>
                      <a:lnTo>
                        <a:pt x="53327" y="125336"/>
                      </a:lnTo>
                      <a:lnTo>
                        <a:pt x="54902" y="124625"/>
                      </a:lnTo>
                      <a:close/>
                    </a:path>
                    <a:path w="1507489" h="802639">
                      <a:moveTo>
                        <a:pt x="81686" y="34531"/>
                      </a:moveTo>
                      <a:lnTo>
                        <a:pt x="79565" y="35344"/>
                      </a:lnTo>
                      <a:lnTo>
                        <a:pt x="77609" y="36664"/>
                      </a:lnTo>
                      <a:lnTo>
                        <a:pt x="75628" y="37744"/>
                      </a:lnTo>
                      <a:lnTo>
                        <a:pt x="76314" y="43446"/>
                      </a:lnTo>
                      <a:lnTo>
                        <a:pt x="80657" y="36283"/>
                      </a:lnTo>
                      <a:lnTo>
                        <a:pt x="81686" y="34531"/>
                      </a:lnTo>
                      <a:close/>
                    </a:path>
                    <a:path w="1507489" h="802639">
                      <a:moveTo>
                        <a:pt x="84810" y="109689"/>
                      </a:moveTo>
                      <a:lnTo>
                        <a:pt x="84416" y="108178"/>
                      </a:lnTo>
                      <a:lnTo>
                        <a:pt x="84099" y="106883"/>
                      </a:lnTo>
                      <a:lnTo>
                        <a:pt x="82435" y="105460"/>
                      </a:lnTo>
                      <a:lnTo>
                        <a:pt x="81622" y="104394"/>
                      </a:lnTo>
                      <a:lnTo>
                        <a:pt x="77952" y="104736"/>
                      </a:lnTo>
                      <a:lnTo>
                        <a:pt x="80187" y="107937"/>
                      </a:lnTo>
                      <a:lnTo>
                        <a:pt x="79832" y="109753"/>
                      </a:lnTo>
                      <a:lnTo>
                        <a:pt x="80975" y="109626"/>
                      </a:lnTo>
                      <a:lnTo>
                        <a:pt x="82461" y="109486"/>
                      </a:lnTo>
                      <a:lnTo>
                        <a:pt x="83553" y="109207"/>
                      </a:lnTo>
                      <a:lnTo>
                        <a:pt x="83896" y="109131"/>
                      </a:lnTo>
                      <a:lnTo>
                        <a:pt x="84810" y="109689"/>
                      </a:lnTo>
                      <a:close/>
                    </a:path>
                    <a:path w="1507489" h="802639">
                      <a:moveTo>
                        <a:pt x="93992" y="108953"/>
                      </a:moveTo>
                      <a:lnTo>
                        <a:pt x="93700" y="107073"/>
                      </a:lnTo>
                      <a:lnTo>
                        <a:pt x="92951" y="106705"/>
                      </a:lnTo>
                      <a:lnTo>
                        <a:pt x="89217" y="109347"/>
                      </a:lnTo>
                      <a:lnTo>
                        <a:pt x="88912" y="110528"/>
                      </a:lnTo>
                      <a:lnTo>
                        <a:pt x="89789" y="111302"/>
                      </a:lnTo>
                      <a:lnTo>
                        <a:pt x="89789" y="112801"/>
                      </a:lnTo>
                      <a:lnTo>
                        <a:pt x="88874" y="114134"/>
                      </a:lnTo>
                      <a:lnTo>
                        <a:pt x="88531" y="114973"/>
                      </a:lnTo>
                      <a:lnTo>
                        <a:pt x="89433" y="113614"/>
                      </a:lnTo>
                      <a:lnTo>
                        <a:pt x="90246" y="112737"/>
                      </a:lnTo>
                      <a:lnTo>
                        <a:pt x="91579" y="111417"/>
                      </a:lnTo>
                      <a:lnTo>
                        <a:pt x="92341" y="110934"/>
                      </a:lnTo>
                      <a:lnTo>
                        <a:pt x="91719" y="109359"/>
                      </a:lnTo>
                      <a:lnTo>
                        <a:pt x="93141" y="110248"/>
                      </a:lnTo>
                      <a:lnTo>
                        <a:pt x="93306" y="110058"/>
                      </a:lnTo>
                      <a:lnTo>
                        <a:pt x="93776" y="109791"/>
                      </a:lnTo>
                      <a:lnTo>
                        <a:pt x="93891" y="109359"/>
                      </a:lnTo>
                      <a:lnTo>
                        <a:pt x="93992" y="108953"/>
                      </a:lnTo>
                      <a:close/>
                    </a:path>
                    <a:path w="1507489" h="802639">
                      <a:moveTo>
                        <a:pt x="201180" y="39039"/>
                      </a:moveTo>
                      <a:lnTo>
                        <a:pt x="199999" y="38201"/>
                      </a:lnTo>
                      <a:lnTo>
                        <a:pt x="198526" y="38417"/>
                      </a:lnTo>
                      <a:lnTo>
                        <a:pt x="197802" y="39801"/>
                      </a:lnTo>
                      <a:lnTo>
                        <a:pt x="201180" y="39039"/>
                      </a:lnTo>
                      <a:close/>
                    </a:path>
                    <a:path w="1507489" h="802639">
                      <a:moveTo>
                        <a:pt x="204241" y="59905"/>
                      </a:moveTo>
                      <a:lnTo>
                        <a:pt x="204038" y="59575"/>
                      </a:lnTo>
                      <a:lnTo>
                        <a:pt x="203796" y="59182"/>
                      </a:lnTo>
                      <a:lnTo>
                        <a:pt x="203695" y="59016"/>
                      </a:lnTo>
                      <a:lnTo>
                        <a:pt x="202577" y="59182"/>
                      </a:lnTo>
                      <a:lnTo>
                        <a:pt x="201434" y="59093"/>
                      </a:lnTo>
                      <a:lnTo>
                        <a:pt x="200647" y="59080"/>
                      </a:lnTo>
                      <a:lnTo>
                        <a:pt x="199898" y="59563"/>
                      </a:lnTo>
                      <a:lnTo>
                        <a:pt x="200025" y="58597"/>
                      </a:lnTo>
                      <a:lnTo>
                        <a:pt x="200152" y="58191"/>
                      </a:lnTo>
                      <a:lnTo>
                        <a:pt x="200253" y="57962"/>
                      </a:lnTo>
                      <a:lnTo>
                        <a:pt x="199948" y="58216"/>
                      </a:lnTo>
                      <a:lnTo>
                        <a:pt x="199517" y="58356"/>
                      </a:lnTo>
                      <a:lnTo>
                        <a:pt x="199224" y="58597"/>
                      </a:lnTo>
                      <a:lnTo>
                        <a:pt x="199555" y="57988"/>
                      </a:lnTo>
                      <a:lnTo>
                        <a:pt x="199796" y="57505"/>
                      </a:lnTo>
                      <a:lnTo>
                        <a:pt x="201066" y="56235"/>
                      </a:lnTo>
                      <a:lnTo>
                        <a:pt x="201282" y="56007"/>
                      </a:lnTo>
                      <a:lnTo>
                        <a:pt x="201256" y="55829"/>
                      </a:lnTo>
                      <a:lnTo>
                        <a:pt x="201028" y="54419"/>
                      </a:lnTo>
                      <a:lnTo>
                        <a:pt x="199694" y="55829"/>
                      </a:lnTo>
                      <a:lnTo>
                        <a:pt x="199821" y="55473"/>
                      </a:lnTo>
                      <a:lnTo>
                        <a:pt x="200202" y="54330"/>
                      </a:lnTo>
                      <a:lnTo>
                        <a:pt x="200355" y="53860"/>
                      </a:lnTo>
                      <a:lnTo>
                        <a:pt x="200329" y="53733"/>
                      </a:lnTo>
                      <a:lnTo>
                        <a:pt x="196519" y="51396"/>
                      </a:lnTo>
                      <a:lnTo>
                        <a:pt x="197205" y="54330"/>
                      </a:lnTo>
                      <a:lnTo>
                        <a:pt x="195859" y="53060"/>
                      </a:lnTo>
                      <a:lnTo>
                        <a:pt x="196291" y="55473"/>
                      </a:lnTo>
                      <a:lnTo>
                        <a:pt x="195580" y="54952"/>
                      </a:lnTo>
                      <a:lnTo>
                        <a:pt x="193903" y="53733"/>
                      </a:lnTo>
                      <a:lnTo>
                        <a:pt x="194551" y="53200"/>
                      </a:lnTo>
                      <a:lnTo>
                        <a:pt x="193878" y="52997"/>
                      </a:lnTo>
                      <a:lnTo>
                        <a:pt x="192392" y="52552"/>
                      </a:lnTo>
                      <a:lnTo>
                        <a:pt x="192011" y="52997"/>
                      </a:lnTo>
                      <a:lnTo>
                        <a:pt x="190804" y="52768"/>
                      </a:lnTo>
                      <a:lnTo>
                        <a:pt x="187528" y="50888"/>
                      </a:lnTo>
                      <a:lnTo>
                        <a:pt x="187477" y="51866"/>
                      </a:lnTo>
                      <a:lnTo>
                        <a:pt x="190576" y="54406"/>
                      </a:lnTo>
                      <a:lnTo>
                        <a:pt x="190868" y="54952"/>
                      </a:lnTo>
                      <a:lnTo>
                        <a:pt x="190042" y="54495"/>
                      </a:lnTo>
                      <a:lnTo>
                        <a:pt x="189331" y="53860"/>
                      </a:lnTo>
                      <a:lnTo>
                        <a:pt x="188379" y="53594"/>
                      </a:lnTo>
                      <a:lnTo>
                        <a:pt x="188925" y="54241"/>
                      </a:lnTo>
                      <a:lnTo>
                        <a:pt x="189014" y="54419"/>
                      </a:lnTo>
                      <a:lnTo>
                        <a:pt x="189128" y="55384"/>
                      </a:lnTo>
                      <a:lnTo>
                        <a:pt x="189014" y="56235"/>
                      </a:lnTo>
                      <a:lnTo>
                        <a:pt x="188455" y="55600"/>
                      </a:lnTo>
                      <a:lnTo>
                        <a:pt x="187655" y="55473"/>
                      </a:lnTo>
                      <a:lnTo>
                        <a:pt x="187655" y="57988"/>
                      </a:lnTo>
                      <a:lnTo>
                        <a:pt x="185978" y="57061"/>
                      </a:lnTo>
                      <a:lnTo>
                        <a:pt x="186169" y="57023"/>
                      </a:lnTo>
                      <a:lnTo>
                        <a:pt x="185254" y="55600"/>
                      </a:lnTo>
                      <a:lnTo>
                        <a:pt x="185140" y="55473"/>
                      </a:lnTo>
                      <a:lnTo>
                        <a:pt x="186817" y="56489"/>
                      </a:lnTo>
                      <a:lnTo>
                        <a:pt x="187655" y="57988"/>
                      </a:lnTo>
                      <a:lnTo>
                        <a:pt x="187655" y="55473"/>
                      </a:lnTo>
                      <a:lnTo>
                        <a:pt x="187147" y="55384"/>
                      </a:lnTo>
                      <a:lnTo>
                        <a:pt x="186918" y="55333"/>
                      </a:lnTo>
                      <a:lnTo>
                        <a:pt x="188569" y="55372"/>
                      </a:lnTo>
                      <a:lnTo>
                        <a:pt x="187693" y="54089"/>
                      </a:lnTo>
                      <a:lnTo>
                        <a:pt x="186347" y="53111"/>
                      </a:lnTo>
                      <a:lnTo>
                        <a:pt x="185216" y="52057"/>
                      </a:lnTo>
                      <a:lnTo>
                        <a:pt x="185610" y="53644"/>
                      </a:lnTo>
                      <a:lnTo>
                        <a:pt x="186893" y="55321"/>
                      </a:lnTo>
                      <a:lnTo>
                        <a:pt x="186753" y="55270"/>
                      </a:lnTo>
                      <a:lnTo>
                        <a:pt x="183095" y="54241"/>
                      </a:lnTo>
                      <a:lnTo>
                        <a:pt x="185077" y="55435"/>
                      </a:lnTo>
                      <a:lnTo>
                        <a:pt x="185889" y="59575"/>
                      </a:lnTo>
                      <a:lnTo>
                        <a:pt x="184899" y="57531"/>
                      </a:lnTo>
                      <a:lnTo>
                        <a:pt x="183730" y="55156"/>
                      </a:lnTo>
                      <a:lnTo>
                        <a:pt x="182321" y="53314"/>
                      </a:lnTo>
                      <a:lnTo>
                        <a:pt x="178790" y="53378"/>
                      </a:lnTo>
                      <a:lnTo>
                        <a:pt x="177977" y="58293"/>
                      </a:lnTo>
                      <a:lnTo>
                        <a:pt x="182295" y="57531"/>
                      </a:lnTo>
                      <a:lnTo>
                        <a:pt x="183426" y="59524"/>
                      </a:lnTo>
                      <a:lnTo>
                        <a:pt x="182714" y="59461"/>
                      </a:lnTo>
                      <a:lnTo>
                        <a:pt x="180352" y="58026"/>
                      </a:lnTo>
                      <a:lnTo>
                        <a:pt x="178790" y="59194"/>
                      </a:lnTo>
                      <a:lnTo>
                        <a:pt x="181330" y="60286"/>
                      </a:lnTo>
                      <a:lnTo>
                        <a:pt x="182003" y="60934"/>
                      </a:lnTo>
                      <a:lnTo>
                        <a:pt x="181203" y="61036"/>
                      </a:lnTo>
                      <a:lnTo>
                        <a:pt x="180213" y="60439"/>
                      </a:lnTo>
                      <a:lnTo>
                        <a:pt x="179654" y="60159"/>
                      </a:lnTo>
                      <a:lnTo>
                        <a:pt x="179819" y="60439"/>
                      </a:lnTo>
                      <a:lnTo>
                        <a:pt x="179920" y="61188"/>
                      </a:lnTo>
                      <a:lnTo>
                        <a:pt x="180124" y="61506"/>
                      </a:lnTo>
                      <a:lnTo>
                        <a:pt x="178777" y="61506"/>
                      </a:lnTo>
                      <a:lnTo>
                        <a:pt x="177368" y="61290"/>
                      </a:lnTo>
                      <a:lnTo>
                        <a:pt x="176098" y="60871"/>
                      </a:lnTo>
                      <a:lnTo>
                        <a:pt x="176720" y="60350"/>
                      </a:lnTo>
                      <a:lnTo>
                        <a:pt x="178536" y="58801"/>
                      </a:lnTo>
                      <a:lnTo>
                        <a:pt x="175196" y="58191"/>
                      </a:lnTo>
                      <a:lnTo>
                        <a:pt x="172478" y="58851"/>
                      </a:lnTo>
                      <a:lnTo>
                        <a:pt x="172034" y="59347"/>
                      </a:lnTo>
                      <a:lnTo>
                        <a:pt x="171132" y="60121"/>
                      </a:lnTo>
                      <a:lnTo>
                        <a:pt x="171259" y="60198"/>
                      </a:lnTo>
                      <a:lnTo>
                        <a:pt x="171437" y="60248"/>
                      </a:lnTo>
                      <a:lnTo>
                        <a:pt x="170510" y="59931"/>
                      </a:lnTo>
                      <a:lnTo>
                        <a:pt x="169786" y="60439"/>
                      </a:lnTo>
                      <a:lnTo>
                        <a:pt x="168643" y="61544"/>
                      </a:lnTo>
                      <a:lnTo>
                        <a:pt x="168440" y="62306"/>
                      </a:lnTo>
                      <a:lnTo>
                        <a:pt x="167614" y="63284"/>
                      </a:lnTo>
                      <a:lnTo>
                        <a:pt x="165811" y="63919"/>
                      </a:lnTo>
                      <a:lnTo>
                        <a:pt x="166116" y="66890"/>
                      </a:lnTo>
                      <a:lnTo>
                        <a:pt x="166814" y="66154"/>
                      </a:lnTo>
                      <a:lnTo>
                        <a:pt x="169443" y="67284"/>
                      </a:lnTo>
                      <a:lnTo>
                        <a:pt x="169710" y="68097"/>
                      </a:lnTo>
                      <a:lnTo>
                        <a:pt x="169989" y="72351"/>
                      </a:lnTo>
                      <a:lnTo>
                        <a:pt x="169989" y="71475"/>
                      </a:lnTo>
                      <a:lnTo>
                        <a:pt x="172148" y="73342"/>
                      </a:lnTo>
                      <a:lnTo>
                        <a:pt x="172593" y="74129"/>
                      </a:lnTo>
                      <a:lnTo>
                        <a:pt x="173393" y="74993"/>
                      </a:lnTo>
                      <a:lnTo>
                        <a:pt x="173075" y="74129"/>
                      </a:lnTo>
                      <a:lnTo>
                        <a:pt x="174574" y="74396"/>
                      </a:lnTo>
                      <a:lnTo>
                        <a:pt x="174447" y="74129"/>
                      </a:lnTo>
                      <a:lnTo>
                        <a:pt x="174091" y="73418"/>
                      </a:lnTo>
                      <a:lnTo>
                        <a:pt x="174802" y="73367"/>
                      </a:lnTo>
                      <a:lnTo>
                        <a:pt x="175399" y="72847"/>
                      </a:lnTo>
                      <a:lnTo>
                        <a:pt x="175056" y="71475"/>
                      </a:lnTo>
                      <a:lnTo>
                        <a:pt x="174942" y="71056"/>
                      </a:lnTo>
                      <a:lnTo>
                        <a:pt x="171538" y="70332"/>
                      </a:lnTo>
                      <a:lnTo>
                        <a:pt x="170548" y="69672"/>
                      </a:lnTo>
                      <a:lnTo>
                        <a:pt x="171348" y="69519"/>
                      </a:lnTo>
                      <a:lnTo>
                        <a:pt x="173088" y="69380"/>
                      </a:lnTo>
                      <a:lnTo>
                        <a:pt x="174815" y="68541"/>
                      </a:lnTo>
                      <a:lnTo>
                        <a:pt x="176377" y="69519"/>
                      </a:lnTo>
                      <a:lnTo>
                        <a:pt x="177342" y="69545"/>
                      </a:lnTo>
                      <a:lnTo>
                        <a:pt x="177012" y="69964"/>
                      </a:lnTo>
                      <a:lnTo>
                        <a:pt x="175260" y="71488"/>
                      </a:lnTo>
                      <a:lnTo>
                        <a:pt x="176288" y="73761"/>
                      </a:lnTo>
                      <a:lnTo>
                        <a:pt x="179666" y="69189"/>
                      </a:lnTo>
                      <a:lnTo>
                        <a:pt x="180594" y="68999"/>
                      </a:lnTo>
                      <a:lnTo>
                        <a:pt x="178739" y="71882"/>
                      </a:lnTo>
                      <a:lnTo>
                        <a:pt x="176657" y="73672"/>
                      </a:lnTo>
                      <a:lnTo>
                        <a:pt x="175514" y="77317"/>
                      </a:lnTo>
                      <a:lnTo>
                        <a:pt x="176593" y="76733"/>
                      </a:lnTo>
                      <a:lnTo>
                        <a:pt x="177228" y="77381"/>
                      </a:lnTo>
                      <a:lnTo>
                        <a:pt x="179019" y="76784"/>
                      </a:lnTo>
                      <a:lnTo>
                        <a:pt x="179743" y="75679"/>
                      </a:lnTo>
                      <a:lnTo>
                        <a:pt x="180479" y="74904"/>
                      </a:lnTo>
                      <a:lnTo>
                        <a:pt x="181076" y="74053"/>
                      </a:lnTo>
                      <a:lnTo>
                        <a:pt x="184365" y="72377"/>
                      </a:lnTo>
                      <a:lnTo>
                        <a:pt x="184810" y="72148"/>
                      </a:lnTo>
                      <a:lnTo>
                        <a:pt x="183299" y="72377"/>
                      </a:lnTo>
                      <a:lnTo>
                        <a:pt x="181038" y="71018"/>
                      </a:lnTo>
                      <a:lnTo>
                        <a:pt x="181508" y="70802"/>
                      </a:lnTo>
                      <a:lnTo>
                        <a:pt x="183565" y="70650"/>
                      </a:lnTo>
                      <a:lnTo>
                        <a:pt x="184785" y="69545"/>
                      </a:lnTo>
                      <a:lnTo>
                        <a:pt x="184861" y="69380"/>
                      </a:lnTo>
                      <a:lnTo>
                        <a:pt x="184480" y="68999"/>
                      </a:lnTo>
                      <a:lnTo>
                        <a:pt x="184010" y="68541"/>
                      </a:lnTo>
                      <a:lnTo>
                        <a:pt x="183070" y="67627"/>
                      </a:lnTo>
                      <a:lnTo>
                        <a:pt x="186169" y="68783"/>
                      </a:lnTo>
                      <a:lnTo>
                        <a:pt x="187071" y="68694"/>
                      </a:lnTo>
                      <a:lnTo>
                        <a:pt x="186385" y="69392"/>
                      </a:lnTo>
                      <a:lnTo>
                        <a:pt x="186131" y="70383"/>
                      </a:lnTo>
                      <a:lnTo>
                        <a:pt x="188531" y="70269"/>
                      </a:lnTo>
                      <a:lnTo>
                        <a:pt x="190931" y="69646"/>
                      </a:lnTo>
                      <a:lnTo>
                        <a:pt x="193281" y="69240"/>
                      </a:lnTo>
                      <a:lnTo>
                        <a:pt x="192074" y="68237"/>
                      </a:lnTo>
                      <a:lnTo>
                        <a:pt x="190093" y="68224"/>
                      </a:lnTo>
                      <a:lnTo>
                        <a:pt x="188912" y="69240"/>
                      </a:lnTo>
                      <a:lnTo>
                        <a:pt x="188798" y="68897"/>
                      </a:lnTo>
                      <a:lnTo>
                        <a:pt x="188607" y="68389"/>
                      </a:lnTo>
                      <a:lnTo>
                        <a:pt x="188620" y="67983"/>
                      </a:lnTo>
                      <a:lnTo>
                        <a:pt x="187706" y="68135"/>
                      </a:lnTo>
                      <a:lnTo>
                        <a:pt x="189128" y="67627"/>
                      </a:lnTo>
                      <a:lnTo>
                        <a:pt x="189420" y="67525"/>
                      </a:lnTo>
                      <a:lnTo>
                        <a:pt x="191173" y="67246"/>
                      </a:lnTo>
                      <a:lnTo>
                        <a:pt x="192316" y="66649"/>
                      </a:lnTo>
                      <a:lnTo>
                        <a:pt x="192011" y="66154"/>
                      </a:lnTo>
                      <a:lnTo>
                        <a:pt x="191731" y="65722"/>
                      </a:lnTo>
                      <a:lnTo>
                        <a:pt x="190855" y="66141"/>
                      </a:lnTo>
                      <a:lnTo>
                        <a:pt x="190068" y="65455"/>
                      </a:lnTo>
                      <a:lnTo>
                        <a:pt x="191782" y="65570"/>
                      </a:lnTo>
                      <a:lnTo>
                        <a:pt x="198894" y="66294"/>
                      </a:lnTo>
                      <a:lnTo>
                        <a:pt x="198208" y="65455"/>
                      </a:lnTo>
                      <a:lnTo>
                        <a:pt x="195834" y="62560"/>
                      </a:lnTo>
                      <a:lnTo>
                        <a:pt x="194703" y="62560"/>
                      </a:lnTo>
                      <a:lnTo>
                        <a:pt x="193598" y="62560"/>
                      </a:lnTo>
                      <a:lnTo>
                        <a:pt x="192786" y="61506"/>
                      </a:lnTo>
                      <a:lnTo>
                        <a:pt x="192684" y="61379"/>
                      </a:lnTo>
                      <a:lnTo>
                        <a:pt x="195541" y="61518"/>
                      </a:lnTo>
                      <a:lnTo>
                        <a:pt x="198424" y="63614"/>
                      </a:lnTo>
                      <a:lnTo>
                        <a:pt x="201853" y="62052"/>
                      </a:lnTo>
                      <a:lnTo>
                        <a:pt x="202603" y="61379"/>
                      </a:lnTo>
                      <a:lnTo>
                        <a:pt x="202984" y="61036"/>
                      </a:lnTo>
                      <a:lnTo>
                        <a:pt x="204241" y="59905"/>
                      </a:lnTo>
                      <a:close/>
                    </a:path>
                    <a:path w="1507489" h="802639">
                      <a:moveTo>
                        <a:pt x="207175" y="42748"/>
                      </a:moveTo>
                      <a:lnTo>
                        <a:pt x="205917" y="45313"/>
                      </a:lnTo>
                      <a:lnTo>
                        <a:pt x="204609" y="45974"/>
                      </a:lnTo>
                      <a:lnTo>
                        <a:pt x="204254" y="44221"/>
                      </a:lnTo>
                      <a:lnTo>
                        <a:pt x="205155" y="44043"/>
                      </a:lnTo>
                      <a:lnTo>
                        <a:pt x="203365" y="43091"/>
                      </a:lnTo>
                      <a:lnTo>
                        <a:pt x="203466" y="44970"/>
                      </a:lnTo>
                      <a:lnTo>
                        <a:pt x="201244" y="40830"/>
                      </a:lnTo>
                      <a:lnTo>
                        <a:pt x="200888" y="44653"/>
                      </a:lnTo>
                      <a:lnTo>
                        <a:pt x="200456" y="44754"/>
                      </a:lnTo>
                      <a:lnTo>
                        <a:pt x="200634" y="44704"/>
                      </a:lnTo>
                      <a:lnTo>
                        <a:pt x="198716" y="41389"/>
                      </a:lnTo>
                      <a:lnTo>
                        <a:pt x="195834" y="41529"/>
                      </a:lnTo>
                      <a:lnTo>
                        <a:pt x="195046" y="43053"/>
                      </a:lnTo>
                      <a:lnTo>
                        <a:pt x="193535" y="43053"/>
                      </a:lnTo>
                      <a:lnTo>
                        <a:pt x="194081" y="43332"/>
                      </a:lnTo>
                      <a:lnTo>
                        <a:pt x="195135" y="43992"/>
                      </a:lnTo>
                      <a:lnTo>
                        <a:pt x="194970" y="44373"/>
                      </a:lnTo>
                      <a:lnTo>
                        <a:pt x="195135" y="45123"/>
                      </a:lnTo>
                      <a:lnTo>
                        <a:pt x="195313" y="45732"/>
                      </a:lnTo>
                      <a:lnTo>
                        <a:pt x="194729" y="45504"/>
                      </a:lnTo>
                      <a:lnTo>
                        <a:pt x="192265" y="45008"/>
                      </a:lnTo>
                      <a:lnTo>
                        <a:pt x="188849" y="45707"/>
                      </a:lnTo>
                      <a:lnTo>
                        <a:pt x="192024" y="46977"/>
                      </a:lnTo>
                      <a:lnTo>
                        <a:pt x="193040" y="47891"/>
                      </a:lnTo>
                      <a:lnTo>
                        <a:pt x="191363" y="47371"/>
                      </a:lnTo>
                      <a:lnTo>
                        <a:pt x="186918" y="47015"/>
                      </a:lnTo>
                      <a:lnTo>
                        <a:pt x="189852" y="49428"/>
                      </a:lnTo>
                      <a:lnTo>
                        <a:pt x="190411" y="48996"/>
                      </a:lnTo>
                      <a:lnTo>
                        <a:pt x="190944" y="49352"/>
                      </a:lnTo>
                      <a:lnTo>
                        <a:pt x="190919" y="50025"/>
                      </a:lnTo>
                      <a:lnTo>
                        <a:pt x="192024" y="50761"/>
                      </a:lnTo>
                      <a:lnTo>
                        <a:pt x="193014" y="51092"/>
                      </a:lnTo>
                      <a:lnTo>
                        <a:pt x="193954" y="51574"/>
                      </a:lnTo>
                      <a:lnTo>
                        <a:pt x="195300" y="50139"/>
                      </a:lnTo>
                      <a:lnTo>
                        <a:pt x="196557" y="48514"/>
                      </a:lnTo>
                      <a:lnTo>
                        <a:pt x="198107" y="47269"/>
                      </a:lnTo>
                      <a:lnTo>
                        <a:pt x="198539" y="48209"/>
                      </a:lnTo>
                      <a:lnTo>
                        <a:pt x="200266" y="48361"/>
                      </a:lnTo>
                      <a:lnTo>
                        <a:pt x="202463" y="48679"/>
                      </a:lnTo>
                      <a:lnTo>
                        <a:pt x="202133" y="46697"/>
                      </a:lnTo>
                      <a:lnTo>
                        <a:pt x="202590" y="45948"/>
                      </a:lnTo>
                      <a:lnTo>
                        <a:pt x="203682" y="48145"/>
                      </a:lnTo>
                      <a:lnTo>
                        <a:pt x="205041" y="48628"/>
                      </a:lnTo>
                      <a:lnTo>
                        <a:pt x="207175" y="42748"/>
                      </a:lnTo>
                      <a:close/>
                    </a:path>
                    <a:path w="1507489" h="802639">
                      <a:moveTo>
                        <a:pt x="278561" y="3810"/>
                      </a:moveTo>
                      <a:lnTo>
                        <a:pt x="278549" y="1562"/>
                      </a:lnTo>
                      <a:lnTo>
                        <a:pt x="275577" y="2603"/>
                      </a:lnTo>
                      <a:lnTo>
                        <a:pt x="276212" y="1117"/>
                      </a:lnTo>
                      <a:lnTo>
                        <a:pt x="274218" y="1295"/>
                      </a:lnTo>
                      <a:lnTo>
                        <a:pt x="273037" y="4673"/>
                      </a:lnTo>
                      <a:lnTo>
                        <a:pt x="271233" y="7340"/>
                      </a:lnTo>
                      <a:lnTo>
                        <a:pt x="267728" y="9448"/>
                      </a:lnTo>
                      <a:lnTo>
                        <a:pt x="264617" y="11658"/>
                      </a:lnTo>
                      <a:lnTo>
                        <a:pt x="264807" y="13462"/>
                      </a:lnTo>
                      <a:lnTo>
                        <a:pt x="267411" y="12217"/>
                      </a:lnTo>
                      <a:lnTo>
                        <a:pt x="269887" y="10680"/>
                      </a:lnTo>
                      <a:lnTo>
                        <a:pt x="272402" y="9271"/>
                      </a:lnTo>
                      <a:lnTo>
                        <a:pt x="273621" y="6959"/>
                      </a:lnTo>
                      <a:lnTo>
                        <a:pt x="274853" y="6261"/>
                      </a:lnTo>
                      <a:lnTo>
                        <a:pt x="277304" y="4445"/>
                      </a:lnTo>
                      <a:lnTo>
                        <a:pt x="278561" y="3810"/>
                      </a:lnTo>
                      <a:close/>
                    </a:path>
                    <a:path w="1507489" h="802639">
                      <a:moveTo>
                        <a:pt x="442531" y="70561"/>
                      </a:moveTo>
                      <a:lnTo>
                        <a:pt x="440245" y="67221"/>
                      </a:lnTo>
                      <a:lnTo>
                        <a:pt x="439407" y="65519"/>
                      </a:lnTo>
                      <a:lnTo>
                        <a:pt x="437807" y="65214"/>
                      </a:lnTo>
                      <a:lnTo>
                        <a:pt x="437451" y="65036"/>
                      </a:lnTo>
                      <a:lnTo>
                        <a:pt x="437388" y="66522"/>
                      </a:lnTo>
                      <a:lnTo>
                        <a:pt x="437337" y="67538"/>
                      </a:lnTo>
                      <a:lnTo>
                        <a:pt x="437388" y="68148"/>
                      </a:lnTo>
                      <a:lnTo>
                        <a:pt x="439445" y="69481"/>
                      </a:lnTo>
                      <a:lnTo>
                        <a:pt x="437553" y="70167"/>
                      </a:lnTo>
                      <a:lnTo>
                        <a:pt x="437591" y="71272"/>
                      </a:lnTo>
                      <a:lnTo>
                        <a:pt x="437616" y="72504"/>
                      </a:lnTo>
                      <a:lnTo>
                        <a:pt x="439064" y="72529"/>
                      </a:lnTo>
                      <a:lnTo>
                        <a:pt x="442531" y="70561"/>
                      </a:lnTo>
                      <a:close/>
                    </a:path>
                    <a:path w="1507489" h="802639">
                      <a:moveTo>
                        <a:pt x="452031" y="61861"/>
                      </a:moveTo>
                      <a:lnTo>
                        <a:pt x="451700" y="60566"/>
                      </a:lnTo>
                      <a:lnTo>
                        <a:pt x="451573" y="59486"/>
                      </a:lnTo>
                      <a:lnTo>
                        <a:pt x="451485" y="57518"/>
                      </a:lnTo>
                      <a:lnTo>
                        <a:pt x="451408" y="56845"/>
                      </a:lnTo>
                      <a:lnTo>
                        <a:pt x="448652" y="56095"/>
                      </a:lnTo>
                      <a:lnTo>
                        <a:pt x="446989" y="57518"/>
                      </a:lnTo>
                      <a:lnTo>
                        <a:pt x="444766" y="56896"/>
                      </a:lnTo>
                      <a:lnTo>
                        <a:pt x="438111" y="53200"/>
                      </a:lnTo>
                      <a:lnTo>
                        <a:pt x="437083" y="51587"/>
                      </a:lnTo>
                      <a:lnTo>
                        <a:pt x="438746" y="52527"/>
                      </a:lnTo>
                      <a:lnTo>
                        <a:pt x="440702" y="53263"/>
                      </a:lnTo>
                      <a:lnTo>
                        <a:pt x="445300" y="55270"/>
                      </a:lnTo>
                      <a:lnTo>
                        <a:pt x="446836" y="56438"/>
                      </a:lnTo>
                      <a:lnTo>
                        <a:pt x="450329" y="55346"/>
                      </a:lnTo>
                      <a:lnTo>
                        <a:pt x="449300" y="54838"/>
                      </a:lnTo>
                      <a:lnTo>
                        <a:pt x="447268" y="53695"/>
                      </a:lnTo>
                      <a:lnTo>
                        <a:pt x="446747" y="52654"/>
                      </a:lnTo>
                      <a:lnTo>
                        <a:pt x="447954" y="53340"/>
                      </a:lnTo>
                      <a:lnTo>
                        <a:pt x="449249" y="53924"/>
                      </a:lnTo>
                      <a:lnTo>
                        <a:pt x="450494" y="54571"/>
                      </a:lnTo>
                      <a:lnTo>
                        <a:pt x="449491" y="52654"/>
                      </a:lnTo>
                      <a:lnTo>
                        <a:pt x="449427" y="52527"/>
                      </a:lnTo>
                      <a:lnTo>
                        <a:pt x="449287" y="52260"/>
                      </a:lnTo>
                      <a:lnTo>
                        <a:pt x="451510" y="50685"/>
                      </a:lnTo>
                      <a:lnTo>
                        <a:pt x="447598" y="49530"/>
                      </a:lnTo>
                      <a:lnTo>
                        <a:pt x="447192" y="49530"/>
                      </a:lnTo>
                      <a:lnTo>
                        <a:pt x="446862" y="49530"/>
                      </a:lnTo>
                      <a:lnTo>
                        <a:pt x="445439" y="49237"/>
                      </a:lnTo>
                      <a:lnTo>
                        <a:pt x="444512" y="48450"/>
                      </a:lnTo>
                      <a:lnTo>
                        <a:pt x="443280" y="48679"/>
                      </a:lnTo>
                      <a:lnTo>
                        <a:pt x="443179" y="48856"/>
                      </a:lnTo>
                      <a:lnTo>
                        <a:pt x="443153" y="48679"/>
                      </a:lnTo>
                      <a:lnTo>
                        <a:pt x="443103" y="49022"/>
                      </a:lnTo>
                      <a:lnTo>
                        <a:pt x="442290" y="50546"/>
                      </a:lnTo>
                      <a:lnTo>
                        <a:pt x="440296" y="52527"/>
                      </a:lnTo>
                      <a:lnTo>
                        <a:pt x="440016" y="52311"/>
                      </a:lnTo>
                      <a:lnTo>
                        <a:pt x="438264" y="51638"/>
                      </a:lnTo>
                      <a:lnTo>
                        <a:pt x="438391" y="51587"/>
                      </a:lnTo>
                      <a:lnTo>
                        <a:pt x="438924" y="51371"/>
                      </a:lnTo>
                      <a:lnTo>
                        <a:pt x="439699" y="51308"/>
                      </a:lnTo>
                      <a:lnTo>
                        <a:pt x="440385" y="51181"/>
                      </a:lnTo>
                      <a:lnTo>
                        <a:pt x="439851" y="50812"/>
                      </a:lnTo>
                      <a:lnTo>
                        <a:pt x="439051" y="50507"/>
                      </a:lnTo>
                      <a:lnTo>
                        <a:pt x="438391" y="50444"/>
                      </a:lnTo>
                      <a:lnTo>
                        <a:pt x="440169" y="50253"/>
                      </a:lnTo>
                      <a:lnTo>
                        <a:pt x="443103" y="49022"/>
                      </a:lnTo>
                      <a:lnTo>
                        <a:pt x="443103" y="48653"/>
                      </a:lnTo>
                      <a:lnTo>
                        <a:pt x="441896" y="47802"/>
                      </a:lnTo>
                      <a:lnTo>
                        <a:pt x="440448" y="46786"/>
                      </a:lnTo>
                      <a:lnTo>
                        <a:pt x="438429" y="45770"/>
                      </a:lnTo>
                      <a:lnTo>
                        <a:pt x="436130" y="46024"/>
                      </a:lnTo>
                      <a:lnTo>
                        <a:pt x="435902" y="47802"/>
                      </a:lnTo>
                      <a:lnTo>
                        <a:pt x="434530" y="47752"/>
                      </a:lnTo>
                      <a:lnTo>
                        <a:pt x="434530" y="54648"/>
                      </a:lnTo>
                      <a:lnTo>
                        <a:pt x="434047" y="54406"/>
                      </a:lnTo>
                      <a:lnTo>
                        <a:pt x="432993" y="53886"/>
                      </a:lnTo>
                      <a:lnTo>
                        <a:pt x="431622" y="52578"/>
                      </a:lnTo>
                      <a:lnTo>
                        <a:pt x="430110" y="52171"/>
                      </a:lnTo>
                      <a:lnTo>
                        <a:pt x="430428" y="51600"/>
                      </a:lnTo>
                      <a:lnTo>
                        <a:pt x="433120" y="52819"/>
                      </a:lnTo>
                      <a:lnTo>
                        <a:pt x="434530" y="54648"/>
                      </a:lnTo>
                      <a:lnTo>
                        <a:pt x="434530" y="47752"/>
                      </a:lnTo>
                      <a:lnTo>
                        <a:pt x="433692" y="47701"/>
                      </a:lnTo>
                      <a:lnTo>
                        <a:pt x="432473" y="46037"/>
                      </a:lnTo>
                      <a:lnTo>
                        <a:pt x="432447" y="48856"/>
                      </a:lnTo>
                      <a:lnTo>
                        <a:pt x="430911" y="47612"/>
                      </a:lnTo>
                      <a:lnTo>
                        <a:pt x="430047" y="47104"/>
                      </a:lnTo>
                      <a:lnTo>
                        <a:pt x="431177" y="48882"/>
                      </a:lnTo>
                      <a:lnTo>
                        <a:pt x="431050" y="48971"/>
                      </a:lnTo>
                      <a:lnTo>
                        <a:pt x="428942" y="49174"/>
                      </a:lnTo>
                      <a:lnTo>
                        <a:pt x="429488" y="50482"/>
                      </a:lnTo>
                      <a:lnTo>
                        <a:pt x="428599" y="49568"/>
                      </a:lnTo>
                      <a:lnTo>
                        <a:pt x="427342" y="50228"/>
                      </a:lnTo>
                      <a:lnTo>
                        <a:pt x="426923" y="51269"/>
                      </a:lnTo>
                      <a:lnTo>
                        <a:pt x="427609" y="53174"/>
                      </a:lnTo>
                      <a:lnTo>
                        <a:pt x="428332" y="53606"/>
                      </a:lnTo>
                      <a:lnTo>
                        <a:pt x="428650" y="54406"/>
                      </a:lnTo>
                      <a:lnTo>
                        <a:pt x="429933" y="52438"/>
                      </a:lnTo>
                      <a:lnTo>
                        <a:pt x="429933" y="53340"/>
                      </a:lnTo>
                      <a:lnTo>
                        <a:pt x="429221" y="54114"/>
                      </a:lnTo>
                      <a:lnTo>
                        <a:pt x="429234" y="55206"/>
                      </a:lnTo>
                      <a:lnTo>
                        <a:pt x="430085" y="54406"/>
                      </a:lnTo>
                      <a:lnTo>
                        <a:pt x="432727" y="56959"/>
                      </a:lnTo>
                      <a:lnTo>
                        <a:pt x="433501" y="58178"/>
                      </a:lnTo>
                      <a:lnTo>
                        <a:pt x="432993" y="58762"/>
                      </a:lnTo>
                      <a:lnTo>
                        <a:pt x="433362" y="59486"/>
                      </a:lnTo>
                      <a:lnTo>
                        <a:pt x="433882" y="59042"/>
                      </a:lnTo>
                      <a:lnTo>
                        <a:pt x="434213" y="59791"/>
                      </a:lnTo>
                      <a:lnTo>
                        <a:pt x="435292" y="60794"/>
                      </a:lnTo>
                      <a:lnTo>
                        <a:pt x="436245" y="61226"/>
                      </a:lnTo>
                      <a:lnTo>
                        <a:pt x="437045" y="61925"/>
                      </a:lnTo>
                      <a:lnTo>
                        <a:pt x="438556" y="62039"/>
                      </a:lnTo>
                      <a:lnTo>
                        <a:pt x="440093" y="62255"/>
                      </a:lnTo>
                      <a:lnTo>
                        <a:pt x="441617" y="62115"/>
                      </a:lnTo>
                      <a:lnTo>
                        <a:pt x="441299" y="59245"/>
                      </a:lnTo>
                      <a:lnTo>
                        <a:pt x="439026" y="59220"/>
                      </a:lnTo>
                      <a:lnTo>
                        <a:pt x="438950" y="58940"/>
                      </a:lnTo>
                      <a:lnTo>
                        <a:pt x="438226" y="56400"/>
                      </a:lnTo>
                      <a:lnTo>
                        <a:pt x="439889" y="56845"/>
                      </a:lnTo>
                      <a:lnTo>
                        <a:pt x="441210" y="58153"/>
                      </a:lnTo>
                      <a:lnTo>
                        <a:pt x="445566" y="60566"/>
                      </a:lnTo>
                      <a:lnTo>
                        <a:pt x="448691" y="61544"/>
                      </a:lnTo>
                      <a:lnTo>
                        <a:pt x="452031" y="61861"/>
                      </a:lnTo>
                      <a:close/>
                    </a:path>
                    <a:path w="1507489" h="802639">
                      <a:moveTo>
                        <a:pt x="454660" y="87503"/>
                      </a:moveTo>
                      <a:lnTo>
                        <a:pt x="454621" y="87693"/>
                      </a:lnTo>
                      <a:lnTo>
                        <a:pt x="454660" y="87503"/>
                      </a:lnTo>
                      <a:close/>
                    </a:path>
                    <a:path w="1507489" h="802639">
                      <a:moveTo>
                        <a:pt x="454812" y="85496"/>
                      </a:moveTo>
                      <a:close/>
                    </a:path>
                    <a:path w="1507489" h="802639">
                      <a:moveTo>
                        <a:pt x="454837" y="83997"/>
                      </a:moveTo>
                      <a:lnTo>
                        <a:pt x="454533" y="83019"/>
                      </a:lnTo>
                      <a:lnTo>
                        <a:pt x="454660" y="81038"/>
                      </a:lnTo>
                      <a:lnTo>
                        <a:pt x="454710" y="78574"/>
                      </a:lnTo>
                      <a:lnTo>
                        <a:pt x="454685" y="77101"/>
                      </a:lnTo>
                      <a:lnTo>
                        <a:pt x="454291" y="75577"/>
                      </a:lnTo>
                      <a:lnTo>
                        <a:pt x="453669" y="73291"/>
                      </a:lnTo>
                      <a:lnTo>
                        <a:pt x="453326" y="72021"/>
                      </a:lnTo>
                      <a:lnTo>
                        <a:pt x="453085" y="71120"/>
                      </a:lnTo>
                      <a:lnTo>
                        <a:pt x="453059" y="70929"/>
                      </a:lnTo>
                      <a:lnTo>
                        <a:pt x="452704" y="68478"/>
                      </a:lnTo>
                      <a:lnTo>
                        <a:pt x="452437" y="66636"/>
                      </a:lnTo>
                      <a:lnTo>
                        <a:pt x="452145" y="66357"/>
                      </a:lnTo>
                      <a:lnTo>
                        <a:pt x="450596" y="64884"/>
                      </a:lnTo>
                      <a:lnTo>
                        <a:pt x="449503" y="63855"/>
                      </a:lnTo>
                      <a:lnTo>
                        <a:pt x="449503" y="77101"/>
                      </a:lnTo>
                      <a:lnTo>
                        <a:pt x="448576" y="77647"/>
                      </a:lnTo>
                      <a:lnTo>
                        <a:pt x="449033" y="77292"/>
                      </a:lnTo>
                      <a:lnTo>
                        <a:pt x="449503" y="77101"/>
                      </a:lnTo>
                      <a:lnTo>
                        <a:pt x="449503" y="63855"/>
                      </a:lnTo>
                      <a:lnTo>
                        <a:pt x="448208" y="62623"/>
                      </a:lnTo>
                      <a:lnTo>
                        <a:pt x="445884" y="61683"/>
                      </a:lnTo>
                      <a:lnTo>
                        <a:pt x="443738" y="62623"/>
                      </a:lnTo>
                      <a:lnTo>
                        <a:pt x="446366" y="61036"/>
                      </a:lnTo>
                      <a:lnTo>
                        <a:pt x="443941" y="60248"/>
                      </a:lnTo>
                      <a:lnTo>
                        <a:pt x="441845" y="61772"/>
                      </a:lnTo>
                      <a:lnTo>
                        <a:pt x="442252" y="62191"/>
                      </a:lnTo>
                      <a:lnTo>
                        <a:pt x="441731" y="63830"/>
                      </a:lnTo>
                      <a:lnTo>
                        <a:pt x="440690" y="64338"/>
                      </a:lnTo>
                      <a:lnTo>
                        <a:pt x="442658" y="64808"/>
                      </a:lnTo>
                      <a:lnTo>
                        <a:pt x="441744" y="64884"/>
                      </a:lnTo>
                      <a:lnTo>
                        <a:pt x="440728" y="64655"/>
                      </a:lnTo>
                      <a:lnTo>
                        <a:pt x="439813" y="64909"/>
                      </a:lnTo>
                      <a:lnTo>
                        <a:pt x="440423" y="65862"/>
                      </a:lnTo>
                      <a:lnTo>
                        <a:pt x="441553" y="66827"/>
                      </a:lnTo>
                      <a:lnTo>
                        <a:pt x="444106" y="67525"/>
                      </a:lnTo>
                      <a:lnTo>
                        <a:pt x="445236" y="66357"/>
                      </a:lnTo>
                      <a:lnTo>
                        <a:pt x="443560" y="68745"/>
                      </a:lnTo>
                      <a:lnTo>
                        <a:pt x="443890" y="68630"/>
                      </a:lnTo>
                      <a:lnTo>
                        <a:pt x="444487" y="68618"/>
                      </a:lnTo>
                      <a:lnTo>
                        <a:pt x="444855" y="68478"/>
                      </a:lnTo>
                      <a:lnTo>
                        <a:pt x="443509" y="69443"/>
                      </a:lnTo>
                      <a:lnTo>
                        <a:pt x="444030" y="70599"/>
                      </a:lnTo>
                      <a:lnTo>
                        <a:pt x="446366" y="71755"/>
                      </a:lnTo>
                      <a:lnTo>
                        <a:pt x="445452" y="72377"/>
                      </a:lnTo>
                      <a:lnTo>
                        <a:pt x="444741" y="72453"/>
                      </a:lnTo>
                      <a:lnTo>
                        <a:pt x="443865" y="73469"/>
                      </a:lnTo>
                      <a:lnTo>
                        <a:pt x="444766" y="73291"/>
                      </a:lnTo>
                      <a:lnTo>
                        <a:pt x="444411" y="74447"/>
                      </a:lnTo>
                      <a:lnTo>
                        <a:pt x="443966" y="74904"/>
                      </a:lnTo>
                      <a:lnTo>
                        <a:pt x="445033" y="77076"/>
                      </a:lnTo>
                      <a:lnTo>
                        <a:pt x="446455" y="75717"/>
                      </a:lnTo>
                      <a:lnTo>
                        <a:pt x="447636" y="75577"/>
                      </a:lnTo>
                      <a:lnTo>
                        <a:pt x="447103" y="76238"/>
                      </a:lnTo>
                      <a:lnTo>
                        <a:pt x="446963" y="77063"/>
                      </a:lnTo>
                      <a:lnTo>
                        <a:pt x="446163" y="79540"/>
                      </a:lnTo>
                      <a:lnTo>
                        <a:pt x="448195" y="77952"/>
                      </a:lnTo>
                      <a:lnTo>
                        <a:pt x="448144" y="80302"/>
                      </a:lnTo>
                      <a:lnTo>
                        <a:pt x="449262" y="79717"/>
                      </a:lnTo>
                      <a:lnTo>
                        <a:pt x="450354" y="79095"/>
                      </a:lnTo>
                      <a:lnTo>
                        <a:pt x="451510" y="78574"/>
                      </a:lnTo>
                      <a:lnTo>
                        <a:pt x="448906" y="81038"/>
                      </a:lnTo>
                      <a:lnTo>
                        <a:pt x="452932" y="86245"/>
                      </a:lnTo>
                      <a:lnTo>
                        <a:pt x="454444" y="88798"/>
                      </a:lnTo>
                      <a:lnTo>
                        <a:pt x="454596" y="88265"/>
                      </a:lnTo>
                      <a:lnTo>
                        <a:pt x="454621" y="87693"/>
                      </a:lnTo>
                      <a:lnTo>
                        <a:pt x="454698" y="87096"/>
                      </a:lnTo>
                      <a:lnTo>
                        <a:pt x="454710" y="85559"/>
                      </a:lnTo>
                      <a:lnTo>
                        <a:pt x="454837" y="83997"/>
                      </a:lnTo>
                      <a:close/>
                    </a:path>
                    <a:path w="1507489" h="802639">
                      <a:moveTo>
                        <a:pt x="466585" y="59448"/>
                      </a:moveTo>
                      <a:lnTo>
                        <a:pt x="465518" y="58699"/>
                      </a:lnTo>
                      <a:lnTo>
                        <a:pt x="465277" y="55422"/>
                      </a:lnTo>
                      <a:lnTo>
                        <a:pt x="464578" y="55092"/>
                      </a:lnTo>
                      <a:lnTo>
                        <a:pt x="463473" y="52438"/>
                      </a:lnTo>
                      <a:lnTo>
                        <a:pt x="461721" y="48437"/>
                      </a:lnTo>
                      <a:lnTo>
                        <a:pt x="459714" y="47917"/>
                      </a:lnTo>
                      <a:lnTo>
                        <a:pt x="458533" y="48133"/>
                      </a:lnTo>
                      <a:lnTo>
                        <a:pt x="456831" y="47790"/>
                      </a:lnTo>
                      <a:lnTo>
                        <a:pt x="456006" y="47879"/>
                      </a:lnTo>
                      <a:lnTo>
                        <a:pt x="453936" y="47675"/>
                      </a:lnTo>
                      <a:lnTo>
                        <a:pt x="453986" y="47536"/>
                      </a:lnTo>
                      <a:lnTo>
                        <a:pt x="452323" y="44856"/>
                      </a:lnTo>
                      <a:lnTo>
                        <a:pt x="451421" y="43611"/>
                      </a:lnTo>
                      <a:lnTo>
                        <a:pt x="449973" y="43192"/>
                      </a:lnTo>
                      <a:lnTo>
                        <a:pt x="449859" y="44132"/>
                      </a:lnTo>
                      <a:lnTo>
                        <a:pt x="449872" y="46088"/>
                      </a:lnTo>
                      <a:lnTo>
                        <a:pt x="451091" y="46164"/>
                      </a:lnTo>
                      <a:lnTo>
                        <a:pt x="449783" y="47625"/>
                      </a:lnTo>
                      <a:lnTo>
                        <a:pt x="452247" y="48158"/>
                      </a:lnTo>
                      <a:lnTo>
                        <a:pt x="453275" y="47663"/>
                      </a:lnTo>
                      <a:lnTo>
                        <a:pt x="452882" y="48285"/>
                      </a:lnTo>
                      <a:lnTo>
                        <a:pt x="452412" y="50165"/>
                      </a:lnTo>
                      <a:lnTo>
                        <a:pt x="452386" y="51574"/>
                      </a:lnTo>
                      <a:lnTo>
                        <a:pt x="453263" y="52895"/>
                      </a:lnTo>
                      <a:lnTo>
                        <a:pt x="454101" y="56769"/>
                      </a:lnTo>
                      <a:lnTo>
                        <a:pt x="453898" y="58762"/>
                      </a:lnTo>
                      <a:lnTo>
                        <a:pt x="455523" y="61633"/>
                      </a:lnTo>
                      <a:lnTo>
                        <a:pt x="456552" y="61379"/>
                      </a:lnTo>
                      <a:lnTo>
                        <a:pt x="457581" y="60998"/>
                      </a:lnTo>
                      <a:lnTo>
                        <a:pt x="458647" y="60960"/>
                      </a:lnTo>
                      <a:lnTo>
                        <a:pt x="458419" y="62064"/>
                      </a:lnTo>
                      <a:lnTo>
                        <a:pt x="459574" y="63512"/>
                      </a:lnTo>
                      <a:lnTo>
                        <a:pt x="458660" y="66103"/>
                      </a:lnTo>
                      <a:lnTo>
                        <a:pt x="458673" y="64427"/>
                      </a:lnTo>
                      <a:lnTo>
                        <a:pt x="458279" y="64719"/>
                      </a:lnTo>
                      <a:lnTo>
                        <a:pt x="457454" y="64820"/>
                      </a:lnTo>
                      <a:lnTo>
                        <a:pt x="457200" y="64960"/>
                      </a:lnTo>
                      <a:lnTo>
                        <a:pt x="456768" y="66560"/>
                      </a:lnTo>
                      <a:lnTo>
                        <a:pt x="456120" y="68224"/>
                      </a:lnTo>
                      <a:lnTo>
                        <a:pt x="455574" y="69964"/>
                      </a:lnTo>
                      <a:lnTo>
                        <a:pt x="455231" y="71704"/>
                      </a:lnTo>
                      <a:lnTo>
                        <a:pt x="456501" y="71361"/>
                      </a:lnTo>
                      <a:lnTo>
                        <a:pt x="457352" y="70751"/>
                      </a:lnTo>
                      <a:lnTo>
                        <a:pt x="458622" y="70294"/>
                      </a:lnTo>
                      <a:lnTo>
                        <a:pt x="458050" y="69519"/>
                      </a:lnTo>
                      <a:lnTo>
                        <a:pt x="464134" y="67056"/>
                      </a:lnTo>
                      <a:lnTo>
                        <a:pt x="461899" y="65913"/>
                      </a:lnTo>
                      <a:lnTo>
                        <a:pt x="463169" y="65036"/>
                      </a:lnTo>
                      <a:lnTo>
                        <a:pt x="465061" y="65316"/>
                      </a:lnTo>
                      <a:lnTo>
                        <a:pt x="466293" y="62852"/>
                      </a:lnTo>
                      <a:lnTo>
                        <a:pt x="465582" y="62636"/>
                      </a:lnTo>
                      <a:lnTo>
                        <a:pt x="465048" y="60718"/>
                      </a:lnTo>
                      <a:lnTo>
                        <a:pt x="464527" y="59702"/>
                      </a:lnTo>
                      <a:lnTo>
                        <a:pt x="463562" y="58216"/>
                      </a:lnTo>
                      <a:lnTo>
                        <a:pt x="462584" y="57365"/>
                      </a:lnTo>
                      <a:lnTo>
                        <a:pt x="461403" y="55778"/>
                      </a:lnTo>
                      <a:lnTo>
                        <a:pt x="460540" y="53695"/>
                      </a:lnTo>
                      <a:lnTo>
                        <a:pt x="459841" y="54927"/>
                      </a:lnTo>
                      <a:lnTo>
                        <a:pt x="460057" y="52362"/>
                      </a:lnTo>
                      <a:lnTo>
                        <a:pt x="460451" y="52019"/>
                      </a:lnTo>
                      <a:lnTo>
                        <a:pt x="459511" y="49618"/>
                      </a:lnTo>
                      <a:lnTo>
                        <a:pt x="461048" y="50177"/>
                      </a:lnTo>
                      <a:lnTo>
                        <a:pt x="461289" y="52412"/>
                      </a:lnTo>
                      <a:lnTo>
                        <a:pt x="462661" y="54762"/>
                      </a:lnTo>
                      <a:lnTo>
                        <a:pt x="463308" y="55295"/>
                      </a:lnTo>
                      <a:lnTo>
                        <a:pt x="464693" y="57645"/>
                      </a:lnTo>
                      <a:lnTo>
                        <a:pt x="464566" y="58305"/>
                      </a:lnTo>
                      <a:lnTo>
                        <a:pt x="466585" y="59448"/>
                      </a:lnTo>
                      <a:close/>
                    </a:path>
                    <a:path w="1507489" h="802639">
                      <a:moveTo>
                        <a:pt x="468185" y="77711"/>
                      </a:moveTo>
                      <a:lnTo>
                        <a:pt x="467347" y="76377"/>
                      </a:lnTo>
                      <a:lnTo>
                        <a:pt x="466471" y="76593"/>
                      </a:lnTo>
                      <a:lnTo>
                        <a:pt x="465899" y="76073"/>
                      </a:lnTo>
                      <a:lnTo>
                        <a:pt x="465924" y="76733"/>
                      </a:lnTo>
                      <a:lnTo>
                        <a:pt x="465823" y="77393"/>
                      </a:lnTo>
                      <a:lnTo>
                        <a:pt x="465518" y="77990"/>
                      </a:lnTo>
                      <a:lnTo>
                        <a:pt x="463791" y="75387"/>
                      </a:lnTo>
                      <a:lnTo>
                        <a:pt x="463804" y="73901"/>
                      </a:lnTo>
                      <a:lnTo>
                        <a:pt x="460082" y="73367"/>
                      </a:lnTo>
                      <a:lnTo>
                        <a:pt x="460844" y="73774"/>
                      </a:lnTo>
                      <a:lnTo>
                        <a:pt x="461441" y="74549"/>
                      </a:lnTo>
                      <a:lnTo>
                        <a:pt x="462064" y="75222"/>
                      </a:lnTo>
                      <a:lnTo>
                        <a:pt x="460756" y="74841"/>
                      </a:lnTo>
                      <a:lnTo>
                        <a:pt x="458762" y="73317"/>
                      </a:lnTo>
                      <a:lnTo>
                        <a:pt x="457847" y="75463"/>
                      </a:lnTo>
                      <a:lnTo>
                        <a:pt x="458050" y="77647"/>
                      </a:lnTo>
                      <a:lnTo>
                        <a:pt x="458965" y="79133"/>
                      </a:lnTo>
                      <a:lnTo>
                        <a:pt x="460082" y="77876"/>
                      </a:lnTo>
                      <a:lnTo>
                        <a:pt x="460870" y="78930"/>
                      </a:lnTo>
                      <a:lnTo>
                        <a:pt x="459143" y="79235"/>
                      </a:lnTo>
                      <a:lnTo>
                        <a:pt x="460400" y="80098"/>
                      </a:lnTo>
                      <a:lnTo>
                        <a:pt x="461810" y="79260"/>
                      </a:lnTo>
                      <a:lnTo>
                        <a:pt x="462381" y="79273"/>
                      </a:lnTo>
                      <a:lnTo>
                        <a:pt x="461429" y="79654"/>
                      </a:lnTo>
                      <a:lnTo>
                        <a:pt x="460248" y="80175"/>
                      </a:lnTo>
                      <a:lnTo>
                        <a:pt x="459422" y="80987"/>
                      </a:lnTo>
                      <a:lnTo>
                        <a:pt x="460971" y="80899"/>
                      </a:lnTo>
                      <a:lnTo>
                        <a:pt x="462851" y="80886"/>
                      </a:lnTo>
                      <a:lnTo>
                        <a:pt x="463257" y="82537"/>
                      </a:lnTo>
                      <a:lnTo>
                        <a:pt x="462153" y="83058"/>
                      </a:lnTo>
                      <a:lnTo>
                        <a:pt x="463702" y="83934"/>
                      </a:lnTo>
                      <a:lnTo>
                        <a:pt x="463042" y="85001"/>
                      </a:lnTo>
                      <a:lnTo>
                        <a:pt x="461568" y="82296"/>
                      </a:lnTo>
                      <a:lnTo>
                        <a:pt x="459765" y="84683"/>
                      </a:lnTo>
                      <a:lnTo>
                        <a:pt x="459714" y="86321"/>
                      </a:lnTo>
                      <a:lnTo>
                        <a:pt x="460209" y="86144"/>
                      </a:lnTo>
                      <a:lnTo>
                        <a:pt x="460908" y="86093"/>
                      </a:lnTo>
                      <a:lnTo>
                        <a:pt x="461403" y="85915"/>
                      </a:lnTo>
                      <a:lnTo>
                        <a:pt x="460070" y="86906"/>
                      </a:lnTo>
                      <a:lnTo>
                        <a:pt x="460184" y="89077"/>
                      </a:lnTo>
                      <a:lnTo>
                        <a:pt x="460844" y="88823"/>
                      </a:lnTo>
                      <a:lnTo>
                        <a:pt x="460971" y="89471"/>
                      </a:lnTo>
                      <a:lnTo>
                        <a:pt x="460273" y="89725"/>
                      </a:lnTo>
                      <a:lnTo>
                        <a:pt x="460705" y="90779"/>
                      </a:lnTo>
                      <a:lnTo>
                        <a:pt x="460959" y="91605"/>
                      </a:lnTo>
                      <a:lnTo>
                        <a:pt x="461835" y="92265"/>
                      </a:lnTo>
                      <a:lnTo>
                        <a:pt x="462178" y="90233"/>
                      </a:lnTo>
                      <a:lnTo>
                        <a:pt x="462292" y="87985"/>
                      </a:lnTo>
                      <a:lnTo>
                        <a:pt x="463105" y="86080"/>
                      </a:lnTo>
                      <a:lnTo>
                        <a:pt x="463702" y="87261"/>
                      </a:lnTo>
                      <a:lnTo>
                        <a:pt x="462622" y="87947"/>
                      </a:lnTo>
                      <a:lnTo>
                        <a:pt x="466356" y="89763"/>
                      </a:lnTo>
                      <a:lnTo>
                        <a:pt x="464489" y="85521"/>
                      </a:lnTo>
                      <a:lnTo>
                        <a:pt x="464400" y="85166"/>
                      </a:lnTo>
                      <a:lnTo>
                        <a:pt x="467309" y="88823"/>
                      </a:lnTo>
                      <a:lnTo>
                        <a:pt x="465201" y="79984"/>
                      </a:lnTo>
                      <a:lnTo>
                        <a:pt x="465442" y="79756"/>
                      </a:lnTo>
                      <a:lnTo>
                        <a:pt x="466966" y="80022"/>
                      </a:lnTo>
                      <a:lnTo>
                        <a:pt x="467233" y="79933"/>
                      </a:lnTo>
                      <a:lnTo>
                        <a:pt x="468058" y="79667"/>
                      </a:lnTo>
                      <a:lnTo>
                        <a:pt x="468185" y="77711"/>
                      </a:lnTo>
                      <a:close/>
                    </a:path>
                    <a:path w="1507489" h="802639">
                      <a:moveTo>
                        <a:pt x="475018" y="108242"/>
                      </a:moveTo>
                      <a:lnTo>
                        <a:pt x="474040" y="106565"/>
                      </a:lnTo>
                      <a:lnTo>
                        <a:pt x="473798" y="105778"/>
                      </a:lnTo>
                      <a:lnTo>
                        <a:pt x="472986" y="105943"/>
                      </a:lnTo>
                      <a:lnTo>
                        <a:pt x="470789" y="106248"/>
                      </a:lnTo>
                      <a:lnTo>
                        <a:pt x="471665" y="107759"/>
                      </a:lnTo>
                      <a:lnTo>
                        <a:pt x="472008" y="108331"/>
                      </a:lnTo>
                      <a:lnTo>
                        <a:pt x="473138" y="108165"/>
                      </a:lnTo>
                      <a:lnTo>
                        <a:pt x="475018" y="108242"/>
                      </a:lnTo>
                      <a:close/>
                    </a:path>
                    <a:path w="1507489" h="802639">
                      <a:moveTo>
                        <a:pt x="484847" y="79857"/>
                      </a:moveTo>
                      <a:lnTo>
                        <a:pt x="481431" y="77000"/>
                      </a:lnTo>
                      <a:lnTo>
                        <a:pt x="480885" y="76390"/>
                      </a:lnTo>
                      <a:lnTo>
                        <a:pt x="479755" y="75831"/>
                      </a:lnTo>
                      <a:lnTo>
                        <a:pt x="479755" y="77558"/>
                      </a:lnTo>
                      <a:lnTo>
                        <a:pt x="479564" y="79476"/>
                      </a:lnTo>
                      <a:lnTo>
                        <a:pt x="478853" y="78816"/>
                      </a:lnTo>
                      <a:lnTo>
                        <a:pt x="478739" y="77419"/>
                      </a:lnTo>
                      <a:lnTo>
                        <a:pt x="478726" y="77025"/>
                      </a:lnTo>
                      <a:lnTo>
                        <a:pt x="478701" y="76327"/>
                      </a:lnTo>
                      <a:lnTo>
                        <a:pt x="479755" y="77558"/>
                      </a:lnTo>
                      <a:lnTo>
                        <a:pt x="479755" y="75831"/>
                      </a:lnTo>
                      <a:lnTo>
                        <a:pt x="478688" y="75285"/>
                      </a:lnTo>
                      <a:lnTo>
                        <a:pt x="478688" y="75018"/>
                      </a:lnTo>
                      <a:lnTo>
                        <a:pt x="478624" y="74256"/>
                      </a:lnTo>
                      <a:lnTo>
                        <a:pt x="478536" y="73558"/>
                      </a:lnTo>
                      <a:lnTo>
                        <a:pt x="478332" y="71932"/>
                      </a:lnTo>
                      <a:lnTo>
                        <a:pt x="475272" y="71996"/>
                      </a:lnTo>
                      <a:lnTo>
                        <a:pt x="475272" y="76809"/>
                      </a:lnTo>
                      <a:lnTo>
                        <a:pt x="475145" y="77216"/>
                      </a:lnTo>
                      <a:lnTo>
                        <a:pt x="473367" y="77774"/>
                      </a:lnTo>
                      <a:lnTo>
                        <a:pt x="473265" y="75374"/>
                      </a:lnTo>
                      <a:lnTo>
                        <a:pt x="473786" y="75768"/>
                      </a:lnTo>
                      <a:lnTo>
                        <a:pt x="474510" y="75920"/>
                      </a:lnTo>
                      <a:lnTo>
                        <a:pt x="475272" y="76809"/>
                      </a:lnTo>
                      <a:lnTo>
                        <a:pt x="475272" y="71996"/>
                      </a:lnTo>
                      <a:lnTo>
                        <a:pt x="474268" y="72009"/>
                      </a:lnTo>
                      <a:lnTo>
                        <a:pt x="474383" y="73177"/>
                      </a:lnTo>
                      <a:lnTo>
                        <a:pt x="474548" y="73558"/>
                      </a:lnTo>
                      <a:lnTo>
                        <a:pt x="472605" y="71653"/>
                      </a:lnTo>
                      <a:lnTo>
                        <a:pt x="469747" y="70942"/>
                      </a:lnTo>
                      <a:lnTo>
                        <a:pt x="465429" y="70332"/>
                      </a:lnTo>
                      <a:lnTo>
                        <a:pt x="463092" y="70256"/>
                      </a:lnTo>
                      <a:lnTo>
                        <a:pt x="464273" y="72758"/>
                      </a:lnTo>
                      <a:lnTo>
                        <a:pt x="466623" y="73863"/>
                      </a:lnTo>
                      <a:lnTo>
                        <a:pt x="467271" y="74231"/>
                      </a:lnTo>
                      <a:lnTo>
                        <a:pt x="466699" y="74256"/>
                      </a:lnTo>
                      <a:lnTo>
                        <a:pt x="465975" y="74193"/>
                      </a:lnTo>
                      <a:lnTo>
                        <a:pt x="465353" y="74231"/>
                      </a:lnTo>
                      <a:lnTo>
                        <a:pt x="466521" y="75158"/>
                      </a:lnTo>
                      <a:lnTo>
                        <a:pt x="466585" y="75565"/>
                      </a:lnTo>
                      <a:lnTo>
                        <a:pt x="468414" y="75018"/>
                      </a:lnTo>
                      <a:lnTo>
                        <a:pt x="468299" y="75768"/>
                      </a:lnTo>
                      <a:lnTo>
                        <a:pt x="468198" y="77774"/>
                      </a:lnTo>
                      <a:lnTo>
                        <a:pt x="468299" y="78701"/>
                      </a:lnTo>
                      <a:lnTo>
                        <a:pt x="468845" y="80162"/>
                      </a:lnTo>
                      <a:lnTo>
                        <a:pt x="468325" y="80822"/>
                      </a:lnTo>
                      <a:lnTo>
                        <a:pt x="468909" y="81153"/>
                      </a:lnTo>
                      <a:lnTo>
                        <a:pt x="468947" y="82677"/>
                      </a:lnTo>
                      <a:lnTo>
                        <a:pt x="469811" y="83566"/>
                      </a:lnTo>
                      <a:lnTo>
                        <a:pt x="471449" y="83134"/>
                      </a:lnTo>
                      <a:lnTo>
                        <a:pt x="476770" y="82677"/>
                      </a:lnTo>
                      <a:lnTo>
                        <a:pt x="476694" y="79679"/>
                      </a:lnTo>
                      <a:lnTo>
                        <a:pt x="476262" y="79463"/>
                      </a:lnTo>
                      <a:lnTo>
                        <a:pt x="475729" y="79197"/>
                      </a:lnTo>
                      <a:lnTo>
                        <a:pt x="474776" y="79463"/>
                      </a:lnTo>
                      <a:lnTo>
                        <a:pt x="475411" y="77838"/>
                      </a:lnTo>
                      <a:lnTo>
                        <a:pt x="476199" y="78816"/>
                      </a:lnTo>
                      <a:lnTo>
                        <a:pt x="477316" y="79222"/>
                      </a:lnTo>
                      <a:lnTo>
                        <a:pt x="479552" y="79603"/>
                      </a:lnTo>
                      <a:lnTo>
                        <a:pt x="479539" y="79743"/>
                      </a:lnTo>
                      <a:lnTo>
                        <a:pt x="478066" y="80772"/>
                      </a:lnTo>
                      <a:lnTo>
                        <a:pt x="479704" y="82943"/>
                      </a:lnTo>
                      <a:lnTo>
                        <a:pt x="477710" y="84201"/>
                      </a:lnTo>
                      <a:lnTo>
                        <a:pt x="477012" y="85191"/>
                      </a:lnTo>
                      <a:lnTo>
                        <a:pt x="479044" y="86702"/>
                      </a:lnTo>
                      <a:lnTo>
                        <a:pt x="479666" y="87668"/>
                      </a:lnTo>
                      <a:lnTo>
                        <a:pt x="483323" y="87210"/>
                      </a:lnTo>
                      <a:lnTo>
                        <a:pt x="482447" y="84924"/>
                      </a:lnTo>
                      <a:lnTo>
                        <a:pt x="482307" y="83108"/>
                      </a:lnTo>
                      <a:lnTo>
                        <a:pt x="480847" y="83604"/>
                      </a:lnTo>
                      <a:lnTo>
                        <a:pt x="479971" y="82969"/>
                      </a:lnTo>
                      <a:lnTo>
                        <a:pt x="482130" y="82016"/>
                      </a:lnTo>
                      <a:lnTo>
                        <a:pt x="483336" y="81343"/>
                      </a:lnTo>
                      <a:lnTo>
                        <a:pt x="484517" y="81127"/>
                      </a:lnTo>
                      <a:lnTo>
                        <a:pt x="484847" y="79857"/>
                      </a:lnTo>
                      <a:close/>
                    </a:path>
                    <a:path w="1507489" h="802639">
                      <a:moveTo>
                        <a:pt x="485775" y="97256"/>
                      </a:moveTo>
                      <a:lnTo>
                        <a:pt x="484720" y="95504"/>
                      </a:lnTo>
                      <a:lnTo>
                        <a:pt x="483311" y="93345"/>
                      </a:lnTo>
                      <a:lnTo>
                        <a:pt x="480060" y="91465"/>
                      </a:lnTo>
                      <a:lnTo>
                        <a:pt x="479628" y="91211"/>
                      </a:lnTo>
                      <a:lnTo>
                        <a:pt x="478853" y="91465"/>
                      </a:lnTo>
                      <a:lnTo>
                        <a:pt x="475005" y="89763"/>
                      </a:lnTo>
                      <a:lnTo>
                        <a:pt x="477520" y="88265"/>
                      </a:lnTo>
                      <a:lnTo>
                        <a:pt x="478243" y="87833"/>
                      </a:lnTo>
                      <a:lnTo>
                        <a:pt x="475437" y="85813"/>
                      </a:lnTo>
                      <a:lnTo>
                        <a:pt x="475068" y="85547"/>
                      </a:lnTo>
                      <a:lnTo>
                        <a:pt x="474395" y="85813"/>
                      </a:lnTo>
                      <a:lnTo>
                        <a:pt x="472198" y="85813"/>
                      </a:lnTo>
                      <a:lnTo>
                        <a:pt x="470750" y="85267"/>
                      </a:lnTo>
                      <a:lnTo>
                        <a:pt x="469366" y="85471"/>
                      </a:lnTo>
                      <a:lnTo>
                        <a:pt x="468922" y="87553"/>
                      </a:lnTo>
                      <a:lnTo>
                        <a:pt x="469988" y="89154"/>
                      </a:lnTo>
                      <a:lnTo>
                        <a:pt x="467029" y="90627"/>
                      </a:lnTo>
                      <a:lnTo>
                        <a:pt x="466712" y="93726"/>
                      </a:lnTo>
                      <a:lnTo>
                        <a:pt x="468299" y="93637"/>
                      </a:lnTo>
                      <a:lnTo>
                        <a:pt x="469938" y="93268"/>
                      </a:lnTo>
                      <a:lnTo>
                        <a:pt x="473621" y="92290"/>
                      </a:lnTo>
                      <a:lnTo>
                        <a:pt x="473544" y="91948"/>
                      </a:lnTo>
                      <a:lnTo>
                        <a:pt x="473964" y="89738"/>
                      </a:lnTo>
                      <a:lnTo>
                        <a:pt x="472071" y="88823"/>
                      </a:lnTo>
                      <a:lnTo>
                        <a:pt x="473329" y="88265"/>
                      </a:lnTo>
                      <a:lnTo>
                        <a:pt x="474421" y="90004"/>
                      </a:lnTo>
                      <a:lnTo>
                        <a:pt x="474472" y="91808"/>
                      </a:lnTo>
                      <a:lnTo>
                        <a:pt x="474624" y="92798"/>
                      </a:lnTo>
                      <a:lnTo>
                        <a:pt x="474332" y="93319"/>
                      </a:lnTo>
                      <a:lnTo>
                        <a:pt x="474802" y="94373"/>
                      </a:lnTo>
                      <a:lnTo>
                        <a:pt x="475627" y="94386"/>
                      </a:lnTo>
                      <a:lnTo>
                        <a:pt x="477062" y="97256"/>
                      </a:lnTo>
                      <a:lnTo>
                        <a:pt x="485775" y="97256"/>
                      </a:lnTo>
                      <a:close/>
                    </a:path>
                    <a:path w="1507489" h="802639">
                      <a:moveTo>
                        <a:pt x="487172" y="99885"/>
                      </a:moveTo>
                      <a:lnTo>
                        <a:pt x="486841" y="99009"/>
                      </a:lnTo>
                      <a:lnTo>
                        <a:pt x="485876" y="97409"/>
                      </a:lnTo>
                      <a:lnTo>
                        <a:pt x="477151" y="97409"/>
                      </a:lnTo>
                      <a:lnTo>
                        <a:pt x="471322" y="97409"/>
                      </a:lnTo>
                      <a:lnTo>
                        <a:pt x="473621" y="101600"/>
                      </a:lnTo>
                      <a:lnTo>
                        <a:pt x="476707" y="100330"/>
                      </a:lnTo>
                      <a:lnTo>
                        <a:pt x="478917" y="99910"/>
                      </a:lnTo>
                      <a:lnTo>
                        <a:pt x="479044" y="99885"/>
                      </a:lnTo>
                      <a:lnTo>
                        <a:pt x="487172" y="99885"/>
                      </a:lnTo>
                      <a:close/>
                    </a:path>
                    <a:path w="1507489" h="802639">
                      <a:moveTo>
                        <a:pt x="491197" y="90589"/>
                      </a:moveTo>
                      <a:lnTo>
                        <a:pt x="489445" y="89204"/>
                      </a:lnTo>
                      <a:lnTo>
                        <a:pt x="487464" y="88430"/>
                      </a:lnTo>
                      <a:lnTo>
                        <a:pt x="485736" y="88595"/>
                      </a:lnTo>
                      <a:lnTo>
                        <a:pt x="485775" y="87515"/>
                      </a:lnTo>
                      <a:lnTo>
                        <a:pt x="486397" y="86525"/>
                      </a:lnTo>
                      <a:lnTo>
                        <a:pt x="486791" y="85547"/>
                      </a:lnTo>
                      <a:lnTo>
                        <a:pt x="484530" y="84950"/>
                      </a:lnTo>
                      <a:lnTo>
                        <a:pt x="485152" y="86080"/>
                      </a:lnTo>
                      <a:lnTo>
                        <a:pt x="484047" y="87122"/>
                      </a:lnTo>
                      <a:lnTo>
                        <a:pt x="483120" y="87985"/>
                      </a:lnTo>
                      <a:lnTo>
                        <a:pt x="482727" y="87515"/>
                      </a:lnTo>
                      <a:lnTo>
                        <a:pt x="482142" y="90055"/>
                      </a:lnTo>
                      <a:lnTo>
                        <a:pt x="482473" y="90106"/>
                      </a:lnTo>
                      <a:lnTo>
                        <a:pt x="484505" y="91008"/>
                      </a:lnTo>
                      <a:lnTo>
                        <a:pt x="485000" y="90817"/>
                      </a:lnTo>
                      <a:lnTo>
                        <a:pt x="486244" y="91338"/>
                      </a:lnTo>
                      <a:lnTo>
                        <a:pt x="485432" y="91490"/>
                      </a:lnTo>
                      <a:lnTo>
                        <a:pt x="485787" y="91757"/>
                      </a:lnTo>
                      <a:lnTo>
                        <a:pt x="486206" y="92100"/>
                      </a:lnTo>
                      <a:lnTo>
                        <a:pt x="486664" y="91528"/>
                      </a:lnTo>
                      <a:lnTo>
                        <a:pt x="487095" y="92468"/>
                      </a:lnTo>
                      <a:lnTo>
                        <a:pt x="486410" y="92760"/>
                      </a:lnTo>
                      <a:lnTo>
                        <a:pt x="487324" y="94272"/>
                      </a:lnTo>
                      <a:lnTo>
                        <a:pt x="488340" y="94056"/>
                      </a:lnTo>
                      <a:lnTo>
                        <a:pt x="490016" y="93548"/>
                      </a:lnTo>
                      <a:lnTo>
                        <a:pt x="490296" y="94119"/>
                      </a:lnTo>
                      <a:lnTo>
                        <a:pt x="490524" y="93230"/>
                      </a:lnTo>
                      <a:lnTo>
                        <a:pt x="490626" y="92760"/>
                      </a:lnTo>
                      <a:lnTo>
                        <a:pt x="491197" y="90589"/>
                      </a:lnTo>
                      <a:close/>
                    </a:path>
                    <a:path w="1507489" h="802639">
                      <a:moveTo>
                        <a:pt x="493052" y="114630"/>
                      </a:moveTo>
                      <a:lnTo>
                        <a:pt x="492671" y="113372"/>
                      </a:lnTo>
                      <a:lnTo>
                        <a:pt x="492798" y="111975"/>
                      </a:lnTo>
                      <a:lnTo>
                        <a:pt x="491515" y="112242"/>
                      </a:lnTo>
                      <a:lnTo>
                        <a:pt x="490791" y="113372"/>
                      </a:lnTo>
                      <a:lnTo>
                        <a:pt x="489661" y="112636"/>
                      </a:lnTo>
                      <a:lnTo>
                        <a:pt x="490626" y="111975"/>
                      </a:lnTo>
                      <a:lnTo>
                        <a:pt x="492379" y="110934"/>
                      </a:lnTo>
                      <a:lnTo>
                        <a:pt x="492493" y="110007"/>
                      </a:lnTo>
                      <a:lnTo>
                        <a:pt x="492544" y="109639"/>
                      </a:lnTo>
                      <a:lnTo>
                        <a:pt x="492671" y="108216"/>
                      </a:lnTo>
                      <a:lnTo>
                        <a:pt x="492683" y="107683"/>
                      </a:lnTo>
                      <a:lnTo>
                        <a:pt x="492747" y="105625"/>
                      </a:lnTo>
                      <a:lnTo>
                        <a:pt x="491490" y="107683"/>
                      </a:lnTo>
                      <a:lnTo>
                        <a:pt x="491350" y="107416"/>
                      </a:lnTo>
                      <a:lnTo>
                        <a:pt x="491185" y="107086"/>
                      </a:lnTo>
                      <a:lnTo>
                        <a:pt x="491058" y="106832"/>
                      </a:lnTo>
                      <a:lnTo>
                        <a:pt x="490524" y="105714"/>
                      </a:lnTo>
                      <a:lnTo>
                        <a:pt x="490004" y="104609"/>
                      </a:lnTo>
                      <a:lnTo>
                        <a:pt x="488416" y="104203"/>
                      </a:lnTo>
                      <a:lnTo>
                        <a:pt x="487845" y="104609"/>
                      </a:lnTo>
                      <a:lnTo>
                        <a:pt x="487070" y="104559"/>
                      </a:lnTo>
                      <a:lnTo>
                        <a:pt x="486270" y="104292"/>
                      </a:lnTo>
                      <a:lnTo>
                        <a:pt x="485584" y="104178"/>
                      </a:lnTo>
                      <a:lnTo>
                        <a:pt x="486524" y="103835"/>
                      </a:lnTo>
                      <a:lnTo>
                        <a:pt x="487629" y="103873"/>
                      </a:lnTo>
                      <a:lnTo>
                        <a:pt x="488340" y="103479"/>
                      </a:lnTo>
                      <a:lnTo>
                        <a:pt x="488518" y="103378"/>
                      </a:lnTo>
                      <a:lnTo>
                        <a:pt x="487248" y="103111"/>
                      </a:lnTo>
                      <a:lnTo>
                        <a:pt x="486930" y="102450"/>
                      </a:lnTo>
                      <a:lnTo>
                        <a:pt x="484695" y="102450"/>
                      </a:lnTo>
                      <a:lnTo>
                        <a:pt x="484149" y="103479"/>
                      </a:lnTo>
                      <a:lnTo>
                        <a:pt x="482866" y="103073"/>
                      </a:lnTo>
                      <a:lnTo>
                        <a:pt x="483362" y="102463"/>
                      </a:lnTo>
                      <a:lnTo>
                        <a:pt x="483438" y="102273"/>
                      </a:lnTo>
                      <a:lnTo>
                        <a:pt x="484162" y="99999"/>
                      </a:lnTo>
                      <a:lnTo>
                        <a:pt x="485508" y="100037"/>
                      </a:lnTo>
                      <a:lnTo>
                        <a:pt x="485533" y="100965"/>
                      </a:lnTo>
                      <a:lnTo>
                        <a:pt x="487070" y="101815"/>
                      </a:lnTo>
                      <a:lnTo>
                        <a:pt x="488746" y="102565"/>
                      </a:lnTo>
                      <a:lnTo>
                        <a:pt x="490181" y="102616"/>
                      </a:lnTo>
                      <a:lnTo>
                        <a:pt x="489623" y="101790"/>
                      </a:lnTo>
                      <a:lnTo>
                        <a:pt x="488569" y="101790"/>
                      </a:lnTo>
                      <a:lnTo>
                        <a:pt x="487438" y="100495"/>
                      </a:lnTo>
                      <a:lnTo>
                        <a:pt x="487349" y="100330"/>
                      </a:lnTo>
                      <a:lnTo>
                        <a:pt x="487222" y="99999"/>
                      </a:lnTo>
                      <a:lnTo>
                        <a:pt x="479272" y="99910"/>
                      </a:lnTo>
                      <a:lnTo>
                        <a:pt x="478917" y="99910"/>
                      </a:lnTo>
                      <a:lnTo>
                        <a:pt x="477989" y="100139"/>
                      </a:lnTo>
                      <a:lnTo>
                        <a:pt x="477418" y="100495"/>
                      </a:lnTo>
                      <a:lnTo>
                        <a:pt x="476110" y="102273"/>
                      </a:lnTo>
                      <a:lnTo>
                        <a:pt x="476935" y="102463"/>
                      </a:lnTo>
                      <a:lnTo>
                        <a:pt x="478028" y="103378"/>
                      </a:lnTo>
                      <a:lnTo>
                        <a:pt x="477977" y="103568"/>
                      </a:lnTo>
                      <a:lnTo>
                        <a:pt x="477761" y="103619"/>
                      </a:lnTo>
                      <a:lnTo>
                        <a:pt x="477583" y="103708"/>
                      </a:lnTo>
                      <a:lnTo>
                        <a:pt x="478294" y="104355"/>
                      </a:lnTo>
                      <a:lnTo>
                        <a:pt x="479209" y="104724"/>
                      </a:lnTo>
                      <a:lnTo>
                        <a:pt x="479958" y="105333"/>
                      </a:lnTo>
                      <a:lnTo>
                        <a:pt x="478104" y="105714"/>
                      </a:lnTo>
                      <a:lnTo>
                        <a:pt x="476250" y="104952"/>
                      </a:lnTo>
                      <a:lnTo>
                        <a:pt x="474383" y="105816"/>
                      </a:lnTo>
                      <a:lnTo>
                        <a:pt x="475094" y="107276"/>
                      </a:lnTo>
                      <a:lnTo>
                        <a:pt x="476872" y="106832"/>
                      </a:lnTo>
                      <a:lnTo>
                        <a:pt x="478485" y="107200"/>
                      </a:lnTo>
                      <a:lnTo>
                        <a:pt x="478091" y="107492"/>
                      </a:lnTo>
                      <a:lnTo>
                        <a:pt x="477964" y="107911"/>
                      </a:lnTo>
                      <a:lnTo>
                        <a:pt x="477634" y="108216"/>
                      </a:lnTo>
                      <a:lnTo>
                        <a:pt x="479005" y="108445"/>
                      </a:lnTo>
                      <a:lnTo>
                        <a:pt x="480199" y="107086"/>
                      </a:lnTo>
                      <a:lnTo>
                        <a:pt x="480822" y="107429"/>
                      </a:lnTo>
                      <a:lnTo>
                        <a:pt x="480974" y="107492"/>
                      </a:lnTo>
                      <a:lnTo>
                        <a:pt x="480999" y="108585"/>
                      </a:lnTo>
                      <a:lnTo>
                        <a:pt x="482561" y="109639"/>
                      </a:lnTo>
                      <a:lnTo>
                        <a:pt x="482676" y="108216"/>
                      </a:lnTo>
                      <a:lnTo>
                        <a:pt x="483171" y="107416"/>
                      </a:lnTo>
                      <a:lnTo>
                        <a:pt x="484225" y="108991"/>
                      </a:lnTo>
                      <a:lnTo>
                        <a:pt x="483209" y="109639"/>
                      </a:lnTo>
                      <a:lnTo>
                        <a:pt x="483260" y="110007"/>
                      </a:lnTo>
                      <a:lnTo>
                        <a:pt x="483641" y="111150"/>
                      </a:lnTo>
                      <a:lnTo>
                        <a:pt x="483755" y="110744"/>
                      </a:lnTo>
                      <a:lnTo>
                        <a:pt x="484149" y="110375"/>
                      </a:lnTo>
                      <a:lnTo>
                        <a:pt x="485330" y="111620"/>
                      </a:lnTo>
                      <a:lnTo>
                        <a:pt x="483704" y="112979"/>
                      </a:lnTo>
                      <a:lnTo>
                        <a:pt x="483793" y="113296"/>
                      </a:lnTo>
                      <a:lnTo>
                        <a:pt x="487565" y="115531"/>
                      </a:lnTo>
                      <a:lnTo>
                        <a:pt x="489851" y="115468"/>
                      </a:lnTo>
                      <a:lnTo>
                        <a:pt x="488391" y="118021"/>
                      </a:lnTo>
                      <a:lnTo>
                        <a:pt x="490842" y="116903"/>
                      </a:lnTo>
                      <a:lnTo>
                        <a:pt x="492696" y="119722"/>
                      </a:lnTo>
                      <a:lnTo>
                        <a:pt x="492887" y="116903"/>
                      </a:lnTo>
                      <a:lnTo>
                        <a:pt x="492988" y="115468"/>
                      </a:lnTo>
                      <a:lnTo>
                        <a:pt x="493052" y="114630"/>
                      </a:lnTo>
                      <a:close/>
                    </a:path>
                    <a:path w="1507489" h="802639">
                      <a:moveTo>
                        <a:pt x="493255" y="88417"/>
                      </a:moveTo>
                      <a:lnTo>
                        <a:pt x="491693" y="86245"/>
                      </a:lnTo>
                      <a:lnTo>
                        <a:pt x="489470" y="84480"/>
                      </a:lnTo>
                      <a:lnTo>
                        <a:pt x="487553" y="82613"/>
                      </a:lnTo>
                      <a:lnTo>
                        <a:pt x="487476" y="84810"/>
                      </a:lnTo>
                      <a:lnTo>
                        <a:pt x="486943" y="86829"/>
                      </a:lnTo>
                      <a:lnTo>
                        <a:pt x="488772" y="88226"/>
                      </a:lnTo>
                      <a:lnTo>
                        <a:pt x="489343" y="88646"/>
                      </a:lnTo>
                      <a:lnTo>
                        <a:pt x="490512" y="89128"/>
                      </a:lnTo>
                      <a:lnTo>
                        <a:pt x="491083" y="89306"/>
                      </a:lnTo>
                      <a:lnTo>
                        <a:pt x="491490" y="89433"/>
                      </a:lnTo>
                      <a:lnTo>
                        <a:pt x="491045" y="90081"/>
                      </a:lnTo>
                      <a:lnTo>
                        <a:pt x="492264" y="89865"/>
                      </a:lnTo>
                      <a:lnTo>
                        <a:pt x="492861" y="88785"/>
                      </a:lnTo>
                      <a:lnTo>
                        <a:pt x="493255" y="88417"/>
                      </a:lnTo>
                      <a:close/>
                    </a:path>
                    <a:path w="1507489" h="802639">
                      <a:moveTo>
                        <a:pt x="503275" y="112636"/>
                      </a:moveTo>
                      <a:lnTo>
                        <a:pt x="502856" y="112903"/>
                      </a:lnTo>
                      <a:lnTo>
                        <a:pt x="500240" y="112915"/>
                      </a:lnTo>
                      <a:lnTo>
                        <a:pt x="499986" y="113461"/>
                      </a:lnTo>
                      <a:lnTo>
                        <a:pt x="499643" y="114185"/>
                      </a:lnTo>
                      <a:lnTo>
                        <a:pt x="502640" y="116255"/>
                      </a:lnTo>
                      <a:lnTo>
                        <a:pt x="503275" y="112636"/>
                      </a:lnTo>
                      <a:close/>
                    </a:path>
                    <a:path w="1507489" h="802639">
                      <a:moveTo>
                        <a:pt x="508000" y="104394"/>
                      </a:moveTo>
                      <a:lnTo>
                        <a:pt x="507885" y="100520"/>
                      </a:lnTo>
                      <a:lnTo>
                        <a:pt x="507860" y="99720"/>
                      </a:lnTo>
                      <a:lnTo>
                        <a:pt x="507860" y="99529"/>
                      </a:lnTo>
                      <a:lnTo>
                        <a:pt x="506844" y="97917"/>
                      </a:lnTo>
                      <a:lnTo>
                        <a:pt x="506691" y="97675"/>
                      </a:lnTo>
                      <a:lnTo>
                        <a:pt x="506323" y="97078"/>
                      </a:lnTo>
                      <a:lnTo>
                        <a:pt x="505523" y="95808"/>
                      </a:lnTo>
                      <a:lnTo>
                        <a:pt x="504850" y="94729"/>
                      </a:lnTo>
                      <a:lnTo>
                        <a:pt x="503948" y="93205"/>
                      </a:lnTo>
                      <a:lnTo>
                        <a:pt x="501129" y="93535"/>
                      </a:lnTo>
                      <a:lnTo>
                        <a:pt x="499681" y="93814"/>
                      </a:lnTo>
                      <a:lnTo>
                        <a:pt x="498335" y="94881"/>
                      </a:lnTo>
                      <a:lnTo>
                        <a:pt x="498805" y="95440"/>
                      </a:lnTo>
                      <a:lnTo>
                        <a:pt x="500367" y="95631"/>
                      </a:lnTo>
                      <a:lnTo>
                        <a:pt x="499745" y="95770"/>
                      </a:lnTo>
                      <a:lnTo>
                        <a:pt x="499745" y="96634"/>
                      </a:lnTo>
                      <a:lnTo>
                        <a:pt x="499237" y="96913"/>
                      </a:lnTo>
                      <a:lnTo>
                        <a:pt x="499237" y="97917"/>
                      </a:lnTo>
                      <a:lnTo>
                        <a:pt x="498284" y="97802"/>
                      </a:lnTo>
                      <a:lnTo>
                        <a:pt x="498627" y="97675"/>
                      </a:lnTo>
                      <a:lnTo>
                        <a:pt x="499237" y="97917"/>
                      </a:lnTo>
                      <a:lnTo>
                        <a:pt x="499237" y="96913"/>
                      </a:lnTo>
                      <a:lnTo>
                        <a:pt x="498932" y="97078"/>
                      </a:lnTo>
                      <a:lnTo>
                        <a:pt x="497103" y="96761"/>
                      </a:lnTo>
                      <a:lnTo>
                        <a:pt x="499110" y="95808"/>
                      </a:lnTo>
                      <a:lnTo>
                        <a:pt x="499745" y="96634"/>
                      </a:lnTo>
                      <a:lnTo>
                        <a:pt x="499745" y="95770"/>
                      </a:lnTo>
                      <a:lnTo>
                        <a:pt x="496887" y="95338"/>
                      </a:lnTo>
                      <a:lnTo>
                        <a:pt x="496836" y="96888"/>
                      </a:lnTo>
                      <a:lnTo>
                        <a:pt x="496951" y="96735"/>
                      </a:lnTo>
                      <a:lnTo>
                        <a:pt x="496900" y="96862"/>
                      </a:lnTo>
                      <a:lnTo>
                        <a:pt x="496239" y="98488"/>
                      </a:lnTo>
                      <a:lnTo>
                        <a:pt x="498246" y="97815"/>
                      </a:lnTo>
                      <a:lnTo>
                        <a:pt x="496570" y="98488"/>
                      </a:lnTo>
                      <a:lnTo>
                        <a:pt x="496620" y="100952"/>
                      </a:lnTo>
                      <a:lnTo>
                        <a:pt x="498157" y="99720"/>
                      </a:lnTo>
                      <a:lnTo>
                        <a:pt x="497116" y="102171"/>
                      </a:lnTo>
                      <a:lnTo>
                        <a:pt x="494931" y="102260"/>
                      </a:lnTo>
                      <a:lnTo>
                        <a:pt x="495388" y="104394"/>
                      </a:lnTo>
                      <a:lnTo>
                        <a:pt x="497547" y="105727"/>
                      </a:lnTo>
                      <a:lnTo>
                        <a:pt x="498030" y="105994"/>
                      </a:lnTo>
                      <a:lnTo>
                        <a:pt x="498817" y="104597"/>
                      </a:lnTo>
                      <a:lnTo>
                        <a:pt x="499465" y="103009"/>
                      </a:lnTo>
                      <a:lnTo>
                        <a:pt x="500557" y="101841"/>
                      </a:lnTo>
                      <a:lnTo>
                        <a:pt x="500291" y="102260"/>
                      </a:lnTo>
                      <a:lnTo>
                        <a:pt x="500214" y="102743"/>
                      </a:lnTo>
                      <a:lnTo>
                        <a:pt x="500951" y="104482"/>
                      </a:lnTo>
                      <a:lnTo>
                        <a:pt x="502475" y="103454"/>
                      </a:lnTo>
                      <a:lnTo>
                        <a:pt x="502094" y="101841"/>
                      </a:lnTo>
                      <a:lnTo>
                        <a:pt x="501891" y="100952"/>
                      </a:lnTo>
                      <a:lnTo>
                        <a:pt x="501840" y="100520"/>
                      </a:lnTo>
                      <a:lnTo>
                        <a:pt x="502132" y="101841"/>
                      </a:lnTo>
                      <a:lnTo>
                        <a:pt x="502754" y="102539"/>
                      </a:lnTo>
                      <a:lnTo>
                        <a:pt x="502856" y="103009"/>
                      </a:lnTo>
                      <a:lnTo>
                        <a:pt x="502361" y="104914"/>
                      </a:lnTo>
                      <a:lnTo>
                        <a:pt x="500710" y="105359"/>
                      </a:lnTo>
                      <a:lnTo>
                        <a:pt x="502742" y="107797"/>
                      </a:lnTo>
                      <a:lnTo>
                        <a:pt x="503161" y="105067"/>
                      </a:lnTo>
                      <a:lnTo>
                        <a:pt x="503669" y="104394"/>
                      </a:lnTo>
                      <a:lnTo>
                        <a:pt x="504024" y="105359"/>
                      </a:lnTo>
                      <a:lnTo>
                        <a:pt x="504101" y="105727"/>
                      </a:lnTo>
                      <a:lnTo>
                        <a:pt x="503618" y="106908"/>
                      </a:lnTo>
                      <a:lnTo>
                        <a:pt x="504761" y="108204"/>
                      </a:lnTo>
                      <a:lnTo>
                        <a:pt x="507936" y="105994"/>
                      </a:lnTo>
                      <a:lnTo>
                        <a:pt x="508000" y="104394"/>
                      </a:lnTo>
                      <a:close/>
                    </a:path>
                    <a:path w="1507489" h="802639">
                      <a:moveTo>
                        <a:pt x="995667" y="577786"/>
                      </a:moveTo>
                      <a:lnTo>
                        <a:pt x="994981" y="578053"/>
                      </a:lnTo>
                      <a:lnTo>
                        <a:pt x="994600" y="578408"/>
                      </a:lnTo>
                      <a:lnTo>
                        <a:pt x="994321" y="578789"/>
                      </a:lnTo>
                      <a:lnTo>
                        <a:pt x="993584" y="579589"/>
                      </a:lnTo>
                      <a:lnTo>
                        <a:pt x="993063" y="580644"/>
                      </a:lnTo>
                      <a:lnTo>
                        <a:pt x="992746" y="581596"/>
                      </a:lnTo>
                      <a:lnTo>
                        <a:pt x="993851" y="580440"/>
                      </a:lnTo>
                      <a:lnTo>
                        <a:pt x="994727" y="579069"/>
                      </a:lnTo>
                      <a:lnTo>
                        <a:pt x="995667" y="577786"/>
                      </a:lnTo>
                      <a:close/>
                    </a:path>
                    <a:path w="1507489" h="802639">
                      <a:moveTo>
                        <a:pt x="1077074" y="560171"/>
                      </a:moveTo>
                      <a:lnTo>
                        <a:pt x="1074674" y="559015"/>
                      </a:lnTo>
                      <a:lnTo>
                        <a:pt x="1074381" y="558901"/>
                      </a:lnTo>
                      <a:lnTo>
                        <a:pt x="1076833" y="560197"/>
                      </a:lnTo>
                      <a:lnTo>
                        <a:pt x="1077074" y="560171"/>
                      </a:lnTo>
                      <a:close/>
                    </a:path>
                    <a:path w="1507489" h="802639">
                      <a:moveTo>
                        <a:pt x="1084961" y="266204"/>
                      </a:moveTo>
                      <a:lnTo>
                        <a:pt x="1083919" y="266585"/>
                      </a:lnTo>
                      <a:lnTo>
                        <a:pt x="1082814" y="267195"/>
                      </a:lnTo>
                      <a:lnTo>
                        <a:pt x="1082116" y="267970"/>
                      </a:lnTo>
                      <a:lnTo>
                        <a:pt x="1083157" y="267601"/>
                      </a:lnTo>
                      <a:lnTo>
                        <a:pt x="1084046" y="266827"/>
                      </a:lnTo>
                      <a:lnTo>
                        <a:pt x="1084961" y="266204"/>
                      </a:lnTo>
                      <a:close/>
                    </a:path>
                    <a:path w="1507489" h="802639">
                      <a:moveTo>
                        <a:pt x="1085977" y="264769"/>
                      </a:moveTo>
                      <a:lnTo>
                        <a:pt x="1085342" y="264718"/>
                      </a:lnTo>
                      <a:lnTo>
                        <a:pt x="1084643" y="264845"/>
                      </a:lnTo>
                      <a:lnTo>
                        <a:pt x="1084135" y="265150"/>
                      </a:lnTo>
                      <a:lnTo>
                        <a:pt x="1084745" y="265150"/>
                      </a:lnTo>
                      <a:lnTo>
                        <a:pt x="1085392" y="265010"/>
                      </a:lnTo>
                      <a:lnTo>
                        <a:pt x="1085977" y="264769"/>
                      </a:lnTo>
                      <a:close/>
                    </a:path>
                    <a:path w="1507489" h="802639">
                      <a:moveTo>
                        <a:pt x="1217485" y="631113"/>
                      </a:moveTo>
                      <a:lnTo>
                        <a:pt x="1217358" y="630783"/>
                      </a:lnTo>
                      <a:lnTo>
                        <a:pt x="1217079" y="630301"/>
                      </a:lnTo>
                      <a:lnTo>
                        <a:pt x="1216888" y="630034"/>
                      </a:lnTo>
                      <a:lnTo>
                        <a:pt x="1217231" y="630783"/>
                      </a:lnTo>
                      <a:lnTo>
                        <a:pt x="1217269" y="631151"/>
                      </a:lnTo>
                      <a:lnTo>
                        <a:pt x="1217485" y="631113"/>
                      </a:lnTo>
                      <a:close/>
                    </a:path>
                    <a:path w="1507489" h="802639">
                      <a:moveTo>
                        <a:pt x="1507185" y="797344"/>
                      </a:moveTo>
                      <a:lnTo>
                        <a:pt x="1505204" y="798182"/>
                      </a:lnTo>
                      <a:lnTo>
                        <a:pt x="1504772" y="800252"/>
                      </a:lnTo>
                      <a:lnTo>
                        <a:pt x="1504530" y="800544"/>
                      </a:lnTo>
                      <a:lnTo>
                        <a:pt x="1506270" y="802500"/>
                      </a:lnTo>
                      <a:lnTo>
                        <a:pt x="1506321" y="801497"/>
                      </a:lnTo>
                      <a:lnTo>
                        <a:pt x="1507007" y="799846"/>
                      </a:lnTo>
                      <a:lnTo>
                        <a:pt x="1507185" y="797344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91" name="object 31">
                  <a:extLst>
                    <a:ext uri="{FF2B5EF4-FFF2-40B4-BE49-F238E27FC236}">
                      <a16:creationId xmlns:a16="http://schemas.microsoft.com/office/drawing/2014/main" id="{6891490D-E117-01E7-3E7E-60BD80D19B9D}"/>
                    </a:ext>
                  </a:extLst>
                </p:cNvPr>
                <p:cNvSpPr/>
                <p:nvPr/>
              </p:nvSpPr>
              <p:spPr>
                <a:xfrm>
                  <a:off x="1516126" y="2175040"/>
                  <a:ext cx="224154" cy="787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4155" h="78739">
                      <a:moveTo>
                        <a:pt x="1816" y="0"/>
                      </a:moveTo>
                      <a:lnTo>
                        <a:pt x="736" y="342"/>
                      </a:lnTo>
                      <a:lnTo>
                        <a:pt x="368" y="1257"/>
                      </a:lnTo>
                      <a:lnTo>
                        <a:pt x="0" y="2133"/>
                      </a:lnTo>
                      <a:lnTo>
                        <a:pt x="723" y="1536"/>
                      </a:lnTo>
                      <a:lnTo>
                        <a:pt x="1231" y="736"/>
                      </a:lnTo>
                      <a:lnTo>
                        <a:pt x="1816" y="0"/>
                      </a:lnTo>
                      <a:close/>
                    </a:path>
                    <a:path w="224155" h="78739">
                      <a:moveTo>
                        <a:pt x="223659" y="76492"/>
                      </a:moveTo>
                      <a:lnTo>
                        <a:pt x="223266" y="75692"/>
                      </a:lnTo>
                      <a:lnTo>
                        <a:pt x="222262" y="76415"/>
                      </a:lnTo>
                      <a:lnTo>
                        <a:pt x="221830" y="77444"/>
                      </a:lnTo>
                      <a:lnTo>
                        <a:pt x="220548" y="77584"/>
                      </a:lnTo>
                      <a:lnTo>
                        <a:pt x="221411" y="77876"/>
                      </a:lnTo>
                      <a:lnTo>
                        <a:pt x="222326" y="78028"/>
                      </a:lnTo>
                      <a:lnTo>
                        <a:pt x="223215" y="78219"/>
                      </a:lnTo>
                      <a:lnTo>
                        <a:pt x="223481" y="77368"/>
                      </a:lnTo>
                      <a:lnTo>
                        <a:pt x="223659" y="76492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92" name="object 32">
                  <a:extLst>
                    <a:ext uri="{FF2B5EF4-FFF2-40B4-BE49-F238E27FC236}">
                      <a16:creationId xmlns:a16="http://schemas.microsoft.com/office/drawing/2014/main" id="{E10720D2-9E8A-DB12-AA68-B8B68093BEE7}"/>
                    </a:ext>
                  </a:extLst>
                </p:cNvPr>
                <p:cNvSpPr/>
                <p:nvPr/>
              </p:nvSpPr>
              <p:spPr>
                <a:xfrm>
                  <a:off x="417017" y="1996097"/>
                  <a:ext cx="43180" cy="101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179" h="10160">
                      <a:moveTo>
                        <a:pt x="2578" y="5435"/>
                      </a:moveTo>
                      <a:lnTo>
                        <a:pt x="1409" y="5092"/>
                      </a:lnTo>
                      <a:lnTo>
                        <a:pt x="0" y="5562"/>
                      </a:lnTo>
                      <a:lnTo>
                        <a:pt x="63" y="6578"/>
                      </a:lnTo>
                      <a:lnTo>
                        <a:pt x="279" y="10020"/>
                      </a:lnTo>
                      <a:lnTo>
                        <a:pt x="2286" y="6108"/>
                      </a:lnTo>
                      <a:lnTo>
                        <a:pt x="2578" y="5435"/>
                      </a:lnTo>
                      <a:close/>
                    </a:path>
                    <a:path w="43179" h="10160">
                      <a:moveTo>
                        <a:pt x="42570" y="3898"/>
                      </a:moveTo>
                      <a:lnTo>
                        <a:pt x="41605" y="1739"/>
                      </a:lnTo>
                      <a:lnTo>
                        <a:pt x="41465" y="0"/>
                      </a:lnTo>
                      <a:lnTo>
                        <a:pt x="40703" y="825"/>
                      </a:lnTo>
                      <a:lnTo>
                        <a:pt x="39890" y="1638"/>
                      </a:lnTo>
                      <a:lnTo>
                        <a:pt x="40665" y="2628"/>
                      </a:lnTo>
                      <a:lnTo>
                        <a:pt x="40411" y="2463"/>
                      </a:lnTo>
                      <a:lnTo>
                        <a:pt x="39776" y="2324"/>
                      </a:lnTo>
                      <a:lnTo>
                        <a:pt x="39547" y="2209"/>
                      </a:lnTo>
                      <a:lnTo>
                        <a:pt x="39649" y="3149"/>
                      </a:lnTo>
                      <a:lnTo>
                        <a:pt x="39166" y="3937"/>
                      </a:lnTo>
                      <a:lnTo>
                        <a:pt x="40500" y="3924"/>
                      </a:lnTo>
                      <a:lnTo>
                        <a:pt x="42570" y="3898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93" name="object 33">
                  <a:extLst>
                    <a:ext uri="{FF2B5EF4-FFF2-40B4-BE49-F238E27FC236}">
                      <a16:creationId xmlns:a16="http://schemas.microsoft.com/office/drawing/2014/main" id="{1C3D4FFC-01FD-498E-B57C-4236479BAB8C}"/>
                    </a:ext>
                  </a:extLst>
                </p:cNvPr>
                <p:cNvSpPr/>
                <p:nvPr/>
              </p:nvSpPr>
              <p:spPr>
                <a:xfrm>
                  <a:off x="1464480" y="2131175"/>
                  <a:ext cx="11430" cy="57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430" h="5714">
                      <a:moveTo>
                        <a:pt x="10960" y="0"/>
                      </a:moveTo>
                      <a:lnTo>
                        <a:pt x="9194" y="126"/>
                      </a:lnTo>
                      <a:lnTo>
                        <a:pt x="0" y="3149"/>
                      </a:lnTo>
                      <a:lnTo>
                        <a:pt x="355" y="5435"/>
                      </a:lnTo>
                      <a:lnTo>
                        <a:pt x="3949" y="3746"/>
                      </a:lnTo>
                      <a:lnTo>
                        <a:pt x="7442" y="1841"/>
                      </a:lnTo>
                      <a:lnTo>
                        <a:pt x="10960" y="0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94" name="object 34">
                  <a:extLst>
                    <a:ext uri="{FF2B5EF4-FFF2-40B4-BE49-F238E27FC236}">
                      <a16:creationId xmlns:a16="http://schemas.microsoft.com/office/drawing/2014/main" id="{2494342B-DDFC-B1B7-981E-0ACDC11399D0}"/>
                    </a:ext>
                  </a:extLst>
                </p:cNvPr>
                <p:cNvSpPr/>
                <p:nvPr/>
              </p:nvSpPr>
              <p:spPr>
                <a:xfrm>
                  <a:off x="369443" y="1995944"/>
                  <a:ext cx="473709" cy="228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73709" h="22860">
                      <a:moveTo>
                        <a:pt x="4724" y="21094"/>
                      </a:moveTo>
                      <a:lnTo>
                        <a:pt x="3898" y="20320"/>
                      </a:lnTo>
                      <a:lnTo>
                        <a:pt x="1651" y="20231"/>
                      </a:lnTo>
                      <a:lnTo>
                        <a:pt x="3327" y="19100"/>
                      </a:lnTo>
                      <a:lnTo>
                        <a:pt x="0" y="18249"/>
                      </a:lnTo>
                      <a:lnTo>
                        <a:pt x="1320" y="20764"/>
                      </a:lnTo>
                      <a:lnTo>
                        <a:pt x="2387" y="22517"/>
                      </a:lnTo>
                      <a:lnTo>
                        <a:pt x="3378" y="21894"/>
                      </a:lnTo>
                      <a:lnTo>
                        <a:pt x="3581" y="21170"/>
                      </a:lnTo>
                      <a:lnTo>
                        <a:pt x="4724" y="21094"/>
                      </a:lnTo>
                      <a:close/>
                    </a:path>
                    <a:path w="473709" h="22860">
                      <a:moveTo>
                        <a:pt x="38404" y="11557"/>
                      </a:moveTo>
                      <a:lnTo>
                        <a:pt x="37985" y="11049"/>
                      </a:lnTo>
                      <a:lnTo>
                        <a:pt x="37515" y="10236"/>
                      </a:lnTo>
                      <a:lnTo>
                        <a:pt x="36741" y="9944"/>
                      </a:lnTo>
                      <a:lnTo>
                        <a:pt x="35191" y="9359"/>
                      </a:lnTo>
                      <a:lnTo>
                        <a:pt x="33947" y="9296"/>
                      </a:lnTo>
                      <a:lnTo>
                        <a:pt x="32740" y="6578"/>
                      </a:lnTo>
                      <a:lnTo>
                        <a:pt x="32296" y="5308"/>
                      </a:lnTo>
                      <a:lnTo>
                        <a:pt x="30492" y="2336"/>
                      </a:lnTo>
                      <a:lnTo>
                        <a:pt x="26263" y="4610"/>
                      </a:lnTo>
                      <a:lnTo>
                        <a:pt x="22085" y="6286"/>
                      </a:lnTo>
                      <a:lnTo>
                        <a:pt x="18770" y="5359"/>
                      </a:lnTo>
                      <a:lnTo>
                        <a:pt x="15443" y="9893"/>
                      </a:lnTo>
                      <a:lnTo>
                        <a:pt x="14363" y="10998"/>
                      </a:lnTo>
                      <a:lnTo>
                        <a:pt x="12026" y="12712"/>
                      </a:lnTo>
                      <a:lnTo>
                        <a:pt x="12928" y="16116"/>
                      </a:lnTo>
                      <a:lnTo>
                        <a:pt x="12788" y="17132"/>
                      </a:lnTo>
                      <a:lnTo>
                        <a:pt x="18338" y="16510"/>
                      </a:lnTo>
                      <a:lnTo>
                        <a:pt x="18846" y="16192"/>
                      </a:lnTo>
                      <a:lnTo>
                        <a:pt x="20408" y="14732"/>
                      </a:lnTo>
                      <a:lnTo>
                        <a:pt x="19951" y="14376"/>
                      </a:lnTo>
                      <a:lnTo>
                        <a:pt x="20777" y="13728"/>
                      </a:lnTo>
                      <a:lnTo>
                        <a:pt x="22491" y="13728"/>
                      </a:lnTo>
                      <a:lnTo>
                        <a:pt x="25298" y="13309"/>
                      </a:lnTo>
                      <a:lnTo>
                        <a:pt x="27559" y="13131"/>
                      </a:lnTo>
                      <a:lnTo>
                        <a:pt x="31254" y="12395"/>
                      </a:lnTo>
                      <a:lnTo>
                        <a:pt x="31889" y="11849"/>
                      </a:lnTo>
                      <a:lnTo>
                        <a:pt x="34912" y="9982"/>
                      </a:lnTo>
                      <a:lnTo>
                        <a:pt x="36614" y="11010"/>
                      </a:lnTo>
                      <a:lnTo>
                        <a:pt x="38404" y="11557"/>
                      </a:lnTo>
                      <a:close/>
                    </a:path>
                    <a:path w="473709" h="22860">
                      <a:moveTo>
                        <a:pt x="473163" y="11518"/>
                      </a:moveTo>
                      <a:lnTo>
                        <a:pt x="471220" y="7645"/>
                      </a:lnTo>
                      <a:lnTo>
                        <a:pt x="469163" y="3835"/>
                      </a:lnTo>
                      <a:lnTo>
                        <a:pt x="467131" y="0"/>
                      </a:lnTo>
                      <a:lnTo>
                        <a:pt x="465404" y="762"/>
                      </a:lnTo>
                      <a:lnTo>
                        <a:pt x="465455" y="2641"/>
                      </a:lnTo>
                      <a:lnTo>
                        <a:pt x="465988" y="4546"/>
                      </a:lnTo>
                      <a:lnTo>
                        <a:pt x="466902" y="6248"/>
                      </a:lnTo>
                      <a:lnTo>
                        <a:pt x="467614" y="6286"/>
                      </a:lnTo>
                      <a:lnTo>
                        <a:pt x="467334" y="6362"/>
                      </a:lnTo>
                      <a:lnTo>
                        <a:pt x="468185" y="6832"/>
                      </a:lnTo>
                      <a:lnTo>
                        <a:pt x="468376" y="8724"/>
                      </a:lnTo>
                      <a:lnTo>
                        <a:pt x="469900" y="8166"/>
                      </a:lnTo>
                      <a:lnTo>
                        <a:pt x="469125" y="8890"/>
                      </a:lnTo>
                      <a:lnTo>
                        <a:pt x="470141" y="9969"/>
                      </a:lnTo>
                      <a:lnTo>
                        <a:pt x="471398" y="10998"/>
                      </a:lnTo>
                      <a:lnTo>
                        <a:pt x="472020" y="11379"/>
                      </a:lnTo>
                      <a:lnTo>
                        <a:pt x="473163" y="11518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95" name="object 35">
                  <a:extLst>
                    <a:ext uri="{FF2B5EF4-FFF2-40B4-BE49-F238E27FC236}">
                      <a16:creationId xmlns:a16="http://schemas.microsoft.com/office/drawing/2014/main" id="{B8C128D4-B94D-4887-CDBF-FD72F4585077}"/>
                    </a:ext>
                  </a:extLst>
                </p:cNvPr>
                <p:cNvSpPr/>
                <p:nvPr/>
              </p:nvSpPr>
              <p:spPr>
                <a:xfrm>
                  <a:off x="1728763" y="2249514"/>
                  <a:ext cx="4445" cy="31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44" h="3175">
                      <a:moveTo>
                        <a:pt x="1346" y="0"/>
                      </a:moveTo>
                      <a:lnTo>
                        <a:pt x="1092" y="888"/>
                      </a:lnTo>
                      <a:lnTo>
                        <a:pt x="0" y="1803"/>
                      </a:lnTo>
                      <a:lnTo>
                        <a:pt x="2070" y="1892"/>
                      </a:lnTo>
                      <a:lnTo>
                        <a:pt x="4406" y="2781"/>
                      </a:lnTo>
                      <a:lnTo>
                        <a:pt x="3098" y="12"/>
                      </a:lnTo>
                      <a:lnTo>
                        <a:pt x="1346" y="0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96" name="object 36">
                  <a:extLst>
                    <a:ext uri="{FF2B5EF4-FFF2-40B4-BE49-F238E27FC236}">
                      <a16:creationId xmlns:a16="http://schemas.microsoft.com/office/drawing/2014/main" id="{63DB01A1-3667-CAAF-866D-0CFADFC3F711}"/>
                    </a:ext>
                  </a:extLst>
                </p:cNvPr>
                <p:cNvSpPr/>
                <p:nvPr/>
              </p:nvSpPr>
              <p:spPr>
                <a:xfrm>
                  <a:off x="854252" y="1284820"/>
                  <a:ext cx="1694814" cy="14897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94814" h="1489710">
                      <a:moveTo>
                        <a:pt x="7708" y="714959"/>
                      </a:moveTo>
                      <a:lnTo>
                        <a:pt x="6070" y="712241"/>
                      </a:lnTo>
                      <a:lnTo>
                        <a:pt x="5715" y="711314"/>
                      </a:lnTo>
                      <a:lnTo>
                        <a:pt x="3149" y="709777"/>
                      </a:lnTo>
                      <a:lnTo>
                        <a:pt x="3429" y="710412"/>
                      </a:lnTo>
                      <a:lnTo>
                        <a:pt x="2794" y="709485"/>
                      </a:lnTo>
                      <a:lnTo>
                        <a:pt x="1651" y="708672"/>
                      </a:lnTo>
                      <a:lnTo>
                        <a:pt x="673" y="707783"/>
                      </a:lnTo>
                      <a:lnTo>
                        <a:pt x="203" y="709663"/>
                      </a:lnTo>
                      <a:lnTo>
                        <a:pt x="0" y="712012"/>
                      </a:lnTo>
                      <a:lnTo>
                        <a:pt x="1816" y="713270"/>
                      </a:lnTo>
                      <a:lnTo>
                        <a:pt x="2349" y="712292"/>
                      </a:lnTo>
                      <a:lnTo>
                        <a:pt x="2438" y="711174"/>
                      </a:lnTo>
                      <a:lnTo>
                        <a:pt x="2997" y="710222"/>
                      </a:lnTo>
                      <a:lnTo>
                        <a:pt x="3136" y="710323"/>
                      </a:lnTo>
                      <a:lnTo>
                        <a:pt x="3492" y="710552"/>
                      </a:lnTo>
                      <a:lnTo>
                        <a:pt x="4445" y="712685"/>
                      </a:lnTo>
                      <a:lnTo>
                        <a:pt x="4800" y="713701"/>
                      </a:lnTo>
                      <a:lnTo>
                        <a:pt x="3670" y="713320"/>
                      </a:lnTo>
                      <a:lnTo>
                        <a:pt x="3327" y="715632"/>
                      </a:lnTo>
                      <a:lnTo>
                        <a:pt x="4292" y="716064"/>
                      </a:lnTo>
                      <a:lnTo>
                        <a:pt x="4419" y="716114"/>
                      </a:lnTo>
                      <a:lnTo>
                        <a:pt x="6705" y="716026"/>
                      </a:lnTo>
                      <a:lnTo>
                        <a:pt x="7708" y="714959"/>
                      </a:lnTo>
                      <a:close/>
                    </a:path>
                    <a:path w="1694814" h="1489710">
                      <a:moveTo>
                        <a:pt x="194538" y="1164513"/>
                      </a:moveTo>
                      <a:lnTo>
                        <a:pt x="192278" y="1164856"/>
                      </a:lnTo>
                      <a:lnTo>
                        <a:pt x="194170" y="1167676"/>
                      </a:lnTo>
                      <a:lnTo>
                        <a:pt x="194221" y="1169022"/>
                      </a:lnTo>
                      <a:lnTo>
                        <a:pt x="194449" y="1167549"/>
                      </a:lnTo>
                      <a:lnTo>
                        <a:pt x="194449" y="1166012"/>
                      </a:lnTo>
                      <a:lnTo>
                        <a:pt x="194538" y="1164513"/>
                      </a:lnTo>
                      <a:close/>
                    </a:path>
                    <a:path w="1694814" h="1489710">
                      <a:moveTo>
                        <a:pt x="236613" y="1181900"/>
                      </a:moveTo>
                      <a:lnTo>
                        <a:pt x="236321" y="1181760"/>
                      </a:lnTo>
                      <a:lnTo>
                        <a:pt x="236588" y="1182001"/>
                      </a:lnTo>
                      <a:close/>
                    </a:path>
                    <a:path w="1694814" h="1489710">
                      <a:moveTo>
                        <a:pt x="238836" y="1181023"/>
                      </a:moveTo>
                      <a:lnTo>
                        <a:pt x="238518" y="1179487"/>
                      </a:lnTo>
                      <a:lnTo>
                        <a:pt x="238417" y="1177213"/>
                      </a:lnTo>
                      <a:lnTo>
                        <a:pt x="238048" y="1177963"/>
                      </a:lnTo>
                      <a:lnTo>
                        <a:pt x="238315" y="1178915"/>
                      </a:lnTo>
                      <a:lnTo>
                        <a:pt x="237858" y="1179944"/>
                      </a:lnTo>
                      <a:lnTo>
                        <a:pt x="237159" y="1180261"/>
                      </a:lnTo>
                      <a:lnTo>
                        <a:pt x="236613" y="1181900"/>
                      </a:lnTo>
                      <a:lnTo>
                        <a:pt x="238086" y="1182585"/>
                      </a:lnTo>
                      <a:lnTo>
                        <a:pt x="238836" y="1181023"/>
                      </a:lnTo>
                      <a:close/>
                    </a:path>
                    <a:path w="1694814" h="1489710">
                      <a:moveTo>
                        <a:pt x="268058" y="1167269"/>
                      </a:moveTo>
                      <a:lnTo>
                        <a:pt x="267995" y="1167028"/>
                      </a:lnTo>
                      <a:lnTo>
                        <a:pt x="267500" y="1163154"/>
                      </a:lnTo>
                      <a:lnTo>
                        <a:pt x="266865" y="1162405"/>
                      </a:lnTo>
                      <a:lnTo>
                        <a:pt x="265201" y="1163231"/>
                      </a:lnTo>
                      <a:lnTo>
                        <a:pt x="264388" y="1162138"/>
                      </a:lnTo>
                      <a:lnTo>
                        <a:pt x="264820" y="1161288"/>
                      </a:lnTo>
                      <a:lnTo>
                        <a:pt x="264680" y="1160881"/>
                      </a:lnTo>
                      <a:lnTo>
                        <a:pt x="264477" y="1160322"/>
                      </a:lnTo>
                      <a:lnTo>
                        <a:pt x="264198" y="1160233"/>
                      </a:lnTo>
                      <a:lnTo>
                        <a:pt x="263144" y="1159014"/>
                      </a:lnTo>
                      <a:lnTo>
                        <a:pt x="262458" y="1158786"/>
                      </a:lnTo>
                      <a:lnTo>
                        <a:pt x="261759" y="1158392"/>
                      </a:lnTo>
                      <a:lnTo>
                        <a:pt x="260718" y="1162532"/>
                      </a:lnTo>
                      <a:lnTo>
                        <a:pt x="265391" y="1165034"/>
                      </a:lnTo>
                      <a:lnTo>
                        <a:pt x="268058" y="1167269"/>
                      </a:lnTo>
                      <a:close/>
                    </a:path>
                    <a:path w="1694814" h="1489710">
                      <a:moveTo>
                        <a:pt x="281698" y="1168425"/>
                      </a:moveTo>
                      <a:lnTo>
                        <a:pt x="281216" y="1165618"/>
                      </a:lnTo>
                      <a:lnTo>
                        <a:pt x="280581" y="1165059"/>
                      </a:lnTo>
                      <a:lnTo>
                        <a:pt x="280657" y="1163688"/>
                      </a:lnTo>
                      <a:lnTo>
                        <a:pt x="279488" y="1163815"/>
                      </a:lnTo>
                      <a:lnTo>
                        <a:pt x="278053" y="1164437"/>
                      </a:lnTo>
                      <a:lnTo>
                        <a:pt x="277520" y="1165339"/>
                      </a:lnTo>
                      <a:lnTo>
                        <a:pt x="276796" y="1166545"/>
                      </a:lnTo>
                      <a:lnTo>
                        <a:pt x="277812" y="1168425"/>
                      </a:lnTo>
                      <a:lnTo>
                        <a:pt x="276402" y="1169225"/>
                      </a:lnTo>
                      <a:lnTo>
                        <a:pt x="277520" y="1170114"/>
                      </a:lnTo>
                      <a:lnTo>
                        <a:pt x="278879" y="1170673"/>
                      </a:lnTo>
                      <a:lnTo>
                        <a:pt x="280136" y="1171333"/>
                      </a:lnTo>
                      <a:lnTo>
                        <a:pt x="280733" y="1169962"/>
                      </a:lnTo>
                      <a:lnTo>
                        <a:pt x="281698" y="1168425"/>
                      </a:lnTo>
                      <a:close/>
                    </a:path>
                    <a:path w="1694814" h="1489710">
                      <a:moveTo>
                        <a:pt x="362483" y="1281493"/>
                      </a:moveTo>
                      <a:lnTo>
                        <a:pt x="361899" y="1280718"/>
                      </a:lnTo>
                      <a:lnTo>
                        <a:pt x="361276" y="1279956"/>
                      </a:lnTo>
                      <a:lnTo>
                        <a:pt x="360667" y="1279182"/>
                      </a:lnTo>
                      <a:lnTo>
                        <a:pt x="360984" y="1280147"/>
                      </a:lnTo>
                      <a:lnTo>
                        <a:pt x="361607" y="1280998"/>
                      </a:lnTo>
                      <a:lnTo>
                        <a:pt x="362483" y="1281493"/>
                      </a:lnTo>
                      <a:close/>
                    </a:path>
                    <a:path w="1694814" h="1489710">
                      <a:moveTo>
                        <a:pt x="575856" y="1323416"/>
                      </a:moveTo>
                      <a:lnTo>
                        <a:pt x="575678" y="1323492"/>
                      </a:lnTo>
                      <a:lnTo>
                        <a:pt x="575487" y="1323568"/>
                      </a:lnTo>
                      <a:lnTo>
                        <a:pt x="575310" y="1323644"/>
                      </a:lnTo>
                      <a:lnTo>
                        <a:pt x="575157" y="1323721"/>
                      </a:lnTo>
                      <a:lnTo>
                        <a:pt x="575005" y="1323784"/>
                      </a:lnTo>
                      <a:lnTo>
                        <a:pt x="574865" y="1323848"/>
                      </a:lnTo>
                      <a:lnTo>
                        <a:pt x="575183" y="1324216"/>
                      </a:lnTo>
                      <a:lnTo>
                        <a:pt x="575360" y="1324102"/>
                      </a:lnTo>
                      <a:lnTo>
                        <a:pt x="575551" y="1323835"/>
                      </a:lnTo>
                      <a:lnTo>
                        <a:pt x="575716" y="1323606"/>
                      </a:lnTo>
                      <a:lnTo>
                        <a:pt x="575830" y="1323467"/>
                      </a:lnTo>
                      <a:close/>
                    </a:path>
                    <a:path w="1694814" h="1489710">
                      <a:moveTo>
                        <a:pt x="653300" y="1357426"/>
                      </a:moveTo>
                      <a:lnTo>
                        <a:pt x="651535" y="1357261"/>
                      </a:lnTo>
                      <a:lnTo>
                        <a:pt x="648995" y="1358468"/>
                      </a:lnTo>
                      <a:lnTo>
                        <a:pt x="647573" y="1359573"/>
                      </a:lnTo>
                      <a:lnTo>
                        <a:pt x="649478" y="1358849"/>
                      </a:lnTo>
                      <a:lnTo>
                        <a:pt x="651370" y="1358099"/>
                      </a:lnTo>
                      <a:lnTo>
                        <a:pt x="653300" y="1357426"/>
                      </a:lnTo>
                      <a:close/>
                    </a:path>
                    <a:path w="1694814" h="1489710">
                      <a:moveTo>
                        <a:pt x="712673" y="1461211"/>
                      </a:moveTo>
                      <a:lnTo>
                        <a:pt x="712152" y="1460868"/>
                      </a:lnTo>
                      <a:lnTo>
                        <a:pt x="711619" y="1460550"/>
                      </a:lnTo>
                      <a:lnTo>
                        <a:pt x="711060" y="1460284"/>
                      </a:lnTo>
                      <a:lnTo>
                        <a:pt x="711200" y="1461541"/>
                      </a:lnTo>
                      <a:lnTo>
                        <a:pt x="711771" y="1462278"/>
                      </a:lnTo>
                      <a:lnTo>
                        <a:pt x="712673" y="1461211"/>
                      </a:lnTo>
                      <a:close/>
                    </a:path>
                    <a:path w="1694814" h="1489710">
                      <a:moveTo>
                        <a:pt x="719556" y="1489456"/>
                      </a:moveTo>
                      <a:lnTo>
                        <a:pt x="719086" y="1487881"/>
                      </a:lnTo>
                      <a:lnTo>
                        <a:pt x="718235" y="1486420"/>
                      </a:lnTo>
                      <a:lnTo>
                        <a:pt x="717550" y="1484934"/>
                      </a:lnTo>
                      <a:lnTo>
                        <a:pt x="716343" y="1485366"/>
                      </a:lnTo>
                      <a:lnTo>
                        <a:pt x="716229" y="1486420"/>
                      </a:lnTo>
                      <a:lnTo>
                        <a:pt x="715492" y="1486712"/>
                      </a:lnTo>
                      <a:lnTo>
                        <a:pt x="715848" y="1488414"/>
                      </a:lnTo>
                      <a:lnTo>
                        <a:pt x="717892" y="1489659"/>
                      </a:lnTo>
                      <a:lnTo>
                        <a:pt x="719556" y="1489456"/>
                      </a:lnTo>
                      <a:close/>
                    </a:path>
                    <a:path w="1694814" h="1489710">
                      <a:moveTo>
                        <a:pt x="726668" y="1486344"/>
                      </a:moveTo>
                      <a:lnTo>
                        <a:pt x="726274" y="1486141"/>
                      </a:lnTo>
                      <a:lnTo>
                        <a:pt x="726300" y="1486408"/>
                      </a:lnTo>
                      <a:lnTo>
                        <a:pt x="726033" y="1486611"/>
                      </a:lnTo>
                      <a:lnTo>
                        <a:pt x="726249" y="1486522"/>
                      </a:lnTo>
                      <a:lnTo>
                        <a:pt x="726452" y="1486433"/>
                      </a:lnTo>
                      <a:lnTo>
                        <a:pt x="726668" y="1486344"/>
                      </a:lnTo>
                      <a:close/>
                    </a:path>
                    <a:path w="1694814" h="1489710">
                      <a:moveTo>
                        <a:pt x="727595" y="1485988"/>
                      </a:moveTo>
                      <a:lnTo>
                        <a:pt x="727278" y="1486103"/>
                      </a:lnTo>
                      <a:lnTo>
                        <a:pt x="726986" y="1486242"/>
                      </a:lnTo>
                      <a:lnTo>
                        <a:pt x="726668" y="1486357"/>
                      </a:lnTo>
                      <a:lnTo>
                        <a:pt x="727087" y="1486306"/>
                      </a:lnTo>
                      <a:lnTo>
                        <a:pt x="727341" y="1486585"/>
                      </a:lnTo>
                      <a:lnTo>
                        <a:pt x="727595" y="1485988"/>
                      </a:lnTo>
                      <a:close/>
                    </a:path>
                    <a:path w="1694814" h="1489710">
                      <a:moveTo>
                        <a:pt x="758583" y="1473161"/>
                      </a:moveTo>
                      <a:lnTo>
                        <a:pt x="756437" y="1473695"/>
                      </a:lnTo>
                      <a:lnTo>
                        <a:pt x="757567" y="1475689"/>
                      </a:lnTo>
                      <a:lnTo>
                        <a:pt x="758228" y="1476641"/>
                      </a:lnTo>
                      <a:lnTo>
                        <a:pt x="758444" y="1475498"/>
                      </a:lnTo>
                      <a:lnTo>
                        <a:pt x="758482" y="1474317"/>
                      </a:lnTo>
                      <a:lnTo>
                        <a:pt x="758583" y="1473161"/>
                      </a:lnTo>
                      <a:close/>
                    </a:path>
                    <a:path w="1694814" h="1489710">
                      <a:moveTo>
                        <a:pt x="866076" y="174828"/>
                      </a:moveTo>
                      <a:lnTo>
                        <a:pt x="862037" y="173431"/>
                      </a:lnTo>
                      <a:lnTo>
                        <a:pt x="857796" y="172783"/>
                      </a:lnTo>
                      <a:lnTo>
                        <a:pt x="853579" y="171932"/>
                      </a:lnTo>
                      <a:lnTo>
                        <a:pt x="852017" y="171780"/>
                      </a:lnTo>
                      <a:lnTo>
                        <a:pt x="850430" y="172554"/>
                      </a:lnTo>
                      <a:lnTo>
                        <a:pt x="848956" y="173024"/>
                      </a:lnTo>
                      <a:lnTo>
                        <a:pt x="850823" y="174879"/>
                      </a:lnTo>
                      <a:lnTo>
                        <a:pt x="853389" y="174383"/>
                      </a:lnTo>
                      <a:lnTo>
                        <a:pt x="855472" y="175374"/>
                      </a:lnTo>
                      <a:lnTo>
                        <a:pt x="855395" y="176047"/>
                      </a:lnTo>
                      <a:lnTo>
                        <a:pt x="856234" y="176377"/>
                      </a:lnTo>
                      <a:lnTo>
                        <a:pt x="856830" y="176618"/>
                      </a:lnTo>
                      <a:lnTo>
                        <a:pt x="857529" y="176441"/>
                      </a:lnTo>
                      <a:lnTo>
                        <a:pt x="861072" y="176428"/>
                      </a:lnTo>
                      <a:lnTo>
                        <a:pt x="863434" y="175501"/>
                      </a:lnTo>
                      <a:lnTo>
                        <a:pt x="866076" y="174828"/>
                      </a:lnTo>
                      <a:close/>
                    </a:path>
                    <a:path w="1694814" h="1489710">
                      <a:moveTo>
                        <a:pt x="884770" y="173596"/>
                      </a:moveTo>
                      <a:lnTo>
                        <a:pt x="867854" y="171869"/>
                      </a:lnTo>
                      <a:lnTo>
                        <a:pt x="868972" y="173507"/>
                      </a:lnTo>
                      <a:lnTo>
                        <a:pt x="869289" y="174383"/>
                      </a:lnTo>
                      <a:lnTo>
                        <a:pt x="871296" y="174472"/>
                      </a:lnTo>
                      <a:lnTo>
                        <a:pt x="872693" y="174536"/>
                      </a:lnTo>
                      <a:lnTo>
                        <a:pt x="874204" y="174256"/>
                      </a:lnTo>
                      <a:lnTo>
                        <a:pt x="878433" y="174167"/>
                      </a:lnTo>
                      <a:lnTo>
                        <a:pt x="882116" y="174523"/>
                      </a:lnTo>
                      <a:lnTo>
                        <a:pt x="884770" y="173596"/>
                      </a:lnTo>
                      <a:close/>
                    </a:path>
                    <a:path w="1694814" h="1489710">
                      <a:moveTo>
                        <a:pt x="899071" y="1417548"/>
                      </a:moveTo>
                      <a:lnTo>
                        <a:pt x="898906" y="1416875"/>
                      </a:lnTo>
                      <a:lnTo>
                        <a:pt x="898372" y="1416456"/>
                      </a:lnTo>
                      <a:lnTo>
                        <a:pt x="897699" y="1416265"/>
                      </a:lnTo>
                      <a:lnTo>
                        <a:pt x="898144" y="1416710"/>
                      </a:lnTo>
                      <a:lnTo>
                        <a:pt x="898601" y="1417142"/>
                      </a:lnTo>
                      <a:lnTo>
                        <a:pt x="899071" y="1417561"/>
                      </a:lnTo>
                      <a:close/>
                    </a:path>
                    <a:path w="1694814" h="1489710">
                      <a:moveTo>
                        <a:pt x="901014" y="1419199"/>
                      </a:moveTo>
                      <a:lnTo>
                        <a:pt x="900366" y="1418653"/>
                      </a:lnTo>
                      <a:lnTo>
                        <a:pt x="899718" y="1418094"/>
                      </a:lnTo>
                      <a:lnTo>
                        <a:pt x="899083" y="1417561"/>
                      </a:lnTo>
                      <a:lnTo>
                        <a:pt x="899312" y="1418475"/>
                      </a:lnTo>
                      <a:lnTo>
                        <a:pt x="900099" y="1419021"/>
                      </a:lnTo>
                      <a:lnTo>
                        <a:pt x="901014" y="1419199"/>
                      </a:lnTo>
                      <a:close/>
                    </a:path>
                    <a:path w="1694814" h="1489710">
                      <a:moveTo>
                        <a:pt x="903503" y="1421333"/>
                      </a:moveTo>
                      <a:lnTo>
                        <a:pt x="902627" y="1420393"/>
                      </a:lnTo>
                      <a:lnTo>
                        <a:pt x="902525" y="1419072"/>
                      </a:lnTo>
                      <a:lnTo>
                        <a:pt x="901014" y="1419199"/>
                      </a:lnTo>
                      <a:lnTo>
                        <a:pt x="901852" y="1419910"/>
                      </a:lnTo>
                      <a:lnTo>
                        <a:pt x="903503" y="1421333"/>
                      </a:lnTo>
                      <a:close/>
                    </a:path>
                    <a:path w="1694814" h="1489710">
                      <a:moveTo>
                        <a:pt x="912342" y="1418818"/>
                      </a:moveTo>
                      <a:lnTo>
                        <a:pt x="910590" y="1418742"/>
                      </a:lnTo>
                      <a:lnTo>
                        <a:pt x="908710" y="1417459"/>
                      </a:lnTo>
                      <a:lnTo>
                        <a:pt x="909078" y="1418920"/>
                      </a:lnTo>
                      <a:lnTo>
                        <a:pt x="909942" y="1420266"/>
                      </a:lnTo>
                      <a:lnTo>
                        <a:pt x="910602" y="1421612"/>
                      </a:lnTo>
                      <a:lnTo>
                        <a:pt x="912342" y="1418818"/>
                      </a:lnTo>
                      <a:close/>
                    </a:path>
                    <a:path w="1694814" h="1489710">
                      <a:moveTo>
                        <a:pt x="1015580" y="1439075"/>
                      </a:moveTo>
                      <a:lnTo>
                        <a:pt x="1014450" y="1438706"/>
                      </a:lnTo>
                      <a:lnTo>
                        <a:pt x="1013167" y="1439138"/>
                      </a:lnTo>
                      <a:lnTo>
                        <a:pt x="1012012" y="1439303"/>
                      </a:lnTo>
                      <a:lnTo>
                        <a:pt x="1009637" y="1439341"/>
                      </a:lnTo>
                      <a:lnTo>
                        <a:pt x="1007313" y="1439862"/>
                      </a:lnTo>
                      <a:lnTo>
                        <a:pt x="1005052" y="1440599"/>
                      </a:lnTo>
                      <a:lnTo>
                        <a:pt x="1007300" y="1441450"/>
                      </a:lnTo>
                      <a:lnTo>
                        <a:pt x="1007452" y="1441869"/>
                      </a:lnTo>
                      <a:lnTo>
                        <a:pt x="1007770" y="1444955"/>
                      </a:lnTo>
                      <a:lnTo>
                        <a:pt x="1008100" y="1446568"/>
                      </a:lnTo>
                      <a:lnTo>
                        <a:pt x="1006944" y="1447812"/>
                      </a:lnTo>
                      <a:lnTo>
                        <a:pt x="1005687" y="1447609"/>
                      </a:lnTo>
                      <a:lnTo>
                        <a:pt x="1004125" y="1448689"/>
                      </a:lnTo>
                      <a:lnTo>
                        <a:pt x="1002385" y="1449628"/>
                      </a:lnTo>
                      <a:lnTo>
                        <a:pt x="1001217" y="1449920"/>
                      </a:lnTo>
                      <a:lnTo>
                        <a:pt x="1003071" y="1450174"/>
                      </a:lnTo>
                      <a:lnTo>
                        <a:pt x="1005090" y="1449806"/>
                      </a:lnTo>
                      <a:lnTo>
                        <a:pt x="1008837" y="1450060"/>
                      </a:lnTo>
                      <a:lnTo>
                        <a:pt x="1011059" y="1450136"/>
                      </a:lnTo>
                      <a:lnTo>
                        <a:pt x="1015326" y="1448422"/>
                      </a:lnTo>
                      <a:lnTo>
                        <a:pt x="1014145" y="1445780"/>
                      </a:lnTo>
                      <a:lnTo>
                        <a:pt x="1013536" y="1442097"/>
                      </a:lnTo>
                      <a:lnTo>
                        <a:pt x="1014730" y="1440548"/>
                      </a:lnTo>
                      <a:lnTo>
                        <a:pt x="1015580" y="1439075"/>
                      </a:lnTo>
                      <a:close/>
                    </a:path>
                    <a:path w="1694814" h="1489710">
                      <a:moveTo>
                        <a:pt x="1105077" y="370001"/>
                      </a:moveTo>
                      <a:lnTo>
                        <a:pt x="1103947" y="368757"/>
                      </a:lnTo>
                      <a:lnTo>
                        <a:pt x="1102131" y="368071"/>
                      </a:lnTo>
                      <a:lnTo>
                        <a:pt x="1100696" y="367233"/>
                      </a:lnTo>
                      <a:lnTo>
                        <a:pt x="1101280" y="370713"/>
                      </a:lnTo>
                      <a:lnTo>
                        <a:pt x="1102144" y="370014"/>
                      </a:lnTo>
                      <a:lnTo>
                        <a:pt x="1105077" y="370001"/>
                      </a:lnTo>
                      <a:close/>
                    </a:path>
                    <a:path w="1694814" h="1489710">
                      <a:moveTo>
                        <a:pt x="1124978" y="351332"/>
                      </a:moveTo>
                      <a:lnTo>
                        <a:pt x="1121867" y="347840"/>
                      </a:lnTo>
                      <a:lnTo>
                        <a:pt x="1120559" y="345846"/>
                      </a:lnTo>
                      <a:lnTo>
                        <a:pt x="1119035" y="345909"/>
                      </a:lnTo>
                      <a:lnTo>
                        <a:pt x="1117371" y="347586"/>
                      </a:lnTo>
                      <a:lnTo>
                        <a:pt x="1116266" y="348564"/>
                      </a:lnTo>
                      <a:lnTo>
                        <a:pt x="1114259" y="350342"/>
                      </a:lnTo>
                      <a:lnTo>
                        <a:pt x="1115199" y="351129"/>
                      </a:lnTo>
                      <a:lnTo>
                        <a:pt x="1118628" y="352920"/>
                      </a:lnTo>
                      <a:lnTo>
                        <a:pt x="1120190" y="353466"/>
                      </a:lnTo>
                      <a:lnTo>
                        <a:pt x="1124978" y="351332"/>
                      </a:lnTo>
                      <a:close/>
                    </a:path>
                    <a:path w="1694814" h="1489710">
                      <a:moveTo>
                        <a:pt x="1133741" y="349275"/>
                      </a:moveTo>
                      <a:lnTo>
                        <a:pt x="1133500" y="349313"/>
                      </a:lnTo>
                      <a:lnTo>
                        <a:pt x="1133741" y="349275"/>
                      </a:lnTo>
                      <a:close/>
                    </a:path>
                    <a:path w="1694814" h="1489710">
                      <a:moveTo>
                        <a:pt x="1138364" y="346405"/>
                      </a:moveTo>
                      <a:lnTo>
                        <a:pt x="1134529" y="345541"/>
                      </a:lnTo>
                      <a:lnTo>
                        <a:pt x="1130592" y="345236"/>
                      </a:lnTo>
                      <a:lnTo>
                        <a:pt x="1126705" y="344741"/>
                      </a:lnTo>
                      <a:lnTo>
                        <a:pt x="1127023" y="348284"/>
                      </a:lnTo>
                      <a:lnTo>
                        <a:pt x="1128001" y="350062"/>
                      </a:lnTo>
                      <a:lnTo>
                        <a:pt x="1133500" y="349313"/>
                      </a:lnTo>
                      <a:lnTo>
                        <a:pt x="1135278" y="346735"/>
                      </a:lnTo>
                      <a:lnTo>
                        <a:pt x="1137323" y="346976"/>
                      </a:lnTo>
                      <a:lnTo>
                        <a:pt x="1137754" y="346735"/>
                      </a:lnTo>
                      <a:lnTo>
                        <a:pt x="1138364" y="346405"/>
                      </a:lnTo>
                      <a:close/>
                    </a:path>
                    <a:path w="1694814" h="1489710">
                      <a:moveTo>
                        <a:pt x="1146111" y="388404"/>
                      </a:moveTo>
                      <a:lnTo>
                        <a:pt x="1142873" y="389128"/>
                      </a:lnTo>
                      <a:lnTo>
                        <a:pt x="1144028" y="386041"/>
                      </a:lnTo>
                      <a:lnTo>
                        <a:pt x="1144346" y="385787"/>
                      </a:lnTo>
                      <a:lnTo>
                        <a:pt x="1143457" y="384860"/>
                      </a:lnTo>
                      <a:lnTo>
                        <a:pt x="1141730" y="383057"/>
                      </a:lnTo>
                      <a:lnTo>
                        <a:pt x="1136599" y="383222"/>
                      </a:lnTo>
                      <a:lnTo>
                        <a:pt x="1131887" y="380974"/>
                      </a:lnTo>
                      <a:lnTo>
                        <a:pt x="1130579" y="379006"/>
                      </a:lnTo>
                      <a:lnTo>
                        <a:pt x="1124953" y="373151"/>
                      </a:lnTo>
                      <a:lnTo>
                        <a:pt x="1109726" y="371640"/>
                      </a:lnTo>
                      <a:lnTo>
                        <a:pt x="1103363" y="371805"/>
                      </a:lnTo>
                      <a:lnTo>
                        <a:pt x="1102525" y="377444"/>
                      </a:lnTo>
                      <a:lnTo>
                        <a:pt x="1104506" y="379463"/>
                      </a:lnTo>
                      <a:lnTo>
                        <a:pt x="1108062" y="380669"/>
                      </a:lnTo>
                      <a:lnTo>
                        <a:pt x="1110056" y="380619"/>
                      </a:lnTo>
                      <a:lnTo>
                        <a:pt x="1111250" y="381622"/>
                      </a:lnTo>
                      <a:lnTo>
                        <a:pt x="1109687" y="381723"/>
                      </a:lnTo>
                      <a:lnTo>
                        <a:pt x="1101877" y="378764"/>
                      </a:lnTo>
                      <a:lnTo>
                        <a:pt x="1103591" y="384683"/>
                      </a:lnTo>
                      <a:lnTo>
                        <a:pt x="1107122" y="386359"/>
                      </a:lnTo>
                      <a:lnTo>
                        <a:pt x="1108887" y="387692"/>
                      </a:lnTo>
                      <a:lnTo>
                        <a:pt x="1107770" y="387515"/>
                      </a:lnTo>
                      <a:lnTo>
                        <a:pt x="1098283" y="385191"/>
                      </a:lnTo>
                      <a:lnTo>
                        <a:pt x="1101890" y="388569"/>
                      </a:lnTo>
                      <a:lnTo>
                        <a:pt x="1111935" y="390994"/>
                      </a:lnTo>
                      <a:lnTo>
                        <a:pt x="1114120" y="390893"/>
                      </a:lnTo>
                      <a:lnTo>
                        <a:pt x="1115542" y="391477"/>
                      </a:lnTo>
                      <a:lnTo>
                        <a:pt x="1113307" y="392696"/>
                      </a:lnTo>
                      <a:lnTo>
                        <a:pt x="1116330" y="392645"/>
                      </a:lnTo>
                      <a:lnTo>
                        <a:pt x="1117142" y="392899"/>
                      </a:lnTo>
                      <a:lnTo>
                        <a:pt x="1116672" y="393217"/>
                      </a:lnTo>
                      <a:lnTo>
                        <a:pt x="1118679" y="394169"/>
                      </a:lnTo>
                      <a:lnTo>
                        <a:pt x="1121346" y="393153"/>
                      </a:lnTo>
                      <a:lnTo>
                        <a:pt x="1123480" y="393776"/>
                      </a:lnTo>
                      <a:lnTo>
                        <a:pt x="1121283" y="394601"/>
                      </a:lnTo>
                      <a:lnTo>
                        <a:pt x="1117612" y="394411"/>
                      </a:lnTo>
                      <a:lnTo>
                        <a:pt x="1108684" y="394652"/>
                      </a:lnTo>
                      <a:lnTo>
                        <a:pt x="1113167" y="396849"/>
                      </a:lnTo>
                      <a:lnTo>
                        <a:pt x="1113942" y="396722"/>
                      </a:lnTo>
                      <a:lnTo>
                        <a:pt x="1115618" y="397154"/>
                      </a:lnTo>
                      <a:lnTo>
                        <a:pt x="1115898" y="397560"/>
                      </a:lnTo>
                      <a:lnTo>
                        <a:pt x="1118565" y="398995"/>
                      </a:lnTo>
                      <a:lnTo>
                        <a:pt x="1120940" y="398983"/>
                      </a:lnTo>
                      <a:lnTo>
                        <a:pt x="1133817" y="395617"/>
                      </a:lnTo>
                      <a:lnTo>
                        <a:pt x="1141260" y="392899"/>
                      </a:lnTo>
                      <a:lnTo>
                        <a:pt x="1143076" y="391706"/>
                      </a:lnTo>
                      <a:lnTo>
                        <a:pt x="1146111" y="388404"/>
                      </a:lnTo>
                      <a:close/>
                    </a:path>
                    <a:path w="1694814" h="1489710">
                      <a:moveTo>
                        <a:pt x="1154798" y="24638"/>
                      </a:moveTo>
                      <a:lnTo>
                        <a:pt x="1152639" y="22910"/>
                      </a:lnTo>
                      <a:lnTo>
                        <a:pt x="1149870" y="21996"/>
                      </a:lnTo>
                      <a:lnTo>
                        <a:pt x="1144206" y="18961"/>
                      </a:lnTo>
                      <a:lnTo>
                        <a:pt x="1140866" y="19215"/>
                      </a:lnTo>
                      <a:lnTo>
                        <a:pt x="1134186" y="16649"/>
                      </a:lnTo>
                      <a:lnTo>
                        <a:pt x="1131125" y="13423"/>
                      </a:lnTo>
                      <a:lnTo>
                        <a:pt x="1126223" y="13385"/>
                      </a:lnTo>
                      <a:lnTo>
                        <a:pt x="1124508" y="15735"/>
                      </a:lnTo>
                      <a:lnTo>
                        <a:pt x="1123594" y="17665"/>
                      </a:lnTo>
                      <a:lnTo>
                        <a:pt x="1124610" y="18008"/>
                      </a:lnTo>
                      <a:lnTo>
                        <a:pt x="1124966" y="18605"/>
                      </a:lnTo>
                      <a:lnTo>
                        <a:pt x="1127175" y="22301"/>
                      </a:lnTo>
                      <a:lnTo>
                        <a:pt x="1132052" y="21666"/>
                      </a:lnTo>
                      <a:lnTo>
                        <a:pt x="1136065" y="22809"/>
                      </a:lnTo>
                      <a:lnTo>
                        <a:pt x="1154798" y="24638"/>
                      </a:lnTo>
                      <a:close/>
                    </a:path>
                    <a:path w="1694814" h="1489710">
                      <a:moveTo>
                        <a:pt x="1162177" y="383501"/>
                      </a:moveTo>
                      <a:lnTo>
                        <a:pt x="1160970" y="382701"/>
                      </a:lnTo>
                      <a:lnTo>
                        <a:pt x="1160665" y="382498"/>
                      </a:lnTo>
                      <a:lnTo>
                        <a:pt x="1160526" y="382447"/>
                      </a:lnTo>
                      <a:lnTo>
                        <a:pt x="1160208" y="382333"/>
                      </a:lnTo>
                      <a:lnTo>
                        <a:pt x="1157630" y="382447"/>
                      </a:lnTo>
                      <a:lnTo>
                        <a:pt x="1156220" y="381139"/>
                      </a:lnTo>
                      <a:lnTo>
                        <a:pt x="1154417" y="381863"/>
                      </a:lnTo>
                      <a:lnTo>
                        <a:pt x="1154811" y="382308"/>
                      </a:lnTo>
                      <a:lnTo>
                        <a:pt x="1154087" y="382625"/>
                      </a:lnTo>
                      <a:lnTo>
                        <a:pt x="1153325" y="382917"/>
                      </a:lnTo>
                      <a:lnTo>
                        <a:pt x="1152728" y="383413"/>
                      </a:lnTo>
                      <a:lnTo>
                        <a:pt x="1154633" y="384251"/>
                      </a:lnTo>
                      <a:lnTo>
                        <a:pt x="1155446" y="382854"/>
                      </a:lnTo>
                      <a:lnTo>
                        <a:pt x="1157363" y="382701"/>
                      </a:lnTo>
                      <a:lnTo>
                        <a:pt x="1155103" y="384822"/>
                      </a:lnTo>
                      <a:lnTo>
                        <a:pt x="1153922" y="384911"/>
                      </a:lnTo>
                      <a:lnTo>
                        <a:pt x="1152867" y="388099"/>
                      </a:lnTo>
                      <a:lnTo>
                        <a:pt x="1153896" y="389496"/>
                      </a:lnTo>
                      <a:lnTo>
                        <a:pt x="1155611" y="393319"/>
                      </a:lnTo>
                      <a:lnTo>
                        <a:pt x="1158494" y="390423"/>
                      </a:lnTo>
                      <a:lnTo>
                        <a:pt x="1158189" y="389674"/>
                      </a:lnTo>
                      <a:lnTo>
                        <a:pt x="1157998" y="386956"/>
                      </a:lnTo>
                      <a:lnTo>
                        <a:pt x="1161173" y="385635"/>
                      </a:lnTo>
                      <a:lnTo>
                        <a:pt x="1162177" y="383501"/>
                      </a:lnTo>
                      <a:close/>
                    </a:path>
                    <a:path w="1694814" h="1489710">
                      <a:moveTo>
                        <a:pt x="1162405" y="383019"/>
                      </a:moveTo>
                      <a:lnTo>
                        <a:pt x="1162177" y="383501"/>
                      </a:lnTo>
                      <a:lnTo>
                        <a:pt x="1162405" y="383654"/>
                      </a:lnTo>
                      <a:lnTo>
                        <a:pt x="1162405" y="383019"/>
                      </a:lnTo>
                      <a:close/>
                    </a:path>
                    <a:path w="1694814" h="1489710">
                      <a:moveTo>
                        <a:pt x="1226159" y="593852"/>
                      </a:moveTo>
                      <a:lnTo>
                        <a:pt x="1225778" y="593598"/>
                      </a:lnTo>
                      <a:lnTo>
                        <a:pt x="1225410" y="593242"/>
                      </a:lnTo>
                      <a:lnTo>
                        <a:pt x="1225003" y="593077"/>
                      </a:lnTo>
                      <a:lnTo>
                        <a:pt x="1224368" y="593013"/>
                      </a:lnTo>
                      <a:lnTo>
                        <a:pt x="1223683" y="593242"/>
                      </a:lnTo>
                      <a:lnTo>
                        <a:pt x="1223175" y="593483"/>
                      </a:lnTo>
                      <a:lnTo>
                        <a:pt x="1220978" y="594017"/>
                      </a:lnTo>
                      <a:lnTo>
                        <a:pt x="1218349" y="595553"/>
                      </a:lnTo>
                      <a:lnTo>
                        <a:pt x="1217142" y="596328"/>
                      </a:lnTo>
                      <a:lnTo>
                        <a:pt x="1217917" y="596201"/>
                      </a:lnTo>
                      <a:lnTo>
                        <a:pt x="1219428" y="595858"/>
                      </a:lnTo>
                      <a:lnTo>
                        <a:pt x="1221689" y="595287"/>
                      </a:lnTo>
                      <a:lnTo>
                        <a:pt x="1223924" y="594499"/>
                      </a:lnTo>
                      <a:lnTo>
                        <a:pt x="1226159" y="593852"/>
                      </a:lnTo>
                      <a:close/>
                    </a:path>
                    <a:path w="1694814" h="1489710">
                      <a:moveTo>
                        <a:pt x="1252131" y="10553"/>
                      </a:moveTo>
                      <a:lnTo>
                        <a:pt x="1248003" y="9271"/>
                      </a:lnTo>
                      <a:lnTo>
                        <a:pt x="1245946" y="8191"/>
                      </a:lnTo>
                      <a:lnTo>
                        <a:pt x="1244981" y="7073"/>
                      </a:lnTo>
                      <a:lnTo>
                        <a:pt x="1239812" y="5397"/>
                      </a:lnTo>
                      <a:lnTo>
                        <a:pt x="1236129" y="4368"/>
                      </a:lnTo>
                      <a:lnTo>
                        <a:pt x="1230477" y="2197"/>
                      </a:lnTo>
                      <a:lnTo>
                        <a:pt x="1228331" y="1549"/>
                      </a:lnTo>
                      <a:lnTo>
                        <a:pt x="1223924" y="876"/>
                      </a:lnTo>
                      <a:lnTo>
                        <a:pt x="1219619" y="0"/>
                      </a:lnTo>
                      <a:lnTo>
                        <a:pt x="1217561" y="1130"/>
                      </a:lnTo>
                      <a:lnTo>
                        <a:pt x="1217790" y="1346"/>
                      </a:lnTo>
                      <a:lnTo>
                        <a:pt x="1217930" y="1676"/>
                      </a:lnTo>
                      <a:lnTo>
                        <a:pt x="1218145" y="1905"/>
                      </a:lnTo>
                      <a:lnTo>
                        <a:pt x="1216520" y="2501"/>
                      </a:lnTo>
                      <a:lnTo>
                        <a:pt x="1214183" y="1651"/>
                      </a:lnTo>
                      <a:lnTo>
                        <a:pt x="1210195" y="1638"/>
                      </a:lnTo>
                      <a:lnTo>
                        <a:pt x="1207300" y="1778"/>
                      </a:lnTo>
                      <a:lnTo>
                        <a:pt x="1205255" y="2616"/>
                      </a:lnTo>
                      <a:lnTo>
                        <a:pt x="1207554" y="3479"/>
                      </a:lnTo>
                      <a:lnTo>
                        <a:pt x="1209116" y="5613"/>
                      </a:lnTo>
                      <a:lnTo>
                        <a:pt x="1211503" y="6629"/>
                      </a:lnTo>
                      <a:lnTo>
                        <a:pt x="1241666" y="22059"/>
                      </a:lnTo>
                      <a:lnTo>
                        <a:pt x="1242606" y="22542"/>
                      </a:lnTo>
                      <a:lnTo>
                        <a:pt x="1246327" y="22669"/>
                      </a:lnTo>
                      <a:lnTo>
                        <a:pt x="1247406" y="20434"/>
                      </a:lnTo>
                      <a:lnTo>
                        <a:pt x="1244828" y="18935"/>
                      </a:lnTo>
                      <a:lnTo>
                        <a:pt x="1242161" y="16979"/>
                      </a:lnTo>
                      <a:lnTo>
                        <a:pt x="1242809" y="16967"/>
                      </a:lnTo>
                      <a:lnTo>
                        <a:pt x="1245908" y="13373"/>
                      </a:lnTo>
                      <a:lnTo>
                        <a:pt x="1249375" y="13131"/>
                      </a:lnTo>
                      <a:lnTo>
                        <a:pt x="1252131" y="10553"/>
                      </a:lnTo>
                      <a:close/>
                    </a:path>
                    <a:path w="1694814" h="1489710">
                      <a:moveTo>
                        <a:pt x="1254937" y="611644"/>
                      </a:moveTo>
                      <a:lnTo>
                        <a:pt x="1254861" y="611505"/>
                      </a:lnTo>
                      <a:lnTo>
                        <a:pt x="1254696" y="611428"/>
                      </a:lnTo>
                      <a:lnTo>
                        <a:pt x="1254455" y="611162"/>
                      </a:lnTo>
                      <a:lnTo>
                        <a:pt x="1253998" y="611022"/>
                      </a:lnTo>
                      <a:lnTo>
                        <a:pt x="1253782" y="611060"/>
                      </a:lnTo>
                      <a:lnTo>
                        <a:pt x="1253223" y="611174"/>
                      </a:lnTo>
                      <a:lnTo>
                        <a:pt x="1252880" y="611378"/>
                      </a:lnTo>
                      <a:lnTo>
                        <a:pt x="1252613" y="611606"/>
                      </a:lnTo>
                      <a:lnTo>
                        <a:pt x="1252283" y="611720"/>
                      </a:lnTo>
                      <a:lnTo>
                        <a:pt x="1251915" y="613219"/>
                      </a:lnTo>
                      <a:lnTo>
                        <a:pt x="1251826" y="613638"/>
                      </a:lnTo>
                      <a:lnTo>
                        <a:pt x="1251750" y="614045"/>
                      </a:lnTo>
                      <a:lnTo>
                        <a:pt x="1252258" y="613156"/>
                      </a:lnTo>
                      <a:lnTo>
                        <a:pt x="1252677" y="612775"/>
                      </a:lnTo>
                      <a:lnTo>
                        <a:pt x="1253172" y="612444"/>
                      </a:lnTo>
                      <a:lnTo>
                        <a:pt x="1253439" y="612457"/>
                      </a:lnTo>
                      <a:lnTo>
                        <a:pt x="1253769" y="612457"/>
                      </a:lnTo>
                      <a:lnTo>
                        <a:pt x="1254086" y="612406"/>
                      </a:lnTo>
                      <a:lnTo>
                        <a:pt x="1254302" y="612381"/>
                      </a:lnTo>
                      <a:lnTo>
                        <a:pt x="1254429" y="612330"/>
                      </a:lnTo>
                      <a:lnTo>
                        <a:pt x="1254594" y="612228"/>
                      </a:lnTo>
                      <a:lnTo>
                        <a:pt x="1254709" y="612089"/>
                      </a:lnTo>
                      <a:lnTo>
                        <a:pt x="1254848" y="611936"/>
                      </a:lnTo>
                      <a:lnTo>
                        <a:pt x="1254937" y="611644"/>
                      </a:lnTo>
                      <a:close/>
                    </a:path>
                    <a:path w="1694814" h="1489710">
                      <a:moveTo>
                        <a:pt x="1283703" y="558711"/>
                      </a:moveTo>
                      <a:lnTo>
                        <a:pt x="1283309" y="558063"/>
                      </a:lnTo>
                      <a:lnTo>
                        <a:pt x="1282801" y="557339"/>
                      </a:lnTo>
                      <a:lnTo>
                        <a:pt x="1282395" y="556679"/>
                      </a:lnTo>
                      <a:lnTo>
                        <a:pt x="1282534" y="557060"/>
                      </a:lnTo>
                      <a:lnTo>
                        <a:pt x="1283220" y="558088"/>
                      </a:lnTo>
                      <a:lnTo>
                        <a:pt x="1283703" y="558711"/>
                      </a:lnTo>
                      <a:close/>
                    </a:path>
                    <a:path w="1694814" h="1489710">
                      <a:moveTo>
                        <a:pt x="1306004" y="519798"/>
                      </a:moveTo>
                      <a:lnTo>
                        <a:pt x="1305280" y="518871"/>
                      </a:lnTo>
                      <a:lnTo>
                        <a:pt x="1304607" y="518388"/>
                      </a:lnTo>
                      <a:lnTo>
                        <a:pt x="1303959" y="518223"/>
                      </a:lnTo>
                      <a:lnTo>
                        <a:pt x="1303782" y="518109"/>
                      </a:lnTo>
                      <a:lnTo>
                        <a:pt x="1302080" y="517486"/>
                      </a:lnTo>
                      <a:lnTo>
                        <a:pt x="1301381" y="519010"/>
                      </a:lnTo>
                      <a:lnTo>
                        <a:pt x="1300416" y="520115"/>
                      </a:lnTo>
                      <a:lnTo>
                        <a:pt x="1301343" y="519849"/>
                      </a:lnTo>
                      <a:lnTo>
                        <a:pt x="1302308" y="519811"/>
                      </a:lnTo>
                      <a:lnTo>
                        <a:pt x="1303743" y="519823"/>
                      </a:lnTo>
                      <a:lnTo>
                        <a:pt x="1304213" y="519836"/>
                      </a:lnTo>
                      <a:lnTo>
                        <a:pt x="1304671" y="519836"/>
                      </a:lnTo>
                      <a:lnTo>
                        <a:pt x="1305128" y="519849"/>
                      </a:lnTo>
                      <a:lnTo>
                        <a:pt x="1305572" y="519836"/>
                      </a:lnTo>
                      <a:lnTo>
                        <a:pt x="1306004" y="519798"/>
                      </a:lnTo>
                      <a:close/>
                    </a:path>
                    <a:path w="1694814" h="1489710">
                      <a:moveTo>
                        <a:pt x="1312265" y="514654"/>
                      </a:moveTo>
                      <a:lnTo>
                        <a:pt x="1311795" y="512927"/>
                      </a:lnTo>
                      <a:lnTo>
                        <a:pt x="1311846" y="512622"/>
                      </a:lnTo>
                      <a:lnTo>
                        <a:pt x="1309687" y="511619"/>
                      </a:lnTo>
                      <a:lnTo>
                        <a:pt x="1308696" y="511937"/>
                      </a:lnTo>
                      <a:lnTo>
                        <a:pt x="1308163" y="511111"/>
                      </a:lnTo>
                      <a:lnTo>
                        <a:pt x="1308087" y="510730"/>
                      </a:lnTo>
                      <a:lnTo>
                        <a:pt x="1308049" y="510082"/>
                      </a:lnTo>
                      <a:lnTo>
                        <a:pt x="1308214" y="509206"/>
                      </a:lnTo>
                      <a:lnTo>
                        <a:pt x="1308125" y="508698"/>
                      </a:lnTo>
                      <a:lnTo>
                        <a:pt x="1307960" y="508609"/>
                      </a:lnTo>
                      <a:lnTo>
                        <a:pt x="1307795" y="508444"/>
                      </a:lnTo>
                      <a:lnTo>
                        <a:pt x="1307325" y="508330"/>
                      </a:lnTo>
                      <a:lnTo>
                        <a:pt x="1307236" y="507987"/>
                      </a:lnTo>
                      <a:lnTo>
                        <a:pt x="1307249" y="507860"/>
                      </a:lnTo>
                      <a:lnTo>
                        <a:pt x="1307401" y="507492"/>
                      </a:lnTo>
                      <a:lnTo>
                        <a:pt x="1307731" y="507098"/>
                      </a:lnTo>
                      <a:lnTo>
                        <a:pt x="1307909" y="506095"/>
                      </a:lnTo>
                      <a:lnTo>
                        <a:pt x="1307439" y="505383"/>
                      </a:lnTo>
                      <a:lnTo>
                        <a:pt x="1306830" y="504774"/>
                      </a:lnTo>
                      <a:lnTo>
                        <a:pt x="1306296" y="504101"/>
                      </a:lnTo>
                      <a:lnTo>
                        <a:pt x="1305572" y="503504"/>
                      </a:lnTo>
                      <a:lnTo>
                        <a:pt x="1304759" y="503275"/>
                      </a:lnTo>
                      <a:lnTo>
                        <a:pt x="1304175" y="503021"/>
                      </a:lnTo>
                      <a:lnTo>
                        <a:pt x="1303655" y="502856"/>
                      </a:lnTo>
                      <a:lnTo>
                        <a:pt x="1302893" y="503555"/>
                      </a:lnTo>
                      <a:lnTo>
                        <a:pt x="1303096" y="504215"/>
                      </a:lnTo>
                      <a:lnTo>
                        <a:pt x="1303451" y="504977"/>
                      </a:lnTo>
                      <a:lnTo>
                        <a:pt x="1303997" y="506298"/>
                      </a:lnTo>
                      <a:lnTo>
                        <a:pt x="1305687" y="508736"/>
                      </a:lnTo>
                      <a:lnTo>
                        <a:pt x="1306372" y="508825"/>
                      </a:lnTo>
                      <a:lnTo>
                        <a:pt x="1306449" y="509079"/>
                      </a:lnTo>
                      <a:lnTo>
                        <a:pt x="1306449" y="509409"/>
                      </a:lnTo>
                      <a:lnTo>
                        <a:pt x="1306360" y="509600"/>
                      </a:lnTo>
                      <a:lnTo>
                        <a:pt x="1306245" y="509765"/>
                      </a:lnTo>
                      <a:lnTo>
                        <a:pt x="1306715" y="510654"/>
                      </a:lnTo>
                      <a:lnTo>
                        <a:pt x="1307312" y="512775"/>
                      </a:lnTo>
                      <a:lnTo>
                        <a:pt x="1308087" y="513168"/>
                      </a:lnTo>
                      <a:lnTo>
                        <a:pt x="1309395" y="513842"/>
                      </a:lnTo>
                      <a:lnTo>
                        <a:pt x="1310868" y="514197"/>
                      </a:lnTo>
                      <a:lnTo>
                        <a:pt x="1312265" y="514654"/>
                      </a:lnTo>
                      <a:close/>
                    </a:path>
                    <a:path w="1694814" h="1489710">
                      <a:moveTo>
                        <a:pt x="1357058" y="488784"/>
                      </a:moveTo>
                      <a:lnTo>
                        <a:pt x="1356931" y="488797"/>
                      </a:lnTo>
                      <a:lnTo>
                        <a:pt x="1356779" y="488721"/>
                      </a:lnTo>
                      <a:lnTo>
                        <a:pt x="1356563" y="488708"/>
                      </a:lnTo>
                      <a:lnTo>
                        <a:pt x="1356347" y="488772"/>
                      </a:lnTo>
                      <a:lnTo>
                        <a:pt x="1355572" y="488924"/>
                      </a:lnTo>
                      <a:lnTo>
                        <a:pt x="1355204" y="489051"/>
                      </a:lnTo>
                      <a:lnTo>
                        <a:pt x="1355559" y="489000"/>
                      </a:lnTo>
                      <a:lnTo>
                        <a:pt x="1356944" y="488988"/>
                      </a:lnTo>
                      <a:lnTo>
                        <a:pt x="1356880" y="488810"/>
                      </a:lnTo>
                      <a:lnTo>
                        <a:pt x="1357058" y="488784"/>
                      </a:lnTo>
                      <a:close/>
                    </a:path>
                    <a:path w="1694814" h="1489710">
                      <a:moveTo>
                        <a:pt x="1694357" y="499821"/>
                      </a:moveTo>
                      <a:lnTo>
                        <a:pt x="1692325" y="499186"/>
                      </a:lnTo>
                      <a:lnTo>
                        <a:pt x="1691144" y="498297"/>
                      </a:lnTo>
                      <a:lnTo>
                        <a:pt x="1690928" y="497789"/>
                      </a:lnTo>
                      <a:lnTo>
                        <a:pt x="1690763" y="497408"/>
                      </a:lnTo>
                      <a:lnTo>
                        <a:pt x="1690255" y="497154"/>
                      </a:lnTo>
                      <a:lnTo>
                        <a:pt x="1689227" y="496646"/>
                      </a:lnTo>
                      <a:lnTo>
                        <a:pt x="1687893" y="497154"/>
                      </a:lnTo>
                      <a:lnTo>
                        <a:pt x="1686839" y="497154"/>
                      </a:lnTo>
                      <a:lnTo>
                        <a:pt x="1688896" y="496265"/>
                      </a:lnTo>
                      <a:lnTo>
                        <a:pt x="1691182" y="495884"/>
                      </a:lnTo>
                      <a:lnTo>
                        <a:pt x="1693341" y="495376"/>
                      </a:lnTo>
                      <a:lnTo>
                        <a:pt x="1690992" y="494842"/>
                      </a:lnTo>
                      <a:lnTo>
                        <a:pt x="1689646" y="494461"/>
                      </a:lnTo>
                      <a:lnTo>
                        <a:pt x="1689823" y="494360"/>
                      </a:lnTo>
                      <a:lnTo>
                        <a:pt x="1690547" y="493979"/>
                      </a:lnTo>
                      <a:lnTo>
                        <a:pt x="1691500" y="493090"/>
                      </a:lnTo>
                      <a:lnTo>
                        <a:pt x="1691906" y="492455"/>
                      </a:lnTo>
                      <a:lnTo>
                        <a:pt x="1692059" y="492201"/>
                      </a:lnTo>
                      <a:lnTo>
                        <a:pt x="1692287" y="491058"/>
                      </a:lnTo>
                      <a:lnTo>
                        <a:pt x="1692846" y="490169"/>
                      </a:lnTo>
                      <a:lnTo>
                        <a:pt x="1692744" y="489915"/>
                      </a:lnTo>
                      <a:lnTo>
                        <a:pt x="1692465" y="489280"/>
                      </a:lnTo>
                      <a:lnTo>
                        <a:pt x="1692414" y="489153"/>
                      </a:lnTo>
                      <a:lnTo>
                        <a:pt x="1692300" y="488899"/>
                      </a:lnTo>
                      <a:lnTo>
                        <a:pt x="1688719" y="488137"/>
                      </a:lnTo>
                      <a:lnTo>
                        <a:pt x="1688350" y="488022"/>
                      </a:lnTo>
                      <a:lnTo>
                        <a:pt x="1688350" y="494842"/>
                      </a:lnTo>
                      <a:lnTo>
                        <a:pt x="1687258" y="495376"/>
                      </a:lnTo>
                      <a:lnTo>
                        <a:pt x="1688084" y="494868"/>
                      </a:lnTo>
                      <a:lnTo>
                        <a:pt x="1688350" y="494842"/>
                      </a:lnTo>
                      <a:lnTo>
                        <a:pt x="1688350" y="488022"/>
                      </a:lnTo>
                      <a:lnTo>
                        <a:pt x="1684959" y="486867"/>
                      </a:lnTo>
                      <a:lnTo>
                        <a:pt x="1684705" y="486740"/>
                      </a:lnTo>
                      <a:lnTo>
                        <a:pt x="1683689" y="486232"/>
                      </a:lnTo>
                      <a:lnTo>
                        <a:pt x="1683867" y="486359"/>
                      </a:lnTo>
                      <a:lnTo>
                        <a:pt x="1684007" y="486562"/>
                      </a:lnTo>
                      <a:lnTo>
                        <a:pt x="1683448" y="486105"/>
                      </a:lnTo>
                      <a:lnTo>
                        <a:pt x="1683258" y="485940"/>
                      </a:lnTo>
                      <a:lnTo>
                        <a:pt x="1683131" y="485584"/>
                      </a:lnTo>
                      <a:lnTo>
                        <a:pt x="1683131" y="485838"/>
                      </a:lnTo>
                      <a:lnTo>
                        <a:pt x="1682800" y="485559"/>
                      </a:lnTo>
                      <a:lnTo>
                        <a:pt x="1683131" y="485838"/>
                      </a:lnTo>
                      <a:lnTo>
                        <a:pt x="1683131" y="485584"/>
                      </a:lnTo>
                      <a:lnTo>
                        <a:pt x="1683004" y="485216"/>
                      </a:lnTo>
                      <a:lnTo>
                        <a:pt x="1682153" y="482803"/>
                      </a:lnTo>
                      <a:lnTo>
                        <a:pt x="1681822" y="482942"/>
                      </a:lnTo>
                      <a:lnTo>
                        <a:pt x="1681822" y="486613"/>
                      </a:lnTo>
                      <a:lnTo>
                        <a:pt x="1681137" y="488264"/>
                      </a:lnTo>
                      <a:lnTo>
                        <a:pt x="1679689" y="489153"/>
                      </a:lnTo>
                      <a:lnTo>
                        <a:pt x="1680400" y="488137"/>
                      </a:lnTo>
                      <a:lnTo>
                        <a:pt x="1681810" y="486613"/>
                      </a:lnTo>
                      <a:lnTo>
                        <a:pt x="1681822" y="482942"/>
                      </a:lnTo>
                      <a:lnTo>
                        <a:pt x="1680286" y="483565"/>
                      </a:lnTo>
                      <a:lnTo>
                        <a:pt x="1679613" y="483679"/>
                      </a:lnTo>
                      <a:lnTo>
                        <a:pt x="1679613" y="489318"/>
                      </a:lnTo>
                      <a:lnTo>
                        <a:pt x="1679397" y="489661"/>
                      </a:lnTo>
                      <a:lnTo>
                        <a:pt x="1679282" y="489788"/>
                      </a:lnTo>
                      <a:lnTo>
                        <a:pt x="1679105" y="489915"/>
                      </a:lnTo>
                      <a:lnTo>
                        <a:pt x="1679308" y="489737"/>
                      </a:lnTo>
                      <a:lnTo>
                        <a:pt x="1679359" y="489407"/>
                      </a:lnTo>
                      <a:lnTo>
                        <a:pt x="1679613" y="489318"/>
                      </a:lnTo>
                      <a:lnTo>
                        <a:pt x="1679613" y="483679"/>
                      </a:lnTo>
                      <a:lnTo>
                        <a:pt x="1676450" y="484200"/>
                      </a:lnTo>
                      <a:lnTo>
                        <a:pt x="1673428" y="485343"/>
                      </a:lnTo>
                      <a:lnTo>
                        <a:pt x="1677200" y="481152"/>
                      </a:lnTo>
                      <a:lnTo>
                        <a:pt x="1677962" y="480898"/>
                      </a:lnTo>
                      <a:lnTo>
                        <a:pt x="1678711" y="478739"/>
                      </a:lnTo>
                      <a:lnTo>
                        <a:pt x="1678965" y="477977"/>
                      </a:lnTo>
                      <a:lnTo>
                        <a:pt x="1675650" y="477850"/>
                      </a:lnTo>
                      <a:lnTo>
                        <a:pt x="1672539" y="476834"/>
                      </a:lnTo>
                      <a:lnTo>
                        <a:pt x="1668665" y="476199"/>
                      </a:lnTo>
                      <a:lnTo>
                        <a:pt x="1672234" y="474548"/>
                      </a:lnTo>
                      <a:lnTo>
                        <a:pt x="1673593" y="473913"/>
                      </a:lnTo>
                      <a:lnTo>
                        <a:pt x="1672145" y="472389"/>
                      </a:lnTo>
                      <a:lnTo>
                        <a:pt x="1673085" y="471246"/>
                      </a:lnTo>
                      <a:lnTo>
                        <a:pt x="1673631" y="471246"/>
                      </a:lnTo>
                      <a:lnTo>
                        <a:pt x="1675422" y="470103"/>
                      </a:lnTo>
                      <a:lnTo>
                        <a:pt x="1677670" y="470103"/>
                      </a:lnTo>
                      <a:lnTo>
                        <a:pt x="1679092" y="469087"/>
                      </a:lnTo>
                      <a:lnTo>
                        <a:pt x="1675968" y="468579"/>
                      </a:lnTo>
                      <a:lnTo>
                        <a:pt x="1670126" y="469849"/>
                      </a:lnTo>
                      <a:lnTo>
                        <a:pt x="1667827" y="472770"/>
                      </a:lnTo>
                      <a:lnTo>
                        <a:pt x="1667725" y="474294"/>
                      </a:lnTo>
                      <a:lnTo>
                        <a:pt x="1667548" y="474548"/>
                      </a:lnTo>
                      <a:lnTo>
                        <a:pt x="1665503" y="473786"/>
                      </a:lnTo>
                      <a:lnTo>
                        <a:pt x="1663725" y="472262"/>
                      </a:lnTo>
                      <a:lnTo>
                        <a:pt x="1661845" y="471246"/>
                      </a:lnTo>
                      <a:lnTo>
                        <a:pt x="1662976" y="470738"/>
                      </a:lnTo>
                      <a:lnTo>
                        <a:pt x="1663407" y="469468"/>
                      </a:lnTo>
                      <a:lnTo>
                        <a:pt x="1662087" y="468198"/>
                      </a:lnTo>
                      <a:lnTo>
                        <a:pt x="1661947" y="468071"/>
                      </a:lnTo>
                      <a:lnTo>
                        <a:pt x="1657781" y="468198"/>
                      </a:lnTo>
                      <a:lnTo>
                        <a:pt x="1659991" y="466547"/>
                      </a:lnTo>
                      <a:lnTo>
                        <a:pt x="1657527" y="465277"/>
                      </a:lnTo>
                      <a:lnTo>
                        <a:pt x="1655927" y="465785"/>
                      </a:lnTo>
                      <a:lnTo>
                        <a:pt x="1650860" y="466166"/>
                      </a:lnTo>
                      <a:lnTo>
                        <a:pt x="1650199" y="466293"/>
                      </a:lnTo>
                      <a:lnTo>
                        <a:pt x="1651482" y="469849"/>
                      </a:lnTo>
                      <a:lnTo>
                        <a:pt x="1652511" y="470865"/>
                      </a:lnTo>
                      <a:lnTo>
                        <a:pt x="1652524" y="472897"/>
                      </a:lnTo>
                      <a:lnTo>
                        <a:pt x="1650644" y="473659"/>
                      </a:lnTo>
                      <a:lnTo>
                        <a:pt x="1652333" y="474548"/>
                      </a:lnTo>
                      <a:lnTo>
                        <a:pt x="1649628" y="474421"/>
                      </a:lnTo>
                      <a:lnTo>
                        <a:pt x="1646936" y="473786"/>
                      </a:lnTo>
                      <a:lnTo>
                        <a:pt x="1644269" y="473405"/>
                      </a:lnTo>
                      <a:lnTo>
                        <a:pt x="1642033" y="474548"/>
                      </a:lnTo>
                      <a:lnTo>
                        <a:pt x="1636344" y="478739"/>
                      </a:lnTo>
                      <a:lnTo>
                        <a:pt x="1633816" y="477088"/>
                      </a:lnTo>
                      <a:lnTo>
                        <a:pt x="1633029" y="475945"/>
                      </a:lnTo>
                      <a:lnTo>
                        <a:pt x="1630781" y="474421"/>
                      </a:lnTo>
                      <a:lnTo>
                        <a:pt x="1627860" y="473659"/>
                      </a:lnTo>
                      <a:lnTo>
                        <a:pt x="1625904" y="473913"/>
                      </a:lnTo>
                      <a:lnTo>
                        <a:pt x="1626552" y="477723"/>
                      </a:lnTo>
                      <a:lnTo>
                        <a:pt x="1628025" y="482041"/>
                      </a:lnTo>
                      <a:lnTo>
                        <a:pt x="1629067" y="485597"/>
                      </a:lnTo>
                      <a:lnTo>
                        <a:pt x="1628914" y="485343"/>
                      </a:lnTo>
                      <a:lnTo>
                        <a:pt x="1626920" y="482117"/>
                      </a:lnTo>
                      <a:lnTo>
                        <a:pt x="1626920" y="536867"/>
                      </a:lnTo>
                      <a:lnTo>
                        <a:pt x="1626704" y="536143"/>
                      </a:lnTo>
                      <a:lnTo>
                        <a:pt x="1625650" y="535762"/>
                      </a:lnTo>
                      <a:lnTo>
                        <a:pt x="1625409" y="535127"/>
                      </a:lnTo>
                      <a:lnTo>
                        <a:pt x="1626768" y="536143"/>
                      </a:lnTo>
                      <a:lnTo>
                        <a:pt x="1626920" y="536867"/>
                      </a:lnTo>
                      <a:lnTo>
                        <a:pt x="1626920" y="482117"/>
                      </a:lnTo>
                      <a:lnTo>
                        <a:pt x="1626717" y="481787"/>
                      </a:lnTo>
                      <a:lnTo>
                        <a:pt x="1624342" y="478612"/>
                      </a:lnTo>
                      <a:lnTo>
                        <a:pt x="1619580" y="473659"/>
                      </a:lnTo>
                      <a:lnTo>
                        <a:pt x="1617103" y="474294"/>
                      </a:lnTo>
                      <a:lnTo>
                        <a:pt x="1613382" y="474421"/>
                      </a:lnTo>
                      <a:lnTo>
                        <a:pt x="1608785" y="477596"/>
                      </a:lnTo>
                      <a:lnTo>
                        <a:pt x="1609864" y="477596"/>
                      </a:lnTo>
                      <a:lnTo>
                        <a:pt x="1609204" y="478612"/>
                      </a:lnTo>
                      <a:lnTo>
                        <a:pt x="1608353" y="478485"/>
                      </a:lnTo>
                      <a:lnTo>
                        <a:pt x="1608416" y="479501"/>
                      </a:lnTo>
                      <a:lnTo>
                        <a:pt x="1609585" y="480771"/>
                      </a:lnTo>
                      <a:lnTo>
                        <a:pt x="1609902" y="481787"/>
                      </a:lnTo>
                      <a:lnTo>
                        <a:pt x="1610029" y="482803"/>
                      </a:lnTo>
                      <a:lnTo>
                        <a:pt x="1608924" y="485343"/>
                      </a:lnTo>
                      <a:lnTo>
                        <a:pt x="1607705" y="483184"/>
                      </a:lnTo>
                      <a:lnTo>
                        <a:pt x="1599222" y="475056"/>
                      </a:lnTo>
                      <a:lnTo>
                        <a:pt x="1598434" y="475437"/>
                      </a:lnTo>
                      <a:lnTo>
                        <a:pt x="1595462" y="475945"/>
                      </a:lnTo>
                      <a:lnTo>
                        <a:pt x="1595285" y="476199"/>
                      </a:lnTo>
                      <a:lnTo>
                        <a:pt x="1596148" y="479501"/>
                      </a:lnTo>
                      <a:lnTo>
                        <a:pt x="1596275" y="479882"/>
                      </a:lnTo>
                      <a:lnTo>
                        <a:pt x="1597228" y="481914"/>
                      </a:lnTo>
                      <a:lnTo>
                        <a:pt x="1597355" y="483311"/>
                      </a:lnTo>
                      <a:lnTo>
                        <a:pt x="1597469" y="485838"/>
                      </a:lnTo>
                      <a:lnTo>
                        <a:pt x="1595678" y="488010"/>
                      </a:lnTo>
                      <a:lnTo>
                        <a:pt x="1595043" y="489267"/>
                      </a:lnTo>
                      <a:lnTo>
                        <a:pt x="1595043" y="528650"/>
                      </a:lnTo>
                      <a:lnTo>
                        <a:pt x="1595005" y="528777"/>
                      </a:lnTo>
                      <a:lnTo>
                        <a:pt x="1595043" y="528650"/>
                      </a:lnTo>
                      <a:lnTo>
                        <a:pt x="1595043" y="489267"/>
                      </a:lnTo>
                      <a:lnTo>
                        <a:pt x="1594586" y="490169"/>
                      </a:lnTo>
                      <a:lnTo>
                        <a:pt x="1593608" y="489407"/>
                      </a:lnTo>
                      <a:lnTo>
                        <a:pt x="1593329" y="488137"/>
                      </a:lnTo>
                      <a:lnTo>
                        <a:pt x="1593215" y="487629"/>
                      </a:lnTo>
                      <a:lnTo>
                        <a:pt x="1592122" y="488137"/>
                      </a:lnTo>
                      <a:lnTo>
                        <a:pt x="1592211" y="486486"/>
                      </a:lnTo>
                      <a:lnTo>
                        <a:pt x="1592795" y="485343"/>
                      </a:lnTo>
                      <a:lnTo>
                        <a:pt x="1590459" y="485851"/>
                      </a:lnTo>
                      <a:lnTo>
                        <a:pt x="1589227" y="486740"/>
                      </a:lnTo>
                      <a:lnTo>
                        <a:pt x="1587614" y="488391"/>
                      </a:lnTo>
                      <a:lnTo>
                        <a:pt x="1587550" y="488645"/>
                      </a:lnTo>
                      <a:lnTo>
                        <a:pt x="1588757" y="491439"/>
                      </a:lnTo>
                      <a:lnTo>
                        <a:pt x="1586992" y="492455"/>
                      </a:lnTo>
                      <a:lnTo>
                        <a:pt x="1586699" y="491820"/>
                      </a:lnTo>
                      <a:lnTo>
                        <a:pt x="1586331" y="491185"/>
                      </a:lnTo>
                      <a:lnTo>
                        <a:pt x="1585810" y="490931"/>
                      </a:lnTo>
                      <a:lnTo>
                        <a:pt x="1585556" y="492455"/>
                      </a:lnTo>
                      <a:lnTo>
                        <a:pt x="1585455" y="493471"/>
                      </a:lnTo>
                      <a:lnTo>
                        <a:pt x="1585645" y="494995"/>
                      </a:lnTo>
                      <a:lnTo>
                        <a:pt x="1585760" y="497789"/>
                      </a:lnTo>
                      <a:lnTo>
                        <a:pt x="1584617" y="496392"/>
                      </a:lnTo>
                      <a:lnTo>
                        <a:pt x="1584007" y="495630"/>
                      </a:lnTo>
                      <a:lnTo>
                        <a:pt x="1582534" y="493471"/>
                      </a:lnTo>
                      <a:lnTo>
                        <a:pt x="1579930" y="490804"/>
                      </a:lnTo>
                      <a:lnTo>
                        <a:pt x="1581772" y="490296"/>
                      </a:lnTo>
                      <a:lnTo>
                        <a:pt x="1582940" y="488518"/>
                      </a:lnTo>
                      <a:lnTo>
                        <a:pt x="1583270" y="488010"/>
                      </a:lnTo>
                      <a:lnTo>
                        <a:pt x="1582000" y="487629"/>
                      </a:lnTo>
                      <a:lnTo>
                        <a:pt x="1580286" y="488518"/>
                      </a:lnTo>
                      <a:lnTo>
                        <a:pt x="1580972" y="487629"/>
                      </a:lnTo>
                      <a:lnTo>
                        <a:pt x="1581264" y="487248"/>
                      </a:lnTo>
                      <a:lnTo>
                        <a:pt x="1582140" y="486105"/>
                      </a:lnTo>
                      <a:lnTo>
                        <a:pt x="1579791" y="487248"/>
                      </a:lnTo>
                      <a:lnTo>
                        <a:pt x="1579626" y="487172"/>
                      </a:lnTo>
                      <a:lnTo>
                        <a:pt x="1577174" y="485978"/>
                      </a:lnTo>
                      <a:lnTo>
                        <a:pt x="1576920" y="484708"/>
                      </a:lnTo>
                      <a:lnTo>
                        <a:pt x="1576108" y="483692"/>
                      </a:lnTo>
                      <a:lnTo>
                        <a:pt x="1578076" y="483692"/>
                      </a:lnTo>
                      <a:lnTo>
                        <a:pt x="1579511" y="487108"/>
                      </a:lnTo>
                      <a:lnTo>
                        <a:pt x="1581823" y="484327"/>
                      </a:lnTo>
                      <a:lnTo>
                        <a:pt x="1582127" y="483692"/>
                      </a:lnTo>
                      <a:lnTo>
                        <a:pt x="1582293" y="483311"/>
                      </a:lnTo>
                      <a:lnTo>
                        <a:pt x="1582648" y="482549"/>
                      </a:lnTo>
                      <a:lnTo>
                        <a:pt x="1582762" y="482041"/>
                      </a:lnTo>
                      <a:lnTo>
                        <a:pt x="1582826" y="481787"/>
                      </a:lnTo>
                      <a:lnTo>
                        <a:pt x="1583347" y="479501"/>
                      </a:lnTo>
                      <a:lnTo>
                        <a:pt x="1583397" y="479247"/>
                      </a:lnTo>
                      <a:lnTo>
                        <a:pt x="1580667" y="479501"/>
                      </a:lnTo>
                      <a:lnTo>
                        <a:pt x="1578597" y="479501"/>
                      </a:lnTo>
                      <a:lnTo>
                        <a:pt x="1579803" y="478739"/>
                      </a:lnTo>
                      <a:lnTo>
                        <a:pt x="1581099" y="478612"/>
                      </a:lnTo>
                      <a:lnTo>
                        <a:pt x="1582343" y="478358"/>
                      </a:lnTo>
                      <a:lnTo>
                        <a:pt x="1581518" y="478104"/>
                      </a:lnTo>
                      <a:lnTo>
                        <a:pt x="1579867" y="477596"/>
                      </a:lnTo>
                      <a:lnTo>
                        <a:pt x="1577848" y="478104"/>
                      </a:lnTo>
                      <a:lnTo>
                        <a:pt x="1569999" y="469722"/>
                      </a:lnTo>
                      <a:lnTo>
                        <a:pt x="1569440" y="469341"/>
                      </a:lnTo>
                      <a:lnTo>
                        <a:pt x="1567561" y="468071"/>
                      </a:lnTo>
                      <a:lnTo>
                        <a:pt x="1567103" y="467309"/>
                      </a:lnTo>
                      <a:lnTo>
                        <a:pt x="1562773" y="466674"/>
                      </a:lnTo>
                      <a:lnTo>
                        <a:pt x="1559407" y="467563"/>
                      </a:lnTo>
                      <a:lnTo>
                        <a:pt x="1556639" y="467690"/>
                      </a:lnTo>
                      <a:lnTo>
                        <a:pt x="1557896" y="469341"/>
                      </a:lnTo>
                      <a:lnTo>
                        <a:pt x="1556207" y="470865"/>
                      </a:lnTo>
                      <a:lnTo>
                        <a:pt x="1559661" y="470992"/>
                      </a:lnTo>
                      <a:lnTo>
                        <a:pt x="1560258" y="470103"/>
                      </a:lnTo>
                      <a:lnTo>
                        <a:pt x="1561223" y="469595"/>
                      </a:lnTo>
                      <a:lnTo>
                        <a:pt x="1559433" y="471881"/>
                      </a:lnTo>
                      <a:lnTo>
                        <a:pt x="1563014" y="469595"/>
                      </a:lnTo>
                      <a:lnTo>
                        <a:pt x="1563204" y="469468"/>
                      </a:lnTo>
                      <a:lnTo>
                        <a:pt x="1563662" y="469341"/>
                      </a:lnTo>
                      <a:lnTo>
                        <a:pt x="1562976" y="470611"/>
                      </a:lnTo>
                      <a:lnTo>
                        <a:pt x="1561871" y="471500"/>
                      </a:lnTo>
                      <a:lnTo>
                        <a:pt x="1564894" y="471246"/>
                      </a:lnTo>
                      <a:lnTo>
                        <a:pt x="1566824" y="469722"/>
                      </a:lnTo>
                      <a:lnTo>
                        <a:pt x="1565313" y="471754"/>
                      </a:lnTo>
                      <a:lnTo>
                        <a:pt x="1565998" y="471754"/>
                      </a:lnTo>
                      <a:lnTo>
                        <a:pt x="1567357" y="471627"/>
                      </a:lnTo>
                      <a:lnTo>
                        <a:pt x="1565567" y="472897"/>
                      </a:lnTo>
                      <a:lnTo>
                        <a:pt x="1563547" y="473659"/>
                      </a:lnTo>
                      <a:lnTo>
                        <a:pt x="1561782" y="474929"/>
                      </a:lnTo>
                      <a:lnTo>
                        <a:pt x="1563751" y="475183"/>
                      </a:lnTo>
                      <a:lnTo>
                        <a:pt x="1565148" y="476707"/>
                      </a:lnTo>
                      <a:lnTo>
                        <a:pt x="1567129" y="475945"/>
                      </a:lnTo>
                      <a:lnTo>
                        <a:pt x="1565770" y="477723"/>
                      </a:lnTo>
                      <a:lnTo>
                        <a:pt x="1566405" y="477342"/>
                      </a:lnTo>
                      <a:lnTo>
                        <a:pt x="1567357" y="480390"/>
                      </a:lnTo>
                      <a:lnTo>
                        <a:pt x="1567129" y="480390"/>
                      </a:lnTo>
                      <a:lnTo>
                        <a:pt x="1566519" y="481787"/>
                      </a:lnTo>
                      <a:lnTo>
                        <a:pt x="1565541" y="479882"/>
                      </a:lnTo>
                      <a:lnTo>
                        <a:pt x="1565516" y="478231"/>
                      </a:lnTo>
                      <a:lnTo>
                        <a:pt x="1563649" y="481787"/>
                      </a:lnTo>
                      <a:lnTo>
                        <a:pt x="1563522" y="482041"/>
                      </a:lnTo>
                      <a:lnTo>
                        <a:pt x="1563585" y="481787"/>
                      </a:lnTo>
                      <a:lnTo>
                        <a:pt x="1563979" y="480136"/>
                      </a:lnTo>
                      <a:lnTo>
                        <a:pt x="1564220" y="479120"/>
                      </a:lnTo>
                      <a:lnTo>
                        <a:pt x="1564640" y="478993"/>
                      </a:lnTo>
                      <a:lnTo>
                        <a:pt x="1562976" y="476961"/>
                      </a:lnTo>
                      <a:lnTo>
                        <a:pt x="1561973" y="477850"/>
                      </a:lnTo>
                      <a:lnTo>
                        <a:pt x="1560944" y="480136"/>
                      </a:lnTo>
                      <a:lnTo>
                        <a:pt x="1559941" y="478866"/>
                      </a:lnTo>
                      <a:lnTo>
                        <a:pt x="1552663" y="474421"/>
                      </a:lnTo>
                      <a:lnTo>
                        <a:pt x="1550530" y="473913"/>
                      </a:lnTo>
                      <a:lnTo>
                        <a:pt x="1551825" y="475183"/>
                      </a:lnTo>
                      <a:lnTo>
                        <a:pt x="1552473" y="475691"/>
                      </a:lnTo>
                      <a:lnTo>
                        <a:pt x="1551190" y="475056"/>
                      </a:lnTo>
                      <a:lnTo>
                        <a:pt x="1550365" y="475056"/>
                      </a:lnTo>
                      <a:lnTo>
                        <a:pt x="1549006" y="475310"/>
                      </a:lnTo>
                      <a:lnTo>
                        <a:pt x="1550022" y="476783"/>
                      </a:lnTo>
                      <a:lnTo>
                        <a:pt x="1552143" y="476707"/>
                      </a:lnTo>
                      <a:lnTo>
                        <a:pt x="1552879" y="478231"/>
                      </a:lnTo>
                      <a:lnTo>
                        <a:pt x="1551965" y="477723"/>
                      </a:lnTo>
                      <a:lnTo>
                        <a:pt x="1550111" y="476834"/>
                      </a:lnTo>
                      <a:lnTo>
                        <a:pt x="1547202" y="475437"/>
                      </a:lnTo>
                      <a:lnTo>
                        <a:pt x="1546288" y="478612"/>
                      </a:lnTo>
                      <a:lnTo>
                        <a:pt x="1550530" y="480390"/>
                      </a:lnTo>
                      <a:lnTo>
                        <a:pt x="1552638" y="481025"/>
                      </a:lnTo>
                      <a:lnTo>
                        <a:pt x="1553743" y="481279"/>
                      </a:lnTo>
                      <a:lnTo>
                        <a:pt x="1554594" y="481787"/>
                      </a:lnTo>
                      <a:lnTo>
                        <a:pt x="1553248" y="481533"/>
                      </a:lnTo>
                      <a:lnTo>
                        <a:pt x="1551279" y="481406"/>
                      </a:lnTo>
                      <a:lnTo>
                        <a:pt x="1549234" y="480898"/>
                      </a:lnTo>
                      <a:lnTo>
                        <a:pt x="1548574" y="480263"/>
                      </a:lnTo>
                      <a:lnTo>
                        <a:pt x="1546974" y="480136"/>
                      </a:lnTo>
                      <a:lnTo>
                        <a:pt x="1546415" y="479628"/>
                      </a:lnTo>
                      <a:lnTo>
                        <a:pt x="1545666" y="481533"/>
                      </a:lnTo>
                      <a:lnTo>
                        <a:pt x="1549590" y="482549"/>
                      </a:lnTo>
                      <a:lnTo>
                        <a:pt x="1553540" y="484073"/>
                      </a:lnTo>
                      <a:lnTo>
                        <a:pt x="1555394" y="483311"/>
                      </a:lnTo>
                      <a:lnTo>
                        <a:pt x="1554035" y="483946"/>
                      </a:lnTo>
                      <a:lnTo>
                        <a:pt x="1553540" y="484073"/>
                      </a:lnTo>
                      <a:lnTo>
                        <a:pt x="1552575" y="484327"/>
                      </a:lnTo>
                      <a:lnTo>
                        <a:pt x="1550098" y="485089"/>
                      </a:lnTo>
                      <a:lnTo>
                        <a:pt x="1550822" y="488264"/>
                      </a:lnTo>
                      <a:lnTo>
                        <a:pt x="1550187" y="487248"/>
                      </a:lnTo>
                      <a:lnTo>
                        <a:pt x="1549069" y="485470"/>
                      </a:lnTo>
                      <a:lnTo>
                        <a:pt x="1548752" y="484962"/>
                      </a:lnTo>
                      <a:lnTo>
                        <a:pt x="1548358" y="484962"/>
                      </a:lnTo>
                      <a:lnTo>
                        <a:pt x="1545577" y="483819"/>
                      </a:lnTo>
                      <a:lnTo>
                        <a:pt x="1544243" y="483184"/>
                      </a:lnTo>
                      <a:lnTo>
                        <a:pt x="1542783" y="482676"/>
                      </a:lnTo>
                      <a:lnTo>
                        <a:pt x="1542135" y="486232"/>
                      </a:lnTo>
                      <a:lnTo>
                        <a:pt x="1544828" y="485470"/>
                      </a:lnTo>
                      <a:lnTo>
                        <a:pt x="1546796" y="487248"/>
                      </a:lnTo>
                      <a:lnTo>
                        <a:pt x="1545488" y="486994"/>
                      </a:lnTo>
                      <a:lnTo>
                        <a:pt x="1544205" y="486486"/>
                      </a:lnTo>
                      <a:lnTo>
                        <a:pt x="1542884" y="486486"/>
                      </a:lnTo>
                      <a:lnTo>
                        <a:pt x="1543456" y="487629"/>
                      </a:lnTo>
                      <a:lnTo>
                        <a:pt x="1545158" y="488645"/>
                      </a:lnTo>
                      <a:lnTo>
                        <a:pt x="1546237" y="489407"/>
                      </a:lnTo>
                      <a:lnTo>
                        <a:pt x="1543913" y="489788"/>
                      </a:lnTo>
                      <a:lnTo>
                        <a:pt x="1541195" y="485597"/>
                      </a:lnTo>
                      <a:lnTo>
                        <a:pt x="1538655" y="487375"/>
                      </a:lnTo>
                      <a:lnTo>
                        <a:pt x="1538249" y="488391"/>
                      </a:lnTo>
                      <a:lnTo>
                        <a:pt x="1537525" y="489153"/>
                      </a:lnTo>
                      <a:lnTo>
                        <a:pt x="1536827" y="489534"/>
                      </a:lnTo>
                      <a:lnTo>
                        <a:pt x="1536306" y="489788"/>
                      </a:lnTo>
                      <a:lnTo>
                        <a:pt x="1538846" y="490550"/>
                      </a:lnTo>
                      <a:lnTo>
                        <a:pt x="1542275" y="491820"/>
                      </a:lnTo>
                      <a:lnTo>
                        <a:pt x="1547495" y="492201"/>
                      </a:lnTo>
                      <a:lnTo>
                        <a:pt x="1551089" y="490423"/>
                      </a:lnTo>
                      <a:lnTo>
                        <a:pt x="1553006" y="489788"/>
                      </a:lnTo>
                      <a:lnTo>
                        <a:pt x="1555305" y="489026"/>
                      </a:lnTo>
                      <a:lnTo>
                        <a:pt x="1556753" y="488264"/>
                      </a:lnTo>
                      <a:lnTo>
                        <a:pt x="1557477" y="487883"/>
                      </a:lnTo>
                      <a:lnTo>
                        <a:pt x="1560664" y="487629"/>
                      </a:lnTo>
                      <a:lnTo>
                        <a:pt x="1562468" y="488391"/>
                      </a:lnTo>
                      <a:lnTo>
                        <a:pt x="1576959" y="491058"/>
                      </a:lnTo>
                      <a:lnTo>
                        <a:pt x="1574393" y="491947"/>
                      </a:lnTo>
                      <a:lnTo>
                        <a:pt x="1572793" y="492836"/>
                      </a:lnTo>
                      <a:lnTo>
                        <a:pt x="1568450" y="494741"/>
                      </a:lnTo>
                      <a:lnTo>
                        <a:pt x="1566037" y="494995"/>
                      </a:lnTo>
                      <a:lnTo>
                        <a:pt x="1564906" y="497027"/>
                      </a:lnTo>
                      <a:lnTo>
                        <a:pt x="1567078" y="497535"/>
                      </a:lnTo>
                      <a:lnTo>
                        <a:pt x="1571599" y="499186"/>
                      </a:lnTo>
                      <a:lnTo>
                        <a:pt x="1574177" y="498170"/>
                      </a:lnTo>
                      <a:lnTo>
                        <a:pt x="1574888" y="497154"/>
                      </a:lnTo>
                      <a:lnTo>
                        <a:pt x="1577263" y="496392"/>
                      </a:lnTo>
                      <a:lnTo>
                        <a:pt x="1575828" y="500202"/>
                      </a:lnTo>
                      <a:lnTo>
                        <a:pt x="1573276" y="500837"/>
                      </a:lnTo>
                      <a:lnTo>
                        <a:pt x="1571472" y="501091"/>
                      </a:lnTo>
                      <a:lnTo>
                        <a:pt x="1568386" y="500583"/>
                      </a:lnTo>
                      <a:lnTo>
                        <a:pt x="1566964" y="499948"/>
                      </a:lnTo>
                      <a:lnTo>
                        <a:pt x="1564741" y="500583"/>
                      </a:lnTo>
                      <a:lnTo>
                        <a:pt x="1563624" y="501599"/>
                      </a:lnTo>
                      <a:lnTo>
                        <a:pt x="1562963" y="501599"/>
                      </a:lnTo>
                      <a:lnTo>
                        <a:pt x="1562519" y="501091"/>
                      </a:lnTo>
                      <a:lnTo>
                        <a:pt x="1562023" y="501091"/>
                      </a:lnTo>
                      <a:lnTo>
                        <a:pt x="1562087" y="500202"/>
                      </a:lnTo>
                      <a:lnTo>
                        <a:pt x="1562239" y="499821"/>
                      </a:lnTo>
                      <a:lnTo>
                        <a:pt x="1561465" y="500202"/>
                      </a:lnTo>
                      <a:lnTo>
                        <a:pt x="1560156" y="501472"/>
                      </a:lnTo>
                      <a:lnTo>
                        <a:pt x="1558874" y="501853"/>
                      </a:lnTo>
                      <a:lnTo>
                        <a:pt x="1558709" y="501218"/>
                      </a:lnTo>
                      <a:lnTo>
                        <a:pt x="1557515" y="501599"/>
                      </a:lnTo>
                      <a:lnTo>
                        <a:pt x="1556753" y="502996"/>
                      </a:lnTo>
                      <a:lnTo>
                        <a:pt x="1555572" y="502869"/>
                      </a:lnTo>
                      <a:lnTo>
                        <a:pt x="1556804" y="501726"/>
                      </a:lnTo>
                      <a:lnTo>
                        <a:pt x="1555153" y="500583"/>
                      </a:lnTo>
                      <a:lnTo>
                        <a:pt x="1554403" y="502742"/>
                      </a:lnTo>
                      <a:lnTo>
                        <a:pt x="1553972" y="503250"/>
                      </a:lnTo>
                      <a:lnTo>
                        <a:pt x="1553044" y="501091"/>
                      </a:lnTo>
                      <a:lnTo>
                        <a:pt x="1550797" y="503885"/>
                      </a:lnTo>
                      <a:lnTo>
                        <a:pt x="1547901" y="504139"/>
                      </a:lnTo>
                      <a:lnTo>
                        <a:pt x="1546974" y="503250"/>
                      </a:lnTo>
                      <a:lnTo>
                        <a:pt x="1544789" y="503377"/>
                      </a:lnTo>
                      <a:lnTo>
                        <a:pt x="1544231" y="503885"/>
                      </a:lnTo>
                      <a:lnTo>
                        <a:pt x="1543304" y="504012"/>
                      </a:lnTo>
                      <a:lnTo>
                        <a:pt x="1544650" y="507314"/>
                      </a:lnTo>
                      <a:lnTo>
                        <a:pt x="1545259" y="507949"/>
                      </a:lnTo>
                      <a:lnTo>
                        <a:pt x="1569935" y="507695"/>
                      </a:lnTo>
                      <a:lnTo>
                        <a:pt x="1568919" y="508584"/>
                      </a:lnTo>
                      <a:lnTo>
                        <a:pt x="1568069" y="509981"/>
                      </a:lnTo>
                      <a:lnTo>
                        <a:pt x="1566722" y="509727"/>
                      </a:lnTo>
                      <a:lnTo>
                        <a:pt x="1567243" y="510108"/>
                      </a:lnTo>
                      <a:lnTo>
                        <a:pt x="1567370" y="510870"/>
                      </a:lnTo>
                      <a:lnTo>
                        <a:pt x="1568056" y="511759"/>
                      </a:lnTo>
                      <a:lnTo>
                        <a:pt x="1568653" y="511759"/>
                      </a:lnTo>
                      <a:lnTo>
                        <a:pt x="1569834" y="512775"/>
                      </a:lnTo>
                      <a:lnTo>
                        <a:pt x="1568627" y="513156"/>
                      </a:lnTo>
                      <a:lnTo>
                        <a:pt x="1570990" y="514426"/>
                      </a:lnTo>
                      <a:lnTo>
                        <a:pt x="1574406" y="512140"/>
                      </a:lnTo>
                      <a:lnTo>
                        <a:pt x="1575612" y="511505"/>
                      </a:lnTo>
                      <a:lnTo>
                        <a:pt x="1576768" y="510616"/>
                      </a:lnTo>
                      <a:lnTo>
                        <a:pt x="1577911" y="509981"/>
                      </a:lnTo>
                      <a:lnTo>
                        <a:pt x="1579410" y="509727"/>
                      </a:lnTo>
                      <a:lnTo>
                        <a:pt x="1576882" y="510997"/>
                      </a:lnTo>
                      <a:lnTo>
                        <a:pt x="1575612" y="511505"/>
                      </a:lnTo>
                      <a:lnTo>
                        <a:pt x="1575117" y="512648"/>
                      </a:lnTo>
                      <a:lnTo>
                        <a:pt x="1573517" y="512775"/>
                      </a:lnTo>
                      <a:lnTo>
                        <a:pt x="1572133" y="514680"/>
                      </a:lnTo>
                      <a:lnTo>
                        <a:pt x="1572704" y="516839"/>
                      </a:lnTo>
                      <a:lnTo>
                        <a:pt x="1571332" y="517220"/>
                      </a:lnTo>
                      <a:lnTo>
                        <a:pt x="1573263" y="517093"/>
                      </a:lnTo>
                      <a:lnTo>
                        <a:pt x="1575168" y="516712"/>
                      </a:lnTo>
                      <a:lnTo>
                        <a:pt x="1577073" y="516458"/>
                      </a:lnTo>
                      <a:lnTo>
                        <a:pt x="1578533" y="515696"/>
                      </a:lnTo>
                      <a:lnTo>
                        <a:pt x="1580121" y="515823"/>
                      </a:lnTo>
                      <a:lnTo>
                        <a:pt x="1581772" y="515823"/>
                      </a:lnTo>
                      <a:lnTo>
                        <a:pt x="1577073" y="516458"/>
                      </a:lnTo>
                      <a:lnTo>
                        <a:pt x="1575701" y="516712"/>
                      </a:lnTo>
                      <a:lnTo>
                        <a:pt x="1574279" y="518617"/>
                      </a:lnTo>
                      <a:lnTo>
                        <a:pt x="1573771" y="519252"/>
                      </a:lnTo>
                      <a:lnTo>
                        <a:pt x="1574533" y="519887"/>
                      </a:lnTo>
                      <a:lnTo>
                        <a:pt x="1575485" y="520268"/>
                      </a:lnTo>
                      <a:lnTo>
                        <a:pt x="1576374" y="520776"/>
                      </a:lnTo>
                      <a:lnTo>
                        <a:pt x="1567497" y="523824"/>
                      </a:lnTo>
                      <a:lnTo>
                        <a:pt x="1565427" y="524713"/>
                      </a:lnTo>
                      <a:lnTo>
                        <a:pt x="1564297" y="524332"/>
                      </a:lnTo>
                      <a:lnTo>
                        <a:pt x="1563624" y="523062"/>
                      </a:lnTo>
                      <a:lnTo>
                        <a:pt x="1562900" y="522681"/>
                      </a:lnTo>
                      <a:lnTo>
                        <a:pt x="1562417" y="524332"/>
                      </a:lnTo>
                      <a:lnTo>
                        <a:pt x="1562354" y="528523"/>
                      </a:lnTo>
                      <a:lnTo>
                        <a:pt x="1591208" y="527634"/>
                      </a:lnTo>
                      <a:lnTo>
                        <a:pt x="1591017" y="528523"/>
                      </a:lnTo>
                      <a:lnTo>
                        <a:pt x="1591068" y="529412"/>
                      </a:lnTo>
                      <a:lnTo>
                        <a:pt x="1590306" y="529793"/>
                      </a:lnTo>
                      <a:lnTo>
                        <a:pt x="1591767" y="531190"/>
                      </a:lnTo>
                      <a:lnTo>
                        <a:pt x="1593151" y="530174"/>
                      </a:lnTo>
                      <a:lnTo>
                        <a:pt x="1594650" y="529285"/>
                      </a:lnTo>
                      <a:lnTo>
                        <a:pt x="1593481" y="531063"/>
                      </a:lnTo>
                      <a:lnTo>
                        <a:pt x="1592897" y="530936"/>
                      </a:lnTo>
                      <a:lnTo>
                        <a:pt x="1596796" y="534365"/>
                      </a:lnTo>
                      <a:lnTo>
                        <a:pt x="1598853" y="535000"/>
                      </a:lnTo>
                      <a:lnTo>
                        <a:pt x="1606778" y="536270"/>
                      </a:lnTo>
                      <a:lnTo>
                        <a:pt x="1612023" y="537540"/>
                      </a:lnTo>
                      <a:lnTo>
                        <a:pt x="1620608" y="538429"/>
                      </a:lnTo>
                      <a:lnTo>
                        <a:pt x="1623517" y="537032"/>
                      </a:lnTo>
                      <a:lnTo>
                        <a:pt x="1626933" y="536917"/>
                      </a:lnTo>
                      <a:lnTo>
                        <a:pt x="1629740" y="535127"/>
                      </a:lnTo>
                      <a:lnTo>
                        <a:pt x="1629854" y="532841"/>
                      </a:lnTo>
                      <a:lnTo>
                        <a:pt x="1631162" y="531063"/>
                      </a:lnTo>
                      <a:lnTo>
                        <a:pt x="1632470" y="529285"/>
                      </a:lnTo>
                      <a:lnTo>
                        <a:pt x="1632559" y="529158"/>
                      </a:lnTo>
                      <a:lnTo>
                        <a:pt x="1638896" y="529793"/>
                      </a:lnTo>
                      <a:lnTo>
                        <a:pt x="1645361" y="529158"/>
                      </a:lnTo>
                      <a:lnTo>
                        <a:pt x="1647418" y="529031"/>
                      </a:lnTo>
                      <a:lnTo>
                        <a:pt x="1647812" y="528777"/>
                      </a:lnTo>
                      <a:lnTo>
                        <a:pt x="1648002" y="528650"/>
                      </a:lnTo>
                      <a:lnTo>
                        <a:pt x="1649539" y="527634"/>
                      </a:lnTo>
                      <a:lnTo>
                        <a:pt x="1652409" y="525729"/>
                      </a:lnTo>
                      <a:lnTo>
                        <a:pt x="1653806" y="524713"/>
                      </a:lnTo>
                      <a:lnTo>
                        <a:pt x="1654683" y="524078"/>
                      </a:lnTo>
                      <a:lnTo>
                        <a:pt x="1659763" y="520522"/>
                      </a:lnTo>
                      <a:lnTo>
                        <a:pt x="1665757" y="519506"/>
                      </a:lnTo>
                      <a:lnTo>
                        <a:pt x="1667383" y="516839"/>
                      </a:lnTo>
                      <a:lnTo>
                        <a:pt x="1666227" y="515696"/>
                      </a:lnTo>
                      <a:lnTo>
                        <a:pt x="1666087" y="515569"/>
                      </a:lnTo>
                      <a:lnTo>
                        <a:pt x="1666913" y="515696"/>
                      </a:lnTo>
                      <a:lnTo>
                        <a:pt x="1667484" y="516204"/>
                      </a:lnTo>
                      <a:lnTo>
                        <a:pt x="1667383" y="516839"/>
                      </a:lnTo>
                      <a:lnTo>
                        <a:pt x="1667954" y="517601"/>
                      </a:lnTo>
                      <a:lnTo>
                        <a:pt x="1669961" y="518617"/>
                      </a:lnTo>
                      <a:lnTo>
                        <a:pt x="1671104" y="518490"/>
                      </a:lnTo>
                      <a:lnTo>
                        <a:pt x="1672437" y="518871"/>
                      </a:lnTo>
                      <a:lnTo>
                        <a:pt x="1674114" y="518490"/>
                      </a:lnTo>
                      <a:lnTo>
                        <a:pt x="1675231" y="518236"/>
                      </a:lnTo>
                      <a:lnTo>
                        <a:pt x="1677428" y="515950"/>
                      </a:lnTo>
                      <a:lnTo>
                        <a:pt x="1677949" y="515569"/>
                      </a:lnTo>
                      <a:lnTo>
                        <a:pt x="1680514" y="513664"/>
                      </a:lnTo>
                      <a:lnTo>
                        <a:pt x="1679092" y="512394"/>
                      </a:lnTo>
                      <a:lnTo>
                        <a:pt x="1679219" y="510743"/>
                      </a:lnTo>
                      <a:lnTo>
                        <a:pt x="1679994" y="509727"/>
                      </a:lnTo>
                      <a:lnTo>
                        <a:pt x="1681137" y="508330"/>
                      </a:lnTo>
                      <a:lnTo>
                        <a:pt x="1681822" y="507504"/>
                      </a:lnTo>
                      <a:lnTo>
                        <a:pt x="1681035" y="508330"/>
                      </a:lnTo>
                      <a:lnTo>
                        <a:pt x="1680870" y="507695"/>
                      </a:lnTo>
                      <a:lnTo>
                        <a:pt x="1680629" y="506806"/>
                      </a:lnTo>
                      <a:lnTo>
                        <a:pt x="1680425" y="506552"/>
                      </a:lnTo>
                      <a:lnTo>
                        <a:pt x="1679943" y="506298"/>
                      </a:lnTo>
                      <a:lnTo>
                        <a:pt x="1680425" y="506298"/>
                      </a:lnTo>
                      <a:lnTo>
                        <a:pt x="1680425" y="506552"/>
                      </a:lnTo>
                      <a:lnTo>
                        <a:pt x="1680629" y="506806"/>
                      </a:lnTo>
                      <a:lnTo>
                        <a:pt x="1681797" y="507492"/>
                      </a:lnTo>
                      <a:lnTo>
                        <a:pt x="1682356" y="507822"/>
                      </a:lnTo>
                      <a:lnTo>
                        <a:pt x="1682978" y="509219"/>
                      </a:lnTo>
                      <a:lnTo>
                        <a:pt x="1686433" y="507949"/>
                      </a:lnTo>
                      <a:lnTo>
                        <a:pt x="1687144" y="507187"/>
                      </a:lnTo>
                      <a:lnTo>
                        <a:pt x="1687982" y="506298"/>
                      </a:lnTo>
                      <a:lnTo>
                        <a:pt x="1688452" y="505790"/>
                      </a:lnTo>
                      <a:lnTo>
                        <a:pt x="1687880" y="504139"/>
                      </a:lnTo>
                      <a:lnTo>
                        <a:pt x="1687741" y="503758"/>
                      </a:lnTo>
                      <a:lnTo>
                        <a:pt x="1686483" y="503250"/>
                      </a:lnTo>
                      <a:lnTo>
                        <a:pt x="1688033" y="502996"/>
                      </a:lnTo>
                      <a:lnTo>
                        <a:pt x="1690306" y="503631"/>
                      </a:lnTo>
                      <a:lnTo>
                        <a:pt x="1688833" y="501853"/>
                      </a:lnTo>
                      <a:lnTo>
                        <a:pt x="1688744" y="501599"/>
                      </a:lnTo>
                      <a:lnTo>
                        <a:pt x="1688693" y="501472"/>
                      </a:lnTo>
                      <a:lnTo>
                        <a:pt x="1688426" y="501345"/>
                      </a:lnTo>
                      <a:lnTo>
                        <a:pt x="1687068" y="500710"/>
                      </a:lnTo>
                      <a:lnTo>
                        <a:pt x="1685239" y="501345"/>
                      </a:lnTo>
                      <a:lnTo>
                        <a:pt x="1684350" y="501091"/>
                      </a:lnTo>
                      <a:lnTo>
                        <a:pt x="1683893" y="500964"/>
                      </a:lnTo>
                      <a:lnTo>
                        <a:pt x="1687347" y="500329"/>
                      </a:lnTo>
                      <a:lnTo>
                        <a:pt x="1690865" y="500202"/>
                      </a:lnTo>
                      <a:lnTo>
                        <a:pt x="1694357" y="499821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97" name="object 37">
                  <a:extLst>
                    <a:ext uri="{FF2B5EF4-FFF2-40B4-BE49-F238E27FC236}">
                      <a16:creationId xmlns:a16="http://schemas.microsoft.com/office/drawing/2014/main" id="{DEDEB21D-3DC8-4315-E989-85F76A49AE6D}"/>
                    </a:ext>
                  </a:extLst>
                </p:cNvPr>
                <p:cNvSpPr/>
                <p:nvPr/>
              </p:nvSpPr>
              <p:spPr>
                <a:xfrm>
                  <a:off x="1478610" y="2117877"/>
                  <a:ext cx="71120" cy="552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1119" h="55244">
                      <a:moveTo>
                        <a:pt x="6896" y="876"/>
                      </a:moveTo>
                      <a:lnTo>
                        <a:pt x="5626" y="533"/>
                      </a:lnTo>
                      <a:lnTo>
                        <a:pt x="4292" y="0"/>
                      </a:lnTo>
                      <a:lnTo>
                        <a:pt x="0" y="2844"/>
                      </a:lnTo>
                      <a:lnTo>
                        <a:pt x="5842" y="1244"/>
                      </a:lnTo>
                      <a:lnTo>
                        <a:pt x="6896" y="876"/>
                      </a:lnTo>
                      <a:close/>
                    </a:path>
                    <a:path w="71119" h="55244">
                      <a:moveTo>
                        <a:pt x="64262" y="48361"/>
                      </a:moveTo>
                      <a:lnTo>
                        <a:pt x="62306" y="47485"/>
                      </a:lnTo>
                      <a:lnTo>
                        <a:pt x="59613" y="46316"/>
                      </a:lnTo>
                      <a:lnTo>
                        <a:pt x="59283" y="47282"/>
                      </a:lnTo>
                      <a:lnTo>
                        <a:pt x="58889" y="48475"/>
                      </a:lnTo>
                      <a:lnTo>
                        <a:pt x="61633" y="50380"/>
                      </a:lnTo>
                      <a:lnTo>
                        <a:pt x="62344" y="50660"/>
                      </a:lnTo>
                      <a:lnTo>
                        <a:pt x="63677" y="48691"/>
                      </a:lnTo>
                      <a:lnTo>
                        <a:pt x="64262" y="48361"/>
                      </a:lnTo>
                      <a:close/>
                    </a:path>
                    <a:path w="71119" h="55244">
                      <a:moveTo>
                        <a:pt x="70866" y="54762"/>
                      </a:moveTo>
                      <a:lnTo>
                        <a:pt x="70370" y="52882"/>
                      </a:lnTo>
                      <a:lnTo>
                        <a:pt x="70307" y="52565"/>
                      </a:lnTo>
                      <a:lnTo>
                        <a:pt x="69938" y="52692"/>
                      </a:lnTo>
                      <a:lnTo>
                        <a:pt x="67856" y="53327"/>
                      </a:lnTo>
                      <a:lnTo>
                        <a:pt x="68160" y="54216"/>
                      </a:lnTo>
                      <a:lnTo>
                        <a:pt x="68326" y="54673"/>
                      </a:lnTo>
                      <a:lnTo>
                        <a:pt x="69850" y="54775"/>
                      </a:lnTo>
                      <a:lnTo>
                        <a:pt x="70269" y="54762"/>
                      </a:lnTo>
                      <a:lnTo>
                        <a:pt x="70866" y="54762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98" name="object 38">
                  <a:extLst>
                    <a:ext uri="{FF2B5EF4-FFF2-40B4-BE49-F238E27FC236}">
                      <a16:creationId xmlns:a16="http://schemas.microsoft.com/office/drawing/2014/main" id="{77810EA5-9A11-07C4-04B4-45F73605CF50}"/>
                    </a:ext>
                  </a:extLst>
                </p:cNvPr>
                <p:cNvSpPr/>
                <p:nvPr/>
              </p:nvSpPr>
              <p:spPr>
                <a:xfrm>
                  <a:off x="1611312" y="2484094"/>
                  <a:ext cx="617855" cy="12922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7855" h="1292225">
                      <a:moveTo>
                        <a:pt x="15875" y="5270"/>
                      </a:moveTo>
                      <a:lnTo>
                        <a:pt x="15671" y="4521"/>
                      </a:lnTo>
                      <a:lnTo>
                        <a:pt x="15633" y="4394"/>
                      </a:lnTo>
                      <a:lnTo>
                        <a:pt x="15252" y="3009"/>
                      </a:lnTo>
                      <a:lnTo>
                        <a:pt x="12750" y="3060"/>
                      </a:lnTo>
                      <a:lnTo>
                        <a:pt x="9563" y="4394"/>
                      </a:lnTo>
                      <a:lnTo>
                        <a:pt x="6375" y="3136"/>
                      </a:lnTo>
                      <a:lnTo>
                        <a:pt x="5943" y="2438"/>
                      </a:lnTo>
                      <a:lnTo>
                        <a:pt x="4279" y="2819"/>
                      </a:lnTo>
                      <a:lnTo>
                        <a:pt x="3581" y="5676"/>
                      </a:lnTo>
                      <a:lnTo>
                        <a:pt x="2476" y="5702"/>
                      </a:lnTo>
                      <a:lnTo>
                        <a:pt x="1828" y="5143"/>
                      </a:lnTo>
                      <a:lnTo>
                        <a:pt x="1244" y="4940"/>
                      </a:lnTo>
                      <a:lnTo>
                        <a:pt x="546" y="4203"/>
                      </a:lnTo>
                      <a:lnTo>
                        <a:pt x="0" y="3924"/>
                      </a:lnTo>
                      <a:lnTo>
                        <a:pt x="3860" y="7086"/>
                      </a:lnTo>
                      <a:lnTo>
                        <a:pt x="7010" y="5702"/>
                      </a:lnTo>
                      <a:lnTo>
                        <a:pt x="8001" y="5270"/>
                      </a:lnTo>
                      <a:lnTo>
                        <a:pt x="11239" y="4800"/>
                      </a:lnTo>
                      <a:lnTo>
                        <a:pt x="12458" y="4584"/>
                      </a:lnTo>
                      <a:lnTo>
                        <a:pt x="14922" y="4521"/>
                      </a:lnTo>
                      <a:lnTo>
                        <a:pt x="15875" y="5270"/>
                      </a:lnTo>
                      <a:close/>
                    </a:path>
                    <a:path w="617855" h="1292225">
                      <a:moveTo>
                        <a:pt x="18630" y="36652"/>
                      </a:moveTo>
                      <a:lnTo>
                        <a:pt x="17386" y="33756"/>
                      </a:lnTo>
                      <a:lnTo>
                        <a:pt x="14871" y="29019"/>
                      </a:lnTo>
                      <a:lnTo>
                        <a:pt x="14909" y="27851"/>
                      </a:lnTo>
                      <a:lnTo>
                        <a:pt x="11074" y="26797"/>
                      </a:lnTo>
                      <a:lnTo>
                        <a:pt x="11277" y="29514"/>
                      </a:lnTo>
                      <a:lnTo>
                        <a:pt x="11887" y="30289"/>
                      </a:lnTo>
                      <a:lnTo>
                        <a:pt x="10160" y="33159"/>
                      </a:lnTo>
                      <a:lnTo>
                        <a:pt x="9626" y="33401"/>
                      </a:lnTo>
                      <a:lnTo>
                        <a:pt x="10185" y="35318"/>
                      </a:lnTo>
                      <a:lnTo>
                        <a:pt x="11912" y="35458"/>
                      </a:lnTo>
                      <a:lnTo>
                        <a:pt x="10782" y="36499"/>
                      </a:lnTo>
                      <a:lnTo>
                        <a:pt x="10185" y="35890"/>
                      </a:lnTo>
                      <a:lnTo>
                        <a:pt x="9804" y="35128"/>
                      </a:lnTo>
                      <a:lnTo>
                        <a:pt x="9207" y="34518"/>
                      </a:lnTo>
                      <a:lnTo>
                        <a:pt x="9080" y="34696"/>
                      </a:lnTo>
                      <a:lnTo>
                        <a:pt x="7899" y="35344"/>
                      </a:lnTo>
                      <a:lnTo>
                        <a:pt x="7785" y="36741"/>
                      </a:lnTo>
                      <a:lnTo>
                        <a:pt x="9944" y="37490"/>
                      </a:lnTo>
                      <a:lnTo>
                        <a:pt x="11569" y="38468"/>
                      </a:lnTo>
                      <a:lnTo>
                        <a:pt x="12217" y="38569"/>
                      </a:lnTo>
                      <a:lnTo>
                        <a:pt x="12763" y="39306"/>
                      </a:lnTo>
                      <a:lnTo>
                        <a:pt x="13144" y="39814"/>
                      </a:lnTo>
                      <a:lnTo>
                        <a:pt x="13106" y="41198"/>
                      </a:lnTo>
                      <a:lnTo>
                        <a:pt x="14897" y="40157"/>
                      </a:lnTo>
                      <a:lnTo>
                        <a:pt x="15544" y="39065"/>
                      </a:lnTo>
                      <a:lnTo>
                        <a:pt x="16459" y="38455"/>
                      </a:lnTo>
                      <a:lnTo>
                        <a:pt x="17640" y="38379"/>
                      </a:lnTo>
                      <a:lnTo>
                        <a:pt x="18630" y="36652"/>
                      </a:lnTo>
                      <a:close/>
                    </a:path>
                    <a:path w="617855" h="1292225">
                      <a:moveTo>
                        <a:pt x="24269" y="29298"/>
                      </a:moveTo>
                      <a:lnTo>
                        <a:pt x="23393" y="29514"/>
                      </a:lnTo>
                      <a:lnTo>
                        <a:pt x="22517" y="29806"/>
                      </a:lnTo>
                      <a:lnTo>
                        <a:pt x="21653" y="30073"/>
                      </a:lnTo>
                      <a:lnTo>
                        <a:pt x="22567" y="30124"/>
                      </a:lnTo>
                      <a:lnTo>
                        <a:pt x="23456" y="29679"/>
                      </a:lnTo>
                      <a:lnTo>
                        <a:pt x="24269" y="29298"/>
                      </a:lnTo>
                      <a:close/>
                    </a:path>
                    <a:path w="617855" h="1292225">
                      <a:moveTo>
                        <a:pt x="24625" y="4165"/>
                      </a:moveTo>
                      <a:lnTo>
                        <a:pt x="22974" y="3975"/>
                      </a:lnTo>
                      <a:lnTo>
                        <a:pt x="22225" y="1854"/>
                      </a:lnTo>
                      <a:lnTo>
                        <a:pt x="21361" y="1384"/>
                      </a:lnTo>
                      <a:lnTo>
                        <a:pt x="19913" y="609"/>
                      </a:lnTo>
                      <a:lnTo>
                        <a:pt x="19494" y="381"/>
                      </a:lnTo>
                      <a:lnTo>
                        <a:pt x="16205" y="0"/>
                      </a:lnTo>
                      <a:lnTo>
                        <a:pt x="14782" y="774"/>
                      </a:lnTo>
                      <a:lnTo>
                        <a:pt x="16395" y="609"/>
                      </a:lnTo>
                      <a:lnTo>
                        <a:pt x="17195" y="1054"/>
                      </a:lnTo>
                      <a:lnTo>
                        <a:pt x="20586" y="1600"/>
                      </a:lnTo>
                      <a:lnTo>
                        <a:pt x="20701" y="1384"/>
                      </a:lnTo>
                      <a:lnTo>
                        <a:pt x="22847" y="4127"/>
                      </a:lnTo>
                      <a:lnTo>
                        <a:pt x="24053" y="4902"/>
                      </a:lnTo>
                      <a:lnTo>
                        <a:pt x="24307" y="5143"/>
                      </a:lnTo>
                      <a:lnTo>
                        <a:pt x="23990" y="4356"/>
                      </a:lnTo>
                      <a:lnTo>
                        <a:pt x="24168" y="4330"/>
                      </a:lnTo>
                      <a:lnTo>
                        <a:pt x="24625" y="4165"/>
                      </a:lnTo>
                      <a:close/>
                    </a:path>
                    <a:path w="617855" h="1292225">
                      <a:moveTo>
                        <a:pt x="24828" y="5626"/>
                      </a:moveTo>
                      <a:lnTo>
                        <a:pt x="24307" y="5143"/>
                      </a:lnTo>
                      <a:lnTo>
                        <a:pt x="24536" y="5702"/>
                      </a:lnTo>
                      <a:lnTo>
                        <a:pt x="24828" y="5626"/>
                      </a:lnTo>
                      <a:close/>
                    </a:path>
                    <a:path w="617855" h="1292225">
                      <a:moveTo>
                        <a:pt x="25704" y="6451"/>
                      </a:moveTo>
                      <a:lnTo>
                        <a:pt x="25692" y="5422"/>
                      </a:lnTo>
                      <a:lnTo>
                        <a:pt x="24828" y="5626"/>
                      </a:lnTo>
                      <a:lnTo>
                        <a:pt x="25704" y="6451"/>
                      </a:lnTo>
                      <a:close/>
                    </a:path>
                    <a:path w="617855" h="1292225">
                      <a:moveTo>
                        <a:pt x="25730" y="14211"/>
                      </a:moveTo>
                      <a:lnTo>
                        <a:pt x="25273" y="11277"/>
                      </a:lnTo>
                      <a:lnTo>
                        <a:pt x="24472" y="13169"/>
                      </a:lnTo>
                      <a:lnTo>
                        <a:pt x="22631" y="14211"/>
                      </a:lnTo>
                      <a:lnTo>
                        <a:pt x="23368" y="15062"/>
                      </a:lnTo>
                      <a:lnTo>
                        <a:pt x="24320" y="15722"/>
                      </a:lnTo>
                      <a:lnTo>
                        <a:pt x="25196" y="16446"/>
                      </a:lnTo>
                      <a:lnTo>
                        <a:pt x="25692" y="15062"/>
                      </a:lnTo>
                      <a:lnTo>
                        <a:pt x="25730" y="14211"/>
                      </a:lnTo>
                      <a:close/>
                    </a:path>
                    <a:path w="617855" h="1292225">
                      <a:moveTo>
                        <a:pt x="26047" y="9448"/>
                      </a:moveTo>
                      <a:lnTo>
                        <a:pt x="24955" y="9207"/>
                      </a:lnTo>
                      <a:lnTo>
                        <a:pt x="25273" y="11277"/>
                      </a:lnTo>
                      <a:lnTo>
                        <a:pt x="26047" y="9448"/>
                      </a:lnTo>
                      <a:close/>
                    </a:path>
                    <a:path w="617855" h="1292225">
                      <a:moveTo>
                        <a:pt x="28155" y="9918"/>
                      </a:moveTo>
                      <a:lnTo>
                        <a:pt x="28054" y="8953"/>
                      </a:lnTo>
                      <a:lnTo>
                        <a:pt x="27736" y="7061"/>
                      </a:lnTo>
                      <a:lnTo>
                        <a:pt x="26555" y="5219"/>
                      </a:lnTo>
                      <a:lnTo>
                        <a:pt x="25704" y="5422"/>
                      </a:lnTo>
                      <a:lnTo>
                        <a:pt x="26263" y="8953"/>
                      </a:lnTo>
                      <a:lnTo>
                        <a:pt x="26047" y="9448"/>
                      </a:lnTo>
                      <a:lnTo>
                        <a:pt x="28155" y="9918"/>
                      </a:lnTo>
                      <a:close/>
                    </a:path>
                    <a:path w="617855" h="1292225">
                      <a:moveTo>
                        <a:pt x="39878" y="27190"/>
                      </a:moveTo>
                      <a:lnTo>
                        <a:pt x="38277" y="26174"/>
                      </a:lnTo>
                      <a:lnTo>
                        <a:pt x="38811" y="27127"/>
                      </a:lnTo>
                      <a:lnTo>
                        <a:pt x="39878" y="27190"/>
                      </a:lnTo>
                      <a:close/>
                    </a:path>
                    <a:path w="617855" h="1292225">
                      <a:moveTo>
                        <a:pt x="40728" y="33489"/>
                      </a:moveTo>
                      <a:lnTo>
                        <a:pt x="40589" y="32854"/>
                      </a:lnTo>
                      <a:lnTo>
                        <a:pt x="40360" y="31788"/>
                      </a:lnTo>
                      <a:lnTo>
                        <a:pt x="40576" y="29895"/>
                      </a:lnTo>
                      <a:lnTo>
                        <a:pt x="39319" y="30441"/>
                      </a:lnTo>
                      <a:lnTo>
                        <a:pt x="39674" y="31953"/>
                      </a:lnTo>
                      <a:lnTo>
                        <a:pt x="39852" y="31940"/>
                      </a:lnTo>
                      <a:lnTo>
                        <a:pt x="40005" y="31800"/>
                      </a:lnTo>
                      <a:lnTo>
                        <a:pt x="40170" y="31788"/>
                      </a:lnTo>
                      <a:lnTo>
                        <a:pt x="39992" y="32766"/>
                      </a:lnTo>
                      <a:lnTo>
                        <a:pt x="38950" y="32854"/>
                      </a:lnTo>
                      <a:lnTo>
                        <a:pt x="38074" y="32715"/>
                      </a:lnTo>
                      <a:lnTo>
                        <a:pt x="39128" y="33528"/>
                      </a:lnTo>
                      <a:lnTo>
                        <a:pt x="39255" y="34455"/>
                      </a:lnTo>
                      <a:lnTo>
                        <a:pt x="40144" y="35267"/>
                      </a:lnTo>
                      <a:lnTo>
                        <a:pt x="40728" y="33489"/>
                      </a:lnTo>
                      <a:close/>
                    </a:path>
                    <a:path w="617855" h="1292225">
                      <a:moveTo>
                        <a:pt x="40830" y="27787"/>
                      </a:moveTo>
                      <a:lnTo>
                        <a:pt x="39903" y="27203"/>
                      </a:lnTo>
                      <a:lnTo>
                        <a:pt x="40716" y="28727"/>
                      </a:lnTo>
                      <a:lnTo>
                        <a:pt x="40830" y="27787"/>
                      </a:lnTo>
                      <a:close/>
                    </a:path>
                    <a:path w="617855" h="1292225">
                      <a:moveTo>
                        <a:pt x="41198" y="29629"/>
                      </a:moveTo>
                      <a:lnTo>
                        <a:pt x="40716" y="28727"/>
                      </a:lnTo>
                      <a:lnTo>
                        <a:pt x="40576" y="29895"/>
                      </a:lnTo>
                      <a:lnTo>
                        <a:pt x="41198" y="29629"/>
                      </a:lnTo>
                      <a:close/>
                    </a:path>
                    <a:path w="617855" h="1292225">
                      <a:moveTo>
                        <a:pt x="50203" y="1187234"/>
                      </a:moveTo>
                      <a:lnTo>
                        <a:pt x="49631" y="1187030"/>
                      </a:lnTo>
                      <a:lnTo>
                        <a:pt x="50203" y="1187246"/>
                      </a:lnTo>
                      <a:close/>
                    </a:path>
                    <a:path w="617855" h="1292225">
                      <a:moveTo>
                        <a:pt x="52463" y="41859"/>
                      </a:moveTo>
                      <a:lnTo>
                        <a:pt x="49720" y="38379"/>
                      </a:lnTo>
                      <a:lnTo>
                        <a:pt x="47993" y="36322"/>
                      </a:lnTo>
                      <a:lnTo>
                        <a:pt x="46329" y="34582"/>
                      </a:lnTo>
                      <a:lnTo>
                        <a:pt x="46062" y="35242"/>
                      </a:lnTo>
                      <a:lnTo>
                        <a:pt x="48348" y="37198"/>
                      </a:lnTo>
                      <a:lnTo>
                        <a:pt x="48806" y="37947"/>
                      </a:lnTo>
                      <a:lnTo>
                        <a:pt x="50025" y="39941"/>
                      </a:lnTo>
                      <a:lnTo>
                        <a:pt x="51600" y="41071"/>
                      </a:lnTo>
                      <a:lnTo>
                        <a:pt x="50317" y="43205"/>
                      </a:lnTo>
                      <a:lnTo>
                        <a:pt x="52273" y="41859"/>
                      </a:lnTo>
                      <a:lnTo>
                        <a:pt x="52463" y="41859"/>
                      </a:lnTo>
                      <a:close/>
                    </a:path>
                    <a:path w="617855" h="1292225">
                      <a:moveTo>
                        <a:pt x="53149" y="1160259"/>
                      </a:moveTo>
                      <a:lnTo>
                        <a:pt x="52247" y="1159967"/>
                      </a:lnTo>
                      <a:lnTo>
                        <a:pt x="52108" y="1158697"/>
                      </a:lnTo>
                      <a:lnTo>
                        <a:pt x="49364" y="1160246"/>
                      </a:lnTo>
                      <a:lnTo>
                        <a:pt x="47498" y="1162621"/>
                      </a:lnTo>
                      <a:lnTo>
                        <a:pt x="47891" y="1162812"/>
                      </a:lnTo>
                      <a:lnTo>
                        <a:pt x="49580" y="1163789"/>
                      </a:lnTo>
                      <a:lnTo>
                        <a:pt x="49745" y="1163307"/>
                      </a:lnTo>
                      <a:lnTo>
                        <a:pt x="50507" y="1161732"/>
                      </a:lnTo>
                      <a:lnTo>
                        <a:pt x="51130" y="1161262"/>
                      </a:lnTo>
                      <a:lnTo>
                        <a:pt x="52019" y="1161554"/>
                      </a:lnTo>
                      <a:lnTo>
                        <a:pt x="52222" y="1161338"/>
                      </a:lnTo>
                      <a:lnTo>
                        <a:pt x="53149" y="1160259"/>
                      </a:lnTo>
                      <a:close/>
                    </a:path>
                    <a:path w="617855" h="1292225">
                      <a:moveTo>
                        <a:pt x="53657" y="1158900"/>
                      </a:moveTo>
                      <a:lnTo>
                        <a:pt x="53251" y="1157757"/>
                      </a:lnTo>
                      <a:lnTo>
                        <a:pt x="52565" y="1154861"/>
                      </a:lnTo>
                      <a:lnTo>
                        <a:pt x="50876" y="1156639"/>
                      </a:lnTo>
                      <a:lnTo>
                        <a:pt x="51003" y="1156347"/>
                      </a:lnTo>
                      <a:lnTo>
                        <a:pt x="51092" y="1155852"/>
                      </a:lnTo>
                      <a:lnTo>
                        <a:pt x="51244" y="1155560"/>
                      </a:lnTo>
                      <a:lnTo>
                        <a:pt x="50723" y="1156144"/>
                      </a:lnTo>
                      <a:lnTo>
                        <a:pt x="50228" y="1156792"/>
                      </a:lnTo>
                      <a:lnTo>
                        <a:pt x="49555" y="1157147"/>
                      </a:lnTo>
                      <a:lnTo>
                        <a:pt x="49631" y="1156893"/>
                      </a:lnTo>
                      <a:lnTo>
                        <a:pt x="49682" y="1155052"/>
                      </a:lnTo>
                      <a:lnTo>
                        <a:pt x="48742" y="1156144"/>
                      </a:lnTo>
                      <a:lnTo>
                        <a:pt x="48018" y="1156157"/>
                      </a:lnTo>
                      <a:lnTo>
                        <a:pt x="47078" y="1157833"/>
                      </a:lnTo>
                      <a:lnTo>
                        <a:pt x="52438" y="1158544"/>
                      </a:lnTo>
                      <a:lnTo>
                        <a:pt x="53657" y="1158900"/>
                      </a:lnTo>
                      <a:close/>
                    </a:path>
                    <a:path w="617855" h="1292225">
                      <a:moveTo>
                        <a:pt x="54241" y="1188745"/>
                      </a:moveTo>
                      <a:lnTo>
                        <a:pt x="50203" y="1187246"/>
                      </a:lnTo>
                      <a:lnTo>
                        <a:pt x="49504" y="1190218"/>
                      </a:lnTo>
                      <a:lnTo>
                        <a:pt x="50507" y="1190536"/>
                      </a:lnTo>
                      <a:lnTo>
                        <a:pt x="52387" y="1192237"/>
                      </a:lnTo>
                      <a:lnTo>
                        <a:pt x="52984" y="1191310"/>
                      </a:lnTo>
                      <a:lnTo>
                        <a:pt x="53263" y="1190040"/>
                      </a:lnTo>
                      <a:lnTo>
                        <a:pt x="52654" y="1189482"/>
                      </a:lnTo>
                      <a:lnTo>
                        <a:pt x="54241" y="1188745"/>
                      </a:lnTo>
                      <a:close/>
                    </a:path>
                    <a:path w="617855" h="1292225">
                      <a:moveTo>
                        <a:pt x="54305" y="1175486"/>
                      </a:moveTo>
                      <a:lnTo>
                        <a:pt x="53492" y="1173797"/>
                      </a:lnTo>
                      <a:lnTo>
                        <a:pt x="52412" y="1172210"/>
                      </a:lnTo>
                      <a:lnTo>
                        <a:pt x="51447" y="1170597"/>
                      </a:lnTo>
                      <a:lnTo>
                        <a:pt x="49809" y="1170305"/>
                      </a:lnTo>
                      <a:lnTo>
                        <a:pt x="48907" y="1169898"/>
                      </a:lnTo>
                      <a:lnTo>
                        <a:pt x="48412" y="1171524"/>
                      </a:lnTo>
                      <a:lnTo>
                        <a:pt x="47358" y="1174902"/>
                      </a:lnTo>
                      <a:lnTo>
                        <a:pt x="50317" y="1173314"/>
                      </a:lnTo>
                      <a:lnTo>
                        <a:pt x="51917" y="1172997"/>
                      </a:lnTo>
                      <a:lnTo>
                        <a:pt x="50673" y="1175334"/>
                      </a:lnTo>
                      <a:lnTo>
                        <a:pt x="53505" y="1174978"/>
                      </a:lnTo>
                      <a:lnTo>
                        <a:pt x="54305" y="1175486"/>
                      </a:lnTo>
                      <a:close/>
                    </a:path>
                    <a:path w="617855" h="1292225">
                      <a:moveTo>
                        <a:pt x="55245" y="1174457"/>
                      </a:moveTo>
                      <a:lnTo>
                        <a:pt x="54825" y="1174584"/>
                      </a:lnTo>
                      <a:lnTo>
                        <a:pt x="55245" y="1174457"/>
                      </a:lnTo>
                      <a:close/>
                    </a:path>
                    <a:path w="617855" h="1292225">
                      <a:moveTo>
                        <a:pt x="55600" y="1186916"/>
                      </a:moveTo>
                      <a:lnTo>
                        <a:pt x="54089" y="1186738"/>
                      </a:lnTo>
                      <a:lnTo>
                        <a:pt x="53098" y="1186370"/>
                      </a:lnTo>
                      <a:lnTo>
                        <a:pt x="52654" y="1186205"/>
                      </a:lnTo>
                      <a:lnTo>
                        <a:pt x="50749" y="1186370"/>
                      </a:lnTo>
                      <a:lnTo>
                        <a:pt x="50431" y="1186294"/>
                      </a:lnTo>
                      <a:lnTo>
                        <a:pt x="50330" y="1186738"/>
                      </a:lnTo>
                      <a:lnTo>
                        <a:pt x="50253" y="1187246"/>
                      </a:lnTo>
                      <a:lnTo>
                        <a:pt x="54102" y="1188554"/>
                      </a:lnTo>
                      <a:lnTo>
                        <a:pt x="54038" y="1188377"/>
                      </a:lnTo>
                      <a:lnTo>
                        <a:pt x="53924" y="1187856"/>
                      </a:lnTo>
                      <a:lnTo>
                        <a:pt x="54648" y="1187945"/>
                      </a:lnTo>
                      <a:lnTo>
                        <a:pt x="55041" y="1187564"/>
                      </a:lnTo>
                      <a:lnTo>
                        <a:pt x="55600" y="1186916"/>
                      </a:lnTo>
                      <a:close/>
                    </a:path>
                    <a:path w="617855" h="1292225">
                      <a:moveTo>
                        <a:pt x="56603" y="1083386"/>
                      </a:moveTo>
                      <a:lnTo>
                        <a:pt x="55753" y="1082586"/>
                      </a:lnTo>
                      <a:lnTo>
                        <a:pt x="55587" y="1083437"/>
                      </a:lnTo>
                      <a:lnTo>
                        <a:pt x="55676" y="1084300"/>
                      </a:lnTo>
                      <a:lnTo>
                        <a:pt x="55714" y="1085176"/>
                      </a:lnTo>
                      <a:lnTo>
                        <a:pt x="56578" y="1084275"/>
                      </a:lnTo>
                      <a:lnTo>
                        <a:pt x="56603" y="1083386"/>
                      </a:lnTo>
                      <a:close/>
                    </a:path>
                    <a:path w="617855" h="1292225">
                      <a:moveTo>
                        <a:pt x="57543" y="1203845"/>
                      </a:moveTo>
                      <a:lnTo>
                        <a:pt x="56984" y="1202931"/>
                      </a:lnTo>
                      <a:lnTo>
                        <a:pt x="54127" y="1201420"/>
                      </a:lnTo>
                      <a:lnTo>
                        <a:pt x="53200" y="1201699"/>
                      </a:lnTo>
                      <a:lnTo>
                        <a:pt x="52806" y="1206944"/>
                      </a:lnTo>
                      <a:lnTo>
                        <a:pt x="52501" y="1208176"/>
                      </a:lnTo>
                      <a:lnTo>
                        <a:pt x="53543" y="1208138"/>
                      </a:lnTo>
                      <a:lnTo>
                        <a:pt x="54178" y="1207655"/>
                      </a:lnTo>
                      <a:lnTo>
                        <a:pt x="53975" y="1206715"/>
                      </a:lnTo>
                      <a:lnTo>
                        <a:pt x="55410" y="1208100"/>
                      </a:lnTo>
                      <a:lnTo>
                        <a:pt x="55168" y="1206715"/>
                      </a:lnTo>
                      <a:lnTo>
                        <a:pt x="54889" y="1205052"/>
                      </a:lnTo>
                      <a:lnTo>
                        <a:pt x="54648" y="1204328"/>
                      </a:lnTo>
                      <a:lnTo>
                        <a:pt x="55206" y="1204887"/>
                      </a:lnTo>
                      <a:lnTo>
                        <a:pt x="56464" y="1204328"/>
                      </a:lnTo>
                      <a:lnTo>
                        <a:pt x="57543" y="1203845"/>
                      </a:lnTo>
                      <a:close/>
                    </a:path>
                    <a:path w="617855" h="1292225">
                      <a:moveTo>
                        <a:pt x="59778" y="1144041"/>
                      </a:moveTo>
                      <a:lnTo>
                        <a:pt x="59334" y="1144358"/>
                      </a:lnTo>
                      <a:lnTo>
                        <a:pt x="58712" y="1144498"/>
                      </a:lnTo>
                      <a:lnTo>
                        <a:pt x="58216" y="1144739"/>
                      </a:lnTo>
                      <a:lnTo>
                        <a:pt x="54089" y="1141653"/>
                      </a:lnTo>
                      <a:lnTo>
                        <a:pt x="53492" y="1141691"/>
                      </a:lnTo>
                      <a:lnTo>
                        <a:pt x="53721" y="1144816"/>
                      </a:lnTo>
                      <a:lnTo>
                        <a:pt x="55321" y="1145717"/>
                      </a:lnTo>
                      <a:lnTo>
                        <a:pt x="56184" y="1148422"/>
                      </a:lnTo>
                      <a:lnTo>
                        <a:pt x="57543" y="1147140"/>
                      </a:lnTo>
                      <a:lnTo>
                        <a:pt x="58623" y="1145514"/>
                      </a:lnTo>
                      <a:lnTo>
                        <a:pt x="59778" y="1144041"/>
                      </a:lnTo>
                      <a:close/>
                    </a:path>
                    <a:path w="617855" h="1292225">
                      <a:moveTo>
                        <a:pt x="60401" y="1209738"/>
                      </a:moveTo>
                      <a:lnTo>
                        <a:pt x="59982" y="1209040"/>
                      </a:lnTo>
                      <a:lnTo>
                        <a:pt x="59524" y="1208265"/>
                      </a:lnTo>
                      <a:lnTo>
                        <a:pt x="59766" y="1208049"/>
                      </a:lnTo>
                      <a:lnTo>
                        <a:pt x="57746" y="1208278"/>
                      </a:lnTo>
                      <a:lnTo>
                        <a:pt x="59004" y="1211389"/>
                      </a:lnTo>
                      <a:lnTo>
                        <a:pt x="58928" y="1212011"/>
                      </a:lnTo>
                      <a:lnTo>
                        <a:pt x="57467" y="1211059"/>
                      </a:lnTo>
                      <a:lnTo>
                        <a:pt x="57162" y="1212100"/>
                      </a:lnTo>
                      <a:lnTo>
                        <a:pt x="57099" y="1212240"/>
                      </a:lnTo>
                      <a:lnTo>
                        <a:pt x="57162" y="1211516"/>
                      </a:lnTo>
                      <a:lnTo>
                        <a:pt x="57429" y="1210068"/>
                      </a:lnTo>
                      <a:lnTo>
                        <a:pt x="56591" y="1211008"/>
                      </a:lnTo>
                      <a:lnTo>
                        <a:pt x="56045" y="1212164"/>
                      </a:lnTo>
                      <a:lnTo>
                        <a:pt x="55397" y="1213243"/>
                      </a:lnTo>
                      <a:lnTo>
                        <a:pt x="56959" y="1212646"/>
                      </a:lnTo>
                      <a:lnTo>
                        <a:pt x="56032" y="1215186"/>
                      </a:lnTo>
                      <a:lnTo>
                        <a:pt x="56388" y="1215517"/>
                      </a:lnTo>
                      <a:lnTo>
                        <a:pt x="57378" y="1217422"/>
                      </a:lnTo>
                      <a:lnTo>
                        <a:pt x="58737" y="1216139"/>
                      </a:lnTo>
                      <a:lnTo>
                        <a:pt x="59601" y="1213396"/>
                      </a:lnTo>
                      <a:lnTo>
                        <a:pt x="60401" y="1209738"/>
                      </a:lnTo>
                      <a:close/>
                    </a:path>
                    <a:path w="617855" h="1292225">
                      <a:moveTo>
                        <a:pt x="60845" y="1179017"/>
                      </a:moveTo>
                      <a:lnTo>
                        <a:pt x="56883" y="1180630"/>
                      </a:lnTo>
                      <a:lnTo>
                        <a:pt x="55981" y="1180858"/>
                      </a:lnTo>
                      <a:lnTo>
                        <a:pt x="56413" y="1180198"/>
                      </a:lnTo>
                      <a:lnTo>
                        <a:pt x="56591" y="1180058"/>
                      </a:lnTo>
                      <a:lnTo>
                        <a:pt x="57200" y="1179576"/>
                      </a:lnTo>
                      <a:lnTo>
                        <a:pt x="57645" y="1178864"/>
                      </a:lnTo>
                      <a:lnTo>
                        <a:pt x="56642" y="1179144"/>
                      </a:lnTo>
                      <a:lnTo>
                        <a:pt x="56083" y="1179576"/>
                      </a:lnTo>
                      <a:lnTo>
                        <a:pt x="54940" y="1178801"/>
                      </a:lnTo>
                      <a:lnTo>
                        <a:pt x="55549" y="1178179"/>
                      </a:lnTo>
                      <a:lnTo>
                        <a:pt x="54571" y="1177810"/>
                      </a:lnTo>
                      <a:lnTo>
                        <a:pt x="54089" y="1178179"/>
                      </a:lnTo>
                      <a:lnTo>
                        <a:pt x="51892" y="1177607"/>
                      </a:lnTo>
                      <a:lnTo>
                        <a:pt x="52819" y="1177505"/>
                      </a:lnTo>
                      <a:lnTo>
                        <a:pt x="51054" y="1177607"/>
                      </a:lnTo>
                      <a:lnTo>
                        <a:pt x="52463" y="1179144"/>
                      </a:lnTo>
                      <a:lnTo>
                        <a:pt x="54102" y="1181100"/>
                      </a:lnTo>
                      <a:lnTo>
                        <a:pt x="55130" y="1180058"/>
                      </a:lnTo>
                      <a:lnTo>
                        <a:pt x="54381" y="1180947"/>
                      </a:lnTo>
                      <a:lnTo>
                        <a:pt x="53581" y="1181811"/>
                      </a:lnTo>
                      <a:lnTo>
                        <a:pt x="52527" y="1181404"/>
                      </a:lnTo>
                      <a:lnTo>
                        <a:pt x="51549" y="1180211"/>
                      </a:lnTo>
                      <a:lnTo>
                        <a:pt x="50279" y="1179957"/>
                      </a:lnTo>
                      <a:lnTo>
                        <a:pt x="51371" y="1183081"/>
                      </a:lnTo>
                      <a:lnTo>
                        <a:pt x="53924" y="1183030"/>
                      </a:lnTo>
                      <a:lnTo>
                        <a:pt x="53886" y="1184389"/>
                      </a:lnTo>
                      <a:lnTo>
                        <a:pt x="53809" y="1184719"/>
                      </a:lnTo>
                      <a:lnTo>
                        <a:pt x="53670" y="1185583"/>
                      </a:lnTo>
                      <a:lnTo>
                        <a:pt x="54876" y="1184389"/>
                      </a:lnTo>
                      <a:lnTo>
                        <a:pt x="55803" y="1183030"/>
                      </a:lnTo>
                      <a:lnTo>
                        <a:pt x="56261" y="1182357"/>
                      </a:lnTo>
                      <a:lnTo>
                        <a:pt x="57454" y="1181811"/>
                      </a:lnTo>
                      <a:lnTo>
                        <a:pt x="58420" y="1181366"/>
                      </a:lnTo>
                      <a:lnTo>
                        <a:pt x="59169" y="1181633"/>
                      </a:lnTo>
                      <a:lnTo>
                        <a:pt x="59334" y="1181366"/>
                      </a:lnTo>
                      <a:lnTo>
                        <a:pt x="59664" y="1180858"/>
                      </a:lnTo>
                      <a:lnTo>
                        <a:pt x="60845" y="1179017"/>
                      </a:lnTo>
                      <a:close/>
                    </a:path>
                    <a:path w="617855" h="1292225">
                      <a:moveTo>
                        <a:pt x="60947" y="1198245"/>
                      </a:moveTo>
                      <a:lnTo>
                        <a:pt x="60706" y="1198257"/>
                      </a:lnTo>
                      <a:lnTo>
                        <a:pt x="60947" y="1198245"/>
                      </a:lnTo>
                      <a:close/>
                    </a:path>
                    <a:path w="617855" h="1292225">
                      <a:moveTo>
                        <a:pt x="61252" y="1194079"/>
                      </a:moveTo>
                      <a:lnTo>
                        <a:pt x="60058" y="1192555"/>
                      </a:lnTo>
                      <a:lnTo>
                        <a:pt x="60883" y="1192657"/>
                      </a:lnTo>
                      <a:lnTo>
                        <a:pt x="60528" y="1191399"/>
                      </a:lnTo>
                      <a:lnTo>
                        <a:pt x="60325" y="1190675"/>
                      </a:lnTo>
                      <a:lnTo>
                        <a:pt x="60706" y="1190675"/>
                      </a:lnTo>
                      <a:lnTo>
                        <a:pt x="59982" y="1190180"/>
                      </a:lnTo>
                      <a:lnTo>
                        <a:pt x="59512" y="1189850"/>
                      </a:lnTo>
                      <a:lnTo>
                        <a:pt x="58674" y="1189799"/>
                      </a:lnTo>
                      <a:lnTo>
                        <a:pt x="57277" y="1191691"/>
                      </a:lnTo>
                      <a:lnTo>
                        <a:pt x="60299" y="1193266"/>
                      </a:lnTo>
                      <a:lnTo>
                        <a:pt x="61252" y="1194079"/>
                      </a:lnTo>
                      <a:close/>
                    </a:path>
                    <a:path w="617855" h="1292225">
                      <a:moveTo>
                        <a:pt x="61353" y="1078992"/>
                      </a:moveTo>
                      <a:lnTo>
                        <a:pt x="59944" y="1078572"/>
                      </a:lnTo>
                      <a:lnTo>
                        <a:pt x="59791" y="1079360"/>
                      </a:lnTo>
                      <a:lnTo>
                        <a:pt x="59931" y="1080147"/>
                      </a:lnTo>
                      <a:lnTo>
                        <a:pt x="60007" y="1080960"/>
                      </a:lnTo>
                      <a:lnTo>
                        <a:pt x="60629" y="1080033"/>
                      </a:lnTo>
                      <a:lnTo>
                        <a:pt x="61353" y="1078992"/>
                      </a:lnTo>
                      <a:close/>
                    </a:path>
                    <a:path w="617855" h="1292225">
                      <a:moveTo>
                        <a:pt x="62141" y="1061961"/>
                      </a:moveTo>
                      <a:lnTo>
                        <a:pt x="60655" y="1060323"/>
                      </a:lnTo>
                      <a:lnTo>
                        <a:pt x="60032" y="1060526"/>
                      </a:lnTo>
                      <a:lnTo>
                        <a:pt x="60020" y="1062723"/>
                      </a:lnTo>
                      <a:lnTo>
                        <a:pt x="60706" y="1062393"/>
                      </a:lnTo>
                      <a:lnTo>
                        <a:pt x="61480" y="1062240"/>
                      </a:lnTo>
                      <a:lnTo>
                        <a:pt x="62141" y="1061961"/>
                      </a:lnTo>
                      <a:close/>
                    </a:path>
                    <a:path w="617855" h="1292225">
                      <a:moveTo>
                        <a:pt x="62382" y="1219352"/>
                      </a:moveTo>
                      <a:lnTo>
                        <a:pt x="60706" y="1219187"/>
                      </a:lnTo>
                      <a:lnTo>
                        <a:pt x="59753" y="1219720"/>
                      </a:lnTo>
                      <a:lnTo>
                        <a:pt x="58420" y="1218819"/>
                      </a:lnTo>
                      <a:lnTo>
                        <a:pt x="58902" y="1219784"/>
                      </a:lnTo>
                      <a:lnTo>
                        <a:pt x="59804" y="1220482"/>
                      </a:lnTo>
                      <a:lnTo>
                        <a:pt x="60540" y="1221257"/>
                      </a:lnTo>
                      <a:lnTo>
                        <a:pt x="61328" y="1220825"/>
                      </a:lnTo>
                      <a:lnTo>
                        <a:pt x="61937" y="1220101"/>
                      </a:lnTo>
                      <a:lnTo>
                        <a:pt x="62382" y="1219352"/>
                      </a:lnTo>
                      <a:close/>
                    </a:path>
                    <a:path w="617855" h="1292225">
                      <a:moveTo>
                        <a:pt x="64579" y="1081163"/>
                      </a:moveTo>
                      <a:lnTo>
                        <a:pt x="63855" y="1079957"/>
                      </a:lnTo>
                      <a:lnTo>
                        <a:pt x="62649" y="1079195"/>
                      </a:lnTo>
                      <a:lnTo>
                        <a:pt x="61722" y="1080465"/>
                      </a:lnTo>
                      <a:lnTo>
                        <a:pt x="62611" y="1080884"/>
                      </a:lnTo>
                      <a:lnTo>
                        <a:pt x="63614" y="1080973"/>
                      </a:lnTo>
                      <a:lnTo>
                        <a:pt x="64579" y="1081163"/>
                      </a:lnTo>
                      <a:close/>
                    </a:path>
                    <a:path w="617855" h="1292225">
                      <a:moveTo>
                        <a:pt x="65049" y="1162646"/>
                      </a:moveTo>
                      <a:lnTo>
                        <a:pt x="64173" y="1161376"/>
                      </a:lnTo>
                      <a:lnTo>
                        <a:pt x="64185" y="1158633"/>
                      </a:lnTo>
                      <a:lnTo>
                        <a:pt x="64579" y="1158417"/>
                      </a:lnTo>
                      <a:lnTo>
                        <a:pt x="64465" y="1157630"/>
                      </a:lnTo>
                      <a:lnTo>
                        <a:pt x="64389" y="1157046"/>
                      </a:lnTo>
                      <a:lnTo>
                        <a:pt x="63842" y="1156665"/>
                      </a:lnTo>
                      <a:lnTo>
                        <a:pt x="63728" y="1155865"/>
                      </a:lnTo>
                      <a:lnTo>
                        <a:pt x="63652" y="1155268"/>
                      </a:lnTo>
                      <a:lnTo>
                        <a:pt x="63944" y="1154493"/>
                      </a:lnTo>
                      <a:lnTo>
                        <a:pt x="63766" y="1154163"/>
                      </a:lnTo>
                      <a:lnTo>
                        <a:pt x="63195" y="1153058"/>
                      </a:lnTo>
                      <a:lnTo>
                        <a:pt x="64465" y="1152575"/>
                      </a:lnTo>
                      <a:lnTo>
                        <a:pt x="62280" y="1149108"/>
                      </a:lnTo>
                      <a:lnTo>
                        <a:pt x="61899" y="1148168"/>
                      </a:lnTo>
                      <a:lnTo>
                        <a:pt x="62344" y="1146632"/>
                      </a:lnTo>
                      <a:lnTo>
                        <a:pt x="61645" y="1145857"/>
                      </a:lnTo>
                      <a:lnTo>
                        <a:pt x="61252" y="1144308"/>
                      </a:lnTo>
                      <a:lnTo>
                        <a:pt x="61379" y="1143254"/>
                      </a:lnTo>
                      <a:lnTo>
                        <a:pt x="60807" y="1142720"/>
                      </a:lnTo>
                      <a:lnTo>
                        <a:pt x="59169" y="1145451"/>
                      </a:lnTo>
                      <a:lnTo>
                        <a:pt x="60058" y="1146670"/>
                      </a:lnTo>
                      <a:lnTo>
                        <a:pt x="60274" y="1149438"/>
                      </a:lnTo>
                      <a:lnTo>
                        <a:pt x="59080" y="1148435"/>
                      </a:lnTo>
                      <a:lnTo>
                        <a:pt x="59220" y="1147000"/>
                      </a:lnTo>
                      <a:lnTo>
                        <a:pt x="57543" y="1148397"/>
                      </a:lnTo>
                      <a:lnTo>
                        <a:pt x="56769" y="1149045"/>
                      </a:lnTo>
                      <a:lnTo>
                        <a:pt x="55880" y="1150264"/>
                      </a:lnTo>
                      <a:lnTo>
                        <a:pt x="54889" y="1147419"/>
                      </a:lnTo>
                      <a:lnTo>
                        <a:pt x="53898" y="1146568"/>
                      </a:lnTo>
                      <a:lnTo>
                        <a:pt x="53047" y="1143863"/>
                      </a:lnTo>
                      <a:lnTo>
                        <a:pt x="52857" y="1142555"/>
                      </a:lnTo>
                      <a:lnTo>
                        <a:pt x="51689" y="1141095"/>
                      </a:lnTo>
                      <a:lnTo>
                        <a:pt x="52451" y="1140866"/>
                      </a:lnTo>
                      <a:lnTo>
                        <a:pt x="51371" y="1140320"/>
                      </a:lnTo>
                      <a:lnTo>
                        <a:pt x="49885" y="1140942"/>
                      </a:lnTo>
                      <a:lnTo>
                        <a:pt x="47828" y="1143038"/>
                      </a:lnTo>
                      <a:lnTo>
                        <a:pt x="50596" y="1144282"/>
                      </a:lnTo>
                      <a:lnTo>
                        <a:pt x="49047" y="1145857"/>
                      </a:lnTo>
                      <a:lnTo>
                        <a:pt x="50076" y="1146162"/>
                      </a:lnTo>
                      <a:lnTo>
                        <a:pt x="50952" y="1145565"/>
                      </a:lnTo>
                      <a:lnTo>
                        <a:pt x="51828" y="1145794"/>
                      </a:lnTo>
                      <a:lnTo>
                        <a:pt x="51028" y="1146924"/>
                      </a:lnTo>
                      <a:lnTo>
                        <a:pt x="49733" y="1146606"/>
                      </a:lnTo>
                      <a:lnTo>
                        <a:pt x="48958" y="1147559"/>
                      </a:lnTo>
                      <a:lnTo>
                        <a:pt x="50025" y="1147864"/>
                      </a:lnTo>
                      <a:lnTo>
                        <a:pt x="51689" y="1147991"/>
                      </a:lnTo>
                      <a:lnTo>
                        <a:pt x="52171" y="1146784"/>
                      </a:lnTo>
                      <a:lnTo>
                        <a:pt x="52920" y="1148918"/>
                      </a:lnTo>
                      <a:lnTo>
                        <a:pt x="53098" y="1150708"/>
                      </a:lnTo>
                      <a:lnTo>
                        <a:pt x="51638" y="1148435"/>
                      </a:lnTo>
                      <a:lnTo>
                        <a:pt x="49872" y="1148892"/>
                      </a:lnTo>
                      <a:lnTo>
                        <a:pt x="49034" y="1148740"/>
                      </a:lnTo>
                      <a:lnTo>
                        <a:pt x="48742" y="1148829"/>
                      </a:lnTo>
                      <a:lnTo>
                        <a:pt x="47396" y="1148181"/>
                      </a:lnTo>
                      <a:lnTo>
                        <a:pt x="47777" y="1149273"/>
                      </a:lnTo>
                      <a:lnTo>
                        <a:pt x="48133" y="1150239"/>
                      </a:lnTo>
                      <a:lnTo>
                        <a:pt x="49555" y="1151318"/>
                      </a:lnTo>
                      <a:lnTo>
                        <a:pt x="50457" y="1151623"/>
                      </a:lnTo>
                      <a:lnTo>
                        <a:pt x="50101" y="1152220"/>
                      </a:lnTo>
                      <a:lnTo>
                        <a:pt x="49631" y="1152740"/>
                      </a:lnTo>
                      <a:lnTo>
                        <a:pt x="49123" y="1153236"/>
                      </a:lnTo>
                      <a:lnTo>
                        <a:pt x="50927" y="1152740"/>
                      </a:lnTo>
                      <a:lnTo>
                        <a:pt x="53187" y="1151420"/>
                      </a:lnTo>
                      <a:lnTo>
                        <a:pt x="53581" y="1153439"/>
                      </a:lnTo>
                      <a:lnTo>
                        <a:pt x="55714" y="1151788"/>
                      </a:lnTo>
                      <a:lnTo>
                        <a:pt x="56159" y="1151051"/>
                      </a:lnTo>
                      <a:lnTo>
                        <a:pt x="56007" y="1150620"/>
                      </a:lnTo>
                      <a:lnTo>
                        <a:pt x="58394" y="1151902"/>
                      </a:lnTo>
                      <a:lnTo>
                        <a:pt x="60210" y="1152359"/>
                      </a:lnTo>
                      <a:lnTo>
                        <a:pt x="61861" y="1152740"/>
                      </a:lnTo>
                      <a:lnTo>
                        <a:pt x="62407" y="1153337"/>
                      </a:lnTo>
                      <a:lnTo>
                        <a:pt x="63169" y="1153058"/>
                      </a:lnTo>
                      <a:lnTo>
                        <a:pt x="63360" y="1154163"/>
                      </a:lnTo>
                      <a:lnTo>
                        <a:pt x="61798" y="1153528"/>
                      </a:lnTo>
                      <a:lnTo>
                        <a:pt x="61798" y="1165339"/>
                      </a:lnTo>
                      <a:lnTo>
                        <a:pt x="61125" y="1166799"/>
                      </a:lnTo>
                      <a:lnTo>
                        <a:pt x="60617" y="1167257"/>
                      </a:lnTo>
                      <a:lnTo>
                        <a:pt x="60363" y="1166215"/>
                      </a:lnTo>
                      <a:lnTo>
                        <a:pt x="61455" y="1165567"/>
                      </a:lnTo>
                      <a:lnTo>
                        <a:pt x="61798" y="1165339"/>
                      </a:lnTo>
                      <a:lnTo>
                        <a:pt x="61798" y="1153528"/>
                      </a:lnTo>
                      <a:lnTo>
                        <a:pt x="61023" y="1153210"/>
                      </a:lnTo>
                      <a:lnTo>
                        <a:pt x="60680" y="1152779"/>
                      </a:lnTo>
                      <a:lnTo>
                        <a:pt x="56718" y="1154569"/>
                      </a:lnTo>
                      <a:lnTo>
                        <a:pt x="54978" y="1156766"/>
                      </a:lnTo>
                      <a:lnTo>
                        <a:pt x="58623" y="1155865"/>
                      </a:lnTo>
                      <a:lnTo>
                        <a:pt x="58064" y="1156335"/>
                      </a:lnTo>
                      <a:lnTo>
                        <a:pt x="57315" y="1156550"/>
                      </a:lnTo>
                      <a:lnTo>
                        <a:pt x="56667" y="1156881"/>
                      </a:lnTo>
                      <a:lnTo>
                        <a:pt x="57353" y="1157744"/>
                      </a:lnTo>
                      <a:lnTo>
                        <a:pt x="58318" y="1158392"/>
                      </a:lnTo>
                      <a:lnTo>
                        <a:pt x="59258" y="1157630"/>
                      </a:lnTo>
                      <a:lnTo>
                        <a:pt x="58877" y="1158113"/>
                      </a:lnTo>
                      <a:lnTo>
                        <a:pt x="58343" y="1158532"/>
                      </a:lnTo>
                      <a:lnTo>
                        <a:pt x="57785" y="1158811"/>
                      </a:lnTo>
                      <a:lnTo>
                        <a:pt x="57937" y="1159078"/>
                      </a:lnTo>
                      <a:lnTo>
                        <a:pt x="55524" y="1160005"/>
                      </a:lnTo>
                      <a:lnTo>
                        <a:pt x="55448" y="1158773"/>
                      </a:lnTo>
                      <a:lnTo>
                        <a:pt x="53301" y="1161453"/>
                      </a:lnTo>
                      <a:lnTo>
                        <a:pt x="54317" y="1161821"/>
                      </a:lnTo>
                      <a:lnTo>
                        <a:pt x="55740" y="1162570"/>
                      </a:lnTo>
                      <a:lnTo>
                        <a:pt x="56045" y="1162748"/>
                      </a:lnTo>
                      <a:lnTo>
                        <a:pt x="56413" y="1162951"/>
                      </a:lnTo>
                      <a:lnTo>
                        <a:pt x="57340" y="1163548"/>
                      </a:lnTo>
                      <a:lnTo>
                        <a:pt x="58089" y="1164005"/>
                      </a:lnTo>
                      <a:lnTo>
                        <a:pt x="58178" y="1163154"/>
                      </a:lnTo>
                      <a:lnTo>
                        <a:pt x="58953" y="1159878"/>
                      </a:lnTo>
                      <a:lnTo>
                        <a:pt x="59664" y="1160297"/>
                      </a:lnTo>
                      <a:lnTo>
                        <a:pt x="59499" y="1162405"/>
                      </a:lnTo>
                      <a:lnTo>
                        <a:pt x="58978" y="1164094"/>
                      </a:lnTo>
                      <a:lnTo>
                        <a:pt x="58280" y="1165567"/>
                      </a:lnTo>
                      <a:lnTo>
                        <a:pt x="58166" y="1165059"/>
                      </a:lnTo>
                      <a:lnTo>
                        <a:pt x="58064" y="1164577"/>
                      </a:lnTo>
                      <a:lnTo>
                        <a:pt x="58013" y="1164348"/>
                      </a:lnTo>
                      <a:lnTo>
                        <a:pt x="56781" y="1163701"/>
                      </a:lnTo>
                      <a:lnTo>
                        <a:pt x="56045" y="1162748"/>
                      </a:lnTo>
                      <a:lnTo>
                        <a:pt x="55486" y="1162850"/>
                      </a:lnTo>
                      <a:lnTo>
                        <a:pt x="55384" y="1164094"/>
                      </a:lnTo>
                      <a:lnTo>
                        <a:pt x="55194" y="1164577"/>
                      </a:lnTo>
                      <a:lnTo>
                        <a:pt x="54495" y="1164094"/>
                      </a:lnTo>
                      <a:lnTo>
                        <a:pt x="54457" y="1164348"/>
                      </a:lnTo>
                      <a:lnTo>
                        <a:pt x="54165" y="1164958"/>
                      </a:lnTo>
                      <a:lnTo>
                        <a:pt x="53492" y="1163802"/>
                      </a:lnTo>
                      <a:lnTo>
                        <a:pt x="51930" y="1162646"/>
                      </a:lnTo>
                      <a:lnTo>
                        <a:pt x="52133" y="1165059"/>
                      </a:lnTo>
                      <a:lnTo>
                        <a:pt x="51981" y="1164539"/>
                      </a:lnTo>
                      <a:lnTo>
                        <a:pt x="51523" y="1163777"/>
                      </a:lnTo>
                      <a:lnTo>
                        <a:pt x="49453" y="1164513"/>
                      </a:lnTo>
                      <a:lnTo>
                        <a:pt x="51041" y="1166596"/>
                      </a:lnTo>
                      <a:lnTo>
                        <a:pt x="52247" y="1169174"/>
                      </a:lnTo>
                      <a:lnTo>
                        <a:pt x="52984" y="1172095"/>
                      </a:lnTo>
                      <a:lnTo>
                        <a:pt x="55232" y="1174445"/>
                      </a:lnTo>
                      <a:lnTo>
                        <a:pt x="57912" y="1173530"/>
                      </a:lnTo>
                      <a:lnTo>
                        <a:pt x="56997" y="1173200"/>
                      </a:lnTo>
                      <a:lnTo>
                        <a:pt x="57200" y="1172476"/>
                      </a:lnTo>
                      <a:lnTo>
                        <a:pt x="57581" y="1171092"/>
                      </a:lnTo>
                      <a:lnTo>
                        <a:pt x="57518" y="1170406"/>
                      </a:lnTo>
                      <a:lnTo>
                        <a:pt x="57416" y="1169682"/>
                      </a:lnTo>
                      <a:lnTo>
                        <a:pt x="56375" y="1168908"/>
                      </a:lnTo>
                      <a:lnTo>
                        <a:pt x="57213" y="1167650"/>
                      </a:lnTo>
                      <a:lnTo>
                        <a:pt x="57416" y="1167892"/>
                      </a:lnTo>
                      <a:lnTo>
                        <a:pt x="58051" y="1168120"/>
                      </a:lnTo>
                      <a:lnTo>
                        <a:pt x="58242" y="1168349"/>
                      </a:lnTo>
                      <a:lnTo>
                        <a:pt x="58496" y="1167663"/>
                      </a:lnTo>
                      <a:lnTo>
                        <a:pt x="60109" y="1167714"/>
                      </a:lnTo>
                      <a:lnTo>
                        <a:pt x="60731" y="1167714"/>
                      </a:lnTo>
                      <a:lnTo>
                        <a:pt x="63614" y="1167714"/>
                      </a:lnTo>
                      <a:lnTo>
                        <a:pt x="64808" y="1165783"/>
                      </a:lnTo>
                      <a:lnTo>
                        <a:pt x="64846" y="1165339"/>
                      </a:lnTo>
                      <a:lnTo>
                        <a:pt x="65049" y="1162646"/>
                      </a:lnTo>
                      <a:close/>
                    </a:path>
                    <a:path w="617855" h="1292225">
                      <a:moveTo>
                        <a:pt x="65747" y="1084008"/>
                      </a:moveTo>
                      <a:lnTo>
                        <a:pt x="65532" y="1082916"/>
                      </a:lnTo>
                      <a:lnTo>
                        <a:pt x="65532" y="1080643"/>
                      </a:lnTo>
                      <a:lnTo>
                        <a:pt x="63855" y="1081786"/>
                      </a:lnTo>
                      <a:lnTo>
                        <a:pt x="64325" y="1082636"/>
                      </a:lnTo>
                      <a:lnTo>
                        <a:pt x="65074" y="1083297"/>
                      </a:lnTo>
                      <a:lnTo>
                        <a:pt x="65747" y="1084008"/>
                      </a:lnTo>
                      <a:close/>
                    </a:path>
                    <a:path w="617855" h="1292225">
                      <a:moveTo>
                        <a:pt x="66078" y="1196568"/>
                      </a:moveTo>
                      <a:lnTo>
                        <a:pt x="65405" y="1196530"/>
                      </a:lnTo>
                      <a:lnTo>
                        <a:pt x="65392" y="1196086"/>
                      </a:lnTo>
                      <a:lnTo>
                        <a:pt x="65316" y="1194816"/>
                      </a:lnTo>
                      <a:lnTo>
                        <a:pt x="65303" y="1194549"/>
                      </a:lnTo>
                      <a:lnTo>
                        <a:pt x="65697" y="1193952"/>
                      </a:lnTo>
                      <a:lnTo>
                        <a:pt x="65709" y="1193673"/>
                      </a:lnTo>
                      <a:lnTo>
                        <a:pt x="65024" y="1191983"/>
                      </a:lnTo>
                      <a:lnTo>
                        <a:pt x="62750" y="1191183"/>
                      </a:lnTo>
                      <a:lnTo>
                        <a:pt x="61671" y="1191056"/>
                      </a:lnTo>
                      <a:lnTo>
                        <a:pt x="61950" y="1191780"/>
                      </a:lnTo>
                      <a:lnTo>
                        <a:pt x="62509" y="1192479"/>
                      </a:lnTo>
                      <a:lnTo>
                        <a:pt x="63195" y="1192733"/>
                      </a:lnTo>
                      <a:lnTo>
                        <a:pt x="62585" y="1193228"/>
                      </a:lnTo>
                      <a:lnTo>
                        <a:pt x="61925" y="1193673"/>
                      </a:lnTo>
                      <a:lnTo>
                        <a:pt x="61252" y="1194079"/>
                      </a:lnTo>
                      <a:lnTo>
                        <a:pt x="60159" y="1194816"/>
                      </a:lnTo>
                      <a:lnTo>
                        <a:pt x="59270" y="1194028"/>
                      </a:lnTo>
                      <a:lnTo>
                        <a:pt x="58140" y="1193952"/>
                      </a:lnTo>
                      <a:lnTo>
                        <a:pt x="58534" y="1194993"/>
                      </a:lnTo>
                      <a:lnTo>
                        <a:pt x="59283" y="1195857"/>
                      </a:lnTo>
                      <a:lnTo>
                        <a:pt x="60896" y="1198181"/>
                      </a:lnTo>
                      <a:lnTo>
                        <a:pt x="62191" y="1197610"/>
                      </a:lnTo>
                      <a:lnTo>
                        <a:pt x="62357" y="1197013"/>
                      </a:lnTo>
                      <a:lnTo>
                        <a:pt x="62649" y="1196822"/>
                      </a:lnTo>
                      <a:lnTo>
                        <a:pt x="63131" y="1196721"/>
                      </a:lnTo>
                      <a:lnTo>
                        <a:pt x="64719" y="1196086"/>
                      </a:lnTo>
                      <a:lnTo>
                        <a:pt x="64960" y="1196238"/>
                      </a:lnTo>
                      <a:lnTo>
                        <a:pt x="65455" y="1197787"/>
                      </a:lnTo>
                      <a:lnTo>
                        <a:pt x="66078" y="1196568"/>
                      </a:lnTo>
                      <a:close/>
                    </a:path>
                    <a:path w="617855" h="1292225">
                      <a:moveTo>
                        <a:pt x="66687" y="1173683"/>
                      </a:moveTo>
                      <a:lnTo>
                        <a:pt x="65951" y="1172514"/>
                      </a:lnTo>
                      <a:lnTo>
                        <a:pt x="64820" y="1170736"/>
                      </a:lnTo>
                      <a:lnTo>
                        <a:pt x="63982" y="1169403"/>
                      </a:lnTo>
                      <a:lnTo>
                        <a:pt x="63665" y="1168908"/>
                      </a:lnTo>
                      <a:lnTo>
                        <a:pt x="63601" y="1167739"/>
                      </a:lnTo>
                      <a:lnTo>
                        <a:pt x="60744" y="1167739"/>
                      </a:lnTo>
                      <a:lnTo>
                        <a:pt x="60083" y="1167739"/>
                      </a:lnTo>
                      <a:lnTo>
                        <a:pt x="59893" y="1167892"/>
                      </a:lnTo>
                      <a:lnTo>
                        <a:pt x="58674" y="1168641"/>
                      </a:lnTo>
                      <a:lnTo>
                        <a:pt x="59423" y="1169466"/>
                      </a:lnTo>
                      <a:lnTo>
                        <a:pt x="60426" y="1169403"/>
                      </a:lnTo>
                      <a:lnTo>
                        <a:pt x="60947" y="1170406"/>
                      </a:lnTo>
                      <a:lnTo>
                        <a:pt x="59829" y="1170736"/>
                      </a:lnTo>
                      <a:lnTo>
                        <a:pt x="58813" y="1169682"/>
                      </a:lnTo>
                      <a:lnTo>
                        <a:pt x="57581" y="1172629"/>
                      </a:lnTo>
                      <a:lnTo>
                        <a:pt x="61442" y="1172629"/>
                      </a:lnTo>
                      <a:lnTo>
                        <a:pt x="59588" y="1174800"/>
                      </a:lnTo>
                      <a:lnTo>
                        <a:pt x="56603" y="1176083"/>
                      </a:lnTo>
                      <a:lnTo>
                        <a:pt x="60223" y="1175651"/>
                      </a:lnTo>
                      <a:lnTo>
                        <a:pt x="61010" y="1175194"/>
                      </a:lnTo>
                      <a:lnTo>
                        <a:pt x="61633" y="1176172"/>
                      </a:lnTo>
                      <a:lnTo>
                        <a:pt x="61391" y="1176299"/>
                      </a:lnTo>
                      <a:lnTo>
                        <a:pt x="57823" y="1176731"/>
                      </a:lnTo>
                      <a:lnTo>
                        <a:pt x="60413" y="1178420"/>
                      </a:lnTo>
                      <a:lnTo>
                        <a:pt x="61658" y="1178356"/>
                      </a:lnTo>
                      <a:lnTo>
                        <a:pt x="64096" y="1177226"/>
                      </a:lnTo>
                      <a:lnTo>
                        <a:pt x="64452" y="1176299"/>
                      </a:lnTo>
                      <a:lnTo>
                        <a:pt x="64528" y="1175194"/>
                      </a:lnTo>
                      <a:lnTo>
                        <a:pt x="64490" y="1174534"/>
                      </a:lnTo>
                      <a:lnTo>
                        <a:pt x="64922" y="1174965"/>
                      </a:lnTo>
                      <a:lnTo>
                        <a:pt x="65049" y="1174534"/>
                      </a:lnTo>
                      <a:lnTo>
                        <a:pt x="65036" y="1173175"/>
                      </a:lnTo>
                      <a:lnTo>
                        <a:pt x="64516" y="1172514"/>
                      </a:lnTo>
                      <a:lnTo>
                        <a:pt x="66687" y="1173683"/>
                      </a:lnTo>
                      <a:close/>
                    </a:path>
                    <a:path w="617855" h="1292225">
                      <a:moveTo>
                        <a:pt x="67652" y="1090599"/>
                      </a:moveTo>
                      <a:lnTo>
                        <a:pt x="67068" y="1089660"/>
                      </a:lnTo>
                      <a:lnTo>
                        <a:pt x="65849" y="1089177"/>
                      </a:lnTo>
                      <a:lnTo>
                        <a:pt x="65786" y="1090066"/>
                      </a:lnTo>
                      <a:lnTo>
                        <a:pt x="66192" y="1090904"/>
                      </a:lnTo>
                      <a:lnTo>
                        <a:pt x="66446" y="1091755"/>
                      </a:lnTo>
                      <a:lnTo>
                        <a:pt x="67652" y="1090599"/>
                      </a:lnTo>
                      <a:close/>
                    </a:path>
                    <a:path w="617855" h="1292225">
                      <a:moveTo>
                        <a:pt x="68275" y="1097267"/>
                      </a:moveTo>
                      <a:lnTo>
                        <a:pt x="67741" y="1095870"/>
                      </a:lnTo>
                      <a:lnTo>
                        <a:pt x="65747" y="1093279"/>
                      </a:lnTo>
                      <a:lnTo>
                        <a:pt x="65913" y="1092415"/>
                      </a:lnTo>
                      <a:lnTo>
                        <a:pt x="65963" y="1091031"/>
                      </a:lnTo>
                      <a:lnTo>
                        <a:pt x="64490" y="1091488"/>
                      </a:lnTo>
                      <a:lnTo>
                        <a:pt x="63080" y="1091933"/>
                      </a:lnTo>
                      <a:lnTo>
                        <a:pt x="64757" y="1092809"/>
                      </a:lnTo>
                      <a:lnTo>
                        <a:pt x="63512" y="1096975"/>
                      </a:lnTo>
                      <a:lnTo>
                        <a:pt x="63042" y="1098550"/>
                      </a:lnTo>
                      <a:lnTo>
                        <a:pt x="62903" y="1098092"/>
                      </a:lnTo>
                      <a:lnTo>
                        <a:pt x="63487" y="1097051"/>
                      </a:lnTo>
                      <a:lnTo>
                        <a:pt x="62636" y="1097622"/>
                      </a:lnTo>
                      <a:lnTo>
                        <a:pt x="61963" y="1098613"/>
                      </a:lnTo>
                      <a:lnTo>
                        <a:pt x="61214" y="1099477"/>
                      </a:lnTo>
                      <a:lnTo>
                        <a:pt x="63779" y="1100797"/>
                      </a:lnTo>
                      <a:lnTo>
                        <a:pt x="63474" y="1099870"/>
                      </a:lnTo>
                      <a:lnTo>
                        <a:pt x="65786" y="1099959"/>
                      </a:lnTo>
                      <a:lnTo>
                        <a:pt x="66548" y="1098613"/>
                      </a:lnTo>
                      <a:lnTo>
                        <a:pt x="67843" y="1099083"/>
                      </a:lnTo>
                      <a:lnTo>
                        <a:pt x="68275" y="1097267"/>
                      </a:lnTo>
                      <a:close/>
                    </a:path>
                    <a:path w="617855" h="1292225">
                      <a:moveTo>
                        <a:pt x="70459" y="1239316"/>
                      </a:moveTo>
                      <a:lnTo>
                        <a:pt x="69354" y="1239024"/>
                      </a:lnTo>
                      <a:lnTo>
                        <a:pt x="68541" y="1239393"/>
                      </a:lnTo>
                      <a:lnTo>
                        <a:pt x="67868" y="1240193"/>
                      </a:lnTo>
                      <a:lnTo>
                        <a:pt x="68757" y="1240015"/>
                      </a:lnTo>
                      <a:lnTo>
                        <a:pt x="69608" y="1239634"/>
                      </a:lnTo>
                      <a:lnTo>
                        <a:pt x="70459" y="1239316"/>
                      </a:lnTo>
                      <a:close/>
                    </a:path>
                    <a:path w="617855" h="1292225">
                      <a:moveTo>
                        <a:pt x="70954" y="1212507"/>
                      </a:moveTo>
                      <a:lnTo>
                        <a:pt x="67449" y="1211745"/>
                      </a:lnTo>
                      <a:lnTo>
                        <a:pt x="66776" y="1211237"/>
                      </a:lnTo>
                      <a:lnTo>
                        <a:pt x="65849" y="1210564"/>
                      </a:lnTo>
                      <a:lnTo>
                        <a:pt x="65646" y="1210106"/>
                      </a:lnTo>
                      <a:lnTo>
                        <a:pt x="64198" y="1209700"/>
                      </a:lnTo>
                      <a:lnTo>
                        <a:pt x="65608" y="1211351"/>
                      </a:lnTo>
                      <a:lnTo>
                        <a:pt x="67335" y="1212773"/>
                      </a:lnTo>
                      <a:lnTo>
                        <a:pt x="68922" y="1214272"/>
                      </a:lnTo>
                      <a:lnTo>
                        <a:pt x="70954" y="1212507"/>
                      </a:lnTo>
                      <a:close/>
                    </a:path>
                    <a:path w="617855" h="1292225">
                      <a:moveTo>
                        <a:pt x="71691" y="1220546"/>
                      </a:moveTo>
                      <a:lnTo>
                        <a:pt x="70434" y="1219530"/>
                      </a:lnTo>
                      <a:lnTo>
                        <a:pt x="68516" y="1217752"/>
                      </a:lnTo>
                      <a:lnTo>
                        <a:pt x="67043" y="1216012"/>
                      </a:lnTo>
                      <a:lnTo>
                        <a:pt x="65468" y="1217625"/>
                      </a:lnTo>
                      <a:lnTo>
                        <a:pt x="66090" y="1217930"/>
                      </a:lnTo>
                      <a:lnTo>
                        <a:pt x="68592" y="1218069"/>
                      </a:lnTo>
                      <a:lnTo>
                        <a:pt x="69862" y="1220571"/>
                      </a:lnTo>
                      <a:lnTo>
                        <a:pt x="71691" y="1220546"/>
                      </a:lnTo>
                      <a:close/>
                    </a:path>
                    <a:path w="617855" h="1292225">
                      <a:moveTo>
                        <a:pt x="71843" y="1066050"/>
                      </a:moveTo>
                      <a:lnTo>
                        <a:pt x="69646" y="1065491"/>
                      </a:lnTo>
                      <a:lnTo>
                        <a:pt x="70065" y="1066355"/>
                      </a:lnTo>
                      <a:lnTo>
                        <a:pt x="70764" y="1067054"/>
                      </a:lnTo>
                      <a:lnTo>
                        <a:pt x="71374" y="1067816"/>
                      </a:lnTo>
                      <a:lnTo>
                        <a:pt x="71843" y="1066050"/>
                      </a:lnTo>
                      <a:close/>
                    </a:path>
                    <a:path w="617855" h="1292225">
                      <a:moveTo>
                        <a:pt x="72288" y="1221016"/>
                      </a:moveTo>
                      <a:lnTo>
                        <a:pt x="71729" y="1220571"/>
                      </a:lnTo>
                      <a:lnTo>
                        <a:pt x="69862" y="1220571"/>
                      </a:lnTo>
                      <a:lnTo>
                        <a:pt x="67005" y="1220571"/>
                      </a:lnTo>
                      <a:lnTo>
                        <a:pt x="69380" y="1222819"/>
                      </a:lnTo>
                      <a:lnTo>
                        <a:pt x="69659" y="1222616"/>
                      </a:lnTo>
                      <a:lnTo>
                        <a:pt x="72110" y="1221625"/>
                      </a:lnTo>
                      <a:lnTo>
                        <a:pt x="72288" y="1221016"/>
                      </a:lnTo>
                      <a:close/>
                    </a:path>
                    <a:path w="617855" h="1292225">
                      <a:moveTo>
                        <a:pt x="72428" y="1085786"/>
                      </a:moveTo>
                      <a:lnTo>
                        <a:pt x="69608" y="1083348"/>
                      </a:lnTo>
                      <a:lnTo>
                        <a:pt x="68770" y="1084072"/>
                      </a:lnTo>
                      <a:lnTo>
                        <a:pt x="67297" y="1087018"/>
                      </a:lnTo>
                      <a:lnTo>
                        <a:pt x="69062" y="1085989"/>
                      </a:lnTo>
                      <a:lnTo>
                        <a:pt x="70751" y="1086472"/>
                      </a:lnTo>
                      <a:lnTo>
                        <a:pt x="72428" y="1085786"/>
                      </a:lnTo>
                      <a:close/>
                    </a:path>
                    <a:path w="617855" h="1292225">
                      <a:moveTo>
                        <a:pt x="72478" y="1065491"/>
                      </a:moveTo>
                      <a:lnTo>
                        <a:pt x="72250" y="1064564"/>
                      </a:lnTo>
                      <a:lnTo>
                        <a:pt x="71843" y="1066050"/>
                      </a:lnTo>
                      <a:lnTo>
                        <a:pt x="72390" y="1066177"/>
                      </a:lnTo>
                      <a:lnTo>
                        <a:pt x="72428" y="1066050"/>
                      </a:lnTo>
                      <a:lnTo>
                        <a:pt x="72478" y="1065491"/>
                      </a:lnTo>
                      <a:close/>
                    </a:path>
                    <a:path w="617855" h="1292225">
                      <a:moveTo>
                        <a:pt x="72847" y="1073073"/>
                      </a:moveTo>
                      <a:lnTo>
                        <a:pt x="72021" y="1072565"/>
                      </a:lnTo>
                      <a:lnTo>
                        <a:pt x="71120" y="1072311"/>
                      </a:lnTo>
                      <a:lnTo>
                        <a:pt x="70510" y="1071549"/>
                      </a:lnTo>
                      <a:lnTo>
                        <a:pt x="70472" y="1072616"/>
                      </a:lnTo>
                      <a:lnTo>
                        <a:pt x="70904" y="1073670"/>
                      </a:lnTo>
                      <a:lnTo>
                        <a:pt x="71158" y="1074699"/>
                      </a:lnTo>
                      <a:lnTo>
                        <a:pt x="71488" y="1073708"/>
                      </a:lnTo>
                      <a:lnTo>
                        <a:pt x="71831" y="1072997"/>
                      </a:lnTo>
                      <a:lnTo>
                        <a:pt x="72847" y="1073073"/>
                      </a:lnTo>
                      <a:close/>
                    </a:path>
                    <a:path w="617855" h="1292225">
                      <a:moveTo>
                        <a:pt x="73012" y="1081087"/>
                      </a:moveTo>
                      <a:lnTo>
                        <a:pt x="71234" y="1078560"/>
                      </a:lnTo>
                      <a:lnTo>
                        <a:pt x="70739" y="1078191"/>
                      </a:lnTo>
                      <a:lnTo>
                        <a:pt x="70192" y="1077709"/>
                      </a:lnTo>
                      <a:lnTo>
                        <a:pt x="69646" y="1077214"/>
                      </a:lnTo>
                      <a:lnTo>
                        <a:pt x="69176" y="1078369"/>
                      </a:lnTo>
                      <a:lnTo>
                        <a:pt x="70180" y="1078687"/>
                      </a:lnTo>
                      <a:lnTo>
                        <a:pt x="70866" y="1078687"/>
                      </a:lnTo>
                      <a:lnTo>
                        <a:pt x="68351" y="1079576"/>
                      </a:lnTo>
                      <a:lnTo>
                        <a:pt x="65786" y="1079868"/>
                      </a:lnTo>
                      <a:lnTo>
                        <a:pt x="66078" y="1081049"/>
                      </a:lnTo>
                      <a:lnTo>
                        <a:pt x="66890" y="1082040"/>
                      </a:lnTo>
                      <a:lnTo>
                        <a:pt x="67500" y="1083068"/>
                      </a:lnTo>
                      <a:lnTo>
                        <a:pt x="69151" y="1082192"/>
                      </a:lnTo>
                      <a:lnTo>
                        <a:pt x="71196" y="1081176"/>
                      </a:lnTo>
                      <a:lnTo>
                        <a:pt x="73012" y="1081087"/>
                      </a:lnTo>
                      <a:close/>
                    </a:path>
                    <a:path w="617855" h="1292225">
                      <a:moveTo>
                        <a:pt x="73164" y="1072362"/>
                      </a:moveTo>
                      <a:lnTo>
                        <a:pt x="72809" y="1071067"/>
                      </a:lnTo>
                      <a:lnTo>
                        <a:pt x="72237" y="1070013"/>
                      </a:lnTo>
                      <a:lnTo>
                        <a:pt x="71221" y="1071270"/>
                      </a:lnTo>
                      <a:lnTo>
                        <a:pt x="71805" y="1071727"/>
                      </a:lnTo>
                      <a:lnTo>
                        <a:pt x="72491" y="1072019"/>
                      </a:lnTo>
                      <a:lnTo>
                        <a:pt x="73164" y="1072362"/>
                      </a:lnTo>
                      <a:close/>
                    </a:path>
                    <a:path w="617855" h="1292225">
                      <a:moveTo>
                        <a:pt x="74066" y="1138567"/>
                      </a:moveTo>
                      <a:lnTo>
                        <a:pt x="70751" y="1137132"/>
                      </a:lnTo>
                      <a:lnTo>
                        <a:pt x="66903" y="1136091"/>
                      </a:lnTo>
                      <a:lnTo>
                        <a:pt x="64236" y="1138732"/>
                      </a:lnTo>
                      <a:lnTo>
                        <a:pt x="64947" y="1139367"/>
                      </a:lnTo>
                      <a:lnTo>
                        <a:pt x="65862" y="1139685"/>
                      </a:lnTo>
                      <a:lnTo>
                        <a:pt x="66713" y="1140104"/>
                      </a:lnTo>
                      <a:lnTo>
                        <a:pt x="68326" y="1139748"/>
                      </a:lnTo>
                      <a:lnTo>
                        <a:pt x="69761" y="1139405"/>
                      </a:lnTo>
                      <a:lnTo>
                        <a:pt x="71310" y="1139507"/>
                      </a:lnTo>
                      <a:lnTo>
                        <a:pt x="71539" y="1139520"/>
                      </a:lnTo>
                      <a:lnTo>
                        <a:pt x="71767" y="1139037"/>
                      </a:lnTo>
                      <a:lnTo>
                        <a:pt x="72377" y="1139024"/>
                      </a:lnTo>
                      <a:lnTo>
                        <a:pt x="72593" y="1139672"/>
                      </a:lnTo>
                      <a:lnTo>
                        <a:pt x="73456" y="1139393"/>
                      </a:lnTo>
                      <a:lnTo>
                        <a:pt x="73888" y="1139520"/>
                      </a:lnTo>
                      <a:lnTo>
                        <a:pt x="74066" y="1138567"/>
                      </a:lnTo>
                      <a:close/>
                    </a:path>
                    <a:path w="617855" h="1292225">
                      <a:moveTo>
                        <a:pt x="74358" y="1092415"/>
                      </a:moveTo>
                      <a:lnTo>
                        <a:pt x="73825" y="1092060"/>
                      </a:lnTo>
                      <a:lnTo>
                        <a:pt x="70878" y="1090371"/>
                      </a:lnTo>
                      <a:lnTo>
                        <a:pt x="70599" y="1090371"/>
                      </a:lnTo>
                      <a:lnTo>
                        <a:pt x="69977" y="1090383"/>
                      </a:lnTo>
                      <a:lnTo>
                        <a:pt x="69710" y="1090726"/>
                      </a:lnTo>
                      <a:lnTo>
                        <a:pt x="68897" y="1092276"/>
                      </a:lnTo>
                      <a:lnTo>
                        <a:pt x="70675" y="1092619"/>
                      </a:lnTo>
                      <a:lnTo>
                        <a:pt x="71247" y="1092809"/>
                      </a:lnTo>
                      <a:lnTo>
                        <a:pt x="73558" y="1092796"/>
                      </a:lnTo>
                      <a:lnTo>
                        <a:pt x="74358" y="1092415"/>
                      </a:lnTo>
                      <a:close/>
                    </a:path>
                    <a:path w="617855" h="1292225">
                      <a:moveTo>
                        <a:pt x="74599" y="1066952"/>
                      </a:moveTo>
                      <a:lnTo>
                        <a:pt x="73164" y="1063434"/>
                      </a:lnTo>
                      <a:lnTo>
                        <a:pt x="72580" y="1065491"/>
                      </a:lnTo>
                      <a:lnTo>
                        <a:pt x="72618" y="1066050"/>
                      </a:lnTo>
                      <a:lnTo>
                        <a:pt x="72923" y="1067257"/>
                      </a:lnTo>
                      <a:lnTo>
                        <a:pt x="74599" y="1066952"/>
                      </a:lnTo>
                      <a:close/>
                    </a:path>
                    <a:path w="617855" h="1292225">
                      <a:moveTo>
                        <a:pt x="75336" y="1218399"/>
                      </a:moveTo>
                      <a:lnTo>
                        <a:pt x="74815" y="1216914"/>
                      </a:lnTo>
                      <a:lnTo>
                        <a:pt x="71843" y="1213154"/>
                      </a:lnTo>
                      <a:lnTo>
                        <a:pt x="70104" y="1213612"/>
                      </a:lnTo>
                      <a:lnTo>
                        <a:pt x="71577" y="1215428"/>
                      </a:lnTo>
                      <a:lnTo>
                        <a:pt x="73596" y="1216863"/>
                      </a:lnTo>
                      <a:lnTo>
                        <a:pt x="75336" y="1218399"/>
                      </a:lnTo>
                      <a:close/>
                    </a:path>
                    <a:path w="617855" h="1292225">
                      <a:moveTo>
                        <a:pt x="75552" y="1089609"/>
                      </a:moveTo>
                      <a:lnTo>
                        <a:pt x="75514" y="1086777"/>
                      </a:lnTo>
                      <a:lnTo>
                        <a:pt x="73050" y="1086383"/>
                      </a:lnTo>
                      <a:lnTo>
                        <a:pt x="72123" y="1086231"/>
                      </a:lnTo>
                      <a:lnTo>
                        <a:pt x="68440" y="1086980"/>
                      </a:lnTo>
                      <a:lnTo>
                        <a:pt x="67932" y="1087704"/>
                      </a:lnTo>
                      <a:lnTo>
                        <a:pt x="70129" y="1089253"/>
                      </a:lnTo>
                      <a:lnTo>
                        <a:pt x="72720" y="1090307"/>
                      </a:lnTo>
                      <a:lnTo>
                        <a:pt x="75107" y="1091514"/>
                      </a:lnTo>
                      <a:lnTo>
                        <a:pt x="75552" y="1089609"/>
                      </a:lnTo>
                      <a:close/>
                    </a:path>
                    <a:path w="617855" h="1292225">
                      <a:moveTo>
                        <a:pt x="76390" y="1098118"/>
                      </a:moveTo>
                      <a:lnTo>
                        <a:pt x="76161" y="1096187"/>
                      </a:lnTo>
                      <a:lnTo>
                        <a:pt x="76161" y="1094359"/>
                      </a:lnTo>
                      <a:lnTo>
                        <a:pt x="74434" y="1095349"/>
                      </a:lnTo>
                      <a:lnTo>
                        <a:pt x="74371" y="1095552"/>
                      </a:lnTo>
                      <a:lnTo>
                        <a:pt x="72644" y="1094168"/>
                      </a:lnTo>
                      <a:lnTo>
                        <a:pt x="71526" y="1094181"/>
                      </a:lnTo>
                      <a:lnTo>
                        <a:pt x="70446" y="1094193"/>
                      </a:lnTo>
                      <a:lnTo>
                        <a:pt x="70612" y="1093851"/>
                      </a:lnTo>
                      <a:lnTo>
                        <a:pt x="69202" y="1095540"/>
                      </a:lnTo>
                      <a:lnTo>
                        <a:pt x="68986" y="1096276"/>
                      </a:lnTo>
                      <a:lnTo>
                        <a:pt x="68287" y="1096238"/>
                      </a:lnTo>
                      <a:lnTo>
                        <a:pt x="68884" y="1096645"/>
                      </a:lnTo>
                      <a:lnTo>
                        <a:pt x="70751" y="1097889"/>
                      </a:lnTo>
                      <a:lnTo>
                        <a:pt x="72186" y="1099019"/>
                      </a:lnTo>
                      <a:lnTo>
                        <a:pt x="72580" y="1097978"/>
                      </a:lnTo>
                      <a:lnTo>
                        <a:pt x="72872" y="1097000"/>
                      </a:lnTo>
                      <a:lnTo>
                        <a:pt x="71831" y="1096391"/>
                      </a:lnTo>
                      <a:lnTo>
                        <a:pt x="70345" y="1096327"/>
                      </a:lnTo>
                      <a:lnTo>
                        <a:pt x="70904" y="1095743"/>
                      </a:lnTo>
                      <a:lnTo>
                        <a:pt x="71869" y="1096391"/>
                      </a:lnTo>
                      <a:lnTo>
                        <a:pt x="74218" y="1096175"/>
                      </a:lnTo>
                      <a:lnTo>
                        <a:pt x="74447" y="1097483"/>
                      </a:lnTo>
                      <a:lnTo>
                        <a:pt x="74574" y="1098296"/>
                      </a:lnTo>
                      <a:lnTo>
                        <a:pt x="73850" y="1097737"/>
                      </a:lnTo>
                      <a:lnTo>
                        <a:pt x="75044" y="1098880"/>
                      </a:lnTo>
                      <a:lnTo>
                        <a:pt x="75374" y="1099210"/>
                      </a:lnTo>
                      <a:lnTo>
                        <a:pt x="75755" y="1099566"/>
                      </a:lnTo>
                      <a:lnTo>
                        <a:pt x="76047" y="1099921"/>
                      </a:lnTo>
                      <a:lnTo>
                        <a:pt x="76390" y="1098118"/>
                      </a:lnTo>
                      <a:close/>
                    </a:path>
                    <a:path w="617855" h="1292225">
                      <a:moveTo>
                        <a:pt x="81546" y="1053884"/>
                      </a:moveTo>
                      <a:lnTo>
                        <a:pt x="80289" y="1053414"/>
                      </a:lnTo>
                      <a:lnTo>
                        <a:pt x="77165" y="1052245"/>
                      </a:lnTo>
                      <a:lnTo>
                        <a:pt x="77304" y="1052271"/>
                      </a:lnTo>
                      <a:lnTo>
                        <a:pt x="77520" y="1052245"/>
                      </a:lnTo>
                      <a:lnTo>
                        <a:pt x="77749" y="1052220"/>
                      </a:lnTo>
                      <a:lnTo>
                        <a:pt x="77952" y="1052245"/>
                      </a:lnTo>
                      <a:lnTo>
                        <a:pt x="77444" y="1051064"/>
                      </a:lnTo>
                      <a:lnTo>
                        <a:pt x="76555" y="1049909"/>
                      </a:lnTo>
                      <a:lnTo>
                        <a:pt x="75501" y="1049210"/>
                      </a:lnTo>
                      <a:lnTo>
                        <a:pt x="76415" y="1049375"/>
                      </a:lnTo>
                      <a:lnTo>
                        <a:pt x="78587" y="1049909"/>
                      </a:lnTo>
                      <a:lnTo>
                        <a:pt x="78562" y="1049210"/>
                      </a:lnTo>
                      <a:lnTo>
                        <a:pt x="78536" y="1047559"/>
                      </a:lnTo>
                      <a:lnTo>
                        <a:pt x="76136" y="1046226"/>
                      </a:lnTo>
                      <a:lnTo>
                        <a:pt x="74498" y="1044765"/>
                      </a:lnTo>
                      <a:lnTo>
                        <a:pt x="73698" y="1044651"/>
                      </a:lnTo>
                      <a:lnTo>
                        <a:pt x="74358" y="1041438"/>
                      </a:lnTo>
                      <a:lnTo>
                        <a:pt x="74904" y="1043076"/>
                      </a:lnTo>
                      <a:lnTo>
                        <a:pt x="76619" y="1043089"/>
                      </a:lnTo>
                      <a:lnTo>
                        <a:pt x="74803" y="1041984"/>
                      </a:lnTo>
                      <a:lnTo>
                        <a:pt x="75145" y="1041438"/>
                      </a:lnTo>
                      <a:lnTo>
                        <a:pt x="75933" y="1040218"/>
                      </a:lnTo>
                      <a:lnTo>
                        <a:pt x="78651" y="1039266"/>
                      </a:lnTo>
                      <a:lnTo>
                        <a:pt x="81191" y="1039736"/>
                      </a:lnTo>
                      <a:lnTo>
                        <a:pt x="80924" y="1039266"/>
                      </a:lnTo>
                      <a:lnTo>
                        <a:pt x="79679" y="1037056"/>
                      </a:lnTo>
                      <a:lnTo>
                        <a:pt x="78663" y="1037031"/>
                      </a:lnTo>
                      <a:lnTo>
                        <a:pt x="78244" y="1035888"/>
                      </a:lnTo>
                      <a:lnTo>
                        <a:pt x="79133" y="1035888"/>
                      </a:lnTo>
                      <a:lnTo>
                        <a:pt x="78892" y="1035113"/>
                      </a:lnTo>
                      <a:lnTo>
                        <a:pt x="78663" y="1034821"/>
                      </a:lnTo>
                      <a:lnTo>
                        <a:pt x="77825" y="1033284"/>
                      </a:lnTo>
                      <a:lnTo>
                        <a:pt x="77127" y="1032446"/>
                      </a:lnTo>
                      <a:lnTo>
                        <a:pt x="76987" y="1032268"/>
                      </a:lnTo>
                      <a:lnTo>
                        <a:pt x="77673" y="1031875"/>
                      </a:lnTo>
                      <a:lnTo>
                        <a:pt x="74066" y="1031875"/>
                      </a:lnTo>
                      <a:lnTo>
                        <a:pt x="73837" y="1031875"/>
                      </a:lnTo>
                      <a:lnTo>
                        <a:pt x="72974" y="1032192"/>
                      </a:lnTo>
                      <a:lnTo>
                        <a:pt x="72428" y="1032446"/>
                      </a:lnTo>
                      <a:lnTo>
                        <a:pt x="71208" y="1031595"/>
                      </a:lnTo>
                      <a:lnTo>
                        <a:pt x="73888" y="1031862"/>
                      </a:lnTo>
                      <a:lnTo>
                        <a:pt x="74053" y="1031862"/>
                      </a:lnTo>
                      <a:lnTo>
                        <a:pt x="77698" y="1031862"/>
                      </a:lnTo>
                      <a:lnTo>
                        <a:pt x="78371" y="1031481"/>
                      </a:lnTo>
                      <a:lnTo>
                        <a:pt x="76860" y="1030084"/>
                      </a:lnTo>
                      <a:lnTo>
                        <a:pt x="75006" y="1031455"/>
                      </a:lnTo>
                      <a:lnTo>
                        <a:pt x="74015" y="1031824"/>
                      </a:lnTo>
                      <a:lnTo>
                        <a:pt x="73837" y="1031595"/>
                      </a:lnTo>
                      <a:lnTo>
                        <a:pt x="71818" y="1029106"/>
                      </a:lnTo>
                      <a:lnTo>
                        <a:pt x="70129" y="1033640"/>
                      </a:lnTo>
                      <a:lnTo>
                        <a:pt x="69811" y="1035888"/>
                      </a:lnTo>
                      <a:lnTo>
                        <a:pt x="68795" y="1038948"/>
                      </a:lnTo>
                      <a:lnTo>
                        <a:pt x="68440" y="1040853"/>
                      </a:lnTo>
                      <a:lnTo>
                        <a:pt x="67843" y="1045870"/>
                      </a:lnTo>
                      <a:lnTo>
                        <a:pt x="69100" y="1048753"/>
                      </a:lnTo>
                      <a:lnTo>
                        <a:pt x="66890" y="1052817"/>
                      </a:lnTo>
                      <a:lnTo>
                        <a:pt x="65532" y="1055509"/>
                      </a:lnTo>
                      <a:lnTo>
                        <a:pt x="67970" y="1056741"/>
                      </a:lnTo>
                      <a:lnTo>
                        <a:pt x="70700" y="1057478"/>
                      </a:lnTo>
                      <a:lnTo>
                        <a:pt x="73279" y="1058379"/>
                      </a:lnTo>
                      <a:lnTo>
                        <a:pt x="74612" y="1057973"/>
                      </a:lnTo>
                      <a:lnTo>
                        <a:pt x="75971" y="1057770"/>
                      </a:lnTo>
                      <a:lnTo>
                        <a:pt x="75603" y="1056132"/>
                      </a:lnTo>
                      <a:lnTo>
                        <a:pt x="75501" y="1055598"/>
                      </a:lnTo>
                      <a:lnTo>
                        <a:pt x="73850" y="1054239"/>
                      </a:lnTo>
                      <a:lnTo>
                        <a:pt x="74574" y="1053414"/>
                      </a:lnTo>
                      <a:lnTo>
                        <a:pt x="81546" y="1053884"/>
                      </a:lnTo>
                      <a:close/>
                    </a:path>
                    <a:path w="617855" h="1292225">
                      <a:moveTo>
                        <a:pt x="82423" y="1256245"/>
                      </a:moveTo>
                      <a:lnTo>
                        <a:pt x="81699" y="1254366"/>
                      </a:lnTo>
                      <a:lnTo>
                        <a:pt x="80441" y="1254036"/>
                      </a:lnTo>
                      <a:lnTo>
                        <a:pt x="79057" y="1255268"/>
                      </a:lnTo>
                      <a:lnTo>
                        <a:pt x="80098" y="1255776"/>
                      </a:lnTo>
                      <a:lnTo>
                        <a:pt x="81292" y="1255953"/>
                      </a:lnTo>
                      <a:lnTo>
                        <a:pt x="82423" y="1256245"/>
                      </a:lnTo>
                      <a:close/>
                    </a:path>
                    <a:path w="617855" h="1292225">
                      <a:moveTo>
                        <a:pt x="83769" y="1241666"/>
                      </a:moveTo>
                      <a:lnTo>
                        <a:pt x="83439" y="1241361"/>
                      </a:lnTo>
                      <a:lnTo>
                        <a:pt x="82842" y="1240790"/>
                      </a:lnTo>
                      <a:lnTo>
                        <a:pt x="82359" y="1240243"/>
                      </a:lnTo>
                      <a:lnTo>
                        <a:pt x="82054" y="1240028"/>
                      </a:lnTo>
                      <a:lnTo>
                        <a:pt x="81127" y="1239367"/>
                      </a:lnTo>
                      <a:lnTo>
                        <a:pt x="80695" y="1240028"/>
                      </a:lnTo>
                      <a:lnTo>
                        <a:pt x="80060" y="1239456"/>
                      </a:lnTo>
                      <a:lnTo>
                        <a:pt x="80225" y="1239291"/>
                      </a:lnTo>
                      <a:lnTo>
                        <a:pt x="80657" y="1238885"/>
                      </a:lnTo>
                      <a:lnTo>
                        <a:pt x="80365" y="1238427"/>
                      </a:lnTo>
                      <a:lnTo>
                        <a:pt x="79413" y="1237246"/>
                      </a:lnTo>
                      <a:lnTo>
                        <a:pt x="77889" y="1236929"/>
                      </a:lnTo>
                      <a:lnTo>
                        <a:pt x="78663" y="1238250"/>
                      </a:lnTo>
                      <a:lnTo>
                        <a:pt x="78066" y="1239291"/>
                      </a:lnTo>
                      <a:lnTo>
                        <a:pt x="77317" y="1238427"/>
                      </a:lnTo>
                      <a:lnTo>
                        <a:pt x="77266" y="1238250"/>
                      </a:lnTo>
                      <a:lnTo>
                        <a:pt x="77965" y="1237678"/>
                      </a:lnTo>
                      <a:lnTo>
                        <a:pt x="77749" y="1237005"/>
                      </a:lnTo>
                      <a:lnTo>
                        <a:pt x="76911" y="1236052"/>
                      </a:lnTo>
                      <a:lnTo>
                        <a:pt x="76593" y="1235671"/>
                      </a:lnTo>
                      <a:lnTo>
                        <a:pt x="76174" y="1235519"/>
                      </a:lnTo>
                      <a:lnTo>
                        <a:pt x="75920" y="1236052"/>
                      </a:lnTo>
                      <a:lnTo>
                        <a:pt x="75107" y="1235989"/>
                      </a:lnTo>
                      <a:lnTo>
                        <a:pt x="74053" y="1235595"/>
                      </a:lnTo>
                      <a:lnTo>
                        <a:pt x="73558" y="1235405"/>
                      </a:lnTo>
                      <a:lnTo>
                        <a:pt x="73304" y="1235049"/>
                      </a:lnTo>
                      <a:lnTo>
                        <a:pt x="73088" y="1234732"/>
                      </a:lnTo>
                      <a:lnTo>
                        <a:pt x="72834" y="1234605"/>
                      </a:lnTo>
                      <a:lnTo>
                        <a:pt x="72237" y="1235049"/>
                      </a:lnTo>
                      <a:lnTo>
                        <a:pt x="71551" y="1234770"/>
                      </a:lnTo>
                      <a:lnTo>
                        <a:pt x="71818" y="1234224"/>
                      </a:lnTo>
                      <a:lnTo>
                        <a:pt x="71120" y="1233893"/>
                      </a:lnTo>
                      <a:lnTo>
                        <a:pt x="70777" y="1233728"/>
                      </a:lnTo>
                      <a:lnTo>
                        <a:pt x="69532" y="1232903"/>
                      </a:lnTo>
                      <a:lnTo>
                        <a:pt x="69011" y="1233893"/>
                      </a:lnTo>
                      <a:lnTo>
                        <a:pt x="68821" y="1233589"/>
                      </a:lnTo>
                      <a:lnTo>
                        <a:pt x="68516" y="1233081"/>
                      </a:lnTo>
                      <a:lnTo>
                        <a:pt x="66433" y="1233589"/>
                      </a:lnTo>
                      <a:lnTo>
                        <a:pt x="65468" y="1232852"/>
                      </a:lnTo>
                      <a:lnTo>
                        <a:pt x="65366" y="1232039"/>
                      </a:lnTo>
                      <a:lnTo>
                        <a:pt x="65151" y="1231747"/>
                      </a:lnTo>
                      <a:lnTo>
                        <a:pt x="64630" y="1231582"/>
                      </a:lnTo>
                      <a:lnTo>
                        <a:pt x="63766" y="1230807"/>
                      </a:lnTo>
                      <a:lnTo>
                        <a:pt x="63601" y="1230604"/>
                      </a:lnTo>
                      <a:lnTo>
                        <a:pt x="62026" y="1229614"/>
                      </a:lnTo>
                      <a:lnTo>
                        <a:pt x="61760" y="1228610"/>
                      </a:lnTo>
                      <a:lnTo>
                        <a:pt x="60109" y="1230160"/>
                      </a:lnTo>
                      <a:lnTo>
                        <a:pt x="62941" y="1233144"/>
                      </a:lnTo>
                      <a:lnTo>
                        <a:pt x="64858" y="1234351"/>
                      </a:lnTo>
                      <a:lnTo>
                        <a:pt x="65989" y="1235875"/>
                      </a:lnTo>
                      <a:lnTo>
                        <a:pt x="67754" y="1236357"/>
                      </a:lnTo>
                      <a:lnTo>
                        <a:pt x="72415" y="1236091"/>
                      </a:lnTo>
                      <a:lnTo>
                        <a:pt x="72847" y="1235595"/>
                      </a:lnTo>
                      <a:lnTo>
                        <a:pt x="74396" y="1236789"/>
                      </a:lnTo>
                      <a:lnTo>
                        <a:pt x="75590" y="1239291"/>
                      </a:lnTo>
                      <a:lnTo>
                        <a:pt x="75692" y="1239456"/>
                      </a:lnTo>
                      <a:lnTo>
                        <a:pt x="78422" y="1241488"/>
                      </a:lnTo>
                      <a:lnTo>
                        <a:pt x="81889" y="1241361"/>
                      </a:lnTo>
                      <a:lnTo>
                        <a:pt x="83769" y="1241666"/>
                      </a:lnTo>
                      <a:close/>
                    </a:path>
                    <a:path w="617855" h="1292225">
                      <a:moveTo>
                        <a:pt x="89979" y="1077074"/>
                      </a:moveTo>
                      <a:lnTo>
                        <a:pt x="87985" y="1076312"/>
                      </a:lnTo>
                      <a:lnTo>
                        <a:pt x="87985" y="1080389"/>
                      </a:lnTo>
                      <a:lnTo>
                        <a:pt x="86791" y="1080681"/>
                      </a:lnTo>
                      <a:lnTo>
                        <a:pt x="85864" y="1079703"/>
                      </a:lnTo>
                      <a:lnTo>
                        <a:pt x="87312" y="1079919"/>
                      </a:lnTo>
                      <a:lnTo>
                        <a:pt x="87985" y="1080389"/>
                      </a:lnTo>
                      <a:lnTo>
                        <a:pt x="87985" y="1076312"/>
                      </a:lnTo>
                      <a:lnTo>
                        <a:pt x="87261" y="1076020"/>
                      </a:lnTo>
                      <a:lnTo>
                        <a:pt x="85928" y="1077772"/>
                      </a:lnTo>
                      <a:lnTo>
                        <a:pt x="86702" y="1076731"/>
                      </a:lnTo>
                      <a:lnTo>
                        <a:pt x="86690" y="1076172"/>
                      </a:lnTo>
                      <a:lnTo>
                        <a:pt x="86601" y="1075613"/>
                      </a:lnTo>
                      <a:lnTo>
                        <a:pt x="84772" y="1075436"/>
                      </a:lnTo>
                      <a:lnTo>
                        <a:pt x="83223" y="1076109"/>
                      </a:lnTo>
                      <a:lnTo>
                        <a:pt x="82423" y="1075893"/>
                      </a:lnTo>
                      <a:lnTo>
                        <a:pt x="82156" y="1076731"/>
                      </a:lnTo>
                      <a:lnTo>
                        <a:pt x="83375" y="1077937"/>
                      </a:lnTo>
                      <a:lnTo>
                        <a:pt x="83553" y="1078433"/>
                      </a:lnTo>
                      <a:lnTo>
                        <a:pt x="81661" y="1077937"/>
                      </a:lnTo>
                      <a:lnTo>
                        <a:pt x="82334" y="1078865"/>
                      </a:lnTo>
                      <a:lnTo>
                        <a:pt x="81241" y="1079233"/>
                      </a:lnTo>
                      <a:lnTo>
                        <a:pt x="79705" y="1079512"/>
                      </a:lnTo>
                      <a:lnTo>
                        <a:pt x="78282" y="1080719"/>
                      </a:lnTo>
                      <a:lnTo>
                        <a:pt x="80873" y="1081760"/>
                      </a:lnTo>
                      <a:lnTo>
                        <a:pt x="82448" y="1082802"/>
                      </a:lnTo>
                      <a:lnTo>
                        <a:pt x="81495" y="1082636"/>
                      </a:lnTo>
                      <a:lnTo>
                        <a:pt x="80746" y="1083144"/>
                      </a:lnTo>
                      <a:lnTo>
                        <a:pt x="79895" y="1083195"/>
                      </a:lnTo>
                      <a:lnTo>
                        <a:pt x="80352" y="1084072"/>
                      </a:lnTo>
                      <a:lnTo>
                        <a:pt x="81114" y="1084745"/>
                      </a:lnTo>
                      <a:lnTo>
                        <a:pt x="81775" y="1085469"/>
                      </a:lnTo>
                      <a:lnTo>
                        <a:pt x="83731" y="1084922"/>
                      </a:lnTo>
                      <a:lnTo>
                        <a:pt x="84391" y="1084148"/>
                      </a:lnTo>
                      <a:lnTo>
                        <a:pt x="86004" y="1082802"/>
                      </a:lnTo>
                      <a:lnTo>
                        <a:pt x="86220" y="1082624"/>
                      </a:lnTo>
                      <a:lnTo>
                        <a:pt x="87274" y="1082243"/>
                      </a:lnTo>
                      <a:lnTo>
                        <a:pt x="88099" y="1080681"/>
                      </a:lnTo>
                      <a:lnTo>
                        <a:pt x="88188" y="1080516"/>
                      </a:lnTo>
                      <a:lnTo>
                        <a:pt x="88341" y="1080630"/>
                      </a:lnTo>
                      <a:lnTo>
                        <a:pt x="88493" y="1080312"/>
                      </a:lnTo>
                      <a:lnTo>
                        <a:pt x="88773" y="1079703"/>
                      </a:lnTo>
                      <a:lnTo>
                        <a:pt x="89357" y="1078433"/>
                      </a:lnTo>
                      <a:lnTo>
                        <a:pt x="89662" y="1077772"/>
                      </a:lnTo>
                      <a:lnTo>
                        <a:pt x="89979" y="1077074"/>
                      </a:lnTo>
                      <a:close/>
                    </a:path>
                    <a:path w="617855" h="1292225">
                      <a:moveTo>
                        <a:pt x="96037" y="1260779"/>
                      </a:moveTo>
                      <a:lnTo>
                        <a:pt x="95135" y="1260627"/>
                      </a:lnTo>
                      <a:lnTo>
                        <a:pt x="93167" y="1260309"/>
                      </a:lnTo>
                      <a:lnTo>
                        <a:pt x="91719" y="1260360"/>
                      </a:lnTo>
                      <a:lnTo>
                        <a:pt x="93256" y="1262392"/>
                      </a:lnTo>
                      <a:lnTo>
                        <a:pt x="93980" y="1261960"/>
                      </a:lnTo>
                      <a:lnTo>
                        <a:pt x="94678" y="1261605"/>
                      </a:lnTo>
                      <a:lnTo>
                        <a:pt x="94830" y="1260843"/>
                      </a:lnTo>
                      <a:lnTo>
                        <a:pt x="95491" y="1261046"/>
                      </a:lnTo>
                      <a:lnTo>
                        <a:pt x="96037" y="1260779"/>
                      </a:lnTo>
                      <a:close/>
                    </a:path>
                    <a:path w="617855" h="1292225">
                      <a:moveTo>
                        <a:pt x="96647" y="1256817"/>
                      </a:moveTo>
                      <a:lnTo>
                        <a:pt x="95669" y="1257109"/>
                      </a:lnTo>
                      <a:lnTo>
                        <a:pt x="94653" y="1257249"/>
                      </a:lnTo>
                      <a:lnTo>
                        <a:pt x="93649" y="1257452"/>
                      </a:lnTo>
                      <a:lnTo>
                        <a:pt x="95224" y="1259547"/>
                      </a:lnTo>
                      <a:lnTo>
                        <a:pt x="95897" y="1258874"/>
                      </a:lnTo>
                      <a:lnTo>
                        <a:pt x="96647" y="1256817"/>
                      </a:lnTo>
                      <a:close/>
                    </a:path>
                    <a:path w="617855" h="1292225">
                      <a:moveTo>
                        <a:pt x="97764" y="1250175"/>
                      </a:moveTo>
                      <a:lnTo>
                        <a:pt x="96583" y="1249273"/>
                      </a:lnTo>
                      <a:lnTo>
                        <a:pt x="96253" y="1248702"/>
                      </a:lnTo>
                      <a:lnTo>
                        <a:pt x="95656" y="1247622"/>
                      </a:lnTo>
                      <a:lnTo>
                        <a:pt x="92329" y="1248702"/>
                      </a:lnTo>
                      <a:lnTo>
                        <a:pt x="92722" y="1248168"/>
                      </a:lnTo>
                      <a:lnTo>
                        <a:pt x="94068" y="1246352"/>
                      </a:lnTo>
                      <a:lnTo>
                        <a:pt x="93535" y="1245908"/>
                      </a:lnTo>
                      <a:lnTo>
                        <a:pt x="93179" y="1245603"/>
                      </a:lnTo>
                      <a:lnTo>
                        <a:pt x="91147" y="1245362"/>
                      </a:lnTo>
                      <a:lnTo>
                        <a:pt x="89395" y="1245209"/>
                      </a:lnTo>
                      <a:lnTo>
                        <a:pt x="88531" y="1244727"/>
                      </a:lnTo>
                      <a:lnTo>
                        <a:pt x="88557" y="1244295"/>
                      </a:lnTo>
                      <a:lnTo>
                        <a:pt x="88607" y="1243672"/>
                      </a:lnTo>
                      <a:lnTo>
                        <a:pt x="88684" y="1242707"/>
                      </a:lnTo>
                      <a:lnTo>
                        <a:pt x="86829" y="1243672"/>
                      </a:lnTo>
                      <a:lnTo>
                        <a:pt x="87020" y="1242695"/>
                      </a:lnTo>
                      <a:lnTo>
                        <a:pt x="86321" y="1242491"/>
                      </a:lnTo>
                      <a:lnTo>
                        <a:pt x="86029" y="1242402"/>
                      </a:lnTo>
                      <a:lnTo>
                        <a:pt x="85153" y="1242491"/>
                      </a:lnTo>
                      <a:lnTo>
                        <a:pt x="85178" y="1240358"/>
                      </a:lnTo>
                      <a:lnTo>
                        <a:pt x="82321" y="1243965"/>
                      </a:lnTo>
                      <a:lnTo>
                        <a:pt x="81559" y="1244295"/>
                      </a:lnTo>
                      <a:lnTo>
                        <a:pt x="80746" y="1243545"/>
                      </a:lnTo>
                      <a:lnTo>
                        <a:pt x="79844" y="1243444"/>
                      </a:lnTo>
                      <a:lnTo>
                        <a:pt x="81038" y="1244930"/>
                      </a:lnTo>
                      <a:lnTo>
                        <a:pt x="83007" y="1246378"/>
                      </a:lnTo>
                      <a:lnTo>
                        <a:pt x="84239" y="1246581"/>
                      </a:lnTo>
                      <a:lnTo>
                        <a:pt x="84683" y="1245908"/>
                      </a:lnTo>
                      <a:lnTo>
                        <a:pt x="85788" y="1246212"/>
                      </a:lnTo>
                      <a:lnTo>
                        <a:pt x="86283" y="1246835"/>
                      </a:lnTo>
                      <a:lnTo>
                        <a:pt x="83439" y="1248143"/>
                      </a:lnTo>
                      <a:lnTo>
                        <a:pt x="82461" y="1247203"/>
                      </a:lnTo>
                      <a:lnTo>
                        <a:pt x="80352" y="1245844"/>
                      </a:lnTo>
                      <a:lnTo>
                        <a:pt x="80035" y="1245539"/>
                      </a:lnTo>
                      <a:lnTo>
                        <a:pt x="79400" y="1245450"/>
                      </a:lnTo>
                      <a:lnTo>
                        <a:pt x="77165" y="1245844"/>
                      </a:lnTo>
                      <a:lnTo>
                        <a:pt x="75704" y="1247203"/>
                      </a:lnTo>
                      <a:lnTo>
                        <a:pt x="77495" y="1249108"/>
                      </a:lnTo>
                      <a:lnTo>
                        <a:pt x="80149" y="1248448"/>
                      </a:lnTo>
                      <a:lnTo>
                        <a:pt x="81749" y="1248168"/>
                      </a:lnTo>
                      <a:lnTo>
                        <a:pt x="81864" y="1249273"/>
                      </a:lnTo>
                      <a:lnTo>
                        <a:pt x="81508" y="1250289"/>
                      </a:lnTo>
                      <a:lnTo>
                        <a:pt x="81419" y="1250708"/>
                      </a:lnTo>
                      <a:lnTo>
                        <a:pt x="81292" y="1252258"/>
                      </a:lnTo>
                      <a:lnTo>
                        <a:pt x="82486" y="1252842"/>
                      </a:lnTo>
                      <a:lnTo>
                        <a:pt x="80899" y="1253045"/>
                      </a:lnTo>
                      <a:lnTo>
                        <a:pt x="82664" y="1253007"/>
                      </a:lnTo>
                      <a:lnTo>
                        <a:pt x="83464" y="1252728"/>
                      </a:lnTo>
                      <a:lnTo>
                        <a:pt x="84899" y="1251064"/>
                      </a:lnTo>
                      <a:lnTo>
                        <a:pt x="84861" y="1250708"/>
                      </a:lnTo>
                      <a:lnTo>
                        <a:pt x="85178" y="1250810"/>
                      </a:lnTo>
                      <a:lnTo>
                        <a:pt x="86220" y="1250848"/>
                      </a:lnTo>
                      <a:lnTo>
                        <a:pt x="86601" y="1251305"/>
                      </a:lnTo>
                      <a:lnTo>
                        <a:pt x="87363" y="1251318"/>
                      </a:lnTo>
                      <a:lnTo>
                        <a:pt x="87630" y="1250759"/>
                      </a:lnTo>
                      <a:lnTo>
                        <a:pt x="88811" y="1250721"/>
                      </a:lnTo>
                      <a:lnTo>
                        <a:pt x="89408" y="1251000"/>
                      </a:lnTo>
                      <a:lnTo>
                        <a:pt x="90436" y="1251191"/>
                      </a:lnTo>
                      <a:lnTo>
                        <a:pt x="89776" y="1251826"/>
                      </a:lnTo>
                      <a:lnTo>
                        <a:pt x="88849" y="1252143"/>
                      </a:lnTo>
                      <a:lnTo>
                        <a:pt x="87655" y="1253286"/>
                      </a:lnTo>
                      <a:lnTo>
                        <a:pt x="87414" y="1254137"/>
                      </a:lnTo>
                      <a:lnTo>
                        <a:pt x="86398" y="1255026"/>
                      </a:lnTo>
                      <a:lnTo>
                        <a:pt x="85928" y="1255268"/>
                      </a:lnTo>
                      <a:lnTo>
                        <a:pt x="85267" y="1255318"/>
                      </a:lnTo>
                      <a:lnTo>
                        <a:pt x="86093" y="1255941"/>
                      </a:lnTo>
                      <a:lnTo>
                        <a:pt x="87083" y="1256233"/>
                      </a:lnTo>
                      <a:lnTo>
                        <a:pt x="88036" y="1256626"/>
                      </a:lnTo>
                      <a:lnTo>
                        <a:pt x="89611" y="1255941"/>
                      </a:lnTo>
                      <a:lnTo>
                        <a:pt x="89750" y="1255598"/>
                      </a:lnTo>
                      <a:lnTo>
                        <a:pt x="90792" y="1254442"/>
                      </a:lnTo>
                      <a:lnTo>
                        <a:pt x="91719" y="1257173"/>
                      </a:lnTo>
                      <a:lnTo>
                        <a:pt x="92303" y="1255255"/>
                      </a:lnTo>
                      <a:lnTo>
                        <a:pt x="92443" y="1254442"/>
                      </a:lnTo>
                      <a:lnTo>
                        <a:pt x="92583" y="1253731"/>
                      </a:lnTo>
                      <a:lnTo>
                        <a:pt x="93408" y="1253959"/>
                      </a:lnTo>
                      <a:lnTo>
                        <a:pt x="93776" y="1255014"/>
                      </a:lnTo>
                      <a:lnTo>
                        <a:pt x="96304" y="1254493"/>
                      </a:lnTo>
                      <a:lnTo>
                        <a:pt x="95364" y="1253731"/>
                      </a:lnTo>
                      <a:lnTo>
                        <a:pt x="94348" y="1252893"/>
                      </a:lnTo>
                      <a:lnTo>
                        <a:pt x="93916" y="1252067"/>
                      </a:lnTo>
                      <a:lnTo>
                        <a:pt x="95656" y="1252728"/>
                      </a:lnTo>
                      <a:lnTo>
                        <a:pt x="95084" y="1252067"/>
                      </a:lnTo>
                      <a:lnTo>
                        <a:pt x="94449" y="1251318"/>
                      </a:lnTo>
                      <a:lnTo>
                        <a:pt x="95275" y="1250721"/>
                      </a:lnTo>
                      <a:lnTo>
                        <a:pt x="95491" y="1251305"/>
                      </a:lnTo>
                      <a:lnTo>
                        <a:pt x="95643" y="1251216"/>
                      </a:lnTo>
                      <a:lnTo>
                        <a:pt x="96608" y="1251229"/>
                      </a:lnTo>
                      <a:lnTo>
                        <a:pt x="96989" y="1251064"/>
                      </a:lnTo>
                      <a:lnTo>
                        <a:pt x="97002" y="1250708"/>
                      </a:lnTo>
                      <a:lnTo>
                        <a:pt x="97040" y="1250289"/>
                      </a:lnTo>
                      <a:lnTo>
                        <a:pt x="97764" y="1250175"/>
                      </a:lnTo>
                      <a:close/>
                    </a:path>
                    <a:path w="617855" h="1292225">
                      <a:moveTo>
                        <a:pt x="100088" y="1268945"/>
                      </a:moveTo>
                      <a:lnTo>
                        <a:pt x="99682" y="1265694"/>
                      </a:lnTo>
                      <a:lnTo>
                        <a:pt x="97929" y="1265770"/>
                      </a:lnTo>
                      <a:lnTo>
                        <a:pt x="100088" y="1268945"/>
                      </a:lnTo>
                      <a:close/>
                    </a:path>
                    <a:path w="617855" h="1292225">
                      <a:moveTo>
                        <a:pt x="103581" y="1258036"/>
                      </a:moveTo>
                      <a:lnTo>
                        <a:pt x="103225" y="1258658"/>
                      </a:lnTo>
                      <a:lnTo>
                        <a:pt x="103505" y="1259001"/>
                      </a:lnTo>
                      <a:lnTo>
                        <a:pt x="103581" y="1258036"/>
                      </a:lnTo>
                      <a:close/>
                    </a:path>
                    <a:path w="617855" h="1292225">
                      <a:moveTo>
                        <a:pt x="114503" y="1258658"/>
                      </a:moveTo>
                      <a:lnTo>
                        <a:pt x="114236" y="1257452"/>
                      </a:lnTo>
                      <a:lnTo>
                        <a:pt x="113677" y="1254848"/>
                      </a:lnTo>
                      <a:lnTo>
                        <a:pt x="111493" y="1254950"/>
                      </a:lnTo>
                      <a:lnTo>
                        <a:pt x="110947" y="1257452"/>
                      </a:lnTo>
                      <a:lnTo>
                        <a:pt x="110896" y="1256741"/>
                      </a:lnTo>
                      <a:lnTo>
                        <a:pt x="110705" y="1256296"/>
                      </a:lnTo>
                      <a:lnTo>
                        <a:pt x="110083" y="1255979"/>
                      </a:lnTo>
                      <a:lnTo>
                        <a:pt x="110464" y="1255458"/>
                      </a:lnTo>
                      <a:lnTo>
                        <a:pt x="111163" y="1254506"/>
                      </a:lnTo>
                      <a:lnTo>
                        <a:pt x="109677" y="1253871"/>
                      </a:lnTo>
                      <a:lnTo>
                        <a:pt x="109016" y="1253540"/>
                      </a:lnTo>
                      <a:lnTo>
                        <a:pt x="107137" y="1253223"/>
                      </a:lnTo>
                      <a:lnTo>
                        <a:pt x="108115" y="1253324"/>
                      </a:lnTo>
                      <a:lnTo>
                        <a:pt x="107721" y="1253223"/>
                      </a:lnTo>
                      <a:lnTo>
                        <a:pt x="107124" y="1253070"/>
                      </a:lnTo>
                      <a:lnTo>
                        <a:pt x="106768" y="1252982"/>
                      </a:lnTo>
                      <a:lnTo>
                        <a:pt x="107035" y="1253070"/>
                      </a:lnTo>
                      <a:lnTo>
                        <a:pt x="105689" y="1252728"/>
                      </a:lnTo>
                      <a:lnTo>
                        <a:pt x="105054" y="1253147"/>
                      </a:lnTo>
                      <a:lnTo>
                        <a:pt x="104749" y="1254226"/>
                      </a:lnTo>
                      <a:lnTo>
                        <a:pt x="104508" y="1255458"/>
                      </a:lnTo>
                      <a:lnTo>
                        <a:pt x="104203" y="1255268"/>
                      </a:lnTo>
                      <a:lnTo>
                        <a:pt x="103733" y="1255128"/>
                      </a:lnTo>
                      <a:lnTo>
                        <a:pt x="103657" y="1254671"/>
                      </a:lnTo>
                      <a:lnTo>
                        <a:pt x="104279" y="1254226"/>
                      </a:lnTo>
                      <a:lnTo>
                        <a:pt x="104381" y="1253540"/>
                      </a:lnTo>
                      <a:lnTo>
                        <a:pt x="104381" y="1253248"/>
                      </a:lnTo>
                      <a:lnTo>
                        <a:pt x="104152" y="1253070"/>
                      </a:lnTo>
                      <a:lnTo>
                        <a:pt x="104813" y="1252486"/>
                      </a:lnTo>
                      <a:lnTo>
                        <a:pt x="102984" y="1252093"/>
                      </a:lnTo>
                      <a:lnTo>
                        <a:pt x="103085" y="1251762"/>
                      </a:lnTo>
                      <a:lnTo>
                        <a:pt x="101993" y="1253248"/>
                      </a:lnTo>
                      <a:lnTo>
                        <a:pt x="102069" y="1252982"/>
                      </a:lnTo>
                      <a:lnTo>
                        <a:pt x="101981" y="1251762"/>
                      </a:lnTo>
                      <a:lnTo>
                        <a:pt x="101803" y="1251000"/>
                      </a:lnTo>
                      <a:lnTo>
                        <a:pt x="100101" y="1251089"/>
                      </a:lnTo>
                      <a:lnTo>
                        <a:pt x="98882" y="1253223"/>
                      </a:lnTo>
                      <a:lnTo>
                        <a:pt x="98628" y="1253540"/>
                      </a:lnTo>
                      <a:lnTo>
                        <a:pt x="98259" y="1252689"/>
                      </a:lnTo>
                      <a:lnTo>
                        <a:pt x="97396" y="1252372"/>
                      </a:lnTo>
                      <a:lnTo>
                        <a:pt x="96456" y="1252423"/>
                      </a:lnTo>
                      <a:lnTo>
                        <a:pt x="97942" y="1255306"/>
                      </a:lnTo>
                      <a:lnTo>
                        <a:pt x="100241" y="1258036"/>
                      </a:lnTo>
                      <a:lnTo>
                        <a:pt x="102069" y="1260614"/>
                      </a:lnTo>
                      <a:lnTo>
                        <a:pt x="103225" y="1258658"/>
                      </a:lnTo>
                      <a:lnTo>
                        <a:pt x="101104" y="1256093"/>
                      </a:lnTo>
                      <a:lnTo>
                        <a:pt x="100685" y="1255458"/>
                      </a:lnTo>
                      <a:lnTo>
                        <a:pt x="100609" y="1254226"/>
                      </a:lnTo>
                      <a:lnTo>
                        <a:pt x="101333" y="1254848"/>
                      </a:lnTo>
                      <a:lnTo>
                        <a:pt x="103289" y="1257935"/>
                      </a:lnTo>
                      <a:lnTo>
                        <a:pt x="104355" y="1256741"/>
                      </a:lnTo>
                      <a:lnTo>
                        <a:pt x="104419" y="1257935"/>
                      </a:lnTo>
                      <a:lnTo>
                        <a:pt x="105613" y="1259192"/>
                      </a:lnTo>
                      <a:lnTo>
                        <a:pt x="107365" y="1256741"/>
                      </a:lnTo>
                      <a:lnTo>
                        <a:pt x="107505" y="1256538"/>
                      </a:lnTo>
                      <a:lnTo>
                        <a:pt x="108178" y="1256296"/>
                      </a:lnTo>
                      <a:lnTo>
                        <a:pt x="109842" y="1257795"/>
                      </a:lnTo>
                      <a:lnTo>
                        <a:pt x="111074" y="1259801"/>
                      </a:lnTo>
                      <a:lnTo>
                        <a:pt x="112433" y="1261554"/>
                      </a:lnTo>
                      <a:lnTo>
                        <a:pt x="113766" y="1260335"/>
                      </a:lnTo>
                      <a:lnTo>
                        <a:pt x="114452" y="1259192"/>
                      </a:lnTo>
                      <a:lnTo>
                        <a:pt x="114503" y="1258658"/>
                      </a:lnTo>
                      <a:close/>
                    </a:path>
                    <a:path w="617855" h="1292225">
                      <a:moveTo>
                        <a:pt x="123609" y="1254163"/>
                      </a:moveTo>
                      <a:lnTo>
                        <a:pt x="121640" y="1248524"/>
                      </a:lnTo>
                      <a:lnTo>
                        <a:pt x="121793" y="1247330"/>
                      </a:lnTo>
                      <a:lnTo>
                        <a:pt x="121627" y="1245349"/>
                      </a:lnTo>
                      <a:lnTo>
                        <a:pt x="121005" y="1245730"/>
                      </a:lnTo>
                      <a:lnTo>
                        <a:pt x="119176" y="1247127"/>
                      </a:lnTo>
                      <a:lnTo>
                        <a:pt x="118211" y="1248524"/>
                      </a:lnTo>
                      <a:lnTo>
                        <a:pt x="118376" y="1249464"/>
                      </a:lnTo>
                      <a:lnTo>
                        <a:pt x="117805" y="1251470"/>
                      </a:lnTo>
                      <a:lnTo>
                        <a:pt x="117640" y="1250378"/>
                      </a:lnTo>
                      <a:lnTo>
                        <a:pt x="115697" y="1251877"/>
                      </a:lnTo>
                      <a:lnTo>
                        <a:pt x="116027" y="1256449"/>
                      </a:lnTo>
                      <a:lnTo>
                        <a:pt x="119291" y="1257465"/>
                      </a:lnTo>
                      <a:lnTo>
                        <a:pt x="121018" y="1258417"/>
                      </a:lnTo>
                      <a:lnTo>
                        <a:pt x="120916" y="1257122"/>
                      </a:lnTo>
                      <a:lnTo>
                        <a:pt x="120599" y="1255674"/>
                      </a:lnTo>
                      <a:lnTo>
                        <a:pt x="119621" y="1253756"/>
                      </a:lnTo>
                      <a:lnTo>
                        <a:pt x="118872" y="1253591"/>
                      </a:lnTo>
                      <a:lnTo>
                        <a:pt x="118872" y="1252486"/>
                      </a:lnTo>
                      <a:lnTo>
                        <a:pt x="119456" y="1252766"/>
                      </a:lnTo>
                      <a:lnTo>
                        <a:pt x="122339" y="1255903"/>
                      </a:lnTo>
                      <a:lnTo>
                        <a:pt x="123609" y="1254163"/>
                      </a:lnTo>
                      <a:close/>
                    </a:path>
                    <a:path w="617855" h="1292225">
                      <a:moveTo>
                        <a:pt x="130200" y="216649"/>
                      </a:moveTo>
                      <a:lnTo>
                        <a:pt x="129565" y="215519"/>
                      </a:lnTo>
                      <a:lnTo>
                        <a:pt x="128739" y="214426"/>
                      </a:lnTo>
                      <a:lnTo>
                        <a:pt x="127812" y="213537"/>
                      </a:lnTo>
                      <a:lnTo>
                        <a:pt x="127952" y="214249"/>
                      </a:lnTo>
                      <a:lnTo>
                        <a:pt x="128257" y="214909"/>
                      </a:lnTo>
                      <a:lnTo>
                        <a:pt x="128524" y="215595"/>
                      </a:lnTo>
                      <a:lnTo>
                        <a:pt x="128993" y="216090"/>
                      </a:lnTo>
                      <a:lnTo>
                        <a:pt x="129552" y="216471"/>
                      </a:lnTo>
                      <a:lnTo>
                        <a:pt x="130200" y="216649"/>
                      </a:lnTo>
                      <a:close/>
                    </a:path>
                    <a:path w="617855" h="1292225">
                      <a:moveTo>
                        <a:pt x="140271" y="1272997"/>
                      </a:moveTo>
                      <a:lnTo>
                        <a:pt x="138303" y="1272171"/>
                      </a:lnTo>
                      <a:lnTo>
                        <a:pt x="135966" y="1271574"/>
                      </a:lnTo>
                      <a:lnTo>
                        <a:pt x="131102" y="1270838"/>
                      </a:lnTo>
                      <a:lnTo>
                        <a:pt x="130670" y="1271955"/>
                      </a:lnTo>
                      <a:lnTo>
                        <a:pt x="129857" y="1274546"/>
                      </a:lnTo>
                      <a:lnTo>
                        <a:pt x="131229" y="1273873"/>
                      </a:lnTo>
                      <a:lnTo>
                        <a:pt x="134264" y="1274013"/>
                      </a:lnTo>
                      <a:lnTo>
                        <a:pt x="136740" y="1273670"/>
                      </a:lnTo>
                      <a:lnTo>
                        <a:pt x="138798" y="1273251"/>
                      </a:lnTo>
                      <a:lnTo>
                        <a:pt x="140271" y="1272997"/>
                      </a:lnTo>
                      <a:close/>
                    </a:path>
                    <a:path w="617855" h="1292225">
                      <a:moveTo>
                        <a:pt x="163055" y="1290294"/>
                      </a:moveTo>
                      <a:lnTo>
                        <a:pt x="162077" y="1290129"/>
                      </a:lnTo>
                      <a:lnTo>
                        <a:pt x="159893" y="1289773"/>
                      </a:lnTo>
                      <a:lnTo>
                        <a:pt x="159245" y="1290459"/>
                      </a:lnTo>
                      <a:lnTo>
                        <a:pt x="160502" y="1290637"/>
                      </a:lnTo>
                      <a:lnTo>
                        <a:pt x="161785" y="1290408"/>
                      </a:lnTo>
                      <a:lnTo>
                        <a:pt x="163055" y="1290294"/>
                      </a:lnTo>
                      <a:close/>
                    </a:path>
                    <a:path w="617855" h="1292225">
                      <a:moveTo>
                        <a:pt x="167728" y="1289075"/>
                      </a:moveTo>
                      <a:lnTo>
                        <a:pt x="166370" y="1289088"/>
                      </a:lnTo>
                      <a:lnTo>
                        <a:pt x="167347" y="1289951"/>
                      </a:lnTo>
                      <a:lnTo>
                        <a:pt x="167728" y="1289075"/>
                      </a:lnTo>
                      <a:close/>
                    </a:path>
                    <a:path w="617855" h="1292225">
                      <a:moveTo>
                        <a:pt x="167982" y="1288478"/>
                      </a:moveTo>
                      <a:lnTo>
                        <a:pt x="167335" y="1287729"/>
                      </a:lnTo>
                      <a:lnTo>
                        <a:pt x="165900" y="1286052"/>
                      </a:lnTo>
                      <a:lnTo>
                        <a:pt x="165557" y="1285494"/>
                      </a:lnTo>
                      <a:lnTo>
                        <a:pt x="165633" y="1287729"/>
                      </a:lnTo>
                      <a:lnTo>
                        <a:pt x="164071" y="1286979"/>
                      </a:lnTo>
                      <a:lnTo>
                        <a:pt x="163804" y="1286649"/>
                      </a:lnTo>
                      <a:lnTo>
                        <a:pt x="163220" y="1288110"/>
                      </a:lnTo>
                      <a:lnTo>
                        <a:pt x="164071" y="1288783"/>
                      </a:lnTo>
                      <a:lnTo>
                        <a:pt x="165874" y="1289113"/>
                      </a:lnTo>
                      <a:lnTo>
                        <a:pt x="166370" y="1289088"/>
                      </a:lnTo>
                      <a:lnTo>
                        <a:pt x="166624" y="1289075"/>
                      </a:lnTo>
                      <a:lnTo>
                        <a:pt x="167728" y="1289075"/>
                      </a:lnTo>
                      <a:lnTo>
                        <a:pt x="167982" y="1288478"/>
                      </a:lnTo>
                      <a:close/>
                    </a:path>
                    <a:path w="617855" h="1292225">
                      <a:moveTo>
                        <a:pt x="170205" y="1290624"/>
                      </a:moveTo>
                      <a:lnTo>
                        <a:pt x="170129" y="1289875"/>
                      </a:lnTo>
                      <a:lnTo>
                        <a:pt x="169900" y="1290586"/>
                      </a:lnTo>
                      <a:lnTo>
                        <a:pt x="169964" y="1291348"/>
                      </a:lnTo>
                      <a:lnTo>
                        <a:pt x="169951" y="1292123"/>
                      </a:lnTo>
                      <a:lnTo>
                        <a:pt x="170091" y="1291374"/>
                      </a:lnTo>
                      <a:lnTo>
                        <a:pt x="170205" y="1290624"/>
                      </a:lnTo>
                      <a:close/>
                    </a:path>
                    <a:path w="617855" h="1292225">
                      <a:moveTo>
                        <a:pt x="171450" y="1273898"/>
                      </a:moveTo>
                      <a:lnTo>
                        <a:pt x="164858" y="1272959"/>
                      </a:lnTo>
                      <a:lnTo>
                        <a:pt x="162725" y="1272159"/>
                      </a:lnTo>
                      <a:lnTo>
                        <a:pt x="161188" y="1272781"/>
                      </a:lnTo>
                      <a:lnTo>
                        <a:pt x="158699" y="1272006"/>
                      </a:lnTo>
                      <a:lnTo>
                        <a:pt x="155282" y="1271879"/>
                      </a:lnTo>
                      <a:lnTo>
                        <a:pt x="153530" y="1271905"/>
                      </a:lnTo>
                      <a:lnTo>
                        <a:pt x="152031" y="1272400"/>
                      </a:lnTo>
                      <a:lnTo>
                        <a:pt x="152679" y="1273136"/>
                      </a:lnTo>
                      <a:lnTo>
                        <a:pt x="154063" y="1273619"/>
                      </a:lnTo>
                      <a:lnTo>
                        <a:pt x="154800" y="1274991"/>
                      </a:lnTo>
                      <a:lnTo>
                        <a:pt x="154305" y="1275181"/>
                      </a:lnTo>
                      <a:lnTo>
                        <a:pt x="154749" y="1276248"/>
                      </a:lnTo>
                      <a:lnTo>
                        <a:pt x="154635" y="1276769"/>
                      </a:lnTo>
                      <a:lnTo>
                        <a:pt x="155448" y="1277213"/>
                      </a:lnTo>
                      <a:lnTo>
                        <a:pt x="154051" y="1278331"/>
                      </a:lnTo>
                      <a:lnTo>
                        <a:pt x="153924" y="1278293"/>
                      </a:lnTo>
                      <a:lnTo>
                        <a:pt x="150799" y="1277493"/>
                      </a:lnTo>
                      <a:lnTo>
                        <a:pt x="150368" y="1277467"/>
                      </a:lnTo>
                      <a:lnTo>
                        <a:pt x="148742" y="1275410"/>
                      </a:lnTo>
                      <a:lnTo>
                        <a:pt x="148742" y="1277378"/>
                      </a:lnTo>
                      <a:lnTo>
                        <a:pt x="148082" y="1277353"/>
                      </a:lnTo>
                      <a:lnTo>
                        <a:pt x="146494" y="1277061"/>
                      </a:lnTo>
                      <a:lnTo>
                        <a:pt x="143827" y="1276159"/>
                      </a:lnTo>
                      <a:lnTo>
                        <a:pt x="143598" y="1275791"/>
                      </a:lnTo>
                      <a:lnTo>
                        <a:pt x="143205" y="1275168"/>
                      </a:lnTo>
                      <a:lnTo>
                        <a:pt x="142151" y="1274762"/>
                      </a:lnTo>
                      <a:lnTo>
                        <a:pt x="143205" y="1275168"/>
                      </a:lnTo>
                      <a:lnTo>
                        <a:pt x="148742" y="1277378"/>
                      </a:lnTo>
                      <a:lnTo>
                        <a:pt x="148742" y="1275410"/>
                      </a:lnTo>
                      <a:lnTo>
                        <a:pt x="148615" y="1275245"/>
                      </a:lnTo>
                      <a:lnTo>
                        <a:pt x="149466" y="1275626"/>
                      </a:lnTo>
                      <a:lnTo>
                        <a:pt x="151168" y="1276261"/>
                      </a:lnTo>
                      <a:lnTo>
                        <a:pt x="150939" y="1275245"/>
                      </a:lnTo>
                      <a:lnTo>
                        <a:pt x="150825" y="1274699"/>
                      </a:lnTo>
                      <a:lnTo>
                        <a:pt x="151714" y="1275372"/>
                      </a:lnTo>
                      <a:lnTo>
                        <a:pt x="152793" y="1275257"/>
                      </a:lnTo>
                      <a:lnTo>
                        <a:pt x="152565" y="1274622"/>
                      </a:lnTo>
                      <a:lnTo>
                        <a:pt x="152120" y="1273390"/>
                      </a:lnTo>
                      <a:lnTo>
                        <a:pt x="151739" y="1272349"/>
                      </a:lnTo>
                      <a:lnTo>
                        <a:pt x="146329" y="1272692"/>
                      </a:lnTo>
                      <a:lnTo>
                        <a:pt x="144780" y="1273225"/>
                      </a:lnTo>
                      <a:lnTo>
                        <a:pt x="141693" y="1273390"/>
                      </a:lnTo>
                      <a:lnTo>
                        <a:pt x="139407" y="1273200"/>
                      </a:lnTo>
                      <a:lnTo>
                        <a:pt x="137998" y="1273721"/>
                      </a:lnTo>
                      <a:lnTo>
                        <a:pt x="137718" y="1274013"/>
                      </a:lnTo>
                      <a:lnTo>
                        <a:pt x="137363" y="1274102"/>
                      </a:lnTo>
                      <a:lnTo>
                        <a:pt x="135966" y="1274533"/>
                      </a:lnTo>
                      <a:lnTo>
                        <a:pt x="136309" y="1274394"/>
                      </a:lnTo>
                      <a:lnTo>
                        <a:pt x="135483" y="1274191"/>
                      </a:lnTo>
                      <a:lnTo>
                        <a:pt x="134962" y="1274622"/>
                      </a:lnTo>
                      <a:lnTo>
                        <a:pt x="134899" y="1276540"/>
                      </a:lnTo>
                      <a:lnTo>
                        <a:pt x="134785" y="1276832"/>
                      </a:lnTo>
                      <a:lnTo>
                        <a:pt x="134620" y="1276159"/>
                      </a:lnTo>
                      <a:lnTo>
                        <a:pt x="134531" y="1275626"/>
                      </a:lnTo>
                      <a:lnTo>
                        <a:pt x="134785" y="1275245"/>
                      </a:lnTo>
                      <a:lnTo>
                        <a:pt x="134759" y="1274978"/>
                      </a:lnTo>
                      <a:lnTo>
                        <a:pt x="133807" y="1274508"/>
                      </a:lnTo>
                      <a:lnTo>
                        <a:pt x="129895" y="1274978"/>
                      </a:lnTo>
                      <a:lnTo>
                        <a:pt x="129451" y="1275867"/>
                      </a:lnTo>
                      <a:lnTo>
                        <a:pt x="128181" y="1276540"/>
                      </a:lnTo>
                      <a:lnTo>
                        <a:pt x="130454" y="1277086"/>
                      </a:lnTo>
                      <a:lnTo>
                        <a:pt x="133184" y="1277518"/>
                      </a:lnTo>
                      <a:lnTo>
                        <a:pt x="135407" y="1277175"/>
                      </a:lnTo>
                      <a:lnTo>
                        <a:pt x="134708" y="1277810"/>
                      </a:lnTo>
                      <a:lnTo>
                        <a:pt x="133045" y="1278178"/>
                      </a:lnTo>
                      <a:lnTo>
                        <a:pt x="133464" y="1279144"/>
                      </a:lnTo>
                      <a:lnTo>
                        <a:pt x="132791" y="1279436"/>
                      </a:lnTo>
                      <a:lnTo>
                        <a:pt x="131635" y="1279690"/>
                      </a:lnTo>
                      <a:lnTo>
                        <a:pt x="133007" y="1280769"/>
                      </a:lnTo>
                      <a:lnTo>
                        <a:pt x="136372" y="1281709"/>
                      </a:lnTo>
                      <a:lnTo>
                        <a:pt x="136601" y="1283576"/>
                      </a:lnTo>
                      <a:lnTo>
                        <a:pt x="136817" y="1283246"/>
                      </a:lnTo>
                      <a:lnTo>
                        <a:pt x="136931" y="1282611"/>
                      </a:lnTo>
                      <a:lnTo>
                        <a:pt x="136994" y="1281874"/>
                      </a:lnTo>
                      <a:lnTo>
                        <a:pt x="137731" y="1281341"/>
                      </a:lnTo>
                      <a:lnTo>
                        <a:pt x="138772" y="1281976"/>
                      </a:lnTo>
                      <a:lnTo>
                        <a:pt x="139293" y="1281341"/>
                      </a:lnTo>
                      <a:lnTo>
                        <a:pt x="139534" y="1281036"/>
                      </a:lnTo>
                      <a:lnTo>
                        <a:pt x="139839" y="1280655"/>
                      </a:lnTo>
                      <a:lnTo>
                        <a:pt x="138023" y="1281036"/>
                      </a:lnTo>
                      <a:lnTo>
                        <a:pt x="138722" y="1280172"/>
                      </a:lnTo>
                      <a:lnTo>
                        <a:pt x="137795" y="1279677"/>
                      </a:lnTo>
                      <a:lnTo>
                        <a:pt x="136296" y="1279474"/>
                      </a:lnTo>
                      <a:lnTo>
                        <a:pt x="136004" y="1278521"/>
                      </a:lnTo>
                      <a:lnTo>
                        <a:pt x="137033" y="1278343"/>
                      </a:lnTo>
                      <a:lnTo>
                        <a:pt x="137985" y="1278382"/>
                      </a:lnTo>
                      <a:lnTo>
                        <a:pt x="138239" y="1278343"/>
                      </a:lnTo>
                      <a:lnTo>
                        <a:pt x="138963" y="1278229"/>
                      </a:lnTo>
                      <a:lnTo>
                        <a:pt x="138887" y="1277810"/>
                      </a:lnTo>
                      <a:lnTo>
                        <a:pt x="138760" y="1277467"/>
                      </a:lnTo>
                      <a:lnTo>
                        <a:pt x="138595" y="1277175"/>
                      </a:lnTo>
                      <a:lnTo>
                        <a:pt x="138290" y="1276832"/>
                      </a:lnTo>
                      <a:lnTo>
                        <a:pt x="138087" y="1276654"/>
                      </a:lnTo>
                      <a:lnTo>
                        <a:pt x="140271" y="1275791"/>
                      </a:lnTo>
                      <a:lnTo>
                        <a:pt x="143725" y="1278978"/>
                      </a:lnTo>
                      <a:lnTo>
                        <a:pt x="145402" y="1277480"/>
                      </a:lnTo>
                      <a:lnTo>
                        <a:pt x="145199" y="1278521"/>
                      </a:lnTo>
                      <a:lnTo>
                        <a:pt x="144233" y="1280668"/>
                      </a:lnTo>
                      <a:lnTo>
                        <a:pt x="144106" y="1280769"/>
                      </a:lnTo>
                      <a:lnTo>
                        <a:pt x="143205" y="1281214"/>
                      </a:lnTo>
                      <a:lnTo>
                        <a:pt x="144170" y="1281125"/>
                      </a:lnTo>
                      <a:lnTo>
                        <a:pt x="145097" y="1280655"/>
                      </a:lnTo>
                      <a:lnTo>
                        <a:pt x="145973" y="1280337"/>
                      </a:lnTo>
                      <a:lnTo>
                        <a:pt x="145669" y="1280668"/>
                      </a:lnTo>
                      <a:lnTo>
                        <a:pt x="143484" y="1281582"/>
                      </a:lnTo>
                      <a:lnTo>
                        <a:pt x="143078" y="1283246"/>
                      </a:lnTo>
                      <a:lnTo>
                        <a:pt x="145453" y="1282776"/>
                      </a:lnTo>
                      <a:lnTo>
                        <a:pt x="148501" y="1282687"/>
                      </a:lnTo>
                      <a:lnTo>
                        <a:pt x="148145" y="1281493"/>
                      </a:lnTo>
                      <a:lnTo>
                        <a:pt x="152069" y="1284401"/>
                      </a:lnTo>
                      <a:lnTo>
                        <a:pt x="153949" y="1286370"/>
                      </a:lnTo>
                      <a:lnTo>
                        <a:pt x="155892" y="1288122"/>
                      </a:lnTo>
                      <a:lnTo>
                        <a:pt x="157073" y="1287678"/>
                      </a:lnTo>
                      <a:lnTo>
                        <a:pt x="157467" y="1287005"/>
                      </a:lnTo>
                      <a:lnTo>
                        <a:pt x="157124" y="1285227"/>
                      </a:lnTo>
                      <a:lnTo>
                        <a:pt x="156311" y="1285227"/>
                      </a:lnTo>
                      <a:lnTo>
                        <a:pt x="155600" y="1283741"/>
                      </a:lnTo>
                      <a:lnTo>
                        <a:pt x="156464" y="1283030"/>
                      </a:lnTo>
                      <a:lnTo>
                        <a:pt x="156959" y="1282611"/>
                      </a:lnTo>
                      <a:lnTo>
                        <a:pt x="154686" y="1283030"/>
                      </a:lnTo>
                      <a:lnTo>
                        <a:pt x="155765" y="1281544"/>
                      </a:lnTo>
                      <a:lnTo>
                        <a:pt x="155994" y="1281214"/>
                      </a:lnTo>
                      <a:lnTo>
                        <a:pt x="152768" y="1281544"/>
                      </a:lnTo>
                      <a:lnTo>
                        <a:pt x="152031" y="1281137"/>
                      </a:lnTo>
                      <a:lnTo>
                        <a:pt x="151955" y="1280922"/>
                      </a:lnTo>
                      <a:lnTo>
                        <a:pt x="151726" y="1280274"/>
                      </a:lnTo>
                      <a:lnTo>
                        <a:pt x="149987" y="1280210"/>
                      </a:lnTo>
                      <a:lnTo>
                        <a:pt x="148628" y="1280922"/>
                      </a:lnTo>
                      <a:lnTo>
                        <a:pt x="148551" y="1280337"/>
                      </a:lnTo>
                      <a:lnTo>
                        <a:pt x="148513" y="1280033"/>
                      </a:lnTo>
                      <a:lnTo>
                        <a:pt x="147739" y="1280248"/>
                      </a:lnTo>
                      <a:lnTo>
                        <a:pt x="147472" y="1279347"/>
                      </a:lnTo>
                      <a:lnTo>
                        <a:pt x="148450" y="1279588"/>
                      </a:lnTo>
                      <a:lnTo>
                        <a:pt x="152692" y="1280337"/>
                      </a:lnTo>
                      <a:lnTo>
                        <a:pt x="153847" y="1279347"/>
                      </a:lnTo>
                      <a:lnTo>
                        <a:pt x="154724" y="1278597"/>
                      </a:lnTo>
                      <a:lnTo>
                        <a:pt x="159943" y="1277975"/>
                      </a:lnTo>
                      <a:lnTo>
                        <a:pt x="160870" y="1278394"/>
                      </a:lnTo>
                      <a:lnTo>
                        <a:pt x="160324" y="1278534"/>
                      </a:lnTo>
                      <a:lnTo>
                        <a:pt x="159512" y="1278521"/>
                      </a:lnTo>
                      <a:lnTo>
                        <a:pt x="159042" y="1278610"/>
                      </a:lnTo>
                      <a:lnTo>
                        <a:pt x="159867" y="1279055"/>
                      </a:lnTo>
                      <a:lnTo>
                        <a:pt x="161391" y="1279283"/>
                      </a:lnTo>
                      <a:lnTo>
                        <a:pt x="162890" y="1278128"/>
                      </a:lnTo>
                      <a:lnTo>
                        <a:pt x="163703" y="1276578"/>
                      </a:lnTo>
                      <a:lnTo>
                        <a:pt x="165747" y="1278013"/>
                      </a:lnTo>
                      <a:lnTo>
                        <a:pt x="164642" y="1280426"/>
                      </a:lnTo>
                      <a:lnTo>
                        <a:pt x="168338" y="1279601"/>
                      </a:lnTo>
                      <a:lnTo>
                        <a:pt x="170053" y="1278115"/>
                      </a:lnTo>
                      <a:lnTo>
                        <a:pt x="171450" y="1273898"/>
                      </a:lnTo>
                      <a:close/>
                    </a:path>
                    <a:path w="617855" h="1292225">
                      <a:moveTo>
                        <a:pt x="173329" y="1278318"/>
                      </a:moveTo>
                      <a:lnTo>
                        <a:pt x="172237" y="1278242"/>
                      </a:lnTo>
                      <a:lnTo>
                        <a:pt x="170929" y="1278204"/>
                      </a:lnTo>
                      <a:lnTo>
                        <a:pt x="170434" y="1279283"/>
                      </a:lnTo>
                      <a:lnTo>
                        <a:pt x="171361" y="1279867"/>
                      </a:lnTo>
                      <a:lnTo>
                        <a:pt x="172402" y="1278826"/>
                      </a:lnTo>
                      <a:lnTo>
                        <a:pt x="173329" y="1278318"/>
                      </a:lnTo>
                      <a:close/>
                    </a:path>
                    <a:path w="617855" h="1292225">
                      <a:moveTo>
                        <a:pt x="178193" y="1278813"/>
                      </a:moveTo>
                      <a:lnTo>
                        <a:pt x="177444" y="1279398"/>
                      </a:lnTo>
                      <a:lnTo>
                        <a:pt x="178054" y="1278940"/>
                      </a:lnTo>
                      <a:lnTo>
                        <a:pt x="178193" y="1278813"/>
                      </a:lnTo>
                      <a:close/>
                    </a:path>
                    <a:path w="617855" h="1292225">
                      <a:moveTo>
                        <a:pt x="179184" y="1278064"/>
                      </a:moveTo>
                      <a:lnTo>
                        <a:pt x="178587" y="1278432"/>
                      </a:lnTo>
                      <a:lnTo>
                        <a:pt x="178193" y="1278813"/>
                      </a:lnTo>
                      <a:lnTo>
                        <a:pt x="179184" y="1278064"/>
                      </a:lnTo>
                      <a:close/>
                    </a:path>
                    <a:path w="617855" h="1292225">
                      <a:moveTo>
                        <a:pt x="196710" y="237985"/>
                      </a:moveTo>
                      <a:lnTo>
                        <a:pt x="195846" y="237490"/>
                      </a:lnTo>
                      <a:lnTo>
                        <a:pt x="194881" y="237363"/>
                      </a:lnTo>
                      <a:lnTo>
                        <a:pt x="194208" y="238125"/>
                      </a:lnTo>
                      <a:lnTo>
                        <a:pt x="194779" y="238455"/>
                      </a:lnTo>
                      <a:lnTo>
                        <a:pt x="195414" y="238721"/>
                      </a:lnTo>
                      <a:lnTo>
                        <a:pt x="196062" y="238874"/>
                      </a:lnTo>
                      <a:lnTo>
                        <a:pt x="196329" y="238658"/>
                      </a:lnTo>
                      <a:lnTo>
                        <a:pt x="196507" y="238277"/>
                      </a:lnTo>
                      <a:lnTo>
                        <a:pt x="196710" y="237985"/>
                      </a:lnTo>
                      <a:close/>
                    </a:path>
                    <a:path w="617855" h="1292225">
                      <a:moveTo>
                        <a:pt x="215646" y="241071"/>
                      </a:moveTo>
                      <a:lnTo>
                        <a:pt x="215328" y="240715"/>
                      </a:lnTo>
                      <a:lnTo>
                        <a:pt x="215011" y="240322"/>
                      </a:lnTo>
                      <a:lnTo>
                        <a:pt x="214642" y="240080"/>
                      </a:lnTo>
                      <a:lnTo>
                        <a:pt x="214934" y="240436"/>
                      </a:lnTo>
                      <a:lnTo>
                        <a:pt x="215303" y="240753"/>
                      </a:lnTo>
                      <a:lnTo>
                        <a:pt x="215646" y="241071"/>
                      </a:lnTo>
                      <a:close/>
                    </a:path>
                    <a:path w="617855" h="1292225">
                      <a:moveTo>
                        <a:pt x="217398" y="237007"/>
                      </a:moveTo>
                      <a:lnTo>
                        <a:pt x="217055" y="235940"/>
                      </a:lnTo>
                      <a:lnTo>
                        <a:pt x="216141" y="234734"/>
                      </a:lnTo>
                      <a:lnTo>
                        <a:pt x="215099" y="235343"/>
                      </a:lnTo>
                      <a:lnTo>
                        <a:pt x="213690" y="237236"/>
                      </a:lnTo>
                      <a:lnTo>
                        <a:pt x="212178" y="236943"/>
                      </a:lnTo>
                      <a:lnTo>
                        <a:pt x="211810" y="236359"/>
                      </a:lnTo>
                      <a:lnTo>
                        <a:pt x="210972" y="236105"/>
                      </a:lnTo>
                      <a:lnTo>
                        <a:pt x="210210" y="236080"/>
                      </a:lnTo>
                      <a:lnTo>
                        <a:pt x="209054" y="236283"/>
                      </a:lnTo>
                      <a:lnTo>
                        <a:pt x="210426" y="237439"/>
                      </a:lnTo>
                      <a:lnTo>
                        <a:pt x="212090" y="238264"/>
                      </a:lnTo>
                      <a:lnTo>
                        <a:pt x="213601" y="239204"/>
                      </a:lnTo>
                      <a:lnTo>
                        <a:pt x="214718" y="238518"/>
                      </a:lnTo>
                      <a:lnTo>
                        <a:pt x="216395" y="238772"/>
                      </a:lnTo>
                      <a:lnTo>
                        <a:pt x="217398" y="237007"/>
                      </a:lnTo>
                      <a:close/>
                    </a:path>
                    <a:path w="617855" h="1292225">
                      <a:moveTo>
                        <a:pt x="598855" y="1255801"/>
                      </a:moveTo>
                      <a:lnTo>
                        <a:pt x="598055" y="1255458"/>
                      </a:lnTo>
                      <a:lnTo>
                        <a:pt x="597954" y="1255814"/>
                      </a:lnTo>
                      <a:lnTo>
                        <a:pt x="598855" y="1255801"/>
                      </a:lnTo>
                      <a:close/>
                    </a:path>
                    <a:path w="617855" h="1292225">
                      <a:moveTo>
                        <a:pt x="617766" y="1270038"/>
                      </a:moveTo>
                      <a:lnTo>
                        <a:pt x="616267" y="1268691"/>
                      </a:lnTo>
                      <a:lnTo>
                        <a:pt x="615188" y="1267955"/>
                      </a:lnTo>
                      <a:lnTo>
                        <a:pt x="616229" y="1266202"/>
                      </a:lnTo>
                      <a:lnTo>
                        <a:pt x="616419" y="1265872"/>
                      </a:lnTo>
                      <a:lnTo>
                        <a:pt x="615632" y="1265847"/>
                      </a:lnTo>
                      <a:lnTo>
                        <a:pt x="611746" y="1266202"/>
                      </a:lnTo>
                      <a:lnTo>
                        <a:pt x="614730" y="1264691"/>
                      </a:lnTo>
                      <a:lnTo>
                        <a:pt x="614184" y="1263840"/>
                      </a:lnTo>
                      <a:lnTo>
                        <a:pt x="613079" y="1263802"/>
                      </a:lnTo>
                      <a:lnTo>
                        <a:pt x="612089" y="1263129"/>
                      </a:lnTo>
                      <a:lnTo>
                        <a:pt x="612711" y="1262722"/>
                      </a:lnTo>
                      <a:lnTo>
                        <a:pt x="612432" y="1262380"/>
                      </a:lnTo>
                      <a:lnTo>
                        <a:pt x="611797" y="1262253"/>
                      </a:lnTo>
                      <a:lnTo>
                        <a:pt x="611593" y="1261897"/>
                      </a:lnTo>
                      <a:lnTo>
                        <a:pt x="610933" y="1262380"/>
                      </a:lnTo>
                      <a:lnTo>
                        <a:pt x="611593" y="1261643"/>
                      </a:lnTo>
                      <a:lnTo>
                        <a:pt x="611403" y="1261237"/>
                      </a:lnTo>
                      <a:lnTo>
                        <a:pt x="610984" y="1260309"/>
                      </a:lnTo>
                      <a:lnTo>
                        <a:pt x="610844" y="1260182"/>
                      </a:lnTo>
                      <a:lnTo>
                        <a:pt x="609295" y="1259293"/>
                      </a:lnTo>
                      <a:lnTo>
                        <a:pt x="608761" y="1260665"/>
                      </a:lnTo>
                      <a:lnTo>
                        <a:pt x="607923" y="1261643"/>
                      </a:lnTo>
                      <a:lnTo>
                        <a:pt x="607656" y="1261008"/>
                      </a:lnTo>
                      <a:lnTo>
                        <a:pt x="607987" y="1260208"/>
                      </a:lnTo>
                      <a:lnTo>
                        <a:pt x="608050" y="1260030"/>
                      </a:lnTo>
                      <a:lnTo>
                        <a:pt x="608101" y="1259687"/>
                      </a:lnTo>
                      <a:lnTo>
                        <a:pt x="607148" y="1259217"/>
                      </a:lnTo>
                      <a:lnTo>
                        <a:pt x="606717" y="1260182"/>
                      </a:lnTo>
                      <a:lnTo>
                        <a:pt x="604075" y="1260208"/>
                      </a:lnTo>
                      <a:lnTo>
                        <a:pt x="605548" y="1259293"/>
                      </a:lnTo>
                      <a:lnTo>
                        <a:pt x="606767" y="1258531"/>
                      </a:lnTo>
                      <a:lnTo>
                        <a:pt x="607796" y="1258582"/>
                      </a:lnTo>
                      <a:lnTo>
                        <a:pt x="606831" y="1257808"/>
                      </a:lnTo>
                      <a:lnTo>
                        <a:pt x="603250" y="1259293"/>
                      </a:lnTo>
                      <a:lnTo>
                        <a:pt x="603808" y="1258709"/>
                      </a:lnTo>
                      <a:lnTo>
                        <a:pt x="604862" y="1257604"/>
                      </a:lnTo>
                      <a:lnTo>
                        <a:pt x="605078" y="1257376"/>
                      </a:lnTo>
                      <a:lnTo>
                        <a:pt x="605421" y="1257020"/>
                      </a:lnTo>
                      <a:lnTo>
                        <a:pt x="604634" y="1256766"/>
                      </a:lnTo>
                      <a:lnTo>
                        <a:pt x="603808" y="1256804"/>
                      </a:lnTo>
                      <a:lnTo>
                        <a:pt x="603224" y="1257376"/>
                      </a:lnTo>
                      <a:lnTo>
                        <a:pt x="603250" y="1257223"/>
                      </a:lnTo>
                      <a:lnTo>
                        <a:pt x="603656" y="1255217"/>
                      </a:lnTo>
                      <a:lnTo>
                        <a:pt x="600862" y="1257122"/>
                      </a:lnTo>
                      <a:lnTo>
                        <a:pt x="600176" y="1257223"/>
                      </a:lnTo>
                      <a:lnTo>
                        <a:pt x="600252" y="1257096"/>
                      </a:lnTo>
                      <a:lnTo>
                        <a:pt x="600367" y="1256284"/>
                      </a:lnTo>
                      <a:lnTo>
                        <a:pt x="600519" y="1255979"/>
                      </a:lnTo>
                      <a:lnTo>
                        <a:pt x="599567" y="1256004"/>
                      </a:lnTo>
                      <a:lnTo>
                        <a:pt x="599097" y="1257096"/>
                      </a:lnTo>
                      <a:lnTo>
                        <a:pt x="598538" y="1256919"/>
                      </a:lnTo>
                      <a:lnTo>
                        <a:pt x="598639" y="1256550"/>
                      </a:lnTo>
                      <a:lnTo>
                        <a:pt x="598805" y="1255979"/>
                      </a:lnTo>
                      <a:lnTo>
                        <a:pt x="597916" y="1255979"/>
                      </a:lnTo>
                      <a:lnTo>
                        <a:pt x="596099" y="1255979"/>
                      </a:lnTo>
                      <a:lnTo>
                        <a:pt x="593712" y="1256550"/>
                      </a:lnTo>
                      <a:lnTo>
                        <a:pt x="594029" y="1255141"/>
                      </a:lnTo>
                      <a:lnTo>
                        <a:pt x="594106" y="1254772"/>
                      </a:lnTo>
                      <a:lnTo>
                        <a:pt x="593420" y="1255141"/>
                      </a:lnTo>
                      <a:lnTo>
                        <a:pt x="592505" y="1255052"/>
                      </a:lnTo>
                      <a:lnTo>
                        <a:pt x="591248" y="1254836"/>
                      </a:lnTo>
                      <a:lnTo>
                        <a:pt x="590600" y="1254315"/>
                      </a:lnTo>
                      <a:lnTo>
                        <a:pt x="589762" y="1254328"/>
                      </a:lnTo>
                      <a:lnTo>
                        <a:pt x="589597" y="1255014"/>
                      </a:lnTo>
                      <a:lnTo>
                        <a:pt x="588670" y="1255052"/>
                      </a:lnTo>
                      <a:lnTo>
                        <a:pt x="588429" y="1254709"/>
                      </a:lnTo>
                      <a:lnTo>
                        <a:pt x="586041" y="1254975"/>
                      </a:lnTo>
                      <a:lnTo>
                        <a:pt x="586727" y="1255141"/>
                      </a:lnTo>
                      <a:lnTo>
                        <a:pt x="591159" y="1255191"/>
                      </a:lnTo>
                      <a:lnTo>
                        <a:pt x="591870" y="1256550"/>
                      </a:lnTo>
                      <a:lnTo>
                        <a:pt x="591921" y="1256766"/>
                      </a:lnTo>
                      <a:lnTo>
                        <a:pt x="589305" y="1257427"/>
                      </a:lnTo>
                      <a:lnTo>
                        <a:pt x="591426" y="1258303"/>
                      </a:lnTo>
                      <a:lnTo>
                        <a:pt x="593610" y="1257604"/>
                      </a:lnTo>
                      <a:lnTo>
                        <a:pt x="595185" y="1257617"/>
                      </a:lnTo>
                      <a:lnTo>
                        <a:pt x="596087" y="1257668"/>
                      </a:lnTo>
                      <a:lnTo>
                        <a:pt x="596912" y="1257744"/>
                      </a:lnTo>
                      <a:lnTo>
                        <a:pt x="596442" y="1257998"/>
                      </a:lnTo>
                      <a:lnTo>
                        <a:pt x="595503" y="1258049"/>
                      </a:lnTo>
                      <a:lnTo>
                        <a:pt x="594741" y="1258824"/>
                      </a:lnTo>
                      <a:lnTo>
                        <a:pt x="595185" y="1258709"/>
                      </a:lnTo>
                      <a:lnTo>
                        <a:pt x="594893" y="1259166"/>
                      </a:lnTo>
                      <a:lnTo>
                        <a:pt x="595414" y="1259687"/>
                      </a:lnTo>
                      <a:lnTo>
                        <a:pt x="594702" y="1260030"/>
                      </a:lnTo>
                      <a:lnTo>
                        <a:pt x="597535" y="1260271"/>
                      </a:lnTo>
                      <a:lnTo>
                        <a:pt x="600049" y="1260309"/>
                      </a:lnTo>
                      <a:lnTo>
                        <a:pt x="607377" y="1264488"/>
                      </a:lnTo>
                      <a:lnTo>
                        <a:pt x="610196" y="1268158"/>
                      </a:lnTo>
                      <a:lnTo>
                        <a:pt x="613638" y="1272438"/>
                      </a:lnTo>
                      <a:lnTo>
                        <a:pt x="614375" y="1272298"/>
                      </a:lnTo>
                      <a:lnTo>
                        <a:pt x="615175" y="1272108"/>
                      </a:lnTo>
                      <a:lnTo>
                        <a:pt x="615734" y="1271778"/>
                      </a:lnTo>
                      <a:lnTo>
                        <a:pt x="615061" y="1271130"/>
                      </a:lnTo>
                      <a:lnTo>
                        <a:pt x="614184" y="1270723"/>
                      </a:lnTo>
                      <a:lnTo>
                        <a:pt x="613460" y="1270127"/>
                      </a:lnTo>
                      <a:lnTo>
                        <a:pt x="615594" y="1270660"/>
                      </a:lnTo>
                      <a:lnTo>
                        <a:pt x="616026" y="1270990"/>
                      </a:lnTo>
                      <a:lnTo>
                        <a:pt x="617601" y="1270127"/>
                      </a:lnTo>
                      <a:lnTo>
                        <a:pt x="617766" y="1270038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99" name="object 39">
                  <a:extLst>
                    <a:ext uri="{FF2B5EF4-FFF2-40B4-BE49-F238E27FC236}">
                      <a16:creationId xmlns:a16="http://schemas.microsoft.com/office/drawing/2014/main" id="{1E81AB25-DA6D-EC9D-43C2-B23EEC5BC3BC}"/>
                    </a:ext>
                  </a:extLst>
                </p:cNvPr>
                <p:cNvSpPr/>
                <p:nvPr/>
              </p:nvSpPr>
              <p:spPr>
                <a:xfrm>
                  <a:off x="1481886" y="2616238"/>
                  <a:ext cx="629285" cy="11474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9285" h="1147445">
                      <a:moveTo>
                        <a:pt x="2590" y="177"/>
                      </a:moveTo>
                      <a:lnTo>
                        <a:pt x="2489" y="0"/>
                      </a:lnTo>
                      <a:lnTo>
                        <a:pt x="1587" y="1473"/>
                      </a:lnTo>
                      <a:lnTo>
                        <a:pt x="812" y="3009"/>
                      </a:lnTo>
                      <a:lnTo>
                        <a:pt x="0" y="4521"/>
                      </a:lnTo>
                      <a:lnTo>
                        <a:pt x="215" y="4343"/>
                      </a:lnTo>
                      <a:lnTo>
                        <a:pt x="393" y="4127"/>
                      </a:lnTo>
                      <a:lnTo>
                        <a:pt x="596" y="3924"/>
                      </a:lnTo>
                      <a:lnTo>
                        <a:pt x="762" y="3733"/>
                      </a:lnTo>
                      <a:lnTo>
                        <a:pt x="952" y="3581"/>
                      </a:lnTo>
                      <a:lnTo>
                        <a:pt x="1117" y="3390"/>
                      </a:lnTo>
                      <a:lnTo>
                        <a:pt x="1244" y="3175"/>
                      </a:lnTo>
                      <a:lnTo>
                        <a:pt x="1435" y="2895"/>
                      </a:lnTo>
                      <a:lnTo>
                        <a:pt x="1625" y="2590"/>
                      </a:lnTo>
                      <a:lnTo>
                        <a:pt x="2032" y="1981"/>
                      </a:lnTo>
                      <a:lnTo>
                        <a:pt x="2374" y="1346"/>
                      </a:lnTo>
                      <a:lnTo>
                        <a:pt x="2501" y="812"/>
                      </a:lnTo>
                      <a:lnTo>
                        <a:pt x="2578" y="431"/>
                      </a:lnTo>
                      <a:lnTo>
                        <a:pt x="2590" y="177"/>
                      </a:lnTo>
                      <a:close/>
                    </a:path>
                    <a:path w="629285" h="1147445">
                      <a:moveTo>
                        <a:pt x="186423" y="1004430"/>
                      </a:moveTo>
                      <a:lnTo>
                        <a:pt x="184289" y="1002715"/>
                      </a:lnTo>
                      <a:lnTo>
                        <a:pt x="183349" y="1003173"/>
                      </a:lnTo>
                      <a:lnTo>
                        <a:pt x="182664" y="1003642"/>
                      </a:lnTo>
                      <a:lnTo>
                        <a:pt x="181711" y="1004303"/>
                      </a:lnTo>
                      <a:lnTo>
                        <a:pt x="182880" y="1005103"/>
                      </a:lnTo>
                      <a:lnTo>
                        <a:pt x="183527" y="1005763"/>
                      </a:lnTo>
                      <a:lnTo>
                        <a:pt x="184619" y="1005509"/>
                      </a:lnTo>
                      <a:lnTo>
                        <a:pt x="186423" y="1004430"/>
                      </a:lnTo>
                      <a:close/>
                    </a:path>
                    <a:path w="629285" h="1147445">
                      <a:moveTo>
                        <a:pt x="189585" y="1009269"/>
                      </a:moveTo>
                      <a:lnTo>
                        <a:pt x="188569" y="1007706"/>
                      </a:lnTo>
                      <a:lnTo>
                        <a:pt x="187858" y="1005408"/>
                      </a:lnTo>
                      <a:lnTo>
                        <a:pt x="187032" y="1006500"/>
                      </a:lnTo>
                      <a:lnTo>
                        <a:pt x="186220" y="1007440"/>
                      </a:lnTo>
                      <a:lnTo>
                        <a:pt x="187375" y="1008265"/>
                      </a:lnTo>
                      <a:lnTo>
                        <a:pt x="185737" y="1007618"/>
                      </a:lnTo>
                      <a:lnTo>
                        <a:pt x="183629" y="1006271"/>
                      </a:lnTo>
                      <a:lnTo>
                        <a:pt x="182664" y="1008684"/>
                      </a:lnTo>
                      <a:lnTo>
                        <a:pt x="185889" y="1009269"/>
                      </a:lnTo>
                      <a:lnTo>
                        <a:pt x="189585" y="1009269"/>
                      </a:lnTo>
                      <a:close/>
                    </a:path>
                    <a:path w="629285" h="1147445">
                      <a:moveTo>
                        <a:pt x="193370" y="1071092"/>
                      </a:moveTo>
                      <a:lnTo>
                        <a:pt x="192138" y="1069809"/>
                      </a:lnTo>
                      <a:lnTo>
                        <a:pt x="191960" y="1069213"/>
                      </a:lnTo>
                      <a:lnTo>
                        <a:pt x="192265" y="1069340"/>
                      </a:lnTo>
                      <a:lnTo>
                        <a:pt x="192595" y="1069340"/>
                      </a:lnTo>
                      <a:lnTo>
                        <a:pt x="192887" y="1069441"/>
                      </a:lnTo>
                      <a:lnTo>
                        <a:pt x="191350" y="1064120"/>
                      </a:lnTo>
                      <a:lnTo>
                        <a:pt x="187363" y="1071549"/>
                      </a:lnTo>
                      <a:lnTo>
                        <a:pt x="186524" y="1073023"/>
                      </a:lnTo>
                      <a:lnTo>
                        <a:pt x="188061" y="1072464"/>
                      </a:lnTo>
                      <a:lnTo>
                        <a:pt x="190703" y="1072108"/>
                      </a:lnTo>
                      <a:lnTo>
                        <a:pt x="190258" y="1069822"/>
                      </a:lnTo>
                      <a:lnTo>
                        <a:pt x="190512" y="1069644"/>
                      </a:lnTo>
                      <a:lnTo>
                        <a:pt x="190741" y="1069428"/>
                      </a:lnTo>
                      <a:lnTo>
                        <a:pt x="191122" y="1070013"/>
                      </a:lnTo>
                      <a:lnTo>
                        <a:pt x="191554" y="1071854"/>
                      </a:lnTo>
                      <a:lnTo>
                        <a:pt x="192227" y="1071562"/>
                      </a:lnTo>
                      <a:lnTo>
                        <a:pt x="193370" y="1071092"/>
                      </a:lnTo>
                      <a:close/>
                    </a:path>
                    <a:path w="629285" h="1147445">
                      <a:moveTo>
                        <a:pt x="195719" y="1053719"/>
                      </a:moveTo>
                      <a:lnTo>
                        <a:pt x="194970" y="1053846"/>
                      </a:lnTo>
                      <a:lnTo>
                        <a:pt x="195719" y="1053719"/>
                      </a:lnTo>
                      <a:close/>
                    </a:path>
                    <a:path w="629285" h="1147445">
                      <a:moveTo>
                        <a:pt x="196189" y="991425"/>
                      </a:moveTo>
                      <a:lnTo>
                        <a:pt x="195376" y="991793"/>
                      </a:lnTo>
                      <a:lnTo>
                        <a:pt x="194716" y="992441"/>
                      </a:lnTo>
                      <a:lnTo>
                        <a:pt x="194017" y="992987"/>
                      </a:lnTo>
                      <a:lnTo>
                        <a:pt x="194843" y="992517"/>
                      </a:lnTo>
                      <a:lnTo>
                        <a:pt x="195884" y="992339"/>
                      </a:lnTo>
                      <a:lnTo>
                        <a:pt x="196189" y="991425"/>
                      </a:lnTo>
                      <a:close/>
                    </a:path>
                    <a:path w="629285" h="1147445">
                      <a:moveTo>
                        <a:pt x="197573" y="945045"/>
                      </a:moveTo>
                      <a:lnTo>
                        <a:pt x="195884" y="942365"/>
                      </a:lnTo>
                      <a:lnTo>
                        <a:pt x="196227" y="944524"/>
                      </a:lnTo>
                      <a:lnTo>
                        <a:pt x="194386" y="944943"/>
                      </a:lnTo>
                      <a:lnTo>
                        <a:pt x="193776" y="943952"/>
                      </a:lnTo>
                      <a:lnTo>
                        <a:pt x="192900" y="944867"/>
                      </a:lnTo>
                      <a:lnTo>
                        <a:pt x="194411" y="945210"/>
                      </a:lnTo>
                      <a:lnTo>
                        <a:pt x="196037" y="945032"/>
                      </a:lnTo>
                      <a:lnTo>
                        <a:pt x="197573" y="945045"/>
                      </a:lnTo>
                      <a:close/>
                    </a:path>
                    <a:path w="629285" h="1147445">
                      <a:moveTo>
                        <a:pt x="198831" y="1059967"/>
                      </a:moveTo>
                      <a:lnTo>
                        <a:pt x="196443" y="1058570"/>
                      </a:lnTo>
                      <a:lnTo>
                        <a:pt x="195719" y="1057910"/>
                      </a:lnTo>
                      <a:lnTo>
                        <a:pt x="196088" y="1058037"/>
                      </a:lnTo>
                      <a:lnTo>
                        <a:pt x="196557" y="1058037"/>
                      </a:lnTo>
                      <a:lnTo>
                        <a:pt x="196951" y="1058100"/>
                      </a:lnTo>
                      <a:lnTo>
                        <a:pt x="196951" y="1057910"/>
                      </a:lnTo>
                      <a:lnTo>
                        <a:pt x="196938" y="1057414"/>
                      </a:lnTo>
                      <a:lnTo>
                        <a:pt x="196138" y="1055547"/>
                      </a:lnTo>
                      <a:lnTo>
                        <a:pt x="195110" y="1054049"/>
                      </a:lnTo>
                      <a:lnTo>
                        <a:pt x="194995" y="1053884"/>
                      </a:lnTo>
                      <a:lnTo>
                        <a:pt x="194208" y="1054049"/>
                      </a:lnTo>
                      <a:lnTo>
                        <a:pt x="190906" y="1052220"/>
                      </a:lnTo>
                      <a:lnTo>
                        <a:pt x="191566" y="1055827"/>
                      </a:lnTo>
                      <a:lnTo>
                        <a:pt x="193421" y="1060259"/>
                      </a:lnTo>
                      <a:lnTo>
                        <a:pt x="195402" y="1060754"/>
                      </a:lnTo>
                      <a:lnTo>
                        <a:pt x="198501" y="1060361"/>
                      </a:lnTo>
                      <a:lnTo>
                        <a:pt x="198831" y="1059967"/>
                      </a:lnTo>
                      <a:close/>
                    </a:path>
                    <a:path w="629285" h="1147445">
                      <a:moveTo>
                        <a:pt x="202501" y="1080236"/>
                      </a:moveTo>
                      <a:lnTo>
                        <a:pt x="201053" y="1077302"/>
                      </a:lnTo>
                      <a:lnTo>
                        <a:pt x="200088" y="1074978"/>
                      </a:lnTo>
                      <a:lnTo>
                        <a:pt x="197878" y="1074940"/>
                      </a:lnTo>
                      <a:lnTo>
                        <a:pt x="199326" y="1075944"/>
                      </a:lnTo>
                      <a:lnTo>
                        <a:pt x="198564" y="1076718"/>
                      </a:lnTo>
                      <a:lnTo>
                        <a:pt x="197840" y="1076655"/>
                      </a:lnTo>
                      <a:lnTo>
                        <a:pt x="197815" y="1076871"/>
                      </a:lnTo>
                      <a:lnTo>
                        <a:pt x="196723" y="1076782"/>
                      </a:lnTo>
                      <a:lnTo>
                        <a:pt x="197573" y="1077506"/>
                      </a:lnTo>
                      <a:lnTo>
                        <a:pt x="198031" y="1077912"/>
                      </a:lnTo>
                      <a:lnTo>
                        <a:pt x="198653" y="1078357"/>
                      </a:lnTo>
                      <a:lnTo>
                        <a:pt x="202501" y="1080236"/>
                      </a:lnTo>
                      <a:close/>
                    </a:path>
                    <a:path w="629285" h="1147445">
                      <a:moveTo>
                        <a:pt x="204495" y="1112354"/>
                      </a:moveTo>
                      <a:lnTo>
                        <a:pt x="202958" y="1111110"/>
                      </a:lnTo>
                      <a:lnTo>
                        <a:pt x="202704" y="1111961"/>
                      </a:lnTo>
                      <a:lnTo>
                        <a:pt x="202895" y="1112888"/>
                      </a:lnTo>
                      <a:lnTo>
                        <a:pt x="202946" y="1113790"/>
                      </a:lnTo>
                      <a:lnTo>
                        <a:pt x="204495" y="1112354"/>
                      </a:lnTo>
                      <a:close/>
                    </a:path>
                    <a:path w="629285" h="1147445">
                      <a:moveTo>
                        <a:pt x="205397" y="1092695"/>
                      </a:moveTo>
                      <a:lnTo>
                        <a:pt x="205333" y="1092111"/>
                      </a:lnTo>
                      <a:lnTo>
                        <a:pt x="205130" y="1089812"/>
                      </a:lnTo>
                      <a:lnTo>
                        <a:pt x="200888" y="1092809"/>
                      </a:lnTo>
                      <a:lnTo>
                        <a:pt x="200037" y="1093825"/>
                      </a:lnTo>
                      <a:lnTo>
                        <a:pt x="200787" y="1094016"/>
                      </a:lnTo>
                      <a:lnTo>
                        <a:pt x="201599" y="1093965"/>
                      </a:lnTo>
                      <a:lnTo>
                        <a:pt x="202323" y="1093673"/>
                      </a:lnTo>
                      <a:lnTo>
                        <a:pt x="202501" y="1094778"/>
                      </a:lnTo>
                      <a:lnTo>
                        <a:pt x="202082" y="1095921"/>
                      </a:lnTo>
                      <a:lnTo>
                        <a:pt x="201866" y="1097000"/>
                      </a:lnTo>
                      <a:lnTo>
                        <a:pt x="203250" y="1096695"/>
                      </a:lnTo>
                      <a:lnTo>
                        <a:pt x="204089" y="1095895"/>
                      </a:lnTo>
                      <a:lnTo>
                        <a:pt x="204546" y="1094587"/>
                      </a:lnTo>
                      <a:lnTo>
                        <a:pt x="204622" y="1094359"/>
                      </a:lnTo>
                      <a:lnTo>
                        <a:pt x="204609" y="1093381"/>
                      </a:lnTo>
                      <a:lnTo>
                        <a:pt x="204724" y="1092657"/>
                      </a:lnTo>
                      <a:lnTo>
                        <a:pt x="205397" y="1092695"/>
                      </a:lnTo>
                      <a:close/>
                    </a:path>
                    <a:path w="629285" h="1147445">
                      <a:moveTo>
                        <a:pt x="205803" y="945413"/>
                      </a:moveTo>
                      <a:lnTo>
                        <a:pt x="203885" y="946518"/>
                      </a:lnTo>
                      <a:lnTo>
                        <a:pt x="202895" y="947089"/>
                      </a:lnTo>
                      <a:lnTo>
                        <a:pt x="203212" y="950760"/>
                      </a:lnTo>
                      <a:lnTo>
                        <a:pt x="203009" y="950493"/>
                      </a:lnTo>
                      <a:lnTo>
                        <a:pt x="201688" y="948817"/>
                      </a:lnTo>
                      <a:lnTo>
                        <a:pt x="203352" y="953592"/>
                      </a:lnTo>
                      <a:lnTo>
                        <a:pt x="203428" y="953757"/>
                      </a:lnTo>
                      <a:lnTo>
                        <a:pt x="203492" y="952906"/>
                      </a:lnTo>
                      <a:lnTo>
                        <a:pt x="203644" y="951293"/>
                      </a:lnTo>
                      <a:lnTo>
                        <a:pt x="203238" y="950798"/>
                      </a:lnTo>
                      <a:lnTo>
                        <a:pt x="205663" y="948677"/>
                      </a:lnTo>
                      <a:lnTo>
                        <a:pt x="205371" y="947559"/>
                      </a:lnTo>
                      <a:lnTo>
                        <a:pt x="205803" y="945413"/>
                      </a:lnTo>
                      <a:close/>
                    </a:path>
                    <a:path w="629285" h="1147445">
                      <a:moveTo>
                        <a:pt x="238086" y="1138313"/>
                      </a:moveTo>
                      <a:lnTo>
                        <a:pt x="237845" y="1138313"/>
                      </a:lnTo>
                      <a:lnTo>
                        <a:pt x="238086" y="1138326"/>
                      </a:lnTo>
                      <a:close/>
                    </a:path>
                    <a:path w="629285" h="1147445">
                      <a:moveTo>
                        <a:pt x="244665" y="1140142"/>
                      </a:moveTo>
                      <a:lnTo>
                        <a:pt x="244513" y="1140028"/>
                      </a:lnTo>
                      <a:lnTo>
                        <a:pt x="243776" y="1139456"/>
                      </a:lnTo>
                      <a:lnTo>
                        <a:pt x="243179" y="1138986"/>
                      </a:lnTo>
                      <a:lnTo>
                        <a:pt x="243027" y="1138923"/>
                      </a:lnTo>
                      <a:lnTo>
                        <a:pt x="241693" y="1138339"/>
                      </a:lnTo>
                      <a:lnTo>
                        <a:pt x="238086" y="1138326"/>
                      </a:lnTo>
                      <a:lnTo>
                        <a:pt x="238696" y="1140663"/>
                      </a:lnTo>
                      <a:lnTo>
                        <a:pt x="239293" y="1139456"/>
                      </a:lnTo>
                      <a:lnTo>
                        <a:pt x="239382" y="1139088"/>
                      </a:lnTo>
                      <a:lnTo>
                        <a:pt x="240017" y="1138999"/>
                      </a:lnTo>
                      <a:lnTo>
                        <a:pt x="242163" y="1139558"/>
                      </a:lnTo>
                      <a:lnTo>
                        <a:pt x="242430" y="1139685"/>
                      </a:lnTo>
                      <a:lnTo>
                        <a:pt x="242265" y="1140523"/>
                      </a:lnTo>
                      <a:lnTo>
                        <a:pt x="243103" y="1140726"/>
                      </a:lnTo>
                      <a:lnTo>
                        <a:pt x="243179" y="1140104"/>
                      </a:lnTo>
                      <a:lnTo>
                        <a:pt x="243624" y="1140142"/>
                      </a:lnTo>
                      <a:lnTo>
                        <a:pt x="243852" y="1140104"/>
                      </a:lnTo>
                      <a:lnTo>
                        <a:pt x="244297" y="1140028"/>
                      </a:lnTo>
                      <a:lnTo>
                        <a:pt x="244665" y="1140142"/>
                      </a:lnTo>
                      <a:close/>
                    </a:path>
                    <a:path w="629285" h="1147445">
                      <a:moveTo>
                        <a:pt x="254850" y="1143139"/>
                      </a:moveTo>
                      <a:lnTo>
                        <a:pt x="253695" y="1142301"/>
                      </a:lnTo>
                      <a:lnTo>
                        <a:pt x="253441" y="1142111"/>
                      </a:lnTo>
                      <a:lnTo>
                        <a:pt x="251358" y="1142301"/>
                      </a:lnTo>
                      <a:lnTo>
                        <a:pt x="250748" y="1142288"/>
                      </a:lnTo>
                      <a:lnTo>
                        <a:pt x="248602" y="1142161"/>
                      </a:lnTo>
                      <a:lnTo>
                        <a:pt x="247548" y="1141895"/>
                      </a:lnTo>
                      <a:lnTo>
                        <a:pt x="248577" y="1141564"/>
                      </a:lnTo>
                      <a:lnTo>
                        <a:pt x="249694" y="1141653"/>
                      </a:lnTo>
                      <a:lnTo>
                        <a:pt x="249910" y="1141564"/>
                      </a:lnTo>
                      <a:lnTo>
                        <a:pt x="250710" y="1141247"/>
                      </a:lnTo>
                      <a:lnTo>
                        <a:pt x="250736" y="1140841"/>
                      </a:lnTo>
                      <a:lnTo>
                        <a:pt x="250761" y="1140574"/>
                      </a:lnTo>
                      <a:lnTo>
                        <a:pt x="251815" y="1140091"/>
                      </a:lnTo>
                      <a:lnTo>
                        <a:pt x="252603" y="1140282"/>
                      </a:lnTo>
                      <a:lnTo>
                        <a:pt x="252895" y="1140091"/>
                      </a:lnTo>
                      <a:lnTo>
                        <a:pt x="253352" y="1139799"/>
                      </a:lnTo>
                      <a:lnTo>
                        <a:pt x="251282" y="1139215"/>
                      </a:lnTo>
                      <a:lnTo>
                        <a:pt x="249288" y="1140485"/>
                      </a:lnTo>
                      <a:lnTo>
                        <a:pt x="247040" y="1140841"/>
                      </a:lnTo>
                      <a:lnTo>
                        <a:pt x="246849" y="1140015"/>
                      </a:lnTo>
                      <a:lnTo>
                        <a:pt x="246151" y="1141006"/>
                      </a:lnTo>
                      <a:lnTo>
                        <a:pt x="245516" y="1141196"/>
                      </a:lnTo>
                      <a:lnTo>
                        <a:pt x="245656" y="1140193"/>
                      </a:lnTo>
                      <a:lnTo>
                        <a:pt x="243954" y="1140688"/>
                      </a:lnTo>
                      <a:lnTo>
                        <a:pt x="243547" y="1140739"/>
                      </a:lnTo>
                      <a:lnTo>
                        <a:pt x="246392" y="1142377"/>
                      </a:lnTo>
                      <a:lnTo>
                        <a:pt x="249555" y="1143520"/>
                      </a:lnTo>
                      <a:lnTo>
                        <a:pt x="252564" y="1144854"/>
                      </a:lnTo>
                      <a:lnTo>
                        <a:pt x="253441" y="1144435"/>
                      </a:lnTo>
                      <a:lnTo>
                        <a:pt x="254850" y="1143139"/>
                      </a:lnTo>
                      <a:close/>
                    </a:path>
                    <a:path w="629285" h="1147445">
                      <a:moveTo>
                        <a:pt x="307619" y="1146670"/>
                      </a:moveTo>
                      <a:lnTo>
                        <a:pt x="306870" y="1147254"/>
                      </a:lnTo>
                      <a:lnTo>
                        <a:pt x="307479" y="1146797"/>
                      </a:lnTo>
                      <a:lnTo>
                        <a:pt x="307619" y="1146670"/>
                      </a:lnTo>
                      <a:close/>
                    </a:path>
                    <a:path w="629285" h="1147445">
                      <a:moveTo>
                        <a:pt x="308610" y="1145921"/>
                      </a:moveTo>
                      <a:lnTo>
                        <a:pt x="308013" y="1146289"/>
                      </a:lnTo>
                      <a:lnTo>
                        <a:pt x="307619" y="1146670"/>
                      </a:lnTo>
                      <a:lnTo>
                        <a:pt x="308610" y="1145921"/>
                      </a:lnTo>
                      <a:close/>
                    </a:path>
                    <a:path w="629285" h="1147445">
                      <a:moveTo>
                        <a:pt x="346506" y="1136218"/>
                      </a:moveTo>
                      <a:lnTo>
                        <a:pt x="344919" y="1136192"/>
                      </a:lnTo>
                      <a:lnTo>
                        <a:pt x="329844" y="1134745"/>
                      </a:lnTo>
                      <a:lnTo>
                        <a:pt x="334124" y="1139710"/>
                      </a:lnTo>
                      <a:lnTo>
                        <a:pt x="346506" y="1136218"/>
                      </a:lnTo>
                      <a:close/>
                    </a:path>
                    <a:path w="629285" h="1147445">
                      <a:moveTo>
                        <a:pt x="374688" y="852970"/>
                      </a:moveTo>
                      <a:lnTo>
                        <a:pt x="372630" y="853211"/>
                      </a:lnTo>
                      <a:lnTo>
                        <a:pt x="371259" y="852639"/>
                      </a:lnTo>
                      <a:lnTo>
                        <a:pt x="372071" y="853605"/>
                      </a:lnTo>
                      <a:lnTo>
                        <a:pt x="373062" y="854392"/>
                      </a:lnTo>
                      <a:lnTo>
                        <a:pt x="373989" y="855243"/>
                      </a:lnTo>
                      <a:lnTo>
                        <a:pt x="374688" y="852970"/>
                      </a:lnTo>
                      <a:close/>
                    </a:path>
                    <a:path w="629285" h="1147445">
                      <a:moveTo>
                        <a:pt x="389407" y="1078445"/>
                      </a:moveTo>
                      <a:lnTo>
                        <a:pt x="387426" y="1078750"/>
                      </a:lnTo>
                      <a:lnTo>
                        <a:pt x="386715" y="1078852"/>
                      </a:lnTo>
                      <a:lnTo>
                        <a:pt x="385889" y="1079169"/>
                      </a:lnTo>
                      <a:lnTo>
                        <a:pt x="385445" y="1079715"/>
                      </a:lnTo>
                      <a:lnTo>
                        <a:pt x="384556" y="1079449"/>
                      </a:lnTo>
                      <a:lnTo>
                        <a:pt x="385343" y="1080909"/>
                      </a:lnTo>
                      <a:lnTo>
                        <a:pt x="386181" y="1081620"/>
                      </a:lnTo>
                      <a:lnTo>
                        <a:pt x="386867" y="1082370"/>
                      </a:lnTo>
                      <a:lnTo>
                        <a:pt x="388683" y="1082052"/>
                      </a:lnTo>
                      <a:lnTo>
                        <a:pt x="388480" y="1081468"/>
                      </a:lnTo>
                      <a:lnTo>
                        <a:pt x="388531" y="1080071"/>
                      </a:lnTo>
                      <a:lnTo>
                        <a:pt x="388569" y="1078890"/>
                      </a:lnTo>
                      <a:lnTo>
                        <a:pt x="389407" y="1078445"/>
                      </a:lnTo>
                      <a:close/>
                    </a:path>
                    <a:path w="629285" h="1147445">
                      <a:moveTo>
                        <a:pt x="397027" y="1072997"/>
                      </a:moveTo>
                      <a:lnTo>
                        <a:pt x="395046" y="1071918"/>
                      </a:lnTo>
                      <a:lnTo>
                        <a:pt x="394779" y="1071778"/>
                      </a:lnTo>
                      <a:lnTo>
                        <a:pt x="393700" y="1071041"/>
                      </a:lnTo>
                      <a:lnTo>
                        <a:pt x="392188" y="1070686"/>
                      </a:lnTo>
                      <a:lnTo>
                        <a:pt x="392887" y="1072400"/>
                      </a:lnTo>
                      <a:lnTo>
                        <a:pt x="394462" y="1071918"/>
                      </a:lnTo>
                      <a:lnTo>
                        <a:pt x="395465" y="1072997"/>
                      </a:lnTo>
                      <a:lnTo>
                        <a:pt x="397027" y="1072997"/>
                      </a:lnTo>
                      <a:close/>
                    </a:path>
                    <a:path w="629285" h="1147445">
                      <a:moveTo>
                        <a:pt x="412216" y="1071778"/>
                      </a:moveTo>
                      <a:lnTo>
                        <a:pt x="411200" y="1071016"/>
                      </a:lnTo>
                      <a:lnTo>
                        <a:pt x="409854" y="1070140"/>
                      </a:lnTo>
                      <a:lnTo>
                        <a:pt x="407619" y="1071816"/>
                      </a:lnTo>
                      <a:lnTo>
                        <a:pt x="406857" y="1072273"/>
                      </a:lnTo>
                      <a:lnTo>
                        <a:pt x="403999" y="1072489"/>
                      </a:lnTo>
                      <a:lnTo>
                        <a:pt x="404114" y="1072045"/>
                      </a:lnTo>
                      <a:lnTo>
                        <a:pt x="402310" y="1071181"/>
                      </a:lnTo>
                      <a:lnTo>
                        <a:pt x="402932" y="1071499"/>
                      </a:lnTo>
                      <a:lnTo>
                        <a:pt x="399872" y="1071676"/>
                      </a:lnTo>
                      <a:lnTo>
                        <a:pt x="398360" y="1073721"/>
                      </a:lnTo>
                      <a:lnTo>
                        <a:pt x="397078" y="1073023"/>
                      </a:lnTo>
                      <a:lnTo>
                        <a:pt x="395490" y="1073023"/>
                      </a:lnTo>
                      <a:lnTo>
                        <a:pt x="394995" y="1073023"/>
                      </a:lnTo>
                      <a:lnTo>
                        <a:pt x="394322" y="1073302"/>
                      </a:lnTo>
                      <a:lnTo>
                        <a:pt x="393979" y="1073327"/>
                      </a:lnTo>
                      <a:lnTo>
                        <a:pt x="395439" y="1074991"/>
                      </a:lnTo>
                      <a:lnTo>
                        <a:pt x="398005" y="1076032"/>
                      </a:lnTo>
                      <a:lnTo>
                        <a:pt x="399910" y="1076998"/>
                      </a:lnTo>
                      <a:lnTo>
                        <a:pt x="398246" y="1076845"/>
                      </a:lnTo>
                      <a:lnTo>
                        <a:pt x="397294" y="1076452"/>
                      </a:lnTo>
                      <a:lnTo>
                        <a:pt x="394258" y="1077023"/>
                      </a:lnTo>
                      <a:lnTo>
                        <a:pt x="393674" y="1077556"/>
                      </a:lnTo>
                      <a:lnTo>
                        <a:pt x="392239" y="1076731"/>
                      </a:lnTo>
                      <a:lnTo>
                        <a:pt x="392455" y="1077556"/>
                      </a:lnTo>
                      <a:lnTo>
                        <a:pt x="392963" y="1078318"/>
                      </a:lnTo>
                      <a:lnTo>
                        <a:pt x="393598" y="1078903"/>
                      </a:lnTo>
                      <a:lnTo>
                        <a:pt x="394690" y="1077849"/>
                      </a:lnTo>
                      <a:lnTo>
                        <a:pt x="395973" y="1077556"/>
                      </a:lnTo>
                      <a:lnTo>
                        <a:pt x="396849" y="1077353"/>
                      </a:lnTo>
                      <a:lnTo>
                        <a:pt x="398399" y="1077442"/>
                      </a:lnTo>
                      <a:lnTo>
                        <a:pt x="397548" y="1078166"/>
                      </a:lnTo>
                      <a:lnTo>
                        <a:pt x="396494" y="1078712"/>
                      </a:lnTo>
                      <a:lnTo>
                        <a:pt x="395452" y="1079093"/>
                      </a:lnTo>
                      <a:lnTo>
                        <a:pt x="395503" y="1078623"/>
                      </a:lnTo>
                      <a:lnTo>
                        <a:pt x="394195" y="1078865"/>
                      </a:lnTo>
                      <a:lnTo>
                        <a:pt x="393636" y="1080744"/>
                      </a:lnTo>
                      <a:lnTo>
                        <a:pt x="392696" y="1081608"/>
                      </a:lnTo>
                      <a:lnTo>
                        <a:pt x="393534" y="1082027"/>
                      </a:lnTo>
                      <a:lnTo>
                        <a:pt x="394487" y="1081786"/>
                      </a:lnTo>
                      <a:lnTo>
                        <a:pt x="395224" y="1081278"/>
                      </a:lnTo>
                      <a:lnTo>
                        <a:pt x="393166" y="1082979"/>
                      </a:lnTo>
                      <a:lnTo>
                        <a:pt x="392239" y="1082230"/>
                      </a:lnTo>
                      <a:lnTo>
                        <a:pt x="389128" y="1082281"/>
                      </a:lnTo>
                      <a:lnTo>
                        <a:pt x="387642" y="1083818"/>
                      </a:lnTo>
                      <a:lnTo>
                        <a:pt x="387019" y="1083640"/>
                      </a:lnTo>
                      <a:lnTo>
                        <a:pt x="388353" y="1084859"/>
                      </a:lnTo>
                      <a:lnTo>
                        <a:pt x="390347" y="1086256"/>
                      </a:lnTo>
                      <a:lnTo>
                        <a:pt x="392239" y="1087729"/>
                      </a:lnTo>
                      <a:lnTo>
                        <a:pt x="393839" y="1087107"/>
                      </a:lnTo>
                      <a:lnTo>
                        <a:pt x="394284" y="1086599"/>
                      </a:lnTo>
                      <a:lnTo>
                        <a:pt x="393344" y="1085215"/>
                      </a:lnTo>
                      <a:lnTo>
                        <a:pt x="394322" y="1086192"/>
                      </a:lnTo>
                      <a:lnTo>
                        <a:pt x="395617" y="1086434"/>
                      </a:lnTo>
                      <a:lnTo>
                        <a:pt x="396824" y="1085215"/>
                      </a:lnTo>
                      <a:lnTo>
                        <a:pt x="397840" y="1084186"/>
                      </a:lnTo>
                      <a:lnTo>
                        <a:pt x="397344" y="1083818"/>
                      </a:lnTo>
                      <a:lnTo>
                        <a:pt x="396430" y="1083144"/>
                      </a:lnTo>
                      <a:lnTo>
                        <a:pt x="396354" y="1082979"/>
                      </a:lnTo>
                      <a:lnTo>
                        <a:pt x="398513" y="1082497"/>
                      </a:lnTo>
                      <a:lnTo>
                        <a:pt x="399186" y="1083144"/>
                      </a:lnTo>
                      <a:lnTo>
                        <a:pt x="400037" y="1082929"/>
                      </a:lnTo>
                      <a:lnTo>
                        <a:pt x="400075" y="1082497"/>
                      </a:lnTo>
                      <a:lnTo>
                        <a:pt x="400100" y="1082141"/>
                      </a:lnTo>
                      <a:lnTo>
                        <a:pt x="400913" y="1082078"/>
                      </a:lnTo>
                      <a:lnTo>
                        <a:pt x="401269" y="1082979"/>
                      </a:lnTo>
                      <a:lnTo>
                        <a:pt x="402945" y="1082078"/>
                      </a:lnTo>
                      <a:lnTo>
                        <a:pt x="403491" y="1081786"/>
                      </a:lnTo>
                      <a:lnTo>
                        <a:pt x="403834" y="1081278"/>
                      </a:lnTo>
                      <a:lnTo>
                        <a:pt x="404964" y="1079538"/>
                      </a:lnTo>
                      <a:lnTo>
                        <a:pt x="405384" y="1079093"/>
                      </a:lnTo>
                      <a:lnTo>
                        <a:pt x="406946" y="1077353"/>
                      </a:lnTo>
                      <a:lnTo>
                        <a:pt x="407250" y="1076998"/>
                      </a:lnTo>
                      <a:lnTo>
                        <a:pt x="407962" y="1076147"/>
                      </a:lnTo>
                      <a:lnTo>
                        <a:pt x="407720" y="1076147"/>
                      </a:lnTo>
                      <a:lnTo>
                        <a:pt x="408838" y="1075423"/>
                      </a:lnTo>
                      <a:lnTo>
                        <a:pt x="409079" y="1075893"/>
                      </a:lnTo>
                      <a:lnTo>
                        <a:pt x="409740" y="1075423"/>
                      </a:lnTo>
                      <a:lnTo>
                        <a:pt x="410146" y="1075131"/>
                      </a:lnTo>
                      <a:lnTo>
                        <a:pt x="409968" y="1073912"/>
                      </a:lnTo>
                      <a:lnTo>
                        <a:pt x="410121" y="1073721"/>
                      </a:lnTo>
                      <a:lnTo>
                        <a:pt x="410730" y="1072959"/>
                      </a:lnTo>
                      <a:lnTo>
                        <a:pt x="411797" y="1072489"/>
                      </a:lnTo>
                      <a:lnTo>
                        <a:pt x="411924" y="1072400"/>
                      </a:lnTo>
                      <a:lnTo>
                        <a:pt x="412216" y="1071918"/>
                      </a:lnTo>
                      <a:lnTo>
                        <a:pt x="412216" y="1071778"/>
                      </a:lnTo>
                      <a:close/>
                    </a:path>
                    <a:path w="629285" h="1147445">
                      <a:moveTo>
                        <a:pt x="428345" y="1074801"/>
                      </a:moveTo>
                      <a:lnTo>
                        <a:pt x="427837" y="1074635"/>
                      </a:lnTo>
                      <a:lnTo>
                        <a:pt x="427977" y="1075118"/>
                      </a:lnTo>
                      <a:lnTo>
                        <a:pt x="428345" y="1074801"/>
                      </a:lnTo>
                      <a:close/>
                    </a:path>
                    <a:path w="629285" h="1147445">
                      <a:moveTo>
                        <a:pt x="436511" y="1076553"/>
                      </a:moveTo>
                      <a:lnTo>
                        <a:pt x="432244" y="1072515"/>
                      </a:lnTo>
                      <a:lnTo>
                        <a:pt x="430771" y="1071118"/>
                      </a:lnTo>
                      <a:lnTo>
                        <a:pt x="428256" y="1070622"/>
                      </a:lnTo>
                      <a:lnTo>
                        <a:pt x="425183" y="1072451"/>
                      </a:lnTo>
                      <a:lnTo>
                        <a:pt x="425069" y="1072197"/>
                      </a:lnTo>
                      <a:lnTo>
                        <a:pt x="424510" y="1070965"/>
                      </a:lnTo>
                      <a:lnTo>
                        <a:pt x="424357" y="1070648"/>
                      </a:lnTo>
                      <a:lnTo>
                        <a:pt x="424065" y="1070000"/>
                      </a:lnTo>
                      <a:lnTo>
                        <a:pt x="423176" y="1069771"/>
                      </a:lnTo>
                      <a:lnTo>
                        <a:pt x="420027" y="1069835"/>
                      </a:lnTo>
                      <a:lnTo>
                        <a:pt x="418147" y="1070648"/>
                      </a:lnTo>
                      <a:lnTo>
                        <a:pt x="416382" y="1068806"/>
                      </a:lnTo>
                      <a:lnTo>
                        <a:pt x="417220" y="1071257"/>
                      </a:lnTo>
                      <a:lnTo>
                        <a:pt x="417436" y="1071410"/>
                      </a:lnTo>
                      <a:lnTo>
                        <a:pt x="414185" y="1071803"/>
                      </a:lnTo>
                      <a:lnTo>
                        <a:pt x="414616" y="1073150"/>
                      </a:lnTo>
                      <a:lnTo>
                        <a:pt x="416077" y="1073353"/>
                      </a:lnTo>
                      <a:lnTo>
                        <a:pt x="415213" y="1074864"/>
                      </a:lnTo>
                      <a:lnTo>
                        <a:pt x="414934" y="1074547"/>
                      </a:lnTo>
                      <a:lnTo>
                        <a:pt x="414299" y="1074254"/>
                      </a:lnTo>
                      <a:lnTo>
                        <a:pt x="414045" y="1073937"/>
                      </a:lnTo>
                      <a:lnTo>
                        <a:pt x="413613" y="1076363"/>
                      </a:lnTo>
                      <a:lnTo>
                        <a:pt x="415061" y="1075359"/>
                      </a:lnTo>
                      <a:lnTo>
                        <a:pt x="415569" y="1076553"/>
                      </a:lnTo>
                      <a:lnTo>
                        <a:pt x="415683" y="1077239"/>
                      </a:lnTo>
                      <a:lnTo>
                        <a:pt x="415277" y="1078153"/>
                      </a:lnTo>
                      <a:lnTo>
                        <a:pt x="415671" y="1078979"/>
                      </a:lnTo>
                      <a:lnTo>
                        <a:pt x="414413" y="1077658"/>
                      </a:lnTo>
                      <a:lnTo>
                        <a:pt x="414794" y="1076515"/>
                      </a:lnTo>
                      <a:lnTo>
                        <a:pt x="409803" y="1078865"/>
                      </a:lnTo>
                      <a:lnTo>
                        <a:pt x="407276" y="1082814"/>
                      </a:lnTo>
                      <a:lnTo>
                        <a:pt x="405091" y="1085126"/>
                      </a:lnTo>
                      <a:lnTo>
                        <a:pt x="405841" y="1085596"/>
                      </a:lnTo>
                      <a:lnTo>
                        <a:pt x="406031" y="1086218"/>
                      </a:lnTo>
                      <a:lnTo>
                        <a:pt x="406730" y="1086993"/>
                      </a:lnTo>
                      <a:lnTo>
                        <a:pt x="407060" y="1086637"/>
                      </a:lnTo>
                      <a:lnTo>
                        <a:pt x="407504" y="1087031"/>
                      </a:lnTo>
                      <a:lnTo>
                        <a:pt x="407276" y="1087386"/>
                      </a:lnTo>
                      <a:lnTo>
                        <a:pt x="407733" y="1087767"/>
                      </a:lnTo>
                      <a:lnTo>
                        <a:pt x="408063" y="1087729"/>
                      </a:lnTo>
                      <a:lnTo>
                        <a:pt x="408952" y="1088504"/>
                      </a:lnTo>
                      <a:lnTo>
                        <a:pt x="410540" y="1089545"/>
                      </a:lnTo>
                      <a:lnTo>
                        <a:pt x="410210" y="1088186"/>
                      </a:lnTo>
                      <a:lnTo>
                        <a:pt x="409892" y="1087729"/>
                      </a:lnTo>
                      <a:lnTo>
                        <a:pt x="409409" y="1087031"/>
                      </a:lnTo>
                      <a:lnTo>
                        <a:pt x="409308" y="1086637"/>
                      </a:lnTo>
                      <a:lnTo>
                        <a:pt x="409079" y="1085672"/>
                      </a:lnTo>
                      <a:lnTo>
                        <a:pt x="409841" y="1085329"/>
                      </a:lnTo>
                      <a:lnTo>
                        <a:pt x="410159" y="1085380"/>
                      </a:lnTo>
                      <a:lnTo>
                        <a:pt x="412305" y="1086446"/>
                      </a:lnTo>
                      <a:lnTo>
                        <a:pt x="411962" y="1086700"/>
                      </a:lnTo>
                      <a:lnTo>
                        <a:pt x="416725" y="1087932"/>
                      </a:lnTo>
                      <a:lnTo>
                        <a:pt x="414515" y="1085329"/>
                      </a:lnTo>
                      <a:lnTo>
                        <a:pt x="413131" y="1083678"/>
                      </a:lnTo>
                      <a:lnTo>
                        <a:pt x="411226" y="1083119"/>
                      </a:lnTo>
                      <a:lnTo>
                        <a:pt x="412470" y="1082548"/>
                      </a:lnTo>
                      <a:lnTo>
                        <a:pt x="414223" y="1082814"/>
                      </a:lnTo>
                      <a:lnTo>
                        <a:pt x="416369" y="1084262"/>
                      </a:lnTo>
                      <a:lnTo>
                        <a:pt x="415836" y="1084834"/>
                      </a:lnTo>
                      <a:lnTo>
                        <a:pt x="418287" y="1084300"/>
                      </a:lnTo>
                      <a:lnTo>
                        <a:pt x="417931" y="1083665"/>
                      </a:lnTo>
                      <a:lnTo>
                        <a:pt x="419747" y="1084300"/>
                      </a:lnTo>
                      <a:lnTo>
                        <a:pt x="420065" y="1085342"/>
                      </a:lnTo>
                      <a:lnTo>
                        <a:pt x="420801" y="1085176"/>
                      </a:lnTo>
                      <a:lnTo>
                        <a:pt x="420687" y="1083665"/>
                      </a:lnTo>
                      <a:lnTo>
                        <a:pt x="420687" y="1083538"/>
                      </a:lnTo>
                      <a:lnTo>
                        <a:pt x="421030" y="1083094"/>
                      </a:lnTo>
                      <a:lnTo>
                        <a:pt x="420179" y="1082548"/>
                      </a:lnTo>
                      <a:lnTo>
                        <a:pt x="419747" y="1082268"/>
                      </a:lnTo>
                      <a:lnTo>
                        <a:pt x="417918" y="1081798"/>
                      </a:lnTo>
                      <a:lnTo>
                        <a:pt x="416090" y="1080173"/>
                      </a:lnTo>
                      <a:lnTo>
                        <a:pt x="415086" y="1079334"/>
                      </a:lnTo>
                      <a:lnTo>
                        <a:pt x="417525" y="1079639"/>
                      </a:lnTo>
                      <a:lnTo>
                        <a:pt x="418058" y="1080719"/>
                      </a:lnTo>
                      <a:lnTo>
                        <a:pt x="419150" y="1081074"/>
                      </a:lnTo>
                      <a:lnTo>
                        <a:pt x="419785" y="1080922"/>
                      </a:lnTo>
                      <a:lnTo>
                        <a:pt x="422148" y="1081011"/>
                      </a:lnTo>
                      <a:lnTo>
                        <a:pt x="422808" y="1080922"/>
                      </a:lnTo>
                      <a:lnTo>
                        <a:pt x="423951" y="1080770"/>
                      </a:lnTo>
                      <a:lnTo>
                        <a:pt x="424459" y="1080820"/>
                      </a:lnTo>
                      <a:lnTo>
                        <a:pt x="426402" y="1079817"/>
                      </a:lnTo>
                      <a:lnTo>
                        <a:pt x="426758" y="1079334"/>
                      </a:lnTo>
                      <a:lnTo>
                        <a:pt x="427037" y="1078979"/>
                      </a:lnTo>
                      <a:lnTo>
                        <a:pt x="429463" y="1077760"/>
                      </a:lnTo>
                      <a:lnTo>
                        <a:pt x="431609" y="1077823"/>
                      </a:lnTo>
                      <a:lnTo>
                        <a:pt x="431800" y="1077760"/>
                      </a:lnTo>
                      <a:lnTo>
                        <a:pt x="433362" y="1077239"/>
                      </a:lnTo>
                      <a:lnTo>
                        <a:pt x="432981" y="1076236"/>
                      </a:lnTo>
                      <a:lnTo>
                        <a:pt x="432879" y="1075982"/>
                      </a:lnTo>
                      <a:lnTo>
                        <a:pt x="432435" y="1074801"/>
                      </a:lnTo>
                      <a:lnTo>
                        <a:pt x="428256" y="1075982"/>
                      </a:lnTo>
                      <a:lnTo>
                        <a:pt x="427977" y="1075118"/>
                      </a:lnTo>
                      <a:lnTo>
                        <a:pt x="426681" y="1076236"/>
                      </a:lnTo>
                      <a:lnTo>
                        <a:pt x="426250" y="1075753"/>
                      </a:lnTo>
                      <a:lnTo>
                        <a:pt x="426021" y="1075359"/>
                      </a:lnTo>
                      <a:lnTo>
                        <a:pt x="425932" y="1075182"/>
                      </a:lnTo>
                      <a:lnTo>
                        <a:pt x="425678" y="1074889"/>
                      </a:lnTo>
                      <a:lnTo>
                        <a:pt x="425208" y="1074331"/>
                      </a:lnTo>
                      <a:lnTo>
                        <a:pt x="424713" y="1074889"/>
                      </a:lnTo>
                      <a:lnTo>
                        <a:pt x="424268" y="1074470"/>
                      </a:lnTo>
                      <a:lnTo>
                        <a:pt x="423672" y="1073708"/>
                      </a:lnTo>
                      <a:lnTo>
                        <a:pt x="423913" y="1073848"/>
                      </a:lnTo>
                      <a:lnTo>
                        <a:pt x="423799" y="1073708"/>
                      </a:lnTo>
                      <a:lnTo>
                        <a:pt x="423583" y="1073429"/>
                      </a:lnTo>
                      <a:lnTo>
                        <a:pt x="423227" y="1072972"/>
                      </a:lnTo>
                      <a:lnTo>
                        <a:pt x="422567" y="1073429"/>
                      </a:lnTo>
                      <a:lnTo>
                        <a:pt x="422059" y="1072883"/>
                      </a:lnTo>
                      <a:lnTo>
                        <a:pt x="422427" y="1072642"/>
                      </a:lnTo>
                      <a:lnTo>
                        <a:pt x="421894" y="1072197"/>
                      </a:lnTo>
                      <a:lnTo>
                        <a:pt x="422821" y="1070965"/>
                      </a:lnTo>
                      <a:lnTo>
                        <a:pt x="424726" y="1072718"/>
                      </a:lnTo>
                      <a:lnTo>
                        <a:pt x="423849" y="1073238"/>
                      </a:lnTo>
                      <a:lnTo>
                        <a:pt x="427837" y="1074635"/>
                      </a:lnTo>
                      <a:lnTo>
                        <a:pt x="427532" y="1073632"/>
                      </a:lnTo>
                      <a:lnTo>
                        <a:pt x="427189" y="1072515"/>
                      </a:lnTo>
                      <a:lnTo>
                        <a:pt x="432435" y="1074801"/>
                      </a:lnTo>
                      <a:lnTo>
                        <a:pt x="436511" y="1076553"/>
                      </a:lnTo>
                      <a:close/>
                    </a:path>
                    <a:path w="629285" h="1147445">
                      <a:moveTo>
                        <a:pt x="528167" y="273011"/>
                      </a:moveTo>
                      <a:lnTo>
                        <a:pt x="527164" y="270941"/>
                      </a:lnTo>
                      <a:lnTo>
                        <a:pt x="526846" y="270738"/>
                      </a:lnTo>
                      <a:lnTo>
                        <a:pt x="526465" y="270662"/>
                      </a:lnTo>
                      <a:lnTo>
                        <a:pt x="525970" y="270522"/>
                      </a:lnTo>
                      <a:lnTo>
                        <a:pt x="525259" y="270586"/>
                      </a:lnTo>
                      <a:lnTo>
                        <a:pt x="519671" y="272630"/>
                      </a:lnTo>
                      <a:lnTo>
                        <a:pt x="518452" y="280441"/>
                      </a:lnTo>
                      <a:lnTo>
                        <a:pt x="517017" y="284226"/>
                      </a:lnTo>
                      <a:lnTo>
                        <a:pt x="518236" y="284048"/>
                      </a:lnTo>
                      <a:lnTo>
                        <a:pt x="519379" y="283514"/>
                      </a:lnTo>
                      <a:lnTo>
                        <a:pt x="520407" y="282803"/>
                      </a:lnTo>
                      <a:lnTo>
                        <a:pt x="521665" y="282041"/>
                      </a:lnTo>
                      <a:lnTo>
                        <a:pt x="522833" y="281101"/>
                      </a:lnTo>
                      <a:lnTo>
                        <a:pt x="524598" y="279196"/>
                      </a:lnTo>
                      <a:lnTo>
                        <a:pt x="525208" y="278282"/>
                      </a:lnTo>
                      <a:lnTo>
                        <a:pt x="525729" y="277241"/>
                      </a:lnTo>
                      <a:lnTo>
                        <a:pt x="526923" y="275501"/>
                      </a:lnTo>
                      <a:lnTo>
                        <a:pt x="528167" y="273011"/>
                      </a:lnTo>
                      <a:close/>
                    </a:path>
                    <a:path w="629285" h="1147445">
                      <a:moveTo>
                        <a:pt x="528624" y="266915"/>
                      </a:moveTo>
                      <a:lnTo>
                        <a:pt x="528472" y="266547"/>
                      </a:lnTo>
                      <a:lnTo>
                        <a:pt x="528358" y="266103"/>
                      </a:lnTo>
                      <a:lnTo>
                        <a:pt x="528370" y="265760"/>
                      </a:lnTo>
                      <a:lnTo>
                        <a:pt x="528154" y="265480"/>
                      </a:lnTo>
                      <a:lnTo>
                        <a:pt x="528523" y="265023"/>
                      </a:lnTo>
                      <a:lnTo>
                        <a:pt x="526910" y="266471"/>
                      </a:lnTo>
                      <a:lnTo>
                        <a:pt x="525678" y="268351"/>
                      </a:lnTo>
                      <a:lnTo>
                        <a:pt x="524332" y="270040"/>
                      </a:lnTo>
                      <a:lnTo>
                        <a:pt x="525437" y="269354"/>
                      </a:lnTo>
                      <a:lnTo>
                        <a:pt x="527050" y="268439"/>
                      </a:lnTo>
                      <a:lnTo>
                        <a:pt x="527799" y="267296"/>
                      </a:lnTo>
                      <a:lnTo>
                        <a:pt x="527939" y="267182"/>
                      </a:lnTo>
                      <a:lnTo>
                        <a:pt x="528624" y="266915"/>
                      </a:lnTo>
                      <a:close/>
                    </a:path>
                    <a:path w="629285" h="1147445">
                      <a:moveTo>
                        <a:pt x="532752" y="272351"/>
                      </a:moveTo>
                      <a:lnTo>
                        <a:pt x="532638" y="271500"/>
                      </a:lnTo>
                      <a:lnTo>
                        <a:pt x="530072" y="272021"/>
                      </a:lnTo>
                      <a:lnTo>
                        <a:pt x="529170" y="273037"/>
                      </a:lnTo>
                      <a:lnTo>
                        <a:pt x="528523" y="274815"/>
                      </a:lnTo>
                      <a:lnTo>
                        <a:pt x="528307" y="275412"/>
                      </a:lnTo>
                      <a:lnTo>
                        <a:pt x="527913" y="276860"/>
                      </a:lnTo>
                      <a:lnTo>
                        <a:pt x="528434" y="276326"/>
                      </a:lnTo>
                      <a:lnTo>
                        <a:pt x="529450" y="275793"/>
                      </a:lnTo>
                      <a:lnTo>
                        <a:pt x="529907" y="275272"/>
                      </a:lnTo>
                      <a:lnTo>
                        <a:pt x="530250" y="274853"/>
                      </a:lnTo>
                      <a:lnTo>
                        <a:pt x="530288" y="274205"/>
                      </a:lnTo>
                      <a:lnTo>
                        <a:pt x="530669" y="273786"/>
                      </a:lnTo>
                      <a:lnTo>
                        <a:pt x="531266" y="273227"/>
                      </a:lnTo>
                      <a:lnTo>
                        <a:pt x="531850" y="273113"/>
                      </a:lnTo>
                      <a:lnTo>
                        <a:pt x="532231" y="272821"/>
                      </a:lnTo>
                      <a:lnTo>
                        <a:pt x="532561" y="272656"/>
                      </a:lnTo>
                      <a:lnTo>
                        <a:pt x="532752" y="272351"/>
                      </a:lnTo>
                      <a:close/>
                    </a:path>
                    <a:path w="629285" h="1147445">
                      <a:moveTo>
                        <a:pt x="536105" y="264045"/>
                      </a:moveTo>
                      <a:lnTo>
                        <a:pt x="535330" y="263410"/>
                      </a:lnTo>
                      <a:lnTo>
                        <a:pt x="534720" y="263271"/>
                      </a:lnTo>
                      <a:lnTo>
                        <a:pt x="534098" y="263347"/>
                      </a:lnTo>
                      <a:lnTo>
                        <a:pt x="533425" y="263410"/>
                      </a:lnTo>
                      <a:lnTo>
                        <a:pt x="532752" y="263702"/>
                      </a:lnTo>
                      <a:lnTo>
                        <a:pt x="530999" y="264363"/>
                      </a:lnTo>
                      <a:lnTo>
                        <a:pt x="530440" y="264172"/>
                      </a:lnTo>
                      <a:lnTo>
                        <a:pt x="529310" y="266293"/>
                      </a:lnTo>
                      <a:lnTo>
                        <a:pt x="530402" y="266979"/>
                      </a:lnTo>
                      <a:lnTo>
                        <a:pt x="531495" y="266941"/>
                      </a:lnTo>
                      <a:lnTo>
                        <a:pt x="531939" y="267131"/>
                      </a:lnTo>
                      <a:lnTo>
                        <a:pt x="532777" y="266395"/>
                      </a:lnTo>
                      <a:lnTo>
                        <a:pt x="533285" y="265988"/>
                      </a:lnTo>
                      <a:lnTo>
                        <a:pt x="534238" y="265366"/>
                      </a:lnTo>
                      <a:lnTo>
                        <a:pt x="535101" y="264553"/>
                      </a:lnTo>
                      <a:lnTo>
                        <a:pt x="536105" y="264045"/>
                      </a:lnTo>
                      <a:close/>
                    </a:path>
                    <a:path w="629285" h="1147445">
                      <a:moveTo>
                        <a:pt x="537984" y="263067"/>
                      </a:moveTo>
                      <a:lnTo>
                        <a:pt x="537895" y="262128"/>
                      </a:lnTo>
                      <a:lnTo>
                        <a:pt x="537959" y="261315"/>
                      </a:lnTo>
                      <a:lnTo>
                        <a:pt x="537197" y="260794"/>
                      </a:lnTo>
                      <a:lnTo>
                        <a:pt x="536892" y="260565"/>
                      </a:lnTo>
                      <a:lnTo>
                        <a:pt x="536460" y="260489"/>
                      </a:lnTo>
                      <a:lnTo>
                        <a:pt x="536143" y="260210"/>
                      </a:lnTo>
                      <a:lnTo>
                        <a:pt x="535800" y="261327"/>
                      </a:lnTo>
                      <a:lnTo>
                        <a:pt x="535736" y="262039"/>
                      </a:lnTo>
                      <a:lnTo>
                        <a:pt x="536028" y="262483"/>
                      </a:lnTo>
                      <a:lnTo>
                        <a:pt x="536054" y="262674"/>
                      </a:lnTo>
                      <a:lnTo>
                        <a:pt x="536067" y="262877"/>
                      </a:lnTo>
                      <a:lnTo>
                        <a:pt x="536067" y="263067"/>
                      </a:lnTo>
                      <a:lnTo>
                        <a:pt x="537984" y="263067"/>
                      </a:lnTo>
                      <a:close/>
                    </a:path>
                    <a:path w="629285" h="1147445">
                      <a:moveTo>
                        <a:pt x="538403" y="231965"/>
                      </a:moveTo>
                      <a:lnTo>
                        <a:pt x="538264" y="232054"/>
                      </a:lnTo>
                      <a:lnTo>
                        <a:pt x="538378" y="231902"/>
                      </a:lnTo>
                      <a:lnTo>
                        <a:pt x="538149" y="232016"/>
                      </a:lnTo>
                      <a:lnTo>
                        <a:pt x="537933" y="232194"/>
                      </a:lnTo>
                      <a:lnTo>
                        <a:pt x="537730" y="232371"/>
                      </a:lnTo>
                      <a:lnTo>
                        <a:pt x="537565" y="232486"/>
                      </a:lnTo>
                      <a:lnTo>
                        <a:pt x="537400" y="232613"/>
                      </a:lnTo>
                      <a:lnTo>
                        <a:pt x="537298" y="232752"/>
                      </a:lnTo>
                      <a:lnTo>
                        <a:pt x="537591" y="232613"/>
                      </a:lnTo>
                      <a:lnTo>
                        <a:pt x="537832" y="232397"/>
                      </a:lnTo>
                      <a:lnTo>
                        <a:pt x="538086" y="232194"/>
                      </a:lnTo>
                      <a:lnTo>
                        <a:pt x="538314" y="232041"/>
                      </a:lnTo>
                      <a:close/>
                    </a:path>
                    <a:path w="629285" h="1147445">
                      <a:moveTo>
                        <a:pt x="539318" y="258673"/>
                      </a:moveTo>
                      <a:lnTo>
                        <a:pt x="539229" y="257530"/>
                      </a:lnTo>
                      <a:lnTo>
                        <a:pt x="539191" y="256565"/>
                      </a:lnTo>
                      <a:lnTo>
                        <a:pt x="539292" y="255600"/>
                      </a:lnTo>
                      <a:lnTo>
                        <a:pt x="539140" y="254647"/>
                      </a:lnTo>
                      <a:lnTo>
                        <a:pt x="539051" y="254520"/>
                      </a:lnTo>
                      <a:lnTo>
                        <a:pt x="539038" y="254317"/>
                      </a:lnTo>
                      <a:lnTo>
                        <a:pt x="538962" y="254495"/>
                      </a:lnTo>
                      <a:lnTo>
                        <a:pt x="538721" y="254660"/>
                      </a:lnTo>
                      <a:lnTo>
                        <a:pt x="538619" y="255016"/>
                      </a:lnTo>
                      <a:lnTo>
                        <a:pt x="538518" y="255422"/>
                      </a:lnTo>
                      <a:lnTo>
                        <a:pt x="538403" y="255676"/>
                      </a:lnTo>
                      <a:lnTo>
                        <a:pt x="538365" y="255930"/>
                      </a:lnTo>
                      <a:lnTo>
                        <a:pt x="538073" y="256743"/>
                      </a:lnTo>
                      <a:lnTo>
                        <a:pt x="537933" y="257200"/>
                      </a:lnTo>
                      <a:lnTo>
                        <a:pt x="537616" y="258533"/>
                      </a:lnTo>
                      <a:lnTo>
                        <a:pt x="537629" y="259270"/>
                      </a:lnTo>
                      <a:lnTo>
                        <a:pt x="537921" y="260642"/>
                      </a:lnTo>
                      <a:lnTo>
                        <a:pt x="538746" y="259638"/>
                      </a:lnTo>
                      <a:lnTo>
                        <a:pt x="539089" y="259410"/>
                      </a:lnTo>
                      <a:lnTo>
                        <a:pt x="539254" y="258965"/>
                      </a:lnTo>
                      <a:lnTo>
                        <a:pt x="539318" y="258673"/>
                      </a:lnTo>
                      <a:close/>
                    </a:path>
                    <a:path w="629285" h="1147445">
                      <a:moveTo>
                        <a:pt x="543915" y="254914"/>
                      </a:moveTo>
                      <a:lnTo>
                        <a:pt x="543877" y="254762"/>
                      </a:lnTo>
                      <a:lnTo>
                        <a:pt x="543801" y="254609"/>
                      </a:lnTo>
                      <a:lnTo>
                        <a:pt x="543585" y="254254"/>
                      </a:lnTo>
                      <a:lnTo>
                        <a:pt x="543407" y="254114"/>
                      </a:lnTo>
                      <a:lnTo>
                        <a:pt x="543166" y="254088"/>
                      </a:lnTo>
                      <a:lnTo>
                        <a:pt x="543013" y="254038"/>
                      </a:lnTo>
                      <a:lnTo>
                        <a:pt x="542124" y="253987"/>
                      </a:lnTo>
                      <a:lnTo>
                        <a:pt x="541121" y="254393"/>
                      </a:lnTo>
                      <a:lnTo>
                        <a:pt x="540588" y="255003"/>
                      </a:lnTo>
                      <a:lnTo>
                        <a:pt x="540461" y="255193"/>
                      </a:lnTo>
                      <a:lnTo>
                        <a:pt x="540346" y="255409"/>
                      </a:lnTo>
                      <a:lnTo>
                        <a:pt x="540270" y="255841"/>
                      </a:lnTo>
                      <a:lnTo>
                        <a:pt x="540156" y="256603"/>
                      </a:lnTo>
                      <a:lnTo>
                        <a:pt x="540435" y="257365"/>
                      </a:lnTo>
                      <a:lnTo>
                        <a:pt x="540588" y="258191"/>
                      </a:lnTo>
                      <a:lnTo>
                        <a:pt x="541134" y="257810"/>
                      </a:lnTo>
                      <a:lnTo>
                        <a:pt x="543737" y="256044"/>
                      </a:lnTo>
                      <a:lnTo>
                        <a:pt x="543864" y="255231"/>
                      </a:lnTo>
                      <a:lnTo>
                        <a:pt x="543915" y="254914"/>
                      </a:lnTo>
                      <a:close/>
                    </a:path>
                    <a:path w="629285" h="1147445">
                      <a:moveTo>
                        <a:pt x="544118" y="250126"/>
                      </a:moveTo>
                      <a:lnTo>
                        <a:pt x="542861" y="250647"/>
                      </a:lnTo>
                      <a:lnTo>
                        <a:pt x="541820" y="251637"/>
                      </a:lnTo>
                      <a:lnTo>
                        <a:pt x="540727" y="252425"/>
                      </a:lnTo>
                      <a:lnTo>
                        <a:pt x="541235" y="252374"/>
                      </a:lnTo>
                      <a:lnTo>
                        <a:pt x="541769" y="252361"/>
                      </a:lnTo>
                      <a:lnTo>
                        <a:pt x="542264" y="252247"/>
                      </a:lnTo>
                      <a:lnTo>
                        <a:pt x="542874" y="252145"/>
                      </a:lnTo>
                      <a:lnTo>
                        <a:pt x="543318" y="251726"/>
                      </a:lnTo>
                      <a:lnTo>
                        <a:pt x="543636" y="251231"/>
                      </a:lnTo>
                      <a:lnTo>
                        <a:pt x="543877" y="250812"/>
                      </a:lnTo>
                      <a:lnTo>
                        <a:pt x="544029" y="250469"/>
                      </a:lnTo>
                      <a:lnTo>
                        <a:pt x="544118" y="250126"/>
                      </a:lnTo>
                      <a:close/>
                    </a:path>
                    <a:path w="629285" h="1147445">
                      <a:moveTo>
                        <a:pt x="550329" y="257441"/>
                      </a:moveTo>
                      <a:lnTo>
                        <a:pt x="545706" y="258622"/>
                      </a:lnTo>
                      <a:lnTo>
                        <a:pt x="544703" y="258813"/>
                      </a:lnTo>
                      <a:lnTo>
                        <a:pt x="544068" y="258953"/>
                      </a:lnTo>
                      <a:lnTo>
                        <a:pt x="542353" y="259473"/>
                      </a:lnTo>
                      <a:lnTo>
                        <a:pt x="541477" y="259765"/>
                      </a:lnTo>
                      <a:lnTo>
                        <a:pt x="540537" y="260032"/>
                      </a:lnTo>
                      <a:lnTo>
                        <a:pt x="539356" y="259930"/>
                      </a:lnTo>
                      <a:lnTo>
                        <a:pt x="538187" y="261073"/>
                      </a:lnTo>
                      <a:lnTo>
                        <a:pt x="538607" y="261937"/>
                      </a:lnTo>
                      <a:lnTo>
                        <a:pt x="539356" y="262420"/>
                      </a:lnTo>
                      <a:lnTo>
                        <a:pt x="540207" y="263156"/>
                      </a:lnTo>
                      <a:lnTo>
                        <a:pt x="541845" y="262953"/>
                      </a:lnTo>
                      <a:lnTo>
                        <a:pt x="543140" y="263080"/>
                      </a:lnTo>
                      <a:lnTo>
                        <a:pt x="544093" y="263080"/>
                      </a:lnTo>
                      <a:lnTo>
                        <a:pt x="546608" y="261810"/>
                      </a:lnTo>
                      <a:lnTo>
                        <a:pt x="546862" y="261556"/>
                      </a:lnTo>
                      <a:lnTo>
                        <a:pt x="547281" y="261213"/>
                      </a:lnTo>
                      <a:lnTo>
                        <a:pt x="547827" y="260946"/>
                      </a:lnTo>
                      <a:lnTo>
                        <a:pt x="548297" y="260654"/>
                      </a:lnTo>
                      <a:lnTo>
                        <a:pt x="549262" y="260235"/>
                      </a:lnTo>
                      <a:lnTo>
                        <a:pt x="550329" y="257441"/>
                      </a:lnTo>
                      <a:close/>
                    </a:path>
                    <a:path w="629285" h="1147445">
                      <a:moveTo>
                        <a:pt x="552856" y="263080"/>
                      </a:moveTo>
                      <a:lnTo>
                        <a:pt x="551675" y="263080"/>
                      </a:lnTo>
                      <a:lnTo>
                        <a:pt x="549503" y="262636"/>
                      </a:lnTo>
                      <a:lnTo>
                        <a:pt x="548106" y="263080"/>
                      </a:lnTo>
                      <a:lnTo>
                        <a:pt x="547522" y="263080"/>
                      </a:lnTo>
                      <a:lnTo>
                        <a:pt x="547192" y="263436"/>
                      </a:lnTo>
                      <a:lnTo>
                        <a:pt x="547052" y="263740"/>
                      </a:lnTo>
                      <a:lnTo>
                        <a:pt x="546989" y="264007"/>
                      </a:lnTo>
                      <a:lnTo>
                        <a:pt x="546862" y="264198"/>
                      </a:lnTo>
                      <a:lnTo>
                        <a:pt x="546836" y="264337"/>
                      </a:lnTo>
                      <a:lnTo>
                        <a:pt x="547001" y="264452"/>
                      </a:lnTo>
                      <a:lnTo>
                        <a:pt x="547141" y="264756"/>
                      </a:lnTo>
                      <a:lnTo>
                        <a:pt x="547509" y="264972"/>
                      </a:lnTo>
                      <a:lnTo>
                        <a:pt x="548093" y="265099"/>
                      </a:lnTo>
                      <a:lnTo>
                        <a:pt x="549541" y="265379"/>
                      </a:lnTo>
                      <a:lnTo>
                        <a:pt x="551573" y="263740"/>
                      </a:lnTo>
                      <a:lnTo>
                        <a:pt x="552856" y="263080"/>
                      </a:lnTo>
                      <a:close/>
                    </a:path>
                    <a:path w="629285" h="1147445">
                      <a:moveTo>
                        <a:pt x="567410" y="665822"/>
                      </a:moveTo>
                      <a:lnTo>
                        <a:pt x="567270" y="665568"/>
                      </a:lnTo>
                      <a:lnTo>
                        <a:pt x="567042" y="665480"/>
                      </a:lnTo>
                      <a:lnTo>
                        <a:pt x="566966" y="665162"/>
                      </a:lnTo>
                      <a:lnTo>
                        <a:pt x="566051" y="667258"/>
                      </a:lnTo>
                      <a:lnTo>
                        <a:pt x="565543" y="669556"/>
                      </a:lnTo>
                      <a:lnTo>
                        <a:pt x="564883" y="671753"/>
                      </a:lnTo>
                      <a:lnTo>
                        <a:pt x="567283" y="666648"/>
                      </a:lnTo>
                      <a:lnTo>
                        <a:pt x="567347" y="666242"/>
                      </a:lnTo>
                      <a:lnTo>
                        <a:pt x="567410" y="666000"/>
                      </a:lnTo>
                      <a:lnTo>
                        <a:pt x="567410" y="665822"/>
                      </a:lnTo>
                      <a:close/>
                    </a:path>
                    <a:path w="629285" h="1147445">
                      <a:moveTo>
                        <a:pt x="612495" y="610069"/>
                      </a:moveTo>
                      <a:lnTo>
                        <a:pt x="612432" y="609727"/>
                      </a:lnTo>
                      <a:lnTo>
                        <a:pt x="612241" y="609523"/>
                      </a:lnTo>
                      <a:lnTo>
                        <a:pt x="612140" y="609384"/>
                      </a:lnTo>
                      <a:lnTo>
                        <a:pt x="611720" y="609206"/>
                      </a:lnTo>
                      <a:lnTo>
                        <a:pt x="611352" y="609333"/>
                      </a:lnTo>
                      <a:lnTo>
                        <a:pt x="610692" y="609676"/>
                      </a:lnTo>
                      <a:lnTo>
                        <a:pt x="609841" y="610654"/>
                      </a:lnTo>
                      <a:lnTo>
                        <a:pt x="609828" y="611441"/>
                      </a:lnTo>
                      <a:lnTo>
                        <a:pt x="609625" y="611911"/>
                      </a:lnTo>
                      <a:lnTo>
                        <a:pt x="612317" y="612736"/>
                      </a:lnTo>
                      <a:lnTo>
                        <a:pt x="611886" y="612013"/>
                      </a:lnTo>
                      <a:lnTo>
                        <a:pt x="612406" y="610958"/>
                      </a:lnTo>
                      <a:lnTo>
                        <a:pt x="612495" y="610069"/>
                      </a:lnTo>
                      <a:close/>
                    </a:path>
                    <a:path w="629285" h="1147445">
                      <a:moveTo>
                        <a:pt x="628827" y="600735"/>
                      </a:moveTo>
                      <a:lnTo>
                        <a:pt x="628738" y="600583"/>
                      </a:lnTo>
                      <a:lnTo>
                        <a:pt x="628599" y="600481"/>
                      </a:lnTo>
                      <a:lnTo>
                        <a:pt x="627710" y="599567"/>
                      </a:lnTo>
                      <a:lnTo>
                        <a:pt x="627240" y="599363"/>
                      </a:lnTo>
                      <a:lnTo>
                        <a:pt x="626859" y="599567"/>
                      </a:lnTo>
                      <a:lnTo>
                        <a:pt x="626414" y="599719"/>
                      </a:lnTo>
                      <a:lnTo>
                        <a:pt x="625881" y="600735"/>
                      </a:lnTo>
                      <a:lnTo>
                        <a:pt x="625475" y="601446"/>
                      </a:lnTo>
                      <a:lnTo>
                        <a:pt x="626554" y="601027"/>
                      </a:lnTo>
                      <a:lnTo>
                        <a:pt x="627849" y="600583"/>
                      </a:lnTo>
                      <a:lnTo>
                        <a:pt x="628827" y="600735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00" name="object 40">
                  <a:extLst>
                    <a:ext uri="{FF2B5EF4-FFF2-40B4-BE49-F238E27FC236}">
                      <a16:creationId xmlns:a16="http://schemas.microsoft.com/office/drawing/2014/main" id="{58F68F8B-4CC3-6566-0743-92B6B7FF9E16}"/>
                    </a:ext>
                  </a:extLst>
                </p:cNvPr>
                <p:cNvSpPr/>
                <p:nvPr/>
              </p:nvSpPr>
              <p:spPr>
                <a:xfrm>
                  <a:off x="1685970" y="2254721"/>
                  <a:ext cx="27305" cy="88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305" h="8889">
                      <a:moveTo>
                        <a:pt x="792" y="4953"/>
                      </a:moveTo>
                      <a:lnTo>
                        <a:pt x="609" y="5067"/>
                      </a:lnTo>
                      <a:lnTo>
                        <a:pt x="501" y="5410"/>
                      </a:lnTo>
                      <a:lnTo>
                        <a:pt x="386" y="5575"/>
                      </a:lnTo>
                      <a:lnTo>
                        <a:pt x="170" y="5638"/>
                      </a:lnTo>
                      <a:lnTo>
                        <a:pt x="0" y="5969"/>
                      </a:lnTo>
                      <a:lnTo>
                        <a:pt x="149" y="6261"/>
                      </a:lnTo>
                      <a:lnTo>
                        <a:pt x="272" y="8432"/>
                      </a:lnTo>
                      <a:lnTo>
                        <a:pt x="157" y="8801"/>
                      </a:lnTo>
                      <a:lnTo>
                        <a:pt x="1808" y="8686"/>
                      </a:lnTo>
                      <a:lnTo>
                        <a:pt x="3446" y="8534"/>
                      </a:lnTo>
                      <a:lnTo>
                        <a:pt x="5072" y="8432"/>
                      </a:lnTo>
                      <a:lnTo>
                        <a:pt x="5707" y="8191"/>
                      </a:lnTo>
                      <a:lnTo>
                        <a:pt x="6837" y="7861"/>
                      </a:lnTo>
                      <a:lnTo>
                        <a:pt x="10012" y="7251"/>
                      </a:lnTo>
                      <a:lnTo>
                        <a:pt x="12159" y="7073"/>
                      </a:lnTo>
                      <a:lnTo>
                        <a:pt x="13860" y="6565"/>
                      </a:lnTo>
                      <a:lnTo>
                        <a:pt x="14381" y="6261"/>
                      </a:lnTo>
                      <a:lnTo>
                        <a:pt x="15384" y="5969"/>
                      </a:lnTo>
                      <a:lnTo>
                        <a:pt x="16096" y="5842"/>
                      </a:lnTo>
                      <a:lnTo>
                        <a:pt x="17097" y="5842"/>
                      </a:lnTo>
                      <a:lnTo>
                        <a:pt x="17345" y="5753"/>
                      </a:lnTo>
                      <a:lnTo>
                        <a:pt x="1579" y="5753"/>
                      </a:lnTo>
                      <a:lnTo>
                        <a:pt x="1351" y="5219"/>
                      </a:lnTo>
                      <a:lnTo>
                        <a:pt x="1187" y="5067"/>
                      </a:lnTo>
                      <a:lnTo>
                        <a:pt x="995" y="5054"/>
                      </a:lnTo>
                      <a:lnTo>
                        <a:pt x="792" y="4953"/>
                      </a:lnTo>
                      <a:close/>
                    </a:path>
                    <a:path w="27305" h="8889">
                      <a:moveTo>
                        <a:pt x="17097" y="5842"/>
                      </a:moveTo>
                      <a:lnTo>
                        <a:pt x="16096" y="5842"/>
                      </a:lnTo>
                      <a:lnTo>
                        <a:pt x="16743" y="5969"/>
                      </a:lnTo>
                      <a:lnTo>
                        <a:pt x="17097" y="5842"/>
                      </a:lnTo>
                      <a:close/>
                    </a:path>
                    <a:path w="27305" h="8889">
                      <a:moveTo>
                        <a:pt x="1084" y="2730"/>
                      </a:moveTo>
                      <a:lnTo>
                        <a:pt x="1579" y="5753"/>
                      </a:lnTo>
                      <a:lnTo>
                        <a:pt x="17345" y="5753"/>
                      </a:lnTo>
                      <a:lnTo>
                        <a:pt x="17841" y="5575"/>
                      </a:lnTo>
                      <a:lnTo>
                        <a:pt x="18102" y="5410"/>
                      </a:lnTo>
                      <a:lnTo>
                        <a:pt x="18191" y="5092"/>
                      </a:lnTo>
                      <a:lnTo>
                        <a:pt x="18724" y="4940"/>
                      </a:lnTo>
                      <a:lnTo>
                        <a:pt x="18978" y="4838"/>
                      </a:lnTo>
                      <a:lnTo>
                        <a:pt x="19749" y="4838"/>
                      </a:lnTo>
                      <a:lnTo>
                        <a:pt x="20121" y="4699"/>
                      </a:lnTo>
                      <a:lnTo>
                        <a:pt x="21604" y="4038"/>
                      </a:lnTo>
                      <a:lnTo>
                        <a:pt x="6139" y="4038"/>
                      </a:lnTo>
                      <a:lnTo>
                        <a:pt x="1084" y="2730"/>
                      </a:lnTo>
                      <a:close/>
                    </a:path>
                    <a:path w="27305" h="8889">
                      <a:moveTo>
                        <a:pt x="1173" y="5054"/>
                      </a:moveTo>
                      <a:lnTo>
                        <a:pt x="1021" y="5067"/>
                      </a:lnTo>
                      <a:lnTo>
                        <a:pt x="1187" y="5067"/>
                      </a:lnTo>
                      <a:close/>
                    </a:path>
                    <a:path w="27305" h="8889">
                      <a:moveTo>
                        <a:pt x="19749" y="4838"/>
                      </a:moveTo>
                      <a:lnTo>
                        <a:pt x="18978" y="4838"/>
                      </a:lnTo>
                      <a:lnTo>
                        <a:pt x="19309" y="5003"/>
                      </a:lnTo>
                      <a:lnTo>
                        <a:pt x="19749" y="4838"/>
                      </a:lnTo>
                      <a:close/>
                    </a:path>
                    <a:path w="27305" h="8889">
                      <a:moveTo>
                        <a:pt x="9199" y="3162"/>
                      </a:moveTo>
                      <a:lnTo>
                        <a:pt x="6139" y="4038"/>
                      </a:lnTo>
                      <a:lnTo>
                        <a:pt x="21604" y="4038"/>
                      </a:lnTo>
                      <a:lnTo>
                        <a:pt x="23200" y="3327"/>
                      </a:lnTo>
                      <a:lnTo>
                        <a:pt x="10584" y="3327"/>
                      </a:lnTo>
                      <a:lnTo>
                        <a:pt x="9199" y="3162"/>
                      </a:lnTo>
                      <a:close/>
                    </a:path>
                    <a:path w="27305" h="8889">
                      <a:moveTo>
                        <a:pt x="21658" y="0"/>
                      </a:moveTo>
                      <a:lnTo>
                        <a:pt x="18420" y="520"/>
                      </a:lnTo>
                      <a:lnTo>
                        <a:pt x="15257" y="1981"/>
                      </a:lnTo>
                      <a:lnTo>
                        <a:pt x="12108" y="2971"/>
                      </a:lnTo>
                      <a:lnTo>
                        <a:pt x="10584" y="3327"/>
                      </a:lnTo>
                      <a:lnTo>
                        <a:pt x="23200" y="3327"/>
                      </a:lnTo>
                      <a:lnTo>
                        <a:pt x="25252" y="2413"/>
                      </a:lnTo>
                      <a:lnTo>
                        <a:pt x="25774" y="2209"/>
                      </a:lnTo>
                      <a:lnTo>
                        <a:pt x="19017" y="2209"/>
                      </a:lnTo>
                      <a:lnTo>
                        <a:pt x="19664" y="1485"/>
                      </a:lnTo>
                      <a:lnTo>
                        <a:pt x="20363" y="546"/>
                      </a:lnTo>
                      <a:lnTo>
                        <a:pt x="21658" y="0"/>
                      </a:lnTo>
                      <a:close/>
                    </a:path>
                    <a:path w="27305" h="8889">
                      <a:moveTo>
                        <a:pt x="27145" y="1676"/>
                      </a:moveTo>
                      <a:lnTo>
                        <a:pt x="24439" y="1828"/>
                      </a:lnTo>
                      <a:lnTo>
                        <a:pt x="21734" y="2197"/>
                      </a:lnTo>
                      <a:lnTo>
                        <a:pt x="19017" y="2209"/>
                      </a:lnTo>
                      <a:lnTo>
                        <a:pt x="25807" y="2197"/>
                      </a:lnTo>
                      <a:lnTo>
                        <a:pt x="27145" y="1676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01" name="object 41">
                  <a:extLst>
                    <a:ext uri="{FF2B5EF4-FFF2-40B4-BE49-F238E27FC236}">
                      <a16:creationId xmlns:a16="http://schemas.microsoft.com/office/drawing/2014/main" id="{75F6AF79-9A98-BA08-4499-4D71F8B538AC}"/>
                    </a:ext>
                  </a:extLst>
                </p:cNvPr>
                <p:cNvSpPr/>
                <p:nvPr/>
              </p:nvSpPr>
              <p:spPr>
                <a:xfrm>
                  <a:off x="979068" y="2121369"/>
                  <a:ext cx="588645" cy="3765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8644" h="376555">
                      <a:moveTo>
                        <a:pt x="2400" y="4521"/>
                      </a:moveTo>
                      <a:lnTo>
                        <a:pt x="2070" y="3479"/>
                      </a:lnTo>
                      <a:lnTo>
                        <a:pt x="1295" y="2603"/>
                      </a:lnTo>
                      <a:lnTo>
                        <a:pt x="685" y="1714"/>
                      </a:lnTo>
                      <a:lnTo>
                        <a:pt x="12" y="2717"/>
                      </a:lnTo>
                      <a:lnTo>
                        <a:pt x="0" y="3390"/>
                      </a:lnTo>
                      <a:lnTo>
                        <a:pt x="393" y="3822"/>
                      </a:lnTo>
                      <a:lnTo>
                        <a:pt x="914" y="4267"/>
                      </a:lnTo>
                      <a:lnTo>
                        <a:pt x="1828" y="4470"/>
                      </a:lnTo>
                      <a:lnTo>
                        <a:pt x="2400" y="4521"/>
                      </a:lnTo>
                      <a:close/>
                    </a:path>
                    <a:path w="588644" h="376555">
                      <a:moveTo>
                        <a:pt x="5562" y="1409"/>
                      </a:moveTo>
                      <a:lnTo>
                        <a:pt x="5168" y="711"/>
                      </a:lnTo>
                      <a:lnTo>
                        <a:pt x="4064" y="0"/>
                      </a:lnTo>
                      <a:lnTo>
                        <a:pt x="3708" y="0"/>
                      </a:lnTo>
                      <a:lnTo>
                        <a:pt x="2019" y="1257"/>
                      </a:lnTo>
                      <a:lnTo>
                        <a:pt x="1993" y="1460"/>
                      </a:lnTo>
                      <a:lnTo>
                        <a:pt x="2349" y="1689"/>
                      </a:lnTo>
                      <a:lnTo>
                        <a:pt x="3695" y="1930"/>
                      </a:lnTo>
                      <a:lnTo>
                        <a:pt x="4622" y="1752"/>
                      </a:lnTo>
                      <a:lnTo>
                        <a:pt x="5562" y="1409"/>
                      </a:lnTo>
                      <a:close/>
                    </a:path>
                    <a:path w="588644" h="376555">
                      <a:moveTo>
                        <a:pt x="9969" y="12966"/>
                      </a:moveTo>
                      <a:lnTo>
                        <a:pt x="8826" y="11925"/>
                      </a:lnTo>
                      <a:lnTo>
                        <a:pt x="8128" y="8204"/>
                      </a:lnTo>
                      <a:lnTo>
                        <a:pt x="6324" y="8661"/>
                      </a:lnTo>
                      <a:lnTo>
                        <a:pt x="6642" y="8394"/>
                      </a:lnTo>
                      <a:lnTo>
                        <a:pt x="6959" y="8280"/>
                      </a:lnTo>
                      <a:lnTo>
                        <a:pt x="8445" y="7518"/>
                      </a:lnTo>
                      <a:lnTo>
                        <a:pt x="9525" y="7645"/>
                      </a:lnTo>
                      <a:lnTo>
                        <a:pt x="8178" y="5854"/>
                      </a:lnTo>
                      <a:lnTo>
                        <a:pt x="7556" y="5918"/>
                      </a:lnTo>
                      <a:lnTo>
                        <a:pt x="5791" y="8115"/>
                      </a:lnTo>
                      <a:lnTo>
                        <a:pt x="5791" y="8280"/>
                      </a:lnTo>
                      <a:lnTo>
                        <a:pt x="5867" y="8496"/>
                      </a:lnTo>
                      <a:lnTo>
                        <a:pt x="5918" y="8686"/>
                      </a:lnTo>
                      <a:lnTo>
                        <a:pt x="6032" y="8890"/>
                      </a:lnTo>
                      <a:lnTo>
                        <a:pt x="6210" y="9118"/>
                      </a:lnTo>
                      <a:lnTo>
                        <a:pt x="6654" y="9486"/>
                      </a:lnTo>
                      <a:lnTo>
                        <a:pt x="7327" y="9639"/>
                      </a:lnTo>
                      <a:lnTo>
                        <a:pt x="8051" y="10744"/>
                      </a:lnTo>
                      <a:lnTo>
                        <a:pt x="8089" y="11684"/>
                      </a:lnTo>
                      <a:lnTo>
                        <a:pt x="8356" y="12357"/>
                      </a:lnTo>
                      <a:lnTo>
                        <a:pt x="8712" y="12903"/>
                      </a:lnTo>
                      <a:lnTo>
                        <a:pt x="9144" y="13296"/>
                      </a:lnTo>
                      <a:lnTo>
                        <a:pt x="9969" y="12966"/>
                      </a:lnTo>
                      <a:close/>
                    </a:path>
                    <a:path w="588644" h="376555">
                      <a:moveTo>
                        <a:pt x="371716" y="376021"/>
                      </a:moveTo>
                      <a:lnTo>
                        <a:pt x="371640" y="374319"/>
                      </a:lnTo>
                      <a:lnTo>
                        <a:pt x="371475" y="373214"/>
                      </a:lnTo>
                      <a:lnTo>
                        <a:pt x="371436" y="372745"/>
                      </a:lnTo>
                      <a:lnTo>
                        <a:pt x="371297" y="372376"/>
                      </a:lnTo>
                      <a:lnTo>
                        <a:pt x="370827" y="370281"/>
                      </a:lnTo>
                      <a:lnTo>
                        <a:pt x="370636" y="369658"/>
                      </a:lnTo>
                      <a:lnTo>
                        <a:pt x="371716" y="376021"/>
                      </a:lnTo>
                      <a:close/>
                    </a:path>
                    <a:path w="588644" h="376555">
                      <a:moveTo>
                        <a:pt x="383120" y="341579"/>
                      </a:moveTo>
                      <a:lnTo>
                        <a:pt x="382816" y="340334"/>
                      </a:lnTo>
                      <a:lnTo>
                        <a:pt x="382320" y="340550"/>
                      </a:lnTo>
                      <a:lnTo>
                        <a:pt x="381965" y="340741"/>
                      </a:lnTo>
                      <a:lnTo>
                        <a:pt x="381279" y="341083"/>
                      </a:lnTo>
                      <a:lnTo>
                        <a:pt x="380365" y="341604"/>
                      </a:lnTo>
                      <a:lnTo>
                        <a:pt x="379476" y="342201"/>
                      </a:lnTo>
                      <a:lnTo>
                        <a:pt x="377850" y="343319"/>
                      </a:lnTo>
                      <a:lnTo>
                        <a:pt x="377482" y="343560"/>
                      </a:lnTo>
                      <a:lnTo>
                        <a:pt x="377190" y="344131"/>
                      </a:lnTo>
                      <a:lnTo>
                        <a:pt x="376910" y="344716"/>
                      </a:lnTo>
                      <a:lnTo>
                        <a:pt x="376682" y="345325"/>
                      </a:lnTo>
                      <a:lnTo>
                        <a:pt x="377520" y="344779"/>
                      </a:lnTo>
                      <a:lnTo>
                        <a:pt x="383120" y="341579"/>
                      </a:lnTo>
                      <a:close/>
                    </a:path>
                    <a:path w="588644" h="376555">
                      <a:moveTo>
                        <a:pt x="406298" y="325983"/>
                      </a:moveTo>
                      <a:lnTo>
                        <a:pt x="401307" y="329374"/>
                      </a:lnTo>
                      <a:lnTo>
                        <a:pt x="402640" y="328599"/>
                      </a:lnTo>
                      <a:lnTo>
                        <a:pt x="403885" y="327672"/>
                      </a:lnTo>
                      <a:lnTo>
                        <a:pt x="406298" y="325983"/>
                      </a:lnTo>
                      <a:close/>
                    </a:path>
                    <a:path w="588644" h="376555">
                      <a:moveTo>
                        <a:pt x="449795" y="322287"/>
                      </a:moveTo>
                      <a:lnTo>
                        <a:pt x="449389" y="322072"/>
                      </a:lnTo>
                      <a:lnTo>
                        <a:pt x="448995" y="321805"/>
                      </a:lnTo>
                      <a:lnTo>
                        <a:pt x="448576" y="321614"/>
                      </a:lnTo>
                      <a:lnTo>
                        <a:pt x="447497" y="320522"/>
                      </a:lnTo>
                      <a:lnTo>
                        <a:pt x="446366" y="321221"/>
                      </a:lnTo>
                      <a:lnTo>
                        <a:pt x="445363" y="321779"/>
                      </a:lnTo>
                      <a:lnTo>
                        <a:pt x="446798" y="322122"/>
                      </a:lnTo>
                      <a:lnTo>
                        <a:pt x="448322" y="322148"/>
                      </a:lnTo>
                      <a:lnTo>
                        <a:pt x="449795" y="322287"/>
                      </a:lnTo>
                      <a:close/>
                    </a:path>
                    <a:path w="588644" h="376555">
                      <a:moveTo>
                        <a:pt x="495477" y="311924"/>
                      </a:moveTo>
                      <a:lnTo>
                        <a:pt x="494652" y="311708"/>
                      </a:lnTo>
                      <a:lnTo>
                        <a:pt x="493814" y="311569"/>
                      </a:lnTo>
                      <a:lnTo>
                        <a:pt x="492988" y="311404"/>
                      </a:lnTo>
                      <a:lnTo>
                        <a:pt x="493814" y="311823"/>
                      </a:lnTo>
                      <a:lnTo>
                        <a:pt x="494588" y="312178"/>
                      </a:lnTo>
                      <a:lnTo>
                        <a:pt x="495477" y="311924"/>
                      </a:lnTo>
                      <a:close/>
                    </a:path>
                    <a:path w="588644" h="376555">
                      <a:moveTo>
                        <a:pt x="499986" y="311378"/>
                      </a:moveTo>
                      <a:lnTo>
                        <a:pt x="499618" y="311454"/>
                      </a:lnTo>
                      <a:lnTo>
                        <a:pt x="499351" y="311518"/>
                      </a:lnTo>
                      <a:lnTo>
                        <a:pt x="499986" y="311378"/>
                      </a:lnTo>
                      <a:close/>
                    </a:path>
                    <a:path w="588644" h="376555">
                      <a:moveTo>
                        <a:pt x="517131" y="309803"/>
                      </a:moveTo>
                      <a:lnTo>
                        <a:pt x="515213" y="309981"/>
                      </a:lnTo>
                      <a:lnTo>
                        <a:pt x="513283" y="310210"/>
                      </a:lnTo>
                      <a:lnTo>
                        <a:pt x="514375" y="310629"/>
                      </a:lnTo>
                      <a:lnTo>
                        <a:pt x="516013" y="310095"/>
                      </a:lnTo>
                      <a:lnTo>
                        <a:pt x="517131" y="309803"/>
                      </a:lnTo>
                      <a:close/>
                    </a:path>
                    <a:path w="588644" h="376555">
                      <a:moveTo>
                        <a:pt x="518896" y="309626"/>
                      </a:moveTo>
                      <a:lnTo>
                        <a:pt x="517131" y="309803"/>
                      </a:lnTo>
                      <a:lnTo>
                        <a:pt x="518845" y="309651"/>
                      </a:lnTo>
                      <a:close/>
                    </a:path>
                    <a:path w="588644" h="376555">
                      <a:moveTo>
                        <a:pt x="523722" y="309168"/>
                      </a:moveTo>
                      <a:lnTo>
                        <a:pt x="523252" y="309156"/>
                      </a:lnTo>
                      <a:lnTo>
                        <a:pt x="522782" y="309143"/>
                      </a:lnTo>
                      <a:lnTo>
                        <a:pt x="522312" y="309156"/>
                      </a:lnTo>
                      <a:lnTo>
                        <a:pt x="520585" y="309003"/>
                      </a:lnTo>
                      <a:lnTo>
                        <a:pt x="518896" y="309626"/>
                      </a:lnTo>
                      <a:lnTo>
                        <a:pt x="523722" y="309168"/>
                      </a:lnTo>
                      <a:close/>
                    </a:path>
                    <a:path w="588644" h="376555">
                      <a:moveTo>
                        <a:pt x="588454" y="370560"/>
                      </a:moveTo>
                      <a:lnTo>
                        <a:pt x="588251" y="370459"/>
                      </a:lnTo>
                      <a:lnTo>
                        <a:pt x="587565" y="370039"/>
                      </a:lnTo>
                      <a:lnTo>
                        <a:pt x="586968" y="369735"/>
                      </a:lnTo>
                      <a:lnTo>
                        <a:pt x="586359" y="369430"/>
                      </a:lnTo>
                      <a:lnTo>
                        <a:pt x="586676" y="370230"/>
                      </a:lnTo>
                      <a:lnTo>
                        <a:pt x="587248" y="370903"/>
                      </a:lnTo>
                      <a:lnTo>
                        <a:pt x="587921" y="370776"/>
                      </a:lnTo>
                      <a:lnTo>
                        <a:pt x="588175" y="370687"/>
                      </a:lnTo>
                      <a:lnTo>
                        <a:pt x="588314" y="370662"/>
                      </a:lnTo>
                      <a:lnTo>
                        <a:pt x="588454" y="37056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02" name="object 42">
                  <a:extLst>
                    <a:ext uri="{FF2B5EF4-FFF2-40B4-BE49-F238E27FC236}">
                      <a16:creationId xmlns:a16="http://schemas.microsoft.com/office/drawing/2014/main" id="{12BE42BF-364F-041A-C5BA-D901D0DB119F}"/>
                    </a:ext>
                  </a:extLst>
                </p:cNvPr>
                <p:cNvSpPr/>
                <p:nvPr/>
              </p:nvSpPr>
              <p:spPr>
                <a:xfrm>
                  <a:off x="1540697" y="2168410"/>
                  <a:ext cx="6350" cy="38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" h="3810">
                      <a:moveTo>
                        <a:pt x="647" y="1612"/>
                      </a:moveTo>
                      <a:lnTo>
                        <a:pt x="0" y="1943"/>
                      </a:lnTo>
                      <a:lnTo>
                        <a:pt x="1727" y="2628"/>
                      </a:lnTo>
                      <a:lnTo>
                        <a:pt x="2842" y="2988"/>
                      </a:lnTo>
                      <a:lnTo>
                        <a:pt x="4813" y="3111"/>
                      </a:lnTo>
                      <a:lnTo>
                        <a:pt x="4965" y="3251"/>
                      </a:lnTo>
                      <a:lnTo>
                        <a:pt x="5245" y="3314"/>
                      </a:lnTo>
                      <a:lnTo>
                        <a:pt x="5740" y="2679"/>
                      </a:lnTo>
                      <a:lnTo>
                        <a:pt x="5234" y="1892"/>
                      </a:lnTo>
                      <a:lnTo>
                        <a:pt x="1549" y="1892"/>
                      </a:lnTo>
                      <a:lnTo>
                        <a:pt x="1396" y="1854"/>
                      </a:lnTo>
                      <a:lnTo>
                        <a:pt x="990" y="1676"/>
                      </a:lnTo>
                      <a:lnTo>
                        <a:pt x="723" y="1651"/>
                      </a:lnTo>
                      <a:close/>
                    </a:path>
                    <a:path w="6350" h="3810">
                      <a:moveTo>
                        <a:pt x="4102" y="0"/>
                      </a:moveTo>
                      <a:lnTo>
                        <a:pt x="3289" y="838"/>
                      </a:lnTo>
                      <a:lnTo>
                        <a:pt x="2463" y="1409"/>
                      </a:lnTo>
                      <a:lnTo>
                        <a:pt x="1549" y="1892"/>
                      </a:lnTo>
                      <a:lnTo>
                        <a:pt x="5234" y="1892"/>
                      </a:lnTo>
                      <a:lnTo>
                        <a:pt x="4279" y="406"/>
                      </a:lnTo>
                      <a:lnTo>
                        <a:pt x="4102" y="0"/>
                      </a:lnTo>
                      <a:close/>
                    </a:path>
                    <a:path w="6350" h="3810">
                      <a:moveTo>
                        <a:pt x="1460" y="1828"/>
                      </a:moveTo>
                      <a:close/>
                    </a:path>
                    <a:path w="6350" h="3810">
                      <a:moveTo>
                        <a:pt x="812" y="1638"/>
                      </a:move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03" name="object 43">
                  <a:extLst>
                    <a:ext uri="{FF2B5EF4-FFF2-40B4-BE49-F238E27FC236}">
                      <a16:creationId xmlns:a16="http://schemas.microsoft.com/office/drawing/2014/main" id="{C1C12A57-7546-271A-9DDC-722CF5ACB211}"/>
                    </a:ext>
                  </a:extLst>
                </p:cNvPr>
                <p:cNvSpPr/>
                <p:nvPr/>
              </p:nvSpPr>
              <p:spPr>
                <a:xfrm>
                  <a:off x="747547" y="1251559"/>
                  <a:ext cx="1824355" cy="13785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24355" h="1378585">
                      <a:moveTo>
                        <a:pt x="6261" y="423570"/>
                      </a:moveTo>
                      <a:lnTo>
                        <a:pt x="4216" y="421500"/>
                      </a:lnTo>
                      <a:lnTo>
                        <a:pt x="1841" y="421601"/>
                      </a:lnTo>
                      <a:lnTo>
                        <a:pt x="0" y="423684"/>
                      </a:lnTo>
                      <a:lnTo>
                        <a:pt x="114" y="423811"/>
                      </a:lnTo>
                      <a:lnTo>
                        <a:pt x="292" y="423913"/>
                      </a:lnTo>
                      <a:lnTo>
                        <a:pt x="660" y="424129"/>
                      </a:lnTo>
                      <a:lnTo>
                        <a:pt x="952" y="424218"/>
                      </a:lnTo>
                      <a:lnTo>
                        <a:pt x="1231" y="424319"/>
                      </a:lnTo>
                      <a:lnTo>
                        <a:pt x="1765" y="424522"/>
                      </a:lnTo>
                      <a:lnTo>
                        <a:pt x="2324" y="424688"/>
                      </a:lnTo>
                      <a:lnTo>
                        <a:pt x="2870" y="424865"/>
                      </a:lnTo>
                      <a:lnTo>
                        <a:pt x="5702" y="423545"/>
                      </a:lnTo>
                      <a:lnTo>
                        <a:pt x="6261" y="423570"/>
                      </a:lnTo>
                      <a:close/>
                    </a:path>
                    <a:path w="1824355" h="1378585">
                      <a:moveTo>
                        <a:pt x="131152" y="750531"/>
                      </a:moveTo>
                      <a:lnTo>
                        <a:pt x="130467" y="750455"/>
                      </a:lnTo>
                      <a:lnTo>
                        <a:pt x="129768" y="750595"/>
                      </a:lnTo>
                      <a:lnTo>
                        <a:pt x="129082" y="750773"/>
                      </a:lnTo>
                      <a:lnTo>
                        <a:pt x="128244" y="751509"/>
                      </a:lnTo>
                      <a:lnTo>
                        <a:pt x="127711" y="751903"/>
                      </a:lnTo>
                      <a:lnTo>
                        <a:pt x="127228" y="752373"/>
                      </a:lnTo>
                      <a:lnTo>
                        <a:pt x="126898" y="752881"/>
                      </a:lnTo>
                      <a:lnTo>
                        <a:pt x="127317" y="752830"/>
                      </a:lnTo>
                      <a:lnTo>
                        <a:pt x="127774" y="752881"/>
                      </a:lnTo>
                      <a:lnTo>
                        <a:pt x="128193" y="752805"/>
                      </a:lnTo>
                      <a:lnTo>
                        <a:pt x="128739" y="752424"/>
                      </a:lnTo>
                      <a:lnTo>
                        <a:pt x="129667" y="751954"/>
                      </a:lnTo>
                      <a:lnTo>
                        <a:pt x="130543" y="751205"/>
                      </a:lnTo>
                      <a:lnTo>
                        <a:pt x="131152" y="750531"/>
                      </a:lnTo>
                      <a:close/>
                    </a:path>
                    <a:path w="1824355" h="1378585">
                      <a:moveTo>
                        <a:pt x="380060" y="1207198"/>
                      </a:moveTo>
                      <a:lnTo>
                        <a:pt x="379869" y="1206830"/>
                      </a:lnTo>
                      <a:lnTo>
                        <a:pt x="379615" y="1206512"/>
                      </a:lnTo>
                      <a:lnTo>
                        <a:pt x="379336" y="1206246"/>
                      </a:lnTo>
                      <a:lnTo>
                        <a:pt x="379234" y="1206119"/>
                      </a:lnTo>
                      <a:lnTo>
                        <a:pt x="378968" y="1205928"/>
                      </a:lnTo>
                      <a:lnTo>
                        <a:pt x="378841" y="1205788"/>
                      </a:lnTo>
                      <a:lnTo>
                        <a:pt x="378587" y="1205750"/>
                      </a:lnTo>
                      <a:lnTo>
                        <a:pt x="379018" y="1206284"/>
                      </a:lnTo>
                      <a:lnTo>
                        <a:pt x="379526" y="1206754"/>
                      </a:lnTo>
                      <a:lnTo>
                        <a:pt x="380060" y="1207198"/>
                      </a:lnTo>
                      <a:close/>
                    </a:path>
                    <a:path w="1824355" h="1378585">
                      <a:moveTo>
                        <a:pt x="389877" y="1269225"/>
                      </a:moveTo>
                      <a:lnTo>
                        <a:pt x="389674" y="1267777"/>
                      </a:lnTo>
                      <a:lnTo>
                        <a:pt x="389102" y="1265682"/>
                      </a:lnTo>
                      <a:lnTo>
                        <a:pt x="388480" y="1264742"/>
                      </a:lnTo>
                      <a:lnTo>
                        <a:pt x="388543" y="1263738"/>
                      </a:lnTo>
                      <a:lnTo>
                        <a:pt x="388442" y="1262786"/>
                      </a:lnTo>
                      <a:lnTo>
                        <a:pt x="388569" y="1261757"/>
                      </a:lnTo>
                      <a:lnTo>
                        <a:pt x="388569" y="1261554"/>
                      </a:lnTo>
                      <a:lnTo>
                        <a:pt x="388734" y="1260652"/>
                      </a:lnTo>
                      <a:lnTo>
                        <a:pt x="389140" y="1259814"/>
                      </a:lnTo>
                      <a:lnTo>
                        <a:pt x="389242" y="1258989"/>
                      </a:lnTo>
                      <a:lnTo>
                        <a:pt x="389255" y="1258443"/>
                      </a:lnTo>
                      <a:lnTo>
                        <a:pt x="389204" y="1258176"/>
                      </a:lnTo>
                      <a:lnTo>
                        <a:pt x="388848" y="1259090"/>
                      </a:lnTo>
                      <a:lnTo>
                        <a:pt x="387858" y="1262278"/>
                      </a:lnTo>
                      <a:lnTo>
                        <a:pt x="387057" y="1264907"/>
                      </a:lnTo>
                      <a:lnTo>
                        <a:pt x="388277" y="1265618"/>
                      </a:lnTo>
                      <a:lnTo>
                        <a:pt x="388594" y="1266291"/>
                      </a:lnTo>
                      <a:lnTo>
                        <a:pt x="388835" y="1267040"/>
                      </a:lnTo>
                      <a:lnTo>
                        <a:pt x="388772" y="1267294"/>
                      </a:lnTo>
                      <a:lnTo>
                        <a:pt x="388658" y="1267536"/>
                      </a:lnTo>
                      <a:lnTo>
                        <a:pt x="388950" y="1268298"/>
                      </a:lnTo>
                      <a:lnTo>
                        <a:pt x="389636" y="1268920"/>
                      </a:lnTo>
                      <a:lnTo>
                        <a:pt x="389877" y="1269225"/>
                      </a:lnTo>
                      <a:close/>
                    </a:path>
                    <a:path w="1824355" h="1378585">
                      <a:moveTo>
                        <a:pt x="404342" y="1246009"/>
                      </a:moveTo>
                      <a:lnTo>
                        <a:pt x="403644" y="1246124"/>
                      </a:lnTo>
                      <a:lnTo>
                        <a:pt x="403034" y="1246606"/>
                      </a:lnTo>
                      <a:lnTo>
                        <a:pt x="402513" y="1247546"/>
                      </a:lnTo>
                      <a:lnTo>
                        <a:pt x="402412" y="1249057"/>
                      </a:lnTo>
                      <a:lnTo>
                        <a:pt x="402526" y="1249324"/>
                      </a:lnTo>
                      <a:lnTo>
                        <a:pt x="404342" y="1246009"/>
                      </a:lnTo>
                      <a:close/>
                    </a:path>
                    <a:path w="1824355" h="1378585">
                      <a:moveTo>
                        <a:pt x="406107" y="1356550"/>
                      </a:moveTo>
                      <a:lnTo>
                        <a:pt x="405549" y="1354353"/>
                      </a:lnTo>
                      <a:lnTo>
                        <a:pt x="405307" y="1354556"/>
                      </a:lnTo>
                      <a:lnTo>
                        <a:pt x="404990" y="1355115"/>
                      </a:lnTo>
                      <a:lnTo>
                        <a:pt x="404977" y="1355623"/>
                      </a:lnTo>
                      <a:lnTo>
                        <a:pt x="405206" y="1356004"/>
                      </a:lnTo>
                      <a:lnTo>
                        <a:pt x="405511" y="1356271"/>
                      </a:lnTo>
                      <a:lnTo>
                        <a:pt x="405765" y="1356436"/>
                      </a:lnTo>
                      <a:lnTo>
                        <a:pt x="406107" y="1356550"/>
                      </a:lnTo>
                      <a:close/>
                    </a:path>
                    <a:path w="1824355" h="1378585">
                      <a:moveTo>
                        <a:pt x="409282" y="451078"/>
                      </a:moveTo>
                      <a:lnTo>
                        <a:pt x="408838" y="450456"/>
                      </a:lnTo>
                      <a:lnTo>
                        <a:pt x="408330" y="449884"/>
                      </a:lnTo>
                      <a:lnTo>
                        <a:pt x="407631" y="449618"/>
                      </a:lnTo>
                      <a:lnTo>
                        <a:pt x="407377" y="449719"/>
                      </a:lnTo>
                      <a:lnTo>
                        <a:pt x="407123" y="449783"/>
                      </a:lnTo>
                      <a:lnTo>
                        <a:pt x="406869" y="449872"/>
                      </a:lnTo>
                      <a:lnTo>
                        <a:pt x="405968" y="449935"/>
                      </a:lnTo>
                      <a:lnTo>
                        <a:pt x="405015" y="450392"/>
                      </a:lnTo>
                      <a:lnTo>
                        <a:pt x="404101" y="451002"/>
                      </a:lnTo>
                      <a:lnTo>
                        <a:pt x="405739" y="451434"/>
                      </a:lnTo>
                      <a:lnTo>
                        <a:pt x="407619" y="451104"/>
                      </a:lnTo>
                      <a:lnTo>
                        <a:pt x="409282" y="451078"/>
                      </a:lnTo>
                      <a:close/>
                    </a:path>
                    <a:path w="1824355" h="1378585">
                      <a:moveTo>
                        <a:pt x="411810" y="1264246"/>
                      </a:moveTo>
                      <a:lnTo>
                        <a:pt x="411226" y="1262938"/>
                      </a:lnTo>
                      <a:lnTo>
                        <a:pt x="410273" y="1261808"/>
                      </a:lnTo>
                      <a:lnTo>
                        <a:pt x="409460" y="1260640"/>
                      </a:lnTo>
                      <a:lnTo>
                        <a:pt x="409917" y="1262227"/>
                      </a:lnTo>
                      <a:lnTo>
                        <a:pt x="410159" y="1262913"/>
                      </a:lnTo>
                      <a:lnTo>
                        <a:pt x="410895" y="1263738"/>
                      </a:lnTo>
                      <a:lnTo>
                        <a:pt x="411035" y="1264043"/>
                      </a:lnTo>
                      <a:lnTo>
                        <a:pt x="411124" y="1264272"/>
                      </a:lnTo>
                      <a:lnTo>
                        <a:pt x="411314" y="1264323"/>
                      </a:lnTo>
                      <a:lnTo>
                        <a:pt x="411480" y="1264373"/>
                      </a:lnTo>
                      <a:lnTo>
                        <a:pt x="411810" y="1264246"/>
                      </a:lnTo>
                      <a:close/>
                    </a:path>
                    <a:path w="1824355" h="1378585">
                      <a:moveTo>
                        <a:pt x="415366" y="1270266"/>
                      </a:moveTo>
                      <a:lnTo>
                        <a:pt x="415036" y="1269796"/>
                      </a:lnTo>
                      <a:lnTo>
                        <a:pt x="414896" y="1269644"/>
                      </a:lnTo>
                      <a:lnTo>
                        <a:pt x="414743" y="1269492"/>
                      </a:lnTo>
                      <a:lnTo>
                        <a:pt x="414731" y="1269695"/>
                      </a:lnTo>
                      <a:lnTo>
                        <a:pt x="414375" y="1270012"/>
                      </a:lnTo>
                      <a:lnTo>
                        <a:pt x="414642" y="1270876"/>
                      </a:lnTo>
                      <a:lnTo>
                        <a:pt x="414921" y="1271511"/>
                      </a:lnTo>
                      <a:lnTo>
                        <a:pt x="415264" y="1270901"/>
                      </a:lnTo>
                      <a:lnTo>
                        <a:pt x="415366" y="1270266"/>
                      </a:lnTo>
                      <a:close/>
                    </a:path>
                    <a:path w="1824355" h="1378585">
                      <a:moveTo>
                        <a:pt x="422744" y="1275600"/>
                      </a:moveTo>
                      <a:lnTo>
                        <a:pt x="422402" y="1274419"/>
                      </a:lnTo>
                      <a:lnTo>
                        <a:pt x="421855" y="1273060"/>
                      </a:lnTo>
                      <a:lnTo>
                        <a:pt x="420992" y="1272146"/>
                      </a:lnTo>
                      <a:lnTo>
                        <a:pt x="421576" y="1273289"/>
                      </a:lnTo>
                      <a:lnTo>
                        <a:pt x="422160" y="1274457"/>
                      </a:lnTo>
                      <a:lnTo>
                        <a:pt x="422744" y="1275600"/>
                      </a:lnTo>
                      <a:close/>
                    </a:path>
                    <a:path w="1824355" h="1378585">
                      <a:moveTo>
                        <a:pt x="600367" y="1227861"/>
                      </a:moveTo>
                      <a:lnTo>
                        <a:pt x="600252" y="1228064"/>
                      </a:lnTo>
                      <a:lnTo>
                        <a:pt x="600163" y="1228217"/>
                      </a:lnTo>
                      <a:lnTo>
                        <a:pt x="600367" y="1227861"/>
                      </a:lnTo>
                      <a:close/>
                    </a:path>
                    <a:path w="1824355" h="1378585">
                      <a:moveTo>
                        <a:pt x="600849" y="1226921"/>
                      </a:moveTo>
                      <a:lnTo>
                        <a:pt x="600456" y="1227696"/>
                      </a:lnTo>
                      <a:lnTo>
                        <a:pt x="600265" y="1228140"/>
                      </a:lnTo>
                      <a:lnTo>
                        <a:pt x="600214" y="1228344"/>
                      </a:lnTo>
                      <a:lnTo>
                        <a:pt x="600456" y="1227874"/>
                      </a:lnTo>
                      <a:lnTo>
                        <a:pt x="600519" y="1227696"/>
                      </a:lnTo>
                      <a:lnTo>
                        <a:pt x="600849" y="1226921"/>
                      </a:lnTo>
                      <a:close/>
                    </a:path>
                    <a:path w="1824355" h="1378585">
                      <a:moveTo>
                        <a:pt x="604926" y="1219276"/>
                      </a:moveTo>
                      <a:lnTo>
                        <a:pt x="602996" y="1221498"/>
                      </a:lnTo>
                      <a:lnTo>
                        <a:pt x="601941" y="1224203"/>
                      </a:lnTo>
                      <a:lnTo>
                        <a:pt x="600849" y="1226908"/>
                      </a:lnTo>
                      <a:lnTo>
                        <a:pt x="603516" y="1221803"/>
                      </a:lnTo>
                      <a:lnTo>
                        <a:pt x="604926" y="1219276"/>
                      </a:lnTo>
                      <a:close/>
                    </a:path>
                    <a:path w="1824355" h="1378585">
                      <a:moveTo>
                        <a:pt x="615823" y="1209535"/>
                      </a:moveTo>
                      <a:lnTo>
                        <a:pt x="615607" y="1209675"/>
                      </a:lnTo>
                      <a:lnTo>
                        <a:pt x="615251" y="1209890"/>
                      </a:lnTo>
                      <a:lnTo>
                        <a:pt x="614908" y="1210119"/>
                      </a:lnTo>
                      <a:lnTo>
                        <a:pt x="615429" y="1209827"/>
                      </a:lnTo>
                      <a:lnTo>
                        <a:pt x="615823" y="1209535"/>
                      </a:lnTo>
                      <a:close/>
                    </a:path>
                    <a:path w="1824355" h="1378585">
                      <a:moveTo>
                        <a:pt x="737247" y="1377454"/>
                      </a:moveTo>
                      <a:lnTo>
                        <a:pt x="737184" y="1377099"/>
                      </a:lnTo>
                      <a:lnTo>
                        <a:pt x="737057" y="1376413"/>
                      </a:lnTo>
                      <a:lnTo>
                        <a:pt x="736904" y="1376095"/>
                      </a:lnTo>
                      <a:lnTo>
                        <a:pt x="737044" y="1377340"/>
                      </a:lnTo>
                      <a:lnTo>
                        <a:pt x="737082" y="1377099"/>
                      </a:lnTo>
                      <a:lnTo>
                        <a:pt x="737133" y="1377251"/>
                      </a:lnTo>
                      <a:lnTo>
                        <a:pt x="737247" y="1377454"/>
                      </a:lnTo>
                      <a:close/>
                    </a:path>
                    <a:path w="1824355" h="1378585">
                      <a:moveTo>
                        <a:pt x="737311" y="1375359"/>
                      </a:moveTo>
                      <a:lnTo>
                        <a:pt x="737069" y="1375359"/>
                      </a:lnTo>
                      <a:lnTo>
                        <a:pt x="736828" y="1375346"/>
                      </a:lnTo>
                      <a:lnTo>
                        <a:pt x="736574" y="1375346"/>
                      </a:lnTo>
                      <a:lnTo>
                        <a:pt x="736346" y="1375333"/>
                      </a:lnTo>
                      <a:lnTo>
                        <a:pt x="736206" y="1375460"/>
                      </a:lnTo>
                      <a:lnTo>
                        <a:pt x="736142" y="1375651"/>
                      </a:lnTo>
                      <a:lnTo>
                        <a:pt x="736066" y="1375892"/>
                      </a:lnTo>
                      <a:lnTo>
                        <a:pt x="735977" y="1376133"/>
                      </a:lnTo>
                      <a:lnTo>
                        <a:pt x="735901" y="1376362"/>
                      </a:lnTo>
                      <a:lnTo>
                        <a:pt x="735685" y="1376959"/>
                      </a:lnTo>
                      <a:lnTo>
                        <a:pt x="735495" y="1377556"/>
                      </a:lnTo>
                      <a:lnTo>
                        <a:pt x="735380" y="1378229"/>
                      </a:lnTo>
                      <a:lnTo>
                        <a:pt x="736168" y="1377416"/>
                      </a:lnTo>
                      <a:lnTo>
                        <a:pt x="736701" y="1376324"/>
                      </a:lnTo>
                      <a:lnTo>
                        <a:pt x="737311" y="1375359"/>
                      </a:lnTo>
                      <a:close/>
                    </a:path>
                    <a:path w="1824355" h="1378585">
                      <a:moveTo>
                        <a:pt x="752589" y="1328915"/>
                      </a:moveTo>
                      <a:lnTo>
                        <a:pt x="752411" y="1329093"/>
                      </a:lnTo>
                      <a:lnTo>
                        <a:pt x="751979" y="1329270"/>
                      </a:lnTo>
                      <a:lnTo>
                        <a:pt x="751852" y="1329347"/>
                      </a:lnTo>
                      <a:lnTo>
                        <a:pt x="751370" y="1329486"/>
                      </a:lnTo>
                      <a:lnTo>
                        <a:pt x="750874" y="1329436"/>
                      </a:lnTo>
                      <a:lnTo>
                        <a:pt x="750150" y="1329626"/>
                      </a:lnTo>
                      <a:lnTo>
                        <a:pt x="749909" y="1329728"/>
                      </a:lnTo>
                      <a:lnTo>
                        <a:pt x="748499" y="1330909"/>
                      </a:lnTo>
                      <a:lnTo>
                        <a:pt x="748538" y="1332598"/>
                      </a:lnTo>
                      <a:lnTo>
                        <a:pt x="749046" y="1333881"/>
                      </a:lnTo>
                      <a:lnTo>
                        <a:pt x="749998" y="1332560"/>
                      </a:lnTo>
                      <a:lnTo>
                        <a:pt x="751598" y="1330629"/>
                      </a:lnTo>
                      <a:lnTo>
                        <a:pt x="752271" y="1329385"/>
                      </a:lnTo>
                      <a:lnTo>
                        <a:pt x="752373" y="1329220"/>
                      </a:lnTo>
                      <a:lnTo>
                        <a:pt x="752487" y="1329080"/>
                      </a:lnTo>
                      <a:lnTo>
                        <a:pt x="752589" y="1328915"/>
                      </a:lnTo>
                      <a:close/>
                    </a:path>
                    <a:path w="1824355" h="1378585">
                      <a:moveTo>
                        <a:pt x="845312" y="1257401"/>
                      </a:moveTo>
                      <a:lnTo>
                        <a:pt x="844207" y="1258773"/>
                      </a:lnTo>
                      <a:lnTo>
                        <a:pt x="843051" y="1260144"/>
                      </a:lnTo>
                      <a:lnTo>
                        <a:pt x="841070" y="1262672"/>
                      </a:lnTo>
                      <a:lnTo>
                        <a:pt x="840651" y="1263230"/>
                      </a:lnTo>
                      <a:lnTo>
                        <a:pt x="842683" y="1261757"/>
                      </a:lnTo>
                      <a:lnTo>
                        <a:pt x="844067" y="1259725"/>
                      </a:lnTo>
                      <a:lnTo>
                        <a:pt x="845312" y="1257401"/>
                      </a:lnTo>
                      <a:close/>
                    </a:path>
                    <a:path w="1824355" h="1378585">
                      <a:moveTo>
                        <a:pt x="1116025" y="710742"/>
                      </a:moveTo>
                      <a:lnTo>
                        <a:pt x="1112329" y="709777"/>
                      </a:lnTo>
                      <a:lnTo>
                        <a:pt x="1111719" y="712241"/>
                      </a:lnTo>
                      <a:lnTo>
                        <a:pt x="1111250" y="715606"/>
                      </a:lnTo>
                      <a:lnTo>
                        <a:pt x="1111694" y="715378"/>
                      </a:lnTo>
                      <a:lnTo>
                        <a:pt x="1112443" y="715022"/>
                      </a:lnTo>
                      <a:lnTo>
                        <a:pt x="1113701" y="715276"/>
                      </a:lnTo>
                      <a:lnTo>
                        <a:pt x="1114602" y="717423"/>
                      </a:lnTo>
                      <a:lnTo>
                        <a:pt x="1115682" y="716508"/>
                      </a:lnTo>
                      <a:lnTo>
                        <a:pt x="1115695" y="716381"/>
                      </a:lnTo>
                      <a:lnTo>
                        <a:pt x="1115733" y="716216"/>
                      </a:lnTo>
                      <a:lnTo>
                        <a:pt x="1115834" y="715238"/>
                      </a:lnTo>
                      <a:lnTo>
                        <a:pt x="1115847" y="714641"/>
                      </a:lnTo>
                      <a:lnTo>
                        <a:pt x="1115517" y="713816"/>
                      </a:lnTo>
                      <a:lnTo>
                        <a:pt x="1115110" y="713689"/>
                      </a:lnTo>
                      <a:lnTo>
                        <a:pt x="1114348" y="713689"/>
                      </a:lnTo>
                      <a:lnTo>
                        <a:pt x="1113459" y="713752"/>
                      </a:lnTo>
                      <a:lnTo>
                        <a:pt x="1113116" y="713752"/>
                      </a:lnTo>
                      <a:lnTo>
                        <a:pt x="1112761" y="713689"/>
                      </a:lnTo>
                      <a:lnTo>
                        <a:pt x="1113345" y="713409"/>
                      </a:lnTo>
                      <a:lnTo>
                        <a:pt x="1113840" y="712965"/>
                      </a:lnTo>
                      <a:lnTo>
                        <a:pt x="1113967" y="712330"/>
                      </a:lnTo>
                      <a:lnTo>
                        <a:pt x="1114107" y="712317"/>
                      </a:lnTo>
                      <a:lnTo>
                        <a:pt x="1114247" y="712406"/>
                      </a:lnTo>
                      <a:lnTo>
                        <a:pt x="1114386" y="712444"/>
                      </a:lnTo>
                      <a:lnTo>
                        <a:pt x="1114653" y="712571"/>
                      </a:lnTo>
                      <a:lnTo>
                        <a:pt x="1114780" y="712685"/>
                      </a:lnTo>
                      <a:lnTo>
                        <a:pt x="1114920" y="712558"/>
                      </a:lnTo>
                      <a:lnTo>
                        <a:pt x="1114983" y="712431"/>
                      </a:lnTo>
                      <a:lnTo>
                        <a:pt x="1115453" y="712000"/>
                      </a:lnTo>
                      <a:lnTo>
                        <a:pt x="1115733" y="711365"/>
                      </a:lnTo>
                      <a:lnTo>
                        <a:pt x="1116025" y="710742"/>
                      </a:lnTo>
                      <a:close/>
                    </a:path>
                    <a:path w="1824355" h="1378585">
                      <a:moveTo>
                        <a:pt x="1165542" y="753008"/>
                      </a:moveTo>
                      <a:lnTo>
                        <a:pt x="1165199" y="751941"/>
                      </a:lnTo>
                      <a:lnTo>
                        <a:pt x="1165098" y="751687"/>
                      </a:lnTo>
                      <a:lnTo>
                        <a:pt x="1164996" y="751497"/>
                      </a:lnTo>
                      <a:lnTo>
                        <a:pt x="1164945" y="751332"/>
                      </a:lnTo>
                      <a:lnTo>
                        <a:pt x="1164907" y="751027"/>
                      </a:lnTo>
                      <a:lnTo>
                        <a:pt x="1164755" y="751039"/>
                      </a:lnTo>
                      <a:lnTo>
                        <a:pt x="1163828" y="751319"/>
                      </a:lnTo>
                      <a:lnTo>
                        <a:pt x="1162888" y="751573"/>
                      </a:lnTo>
                      <a:lnTo>
                        <a:pt x="1162215" y="751713"/>
                      </a:lnTo>
                      <a:lnTo>
                        <a:pt x="1161630" y="751776"/>
                      </a:lnTo>
                      <a:lnTo>
                        <a:pt x="1161313" y="751954"/>
                      </a:lnTo>
                      <a:lnTo>
                        <a:pt x="1161008" y="752005"/>
                      </a:lnTo>
                      <a:lnTo>
                        <a:pt x="1160818" y="752017"/>
                      </a:lnTo>
                      <a:lnTo>
                        <a:pt x="1160741" y="752208"/>
                      </a:lnTo>
                      <a:lnTo>
                        <a:pt x="1160919" y="752538"/>
                      </a:lnTo>
                      <a:lnTo>
                        <a:pt x="1161211" y="752868"/>
                      </a:lnTo>
                      <a:lnTo>
                        <a:pt x="1161732" y="753757"/>
                      </a:lnTo>
                      <a:lnTo>
                        <a:pt x="1162431" y="754189"/>
                      </a:lnTo>
                      <a:lnTo>
                        <a:pt x="1163307" y="754138"/>
                      </a:lnTo>
                      <a:lnTo>
                        <a:pt x="1164031" y="754316"/>
                      </a:lnTo>
                      <a:lnTo>
                        <a:pt x="1164678" y="754176"/>
                      </a:lnTo>
                      <a:lnTo>
                        <a:pt x="1164996" y="753592"/>
                      </a:lnTo>
                      <a:lnTo>
                        <a:pt x="1165377" y="753351"/>
                      </a:lnTo>
                      <a:lnTo>
                        <a:pt x="1165542" y="753008"/>
                      </a:lnTo>
                      <a:close/>
                    </a:path>
                    <a:path w="1824355" h="1378585">
                      <a:moveTo>
                        <a:pt x="1182547" y="302260"/>
                      </a:moveTo>
                      <a:lnTo>
                        <a:pt x="1178521" y="302260"/>
                      </a:lnTo>
                      <a:lnTo>
                        <a:pt x="1177124" y="302260"/>
                      </a:lnTo>
                      <a:lnTo>
                        <a:pt x="1176197" y="302260"/>
                      </a:lnTo>
                      <a:lnTo>
                        <a:pt x="1171092" y="303530"/>
                      </a:lnTo>
                      <a:lnTo>
                        <a:pt x="1178598" y="303530"/>
                      </a:lnTo>
                      <a:lnTo>
                        <a:pt x="1182547" y="302260"/>
                      </a:lnTo>
                      <a:close/>
                    </a:path>
                    <a:path w="1824355" h="1378585">
                      <a:moveTo>
                        <a:pt x="1199832" y="332740"/>
                      </a:moveTo>
                      <a:lnTo>
                        <a:pt x="1198575" y="330200"/>
                      </a:lnTo>
                      <a:lnTo>
                        <a:pt x="1195070" y="332740"/>
                      </a:lnTo>
                      <a:lnTo>
                        <a:pt x="1199832" y="332740"/>
                      </a:lnTo>
                      <a:close/>
                    </a:path>
                    <a:path w="1824355" h="1378585">
                      <a:moveTo>
                        <a:pt x="1216990" y="48260"/>
                      </a:moveTo>
                      <a:lnTo>
                        <a:pt x="1213370" y="45720"/>
                      </a:lnTo>
                      <a:lnTo>
                        <a:pt x="1211059" y="45720"/>
                      </a:lnTo>
                      <a:lnTo>
                        <a:pt x="1205725" y="46990"/>
                      </a:lnTo>
                      <a:lnTo>
                        <a:pt x="1202296" y="46990"/>
                      </a:lnTo>
                      <a:lnTo>
                        <a:pt x="1199553" y="48260"/>
                      </a:lnTo>
                      <a:lnTo>
                        <a:pt x="1202842" y="48260"/>
                      </a:lnTo>
                      <a:lnTo>
                        <a:pt x="1216990" y="48260"/>
                      </a:lnTo>
                      <a:close/>
                    </a:path>
                    <a:path w="1824355" h="1378585">
                      <a:moveTo>
                        <a:pt x="1232204" y="455930"/>
                      </a:moveTo>
                      <a:lnTo>
                        <a:pt x="1228839" y="454660"/>
                      </a:lnTo>
                      <a:lnTo>
                        <a:pt x="1232115" y="457200"/>
                      </a:lnTo>
                      <a:lnTo>
                        <a:pt x="1232039" y="455930"/>
                      </a:lnTo>
                      <a:lnTo>
                        <a:pt x="1232204" y="455930"/>
                      </a:lnTo>
                      <a:close/>
                    </a:path>
                    <a:path w="1824355" h="1378585">
                      <a:moveTo>
                        <a:pt x="1234668" y="495300"/>
                      </a:moveTo>
                      <a:lnTo>
                        <a:pt x="1232941" y="494030"/>
                      </a:lnTo>
                      <a:lnTo>
                        <a:pt x="1234414" y="495300"/>
                      </a:lnTo>
                      <a:lnTo>
                        <a:pt x="1234668" y="495300"/>
                      </a:lnTo>
                      <a:close/>
                    </a:path>
                    <a:path w="1824355" h="1378585">
                      <a:moveTo>
                        <a:pt x="1235900" y="364490"/>
                      </a:moveTo>
                      <a:lnTo>
                        <a:pt x="1235456" y="365125"/>
                      </a:lnTo>
                      <a:lnTo>
                        <a:pt x="1235240" y="365760"/>
                      </a:lnTo>
                      <a:lnTo>
                        <a:pt x="1235900" y="364490"/>
                      </a:lnTo>
                      <a:close/>
                    </a:path>
                    <a:path w="1824355" h="1378585">
                      <a:moveTo>
                        <a:pt x="1237780" y="520039"/>
                      </a:moveTo>
                      <a:lnTo>
                        <a:pt x="1237513" y="520065"/>
                      </a:lnTo>
                      <a:lnTo>
                        <a:pt x="1237246" y="520065"/>
                      </a:lnTo>
                      <a:lnTo>
                        <a:pt x="1236980" y="520103"/>
                      </a:lnTo>
                      <a:lnTo>
                        <a:pt x="1236776" y="520166"/>
                      </a:lnTo>
                      <a:lnTo>
                        <a:pt x="1235468" y="520407"/>
                      </a:lnTo>
                      <a:lnTo>
                        <a:pt x="1234173" y="520954"/>
                      </a:lnTo>
                      <a:lnTo>
                        <a:pt x="1232928" y="521335"/>
                      </a:lnTo>
                      <a:lnTo>
                        <a:pt x="1234630" y="521728"/>
                      </a:lnTo>
                      <a:lnTo>
                        <a:pt x="1237094" y="522617"/>
                      </a:lnTo>
                      <a:lnTo>
                        <a:pt x="1237780" y="520039"/>
                      </a:lnTo>
                      <a:close/>
                    </a:path>
                    <a:path w="1824355" h="1378585">
                      <a:moveTo>
                        <a:pt x="1241564" y="491591"/>
                      </a:moveTo>
                      <a:lnTo>
                        <a:pt x="1241285" y="491490"/>
                      </a:lnTo>
                      <a:lnTo>
                        <a:pt x="1239570" y="491490"/>
                      </a:lnTo>
                      <a:lnTo>
                        <a:pt x="1235075" y="491490"/>
                      </a:lnTo>
                      <a:lnTo>
                        <a:pt x="1233271" y="494030"/>
                      </a:lnTo>
                      <a:lnTo>
                        <a:pt x="1236675" y="492760"/>
                      </a:lnTo>
                      <a:lnTo>
                        <a:pt x="1239520" y="492760"/>
                      </a:lnTo>
                      <a:lnTo>
                        <a:pt x="1241564" y="491591"/>
                      </a:lnTo>
                      <a:close/>
                    </a:path>
                    <a:path w="1824355" h="1378585">
                      <a:moveTo>
                        <a:pt x="1247368" y="382270"/>
                      </a:moveTo>
                      <a:lnTo>
                        <a:pt x="1245019" y="382270"/>
                      </a:lnTo>
                      <a:lnTo>
                        <a:pt x="1241374" y="382270"/>
                      </a:lnTo>
                      <a:lnTo>
                        <a:pt x="1242225" y="383540"/>
                      </a:lnTo>
                      <a:lnTo>
                        <a:pt x="1247368" y="382270"/>
                      </a:lnTo>
                      <a:close/>
                    </a:path>
                    <a:path w="1824355" h="1378585">
                      <a:moveTo>
                        <a:pt x="1257820" y="479615"/>
                      </a:moveTo>
                      <a:lnTo>
                        <a:pt x="1257198" y="478790"/>
                      </a:lnTo>
                      <a:lnTo>
                        <a:pt x="1256804" y="479717"/>
                      </a:lnTo>
                      <a:lnTo>
                        <a:pt x="1256982" y="479933"/>
                      </a:lnTo>
                      <a:lnTo>
                        <a:pt x="1257820" y="479615"/>
                      </a:lnTo>
                      <a:close/>
                    </a:path>
                    <a:path w="1824355" h="1378585">
                      <a:moveTo>
                        <a:pt x="1261427" y="397510"/>
                      </a:moveTo>
                      <a:lnTo>
                        <a:pt x="1261300" y="397510"/>
                      </a:lnTo>
                      <a:lnTo>
                        <a:pt x="1261427" y="397510"/>
                      </a:lnTo>
                      <a:close/>
                    </a:path>
                    <a:path w="1824355" h="1378585">
                      <a:moveTo>
                        <a:pt x="1267206" y="396240"/>
                      </a:moveTo>
                      <a:lnTo>
                        <a:pt x="1264729" y="393700"/>
                      </a:lnTo>
                      <a:lnTo>
                        <a:pt x="1261579" y="392430"/>
                      </a:lnTo>
                      <a:lnTo>
                        <a:pt x="1261097" y="392430"/>
                      </a:lnTo>
                      <a:lnTo>
                        <a:pt x="1260309" y="393700"/>
                      </a:lnTo>
                      <a:lnTo>
                        <a:pt x="1260551" y="392430"/>
                      </a:lnTo>
                      <a:lnTo>
                        <a:pt x="1259395" y="393700"/>
                      </a:lnTo>
                      <a:lnTo>
                        <a:pt x="1257998" y="393700"/>
                      </a:lnTo>
                      <a:lnTo>
                        <a:pt x="1258570" y="394970"/>
                      </a:lnTo>
                      <a:lnTo>
                        <a:pt x="1260475" y="396240"/>
                      </a:lnTo>
                      <a:lnTo>
                        <a:pt x="1262138" y="394970"/>
                      </a:lnTo>
                      <a:lnTo>
                        <a:pt x="1262608" y="394970"/>
                      </a:lnTo>
                      <a:lnTo>
                        <a:pt x="1263218" y="393700"/>
                      </a:lnTo>
                      <a:lnTo>
                        <a:pt x="1263662" y="394970"/>
                      </a:lnTo>
                      <a:lnTo>
                        <a:pt x="1263789" y="394970"/>
                      </a:lnTo>
                      <a:lnTo>
                        <a:pt x="1264589" y="396240"/>
                      </a:lnTo>
                      <a:lnTo>
                        <a:pt x="1266024" y="396240"/>
                      </a:lnTo>
                      <a:lnTo>
                        <a:pt x="1267206" y="396240"/>
                      </a:lnTo>
                      <a:close/>
                    </a:path>
                    <a:path w="1824355" h="1378585">
                      <a:moveTo>
                        <a:pt x="1274876" y="436880"/>
                      </a:moveTo>
                      <a:lnTo>
                        <a:pt x="1274635" y="436880"/>
                      </a:lnTo>
                      <a:lnTo>
                        <a:pt x="1274876" y="436880"/>
                      </a:lnTo>
                      <a:close/>
                    </a:path>
                    <a:path w="1824355" h="1378585">
                      <a:moveTo>
                        <a:pt x="1292745" y="603250"/>
                      </a:moveTo>
                      <a:lnTo>
                        <a:pt x="1292225" y="603250"/>
                      </a:lnTo>
                      <a:lnTo>
                        <a:pt x="1292123" y="603618"/>
                      </a:lnTo>
                      <a:lnTo>
                        <a:pt x="1292745" y="603250"/>
                      </a:lnTo>
                      <a:close/>
                    </a:path>
                    <a:path w="1824355" h="1378585">
                      <a:moveTo>
                        <a:pt x="1305598" y="628230"/>
                      </a:moveTo>
                      <a:lnTo>
                        <a:pt x="1304709" y="627380"/>
                      </a:lnTo>
                      <a:lnTo>
                        <a:pt x="1303718" y="628650"/>
                      </a:lnTo>
                      <a:lnTo>
                        <a:pt x="1305115" y="628650"/>
                      </a:lnTo>
                      <a:lnTo>
                        <a:pt x="1305598" y="628230"/>
                      </a:lnTo>
                      <a:close/>
                    </a:path>
                    <a:path w="1824355" h="1378585">
                      <a:moveTo>
                        <a:pt x="1305991" y="624840"/>
                      </a:moveTo>
                      <a:lnTo>
                        <a:pt x="1305445" y="624840"/>
                      </a:lnTo>
                      <a:lnTo>
                        <a:pt x="1301381" y="624840"/>
                      </a:lnTo>
                      <a:lnTo>
                        <a:pt x="1303604" y="626110"/>
                      </a:lnTo>
                      <a:lnTo>
                        <a:pt x="1305991" y="624840"/>
                      </a:lnTo>
                      <a:close/>
                    </a:path>
                    <a:path w="1824355" h="1378585">
                      <a:moveTo>
                        <a:pt x="1312481" y="629246"/>
                      </a:moveTo>
                      <a:lnTo>
                        <a:pt x="1311109" y="628650"/>
                      </a:lnTo>
                      <a:lnTo>
                        <a:pt x="1310335" y="628015"/>
                      </a:lnTo>
                      <a:lnTo>
                        <a:pt x="1309573" y="628650"/>
                      </a:lnTo>
                      <a:lnTo>
                        <a:pt x="1309827" y="628802"/>
                      </a:lnTo>
                      <a:lnTo>
                        <a:pt x="1309230" y="628688"/>
                      </a:lnTo>
                      <a:lnTo>
                        <a:pt x="1308620" y="628611"/>
                      </a:lnTo>
                      <a:lnTo>
                        <a:pt x="1308468" y="628332"/>
                      </a:lnTo>
                      <a:lnTo>
                        <a:pt x="1307706" y="628243"/>
                      </a:lnTo>
                      <a:lnTo>
                        <a:pt x="1307490" y="628446"/>
                      </a:lnTo>
                      <a:lnTo>
                        <a:pt x="1307084" y="628510"/>
                      </a:lnTo>
                      <a:lnTo>
                        <a:pt x="1306283" y="628523"/>
                      </a:lnTo>
                      <a:lnTo>
                        <a:pt x="1308468" y="627380"/>
                      </a:lnTo>
                      <a:lnTo>
                        <a:pt x="1306588" y="627380"/>
                      </a:lnTo>
                      <a:lnTo>
                        <a:pt x="1305598" y="628230"/>
                      </a:lnTo>
                      <a:lnTo>
                        <a:pt x="1305941" y="628573"/>
                      </a:lnTo>
                      <a:lnTo>
                        <a:pt x="1305102" y="629005"/>
                      </a:lnTo>
                      <a:lnTo>
                        <a:pt x="1304010" y="628916"/>
                      </a:lnTo>
                      <a:lnTo>
                        <a:pt x="1305687" y="631748"/>
                      </a:lnTo>
                      <a:lnTo>
                        <a:pt x="1309547" y="632358"/>
                      </a:lnTo>
                      <a:lnTo>
                        <a:pt x="1311884" y="629805"/>
                      </a:lnTo>
                      <a:lnTo>
                        <a:pt x="1312481" y="629246"/>
                      </a:lnTo>
                      <a:close/>
                    </a:path>
                    <a:path w="1824355" h="1378585">
                      <a:moveTo>
                        <a:pt x="1316888" y="628650"/>
                      </a:moveTo>
                      <a:lnTo>
                        <a:pt x="1314564" y="627380"/>
                      </a:lnTo>
                      <a:lnTo>
                        <a:pt x="1312481" y="629246"/>
                      </a:lnTo>
                      <a:lnTo>
                        <a:pt x="1314030" y="629920"/>
                      </a:lnTo>
                      <a:lnTo>
                        <a:pt x="1315948" y="628650"/>
                      </a:lnTo>
                      <a:lnTo>
                        <a:pt x="1316888" y="628650"/>
                      </a:lnTo>
                      <a:close/>
                    </a:path>
                    <a:path w="1824355" h="1378585">
                      <a:moveTo>
                        <a:pt x="1321638" y="628650"/>
                      </a:moveTo>
                      <a:lnTo>
                        <a:pt x="1321485" y="628015"/>
                      </a:lnTo>
                      <a:lnTo>
                        <a:pt x="1319606" y="628650"/>
                      </a:lnTo>
                      <a:lnTo>
                        <a:pt x="1321638" y="628650"/>
                      </a:lnTo>
                      <a:close/>
                    </a:path>
                    <a:path w="1824355" h="1378585">
                      <a:moveTo>
                        <a:pt x="1331861" y="629564"/>
                      </a:moveTo>
                      <a:lnTo>
                        <a:pt x="1330998" y="629742"/>
                      </a:lnTo>
                      <a:lnTo>
                        <a:pt x="1330528" y="629869"/>
                      </a:lnTo>
                      <a:lnTo>
                        <a:pt x="1330388" y="629907"/>
                      </a:lnTo>
                      <a:lnTo>
                        <a:pt x="1330185" y="629970"/>
                      </a:lnTo>
                      <a:lnTo>
                        <a:pt x="1329829" y="630123"/>
                      </a:lnTo>
                      <a:lnTo>
                        <a:pt x="1329702" y="630186"/>
                      </a:lnTo>
                      <a:lnTo>
                        <a:pt x="1329563" y="630237"/>
                      </a:lnTo>
                      <a:lnTo>
                        <a:pt x="1329436" y="630313"/>
                      </a:lnTo>
                      <a:lnTo>
                        <a:pt x="1329194" y="630478"/>
                      </a:lnTo>
                      <a:lnTo>
                        <a:pt x="1328953" y="630669"/>
                      </a:lnTo>
                      <a:lnTo>
                        <a:pt x="1328775" y="630910"/>
                      </a:lnTo>
                      <a:lnTo>
                        <a:pt x="1329867" y="630682"/>
                      </a:lnTo>
                      <a:lnTo>
                        <a:pt x="1330871" y="630034"/>
                      </a:lnTo>
                      <a:lnTo>
                        <a:pt x="1331861" y="629564"/>
                      </a:lnTo>
                      <a:close/>
                    </a:path>
                    <a:path w="1824355" h="1378585">
                      <a:moveTo>
                        <a:pt x="1335963" y="628700"/>
                      </a:moveTo>
                      <a:lnTo>
                        <a:pt x="1334389" y="629920"/>
                      </a:lnTo>
                      <a:lnTo>
                        <a:pt x="1332649" y="629920"/>
                      </a:lnTo>
                      <a:lnTo>
                        <a:pt x="1333538" y="631190"/>
                      </a:lnTo>
                      <a:lnTo>
                        <a:pt x="1335074" y="631190"/>
                      </a:lnTo>
                      <a:lnTo>
                        <a:pt x="1335786" y="629920"/>
                      </a:lnTo>
                      <a:lnTo>
                        <a:pt x="1335963" y="628700"/>
                      </a:lnTo>
                      <a:close/>
                    </a:path>
                    <a:path w="1824355" h="1378585">
                      <a:moveTo>
                        <a:pt x="1336027" y="628650"/>
                      </a:moveTo>
                      <a:close/>
                    </a:path>
                    <a:path w="1824355" h="1378585">
                      <a:moveTo>
                        <a:pt x="1336294" y="627380"/>
                      </a:moveTo>
                      <a:lnTo>
                        <a:pt x="1335697" y="627380"/>
                      </a:lnTo>
                      <a:lnTo>
                        <a:pt x="1333195" y="628650"/>
                      </a:lnTo>
                      <a:lnTo>
                        <a:pt x="1334884" y="628650"/>
                      </a:lnTo>
                      <a:lnTo>
                        <a:pt x="1336294" y="627380"/>
                      </a:lnTo>
                      <a:close/>
                    </a:path>
                    <a:path w="1824355" h="1378585">
                      <a:moveTo>
                        <a:pt x="1339951" y="632460"/>
                      </a:moveTo>
                      <a:lnTo>
                        <a:pt x="1338084" y="631190"/>
                      </a:lnTo>
                      <a:lnTo>
                        <a:pt x="1339303" y="632460"/>
                      </a:lnTo>
                      <a:lnTo>
                        <a:pt x="1339951" y="632460"/>
                      </a:lnTo>
                      <a:close/>
                    </a:path>
                    <a:path w="1824355" h="1378585">
                      <a:moveTo>
                        <a:pt x="1344422" y="625005"/>
                      </a:moveTo>
                      <a:lnTo>
                        <a:pt x="1343063" y="626110"/>
                      </a:lnTo>
                      <a:lnTo>
                        <a:pt x="1337703" y="627380"/>
                      </a:lnTo>
                      <a:lnTo>
                        <a:pt x="1336586" y="627380"/>
                      </a:lnTo>
                      <a:lnTo>
                        <a:pt x="1336294" y="627380"/>
                      </a:lnTo>
                      <a:lnTo>
                        <a:pt x="1336713" y="628129"/>
                      </a:lnTo>
                      <a:lnTo>
                        <a:pt x="1336840" y="628027"/>
                      </a:lnTo>
                      <a:lnTo>
                        <a:pt x="1336763" y="628230"/>
                      </a:lnTo>
                      <a:lnTo>
                        <a:pt x="1336027" y="628650"/>
                      </a:lnTo>
                      <a:lnTo>
                        <a:pt x="1337005" y="628650"/>
                      </a:lnTo>
                      <a:lnTo>
                        <a:pt x="1338986" y="628650"/>
                      </a:lnTo>
                      <a:lnTo>
                        <a:pt x="1338592" y="629920"/>
                      </a:lnTo>
                      <a:lnTo>
                        <a:pt x="1337348" y="629920"/>
                      </a:lnTo>
                      <a:lnTo>
                        <a:pt x="1339634" y="631190"/>
                      </a:lnTo>
                      <a:lnTo>
                        <a:pt x="1341069" y="629920"/>
                      </a:lnTo>
                      <a:lnTo>
                        <a:pt x="1343063" y="627380"/>
                      </a:lnTo>
                      <a:lnTo>
                        <a:pt x="1343875" y="627380"/>
                      </a:lnTo>
                      <a:lnTo>
                        <a:pt x="1344256" y="626110"/>
                      </a:lnTo>
                      <a:lnTo>
                        <a:pt x="1344422" y="625005"/>
                      </a:lnTo>
                      <a:close/>
                    </a:path>
                    <a:path w="1824355" h="1378585">
                      <a:moveTo>
                        <a:pt x="1347863" y="26581"/>
                      </a:moveTo>
                      <a:lnTo>
                        <a:pt x="1347508" y="26543"/>
                      </a:lnTo>
                      <a:lnTo>
                        <a:pt x="1347431" y="26670"/>
                      </a:lnTo>
                      <a:lnTo>
                        <a:pt x="1347863" y="26581"/>
                      </a:lnTo>
                      <a:close/>
                    </a:path>
                    <a:path w="1824355" h="1378585">
                      <a:moveTo>
                        <a:pt x="1347952" y="638098"/>
                      </a:moveTo>
                      <a:lnTo>
                        <a:pt x="1347063" y="638505"/>
                      </a:lnTo>
                      <a:lnTo>
                        <a:pt x="1345819" y="637501"/>
                      </a:lnTo>
                      <a:lnTo>
                        <a:pt x="1344968" y="638060"/>
                      </a:lnTo>
                      <a:lnTo>
                        <a:pt x="1345031" y="638378"/>
                      </a:lnTo>
                      <a:lnTo>
                        <a:pt x="1345069" y="638721"/>
                      </a:lnTo>
                      <a:lnTo>
                        <a:pt x="1344663" y="639699"/>
                      </a:lnTo>
                      <a:lnTo>
                        <a:pt x="1344536" y="641311"/>
                      </a:lnTo>
                      <a:lnTo>
                        <a:pt x="1344295" y="642073"/>
                      </a:lnTo>
                      <a:lnTo>
                        <a:pt x="1345641" y="640892"/>
                      </a:lnTo>
                      <a:lnTo>
                        <a:pt x="1346758" y="639432"/>
                      </a:lnTo>
                      <a:lnTo>
                        <a:pt x="1347952" y="638098"/>
                      </a:lnTo>
                      <a:close/>
                    </a:path>
                    <a:path w="1824355" h="1378585">
                      <a:moveTo>
                        <a:pt x="1349006" y="24130"/>
                      </a:moveTo>
                      <a:lnTo>
                        <a:pt x="1323086" y="24130"/>
                      </a:lnTo>
                      <a:lnTo>
                        <a:pt x="1347508" y="26543"/>
                      </a:lnTo>
                      <a:lnTo>
                        <a:pt x="1349006" y="24130"/>
                      </a:lnTo>
                      <a:close/>
                    </a:path>
                    <a:path w="1824355" h="1378585">
                      <a:moveTo>
                        <a:pt x="1352867" y="633730"/>
                      </a:moveTo>
                      <a:lnTo>
                        <a:pt x="1348409" y="633730"/>
                      </a:lnTo>
                      <a:lnTo>
                        <a:pt x="1347990" y="633730"/>
                      </a:lnTo>
                      <a:lnTo>
                        <a:pt x="1346809" y="634936"/>
                      </a:lnTo>
                      <a:lnTo>
                        <a:pt x="1346200" y="636270"/>
                      </a:lnTo>
                      <a:lnTo>
                        <a:pt x="1348663" y="637540"/>
                      </a:lnTo>
                      <a:lnTo>
                        <a:pt x="1349349" y="637019"/>
                      </a:lnTo>
                      <a:lnTo>
                        <a:pt x="1349717" y="636968"/>
                      </a:lnTo>
                      <a:lnTo>
                        <a:pt x="1349883" y="636917"/>
                      </a:lnTo>
                      <a:lnTo>
                        <a:pt x="1350010" y="636879"/>
                      </a:lnTo>
                      <a:lnTo>
                        <a:pt x="1349654" y="636778"/>
                      </a:lnTo>
                      <a:lnTo>
                        <a:pt x="1350327" y="636270"/>
                      </a:lnTo>
                      <a:lnTo>
                        <a:pt x="1352867" y="633730"/>
                      </a:lnTo>
                      <a:close/>
                    </a:path>
                    <a:path w="1824355" h="1378585">
                      <a:moveTo>
                        <a:pt x="1364424" y="645896"/>
                      </a:moveTo>
                      <a:lnTo>
                        <a:pt x="1363713" y="645845"/>
                      </a:lnTo>
                      <a:lnTo>
                        <a:pt x="1363230" y="645706"/>
                      </a:lnTo>
                      <a:lnTo>
                        <a:pt x="1362532" y="645642"/>
                      </a:lnTo>
                      <a:lnTo>
                        <a:pt x="1360512" y="646036"/>
                      </a:lnTo>
                      <a:lnTo>
                        <a:pt x="1359941" y="647001"/>
                      </a:lnTo>
                      <a:lnTo>
                        <a:pt x="1358836" y="648169"/>
                      </a:lnTo>
                      <a:lnTo>
                        <a:pt x="1360195" y="648208"/>
                      </a:lnTo>
                      <a:lnTo>
                        <a:pt x="1361071" y="648169"/>
                      </a:lnTo>
                      <a:lnTo>
                        <a:pt x="1361859" y="647877"/>
                      </a:lnTo>
                      <a:lnTo>
                        <a:pt x="1362621" y="647623"/>
                      </a:lnTo>
                      <a:lnTo>
                        <a:pt x="1363294" y="647115"/>
                      </a:lnTo>
                      <a:lnTo>
                        <a:pt x="1364221" y="646137"/>
                      </a:lnTo>
                      <a:lnTo>
                        <a:pt x="1364348" y="645985"/>
                      </a:lnTo>
                      <a:close/>
                    </a:path>
                    <a:path w="1824355" h="1378585">
                      <a:moveTo>
                        <a:pt x="1369631" y="649097"/>
                      </a:moveTo>
                      <a:lnTo>
                        <a:pt x="1369504" y="648995"/>
                      </a:lnTo>
                      <a:lnTo>
                        <a:pt x="1369352" y="648766"/>
                      </a:lnTo>
                      <a:lnTo>
                        <a:pt x="1369212" y="648690"/>
                      </a:lnTo>
                      <a:lnTo>
                        <a:pt x="1369085" y="648601"/>
                      </a:lnTo>
                      <a:lnTo>
                        <a:pt x="1368945" y="648487"/>
                      </a:lnTo>
                      <a:lnTo>
                        <a:pt x="1368755" y="648385"/>
                      </a:lnTo>
                      <a:lnTo>
                        <a:pt x="1368285" y="648246"/>
                      </a:lnTo>
                      <a:lnTo>
                        <a:pt x="1367942" y="648157"/>
                      </a:lnTo>
                      <a:lnTo>
                        <a:pt x="1367409" y="648131"/>
                      </a:lnTo>
                      <a:lnTo>
                        <a:pt x="1367028" y="648131"/>
                      </a:lnTo>
                      <a:lnTo>
                        <a:pt x="1366418" y="648195"/>
                      </a:lnTo>
                      <a:lnTo>
                        <a:pt x="1365135" y="648398"/>
                      </a:lnTo>
                      <a:lnTo>
                        <a:pt x="1363814" y="648881"/>
                      </a:lnTo>
                      <a:lnTo>
                        <a:pt x="1362849" y="649071"/>
                      </a:lnTo>
                      <a:lnTo>
                        <a:pt x="1365326" y="650379"/>
                      </a:lnTo>
                      <a:lnTo>
                        <a:pt x="1365529" y="651090"/>
                      </a:lnTo>
                      <a:lnTo>
                        <a:pt x="1367472" y="648589"/>
                      </a:lnTo>
                      <a:lnTo>
                        <a:pt x="1367853" y="648639"/>
                      </a:lnTo>
                      <a:lnTo>
                        <a:pt x="1368259" y="648754"/>
                      </a:lnTo>
                      <a:lnTo>
                        <a:pt x="1368717" y="648970"/>
                      </a:lnTo>
                      <a:lnTo>
                        <a:pt x="1369161" y="649312"/>
                      </a:lnTo>
                      <a:lnTo>
                        <a:pt x="1369377" y="649058"/>
                      </a:lnTo>
                      <a:lnTo>
                        <a:pt x="1369555" y="649109"/>
                      </a:lnTo>
                      <a:close/>
                    </a:path>
                    <a:path w="1824355" h="1378585">
                      <a:moveTo>
                        <a:pt x="1381010" y="635000"/>
                      </a:moveTo>
                      <a:lnTo>
                        <a:pt x="1379613" y="633730"/>
                      </a:lnTo>
                      <a:lnTo>
                        <a:pt x="1381010" y="635000"/>
                      </a:lnTo>
                      <a:close/>
                    </a:path>
                    <a:path w="1824355" h="1378585">
                      <a:moveTo>
                        <a:pt x="1382953" y="627380"/>
                      </a:moveTo>
                      <a:lnTo>
                        <a:pt x="1382331" y="626110"/>
                      </a:lnTo>
                      <a:lnTo>
                        <a:pt x="1382953" y="627380"/>
                      </a:lnTo>
                      <a:close/>
                    </a:path>
                    <a:path w="1824355" h="1378585">
                      <a:moveTo>
                        <a:pt x="1385811" y="594042"/>
                      </a:moveTo>
                      <a:lnTo>
                        <a:pt x="1384782" y="593674"/>
                      </a:lnTo>
                      <a:lnTo>
                        <a:pt x="1384630" y="594360"/>
                      </a:lnTo>
                      <a:lnTo>
                        <a:pt x="1385811" y="594042"/>
                      </a:lnTo>
                      <a:close/>
                    </a:path>
                    <a:path w="1824355" h="1378585">
                      <a:moveTo>
                        <a:pt x="1390510" y="594360"/>
                      </a:moveTo>
                      <a:lnTo>
                        <a:pt x="1389265" y="593090"/>
                      </a:lnTo>
                      <a:lnTo>
                        <a:pt x="1385811" y="594042"/>
                      </a:lnTo>
                      <a:lnTo>
                        <a:pt x="1386713" y="594360"/>
                      </a:lnTo>
                      <a:lnTo>
                        <a:pt x="1388922" y="595630"/>
                      </a:lnTo>
                      <a:lnTo>
                        <a:pt x="1390510" y="594360"/>
                      </a:lnTo>
                      <a:close/>
                    </a:path>
                    <a:path w="1824355" h="1378585">
                      <a:moveTo>
                        <a:pt x="1401965" y="571881"/>
                      </a:moveTo>
                      <a:lnTo>
                        <a:pt x="1401889" y="571500"/>
                      </a:lnTo>
                      <a:lnTo>
                        <a:pt x="1401191" y="571500"/>
                      </a:lnTo>
                      <a:lnTo>
                        <a:pt x="1401965" y="571881"/>
                      </a:lnTo>
                      <a:close/>
                    </a:path>
                    <a:path w="1824355" h="1378585">
                      <a:moveTo>
                        <a:pt x="1451076" y="516064"/>
                      </a:moveTo>
                      <a:close/>
                    </a:path>
                    <a:path w="1824355" h="1378585">
                      <a:moveTo>
                        <a:pt x="1453845" y="19050"/>
                      </a:moveTo>
                      <a:lnTo>
                        <a:pt x="1442796" y="19050"/>
                      </a:lnTo>
                      <a:lnTo>
                        <a:pt x="1439583" y="21590"/>
                      </a:lnTo>
                      <a:lnTo>
                        <a:pt x="1446212" y="22860"/>
                      </a:lnTo>
                      <a:lnTo>
                        <a:pt x="1453845" y="19050"/>
                      </a:lnTo>
                      <a:close/>
                    </a:path>
                    <a:path w="1824355" h="1378585">
                      <a:moveTo>
                        <a:pt x="1473936" y="514350"/>
                      </a:moveTo>
                      <a:lnTo>
                        <a:pt x="1473835" y="514146"/>
                      </a:lnTo>
                      <a:lnTo>
                        <a:pt x="1473479" y="514350"/>
                      </a:lnTo>
                      <a:lnTo>
                        <a:pt x="1473936" y="514350"/>
                      </a:lnTo>
                      <a:close/>
                    </a:path>
                    <a:path w="1824355" h="1378585">
                      <a:moveTo>
                        <a:pt x="1595602" y="364490"/>
                      </a:moveTo>
                      <a:lnTo>
                        <a:pt x="1594142" y="363220"/>
                      </a:lnTo>
                      <a:lnTo>
                        <a:pt x="1592148" y="363220"/>
                      </a:lnTo>
                      <a:lnTo>
                        <a:pt x="1593862" y="364490"/>
                      </a:lnTo>
                      <a:lnTo>
                        <a:pt x="1595602" y="364490"/>
                      </a:lnTo>
                      <a:close/>
                    </a:path>
                    <a:path w="1824355" h="1378585">
                      <a:moveTo>
                        <a:pt x="1650428" y="349161"/>
                      </a:moveTo>
                      <a:lnTo>
                        <a:pt x="1649755" y="348018"/>
                      </a:lnTo>
                      <a:lnTo>
                        <a:pt x="1649539" y="347980"/>
                      </a:lnTo>
                      <a:lnTo>
                        <a:pt x="1650428" y="349161"/>
                      </a:lnTo>
                      <a:close/>
                    </a:path>
                    <a:path w="1824355" h="1378585">
                      <a:moveTo>
                        <a:pt x="1661883" y="327431"/>
                      </a:moveTo>
                      <a:lnTo>
                        <a:pt x="1655241" y="324408"/>
                      </a:lnTo>
                      <a:lnTo>
                        <a:pt x="1648015" y="322668"/>
                      </a:lnTo>
                      <a:lnTo>
                        <a:pt x="1640598" y="322046"/>
                      </a:lnTo>
                      <a:lnTo>
                        <a:pt x="1633347" y="322326"/>
                      </a:lnTo>
                      <a:lnTo>
                        <a:pt x="1633994" y="323443"/>
                      </a:lnTo>
                      <a:lnTo>
                        <a:pt x="1635442" y="324129"/>
                      </a:lnTo>
                      <a:lnTo>
                        <a:pt x="1636483" y="324878"/>
                      </a:lnTo>
                      <a:lnTo>
                        <a:pt x="1638846" y="324497"/>
                      </a:lnTo>
                      <a:lnTo>
                        <a:pt x="1641284" y="325208"/>
                      </a:lnTo>
                      <a:lnTo>
                        <a:pt x="1645793" y="325653"/>
                      </a:lnTo>
                      <a:lnTo>
                        <a:pt x="1647558" y="325539"/>
                      </a:lnTo>
                      <a:lnTo>
                        <a:pt x="1651431" y="327012"/>
                      </a:lnTo>
                      <a:lnTo>
                        <a:pt x="1653819" y="327431"/>
                      </a:lnTo>
                      <a:lnTo>
                        <a:pt x="1655775" y="327533"/>
                      </a:lnTo>
                      <a:lnTo>
                        <a:pt x="1657350" y="327609"/>
                      </a:lnTo>
                      <a:lnTo>
                        <a:pt x="1660461" y="327964"/>
                      </a:lnTo>
                      <a:lnTo>
                        <a:pt x="1661883" y="327431"/>
                      </a:lnTo>
                      <a:close/>
                    </a:path>
                    <a:path w="1824355" h="1378585">
                      <a:moveTo>
                        <a:pt x="1680184" y="347726"/>
                      </a:moveTo>
                      <a:lnTo>
                        <a:pt x="1679752" y="347383"/>
                      </a:lnTo>
                      <a:lnTo>
                        <a:pt x="1679409" y="347116"/>
                      </a:lnTo>
                      <a:lnTo>
                        <a:pt x="1678635" y="347383"/>
                      </a:lnTo>
                      <a:lnTo>
                        <a:pt x="1677098" y="346684"/>
                      </a:lnTo>
                      <a:lnTo>
                        <a:pt x="1676374" y="346024"/>
                      </a:lnTo>
                      <a:lnTo>
                        <a:pt x="1675130" y="345465"/>
                      </a:lnTo>
                      <a:lnTo>
                        <a:pt x="1674761" y="345300"/>
                      </a:lnTo>
                      <a:lnTo>
                        <a:pt x="1673644" y="344398"/>
                      </a:lnTo>
                      <a:lnTo>
                        <a:pt x="1673440" y="344233"/>
                      </a:lnTo>
                      <a:lnTo>
                        <a:pt x="1671751" y="343865"/>
                      </a:lnTo>
                      <a:lnTo>
                        <a:pt x="1671294" y="344398"/>
                      </a:lnTo>
                      <a:lnTo>
                        <a:pt x="1667281" y="342607"/>
                      </a:lnTo>
                      <a:lnTo>
                        <a:pt x="1665363" y="338937"/>
                      </a:lnTo>
                      <a:lnTo>
                        <a:pt x="1662112" y="338099"/>
                      </a:lnTo>
                      <a:lnTo>
                        <a:pt x="1660829" y="337769"/>
                      </a:lnTo>
                      <a:lnTo>
                        <a:pt x="1659470" y="337947"/>
                      </a:lnTo>
                      <a:lnTo>
                        <a:pt x="1655356" y="338099"/>
                      </a:lnTo>
                      <a:lnTo>
                        <a:pt x="1652600" y="336994"/>
                      </a:lnTo>
                      <a:lnTo>
                        <a:pt x="1648612" y="337096"/>
                      </a:lnTo>
                      <a:lnTo>
                        <a:pt x="1647736" y="337146"/>
                      </a:lnTo>
                      <a:lnTo>
                        <a:pt x="1645005" y="337769"/>
                      </a:lnTo>
                      <a:lnTo>
                        <a:pt x="1644256" y="337845"/>
                      </a:lnTo>
                      <a:lnTo>
                        <a:pt x="1644192" y="340093"/>
                      </a:lnTo>
                      <a:lnTo>
                        <a:pt x="1644802" y="342163"/>
                      </a:lnTo>
                      <a:lnTo>
                        <a:pt x="1645475" y="344792"/>
                      </a:lnTo>
                      <a:lnTo>
                        <a:pt x="1646656" y="345401"/>
                      </a:lnTo>
                      <a:lnTo>
                        <a:pt x="1648231" y="346163"/>
                      </a:lnTo>
                      <a:lnTo>
                        <a:pt x="1648688" y="345465"/>
                      </a:lnTo>
                      <a:lnTo>
                        <a:pt x="1649590" y="346417"/>
                      </a:lnTo>
                      <a:lnTo>
                        <a:pt x="1649222" y="347116"/>
                      </a:lnTo>
                      <a:lnTo>
                        <a:pt x="1649755" y="348018"/>
                      </a:lnTo>
                      <a:lnTo>
                        <a:pt x="1661185" y="350215"/>
                      </a:lnTo>
                      <a:lnTo>
                        <a:pt x="1666773" y="354926"/>
                      </a:lnTo>
                      <a:lnTo>
                        <a:pt x="1669630" y="356425"/>
                      </a:lnTo>
                      <a:lnTo>
                        <a:pt x="1676120" y="358063"/>
                      </a:lnTo>
                      <a:lnTo>
                        <a:pt x="1677377" y="357047"/>
                      </a:lnTo>
                      <a:lnTo>
                        <a:pt x="1678457" y="353695"/>
                      </a:lnTo>
                      <a:lnTo>
                        <a:pt x="1678533" y="353441"/>
                      </a:lnTo>
                      <a:lnTo>
                        <a:pt x="1678000" y="353441"/>
                      </a:lnTo>
                      <a:lnTo>
                        <a:pt x="1677568" y="353085"/>
                      </a:lnTo>
                      <a:lnTo>
                        <a:pt x="1676742" y="353098"/>
                      </a:lnTo>
                      <a:lnTo>
                        <a:pt x="1675561" y="353682"/>
                      </a:lnTo>
                      <a:lnTo>
                        <a:pt x="1674431" y="353428"/>
                      </a:lnTo>
                      <a:lnTo>
                        <a:pt x="1675638" y="353098"/>
                      </a:lnTo>
                      <a:lnTo>
                        <a:pt x="1674279" y="352082"/>
                      </a:lnTo>
                      <a:lnTo>
                        <a:pt x="1673301" y="351891"/>
                      </a:lnTo>
                      <a:lnTo>
                        <a:pt x="1672628" y="351624"/>
                      </a:lnTo>
                      <a:lnTo>
                        <a:pt x="1671777" y="351332"/>
                      </a:lnTo>
                      <a:lnTo>
                        <a:pt x="1668894" y="350875"/>
                      </a:lnTo>
                      <a:lnTo>
                        <a:pt x="1668741" y="348411"/>
                      </a:lnTo>
                      <a:lnTo>
                        <a:pt x="1670189" y="348488"/>
                      </a:lnTo>
                      <a:lnTo>
                        <a:pt x="1671002" y="348411"/>
                      </a:lnTo>
                      <a:lnTo>
                        <a:pt x="1673898" y="348157"/>
                      </a:lnTo>
                      <a:lnTo>
                        <a:pt x="1677085" y="348754"/>
                      </a:lnTo>
                      <a:lnTo>
                        <a:pt x="1678889" y="348157"/>
                      </a:lnTo>
                      <a:lnTo>
                        <a:pt x="1680184" y="347726"/>
                      </a:lnTo>
                      <a:close/>
                    </a:path>
                    <a:path w="1824355" h="1378585">
                      <a:moveTo>
                        <a:pt x="1680743" y="335965"/>
                      </a:moveTo>
                      <a:lnTo>
                        <a:pt x="1678127" y="335407"/>
                      </a:lnTo>
                      <a:lnTo>
                        <a:pt x="1676400" y="334403"/>
                      </a:lnTo>
                      <a:lnTo>
                        <a:pt x="1671078" y="333159"/>
                      </a:lnTo>
                      <a:lnTo>
                        <a:pt x="1668437" y="333006"/>
                      </a:lnTo>
                      <a:lnTo>
                        <a:pt x="1662976" y="332244"/>
                      </a:lnTo>
                      <a:lnTo>
                        <a:pt x="1661096" y="331546"/>
                      </a:lnTo>
                      <a:lnTo>
                        <a:pt x="1655622" y="333349"/>
                      </a:lnTo>
                      <a:lnTo>
                        <a:pt x="1652549" y="333286"/>
                      </a:lnTo>
                      <a:lnTo>
                        <a:pt x="1648345" y="333489"/>
                      </a:lnTo>
                      <a:lnTo>
                        <a:pt x="1642999" y="333311"/>
                      </a:lnTo>
                      <a:lnTo>
                        <a:pt x="1642300" y="334721"/>
                      </a:lnTo>
                      <a:lnTo>
                        <a:pt x="1666671" y="338289"/>
                      </a:lnTo>
                      <a:lnTo>
                        <a:pt x="1667332" y="338531"/>
                      </a:lnTo>
                      <a:lnTo>
                        <a:pt x="1668602" y="339598"/>
                      </a:lnTo>
                      <a:lnTo>
                        <a:pt x="1668945" y="340258"/>
                      </a:lnTo>
                      <a:lnTo>
                        <a:pt x="1669643" y="340931"/>
                      </a:lnTo>
                      <a:lnTo>
                        <a:pt x="1670215" y="340677"/>
                      </a:lnTo>
                      <a:lnTo>
                        <a:pt x="1670570" y="341172"/>
                      </a:lnTo>
                      <a:lnTo>
                        <a:pt x="1670138" y="341198"/>
                      </a:lnTo>
                      <a:lnTo>
                        <a:pt x="1669643" y="341426"/>
                      </a:lnTo>
                      <a:lnTo>
                        <a:pt x="1669211" y="341426"/>
                      </a:lnTo>
                      <a:lnTo>
                        <a:pt x="1671383" y="343014"/>
                      </a:lnTo>
                      <a:lnTo>
                        <a:pt x="1676196" y="341884"/>
                      </a:lnTo>
                      <a:lnTo>
                        <a:pt x="1678609" y="341452"/>
                      </a:lnTo>
                      <a:lnTo>
                        <a:pt x="1678457" y="341655"/>
                      </a:lnTo>
                      <a:lnTo>
                        <a:pt x="1678266" y="342112"/>
                      </a:lnTo>
                      <a:lnTo>
                        <a:pt x="1679105" y="342061"/>
                      </a:lnTo>
                      <a:lnTo>
                        <a:pt x="1679435" y="342226"/>
                      </a:lnTo>
                      <a:lnTo>
                        <a:pt x="1680362" y="342353"/>
                      </a:lnTo>
                      <a:lnTo>
                        <a:pt x="1680019" y="341147"/>
                      </a:lnTo>
                      <a:lnTo>
                        <a:pt x="1678444" y="338569"/>
                      </a:lnTo>
                      <a:lnTo>
                        <a:pt x="1677123" y="339026"/>
                      </a:lnTo>
                      <a:lnTo>
                        <a:pt x="1677720" y="337642"/>
                      </a:lnTo>
                      <a:lnTo>
                        <a:pt x="1679549" y="336842"/>
                      </a:lnTo>
                      <a:lnTo>
                        <a:pt x="1680743" y="335965"/>
                      </a:lnTo>
                      <a:close/>
                    </a:path>
                    <a:path w="1824355" h="1378585">
                      <a:moveTo>
                        <a:pt x="1684642" y="234950"/>
                      </a:moveTo>
                      <a:lnTo>
                        <a:pt x="1682330" y="234950"/>
                      </a:lnTo>
                      <a:lnTo>
                        <a:pt x="1680743" y="236220"/>
                      </a:lnTo>
                      <a:lnTo>
                        <a:pt x="1680870" y="236220"/>
                      </a:lnTo>
                      <a:lnTo>
                        <a:pt x="1684642" y="234950"/>
                      </a:lnTo>
                      <a:close/>
                    </a:path>
                    <a:path w="1824355" h="1378585">
                      <a:moveTo>
                        <a:pt x="1690928" y="330288"/>
                      </a:moveTo>
                      <a:lnTo>
                        <a:pt x="1689785" y="329793"/>
                      </a:lnTo>
                      <a:lnTo>
                        <a:pt x="1688477" y="329349"/>
                      </a:lnTo>
                      <a:lnTo>
                        <a:pt x="1687360" y="330123"/>
                      </a:lnTo>
                      <a:lnTo>
                        <a:pt x="1688477" y="330441"/>
                      </a:lnTo>
                      <a:lnTo>
                        <a:pt x="1689760" y="330288"/>
                      </a:lnTo>
                      <a:lnTo>
                        <a:pt x="1690928" y="330288"/>
                      </a:lnTo>
                      <a:close/>
                    </a:path>
                    <a:path w="1824355" h="1378585">
                      <a:moveTo>
                        <a:pt x="1706041" y="300088"/>
                      </a:moveTo>
                      <a:lnTo>
                        <a:pt x="1704924" y="299732"/>
                      </a:lnTo>
                      <a:lnTo>
                        <a:pt x="1703857" y="299643"/>
                      </a:lnTo>
                      <a:lnTo>
                        <a:pt x="1701660" y="297903"/>
                      </a:lnTo>
                      <a:lnTo>
                        <a:pt x="1702295" y="297205"/>
                      </a:lnTo>
                      <a:lnTo>
                        <a:pt x="1701571" y="295871"/>
                      </a:lnTo>
                      <a:lnTo>
                        <a:pt x="1700453" y="293827"/>
                      </a:lnTo>
                      <a:lnTo>
                        <a:pt x="1696300" y="294017"/>
                      </a:lnTo>
                      <a:lnTo>
                        <a:pt x="1694281" y="293471"/>
                      </a:lnTo>
                      <a:lnTo>
                        <a:pt x="1679498" y="299554"/>
                      </a:lnTo>
                      <a:lnTo>
                        <a:pt x="1680845" y="301091"/>
                      </a:lnTo>
                      <a:lnTo>
                        <a:pt x="1683727" y="300939"/>
                      </a:lnTo>
                      <a:lnTo>
                        <a:pt x="1686826" y="302107"/>
                      </a:lnTo>
                      <a:lnTo>
                        <a:pt x="1687995" y="302818"/>
                      </a:lnTo>
                      <a:lnTo>
                        <a:pt x="1690217" y="303682"/>
                      </a:lnTo>
                      <a:lnTo>
                        <a:pt x="1691119" y="303491"/>
                      </a:lnTo>
                      <a:lnTo>
                        <a:pt x="1694230" y="303326"/>
                      </a:lnTo>
                      <a:lnTo>
                        <a:pt x="1696681" y="302856"/>
                      </a:lnTo>
                      <a:lnTo>
                        <a:pt x="1701012" y="301815"/>
                      </a:lnTo>
                      <a:lnTo>
                        <a:pt x="1704022" y="301713"/>
                      </a:lnTo>
                      <a:lnTo>
                        <a:pt x="1706041" y="300088"/>
                      </a:lnTo>
                      <a:close/>
                    </a:path>
                    <a:path w="1824355" h="1378585">
                      <a:moveTo>
                        <a:pt x="1707476" y="70942"/>
                      </a:moveTo>
                      <a:lnTo>
                        <a:pt x="1705698" y="69850"/>
                      </a:lnTo>
                      <a:lnTo>
                        <a:pt x="1704911" y="72275"/>
                      </a:lnTo>
                      <a:lnTo>
                        <a:pt x="1705444" y="72390"/>
                      </a:lnTo>
                      <a:lnTo>
                        <a:pt x="1707476" y="70942"/>
                      </a:lnTo>
                      <a:close/>
                    </a:path>
                    <a:path w="1824355" h="1378585">
                      <a:moveTo>
                        <a:pt x="1709000" y="69850"/>
                      </a:moveTo>
                      <a:lnTo>
                        <a:pt x="1707476" y="70942"/>
                      </a:lnTo>
                      <a:lnTo>
                        <a:pt x="1707769" y="71120"/>
                      </a:lnTo>
                      <a:lnTo>
                        <a:pt x="1709000" y="69850"/>
                      </a:lnTo>
                      <a:close/>
                    </a:path>
                    <a:path w="1824355" h="1378585">
                      <a:moveTo>
                        <a:pt x="1712061" y="281216"/>
                      </a:moveTo>
                      <a:lnTo>
                        <a:pt x="1709902" y="280162"/>
                      </a:lnTo>
                      <a:lnTo>
                        <a:pt x="1707718" y="280009"/>
                      </a:lnTo>
                      <a:lnTo>
                        <a:pt x="1705406" y="279806"/>
                      </a:lnTo>
                      <a:lnTo>
                        <a:pt x="1706219" y="278955"/>
                      </a:lnTo>
                      <a:lnTo>
                        <a:pt x="1707222" y="278307"/>
                      </a:lnTo>
                      <a:lnTo>
                        <a:pt x="1707908" y="277329"/>
                      </a:lnTo>
                      <a:lnTo>
                        <a:pt x="1706232" y="276936"/>
                      </a:lnTo>
                      <a:lnTo>
                        <a:pt x="1704479" y="276047"/>
                      </a:lnTo>
                      <a:lnTo>
                        <a:pt x="1701838" y="276263"/>
                      </a:lnTo>
                      <a:lnTo>
                        <a:pt x="1701012" y="276669"/>
                      </a:lnTo>
                      <a:lnTo>
                        <a:pt x="1699031" y="277990"/>
                      </a:lnTo>
                      <a:lnTo>
                        <a:pt x="1699793" y="277939"/>
                      </a:lnTo>
                      <a:lnTo>
                        <a:pt x="1699780" y="280225"/>
                      </a:lnTo>
                      <a:lnTo>
                        <a:pt x="1700364" y="280276"/>
                      </a:lnTo>
                      <a:lnTo>
                        <a:pt x="1697926" y="283464"/>
                      </a:lnTo>
                      <a:lnTo>
                        <a:pt x="1698701" y="282905"/>
                      </a:lnTo>
                      <a:lnTo>
                        <a:pt x="1699818" y="283883"/>
                      </a:lnTo>
                      <a:lnTo>
                        <a:pt x="1701584" y="285419"/>
                      </a:lnTo>
                      <a:lnTo>
                        <a:pt x="1703031" y="285534"/>
                      </a:lnTo>
                      <a:lnTo>
                        <a:pt x="1705279" y="286143"/>
                      </a:lnTo>
                      <a:lnTo>
                        <a:pt x="1707476" y="284683"/>
                      </a:lnTo>
                      <a:lnTo>
                        <a:pt x="1710448" y="283362"/>
                      </a:lnTo>
                      <a:lnTo>
                        <a:pt x="1712061" y="281216"/>
                      </a:lnTo>
                      <a:close/>
                    </a:path>
                    <a:path w="1824355" h="1378585">
                      <a:moveTo>
                        <a:pt x="1717802" y="194576"/>
                      </a:moveTo>
                      <a:lnTo>
                        <a:pt x="1702587" y="190296"/>
                      </a:lnTo>
                      <a:lnTo>
                        <a:pt x="1701673" y="189903"/>
                      </a:lnTo>
                      <a:lnTo>
                        <a:pt x="1701342" y="189953"/>
                      </a:lnTo>
                      <a:lnTo>
                        <a:pt x="1700974" y="189852"/>
                      </a:lnTo>
                      <a:lnTo>
                        <a:pt x="1701241" y="190017"/>
                      </a:lnTo>
                      <a:lnTo>
                        <a:pt x="1701444" y="190233"/>
                      </a:lnTo>
                      <a:lnTo>
                        <a:pt x="1702066" y="190550"/>
                      </a:lnTo>
                      <a:lnTo>
                        <a:pt x="1702282" y="190665"/>
                      </a:lnTo>
                      <a:lnTo>
                        <a:pt x="1709242" y="193065"/>
                      </a:lnTo>
                      <a:lnTo>
                        <a:pt x="1711871" y="193763"/>
                      </a:lnTo>
                      <a:lnTo>
                        <a:pt x="1714563" y="194246"/>
                      </a:lnTo>
                      <a:lnTo>
                        <a:pt x="1716189" y="194449"/>
                      </a:lnTo>
                      <a:lnTo>
                        <a:pt x="1717802" y="194576"/>
                      </a:lnTo>
                      <a:close/>
                    </a:path>
                    <a:path w="1824355" h="1378585">
                      <a:moveTo>
                        <a:pt x="1824266" y="72390"/>
                      </a:moveTo>
                      <a:lnTo>
                        <a:pt x="1796923" y="64770"/>
                      </a:lnTo>
                      <a:lnTo>
                        <a:pt x="1790407" y="62230"/>
                      </a:lnTo>
                      <a:lnTo>
                        <a:pt x="1778990" y="60960"/>
                      </a:lnTo>
                      <a:lnTo>
                        <a:pt x="1752625" y="60960"/>
                      </a:lnTo>
                      <a:lnTo>
                        <a:pt x="1753908" y="62230"/>
                      </a:lnTo>
                      <a:lnTo>
                        <a:pt x="1744802" y="62230"/>
                      </a:lnTo>
                      <a:lnTo>
                        <a:pt x="1743760" y="64770"/>
                      </a:lnTo>
                      <a:lnTo>
                        <a:pt x="1746542" y="66040"/>
                      </a:lnTo>
                      <a:lnTo>
                        <a:pt x="1742719" y="67310"/>
                      </a:lnTo>
                      <a:lnTo>
                        <a:pt x="1740141" y="67310"/>
                      </a:lnTo>
                      <a:lnTo>
                        <a:pt x="1739252" y="69850"/>
                      </a:lnTo>
                      <a:lnTo>
                        <a:pt x="1738528" y="69850"/>
                      </a:lnTo>
                      <a:lnTo>
                        <a:pt x="1740141" y="71120"/>
                      </a:lnTo>
                      <a:lnTo>
                        <a:pt x="1742249" y="71120"/>
                      </a:lnTo>
                      <a:lnTo>
                        <a:pt x="1739874" y="72390"/>
                      </a:lnTo>
                      <a:lnTo>
                        <a:pt x="1734820" y="72390"/>
                      </a:lnTo>
                      <a:lnTo>
                        <a:pt x="1737677" y="73660"/>
                      </a:lnTo>
                      <a:lnTo>
                        <a:pt x="1734616" y="77470"/>
                      </a:lnTo>
                      <a:lnTo>
                        <a:pt x="1730209" y="77470"/>
                      </a:lnTo>
                      <a:lnTo>
                        <a:pt x="1727047" y="76200"/>
                      </a:lnTo>
                      <a:lnTo>
                        <a:pt x="1721954" y="74930"/>
                      </a:lnTo>
                      <a:lnTo>
                        <a:pt x="1717243" y="72390"/>
                      </a:lnTo>
                      <a:lnTo>
                        <a:pt x="1711375" y="74930"/>
                      </a:lnTo>
                      <a:lnTo>
                        <a:pt x="1708086" y="76200"/>
                      </a:lnTo>
                      <a:lnTo>
                        <a:pt x="1704809" y="78740"/>
                      </a:lnTo>
                      <a:lnTo>
                        <a:pt x="1704860" y="76200"/>
                      </a:lnTo>
                      <a:lnTo>
                        <a:pt x="1704467" y="73660"/>
                      </a:lnTo>
                      <a:lnTo>
                        <a:pt x="1704911" y="72275"/>
                      </a:lnTo>
                      <a:lnTo>
                        <a:pt x="1699641" y="71120"/>
                      </a:lnTo>
                      <a:lnTo>
                        <a:pt x="1695208" y="74930"/>
                      </a:lnTo>
                      <a:lnTo>
                        <a:pt x="1693659" y="74930"/>
                      </a:lnTo>
                      <a:lnTo>
                        <a:pt x="1691360" y="76200"/>
                      </a:lnTo>
                      <a:lnTo>
                        <a:pt x="1690090" y="77470"/>
                      </a:lnTo>
                      <a:lnTo>
                        <a:pt x="1687207" y="78740"/>
                      </a:lnTo>
                      <a:lnTo>
                        <a:pt x="1688223" y="78740"/>
                      </a:lnTo>
                      <a:lnTo>
                        <a:pt x="1685874" y="82550"/>
                      </a:lnTo>
                      <a:lnTo>
                        <a:pt x="1680768" y="83820"/>
                      </a:lnTo>
                      <a:lnTo>
                        <a:pt x="1672640" y="88900"/>
                      </a:lnTo>
                      <a:lnTo>
                        <a:pt x="1643037" y="107950"/>
                      </a:lnTo>
                      <a:lnTo>
                        <a:pt x="1644789" y="105410"/>
                      </a:lnTo>
                      <a:lnTo>
                        <a:pt x="1644230" y="104140"/>
                      </a:lnTo>
                      <a:lnTo>
                        <a:pt x="1647799" y="101600"/>
                      </a:lnTo>
                      <a:lnTo>
                        <a:pt x="1650682" y="102870"/>
                      </a:lnTo>
                      <a:lnTo>
                        <a:pt x="1651165" y="101600"/>
                      </a:lnTo>
                      <a:lnTo>
                        <a:pt x="1651647" y="100330"/>
                      </a:lnTo>
                      <a:lnTo>
                        <a:pt x="1652143" y="99060"/>
                      </a:lnTo>
                      <a:lnTo>
                        <a:pt x="1651749" y="99060"/>
                      </a:lnTo>
                      <a:lnTo>
                        <a:pt x="1652562" y="96520"/>
                      </a:lnTo>
                      <a:lnTo>
                        <a:pt x="1653159" y="96520"/>
                      </a:lnTo>
                      <a:lnTo>
                        <a:pt x="1655165" y="93980"/>
                      </a:lnTo>
                      <a:lnTo>
                        <a:pt x="1655838" y="93980"/>
                      </a:lnTo>
                      <a:lnTo>
                        <a:pt x="1658785" y="91440"/>
                      </a:lnTo>
                      <a:lnTo>
                        <a:pt x="1659648" y="91440"/>
                      </a:lnTo>
                      <a:lnTo>
                        <a:pt x="1660245" y="90170"/>
                      </a:lnTo>
                      <a:lnTo>
                        <a:pt x="1660855" y="88900"/>
                      </a:lnTo>
                      <a:lnTo>
                        <a:pt x="1663179" y="88900"/>
                      </a:lnTo>
                      <a:lnTo>
                        <a:pt x="1666367" y="85090"/>
                      </a:lnTo>
                      <a:lnTo>
                        <a:pt x="1664258" y="82550"/>
                      </a:lnTo>
                      <a:lnTo>
                        <a:pt x="1672209" y="82550"/>
                      </a:lnTo>
                      <a:lnTo>
                        <a:pt x="1672564" y="81280"/>
                      </a:lnTo>
                      <a:lnTo>
                        <a:pt x="1672920" y="80010"/>
                      </a:lnTo>
                      <a:lnTo>
                        <a:pt x="1673275" y="78740"/>
                      </a:lnTo>
                      <a:lnTo>
                        <a:pt x="1677936" y="70942"/>
                      </a:lnTo>
                      <a:lnTo>
                        <a:pt x="1682140" y="64770"/>
                      </a:lnTo>
                      <a:lnTo>
                        <a:pt x="1677568" y="57150"/>
                      </a:lnTo>
                      <a:lnTo>
                        <a:pt x="1676476" y="55880"/>
                      </a:lnTo>
                      <a:lnTo>
                        <a:pt x="1674164" y="54610"/>
                      </a:lnTo>
                      <a:lnTo>
                        <a:pt x="1672729" y="55880"/>
                      </a:lnTo>
                      <a:lnTo>
                        <a:pt x="1654467" y="57150"/>
                      </a:lnTo>
                      <a:lnTo>
                        <a:pt x="1651939" y="57150"/>
                      </a:lnTo>
                      <a:lnTo>
                        <a:pt x="1650492" y="58420"/>
                      </a:lnTo>
                      <a:lnTo>
                        <a:pt x="1649755" y="59690"/>
                      </a:lnTo>
                      <a:lnTo>
                        <a:pt x="1649374" y="60960"/>
                      </a:lnTo>
                      <a:lnTo>
                        <a:pt x="1649971" y="60960"/>
                      </a:lnTo>
                      <a:lnTo>
                        <a:pt x="1649641" y="62230"/>
                      </a:lnTo>
                      <a:lnTo>
                        <a:pt x="1648841" y="62230"/>
                      </a:lnTo>
                      <a:lnTo>
                        <a:pt x="1648167" y="64770"/>
                      </a:lnTo>
                      <a:lnTo>
                        <a:pt x="1648802" y="67310"/>
                      </a:lnTo>
                      <a:lnTo>
                        <a:pt x="1646097" y="68580"/>
                      </a:lnTo>
                      <a:lnTo>
                        <a:pt x="1642503" y="69850"/>
                      </a:lnTo>
                      <a:lnTo>
                        <a:pt x="1635226" y="71551"/>
                      </a:lnTo>
                      <a:lnTo>
                        <a:pt x="1635226" y="314820"/>
                      </a:lnTo>
                      <a:lnTo>
                        <a:pt x="1631937" y="313690"/>
                      </a:lnTo>
                      <a:lnTo>
                        <a:pt x="1628444" y="311150"/>
                      </a:lnTo>
                      <a:lnTo>
                        <a:pt x="1628190" y="311150"/>
                      </a:lnTo>
                      <a:lnTo>
                        <a:pt x="1624355" y="306070"/>
                      </a:lnTo>
                      <a:lnTo>
                        <a:pt x="1628686" y="309880"/>
                      </a:lnTo>
                      <a:lnTo>
                        <a:pt x="1630972" y="311150"/>
                      </a:lnTo>
                      <a:lnTo>
                        <a:pt x="1632254" y="312420"/>
                      </a:lnTo>
                      <a:lnTo>
                        <a:pt x="1635226" y="314820"/>
                      </a:lnTo>
                      <a:lnTo>
                        <a:pt x="1635226" y="71551"/>
                      </a:lnTo>
                      <a:lnTo>
                        <a:pt x="1610233" y="77393"/>
                      </a:lnTo>
                      <a:lnTo>
                        <a:pt x="1610233" y="325120"/>
                      </a:lnTo>
                      <a:lnTo>
                        <a:pt x="1609178" y="325120"/>
                      </a:lnTo>
                      <a:lnTo>
                        <a:pt x="1605876" y="323850"/>
                      </a:lnTo>
                      <a:lnTo>
                        <a:pt x="1604835" y="323850"/>
                      </a:lnTo>
                      <a:lnTo>
                        <a:pt x="1603184" y="322580"/>
                      </a:lnTo>
                      <a:lnTo>
                        <a:pt x="1601330" y="322580"/>
                      </a:lnTo>
                      <a:lnTo>
                        <a:pt x="1601114" y="321310"/>
                      </a:lnTo>
                      <a:lnTo>
                        <a:pt x="1604873" y="321310"/>
                      </a:lnTo>
                      <a:lnTo>
                        <a:pt x="1607273" y="323850"/>
                      </a:lnTo>
                      <a:lnTo>
                        <a:pt x="1610233" y="325120"/>
                      </a:lnTo>
                      <a:lnTo>
                        <a:pt x="1610233" y="77393"/>
                      </a:lnTo>
                      <a:lnTo>
                        <a:pt x="1605127" y="78574"/>
                      </a:lnTo>
                      <a:lnTo>
                        <a:pt x="1604581" y="77470"/>
                      </a:lnTo>
                      <a:lnTo>
                        <a:pt x="1604111" y="77470"/>
                      </a:lnTo>
                      <a:lnTo>
                        <a:pt x="1604111" y="79070"/>
                      </a:lnTo>
                      <a:lnTo>
                        <a:pt x="1603133" y="80010"/>
                      </a:lnTo>
                      <a:lnTo>
                        <a:pt x="1602244" y="80010"/>
                      </a:lnTo>
                      <a:lnTo>
                        <a:pt x="1604111" y="79070"/>
                      </a:lnTo>
                      <a:lnTo>
                        <a:pt x="1604111" y="77470"/>
                      </a:lnTo>
                      <a:lnTo>
                        <a:pt x="1598879" y="77470"/>
                      </a:lnTo>
                      <a:lnTo>
                        <a:pt x="1598841" y="74930"/>
                      </a:lnTo>
                      <a:lnTo>
                        <a:pt x="1608175" y="73660"/>
                      </a:lnTo>
                      <a:lnTo>
                        <a:pt x="1613547" y="72390"/>
                      </a:lnTo>
                      <a:lnTo>
                        <a:pt x="1617345" y="71120"/>
                      </a:lnTo>
                      <a:lnTo>
                        <a:pt x="1624177" y="68580"/>
                      </a:lnTo>
                      <a:lnTo>
                        <a:pt x="1628432" y="68580"/>
                      </a:lnTo>
                      <a:lnTo>
                        <a:pt x="1632419" y="66040"/>
                      </a:lnTo>
                      <a:lnTo>
                        <a:pt x="1633270" y="64770"/>
                      </a:lnTo>
                      <a:lnTo>
                        <a:pt x="1632966" y="60960"/>
                      </a:lnTo>
                      <a:lnTo>
                        <a:pt x="1632229" y="60960"/>
                      </a:lnTo>
                      <a:lnTo>
                        <a:pt x="1590979" y="58420"/>
                      </a:lnTo>
                      <a:lnTo>
                        <a:pt x="1584807" y="57365"/>
                      </a:lnTo>
                      <a:lnTo>
                        <a:pt x="1584807" y="359003"/>
                      </a:lnTo>
                      <a:lnTo>
                        <a:pt x="1584223" y="359410"/>
                      </a:lnTo>
                      <a:lnTo>
                        <a:pt x="1583410" y="359410"/>
                      </a:lnTo>
                      <a:lnTo>
                        <a:pt x="1584807" y="359003"/>
                      </a:lnTo>
                      <a:lnTo>
                        <a:pt x="1584807" y="57365"/>
                      </a:lnTo>
                      <a:lnTo>
                        <a:pt x="1583563" y="57150"/>
                      </a:lnTo>
                      <a:lnTo>
                        <a:pt x="1571840" y="59690"/>
                      </a:lnTo>
                      <a:lnTo>
                        <a:pt x="1566405" y="60960"/>
                      </a:lnTo>
                      <a:lnTo>
                        <a:pt x="1555013" y="62230"/>
                      </a:lnTo>
                      <a:lnTo>
                        <a:pt x="1549006" y="63500"/>
                      </a:lnTo>
                      <a:lnTo>
                        <a:pt x="1536471" y="64770"/>
                      </a:lnTo>
                      <a:lnTo>
                        <a:pt x="1530108" y="67310"/>
                      </a:lnTo>
                      <a:lnTo>
                        <a:pt x="1523238" y="69850"/>
                      </a:lnTo>
                      <a:lnTo>
                        <a:pt x="1521523" y="71120"/>
                      </a:lnTo>
                      <a:lnTo>
                        <a:pt x="1520977" y="68580"/>
                      </a:lnTo>
                      <a:lnTo>
                        <a:pt x="1520291" y="66040"/>
                      </a:lnTo>
                      <a:lnTo>
                        <a:pt x="1522107" y="63500"/>
                      </a:lnTo>
                      <a:lnTo>
                        <a:pt x="1525041" y="63500"/>
                      </a:lnTo>
                      <a:lnTo>
                        <a:pt x="1530273" y="62230"/>
                      </a:lnTo>
                      <a:lnTo>
                        <a:pt x="1534337" y="60960"/>
                      </a:lnTo>
                      <a:lnTo>
                        <a:pt x="1540510" y="59690"/>
                      </a:lnTo>
                      <a:lnTo>
                        <a:pt x="1547749" y="59690"/>
                      </a:lnTo>
                      <a:lnTo>
                        <a:pt x="1549692" y="58420"/>
                      </a:lnTo>
                      <a:lnTo>
                        <a:pt x="1556296" y="57150"/>
                      </a:lnTo>
                      <a:lnTo>
                        <a:pt x="1560588" y="55880"/>
                      </a:lnTo>
                      <a:lnTo>
                        <a:pt x="1564843" y="55880"/>
                      </a:lnTo>
                      <a:lnTo>
                        <a:pt x="1541640" y="50800"/>
                      </a:lnTo>
                      <a:lnTo>
                        <a:pt x="1551000" y="50800"/>
                      </a:lnTo>
                      <a:lnTo>
                        <a:pt x="1553413" y="52070"/>
                      </a:lnTo>
                      <a:lnTo>
                        <a:pt x="1565122" y="52070"/>
                      </a:lnTo>
                      <a:lnTo>
                        <a:pt x="1567078" y="53340"/>
                      </a:lnTo>
                      <a:lnTo>
                        <a:pt x="1582153" y="53340"/>
                      </a:lnTo>
                      <a:lnTo>
                        <a:pt x="1588998" y="52070"/>
                      </a:lnTo>
                      <a:lnTo>
                        <a:pt x="1603298" y="52070"/>
                      </a:lnTo>
                      <a:lnTo>
                        <a:pt x="1610753" y="53340"/>
                      </a:lnTo>
                      <a:lnTo>
                        <a:pt x="1635061" y="53340"/>
                      </a:lnTo>
                      <a:lnTo>
                        <a:pt x="1644256" y="52070"/>
                      </a:lnTo>
                      <a:lnTo>
                        <a:pt x="1648536" y="49530"/>
                      </a:lnTo>
                      <a:lnTo>
                        <a:pt x="1657578" y="46990"/>
                      </a:lnTo>
                      <a:lnTo>
                        <a:pt x="1662963" y="48260"/>
                      </a:lnTo>
                      <a:lnTo>
                        <a:pt x="1675701" y="46990"/>
                      </a:lnTo>
                      <a:lnTo>
                        <a:pt x="1682610" y="40640"/>
                      </a:lnTo>
                      <a:lnTo>
                        <a:pt x="1687195" y="38100"/>
                      </a:lnTo>
                      <a:lnTo>
                        <a:pt x="1689493" y="36830"/>
                      </a:lnTo>
                      <a:lnTo>
                        <a:pt x="1688045" y="35560"/>
                      </a:lnTo>
                      <a:lnTo>
                        <a:pt x="1684883" y="35560"/>
                      </a:lnTo>
                      <a:lnTo>
                        <a:pt x="1681454" y="33020"/>
                      </a:lnTo>
                      <a:lnTo>
                        <a:pt x="1679295" y="34290"/>
                      </a:lnTo>
                      <a:lnTo>
                        <a:pt x="1674812" y="31750"/>
                      </a:lnTo>
                      <a:lnTo>
                        <a:pt x="1671739" y="30480"/>
                      </a:lnTo>
                      <a:lnTo>
                        <a:pt x="1650542" y="31750"/>
                      </a:lnTo>
                      <a:lnTo>
                        <a:pt x="1652333" y="30480"/>
                      </a:lnTo>
                      <a:lnTo>
                        <a:pt x="1652625" y="30480"/>
                      </a:lnTo>
                      <a:lnTo>
                        <a:pt x="1650568" y="25400"/>
                      </a:lnTo>
                      <a:lnTo>
                        <a:pt x="1647367" y="26670"/>
                      </a:lnTo>
                      <a:lnTo>
                        <a:pt x="1640116" y="26670"/>
                      </a:lnTo>
                      <a:lnTo>
                        <a:pt x="1635150" y="29210"/>
                      </a:lnTo>
                      <a:lnTo>
                        <a:pt x="1631137" y="29210"/>
                      </a:lnTo>
                      <a:lnTo>
                        <a:pt x="1633994" y="27940"/>
                      </a:lnTo>
                      <a:lnTo>
                        <a:pt x="1635620" y="26670"/>
                      </a:lnTo>
                      <a:lnTo>
                        <a:pt x="1636661" y="25400"/>
                      </a:lnTo>
                      <a:lnTo>
                        <a:pt x="1638681" y="24130"/>
                      </a:lnTo>
                      <a:lnTo>
                        <a:pt x="1639709" y="24130"/>
                      </a:lnTo>
                      <a:lnTo>
                        <a:pt x="1638566" y="21590"/>
                      </a:lnTo>
                      <a:lnTo>
                        <a:pt x="1636598" y="20320"/>
                      </a:lnTo>
                      <a:lnTo>
                        <a:pt x="1632623" y="16510"/>
                      </a:lnTo>
                      <a:lnTo>
                        <a:pt x="1630451" y="17780"/>
                      </a:lnTo>
                      <a:lnTo>
                        <a:pt x="1628241" y="18186"/>
                      </a:lnTo>
                      <a:lnTo>
                        <a:pt x="1628241" y="30480"/>
                      </a:lnTo>
                      <a:lnTo>
                        <a:pt x="1625777" y="31750"/>
                      </a:lnTo>
                      <a:lnTo>
                        <a:pt x="1623758" y="30480"/>
                      </a:lnTo>
                      <a:lnTo>
                        <a:pt x="1628241" y="30480"/>
                      </a:lnTo>
                      <a:lnTo>
                        <a:pt x="1628241" y="18186"/>
                      </a:lnTo>
                      <a:lnTo>
                        <a:pt x="1623479" y="19050"/>
                      </a:lnTo>
                      <a:lnTo>
                        <a:pt x="1618640" y="20320"/>
                      </a:lnTo>
                      <a:lnTo>
                        <a:pt x="1577416" y="19050"/>
                      </a:lnTo>
                      <a:lnTo>
                        <a:pt x="1571040" y="17780"/>
                      </a:lnTo>
                      <a:lnTo>
                        <a:pt x="1561820" y="19050"/>
                      </a:lnTo>
                      <a:lnTo>
                        <a:pt x="1559394" y="20320"/>
                      </a:lnTo>
                      <a:lnTo>
                        <a:pt x="1553476" y="20320"/>
                      </a:lnTo>
                      <a:lnTo>
                        <a:pt x="1551457" y="21590"/>
                      </a:lnTo>
                      <a:lnTo>
                        <a:pt x="1548777" y="21590"/>
                      </a:lnTo>
                      <a:lnTo>
                        <a:pt x="1531264" y="24130"/>
                      </a:lnTo>
                      <a:lnTo>
                        <a:pt x="1522374" y="24130"/>
                      </a:lnTo>
                      <a:lnTo>
                        <a:pt x="1513738" y="25400"/>
                      </a:lnTo>
                      <a:lnTo>
                        <a:pt x="1510944" y="26670"/>
                      </a:lnTo>
                      <a:lnTo>
                        <a:pt x="1511668" y="27940"/>
                      </a:lnTo>
                      <a:lnTo>
                        <a:pt x="1508061" y="30480"/>
                      </a:lnTo>
                      <a:lnTo>
                        <a:pt x="1507210" y="29210"/>
                      </a:lnTo>
                      <a:lnTo>
                        <a:pt x="1503502" y="27940"/>
                      </a:lnTo>
                      <a:lnTo>
                        <a:pt x="1501482" y="27940"/>
                      </a:lnTo>
                      <a:lnTo>
                        <a:pt x="1496606" y="26670"/>
                      </a:lnTo>
                      <a:lnTo>
                        <a:pt x="1494510" y="26670"/>
                      </a:lnTo>
                      <a:lnTo>
                        <a:pt x="1489329" y="27940"/>
                      </a:lnTo>
                      <a:lnTo>
                        <a:pt x="1487855" y="30480"/>
                      </a:lnTo>
                      <a:lnTo>
                        <a:pt x="1485468" y="31750"/>
                      </a:lnTo>
                      <a:lnTo>
                        <a:pt x="1485696" y="30480"/>
                      </a:lnTo>
                      <a:lnTo>
                        <a:pt x="1487170" y="30480"/>
                      </a:lnTo>
                      <a:lnTo>
                        <a:pt x="1487271" y="30035"/>
                      </a:lnTo>
                      <a:lnTo>
                        <a:pt x="1486916" y="27940"/>
                      </a:lnTo>
                      <a:lnTo>
                        <a:pt x="1486458" y="27940"/>
                      </a:lnTo>
                      <a:lnTo>
                        <a:pt x="1485341" y="26670"/>
                      </a:lnTo>
                      <a:lnTo>
                        <a:pt x="1484693" y="26670"/>
                      </a:lnTo>
                      <a:lnTo>
                        <a:pt x="1488122" y="25400"/>
                      </a:lnTo>
                      <a:lnTo>
                        <a:pt x="1491729" y="26670"/>
                      </a:lnTo>
                      <a:lnTo>
                        <a:pt x="1498866" y="25400"/>
                      </a:lnTo>
                      <a:lnTo>
                        <a:pt x="1509433" y="25400"/>
                      </a:lnTo>
                      <a:lnTo>
                        <a:pt x="1512303" y="24130"/>
                      </a:lnTo>
                      <a:lnTo>
                        <a:pt x="1517205" y="22860"/>
                      </a:lnTo>
                      <a:lnTo>
                        <a:pt x="1524139" y="22860"/>
                      </a:lnTo>
                      <a:lnTo>
                        <a:pt x="1521929" y="20320"/>
                      </a:lnTo>
                      <a:lnTo>
                        <a:pt x="1518069" y="20320"/>
                      </a:lnTo>
                      <a:lnTo>
                        <a:pt x="1515783" y="17780"/>
                      </a:lnTo>
                      <a:lnTo>
                        <a:pt x="1522069" y="17780"/>
                      </a:lnTo>
                      <a:lnTo>
                        <a:pt x="1528267" y="20320"/>
                      </a:lnTo>
                      <a:lnTo>
                        <a:pt x="1539532" y="21590"/>
                      </a:lnTo>
                      <a:lnTo>
                        <a:pt x="1544078" y="20320"/>
                      </a:lnTo>
                      <a:lnTo>
                        <a:pt x="1554226" y="19050"/>
                      </a:lnTo>
                      <a:lnTo>
                        <a:pt x="1558950" y="17780"/>
                      </a:lnTo>
                      <a:lnTo>
                        <a:pt x="1569580" y="16510"/>
                      </a:lnTo>
                      <a:lnTo>
                        <a:pt x="1575130" y="16510"/>
                      </a:lnTo>
                      <a:lnTo>
                        <a:pt x="1585099" y="17780"/>
                      </a:lnTo>
                      <a:lnTo>
                        <a:pt x="1609890" y="17780"/>
                      </a:lnTo>
                      <a:lnTo>
                        <a:pt x="1618119" y="16510"/>
                      </a:lnTo>
                      <a:lnTo>
                        <a:pt x="1620062" y="16510"/>
                      </a:lnTo>
                      <a:lnTo>
                        <a:pt x="1623529" y="15240"/>
                      </a:lnTo>
                      <a:lnTo>
                        <a:pt x="1625384" y="13970"/>
                      </a:lnTo>
                      <a:lnTo>
                        <a:pt x="1627174" y="12700"/>
                      </a:lnTo>
                      <a:lnTo>
                        <a:pt x="1611896" y="10160"/>
                      </a:lnTo>
                      <a:lnTo>
                        <a:pt x="1588973" y="6350"/>
                      </a:lnTo>
                      <a:lnTo>
                        <a:pt x="1558417" y="1270"/>
                      </a:lnTo>
                      <a:lnTo>
                        <a:pt x="1556727" y="1270"/>
                      </a:lnTo>
                      <a:lnTo>
                        <a:pt x="1523276" y="0"/>
                      </a:lnTo>
                      <a:lnTo>
                        <a:pt x="1518513" y="1270"/>
                      </a:lnTo>
                      <a:lnTo>
                        <a:pt x="1509966" y="1270"/>
                      </a:lnTo>
                      <a:lnTo>
                        <a:pt x="1508747" y="1587"/>
                      </a:lnTo>
                      <a:lnTo>
                        <a:pt x="1508747" y="6350"/>
                      </a:lnTo>
                      <a:lnTo>
                        <a:pt x="1506842" y="4064"/>
                      </a:lnTo>
                      <a:lnTo>
                        <a:pt x="1508023" y="5080"/>
                      </a:lnTo>
                      <a:lnTo>
                        <a:pt x="1508747" y="6350"/>
                      </a:lnTo>
                      <a:lnTo>
                        <a:pt x="1508747" y="1587"/>
                      </a:lnTo>
                      <a:lnTo>
                        <a:pt x="1505089" y="2540"/>
                      </a:lnTo>
                      <a:lnTo>
                        <a:pt x="1506524" y="3784"/>
                      </a:lnTo>
                      <a:lnTo>
                        <a:pt x="1500987" y="2540"/>
                      </a:lnTo>
                      <a:lnTo>
                        <a:pt x="1496034" y="1270"/>
                      </a:lnTo>
                      <a:lnTo>
                        <a:pt x="1495272" y="2540"/>
                      </a:lnTo>
                      <a:lnTo>
                        <a:pt x="1492262" y="3810"/>
                      </a:lnTo>
                      <a:lnTo>
                        <a:pt x="1483956" y="3810"/>
                      </a:lnTo>
                      <a:lnTo>
                        <a:pt x="1483956" y="504190"/>
                      </a:lnTo>
                      <a:lnTo>
                        <a:pt x="1482826" y="504190"/>
                      </a:lnTo>
                      <a:lnTo>
                        <a:pt x="1479384" y="500380"/>
                      </a:lnTo>
                      <a:lnTo>
                        <a:pt x="1482610" y="502920"/>
                      </a:lnTo>
                      <a:lnTo>
                        <a:pt x="1483956" y="504190"/>
                      </a:lnTo>
                      <a:lnTo>
                        <a:pt x="1483956" y="3810"/>
                      </a:lnTo>
                      <a:lnTo>
                        <a:pt x="1479346" y="2540"/>
                      </a:lnTo>
                      <a:lnTo>
                        <a:pt x="1473873" y="3810"/>
                      </a:lnTo>
                      <a:lnTo>
                        <a:pt x="1466342" y="3810"/>
                      </a:lnTo>
                      <a:lnTo>
                        <a:pt x="1467967" y="5080"/>
                      </a:lnTo>
                      <a:lnTo>
                        <a:pt x="1466215" y="5080"/>
                      </a:lnTo>
                      <a:lnTo>
                        <a:pt x="1467878" y="6350"/>
                      </a:lnTo>
                      <a:lnTo>
                        <a:pt x="1471510" y="7620"/>
                      </a:lnTo>
                      <a:lnTo>
                        <a:pt x="1471536" y="10160"/>
                      </a:lnTo>
                      <a:lnTo>
                        <a:pt x="1465554" y="8890"/>
                      </a:lnTo>
                      <a:lnTo>
                        <a:pt x="1456347" y="2540"/>
                      </a:lnTo>
                      <a:lnTo>
                        <a:pt x="1448231" y="8890"/>
                      </a:lnTo>
                      <a:lnTo>
                        <a:pt x="1455597" y="10160"/>
                      </a:lnTo>
                      <a:lnTo>
                        <a:pt x="1445856" y="8890"/>
                      </a:lnTo>
                      <a:lnTo>
                        <a:pt x="1441919" y="7620"/>
                      </a:lnTo>
                      <a:lnTo>
                        <a:pt x="1438021" y="7620"/>
                      </a:lnTo>
                      <a:lnTo>
                        <a:pt x="1440243" y="10160"/>
                      </a:lnTo>
                      <a:lnTo>
                        <a:pt x="1436839" y="13970"/>
                      </a:lnTo>
                      <a:lnTo>
                        <a:pt x="1443647" y="16510"/>
                      </a:lnTo>
                      <a:lnTo>
                        <a:pt x="1446542" y="15240"/>
                      </a:lnTo>
                      <a:lnTo>
                        <a:pt x="1451343" y="16510"/>
                      </a:lnTo>
                      <a:lnTo>
                        <a:pt x="1459001" y="19050"/>
                      </a:lnTo>
                      <a:lnTo>
                        <a:pt x="1462354" y="17780"/>
                      </a:lnTo>
                      <a:lnTo>
                        <a:pt x="1465541" y="17780"/>
                      </a:lnTo>
                      <a:lnTo>
                        <a:pt x="1461935" y="19050"/>
                      </a:lnTo>
                      <a:lnTo>
                        <a:pt x="1459001" y="19050"/>
                      </a:lnTo>
                      <a:lnTo>
                        <a:pt x="1453845" y="19050"/>
                      </a:lnTo>
                      <a:lnTo>
                        <a:pt x="1460220" y="22860"/>
                      </a:lnTo>
                      <a:lnTo>
                        <a:pt x="1458175" y="22860"/>
                      </a:lnTo>
                      <a:lnTo>
                        <a:pt x="1456182" y="21590"/>
                      </a:lnTo>
                      <a:lnTo>
                        <a:pt x="1452143" y="21590"/>
                      </a:lnTo>
                      <a:lnTo>
                        <a:pt x="1450162" y="22860"/>
                      </a:lnTo>
                      <a:lnTo>
                        <a:pt x="1446212" y="22860"/>
                      </a:lnTo>
                      <a:lnTo>
                        <a:pt x="1443774" y="22860"/>
                      </a:lnTo>
                      <a:lnTo>
                        <a:pt x="1438109" y="21590"/>
                      </a:lnTo>
                      <a:lnTo>
                        <a:pt x="1433982" y="24130"/>
                      </a:lnTo>
                      <a:lnTo>
                        <a:pt x="1435214" y="25400"/>
                      </a:lnTo>
                      <a:lnTo>
                        <a:pt x="1437398" y="25400"/>
                      </a:lnTo>
                      <a:lnTo>
                        <a:pt x="1439138" y="26670"/>
                      </a:lnTo>
                      <a:lnTo>
                        <a:pt x="1438744" y="26670"/>
                      </a:lnTo>
                      <a:lnTo>
                        <a:pt x="1439608" y="29210"/>
                      </a:lnTo>
                      <a:lnTo>
                        <a:pt x="1440040" y="29210"/>
                      </a:lnTo>
                      <a:lnTo>
                        <a:pt x="1441742" y="30480"/>
                      </a:lnTo>
                      <a:lnTo>
                        <a:pt x="1441856" y="31750"/>
                      </a:lnTo>
                      <a:lnTo>
                        <a:pt x="1441221" y="31750"/>
                      </a:lnTo>
                      <a:lnTo>
                        <a:pt x="1439862" y="30480"/>
                      </a:lnTo>
                      <a:lnTo>
                        <a:pt x="1437500" y="30480"/>
                      </a:lnTo>
                      <a:lnTo>
                        <a:pt x="1436751" y="29210"/>
                      </a:lnTo>
                      <a:lnTo>
                        <a:pt x="1435074" y="26670"/>
                      </a:lnTo>
                      <a:lnTo>
                        <a:pt x="1432775" y="26670"/>
                      </a:lnTo>
                      <a:lnTo>
                        <a:pt x="1429804" y="25400"/>
                      </a:lnTo>
                      <a:lnTo>
                        <a:pt x="1428419" y="24130"/>
                      </a:lnTo>
                      <a:lnTo>
                        <a:pt x="1421853" y="24130"/>
                      </a:lnTo>
                      <a:lnTo>
                        <a:pt x="1415643" y="25400"/>
                      </a:lnTo>
                      <a:lnTo>
                        <a:pt x="1407579" y="21590"/>
                      </a:lnTo>
                      <a:lnTo>
                        <a:pt x="1404073" y="20320"/>
                      </a:lnTo>
                      <a:lnTo>
                        <a:pt x="1403223" y="19050"/>
                      </a:lnTo>
                      <a:lnTo>
                        <a:pt x="1399540" y="19050"/>
                      </a:lnTo>
                      <a:lnTo>
                        <a:pt x="1396898" y="20320"/>
                      </a:lnTo>
                      <a:lnTo>
                        <a:pt x="1394345" y="19050"/>
                      </a:lnTo>
                      <a:lnTo>
                        <a:pt x="1394866" y="19050"/>
                      </a:lnTo>
                      <a:lnTo>
                        <a:pt x="1397965" y="16510"/>
                      </a:lnTo>
                      <a:lnTo>
                        <a:pt x="1394980" y="15240"/>
                      </a:lnTo>
                      <a:lnTo>
                        <a:pt x="1392491" y="15240"/>
                      </a:lnTo>
                      <a:lnTo>
                        <a:pt x="1374508" y="13970"/>
                      </a:lnTo>
                      <a:lnTo>
                        <a:pt x="1372666" y="13970"/>
                      </a:lnTo>
                      <a:lnTo>
                        <a:pt x="1369212" y="15240"/>
                      </a:lnTo>
                      <a:lnTo>
                        <a:pt x="1366977" y="15240"/>
                      </a:lnTo>
                      <a:lnTo>
                        <a:pt x="1364830" y="16510"/>
                      </a:lnTo>
                      <a:lnTo>
                        <a:pt x="1369847" y="17780"/>
                      </a:lnTo>
                      <a:lnTo>
                        <a:pt x="1375283" y="17780"/>
                      </a:lnTo>
                      <a:lnTo>
                        <a:pt x="1375600" y="17945"/>
                      </a:lnTo>
                      <a:lnTo>
                        <a:pt x="1370558" y="19050"/>
                      </a:lnTo>
                      <a:lnTo>
                        <a:pt x="1367497" y="19050"/>
                      </a:lnTo>
                      <a:lnTo>
                        <a:pt x="1345844" y="17780"/>
                      </a:lnTo>
                      <a:lnTo>
                        <a:pt x="1341539" y="17780"/>
                      </a:lnTo>
                      <a:lnTo>
                        <a:pt x="1344231" y="20320"/>
                      </a:lnTo>
                      <a:lnTo>
                        <a:pt x="1347025" y="20320"/>
                      </a:lnTo>
                      <a:lnTo>
                        <a:pt x="1349349" y="21590"/>
                      </a:lnTo>
                      <a:lnTo>
                        <a:pt x="1350479" y="22860"/>
                      </a:lnTo>
                      <a:lnTo>
                        <a:pt x="1358011" y="24130"/>
                      </a:lnTo>
                      <a:lnTo>
                        <a:pt x="1363954" y="25400"/>
                      </a:lnTo>
                      <a:lnTo>
                        <a:pt x="1372108" y="26670"/>
                      </a:lnTo>
                      <a:lnTo>
                        <a:pt x="1365161" y="26670"/>
                      </a:lnTo>
                      <a:lnTo>
                        <a:pt x="1359192" y="25400"/>
                      </a:lnTo>
                      <a:lnTo>
                        <a:pt x="1353235" y="25400"/>
                      </a:lnTo>
                      <a:lnTo>
                        <a:pt x="1347863" y="26581"/>
                      </a:lnTo>
                      <a:lnTo>
                        <a:pt x="1413179" y="33020"/>
                      </a:lnTo>
                      <a:lnTo>
                        <a:pt x="1417866" y="33020"/>
                      </a:lnTo>
                      <a:lnTo>
                        <a:pt x="1422641" y="34290"/>
                      </a:lnTo>
                      <a:lnTo>
                        <a:pt x="1422996" y="34290"/>
                      </a:lnTo>
                      <a:lnTo>
                        <a:pt x="1423708" y="38100"/>
                      </a:lnTo>
                      <a:lnTo>
                        <a:pt x="1422806" y="36830"/>
                      </a:lnTo>
                      <a:lnTo>
                        <a:pt x="1421066" y="39370"/>
                      </a:lnTo>
                      <a:lnTo>
                        <a:pt x="1423479" y="39370"/>
                      </a:lnTo>
                      <a:lnTo>
                        <a:pt x="1424990" y="40640"/>
                      </a:lnTo>
                      <a:lnTo>
                        <a:pt x="1422590" y="41910"/>
                      </a:lnTo>
                      <a:lnTo>
                        <a:pt x="1425816" y="46990"/>
                      </a:lnTo>
                      <a:lnTo>
                        <a:pt x="1422323" y="44450"/>
                      </a:lnTo>
                      <a:lnTo>
                        <a:pt x="1420952" y="44450"/>
                      </a:lnTo>
                      <a:lnTo>
                        <a:pt x="1419733" y="43180"/>
                      </a:lnTo>
                      <a:lnTo>
                        <a:pt x="1421257" y="41910"/>
                      </a:lnTo>
                      <a:lnTo>
                        <a:pt x="1421053" y="40640"/>
                      </a:lnTo>
                      <a:lnTo>
                        <a:pt x="1421142" y="41910"/>
                      </a:lnTo>
                      <a:lnTo>
                        <a:pt x="1418590" y="39370"/>
                      </a:lnTo>
                      <a:lnTo>
                        <a:pt x="1415923" y="38100"/>
                      </a:lnTo>
                      <a:lnTo>
                        <a:pt x="1412430" y="38100"/>
                      </a:lnTo>
                      <a:lnTo>
                        <a:pt x="1411706" y="36830"/>
                      </a:lnTo>
                      <a:lnTo>
                        <a:pt x="1407261" y="35560"/>
                      </a:lnTo>
                      <a:lnTo>
                        <a:pt x="1406080" y="34747"/>
                      </a:lnTo>
                      <a:lnTo>
                        <a:pt x="1406080" y="533400"/>
                      </a:lnTo>
                      <a:lnTo>
                        <a:pt x="1405559" y="533400"/>
                      </a:lnTo>
                      <a:lnTo>
                        <a:pt x="1405978" y="532130"/>
                      </a:lnTo>
                      <a:lnTo>
                        <a:pt x="1406080" y="533400"/>
                      </a:lnTo>
                      <a:lnTo>
                        <a:pt x="1406080" y="34747"/>
                      </a:lnTo>
                      <a:lnTo>
                        <a:pt x="1403616" y="33020"/>
                      </a:lnTo>
                      <a:lnTo>
                        <a:pt x="1399159" y="33020"/>
                      </a:lnTo>
                      <a:lnTo>
                        <a:pt x="1396276" y="31750"/>
                      </a:lnTo>
                      <a:lnTo>
                        <a:pt x="1396834" y="34290"/>
                      </a:lnTo>
                      <a:lnTo>
                        <a:pt x="1398168" y="35560"/>
                      </a:lnTo>
                      <a:lnTo>
                        <a:pt x="1398739" y="38100"/>
                      </a:lnTo>
                      <a:lnTo>
                        <a:pt x="1399755" y="41910"/>
                      </a:lnTo>
                      <a:lnTo>
                        <a:pt x="1396733" y="40640"/>
                      </a:lnTo>
                      <a:lnTo>
                        <a:pt x="1395463" y="39370"/>
                      </a:lnTo>
                      <a:lnTo>
                        <a:pt x="1395082" y="39370"/>
                      </a:lnTo>
                      <a:lnTo>
                        <a:pt x="1394561" y="38100"/>
                      </a:lnTo>
                      <a:lnTo>
                        <a:pt x="1396669" y="36830"/>
                      </a:lnTo>
                      <a:lnTo>
                        <a:pt x="1393101" y="31750"/>
                      </a:lnTo>
                      <a:lnTo>
                        <a:pt x="1386636" y="30480"/>
                      </a:lnTo>
                      <a:lnTo>
                        <a:pt x="1370558" y="30480"/>
                      </a:lnTo>
                      <a:lnTo>
                        <a:pt x="1364932" y="31750"/>
                      </a:lnTo>
                      <a:lnTo>
                        <a:pt x="1349082" y="31750"/>
                      </a:lnTo>
                      <a:lnTo>
                        <a:pt x="1343494" y="30480"/>
                      </a:lnTo>
                      <a:lnTo>
                        <a:pt x="1364640" y="45720"/>
                      </a:lnTo>
                      <a:lnTo>
                        <a:pt x="1365923" y="46990"/>
                      </a:lnTo>
                      <a:lnTo>
                        <a:pt x="1374317" y="48260"/>
                      </a:lnTo>
                      <a:lnTo>
                        <a:pt x="1388795" y="50800"/>
                      </a:lnTo>
                      <a:lnTo>
                        <a:pt x="1384896" y="50800"/>
                      </a:lnTo>
                      <a:lnTo>
                        <a:pt x="1380883" y="49530"/>
                      </a:lnTo>
                      <a:lnTo>
                        <a:pt x="1372311" y="49530"/>
                      </a:lnTo>
                      <a:lnTo>
                        <a:pt x="1368488" y="48260"/>
                      </a:lnTo>
                      <a:lnTo>
                        <a:pt x="1363040" y="46990"/>
                      </a:lnTo>
                      <a:lnTo>
                        <a:pt x="1352867" y="48260"/>
                      </a:lnTo>
                      <a:lnTo>
                        <a:pt x="1355890" y="52070"/>
                      </a:lnTo>
                      <a:lnTo>
                        <a:pt x="1357045" y="53340"/>
                      </a:lnTo>
                      <a:lnTo>
                        <a:pt x="1358950" y="55880"/>
                      </a:lnTo>
                      <a:lnTo>
                        <a:pt x="1356842" y="54610"/>
                      </a:lnTo>
                      <a:lnTo>
                        <a:pt x="1355623" y="58420"/>
                      </a:lnTo>
                      <a:lnTo>
                        <a:pt x="1359357" y="62230"/>
                      </a:lnTo>
                      <a:lnTo>
                        <a:pt x="1359776" y="64770"/>
                      </a:lnTo>
                      <a:lnTo>
                        <a:pt x="1358353" y="64770"/>
                      </a:lnTo>
                      <a:lnTo>
                        <a:pt x="1357642" y="65532"/>
                      </a:lnTo>
                      <a:lnTo>
                        <a:pt x="1357642" y="635000"/>
                      </a:lnTo>
                      <a:lnTo>
                        <a:pt x="1356741" y="636270"/>
                      </a:lnTo>
                      <a:lnTo>
                        <a:pt x="1354543" y="638810"/>
                      </a:lnTo>
                      <a:lnTo>
                        <a:pt x="1352499" y="641350"/>
                      </a:lnTo>
                      <a:lnTo>
                        <a:pt x="1351876" y="641350"/>
                      </a:lnTo>
                      <a:lnTo>
                        <a:pt x="1355928" y="636270"/>
                      </a:lnTo>
                      <a:lnTo>
                        <a:pt x="1357642" y="635000"/>
                      </a:lnTo>
                      <a:lnTo>
                        <a:pt x="1357642" y="65532"/>
                      </a:lnTo>
                      <a:lnTo>
                        <a:pt x="1357160" y="66040"/>
                      </a:lnTo>
                      <a:lnTo>
                        <a:pt x="1354480" y="67310"/>
                      </a:lnTo>
                      <a:lnTo>
                        <a:pt x="1354213" y="66040"/>
                      </a:lnTo>
                      <a:lnTo>
                        <a:pt x="1349286" y="66040"/>
                      </a:lnTo>
                      <a:lnTo>
                        <a:pt x="1345425" y="63500"/>
                      </a:lnTo>
                      <a:lnTo>
                        <a:pt x="1344231" y="63500"/>
                      </a:lnTo>
                      <a:lnTo>
                        <a:pt x="1342339" y="62230"/>
                      </a:lnTo>
                      <a:lnTo>
                        <a:pt x="1341158" y="61442"/>
                      </a:lnTo>
                      <a:lnTo>
                        <a:pt x="1341158" y="622300"/>
                      </a:lnTo>
                      <a:lnTo>
                        <a:pt x="1339684" y="622300"/>
                      </a:lnTo>
                      <a:lnTo>
                        <a:pt x="1338808" y="623570"/>
                      </a:lnTo>
                      <a:lnTo>
                        <a:pt x="1338072" y="623570"/>
                      </a:lnTo>
                      <a:lnTo>
                        <a:pt x="1337741" y="623887"/>
                      </a:lnTo>
                      <a:lnTo>
                        <a:pt x="1337513" y="623570"/>
                      </a:lnTo>
                      <a:lnTo>
                        <a:pt x="1336560" y="622300"/>
                      </a:lnTo>
                      <a:lnTo>
                        <a:pt x="1338516" y="622300"/>
                      </a:lnTo>
                      <a:lnTo>
                        <a:pt x="1337271" y="621030"/>
                      </a:lnTo>
                      <a:lnTo>
                        <a:pt x="1335112" y="619760"/>
                      </a:lnTo>
                      <a:lnTo>
                        <a:pt x="1337030" y="619760"/>
                      </a:lnTo>
                      <a:lnTo>
                        <a:pt x="1338287" y="618490"/>
                      </a:lnTo>
                      <a:lnTo>
                        <a:pt x="1338541" y="617220"/>
                      </a:lnTo>
                      <a:lnTo>
                        <a:pt x="1339659" y="618490"/>
                      </a:lnTo>
                      <a:lnTo>
                        <a:pt x="1339405" y="618490"/>
                      </a:lnTo>
                      <a:lnTo>
                        <a:pt x="1337614" y="619760"/>
                      </a:lnTo>
                      <a:lnTo>
                        <a:pt x="1337868" y="621030"/>
                      </a:lnTo>
                      <a:lnTo>
                        <a:pt x="1340332" y="621030"/>
                      </a:lnTo>
                      <a:lnTo>
                        <a:pt x="1341158" y="622300"/>
                      </a:lnTo>
                      <a:lnTo>
                        <a:pt x="1341158" y="61442"/>
                      </a:lnTo>
                      <a:lnTo>
                        <a:pt x="1340446" y="60960"/>
                      </a:lnTo>
                      <a:lnTo>
                        <a:pt x="1337818" y="60960"/>
                      </a:lnTo>
                      <a:lnTo>
                        <a:pt x="1335824" y="59690"/>
                      </a:lnTo>
                      <a:lnTo>
                        <a:pt x="1336040" y="59690"/>
                      </a:lnTo>
                      <a:lnTo>
                        <a:pt x="1336268" y="58420"/>
                      </a:lnTo>
                      <a:lnTo>
                        <a:pt x="1335811" y="57150"/>
                      </a:lnTo>
                      <a:lnTo>
                        <a:pt x="1335227" y="57150"/>
                      </a:lnTo>
                      <a:lnTo>
                        <a:pt x="1333093" y="55880"/>
                      </a:lnTo>
                      <a:lnTo>
                        <a:pt x="1331480" y="54610"/>
                      </a:lnTo>
                      <a:lnTo>
                        <a:pt x="1325194" y="54610"/>
                      </a:lnTo>
                      <a:lnTo>
                        <a:pt x="1321892" y="53340"/>
                      </a:lnTo>
                      <a:lnTo>
                        <a:pt x="1318602" y="52070"/>
                      </a:lnTo>
                      <a:lnTo>
                        <a:pt x="1315605" y="52070"/>
                      </a:lnTo>
                      <a:lnTo>
                        <a:pt x="1313522" y="53340"/>
                      </a:lnTo>
                      <a:lnTo>
                        <a:pt x="1312608" y="52070"/>
                      </a:lnTo>
                      <a:lnTo>
                        <a:pt x="1314056" y="50800"/>
                      </a:lnTo>
                      <a:lnTo>
                        <a:pt x="1311516" y="49530"/>
                      </a:lnTo>
                      <a:lnTo>
                        <a:pt x="1309878" y="49530"/>
                      </a:lnTo>
                      <a:lnTo>
                        <a:pt x="1307985" y="48653"/>
                      </a:lnTo>
                      <a:lnTo>
                        <a:pt x="1307985" y="618490"/>
                      </a:lnTo>
                      <a:lnTo>
                        <a:pt x="1306563" y="618490"/>
                      </a:lnTo>
                      <a:lnTo>
                        <a:pt x="1305140" y="619760"/>
                      </a:lnTo>
                      <a:lnTo>
                        <a:pt x="1305979" y="619760"/>
                      </a:lnTo>
                      <a:lnTo>
                        <a:pt x="1304696" y="621030"/>
                      </a:lnTo>
                      <a:lnTo>
                        <a:pt x="1304226" y="620102"/>
                      </a:lnTo>
                      <a:lnTo>
                        <a:pt x="1304239" y="619760"/>
                      </a:lnTo>
                      <a:lnTo>
                        <a:pt x="1304417" y="617220"/>
                      </a:lnTo>
                      <a:lnTo>
                        <a:pt x="1307985" y="618490"/>
                      </a:lnTo>
                      <a:lnTo>
                        <a:pt x="1307985" y="48653"/>
                      </a:lnTo>
                      <a:lnTo>
                        <a:pt x="1307172" y="48260"/>
                      </a:lnTo>
                      <a:lnTo>
                        <a:pt x="1304467" y="46990"/>
                      </a:lnTo>
                      <a:lnTo>
                        <a:pt x="1300175" y="48260"/>
                      </a:lnTo>
                      <a:lnTo>
                        <a:pt x="1298422" y="47383"/>
                      </a:lnTo>
                      <a:lnTo>
                        <a:pt x="1298422" y="610870"/>
                      </a:lnTo>
                      <a:lnTo>
                        <a:pt x="1296720" y="612140"/>
                      </a:lnTo>
                      <a:lnTo>
                        <a:pt x="1294879" y="612140"/>
                      </a:lnTo>
                      <a:lnTo>
                        <a:pt x="1296962" y="610870"/>
                      </a:lnTo>
                      <a:lnTo>
                        <a:pt x="1298422" y="610870"/>
                      </a:lnTo>
                      <a:lnTo>
                        <a:pt x="1298422" y="47383"/>
                      </a:lnTo>
                      <a:lnTo>
                        <a:pt x="1295133" y="45720"/>
                      </a:lnTo>
                      <a:lnTo>
                        <a:pt x="1294676" y="43180"/>
                      </a:lnTo>
                      <a:lnTo>
                        <a:pt x="1291628" y="41910"/>
                      </a:lnTo>
                      <a:lnTo>
                        <a:pt x="1289443" y="41910"/>
                      </a:lnTo>
                      <a:lnTo>
                        <a:pt x="1281010" y="40640"/>
                      </a:lnTo>
                      <a:lnTo>
                        <a:pt x="1262583" y="40640"/>
                      </a:lnTo>
                      <a:lnTo>
                        <a:pt x="1263408" y="41910"/>
                      </a:lnTo>
                      <a:lnTo>
                        <a:pt x="1264158" y="43180"/>
                      </a:lnTo>
                      <a:lnTo>
                        <a:pt x="1265199" y="44450"/>
                      </a:lnTo>
                      <a:lnTo>
                        <a:pt x="1267447" y="46990"/>
                      </a:lnTo>
                      <a:lnTo>
                        <a:pt x="1267028" y="49530"/>
                      </a:lnTo>
                      <a:lnTo>
                        <a:pt x="1268615" y="52070"/>
                      </a:lnTo>
                      <a:lnTo>
                        <a:pt x="1269619" y="52070"/>
                      </a:lnTo>
                      <a:lnTo>
                        <a:pt x="1272984" y="54610"/>
                      </a:lnTo>
                      <a:lnTo>
                        <a:pt x="1274838" y="55880"/>
                      </a:lnTo>
                      <a:lnTo>
                        <a:pt x="1279385" y="58420"/>
                      </a:lnTo>
                      <a:lnTo>
                        <a:pt x="1282827" y="58420"/>
                      </a:lnTo>
                      <a:lnTo>
                        <a:pt x="1287284" y="60960"/>
                      </a:lnTo>
                      <a:lnTo>
                        <a:pt x="1283411" y="62230"/>
                      </a:lnTo>
                      <a:lnTo>
                        <a:pt x="1281049" y="62230"/>
                      </a:lnTo>
                      <a:lnTo>
                        <a:pt x="1276146" y="60960"/>
                      </a:lnTo>
                      <a:lnTo>
                        <a:pt x="1269225" y="60960"/>
                      </a:lnTo>
                      <a:lnTo>
                        <a:pt x="1265821" y="59690"/>
                      </a:lnTo>
                      <a:lnTo>
                        <a:pt x="1263383" y="60960"/>
                      </a:lnTo>
                      <a:lnTo>
                        <a:pt x="1264348" y="62230"/>
                      </a:lnTo>
                      <a:lnTo>
                        <a:pt x="1266545" y="63500"/>
                      </a:lnTo>
                      <a:lnTo>
                        <a:pt x="1269796" y="63500"/>
                      </a:lnTo>
                      <a:lnTo>
                        <a:pt x="1269949" y="66040"/>
                      </a:lnTo>
                      <a:lnTo>
                        <a:pt x="1273898" y="67310"/>
                      </a:lnTo>
                      <a:lnTo>
                        <a:pt x="1276311" y="67310"/>
                      </a:lnTo>
                      <a:lnTo>
                        <a:pt x="1279118" y="68580"/>
                      </a:lnTo>
                      <a:lnTo>
                        <a:pt x="1280452" y="68580"/>
                      </a:lnTo>
                      <a:lnTo>
                        <a:pt x="1279779" y="69850"/>
                      </a:lnTo>
                      <a:lnTo>
                        <a:pt x="1282420" y="69850"/>
                      </a:lnTo>
                      <a:lnTo>
                        <a:pt x="1283081" y="71120"/>
                      </a:lnTo>
                      <a:lnTo>
                        <a:pt x="1281112" y="72390"/>
                      </a:lnTo>
                      <a:lnTo>
                        <a:pt x="1279359" y="71120"/>
                      </a:lnTo>
                      <a:lnTo>
                        <a:pt x="1279334" y="471170"/>
                      </a:lnTo>
                      <a:lnTo>
                        <a:pt x="1278813" y="471411"/>
                      </a:lnTo>
                      <a:lnTo>
                        <a:pt x="1278813" y="552450"/>
                      </a:lnTo>
                      <a:lnTo>
                        <a:pt x="1277569" y="554990"/>
                      </a:lnTo>
                      <a:lnTo>
                        <a:pt x="1277505" y="554824"/>
                      </a:lnTo>
                      <a:lnTo>
                        <a:pt x="1277505" y="575310"/>
                      </a:lnTo>
                      <a:lnTo>
                        <a:pt x="1276299" y="576580"/>
                      </a:lnTo>
                      <a:lnTo>
                        <a:pt x="1273746" y="576580"/>
                      </a:lnTo>
                      <a:lnTo>
                        <a:pt x="1275257" y="575310"/>
                      </a:lnTo>
                      <a:lnTo>
                        <a:pt x="1277505" y="575310"/>
                      </a:lnTo>
                      <a:lnTo>
                        <a:pt x="1277505" y="554824"/>
                      </a:lnTo>
                      <a:lnTo>
                        <a:pt x="1277086" y="553720"/>
                      </a:lnTo>
                      <a:lnTo>
                        <a:pt x="1276858" y="553110"/>
                      </a:lnTo>
                      <a:lnTo>
                        <a:pt x="1278813" y="552450"/>
                      </a:lnTo>
                      <a:lnTo>
                        <a:pt x="1278813" y="471411"/>
                      </a:lnTo>
                      <a:lnTo>
                        <a:pt x="1278293" y="471652"/>
                      </a:lnTo>
                      <a:lnTo>
                        <a:pt x="1278293" y="488950"/>
                      </a:lnTo>
                      <a:lnTo>
                        <a:pt x="1274457" y="488950"/>
                      </a:lnTo>
                      <a:lnTo>
                        <a:pt x="1274457" y="549910"/>
                      </a:lnTo>
                      <a:lnTo>
                        <a:pt x="1274356" y="550113"/>
                      </a:lnTo>
                      <a:lnTo>
                        <a:pt x="1274356" y="571500"/>
                      </a:lnTo>
                      <a:lnTo>
                        <a:pt x="1271600" y="572770"/>
                      </a:lnTo>
                      <a:lnTo>
                        <a:pt x="1271206" y="572770"/>
                      </a:lnTo>
                      <a:lnTo>
                        <a:pt x="1272832" y="571500"/>
                      </a:lnTo>
                      <a:lnTo>
                        <a:pt x="1274356" y="571500"/>
                      </a:lnTo>
                      <a:lnTo>
                        <a:pt x="1274356" y="550113"/>
                      </a:lnTo>
                      <a:lnTo>
                        <a:pt x="1273187" y="552450"/>
                      </a:lnTo>
                      <a:lnTo>
                        <a:pt x="1273365" y="553720"/>
                      </a:lnTo>
                      <a:lnTo>
                        <a:pt x="1274229" y="553720"/>
                      </a:lnTo>
                      <a:lnTo>
                        <a:pt x="1270736" y="556260"/>
                      </a:lnTo>
                      <a:lnTo>
                        <a:pt x="1269326" y="553720"/>
                      </a:lnTo>
                      <a:lnTo>
                        <a:pt x="1268018" y="554520"/>
                      </a:lnTo>
                      <a:lnTo>
                        <a:pt x="1268018" y="566420"/>
                      </a:lnTo>
                      <a:lnTo>
                        <a:pt x="1267650" y="566623"/>
                      </a:lnTo>
                      <a:lnTo>
                        <a:pt x="1267650" y="568960"/>
                      </a:lnTo>
                      <a:lnTo>
                        <a:pt x="1267142" y="569366"/>
                      </a:lnTo>
                      <a:lnTo>
                        <a:pt x="1267142" y="575310"/>
                      </a:lnTo>
                      <a:lnTo>
                        <a:pt x="1266532" y="576580"/>
                      </a:lnTo>
                      <a:lnTo>
                        <a:pt x="1265948" y="576580"/>
                      </a:lnTo>
                      <a:lnTo>
                        <a:pt x="1267142" y="575310"/>
                      </a:lnTo>
                      <a:lnTo>
                        <a:pt x="1267142" y="569366"/>
                      </a:lnTo>
                      <a:lnTo>
                        <a:pt x="1266050" y="570230"/>
                      </a:lnTo>
                      <a:lnTo>
                        <a:pt x="1264653" y="569696"/>
                      </a:lnTo>
                      <a:lnTo>
                        <a:pt x="1266266" y="568960"/>
                      </a:lnTo>
                      <a:lnTo>
                        <a:pt x="1267650" y="568960"/>
                      </a:lnTo>
                      <a:lnTo>
                        <a:pt x="1267650" y="566623"/>
                      </a:lnTo>
                      <a:lnTo>
                        <a:pt x="1265656" y="567690"/>
                      </a:lnTo>
                      <a:lnTo>
                        <a:pt x="1264132" y="566420"/>
                      </a:lnTo>
                      <a:lnTo>
                        <a:pt x="1268018" y="566420"/>
                      </a:lnTo>
                      <a:lnTo>
                        <a:pt x="1268018" y="554520"/>
                      </a:lnTo>
                      <a:lnTo>
                        <a:pt x="1265148" y="556260"/>
                      </a:lnTo>
                      <a:lnTo>
                        <a:pt x="1265034" y="560070"/>
                      </a:lnTo>
                      <a:lnTo>
                        <a:pt x="1262761" y="561263"/>
                      </a:lnTo>
                      <a:lnTo>
                        <a:pt x="1262761" y="568960"/>
                      </a:lnTo>
                      <a:lnTo>
                        <a:pt x="1262062" y="570230"/>
                      </a:lnTo>
                      <a:lnTo>
                        <a:pt x="1262672" y="569074"/>
                      </a:lnTo>
                      <a:lnTo>
                        <a:pt x="1261897" y="568960"/>
                      </a:lnTo>
                      <a:lnTo>
                        <a:pt x="1261935" y="567969"/>
                      </a:lnTo>
                      <a:lnTo>
                        <a:pt x="1262608" y="568960"/>
                      </a:lnTo>
                      <a:lnTo>
                        <a:pt x="1262748" y="568960"/>
                      </a:lnTo>
                      <a:lnTo>
                        <a:pt x="1262761" y="561263"/>
                      </a:lnTo>
                      <a:lnTo>
                        <a:pt x="1262595" y="561340"/>
                      </a:lnTo>
                      <a:lnTo>
                        <a:pt x="1262418" y="561428"/>
                      </a:lnTo>
                      <a:lnTo>
                        <a:pt x="1262418" y="566420"/>
                      </a:lnTo>
                      <a:lnTo>
                        <a:pt x="1261872" y="567436"/>
                      </a:lnTo>
                      <a:lnTo>
                        <a:pt x="1261605" y="566420"/>
                      </a:lnTo>
                      <a:lnTo>
                        <a:pt x="1262418" y="566420"/>
                      </a:lnTo>
                      <a:lnTo>
                        <a:pt x="1262418" y="561428"/>
                      </a:lnTo>
                      <a:lnTo>
                        <a:pt x="1260652" y="562203"/>
                      </a:lnTo>
                      <a:lnTo>
                        <a:pt x="1262265" y="560070"/>
                      </a:lnTo>
                      <a:lnTo>
                        <a:pt x="1265034" y="560070"/>
                      </a:lnTo>
                      <a:lnTo>
                        <a:pt x="1265034" y="556260"/>
                      </a:lnTo>
                      <a:lnTo>
                        <a:pt x="1264221" y="556260"/>
                      </a:lnTo>
                      <a:lnTo>
                        <a:pt x="1268234" y="553720"/>
                      </a:lnTo>
                      <a:lnTo>
                        <a:pt x="1269326" y="553720"/>
                      </a:lnTo>
                      <a:lnTo>
                        <a:pt x="1269796" y="553720"/>
                      </a:lnTo>
                      <a:lnTo>
                        <a:pt x="1271193" y="552450"/>
                      </a:lnTo>
                      <a:lnTo>
                        <a:pt x="1272336" y="551180"/>
                      </a:lnTo>
                      <a:lnTo>
                        <a:pt x="1274457" y="549910"/>
                      </a:lnTo>
                      <a:lnTo>
                        <a:pt x="1274457" y="488950"/>
                      </a:lnTo>
                      <a:lnTo>
                        <a:pt x="1273810" y="488950"/>
                      </a:lnTo>
                      <a:lnTo>
                        <a:pt x="1273810" y="491490"/>
                      </a:lnTo>
                      <a:lnTo>
                        <a:pt x="1271905" y="492760"/>
                      </a:lnTo>
                      <a:lnTo>
                        <a:pt x="1270292" y="491490"/>
                      </a:lnTo>
                      <a:lnTo>
                        <a:pt x="1273810" y="491490"/>
                      </a:lnTo>
                      <a:lnTo>
                        <a:pt x="1273810" y="488950"/>
                      </a:lnTo>
                      <a:lnTo>
                        <a:pt x="1273238" y="488950"/>
                      </a:lnTo>
                      <a:lnTo>
                        <a:pt x="1272590" y="488759"/>
                      </a:lnTo>
                      <a:lnTo>
                        <a:pt x="1275740" y="487680"/>
                      </a:lnTo>
                      <a:lnTo>
                        <a:pt x="1278293" y="488950"/>
                      </a:lnTo>
                      <a:lnTo>
                        <a:pt x="1278293" y="471652"/>
                      </a:lnTo>
                      <a:lnTo>
                        <a:pt x="1276591" y="472440"/>
                      </a:lnTo>
                      <a:lnTo>
                        <a:pt x="1273556" y="473710"/>
                      </a:lnTo>
                      <a:lnTo>
                        <a:pt x="1272273" y="474294"/>
                      </a:lnTo>
                      <a:lnTo>
                        <a:pt x="1272273" y="483870"/>
                      </a:lnTo>
                      <a:lnTo>
                        <a:pt x="1271066" y="483870"/>
                      </a:lnTo>
                      <a:lnTo>
                        <a:pt x="1271066" y="486410"/>
                      </a:lnTo>
                      <a:lnTo>
                        <a:pt x="1269695" y="487680"/>
                      </a:lnTo>
                      <a:lnTo>
                        <a:pt x="1270673" y="488213"/>
                      </a:lnTo>
                      <a:lnTo>
                        <a:pt x="1269149" y="487768"/>
                      </a:lnTo>
                      <a:lnTo>
                        <a:pt x="1269149" y="518883"/>
                      </a:lnTo>
                      <a:lnTo>
                        <a:pt x="1268018" y="519430"/>
                      </a:lnTo>
                      <a:lnTo>
                        <a:pt x="1265034" y="518160"/>
                      </a:lnTo>
                      <a:lnTo>
                        <a:pt x="1260576" y="518160"/>
                      </a:lnTo>
                      <a:lnTo>
                        <a:pt x="1260576" y="534670"/>
                      </a:lnTo>
                      <a:lnTo>
                        <a:pt x="1259992" y="535940"/>
                      </a:lnTo>
                      <a:lnTo>
                        <a:pt x="1258112" y="537210"/>
                      </a:lnTo>
                      <a:lnTo>
                        <a:pt x="1256550" y="538480"/>
                      </a:lnTo>
                      <a:lnTo>
                        <a:pt x="1254963" y="538480"/>
                      </a:lnTo>
                      <a:lnTo>
                        <a:pt x="1253375" y="538480"/>
                      </a:lnTo>
                      <a:lnTo>
                        <a:pt x="1252397" y="538480"/>
                      </a:lnTo>
                      <a:lnTo>
                        <a:pt x="1251445" y="539457"/>
                      </a:lnTo>
                      <a:lnTo>
                        <a:pt x="1251572" y="537210"/>
                      </a:lnTo>
                      <a:lnTo>
                        <a:pt x="1253375" y="538480"/>
                      </a:lnTo>
                      <a:lnTo>
                        <a:pt x="1252918" y="537210"/>
                      </a:lnTo>
                      <a:lnTo>
                        <a:pt x="1252474" y="535940"/>
                      </a:lnTo>
                      <a:lnTo>
                        <a:pt x="1253985" y="534670"/>
                      </a:lnTo>
                      <a:lnTo>
                        <a:pt x="1256106" y="535940"/>
                      </a:lnTo>
                      <a:lnTo>
                        <a:pt x="1255750" y="535940"/>
                      </a:lnTo>
                      <a:lnTo>
                        <a:pt x="1253782" y="537210"/>
                      </a:lnTo>
                      <a:lnTo>
                        <a:pt x="1254963" y="538480"/>
                      </a:lnTo>
                      <a:lnTo>
                        <a:pt x="1256639" y="537210"/>
                      </a:lnTo>
                      <a:lnTo>
                        <a:pt x="1258443" y="535940"/>
                      </a:lnTo>
                      <a:lnTo>
                        <a:pt x="1259357" y="535940"/>
                      </a:lnTo>
                      <a:lnTo>
                        <a:pt x="1260576" y="534670"/>
                      </a:lnTo>
                      <a:lnTo>
                        <a:pt x="1260576" y="518160"/>
                      </a:lnTo>
                      <a:lnTo>
                        <a:pt x="1257376" y="518160"/>
                      </a:lnTo>
                      <a:lnTo>
                        <a:pt x="1254074" y="519430"/>
                      </a:lnTo>
                      <a:lnTo>
                        <a:pt x="1256309" y="518160"/>
                      </a:lnTo>
                      <a:lnTo>
                        <a:pt x="1261110" y="516890"/>
                      </a:lnTo>
                      <a:lnTo>
                        <a:pt x="1266837" y="518160"/>
                      </a:lnTo>
                      <a:lnTo>
                        <a:pt x="1268247" y="518160"/>
                      </a:lnTo>
                      <a:lnTo>
                        <a:pt x="1269149" y="518883"/>
                      </a:lnTo>
                      <a:lnTo>
                        <a:pt x="1269149" y="487768"/>
                      </a:lnTo>
                      <a:lnTo>
                        <a:pt x="1268857" y="487680"/>
                      </a:lnTo>
                      <a:lnTo>
                        <a:pt x="1267968" y="487680"/>
                      </a:lnTo>
                      <a:lnTo>
                        <a:pt x="1270965" y="486410"/>
                      </a:lnTo>
                      <a:lnTo>
                        <a:pt x="1271066" y="483870"/>
                      </a:lnTo>
                      <a:lnTo>
                        <a:pt x="1267790" y="483870"/>
                      </a:lnTo>
                      <a:lnTo>
                        <a:pt x="1267790" y="487756"/>
                      </a:lnTo>
                      <a:lnTo>
                        <a:pt x="1264729" y="490220"/>
                      </a:lnTo>
                      <a:lnTo>
                        <a:pt x="1263561" y="490220"/>
                      </a:lnTo>
                      <a:lnTo>
                        <a:pt x="1266659" y="491490"/>
                      </a:lnTo>
                      <a:lnTo>
                        <a:pt x="1266964" y="491490"/>
                      </a:lnTo>
                      <a:lnTo>
                        <a:pt x="1265999" y="492760"/>
                      </a:lnTo>
                      <a:lnTo>
                        <a:pt x="1262697" y="491490"/>
                      </a:lnTo>
                      <a:lnTo>
                        <a:pt x="1261859" y="491490"/>
                      </a:lnTo>
                      <a:lnTo>
                        <a:pt x="1259078" y="492760"/>
                      </a:lnTo>
                      <a:lnTo>
                        <a:pt x="1257439" y="494030"/>
                      </a:lnTo>
                      <a:lnTo>
                        <a:pt x="1255547" y="495300"/>
                      </a:lnTo>
                      <a:lnTo>
                        <a:pt x="1254061" y="495300"/>
                      </a:lnTo>
                      <a:lnTo>
                        <a:pt x="1254061" y="511810"/>
                      </a:lnTo>
                      <a:lnTo>
                        <a:pt x="1252512" y="512749"/>
                      </a:lnTo>
                      <a:lnTo>
                        <a:pt x="1252512" y="519430"/>
                      </a:lnTo>
                      <a:lnTo>
                        <a:pt x="1251508" y="520700"/>
                      </a:lnTo>
                      <a:lnTo>
                        <a:pt x="1251077" y="521970"/>
                      </a:lnTo>
                      <a:lnTo>
                        <a:pt x="1251254" y="521970"/>
                      </a:lnTo>
                      <a:lnTo>
                        <a:pt x="1250111" y="523240"/>
                      </a:lnTo>
                      <a:lnTo>
                        <a:pt x="1249591" y="523240"/>
                      </a:lnTo>
                      <a:lnTo>
                        <a:pt x="1249591" y="528320"/>
                      </a:lnTo>
                      <a:lnTo>
                        <a:pt x="1249146" y="529590"/>
                      </a:lnTo>
                      <a:lnTo>
                        <a:pt x="1248270" y="529590"/>
                      </a:lnTo>
                      <a:lnTo>
                        <a:pt x="1249591" y="528320"/>
                      </a:lnTo>
                      <a:lnTo>
                        <a:pt x="1249591" y="523240"/>
                      </a:lnTo>
                      <a:lnTo>
                        <a:pt x="1249006" y="523240"/>
                      </a:lnTo>
                      <a:lnTo>
                        <a:pt x="1248791" y="523354"/>
                      </a:lnTo>
                      <a:lnTo>
                        <a:pt x="1248930" y="523240"/>
                      </a:lnTo>
                      <a:lnTo>
                        <a:pt x="1250442" y="521970"/>
                      </a:lnTo>
                      <a:lnTo>
                        <a:pt x="1250924" y="520700"/>
                      </a:lnTo>
                      <a:lnTo>
                        <a:pt x="1249984" y="519430"/>
                      </a:lnTo>
                      <a:lnTo>
                        <a:pt x="1252512" y="519430"/>
                      </a:lnTo>
                      <a:lnTo>
                        <a:pt x="1252512" y="512749"/>
                      </a:lnTo>
                      <a:lnTo>
                        <a:pt x="1251953" y="513080"/>
                      </a:lnTo>
                      <a:lnTo>
                        <a:pt x="1251686" y="511810"/>
                      </a:lnTo>
                      <a:lnTo>
                        <a:pt x="1250137" y="511810"/>
                      </a:lnTo>
                      <a:lnTo>
                        <a:pt x="1251597" y="510540"/>
                      </a:lnTo>
                      <a:lnTo>
                        <a:pt x="1253972" y="510540"/>
                      </a:lnTo>
                      <a:lnTo>
                        <a:pt x="1254061" y="511810"/>
                      </a:lnTo>
                      <a:lnTo>
                        <a:pt x="1254061" y="495300"/>
                      </a:lnTo>
                      <a:lnTo>
                        <a:pt x="1253896" y="495300"/>
                      </a:lnTo>
                      <a:lnTo>
                        <a:pt x="1250556" y="497840"/>
                      </a:lnTo>
                      <a:lnTo>
                        <a:pt x="1249845" y="500341"/>
                      </a:lnTo>
                      <a:lnTo>
                        <a:pt x="1249845" y="511810"/>
                      </a:lnTo>
                      <a:lnTo>
                        <a:pt x="1247444" y="513080"/>
                      </a:lnTo>
                      <a:lnTo>
                        <a:pt x="1246555" y="513080"/>
                      </a:lnTo>
                      <a:lnTo>
                        <a:pt x="1246797" y="511810"/>
                      </a:lnTo>
                      <a:lnTo>
                        <a:pt x="1249845" y="511810"/>
                      </a:lnTo>
                      <a:lnTo>
                        <a:pt x="1249845" y="500341"/>
                      </a:lnTo>
                      <a:lnTo>
                        <a:pt x="1246593" y="501650"/>
                      </a:lnTo>
                      <a:lnTo>
                        <a:pt x="1245743" y="501650"/>
                      </a:lnTo>
                      <a:lnTo>
                        <a:pt x="1245743" y="514616"/>
                      </a:lnTo>
                      <a:lnTo>
                        <a:pt x="1245362" y="515620"/>
                      </a:lnTo>
                      <a:lnTo>
                        <a:pt x="1244993" y="514959"/>
                      </a:lnTo>
                      <a:lnTo>
                        <a:pt x="1245743" y="514616"/>
                      </a:lnTo>
                      <a:lnTo>
                        <a:pt x="1245743" y="501650"/>
                      </a:lnTo>
                      <a:lnTo>
                        <a:pt x="1245196" y="501650"/>
                      </a:lnTo>
                      <a:lnTo>
                        <a:pt x="1243431" y="502653"/>
                      </a:lnTo>
                      <a:lnTo>
                        <a:pt x="1243431" y="514350"/>
                      </a:lnTo>
                      <a:lnTo>
                        <a:pt x="1242593" y="514350"/>
                      </a:lnTo>
                      <a:lnTo>
                        <a:pt x="1240028" y="513080"/>
                      </a:lnTo>
                      <a:lnTo>
                        <a:pt x="1240764" y="513080"/>
                      </a:lnTo>
                      <a:lnTo>
                        <a:pt x="1241437" y="511810"/>
                      </a:lnTo>
                      <a:lnTo>
                        <a:pt x="1243203" y="511810"/>
                      </a:lnTo>
                      <a:lnTo>
                        <a:pt x="1243431" y="514350"/>
                      </a:lnTo>
                      <a:lnTo>
                        <a:pt x="1243431" y="502653"/>
                      </a:lnTo>
                      <a:lnTo>
                        <a:pt x="1242936" y="502920"/>
                      </a:lnTo>
                      <a:lnTo>
                        <a:pt x="1241526" y="502920"/>
                      </a:lnTo>
                      <a:lnTo>
                        <a:pt x="1239939" y="503923"/>
                      </a:lnTo>
                      <a:lnTo>
                        <a:pt x="1239939" y="513080"/>
                      </a:lnTo>
                      <a:lnTo>
                        <a:pt x="1238300" y="514350"/>
                      </a:lnTo>
                      <a:lnTo>
                        <a:pt x="1237526" y="514350"/>
                      </a:lnTo>
                      <a:lnTo>
                        <a:pt x="1238110" y="513080"/>
                      </a:lnTo>
                      <a:lnTo>
                        <a:pt x="1237983" y="513080"/>
                      </a:lnTo>
                      <a:lnTo>
                        <a:pt x="1238935" y="511810"/>
                      </a:lnTo>
                      <a:lnTo>
                        <a:pt x="1239862" y="513080"/>
                      </a:lnTo>
                      <a:lnTo>
                        <a:pt x="1239939" y="503923"/>
                      </a:lnTo>
                      <a:lnTo>
                        <a:pt x="1239494" y="504190"/>
                      </a:lnTo>
                      <a:lnTo>
                        <a:pt x="1238872" y="505460"/>
                      </a:lnTo>
                      <a:lnTo>
                        <a:pt x="1237399" y="506425"/>
                      </a:lnTo>
                      <a:lnTo>
                        <a:pt x="1237399" y="516890"/>
                      </a:lnTo>
                      <a:lnTo>
                        <a:pt x="1236129" y="518160"/>
                      </a:lnTo>
                      <a:lnTo>
                        <a:pt x="1234135" y="518160"/>
                      </a:lnTo>
                      <a:lnTo>
                        <a:pt x="1235621" y="516890"/>
                      </a:lnTo>
                      <a:lnTo>
                        <a:pt x="1237399" y="516890"/>
                      </a:lnTo>
                      <a:lnTo>
                        <a:pt x="1237399" y="506425"/>
                      </a:lnTo>
                      <a:lnTo>
                        <a:pt x="1236916" y="506730"/>
                      </a:lnTo>
                      <a:lnTo>
                        <a:pt x="1235887" y="508000"/>
                      </a:lnTo>
                      <a:lnTo>
                        <a:pt x="1234465" y="508635"/>
                      </a:lnTo>
                      <a:lnTo>
                        <a:pt x="1236878" y="505460"/>
                      </a:lnTo>
                      <a:lnTo>
                        <a:pt x="1243584" y="501650"/>
                      </a:lnTo>
                      <a:lnTo>
                        <a:pt x="1246987" y="500380"/>
                      </a:lnTo>
                      <a:lnTo>
                        <a:pt x="1249311" y="497840"/>
                      </a:lnTo>
                      <a:lnTo>
                        <a:pt x="1249324" y="496570"/>
                      </a:lnTo>
                      <a:lnTo>
                        <a:pt x="1251267" y="495300"/>
                      </a:lnTo>
                      <a:lnTo>
                        <a:pt x="1252994" y="495300"/>
                      </a:lnTo>
                      <a:lnTo>
                        <a:pt x="1255839" y="494030"/>
                      </a:lnTo>
                      <a:lnTo>
                        <a:pt x="1256944" y="492760"/>
                      </a:lnTo>
                      <a:lnTo>
                        <a:pt x="1260411" y="490220"/>
                      </a:lnTo>
                      <a:lnTo>
                        <a:pt x="1261999" y="490220"/>
                      </a:lnTo>
                      <a:lnTo>
                        <a:pt x="1267790" y="487756"/>
                      </a:lnTo>
                      <a:lnTo>
                        <a:pt x="1267790" y="483870"/>
                      </a:lnTo>
                      <a:lnTo>
                        <a:pt x="1265631" y="483870"/>
                      </a:lnTo>
                      <a:lnTo>
                        <a:pt x="1263015" y="485140"/>
                      </a:lnTo>
                      <a:lnTo>
                        <a:pt x="1265567" y="483882"/>
                      </a:lnTo>
                      <a:lnTo>
                        <a:pt x="1268260" y="482600"/>
                      </a:lnTo>
                      <a:lnTo>
                        <a:pt x="1271727" y="482600"/>
                      </a:lnTo>
                      <a:lnTo>
                        <a:pt x="1272273" y="483870"/>
                      </a:lnTo>
                      <a:lnTo>
                        <a:pt x="1272273" y="474294"/>
                      </a:lnTo>
                      <a:lnTo>
                        <a:pt x="1270749" y="474980"/>
                      </a:lnTo>
                      <a:lnTo>
                        <a:pt x="1268082" y="473710"/>
                      </a:lnTo>
                      <a:lnTo>
                        <a:pt x="1265491" y="473710"/>
                      </a:lnTo>
                      <a:lnTo>
                        <a:pt x="1262278" y="472643"/>
                      </a:lnTo>
                      <a:lnTo>
                        <a:pt x="1262278" y="477520"/>
                      </a:lnTo>
                      <a:lnTo>
                        <a:pt x="1262164" y="477659"/>
                      </a:lnTo>
                      <a:lnTo>
                        <a:pt x="1262164" y="484797"/>
                      </a:lnTo>
                      <a:lnTo>
                        <a:pt x="1260894" y="485140"/>
                      </a:lnTo>
                      <a:lnTo>
                        <a:pt x="1260119" y="483958"/>
                      </a:lnTo>
                      <a:lnTo>
                        <a:pt x="1262164" y="484797"/>
                      </a:lnTo>
                      <a:lnTo>
                        <a:pt x="1262164" y="477659"/>
                      </a:lnTo>
                      <a:lnTo>
                        <a:pt x="1261198" y="478790"/>
                      </a:lnTo>
                      <a:lnTo>
                        <a:pt x="1259954" y="478790"/>
                      </a:lnTo>
                      <a:lnTo>
                        <a:pt x="1257820" y="479615"/>
                      </a:lnTo>
                      <a:lnTo>
                        <a:pt x="1259116" y="481330"/>
                      </a:lnTo>
                      <a:lnTo>
                        <a:pt x="1259776" y="483527"/>
                      </a:lnTo>
                      <a:lnTo>
                        <a:pt x="1257084" y="480060"/>
                      </a:lnTo>
                      <a:lnTo>
                        <a:pt x="1256982" y="479933"/>
                      </a:lnTo>
                      <a:lnTo>
                        <a:pt x="1256665" y="480060"/>
                      </a:lnTo>
                      <a:lnTo>
                        <a:pt x="1256715" y="479933"/>
                      </a:lnTo>
                      <a:lnTo>
                        <a:pt x="1256728" y="479615"/>
                      </a:lnTo>
                      <a:lnTo>
                        <a:pt x="1256093" y="478790"/>
                      </a:lnTo>
                      <a:lnTo>
                        <a:pt x="1253629" y="480060"/>
                      </a:lnTo>
                      <a:lnTo>
                        <a:pt x="1249121" y="480060"/>
                      </a:lnTo>
                      <a:lnTo>
                        <a:pt x="1248105" y="478790"/>
                      </a:lnTo>
                      <a:lnTo>
                        <a:pt x="1256093" y="478790"/>
                      </a:lnTo>
                      <a:lnTo>
                        <a:pt x="1257198" y="478790"/>
                      </a:lnTo>
                      <a:lnTo>
                        <a:pt x="1259382" y="478790"/>
                      </a:lnTo>
                      <a:lnTo>
                        <a:pt x="1261300" y="477520"/>
                      </a:lnTo>
                      <a:lnTo>
                        <a:pt x="1262278" y="477520"/>
                      </a:lnTo>
                      <a:lnTo>
                        <a:pt x="1262278" y="472643"/>
                      </a:lnTo>
                      <a:lnTo>
                        <a:pt x="1261694" y="472440"/>
                      </a:lnTo>
                      <a:lnTo>
                        <a:pt x="1260094" y="471170"/>
                      </a:lnTo>
                      <a:lnTo>
                        <a:pt x="1249540" y="471170"/>
                      </a:lnTo>
                      <a:lnTo>
                        <a:pt x="1243050" y="468807"/>
                      </a:lnTo>
                      <a:lnTo>
                        <a:pt x="1243825" y="468630"/>
                      </a:lnTo>
                      <a:lnTo>
                        <a:pt x="1244600" y="467360"/>
                      </a:lnTo>
                      <a:lnTo>
                        <a:pt x="1245387" y="466090"/>
                      </a:lnTo>
                      <a:lnTo>
                        <a:pt x="1246314" y="466090"/>
                      </a:lnTo>
                      <a:lnTo>
                        <a:pt x="1241196" y="464820"/>
                      </a:lnTo>
                      <a:lnTo>
                        <a:pt x="1248918" y="464820"/>
                      </a:lnTo>
                      <a:lnTo>
                        <a:pt x="1246314" y="466090"/>
                      </a:lnTo>
                      <a:lnTo>
                        <a:pt x="1250619" y="466090"/>
                      </a:lnTo>
                      <a:lnTo>
                        <a:pt x="1253274" y="464820"/>
                      </a:lnTo>
                      <a:lnTo>
                        <a:pt x="1255890" y="464820"/>
                      </a:lnTo>
                      <a:lnTo>
                        <a:pt x="1254328" y="466090"/>
                      </a:lnTo>
                      <a:lnTo>
                        <a:pt x="1252194" y="467360"/>
                      </a:lnTo>
                      <a:lnTo>
                        <a:pt x="1250696" y="469900"/>
                      </a:lnTo>
                      <a:lnTo>
                        <a:pt x="1251953" y="469900"/>
                      </a:lnTo>
                      <a:lnTo>
                        <a:pt x="1256118" y="467360"/>
                      </a:lnTo>
                      <a:lnTo>
                        <a:pt x="1255090" y="469900"/>
                      </a:lnTo>
                      <a:lnTo>
                        <a:pt x="1256334" y="468630"/>
                      </a:lnTo>
                      <a:lnTo>
                        <a:pt x="1257465" y="469900"/>
                      </a:lnTo>
                      <a:lnTo>
                        <a:pt x="1261021" y="468630"/>
                      </a:lnTo>
                      <a:lnTo>
                        <a:pt x="1259052" y="467360"/>
                      </a:lnTo>
                      <a:lnTo>
                        <a:pt x="1257096" y="466090"/>
                      </a:lnTo>
                      <a:lnTo>
                        <a:pt x="1256093" y="464820"/>
                      </a:lnTo>
                      <a:lnTo>
                        <a:pt x="1257642" y="464820"/>
                      </a:lnTo>
                      <a:lnTo>
                        <a:pt x="1262024" y="463550"/>
                      </a:lnTo>
                      <a:lnTo>
                        <a:pt x="1263675" y="464820"/>
                      </a:lnTo>
                      <a:lnTo>
                        <a:pt x="1263180" y="463550"/>
                      </a:lnTo>
                      <a:lnTo>
                        <a:pt x="1264678" y="466090"/>
                      </a:lnTo>
                      <a:lnTo>
                        <a:pt x="1264856" y="467360"/>
                      </a:lnTo>
                      <a:lnTo>
                        <a:pt x="1263967" y="468630"/>
                      </a:lnTo>
                      <a:lnTo>
                        <a:pt x="1263980" y="469900"/>
                      </a:lnTo>
                      <a:lnTo>
                        <a:pt x="1264754" y="468630"/>
                      </a:lnTo>
                      <a:lnTo>
                        <a:pt x="1267409" y="468630"/>
                      </a:lnTo>
                      <a:lnTo>
                        <a:pt x="1268310" y="467360"/>
                      </a:lnTo>
                      <a:lnTo>
                        <a:pt x="1269822" y="467360"/>
                      </a:lnTo>
                      <a:lnTo>
                        <a:pt x="1271206" y="466090"/>
                      </a:lnTo>
                      <a:lnTo>
                        <a:pt x="1272260" y="466090"/>
                      </a:lnTo>
                      <a:lnTo>
                        <a:pt x="1272463" y="467360"/>
                      </a:lnTo>
                      <a:lnTo>
                        <a:pt x="1274724" y="467360"/>
                      </a:lnTo>
                      <a:lnTo>
                        <a:pt x="1272400" y="469900"/>
                      </a:lnTo>
                      <a:lnTo>
                        <a:pt x="1267561" y="471170"/>
                      </a:lnTo>
                      <a:lnTo>
                        <a:pt x="1264500" y="472440"/>
                      </a:lnTo>
                      <a:lnTo>
                        <a:pt x="1267904" y="472440"/>
                      </a:lnTo>
                      <a:lnTo>
                        <a:pt x="1270508" y="471170"/>
                      </a:lnTo>
                      <a:lnTo>
                        <a:pt x="1275765" y="469900"/>
                      </a:lnTo>
                      <a:lnTo>
                        <a:pt x="1277353" y="471170"/>
                      </a:lnTo>
                      <a:lnTo>
                        <a:pt x="1279334" y="471170"/>
                      </a:lnTo>
                      <a:lnTo>
                        <a:pt x="1279334" y="71120"/>
                      </a:lnTo>
                      <a:lnTo>
                        <a:pt x="1275016" y="69850"/>
                      </a:lnTo>
                      <a:lnTo>
                        <a:pt x="1276032" y="68580"/>
                      </a:lnTo>
                      <a:lnTo>
                        <a:pt x="1272336" y="67310"/>
                      </a:lnTo>
                      <a:lnTo>
                        <a:pt x="1270457" y="67310"/>
                      </a:lnTo>
                      <a:lnTo>
                        <a:pt x="1267447" y="66040"/>
                      </a:lnTo>
                      <a:lnTo>
                        <a:pt x="1266329" y="64770"/>
                      </a:lnTo>
                      <a:lnTo>
                        <a:pt x="1263294" y="63500"/>
                      </a:lnTo>
                      <a:lnTo>
                        <a:pt x="1261592" y="63500"/>
                      </a:lnTo>
                      <a:lnTo>
                        <a:pt x="1258049" y="60960"/>
                      </a:lnTo>
                      <a:lnTo>
                        <a:pt x="1248168" y="60960"/>
                      </a:lnTo>
                      <a:lnTo>
                        <a:pt x="1242314" y="57150"/>
                      </a:lnTo>
                      <a:lnTo>
                        <a:pt x="1236116" y="58420"/>
                      </a:lnTo>
                      <a:lnTo>
                        <a:pt x="1235278" y="58420"/>
                      </a:lnTo>
                      <a:lnTo>
                        <a:pt x="1236916" y="59690"/>
                      </a:lnTo>
                      <a:lnTo>
                        <a:pt x="1230934" y="66040"/>
                      </a:lnTo>
                      <a:lnTo>
                        <a:pt x="1229372" y="67310"/>
                      </a:lnTo>
                      <a:lnTo>
                        <a:pt x="1228026" y="68580"/>
                      </a:lnTo>
                      <a:lnTo>
                        <a:pt x="1227709" y="69850"/>
                      </a:lnTo>
                      <a:lnTo>
                        <a:pt x="1228102" y="71120"/>
                      </a:lnTo>
                      <a:lnTo>
                        <a:pt x="1227531" y="73660"/>
                      </a:lnTo>
                      <a:lnTo>
                        <a:pt x="1226426" y="73660"/>
                      </a:lnTo>
                      <a:lnTo>
                        <a:pt x="1228293" y="74930"/>
                      </a:lnTo>
                      <a:lnTo>
                        <a:pt x="1225765" y="74930"/>
                      </a:lnTo>
                      <a:lnTo>
                        <a:pt x="1225765" y="358140"/>
                      </a:lnTo>
                      <a:lnTo>
                        <a:pt x="1224254" y="358140"/>
                      </a:lnTo>
                      <a:lnTo>
                        <a:pt x="1223530" y="355600"/>
                      </a:lnTo>
                      <a:lnTo>
                        <a:pt x="1223784" y="355600"/>
                      </a:lnTo>
                      <a:lnTo>
                        <a:pt x="1223429" y="354330"/>
                      </a:lnTo>
                      <a:lnTo>
                        <a:pt x="1222819" y="354330"/>
                      </a:lnTo>
                      <a:lnTo>
                        <a:pt x="1222146" y="351790"/>
                      </a:lnTo>
                      <a:lnTo>
                        <a:pt x="1223784" y="351790"/>
                      </a:lnTo>
                      <a:lnTo>
                        <a:pt x="1223327" y="353060"/>
                      </a:lnTo>
                      <a:lnTo>
                        <a:pt x="1224940" y="356870"/>
                      </a:lnTo>
                      <a:lnTo>
                        <a:pt x="1225765" y="358140"/>
                      </a:lnTo>
                      <a:lnTo>
                        <a:pt x="1225765" y="74930"/>
                      </a:lnTo>
                      <a:lnTo>
                        <a:pt x="1223759" y="73660"/>
                      </a:lnTo>
                      <a:lnTo>
                        <a:pt x="1224241" y="69850"/>
                      </a:lnTo>
                      <a:lnTo>
                        <a:pt x="1224356" y="67310"/>
                      </a:lnTo>
                      <a:lnTo>
                        <a:pt x="1227086" y="66040"/>
                      </a:lnTo>
                      <a:lnTo>
                        <a:pt x="1228585" y="60960"/>
                      </a:lnTo>
                      <a:lnTo>
                        <a:pt x="1228267" y="59690"/>
                      </a:lnTo>
                      <a:lnTo>
                        <a:pt x="1227264" y="58420"/>
                      </a:lnTo>
                      <a:lnTo>
                        <a:pt x="1226515" y="55880"/>
                      </a:lnTo>
                      <a:lnTo>
                        <a:pt x="1228496" y="55880"/>
                      </a:lnTo>
                      <a:lnTo>
                        <a:pt x="1222413" y="52070"/>
                      </a:lnTo>
                      <a:lnTo>
                        <a:pt x="1218793" y="49530"/>
                      </a:lnTo>
                      <a:lnTo>
                        <a:pt x="1199616" y="49530"/>
                      </a:lnTo>
                      <a:lnTo>
                        <a:pt x="1190752" y="49530"/>
                      </a:lnTo>
                      <a:lnTo>
                        <a:pt x="1189189" y="50800"/>
                      </a:lnTo>
                      <a:lnTo>
                        <a:pt x="1186192" y="50800"/>
                      </a:lnTo>
                      <a:lnTo>
                        <a:pt x="1186192" y="81280"/>
                      </a:lnTo>
                      <a:lnTo>
                        <a:pt x="1184198" y="81280"/>
                      </a:lnTo>
                      <a:lnTo>
                        <a:pt x="1183767" y="80010"/>
                      </a:lnTo>
                      <a:lnTo>
                        <a:pt x="1180604" y="78740"/>
                      </a:lnTo>
                      <a:lnTo>
                        <a:pt x="1177163" y="78740"/>
                      </a:lnTo>
                      <a:lnTo>
                        <a:pt x="1174953" y="77470"/>
                      </a:lnTo>
                      <a:lnTo>
                        <a:pt x="1176045" y="77470"/>
                      </a:lnTo>
                      <a:lnTo>
                        <a:pt x="1175207" y="76200"/>
                      </a:lnTo>
                      <a:lnTo>
                        <a:pt x="1174115" y="76200"/>
                      </a:lnTo>
                      <a:lnTo>
                        <a:pt x="1172984" y="74930"/>
                      </a:lnTo>
                      <a:lnTo>
                        <a:pt x="1172108" y="74930"/>
                      </a:lnTo>
                      <a:lnTo>
                        <a:pt x="1170736" y="73660"/>
                      </a:lnTo>
                      <a:lnTo>
                        <a:pt x="1168361" y="72390"/>
                      </a:lnTo>
                      <a:lnTo>
                        <a:pt x="1162786" y="72390"/>
                      </a:lnTo>
                      <a:lnTo>
                        <a:pt x="1160818" y="71120"/>
                      </a:lnTo>
                      <a:lnTo>
                        <a:pt x="1157224" y="69850"/>
                      </a:lnTo>
                      <a:lnTo>
                        <a:pt x="1155547" y="69850"/>
                      </a:lnTo>
                      <a:lnTo>
                        <a:pt x="1151991" y="67310"/>
                      </a:lnTo>
                      <a:lnTo>
                        <a:pt x="1154874" y="66040"/>
                      </a:lnTo>
                      <a:lnTo>
                        <a:pt x="1152525" y="64770"/>
                      </a:lnTo>
                      <a:lnTo>
                        <a:pt x="1152931" y="63665"/>
                      </a:lnTo>
                      <a:lnTo>
                        <a:pt x="1183767" y="80010"/>
                      </a:lnTo>
                      <a:lnTo>
                        <a:pt x="1186192" y="81280"/>
                      </a:lnTo>
                      <a:lnTo>
                        <a:pt x="1186192" y="50800"/>
                      </a:lnTo>
                      <a:lnTo>
                        <a:pt x="1182293" y="50800"/>
                      </a:lnTo>
                      <a:lnTo>
                        <a:pt x="1178077" y="52070"/>
                      </a:lnTo>
                      <a:lnTo>
                        <a:pt x="1173746" y="52070"/>
                      </a:lnTo>
                      <a:lnTo>
                        <a:pt x="1150708" y="55880"/>
                      </a:lnTo>
                      <a:lnTo>
                        <a:pt x="1143050" y="58420"/>
                      </a:lnTo>
                      <a:lnTo>
                        <a:pt x="1152093" y="63220"/>
                      </a:lnTo>
                      <a:lnTo>
                        <a:pt x="1149007" y="62230"/>
                      </a:lnTo>
                      <a:lnTo>
                        <a:pt x="1140053" y="62230"/>
                      </a:lnTo>
                      <a:lnTo>
                        <a:pt x="1135964" y="63500"/>
                      </a:lnTo>
                      <a:lnTo>
                        <a:pt x="1112570" y="67310"/>
                      </a:lnTo>
                      <a:lnTo>
                        <a:pt x="1117600" y="69850"/>
                      </a:lnTo>
                      <a:lnTo>
                        <a:pt x="1120978" y="73660"/>
                      </a:lnTo>
                      <a:lnTo>
                        <a:pt x="1118730" y="77470"/>
                      </a:lnTo>
                      <a:lnTo>
                        <a:pt x="1116469" y="80010"/>
                      </a:lnTo>
                      <a:lnTo>
                        <a:pt x="1116761" y="81280"/>
                      </a:lnTo>
                      <a:lnTo>
                        <a:pt x="1118133" y="82550"/>
                      </a:lnTo>
                      <a:lnTo>
                        <a:pt x="1119276" y="83820"/>
                      </a:lnTo>
                      <a:lnTo>
                        <a:pt x="1120787" y="87630"/>
                      </a:lnTo>
                      <a:lnTo>
                        <a:pt x="1118857" y="88900"/>
                      </a:lnTo>
                      <a:lnTo>
                        <a:pt x="1115631" y="88900"/>
                      </a:lnTo>
                      <a:lnTo>
                        <a:pt x="1113472" y="90170"/>
                      </a:lnTo>
                      <a:lnTo>
                        <a:pt x="1112824" y="90170"/>
                      </a:lnTo>
                      <a:lnTo>
                        <a:pt x="1109281" y="88900"/>
                      </a:lnTo>
                      <a:lnTo>
                        <a:pt x="1106576" y="86360"/>
                      </a:lnTo>
                      <a:lnTo>
                        <a:pt x="1102220" y="85090"/>
                      </a:lnTo>
                      <a:lnTo>
                        <a:pt x="1099578" y="85090"/>
                      </a:lnTo>
                      <a:lnTo>
                        <a:pt x="1095540" y="86360"/>
                      </a:lnTo>
                      <a:lnTo>
                        <a:pt x="1087831" y="86360"/>
                      </a:lnTo>
                      <a:lnTo>
                        <a:pt x="1086802" y="88900"/>
                      </a:lnTo>
                      <a:lnTo>
                        <a:pt x="1088275" y="91440"/>
                      </a:lnTo>
                      <a:lnTo>
                        <a:pt x="1089545" y="93980"/>
                      </a:lnTo>
                      <a:lnTo>
                        <a:pt x="1090117" y="93980"/>
                      </a:lnTo>
                      <a:lnTo>
                        <a:pt x="1092835" y="96520"/>
                      </a:lnTo>
                      <a:lnTo>
                        <a:pt x="1094854" y="99060"/>
                      </a:lnTo>
                      <a:lnTo>
                        <a:pt x="1095273" y="100330"/>
                      </a:lnTo>
                      <a:lnTo>
                        <a:pt x="1093152" y="99060"/>
                      </a:lnTo>
                      <a:lnTo>
                        <a:pt x="1092136" y="97790"/>
                      </a:lnTo>
                      <a:lnTo>
                        <a:pt x="1088466" y="93980"/>
                      </a:lnTo>
                      <a:lnTo>
                        <a:pt x="1086256" y="92710"/>
                      </a:lnTo>
                      <a:lnTo>
                        <a:pt x="1086358" y="90170"/>
                      </a:lnTo>
                      <a:lnTo>
                        <a:pt x="1080541" y="92633"/>
                      </a:lnTo>
                      <a:lnTo>
                        <a:pt x="1080541" y="120650"/>
                      </a:lnTo>
                      <a:lnTo>
                        <a:pt x="1079334" y="121920"/>
                      </a:lnTo>
                      <a:lnTo>
                        <a:pt x="1078534" y="120954"/>
                      </a:lnTo>
                      <a:lnTo>
                        <a:pt x="1079284" y="120650"/>
                      </a:lnTo>
                      <a:lnTo>
                        <a:pt x="1080541" y="120650"/>
                      </a:lnTo>
                      <a:lnTo>
                        <a:pt x="1080541" y="92633"/>
                      </a:lnTo>
                      <a:lnTo>
                        <a:pt x="1032205" y="113030"/>
                      </a:lnTo>
                      <a:lnTo>
                        <a:pt x="1029309" y="113030"/>
                      </a:lnTo>
                      <a:lnTo>
                        <a:pt x="1028242" y="114300"/>
                      </a:lnTo>
                      <a:lnTo>
                        <a:pt x="1028738" y="114300"/>
                      </a:lnTo>
                      <a:lnTo>
                        <a:pt x="1027887" y="116840"/>
                      </a:lnTo>
                      <a:lnTo>
                        <a:pt x="1028115" y="118110"/>
                      </a:lnTo>
                      <a:lnTo>
                        <a:pt x="1028560" y="119380"/>
                      </a:lnTo>
                      <a:lnTo>
                        <a:pt x="1027569" y="119380"/>
                      </a:lnTo>
                      <a:lnTo>
                        <a:pt x="1029449" y="120650"/>
                      </a:lnTo>
                      <a:lnTo>
                        <a:pt x="1032916" y="120650"/>
                      </a:lnTo>
                      <a:lnTo>
                        <a:pt x="1034453" y="123190"/>
                      </a:lnTo>
                      <a:lnTo>
                        <a:pt x="1041539" y="123190"/>
                      </a:lnTo>
                      <a:lnTo>
                        <a:pt x="1042619" y="121920"/>
                      </a:lnTo>
                      <a:lnTo>
                        <a:pt x="1045337" y="123190"/>
                      </a:lnTo>
                      <a:lnTo>
                        <a:pt x="1047610" y="123190"/>
                      </a:lnTo>
                      <a:lnTo>
                        <a:pt x="1047559" y="124460"/>
                      </a:lnTo>
                      <a:lnTo>
                        <a:pt x="1049655" y="125730"/>
                      </a:lnTo>
                      <a:lnTo>
                        <a:pt x="1052131" y="125730"/>
                      </a:lnTo>
                      <a:lnTo>
                        <a:pt x="1054963" y="124460"/>
                      </a:lnTo>
                      <a:lnTo>
                        <a:pt x="1056525" y="124460"/>
                      </a:lnTo>
                      <a:lnTo>
                        <a:pt x="1059395" y="121920"/>
                      </a:lnTo>
                      <a:lnTo>
                        <a:pt x="1059472" y="123190"/>
                      </a:lnTo>
                      <a:lnTo>
                        <a:pt x="1066126" y="124460"/>
                      </a:lnTo>
                      <a:lnTo>
                        <a:pt x="1069352" y="121920"/>
                      </a:lnTo>
                      <a:lnTo>
                        <a:pt x="1075029" y="116840"/>
                      </a:lnTo>
                      <a:lnTo>
                        <a:pt x="1075982" y="118110"/>
                      </a:lnTo>
                      <a:lnTo>
                        <a:pt x="1075131" y="119380"/>
                      </a:lnTo>
                      <a:lnTo>
                        <a:pt x="1075613" y="120650"/>
                      </a:lnTo>
                      <a:lnTo>
                        <a:pt x="1075296" y="120650"/>
                      </a:lnTo>
                      <a:lnTo>
                        <a:pt x="1074102" y="123190"/>
                      </a:lnTo>
                      <a:lnTo>
                        <a:pt x="1069174" y="124460"/>
                      </a:lnTo>
                      <a:lnTo>
                        <a:pt x="1066126" y="124460"/>
                      </a:lnTo>
                      <a:lnTo>
                        <a:pt x="1065923" y="124460"/>
                      </a:lnTo>
                      <a:lnTo>
                        <a:pt x="1062837" y="125730"/>
                      </a:lnTo>
                      <a:lnTo>
                        <a:pt x="1064806" y="125730"/>
                      </a:lnTo>
                      <a:lnTo>
                        <a:pt x="1064196" y="127000"/>
                      </a:lnTo>
                      <a:lnTo>
                        <a:pt x="1061720" y="130810"/>
                      </a:lnTo>
                      <a:lnTo>
                        <a:pt x="1064018" y="130810"/>
                      </a:lnTo>
                      <a:lnTo>
                        <a:pt x="1063447" y="134620"/>
                      </a:lnTo>
                      <a:lnTo>
                        <a:pt x="1064755" y="134620"/>
                      </a:lnTo>
                      <a:lnTo>
                        <a:pt x="1064945" y="135890"/>
                      </a:lnTo>
                      <a:lnTo>
                        <a:pt x="1064107" y="137160"/>
                      </a:lnTo>
                      <a:lnTo>
                        <a:pt x="1062177" y="139700"/>
                      </a:lnTo>
                      <a:lnTo>
                        <a:pt x="1059561" y="143510"/>
                      </a:lnTo>
                      <a:lnTo>
                        <a:pt x="1055128" y="149860"/>
                      </a:lnTo>
                      <a:lnTo>
                        <a:pt x="1053426" y="152400"/>
                      </a:lnTo>
                      <a:lnTo>
                        <a:pt x="1048880" y="154940"/>
                      </a:lnTo>
                      <a:lnTo>
                        <a:pt x="1047724" y="153670"/>
                      </a:lnTo>
                      <a:lnTo>
                        <a:pt x="1044727" y="154940"/>
                      </a:lnTo>
                      <a:lnTo>
                        <a:pt x="1045083" y="153670"/>
                      </a:lnTo>
                      <a:lnTo>
                        <a:pt x="1038110" y="153670"/>
                      </a:lnTo>
                      <a:lnTo>
                        <a:pt x="1037399" y="154940"/>
                      </a:lnTo>
                      <a:lnTo>
                        <a:pt x="1035786" y="154940"/>
                      </a:lnTo>
                      <a:lnTo>
                        <a:pt x="1036789" y="153670"/>
                      </a:lnTo>
                      <a:lnTo>
                        <a:pt x="1035354" y="153670"/>
                      </a:lnTo>
                      <a:lnTo>
                        <a:pt x="1034453" y="154940"/>
                      </a:lnTo>
                      <a:lnTo>
                        <a:pt x="1033741" y="153670"/>
                      </a:lnTo>
                      <a:lnTo>
                        <a:pt x="1031722" y="154940"/>
                      </a:lnTo>
                      <a:lnTo>
                        <a:pt x="1030122" y="153670"/>
                      </a:lnTo>
                      <a:lnTo>
                        <a:pt x="1019200" y="154940"/>
                      </a:lnTo>
                      <a:lnTo>
                        <a:pt x="1004849" y="158750"/>
                      </a:lnTo>
                      <a:lnTo>
                        <a:pt x="1002893" y="161290"/>
                      </a:lnTo>
                      <a:lnTo>
                        <a:pt x="1007808" y="161290"/>
                      </a:lnTo>
                      <a:lnTo>
                        <a:pt x="1009561" y="162560"/>
                      </a:lnTo>
                      <a:lnTo>
                        <a:pt x="1008875" y="163830"/>
                      </a:lnTo>
                      <a:lnTo>
                        <a:pt x="1005840" y="163830"/>
                      </a:lnTo>
                      <a:lnTo>
                        <a:pt x="980935" y="170180"/>
                      </a:lnTo>
                      <a:lnTo>
                        <a:pt x="974458" y="170180"/>
                      </a:lnTo>
                      <a:lnTo>
                        <a:pt x="953693" y="172720"/>
                      </a:lnTo>
                      <a:lnTo>
                        <a:pt x="955865" y="173990"/>
                      </a:lnTo>
                      <a:lnTo>
                        <a:pt x="953884" y="175260"/>
                      </a:lnTo>
                      <a:lnTo>
                        <a:pt x="956233" y="176530"/>
                      </a:lnTo>
                      <a:lnTo>
                        <a:pt x="953541" y="177800"/>
                      </a:lnTo>
                      <a:lnTo>
                        <a:pt x="951953" y="177800"/>
                      </a:lnTo>
                      <a:lnTo>
                        <a:pt x="952182" y="179070"/>
                      </a:lnTo>
                      <a:lnTo>
                        <a:pt x="951064" y="181610"/>
                      </a:lnTo>
                      <a:lnTo>
                        <a:pt x="949794" y="182880"/>
                      </a:lnTo>
                      <a:lnTo>
                        <a:pt x="948575" y="184150"/>
                      </a:lnTo>
                      <a:lnTo>
                        <a:pt x="975702" y="193040"/>
                      </a:lnTo>
                      <a:lnTo>
                        <a:pt x="973213" y="195580"/>
                      </a:lnTo>
                      <a:lnTo>
                        <a:pt x="974712" y="196850"/>
                      </a:lnTo>
                      <a:lnTo>
                        <a:pt x="979665" y="195580"/>
                      </a:lnTo>
                      <a:lnTo>
                        <a:pt x="984745" y="195580"/>
                      </a:lnTo>
                      <a:lnTo>
                        <a:pt x="988606" y="194310"/>
                      </a:lnTo>
                      <a:lnTo>
                        <a:pt x="989647" y="194310"/>
                      </a:lnTo>
                      <a:lnTo>
                        <a:pt x="992670" y="194310"/>
                      </a:lnTo>
                      <a:lnTo>
                        <a:pt x="991298" y="195580"/>
                      </a:lnTo>
                      <a:lnTo>
                        <a:pt x="989647" y="194310"/>
                      </a:lnTo>
                      <a:lnTo>
                        <a:pt x="986447" y="196850"/>
                      </a:lnTo>
                      <a:lnTo>
                        <a:pt x="984135" y="198120"/>
                      </a:lnTo>
                      <a:lnTo>
                        <a:pt x="982878" y="199390"/>
                      </a:lnTo>
                      <a:lnTo>
                        <a:pt x="988034" y="199390"/>
                      </a:lnTo>
                      <a:lnTo>
                        <a:pt x="993559" y="198120"/>
                      </a:lnTo>
                      <a:lnTo>
                        <a:pt x="996607" y="196850"/>
                      </a:lnTo>
                      <a:lnTo>
                        <a:pt x="999604" y="196850"/>
                      </a:lnTo>
                      <a:lnTo>
                        <a:pt x="999261" y="198120"/>
                      </a:lnTo>
                      <a:lnTo>
                        <a:pt x="999921" y="198120"/>
                      </a:lnTo>
                      <a:lnTo>
                        <a:pt x="998194" y="199390"/>
                      </a:lnTo>
                      <a:lnTo>
                        <a:pt x="996708" y="199390"/>
                      </a:lnTo>
                      <a:lnTo>
                        <a:pt x="997153" y="200660"/>
                      </a:lnTo>
                      <a:lnTo>
                        <a:pt x="998004" y="201930"/>
                      </a:lnTo>
                      <a:lnTo>
                        <a:pt x="999655" y="201930"/>
                      </a:lnTo>
                      <a:lnTo>
                        <a:pt x="1000671" y="200660"/>
                      </a:lnTo>
                      <a:lnTo>
                        <a:pt x="1003998" y="200660"/>
                      </a:lnTo>
                      <a:lnTo>
                        <a:pt x="1005725" y="203200"/>
                      </a:lnTo>
                      <a:lnTo>
                        <a:pt x="1005636" y="205740"/>
                      </a:lnTo>
                      <a:lnTo>
                        <a:pt x="1006563" y="205740"/>
                      </a:lnTo>
                      <a:lnTo>
                        <a:pt x="1008367" y="204470"/>
                      </a:lnTo>
                      <a:lnTo>
                        <a:pt x="1010081" y="204470"/>
                      </a:lnTo>
                      <a:lnTo>
                        <a:pt x="1013218" y="203200"/>
                      </a:lnTo>
                      <a:lnTo>
                        <a:pt x="1011834" y="201930"/>
                      </a:lnTo>
                      <a:lnTo>
                        <a:pt x="1011999" y="200660"/>
                      </a:lnTo>
                      <a:lnTo>
                        <a:pt x="1012164" y="199390"/>
                      </a:lnTo>
                      <a:lnTo>
                        <a:pt x="1013739" y="201930"/>
                      </a:lnTo>
                      <a:lnTo>
                        <a:pt x="1014971" y="204470"/>
                      </a:lnTo>
                      <a:lnTo>
                        <a:pt x="1025893" y="204470"/>
                      </a:lnTo>
                      <a:lnTo>
                        <a:pt x="1028992" y="203200"/>
                      </a:lnTo>
                      <a:lnTo>
                        <a:pt x="1034008" y="200660"/>
                      </a:lnTo>
                      <a:lnTo>
                        <a:pt x="1039355" y="201930"/>
                      </a:lnTo>
                      <a:lnTo>
                        <a:pt x="1047699" y="201930"/>
                      </a:lnTo>
                      <a:lnTo>
                        <a:pt x="1049629" y="208280"/>
                      </a:lnTo>
                      <a:lnTo>
                        <a:pt x="1043279" y="207010"/>
                      </a:lnTo>
                      <a:lnTo>
                        <a:pt x="1041679" y="207010"/>
                      </a:lnTo>
                      <a:lnTo>
                        <a:pt x="1042238" y="208280"/>
                      </a:lnTo>
                      <a:lnTo>
                        <a:pt x="1043965" y="209550"/>
                      </a:lnTo>
                      <a:lnTo>
                        <a:pt x="1046175" y="210820"/>
                      </a:lnTo>
                      <a:lnTo>
                        <a:pt x="1047381" y="212090"/>
                      </a:lnTo>
                      <a:lnTo>
                        <a:pt x="1042797" y="212090"/>
                      </a:lnTo>
                      <a:lnTo>
                        <a:pt x="1040053" y="208280"/>
                      </a:lnTo>
                      <a:lnTo>
                        <a:pt x="1013739" y="208280"/>
                      </a:lnTo>
                      <a:lnTo>
                        <a:pt x="1008316" y="209550"/>
                      </a:lnTo>
                      <a:lnTo>
                        <a:pt x="1006652" y="212090"/>
                      </a:lnTo>
                      <a:lnTo>
                        <a:pt x="1009510" y="213360"/>
                      </a:lnTo>
                      <a:lnTo>
                        <a:pt x="1024572" y="213360"/>
                      </a:lnTo>
                      <a:lnTo>
                        <a:pt x="1029512" y="213360"/>
                      </a:lnTo>
                      <a:lnTo>
                        <a:pt x="1034592" y="214630"/>
                      </a:lnTo>
                      <a:lnTo>
                        <a:pt x="1043495" y="214630"/>
                      </a:lnTo>
                      <a:lnTo>
                        <a:pt x="1044549" y="215900"/>
                      </a:lnTo>
                      <a:lnTo>
                        <a:pt x="1033487" y="215900"/>
                      </a:lnTo>
                      <a:lnTo>
                        <a:pt x="1027557" y="214630"/>
                      </a:lnTo>
                      <a:lnTo>
                        <a:pt x="1024572" y="213360"/>
                      </a:lnTo>
                      <a:lnTo>
                        <a:pt x="1018019" y="214630"/>
                      </a:lnTo>
                      <a:lnTo>
                        <a:pt x="1014945" y="214630"/>
                      </a:lnTo>
                      <a:lnTo>
                        <a:pt x="1005205" y="213360"/>
                      </a:lnTo>
                      <a:lnTo>
                        <a:pt x="999172" y="213360"/>
                      </a:lnTo>
                      <a:lnTo>
                        <a:pt x="990257" y="212090"/>
                      </a:lnTo>
                      <a:lnTo>
                        <a:pt x="986586" y="212090"/>
                      </a:lnTo>
                      <a:lnTo>
                        <a:pt x="981125" y="213360"/>
                      </a:lnTo>
                      <a:lnTo>
                        <a:pt x="982967" y="214630"/>
                      </a:lnTo>
                      <a:lnTo>
                        <a:pt x="977087" y="214630"/>
                      </a:lnTo>
                      <a:lnTo>
                        <a:pt x="975042" y="215900"/>
                      </a:lnTo>
                      <a:lnTo>
                        <a:pt x="973505" y="218440"/>
                      </a:lnTo>
                      <a:lnTo>
                        <a:pt x="973353" y="220980"/>
                      </a:lnTo>
                      <a:lnTo>
                        <a:pt x="975563" y="220980"/>
                      </a:lnTo>
                      <a:lnTo>
                        <a:pt x="976388" y="222250"/>
                      </a:lnTo>
                      <a:lnTo>
                        <a:pt x="975829" y="219710"/>
                      </a:lnTo>
                      <a:lnTo>
                        <a:pt x="981595" y="220980"/>
                      </a:lnTo>
                      <a:lnTo>
                        <a:pt x="982472" y="222250"/>
                      </a:lnTo>
                      <a:lnTo>
                        <a:pt x="981405" y="222250"/>
                      </a:lnTo>
                      <a:lnTo>
                        <a:pt x="980389" y="223520"/>
                      </a:lnTo>
                      <a:lnTo>
                        <a:pt x="981354" y="226060"/>
                      </a:lnTo>
                      <a:lnTo>
                        <a:pt x="983094" y="224790"/>
                      </a:lnTo>
                      <a:lnTo>
                        <a:pt x="985951" y="226060"/>
                      </a:lnTo>
                      <a:lnTo>
                        <a:pt x="987005" y="226060"/>
                      </a:lnTo>
                      <a:lnTo>
                        <a:pt x="988593" y="224790"/>
                      </a:lnTo>
                      <a:lnTo>
                        <a:pt x="991768" y="222250"/>
                      </a:lnTo>
                      <a:lnTo>
                        <a:pt x="995006" y="219710"/>
                      </a:lnTo>
                      <a:lnTo>
                        <a:pt x="998842" y="219710"/>
                      </a:lnTo>
                      <a:lnTo>
                        <a:pt x="997572" y="220980"/>
                      </a:lnTo>
                      <a:lnTo>
                        <a:pt x="996264" y="220980"/>
                      </a:lnTo>
                      <a:lnTo>
                        <a:pt x="993927" y="222250"/>
                      </a:lnTo>
                      <a:lnTo>
                        <a:pt x="992200" y="224790"/>
                      </a:lnTo>
                      <a:lnTo>
                        <a:pt x="991997" y="227330"/>
                      </a:lnTo>
                      <a:lnTo>
                        <a:pt x="998689" y="228600"/>
                      </a:lnTo>
                      <a:lnTo>
                        <a:pt x="1002588" y="228600"/>
                      </a:lnTo>
                      <a:lnTo>
                        <a:pt x="1004900" y="229870"/>
                      </a:lnTo>
                      <a:lnTo>
                        <a:pt x="1011859" y="229870"/>
                      </a:lnTo>
                      <a:lnTo>
                        <a:pt x="1015936" y="228600"/>
                      </a:lnTo>
                      <a:lnTo>
                        <a:pt x="1020445" y="229870"/>
                      </a:lnTo>
                      <a:lnTo>
                        <a:pt x="1020927" y="229870"/>
                      </a:lnTo>
                      <a:lnTo>
                        <a:pt x="1020000" y="231140"/>
                      </a:lnTo>
                      <a:lnTo>
                        <a:pt x="1022070" y="232410"/>
                      </a:lnTo>
                      <a:lnTo>
                        <a:pt x="1015415" y="232410"/>
                      </a:lnTo>
                      <a:lnTo>
                        <a:pt x="1009904" y="231140"/>
                      </a:lnTo>
                      <a:lnTo>
                        <a:pt x="1008976" y="233680"/>
                      </a:lnTo>
                      <a:lnTo>
                        <a:pt x="1005484" y="234950"/>
                      </a:lnTo>
                      <a:lnTo>
                        <a:pt x="1004100" y="234950"/>
                      </a:lnTo>
                      <a:lnTo>
                        <a:pt x="1002665" y="236220"/>
                      </a:lnTo>
                      <a:lnTo>
                        <a:pt x="999502" y="236220"/>
                      </a:lnTo>
                      <a:lnTo>
                        <a:pt x="997369" y="238760"/>
                      </a:lnTo>
                      <a:lnTo>
                        <a:pt x="998220" y="238760"/>
                      </a:lnTo>
                      <a:lnTo>
                        <a:pt x="1000175" y="240030"/>
                      </a:lnTo>
                      <a:lnTo>
                        <a:pt x="1001623" y="240030"/>
                      </a:lnTo>
                      <a:lnTo>
                        <a:pt x="1005687" y="241300"/>
                      </a:lnTo>
                      <a:lnTo>
                        <a:pt x="1007503" y="243840"/>
                      </a:lnTo>
                      <a:lnTo>
                        <a:pt x="1012520" y="245110"/>
                      </a:lnTo>
                      <a:lnTo>
                        <a:pt x="1013752" y="246380"/>
                      </a:lnTo>
                      <a:lnTo>
                        <a:pt x="1017752" y="247650"/>
                      </a:lnTo>
                      <a:lnTo>
                        <a:pt x="1019263" y="247650"/>
                      </a:lnTo>
                      <a:lnTo>
                        <a:pt x="1028230" y="248920"/>
                      </a:lnTo>
                      <a:lnTo>
                        <a:pt x="1042974" y="251460"/>
                      </a:lnTo>
                      <a:lnTo>
                        <a:pt x="1042670" y="248920"/>
                      </a:lnTo>
                      <a:lnTo>
                        <a:pt x="1036066" y="248920"/>
                      </a:lnTo>
                      <a:lnTo>
                        <a:pt x="1034427" y="246380"/>
                      </a:lnTo>
                      <a:lnTo>
                        <a:pt x="1035100" y="246380"/>
                      </a:lnTo>
                      <a:lnTo>
                        <a:pt x="1034796" y="245110"/>
                      </a:lnTo>
                      <a:lnTo>
                        <a:pt x="1034465" y="245110"/>
                      </a:lnTo>
                      <a:lnTo>
                        <a:pt x="1033741" y="242595"/>
                      </a:lnTo>
                      <a:lnTo>
                        <a:pt x="1033653" y="241300"/>
                      </a:lnTo>
                      <a:lnTo>
                        <a:pt x="1037005" y="241300"/>
                      </a:lnTo>
                      <a:lnTo>
                        <a:pt x="1038326" y="242595"/>
                      </a:lnTo>
                      <a:lnTo>
                        <a:pt x="1039812" y="243840"/>
                      </a:lnTo>
                      <a:lnTo>
                        <a:pt x="1038885" y="243840"/>
                      </a:lnTo>
                      <a:lnTo>
                        <a:pt x="1039647" y="245110"/>
                      </a:lnTo>
                      <a:lnTo>
                        <a:pt x="1043203" y="247650"/>
                      </a:lnTo>
                      <a:lnTo>
                        <a:pt x="1044384" y="246380"/>
                      </a:lnTo>
                      <a:lnTo>
                        <a:pt x="1044524" y="245110"/>
                      </a:lnTo>
                      <a:lnTo>
                        <a:pt x="1045972" y="241300"/>
                      </a:lnTo>
                      <a:lnTo>
                        <a:pt x="1048740" y="240030"/>
                      </a:lnTo>
                      <a:lnTo>
                        <a:pt x="1054125" y="241300"/>
                      </a:lnTo>
                      <a:lnTo>
                        <a:pt x="1055814" y="242570"/>
                      </a:lnTo>
                      <a:lnTo>
                        <a:pt x="1053846" y="242570"/>
                      </a:lnTo>
                      <a:lnTo>
                        <a:pt x="1052969" y="243840"/>
                      </a:lnTo>
                      <a:lnTo>
                        <a:pt x="1053858" y="243840"/>
                      </a:lnTo>
                      <a:lnTo>
                        <a:pt x="1050493" y="245110"/>
                      </a:lnTo>
                      <a:lnTo>
                        <a:pt x="1057275" y="247650"/>
                      </a:lnTo>
                      <a:lnTo>
                        <a:pt x="1058989" y="248920"/>
                      </a:lnTo>
                      <a:lnTo>
                        <a:pt x="1059662" y="247650"/>
                      </a:lnTo>
                      <a:lnTo>
                        <a:pt x="1063586" y="246380"/>
                      </a:lnTo>
                      <a:lnTo>
                        <a:pt x="1066342" y="246380"/>
                      </a:lnTo>
                      <a:lnTo>
                        <a:pt x="1069162" y="245110"/>
                      </a:lnTo>
                      <a:lnTo>
                        <a:pt x="1068616" y="245110"/>
                      </a:lnTo>
                      <a:lnTo>
                        <a:pt x="1069454" y="244030"/>
                      </a:lnTo>
                      <a:lnTo>
                        <a:pt x="1069390" y="245110"/>
                      </a:lnTo>
                      <a:lnTo>
                        <a:pt x="1069746" y="243840"/>
                      </a:lnTo>
                      <a:lnTo>
                        <a:pt x="1070521" y="242570"/>
                      </a:lnTo>
                      <a:lnTo>
                        <a:pt x="1073200" y="241300"/>
                      </a:lnTo>
                      <a:lnTo>
                        <a:pt x="1073962" y="240030"/>
                      </a:lnTo>
                      <a:lnTo>
                        <a:pt x="1074458" y="241300"/>
                      </a:lnTo>
                      <a:lnTo>
                        <a:pt x="1075436" y="242595"/>
                      </a:lnTo>
                      <a:lnTo>
                        <a:pt x="1076921" y="245110"/>
                      </a:lnTo>
                      <a:lnTo>
                        <a:pt x="1082052" y="245110"/>
                      </a:lnTo>
                      <a:lnTo>
                        <a:pt x="1081608" y="242570"/>
                      </a:lnTo>
                      <a:lnTo>
                        <a:pt x="1116698" y="245110"/>
                      </a:lnTo>
                      <a:lnTo>
                        <a:pt x="1120343" y="243840"/>
                      </a:lnTo>
                      <a:lnTo>
                        <a:pt x="1123442" y="245110"/>
                      </a:lnTo>
                      <a:lnTo>
                        <a:pt x="1123213" y="245110"/>
                      </a:lnTo>
                      <a:lnTo>
                        <a:pt x="1125397" y="247650"/>
                      </a:lnTo>
                      <a:lnTo>
                        <a:pt x="1128128" y="247650"/>
                      </a:lnTo>
                      <a:lnTo>
                        <a:pt x="1137818" y="250190"/>
                      </a:lnTo>
                      <a:lnTo>
                        <a:pt x="1160322" y="257810"/>
                      </a:lnTo>
                      <a:lnTo>
                        <a:pt x="1156931" y="257810"/>
                      </a:lnTo>
                      <a:lnTo>
                        <a:pt x="1157325" y="259080"/>
                      </a:lnTo>
                      <a:lnTo>
                        <a:pt x="1159040" y="259080"/>
                      </a:lnTo>
                      <a:lnTo>
                        <a:pt x="1159522" y="260350"/>
                      </a:lnTo>
                      <a:lnTo>
                        <a:pt x="1158214" y="260350"/>
                      </a:lnTo>
                      <a:lnTo>
                        <a:pt x="1158519" y="262890"/>
                      </a:lnTo>
                      <a:lnTo>
                        <a:pt x="1161694" y="261620"/>
                      </a:lnTo>
                      <a:lnTo>
                        <a:pt x="1161326" y="265430"/>
                      </a:lnTo>
                      <a:lnTo>
                        <a:pt x="1158278" y="265430"/>
                      </a:lnTo>
                      <a:lnTo>
                        <a:pt x="1155573" y="267970"/>
                      </a:lnTo>
                      <a:lnTo>
                        <a:pt x="1158582" y="267970"/>
                      </a:lnTo>
                      <a:lnTo>
                        <a:pt x="1159700" y="267220"/>
                      </a:lnTo>
                      <a:lnTo>
                        <a:pt x="1159167" y="267970"/>
                      </a:lnTo>
                      <a:lnTo>
                        <a:pt x="1159725" y="267970"/>
                      </a:lnTo>
                      <a:lnTo>
                        <a:pt x="1158773" y="269240"/>
                      </a:lnTo>
                      <a:lnTo>
                        <a:pt x="1157198" y="269240"/>
                      </a:lnTo>
                      <a:lnTo>
                        <a:pt x="1159548" y="271780"/>
                      </a:lnTo>
                      <a:lnTo>
                        <a:pt x="1162050" y="271780"/>
                      </a:lnTo>
                      <a:lnTo>
                        <a:pt x="1166914" y="274320"/>
                      </a:lnTo>
                      <a:lnTo>
                        <a:pt x="1168514" y="278130"/>
                      </a:lnTo>
                      <a:lnTo>
                        <a:pt x="1172984" y="279400"/>
                      </a:lnTo>
                      <a:lnTo>
                        <a:pt x="1173695" y="280670"/>
                      </a:lnTo>
                      <a:lnTo>
                        <a:pt x="1178496" y="280670"/>
                      </a:lnTo>
                      <a:lnTo>
                        <a:pt x="1178623" y="281940"/>
                      </a:lnTo>
                      <a:lnTo>
                        <a:pt x="1181773" y="283210"/>
                      </a:lnTo>
                      <a:lnTo>
                        <a:pt x="1179677" y="284480"/>
                      </a:lnTo>
                      <a:lnTo>
                        <a:pt x="1178090" y="285750"/>
                      </a:lnTo>
                      <a:lnTo>
                        <a:pt x="1178140" y="284480"/>
                      </a:lnTo>
                      <a:lnTo>
                        <a:pt x="1175245" y="284480"/>
                      </a:lnTo>
                      <a:lnTo>
                        <a:pt x="1177696" y="287020"/>
                      </a:lnTo>
                      <a:lnTo>
                        <a:pt x="1178979" y="285750"/>
                      </a:lnTo>
                      <a:lnTo>
                        <a:pt x="1180871" y="287020"/>
                      </a:lnTo>
                      <a:lnTo>
                        <a:pt x="1181696" y="287020"/>
                      </a:lnTo>
                      <a:lnTo>
                        <a:pt x="1182916" y="288290"/>
                      </a:lnTo>
                      <a:lnTo>
                        <a:pt x="1185430" y="288290"/>
                      </a:lnTo>
                      <a:lnTo>
                        <a:pt x="1183652" y="289560"/>
                      </a:lnTo>
                      <a:lnTo>
                        <a:pt x="1186014" y="290830"/>
                      </a:lnTo>
                      <a:lnTo>
                        <a:pt x="1189278" y="290830"/>
                      </a:lnTo>
                      <a:lnTo>
                        <a:pt x="1189964" y="292100"/>
                      </a:lnTo>
                      <a:lnTo>
                        <a:pt x="1188516" y="293370"/>
                      </a:lnTo>
                      <a:lnTo>
                        <a:pt x="1188034" y="293370"/>
                      </a:lnTo>
                      <a:lnTo>
                        <a:pt x="1186091" y="294640"/>
                      </a:lnTo>
                      <a:lnTo>
                        <a:pt x="1183449" y="293370"/>
                      </a:lnTo>
                      <a:lnTo>
                        <a:pt x="1181354" y="293370"/>
                      </a:lnTo>
                      <a:lnTo>
                        <a:pt x="1183093" y="294640"/>
                      </a:lnTo>
                      <a:lnTo>
                        <a:pt x="1185100" y="295910"/>
                      </a:lnTo>
                      <a:lnTo>
                        <a:pt x="1187615" y="294640"/>
                      </a:lnTo>
                      <a:lnTo>
                        <a:pt x="1190320" y="294640"/>
                      </a:lnTo>
                      <a:lnTo>
                        <a:pt x="1190294" y="297180"/>
                      </a:lnTo>
                      <a:lnTo>
                        <a:pt x="1184605" y="297180"/>
                      </a:lnTo>
                      <a:lnTo>
                        <a:pt x="1185926" y="298450"/>
                      </a:lnTo>
                      <a:lnTo>
                        <a:pt x="1187399" y="298450"/>
                      </a:lnTo>
                      <a:lnTo>
                        <a:pt x="1184706" y="299720"/>
                      </a:lnTo>
                      <a:lnTo>
                        <a:pt x="1182395" y="300990"/>
                      </a:lnTo>
                      <a:lnTo>
                        <a:pt x="1186129" y="300990"/>
                      </a:lnTo>
                      <a:lnTo>
                        <a:pt x="1187843" y="300990"/>
                      </a:lnTo>
                      <a:lnTo>
                        <a:pt x="1189329" y="299720"/>
                      </a:lnTo>
                      <a:lnTo>
                        <a:pt x="1189837" y="298450"/>
                      </a:lnTo>
                      <a:lnTo>
                        <a:pt x="1191501" y="299720"/>
                      </a:lnTo>
                      <a:lnTo>
                        <a:pt x="1189228" y="300990"/>
                      </a:lnTo>
                      <a:lnTo>
                        <a:pt x="1188288" y="302260"/>
                      </a:lnTo>
                      <a:lnTo>
                        <a:pt x="1188720" y="304800"/>
                      </a:lnTo>
                      <a:lnTo>
                        <a:pt x="1190967" y="304800"/>
                      </a:lnTo>
                      <a:lnTo>
                        <a:pt x="1192999" y="306070"/>
                      </a:lnTo>
                      <a:lnTo>
                        <a:pt x="1190472" y="306070"/>
                      </a:lnTo>
                      <a:lnTo>
                        <a:pt x="1191742" y="308610"/>
                      </a:lnTo>
                      <a:lnTo>
                        <a:pt x="1194676" y="308610"/>
                      </a:lnTo>
                      <a:lnTo>
                        <a:pt x="1199248" y="309880"/>
                      </a:lnTo>
                      <a:lnTo>
                        <a:pt x="1195565" y="311150"/>
                      </a:lnTo>
                      <a:lnTo>
                        <a:pt x="1193596" y="311150"/>
                      </a:lnTo>
                      <a:lnTo>
                        <a:pt x="1193825" y="312420"/>
                      </a:lnTo>
                      <a:lnTo>
                        <a:pt x="1196632" y="312420"/>
                      </a:lnTo>
                      <a:lnTo>
                        <a:pt x="1197610" y="313690"/>
                      </a:lnTo>
                      <a:lnTo>
                        <a:pt x="1195870" y="314960"/>
                      </a:lnTo>
                      <a:lnTo>
                        <a:pt x="1195362" y="313690"/>
                      </a:lnTo>
                      <a:lnTo>
                        <a:pt x="1192542" y="313690"/>
                      </a:lnTo>
                      <a:lnTo>
                        <a:pt x="1193800" y="314960"/>
                      </a:lnTo>
                      <a:lnTo>
                        <a:pt x="1194638" y="314960"/>
                      </a:lnTo>
                      <a:lnTo>
                        <a:pt x="1193673" y="316230"/>
                      </a:lnTo>
                      <a:lnTo>
                        <a:pt x="1191679" y="316230"/>
                      </a:lnTo>
                      <a:lnTo>
                        <a:pt x="1193939" y="317500"/>
                      </a:lnTo>
                      <a:lnTo>
                        <a:pt x="1196060" y="317500"/>
                      </a:lnTo>
                      <a:lnTo>
                        <a:pt x="1199159" y="320040"/>
                      </a:lnTo>
                      <a:lnTo>
                        <a:pt x="1199908" y="321310"/>
                      </a:lnTo>
                      <a:lnTo>
                        <a:pt x="1202601" y="322580"/>
                      </a:lnTo>
                      <a:lnTo>
                        <a:pt x="1206639" y="322580"/>
                      </a:lnTo>
                      <a:lnTo>
                        <a:pt x="1203515" y="323850"/>
                      </a:lnTo>
                      <a:lnTo>
                        <a:pt x="1202778" y="323850"/>
                      </a:lnTo>
                      <a:lnTo>
                        <a:pt x="1202131" y="325120"/>
                      </a:lnTo>
                      <a:lnTo>
                        <a:pt x="1201902" y="325120"/>
                      </a:lnTo>
                      <a:lnTo>
                        <a:pt x="1201318" y="326390"/>
                      </a:lnTo>
                      <a:lnTo>
                        <a:pt x="1200543" y="326390"/>
                      </a:lnTo>
                      <a:lnTo>
                        <a:pt x="1201394" y="327660"/>
                      </a:lnTo>
                      <a:lnTo>
                        <a:pt x="1207223" y="327660"/>
                      </a:lnTo>
                      <a:lnTo>
                        <a:pt x="1202499" y="328930"/>
                      </a:lnTo>
                      <a:lnTo>
                        <a:pt x="1200200" y="328930"/>
                      </a:lnTo>
                      <a:lnTo>
                        <a:pt x="1201293" y="330200"/>
                      </a:lnTo>
                      <a:lnTo>
                        <a:pt x="1199832" y="332740"/>
                      </a:lnTo>
                      <a:lnTo>
                        <a:pt x="1201813" y="332740"/>
                      </a:lnTo>
                      <a:lnTo>
                        <a:pt x="1203210" y="334010"/>
                      </a:lnTo>
                      <a:lnTo>
                        <a:pt x="1205369" y="334010"/>
                      </a:lnTo>
                      <a:lnTo>
                        <a:pt x="1206334" y="331470"/>
                      </a:lnTo>
                      <a:lnTo>
                        <a:pt x="1208951" y="335280"/>
                      </a:lnTo>
                      <a:lnTo>
                        <a:pt x="1209992" y="332740"/>
                      </a:lnTo>
                      <a:lnTo>
                        <a:pt x="1210830" y="339090"/>
                      </a:lnTo>
                      <a:lnTo>
                        <a:pt x="1210259" y="339090"/>
                      </a:lnTo>
                      <a:lnTo>
                        <a:pt x="1208163" y="340360"/>
                      </a:lnTo>
                      <a:lnTo>
                        <a:pt x="1214602" y="340360"/>
                      </a:lnTo>
                      <a:lnTo>
                        <a:pt x="1212278" y="341630"/>
                      </a:lnTo>
                      <a:lnTo>
                        <a:pt x="1211199" y="341630"/>
                      </a:lnTo>
                      <a:lnTo>
                        <a:pt x="1210348" y="342900"/>
                      </a:lnTo>
                      <a:lnTo>
                        <a:pt x="1207884" y="342900"/>
                      </a:lnTo>
                      <a:lnTo>
                        <a:pt x="1209878" y="344170"/>
                      </a:lnTo>
                      <a:lnTo>
                        <a:pt x="1211999" y="344170"/>
                      </a:lnTo>
                      <a:lnTo>
                        <a:pt x="1210487" y="345440"/>
                      </a:lnTo>
                      <a:lnTo>
                        <a:pt x="1208925" y="344170"/>
                      </a:lnTo>
                      <a:lnTo>
                        <a:pt x="1206144" y="346710"/>
                      </a:lnTo>
                      <a:lnTo>
                        <a:pt x="1207185" y="347980"/>
                      </a:lnTo>
                      <a:lnTo>
                        <a:pt x="1210360" y="346710"/>
                      </a:lnTo>
                      <a:lnTo>
                        <a:pt x="1211630" y="347980"/>
                      </a:lnTo>
                      <a:lnTo>
                        <a:pt x="1214640" y="347980"/>
                      </a:lnTo>
                      <a:lnTo>
                        <a:pt x="1212583" y="349250"/>
                      </a:lnTo>
                      <a:lnTo>
                        <a:pt x="1209636" y="347980"/>
                      </a:lnTo>
                      <a:lnTo>
                        <a:pt x="1208925" y="349250"/>
                      </a:lnTo>
                      <a:lnTo>
                        <a:pt x="1207135" y="347980"/>
                      </a:lnTo>
                      <a:lnTo>
                        <a:pt x="1203617" y="347980"/>
                      </a:lnTo>
                      <a:lnTo>
                        <a:pt x="1201051" y="346710"/>
                      </a:lnTo>
                      <a:lnTo>
                        <a:pt x="1199299" y="347980"/>
                      </a:lnTo>
                      <a:lnTo>
                        <a:pt x="1197444" y="349250"/>
                      </a:lnTo>
                      <a:lnTo>
                        <a:pt x="1199197" y="350520"/>
                      </a:lnTo>
                      <a:lnTo>
                        <a:pt x="1202016" y="350520"/>
                      </a:lnTo>
                      <a:lnTo>
                        <a:pt x="1201737" y="349250"/>
                      </a:lnTo>
                      <a:lnTo>
                        <a:pt x="1203363" y="349250"/>
                      </a:lnTo>
                      <a:lnTo>
                        <a:pt x="1203972" y="350520"/>
                      </a:lnTo>
                      <a:lnTo>
                        <a:pt x="1206881" y="350520"/>
                      </a:lnTo>
                      <a:lnTo>
                        <a:pt x="1206665" y="349250"/>
                      </a:lnTo>
                      <a:lnTo>
                        <a:pt x="1209141" y="350520"/>
                      </a:lnTo>
                      <a:lnTo>
                        <a:pt x="1209738" y="351790"/>
                      </a:lnTo>
                      <a:lnTo>
                        <a:pt x="1208595" y="351790"/>
                      </a:lnTo>
                      <a:lnTo>
                        <a:pt x="1207998" y="350520"/>
                      </a:lnTo>
                      <a:lnTo>
                        <a:pt x="1207770" y="355600"/>
                      </a:lnTo>
                      <a:lnTo>
                        <a:pt x="1207350" y="354330"/>
                      </a:lnTo>
                      <a:lnTo>
                        <a:pt x="1204417" y="356870"/>
                      </a:lnTo>
                      <a:lnTo>
                        <a:pt x="1202918" y="358140"/>
                      </a:lnTo>
                      <a:lnTo>
                        <a:pt x="1200721" y="359410"/>
                      </a:lnTo>
                      <a:lnTo>
                        <a:pt x="1199007" y="360680"/>
                      </a:lnTo>
                      <a:lnTo>
                        <a:pt x="1198410" y="361950"/>
                      </a:lnTo>
                      <a:lnTo>
                        <a:pt x="1202512" y="363220"/>
                      </a:lnTo>
                      <a:lnTo>
                        <a:pt x="1207008" y="363220"/>
                      </a:lnTo>
                      <a:lnTo>
                        <a:pt x="1211516" y="360680"/>
                      </a:lnTo>
                      <a:lnTo>
                        <a:pt x="1211821" y="360680"/>
                      </a:lnTo>
                      <a:lnTo>
                        <a:pt x="1212291" y="359410"/>
                      </a:lnTo>
                      <a:lnTo>
                        <a:pt x="1212672" y="358140"/>
                      </a:lnTo>
                      <a:lnTo>
                        <a:pt x="1213523" y="356870"/>
                      </a:lnTo>
                      <a:lnTo>
                        <a:pt x="1214234" y="355600"/>
                      </a:lnTo>
                      <a:lnTo>
                        <a:pt x="1215517" y="355600"/>
                      </a:lnTo>
                      <a:lnTo>
                        <a:pt x="1214640" y="358140"/>
                      </a:lnTo>
                      <a:lnTo>
                        <a:pt x="1212596" y="361950"/>
                      </a:lnTo>
                      <a:lnTo>
                        <a:pt x="1207731" y="364490"/>
                      </a:lnTo>
                      <a:lnTo>
                        <a:pt x="1201534" y="364490"/>
                      </a:lnTo>
                      <a:lnTo>
                        <a:pt x="1202448" y="367030"/>
                      </a:lnTo>
                      <a:lnTo>
                        <a:pt x="1201597" y="367030"/>
                      </a:lnTo>
                      <a:lnTo>
                        <a:pt x="1200962" y="365760"/>
                      </a:lnTo>
                      <a:lnTo>
                        <a:pt x="1199261" y="367030"/>
                      </a:lnTo>
                      <a:lnTo>
                        <a:pt x="1198918" y="368300"/>
                      </a:lnTo>
                      <a:lnTo>
                        <a:pt x="1194650" y="368300"/>
                      </a:lnTo>
                      <a:lnTo>
                        <a:pt x="1194142" y="369570"/>
                      </a:lnTo>
                      <a:lnTo>
                        <a:pt x="1197114" y="372110"/>
                      </a:lnTo>
                      <a:lnTo>
                        <a:pt x="1200594" y="373380"/>
                      </a:lnTo>
                      <a:lnTo>
                        <a:pt x="1206017" y="375920"/>
                      </a:lnTo>
                      <a:lnTo>
                        <a:pt x="1208913" y="378460"/>
                      </a:lnTo>
                      <a:lnTo>
                        <a:pt x="1217320" y="378460"/>
                      </a:lnTo>
                      <a:lnTo>
                        <a:pt x="1220990" y="375920"/>
                      </a:lnTo>
                      <a:lnTo>
                        <a:pt x="1222502" y="375920"/>
                      </a:lnTo>
                      <a:lnTo>
                        <a:pt x="1224165" y="372110"/>
                      </a:lnTo>
                      <a:lnTo>
                        <a:pt x="1221752" y="372110"/>
                      </a:lnTo>
                      <a:lnTo>
                        <a:pt x="1218895" y="367030"/>
                      </a:lnTo>
                      <a:lnTo>
                        <a:pt x="1222273" y="369570"/>
                      </a:lnTo>
                      <a:lnTo>
                        <a:pt x="1225791" y="370840"/>
                      </a:lnTo>
                      <a:lnTo>
                        <a:pt x="1225588" y="369570"/>
                      </a:lnTo>
                      <a:lnTo>
                        <a:pt x="1224038" y="368300"/>
                      </a:lnTo>
                      <a:lnTo>
                        <a:pt x="1225372" y="367030"/>
                      </a:lnTo>
                      <a:lnTo>
                        <a:pt x="1229131" y="368300"/>
                      </a:lnTo>
                      <a:lnTo>
                        <a:pt x="1229880" y="364490"/>
                      </a:lnTo>
                      <a:lnTo>
                        <a:pt x="1228115" y="360680"/>
                      </a:lnTo>
                      <a:lnTo>
                        <a:pt x="1227099" y="359410"/>
                      </a:lnTo>
                      <a:lnTo>
                        <a:pt x="1226972" y="359244"/>
                      </a:lnTo>
                      <a:lnTo>
                        <a:pt x="1229398" y="358140"/>
                      </a:lnTo>
                      <a:lnTo>
                        <a:pt x="1230388" y="361950"/>
                      </a:lnTo>
                      <a:lnTo>
                        <a:pt x="1231696" y="365760"/>
                      </a:lnTo>
                      <a:lnTo>
                        <a:pt x="1230337" y="367030"/>
                      </a:lnTo>
                      <a:lnTo>
                        <a:pt x="1231455" y="367030"/>
                      </a:lnTo>
                      <a:lnTo>
                        <a:pt x="1232687" y="365760"/>
                      </a:lnTo>
                      <a:lnTo>
                        <a:pt x="1235024" y="365760"/>
                      </a:lnTo>
                      <a:lnTo>
                        <a:pt x="1235456" y="365125"/>
                      </a:lnTo>
                      <a:lnTo>
                        <a:pt x="1235684" y="364490"/>
                      </a:lnTo>
                      <a:lnTo>
                        <a:pt x="1235125" y="363220"/>
                      </a:lnTo>
                      <a:lnTo>
                        <a:pt x="1236370" y="363220"/>
                      </a:lnTo>
                      <a:lnTo>
                        <a:pt x="1237234" y="361950"/>
                      </a:lnTo>
                      <a:lnTo>
                        <a:pt x="1238262" y="360680"/>
                      </a:lnTo>
                      <a:lnTo>
                        <a:pt x="1240904" y="360680"/>
                      </a:lnTo>
                      <a:lnTo>
                        <a:pt x="1237932" y="363220"/>
                      </a:lnTo>
                      <a:lnTo>
                        <a:pt x="1237056" y="363220"/>
                      </a:lnTo>
                      <a:lnTo>
                        <a:pt x="1236726" y="364490"/>
                      </a:lnTo>
                      <a:lnTo>
                        <a:pt x="1237373" y="364490"/>
                      </a:lnTo>
                      <a:lnTo>
                        <a:pt x="1236345" y="367030"/>
                      </a:lnTo>
                      <a:lnTo>
                        <a:pt x="1233462" y="367030"/>
                      </a:lnTo>
                      <a:lnTo>
                        <a:pt x="1231988" y="368300"/>
                      </a:lnTo>
                      <a:lnTo>
                        <a:pt x="1233398" y="369176"/>
                      </a:lnTo>
                      <a:lnTo>
                        <a:pt x="1232001" y="369125"/>
                      </a:lnTo>
                      <a:lnTo>
                        <a:pt x="1230261" y="369227"/>
                      </a:lnTo>
                      <a:lnTo>
                        <a:pt x="1229080" y="369582"/>
                      </a:lnTo>
                      <a:lnTo>
                        <a:pt x="1229372" y="370027"/>
                      </a:lnTo>
                      <a:lnTo>
                        <a:pt x="1229537" y="370230"/>
                      </a:lnTo>
                      <a:lnTo>
                        <a:pt x="1230083" y="370776"/>
                      </a:lnTo>
                      <a:lnTo>
                        <a:pt x="1231341" y="372478"/>
                      </a:lnTo>
                      <a:lnTo>
                        <a:pt x="1232281" y="372948"/>
                      </a:lnTo>
                      <a:lnTo>
                        <a:pt x="1232509" y="373164"/>
                      </a:lnTo>
                      <a:lnTo>
                        <a:pt x="1233779" y="373164"/>
                      </a:lnTo>
                      <a:lnTo>
                        <a:pt x="1234770" y="371932"/>
                      </a:lnTo>
                      <a:lnTo>
                        <a:pt x="1236599" y="371170"/>
                      </a:lnTo>
                      <a:lnTo>
                        <a:pt x="1237284" y="370979"/>
                      </a:lnTo>
                      <a:lnTo>
                        <a:pt x="1238351" y="370408"/>
                      </a:lnTo>
                      <a:lnTo>
                        <a:pt x="1238643" y="370192"/>
                      </a:lnTo>
                      <a:lnTo>
                        <a:pt x="1238910" y="369887"/>
                      </a:lnTo>
                      <a:lnTo>
                        <a:pt x="1238059" y="369633"/>
                      </a:lnTo>
                      <a:lnTo>
                        <a:pt x="1237691" y="369570"/>
                      </a:lnTo>
                      <a:lnTo>
                        <a:pt x="1242072" y="369570"/>
                      </a:lnTo>
                      <a:lnTo>
                        <a:pt x="1242707" y="370840"/>
                      </a:lnTo>
                      <a:lnTo>
                        <a:pt x="1245666" y="372110"/>
                      </a:lnTo>
                      <a:lnTo>
                        <a:pt x="1247622" y="370840"/>
                      </a:lnTo>
                      <a:lnTo>
                        <a:pt x="1251394" y="370840"/>
                      </a:lnTo>
                      <a:lnTo>
                        <a:pt x="1253236" y="369570"/>
                      </a:lnTo>
                      <a:lnTo>
                        <a:pt x="1252816" y="368300"/>
                      </a:lnTo>
                      <a:lnTo>
                        <a:pt x="1254493" y="368300"/>
                      </a:lnTo>
                      <a:lnTo>
                        <a:pt x="1254252" y="373380"/>
                      </a:lnTo>
                      <a:lnTo>
                        <a:pt x="1249311" y="372110"/>
                      </a:lnTo>
                      <a:lnTo>
                        <a:pt x="1245666" y="372110"/>
                      </a:lnTo>
                      <a:lnTo>
                        <a:pt x="1244142" y="372110"/>
                      </a:lnTo>
                      <a:lnTo>
                        <a:pt x="1242656" y="373380"/>
                      </a:lnTo>
                      <a:lnTo>
                        <a:pt x="1239545" y="373380"/>
                      </a:lnTo>
                      <a:lnTo>
                        <a:pt x="1237005" y="375920"/>
                      </a:lnTo>
                      <a:lnTo>
                        <a:pt x="1235913" y="375920"/>
                      </a:lnTo>
                      <a:lnTo>
                        <a:pt x="1243203" y="379730"/>
                      </a:lnTo>
                      <a:lnTo>
                        <a:pt x="1248765" y="374650"/>
                      </a:lnTo>
                      <a:lnTo>
                        <a:pt x="1260551" y="374650"/>
                      </a:lnTo>
                      <a:lnTo>
                        <a:pt x="1256830" y="375920"/>
                      </a:lnTo>
                      <a:lnTo>
                        <a:pt x="1255064" y="375920"/>
                      </a:lnTo>
                      <a:lnTo>
                        <a:pt x="1246873" y="377190"/>
                      </a:lnTo>
                      <a:lnTo>
                        <a:pt x="1245476" y="379730"/>
                      </a:lnTo>
                      <a:lnTo>
                        <a:pt x="1246263" y="381000"/>
                      </a:lnTo>
                      <a:lnTo>
                        <a:pt x="1249591" y="381000"/>
                      </a:lnTo>
                      <a:lnTo>
                        <a:pt x="1253401" y="378460"/>
                      </a:lnTo>
                      <a:lnTo>
                        <a:pt x="1254404" y="378460"/>
                      </a:lnTo>
                      <a:lnTo>
                        <a:pt x="1257465" y="379730"/>
                      </a:lnTo>
                      <a:lnTo>
                        <a:pt x="1255179" y="381000"/>
                      </a:lnTo>
                      <a:lnTo>
                        <a:pt x="1250543" y="381000"/>
                      </a:lnTo>
                      <a:lnTo>
                        <a:pt x="1249362" y="383540"/>
                      </a:lnTo>
                      <a:lnTo>
                        <a:pt x="1246606" y="383540"/>
                      </a:lnTo>
                      <a:lnTo>
                        <a:pt x="1249235" y="386080"/>
                      </a:lnTo>
                      <a:lnTo>
                        <a:pt x="1251826" y="382270"/>
                      </a:lnTo>
                      <a:lnTo>
                        <a:pt x="1255687" y="386080"/>
                      </a:lnTo>
                      <a:lnTo>
                        <a:pt x="1259078" y="383540"/>
                      </a:lnTo>
                      <a:lnTo>
                        <a:pt x="1260830" y="383540"/>
                      </a:lnTo>
                      <a:lnTo>
                        <a:pt x="1259903" y="384810"/>
                      </a:lnTo>
                      <a:lnTo>
                        <a:pt x="1258493" y="384810"/>
                      </a:lnTo>
                      <a:lnTo>
                        <a:pt x="1257490" y="386080"/>
                      </a:lnTo>
                      <a:lnTo>
                        <a:pt x="1259179" y="387350"/>
                      </a:lnTo>
                      <a:lnTo>
                        <a:pt x="1264894" y="387350"/>
                      </a:lnTo>
                      <a:lnTo>
                        <a:pt x="1264818" y="389890"/>
                      </a:lnTo>
                      <a:lnTo>
                        <a:pt x="1258874" y="387350"/>
                      </a:lnTo>
                      <a:lnTo>
                        <a:pt x="1255331" y="387350"/>
                      </a:lnTo>
                      <a:lnTo>
                        <a:pt x="1252232" y="384810"/>
                      </a:lnTo>
                      <a:lnTo>
                        <a:pt x="1250683" y="387350"/>
                      </a:lnTo>
                      <a:lnTo>
                        <a:pt x="1253604" y="388620"/>
                      </a:lnTo>
                      <a:lnTo>
                        <a:pt x="1256919" y="389890"/>
                      </a:lnTo>
                      <a:lnTo>
                        <a:pt x="1261148" y="391160"/>
                      </a:lnTo>
                      <a:lnTo>
                        <a:pt x="1261554" y="391160"/>
                      </a:lnTo>
                      <a:lnTo>
                        <a:pt x="1263230" y="392430"/>
                      </a:lnTo>
                      <a:lnTo>
                        <a:pt x="1263865" y="391160"/>
                      </a:lnTo>
                      <a:lnTo>
                        <a:pt x="1266164" y="391160"/>
                      </a:lnTo>
                      <a:lnTo>
                        <a:pt x="1267460" y="392430"/>
                      </a:lnTo>
                      <a:lnTo>
                        <a:pt x="1268133" y="393700"/>
                      </a:lnTo>
                      <a:lnTo>
                        <a:pt x="1269072" y="394970"/>
                      </a:lnTo>
                      <a:lnTo>
                        <a:pt x="1267206" y="396240"/>
                      </a:lnTo>
                      <a:lnTo>
                        <a:pt x="1268501" y="396240"/>
                      </a:lnTo>
                      <a:lnTo>
                        <a:pt x="1269492" y="397510"/>
                      </a:lnTo>
                      <a:lnTo>
                        <a:pt x="1267891" y="397510"/>
                      </a:lnTo>
                      <a:lnTo>
                        <a:pt x="1266024" y="396240"/>
                      </a:lnTo>
                      <a:lnTo>
                        <a:pt x="1264627" y="397510"/>
                      </a:lnTo>
                      <a:lnTo>
                        <a:pt x="1267002" y="397510"/>
                      </a:lnTo>
                      <a:lnTo>
                        <a:pt x="1267244" y="398780"/>
                      </a:lnTo>
                      <a:lnTo>
                        <a:pt x="1265275" y="398780"/>
                      </a:lnTo>
                      <a:lnTo>
                        <a:pt x="1265148" y="400050"/>
                      </a:lnTo>
                      <a:lnTo>
                        <a:pt x="1264081" y="400050"/>
                      </a:lnTo>
                      <a:lnTo>
                        <a:pt x="1262761" y="398780"/>
                      </a:lnTo>
                      <a:lnTo>
                        <a:pt x="1262430" y="398780"/>
                      </a:lnTo>
                      <a:lnTo>
                        <a:pt x="1261351" y="397573"/>
                      </a:lnTo>
                      <a:lnTo>
                        <a:pt x="1260081" y="398780"/>
                      </a:lnTo>
                      <a:lnTo>
                        <a:pt x="1259598" y="398780"/>
                      </a:lnTo>
                      <a:lnTo>
                        <a:pt x="1259776" y="400050"/>
                      </a:lnTo>
                      <a:lnTo>
                        <a:pt x="1261097" y="400050"/>
                      </a:lnTo>
                      <a:lnTo>
                        <a:pt x="1262354" y="401320"/>
                      </a:lnTo>
                      <a:lnTo>
                        <a:pt x="1263573" y="400050"/>
                      </a:lnTo>
                      <a:lnTo>
                        <a:pt x="1264932" y="401320"/>
                      </a:lnTo>
                      <a:lnTo>
                        <a:pt x="1263065" y="401320"/>
                      </a:lnTo>
                      <a:lnTo>
                        <a:pt x="1264729" y="402590"/>
                      </a:lnTo>
                      <a:lnTo>
                        <a:pt x="1267485" y="402590"/>
                      </a:lnTo>
                      <a:lnTo>
                        <a:pt x="1269441" y="401320"/>
                      </a:lnTo>
                      <a:lnTo>
                        <a:pt x="1269720" y="400050"/>
                      </a:lnTo>
                      <a:lnTo>
                        <a:pt x="1272387" y="400050"/>
                      </a:lnTo>
                      <a:lnTo>
                        <a:pt x="1269441" y="402590"/>
                      </a:lnTo>
                      <a:lnTo>
                        <a:pt x="1268933" y="402590"/>
                      </a:lnTo>
                      <a:lnTo>
                        <a:pt x="1269288" y="403860"/>
                      </a:lnTo>
                      <a:lnTo>
                        <a:pt x="1270825" y="403860"/>
                      </a:lnTo>
                      <a:lnTo>
                        <a:pt x="1270838" y="405130"/>
                      </a:lnTo>
                      <a:lnTo>
                        <a:pt x="1264640" y="405130"/>
                      </a:lnTo>
                      <a:lnTo>
                        <a:pt x="1260271" y="403860"/>
                      </a:lnTo>
                      <a:lnTo>
                        <a:pt x="1248257" y="398780"/>
                      </a:lnTo>
                      <a:lnTo>
                        <a:pt x="1242872" y="394970"/>
                      </a:lnTo>
                      <a:lnTo>
                        <a:pt x="1240561" y="394970"/>
                      </a:lnTo>
                      <a:lnTo>
                        <a:pt x="1235011" y="393700"/>
                      </a:lnTo>
                      <a:lnTo>
                        <a:pt x="1226527" y="393700"/>
                      </a:lnTo>
                      <a:lnTo>
                        <a:pt x="1221981" y="392430"/>
                      </a:lnTo>
                      <a:lnTo>
                        <a:pt x="1220343" y="391160"/>
                      </a:lnTo>
                      <a:lnTo>
                        <a:pt x="1216545" y="392430"/>
                      </a:lnTo>
                      <a:lnTo>
                        <a:pt x="1215377" y="393700"/>
                      </a:lnTo>
                      <a:lnTo>
                        <a:pt x="1213180" y="394970"/>
                      </a:lnTo>
                      <a:lnTo>
                        <a:pt x="1213281" y="396240"/>
                      </a:lnTo>
                      <a:lnTo>
                        <a:pt x="1212342" y="396240"/>
                      </a:lnTo>
                      <a:lnTo>
                        <a:pt x="1250988" y="411480"/>
                      </a:lnTo>
                      <a:lnTo>
                        <a:pt x="1252931" y="412750"/>
                      </a:lnTo>
                      <a:lnTo>
                        <a:pt x="1258023" y="412750"/>
                      </a:lnTo>
                      <a:lnTo>
                        <a:pt x="1258468" y="414020"/>
                      </a:lnTo>
                      <a:lnTo>
                        <a:pt x="1260856" y="412750"/>
                      </a:lnTo>
                      <a:lnTo>
                        <a:pt x="1260767" y="411480"/>
                      </a:lnTo>
                      <a:lnTo>
                        <a:pt x="1265097" y="411480"/>
                      </a:lnTo>
                      <a:lnTo>
                        <a:pt x="1265783" y="414020"/>
                      </a:lnTo>
                      <a:lnTo>
                        <a:pt x="1263548" y="412750"/>
                      </a:lnTo>
                      <a:lnTo>
                        <a:pt x="1262710" y="412750"/>
                      </a:lnTo>
                      <a:lnTo>
                        <a:pt x="1261579" y="414020"/>
                      </a:lnTo>
                      <a:lnTo>
                        <a:pt x="1260538" y="414020"/>
                      </a:lnTo>
                      <a:lnTo>
                        <a:pt x="1263319" y="415290"/>
                      </a:lnTo>
                      <a:lnTo>
                        <a:pt x="1265961" y="414020"/>
                      </a:lnTo>
                      <a:lnTo>
                        <a:pt x="1269555" y="412750"/>
                      </a:lnTo>
                      <a:lnTo>
                        <a:pt x="1273987" y="412750"/>
                      </a:lnTo>
                      <a:lnTo>
                        <a:pt x="1270698" y="414020"/>
                      </a:lnTo>
                      <a:lnTo>
                        <a:pt x="1270355" y="415290"/>
                      </a:lnTo>
                      <a:lnTo>
                        <a:pt x="1272286" y="415290"/>
                      </a:lnTo>
                      <a:lnTo>
                        <a:pt x="1274546" y="416560"/>
                      </a:lnTo>
                      <a:lnTo>
                        <a:pt x="1273733" y="419100"/>
                      </a:lnTo>
                      <a:lnTo>
                        <a:pt x="1275511" y="419100"/>
                      </a:lnTo>
                      <a:lnTo>
                        <a:pt x="1273009" y="420370"/>
                      </a:lnTo>
                      <a:lnTo>
                        <a:pt x="1269987" y="421640"/>
                      </a:lnTo>
                      <a:lnTo>
                        <a:pt x="1272184" y="421640"/>
                      </a:lnTo>
                      <a:lnTo>
                        <a:pt x="1272641" y="422910"/>
                      </a:lnTo>
                      <a:lnTo>
                        <a:pt x="1269276" y="424180"/>
                      </a:lnTo>
                      <a:lnTo>
                        <a:pt x="1265555" y="420370"/>
                      </a:lnTo>
                      <a:lnTo>
                        <a:pt x="1266393" y="426720"/>
                      </a:lnTo>
                      <a:lnTo>
                        <a:pt x="1268285" y="425450"/>
                      </a:lnTo>
                      <a:lnTo>
                        <a:pt x="1268895" y="426720"/>
                      </a:lnTo>
                      <a:lnTo>
                        <a:pt x="1271765" y="425450"/>
                      </a:lnTo>
                      <a:lnTo>
                        <a:pt x="1272590" y="425450"/>
                      </a:lnTo>
                      <a:lnTo>
                        <a:pt x="1269873" y="426720"/>
                      </a:lnTo>
                      <a:lnTo>
                        <a:pt x="1268895" y="426720"/>
                      </a:lnTo>
                      <a:lnTo>
                        <a:pt x="1266393" y="426720"/>
                      </a:lnTo>
                      <a:lnTo>
                        <a:pt x="1266075" y="426720"/>
                      </a:lnTo>
                      <a:lnTo>
                        <a:pt x="1266494" y="427990"/>
                      </a:lnTo>
                      <a:lnTo>
                        <a:pt x="1266431" y="431800"/>
                      </a:lnTo>
                      <a:lnTo>
                        <a:pt x="1265072" y="433070"/>
                      </a:lnTo>
                      <a:lnTo>
                        <a:pt x="1264272" y="434340"/>
                      </a:lnTo>
                      <a:lnTo>
                        <a:pt x="1266164" y="434340"/>
                      </a:lnTo>
                      <a:lnTo>
                        <a:pt x="1267015" y="433070"/>
                      </a:lnTo>
                      <a:lnTo>
                        <a:pt x="1271346" y="433070"/>
                      </a:lnTo>
                      <a:lnTo>
                        <a:pt x="1271968" y="430530"/>
                      </a:lnTo>
                      <a:lnTo>
                        <a:pt x="1272857" y="430530"/>
                      </a:lnTo>
                      <a:lnTo>
                        <a:pt x="1271371" y="433070"/>
                      </a:lnTo>
                      <a:lnTo>
                        <a:pt x="1272882" y="434340"/>
                      </a:lnTo>
                      <a:lnTo>
                        <a:pt x="1275194" y="433070"/>
                      </a:lnTo>
                      <a:lnTo>
                        <a:pt x="1278229" y="434340"/>
                      </a:lnTo>
                      <a:lnTo>
                        <a:pt x="1274991" y="435610"/>
                      </a:lnTo>
                      <a:lnTo>
                        <a:pt x="1269161" y="435610"/>
                      </a:lnTo>
                      <a:lnTo>
                        <a:pt x="1270927" y="438150"/>
                      </a:lnTo>
                      <a:lnTo>
                        <a:pt x="1277048" y="435610"/>
                      </a:lnTo>
                      <a:lnTo>
                        <a:pt x="1275600" y="439420"/>
                      </a:lnTo>
                      <a:lnTo>
                        <a:pt x="1274660" y="436956"/>
                      </a:lnTo>
                      <a:lnTo>
                        <a:pt x="1271498" y="438150"/>
                      </a:lnTo>
                      <a:lnTo>
                        <a:pt x="1273556" y="440690"/>
                      </a:lnTo>
                      <a:lnTo>
                        <a:pt x="1270584" y="440690"/>
                      </a:lnTo>
                      <a:lnTo>
                        <a:pt x="1271524" y="439420"/>
                      </a:lnTo>
                      <a:lnTo>
                        <a:pt x="1270469" y="438150"/>
                      </a:lnTo>
                      <a:lnTo>
                        <a:pt x="1268374" y="435610"/>
                      </a:lnTo>
                      <a:lnTo>
                        <a:pt x="1266545" y="438150"/>
                      </a:lnTo>
                      <a:lnTo>
                        <a:pt x="1264462" y="438150"/>
                      </a:lnTo>
                      <a:lnTo>
                        <a:pt x="1265174" y="436880"/>
                      </a:lnTo>
                      <a:lnTo>
                        <a:pt x="1266151" y="436880"/>
                      </a:lnTo>
                      <a:lnTo>
                        <a:pt x="1266672" y="435610"/>
                      </a:lnTo>
                      <a:lnTo>
                        <a:pt x="1264539" y="435610"/>
                      </a:lnTo>
                      <a:lnTo>
                        <a:pt x="1263294" y="434340"/>
                      </a:lnTo>
                      <a:lnTo>
                        <a:pt x="1262862" y="439420"/>
                      </a:lnTo>
                      <a:lnTo>
                        <a:pt x="1261795" y="441960"/>
                      </a:lnTo>
                      <a:lnTo>
                        <a:pt x="1263053" y="441960"/>
                      </a:lnTo>
                      <a:lnTo>
                        <a:pt x="1263637" y="440690"/>
                      </a:lnTo>
                      <a:lnTo>
                        <a:pt x="1264729" y="440690"/>
                      </a:lnTo>
                      <a:lnTo>
                        <a:pt x="1263510" y="441960"/>
                      </a:lnTo>
                      <a:lnTo>
                        <a:pt x="1261770" y="443230"/>
                      </a:lnTo>
                      <a:lnTo>
                        <a:pt x="1261097" y="445770"/>
                      </a:lnTo>
                      <a:lnTo>
                        <a:pt x="1264246" y="445770"/>
                      </a:lnTo>
                      <a:lnTo>
                        <a:pt x="1266126" y="441960"/>
                      </a:lnTo>
                      <a:lnTo>
                        <a:pt x="1269098" y="443230"/>
                      </a:lnTo>
                      <a:lnTo>
                        <a:pt x="1268260" y="444500"/>
                      </a:lnTo>
                      <a:lnTo>
                        <a:pt x="1266990" y="445770"/>
                      </a:lnTo>
                      <a:lnTo>
                        <a:pt x="1266228" y="447040"/>
                      </a:lnTo>
                      <a:lnTo>
                        <a:pt x="1266837" y="447040"/>
                      </a:lnTo>
                      <a:lnTo>
                        <a:pt x="1266545" y="449580"/>
                      </a:lnTo>
                      <a:lnTo>
                        <a:pt x="1264729" y="447040"/>
                      </a:lnTo>
                      <a:lnTo>
                        <a:pt x="1263319" y="447040"/>
                      </a:lnTo>
                      <a:lnTo>
                        <a:pt x="1263611" y="448310"/>
                      </a:lnTo>
                      <a:lnTo>
                        <a:pt x="1263827" y="449580"/>
                      </a:lnTo>
                      <a:lnTo>
                        <a:pt x="1258481" y="449580"/>
                      </a:lnTo>
                      <a:lnTo>
                        <a:pt x="1257096" y="450850"/>
                      </a:lnTo>
                      <a:lnTo>
                        <a:pt x="1257211" y="449580"/>
                      </a:lnTo>
                      <a:lnTo>
                        <a:pt x="1256601" y="449580"/>
                      </a:lnTo>
                      <a:lnTo>
                        <a:pt x="1255953" y="450850"/>
                      </a:lnTo>
                      <a:lnTo>
                        <a:pt x="1251635" y="450850"/>
                      </a:lnTo>
                      <a:lnTo>
                        <a:pt x="1250137" y="449580"/>
                      </a:lnTo>
                      <a:lnTo>
                        <a:pt x="1244663" y="449580"/>
                      </a:lnTo>
                      <a:lnTo>
                        <a:pt x="1242745" y="450850"/>
                      </a:lnTo>
                      <a:lnTo>
                        <a:pt x="1245273" y="450850"/>
                      </a:lnTo>
                      <a:lnTo>
                        <a:pt x="1242758" y="453390"/>
                      </a:lnTo>
                      <a:lnTo>
                        <a:pt x="1241463" y="452742"/>
                      </a:lnTo>
                      <a:lnTo>
                        <a:pt x="1241463" y="454660"/>
                      </a:lnTo>
                      <a:lnTo>
                        <a:pt x="1241132" y="455930"/>
                      </a:lnTo>
                      <a:lnTo>
                        <a:pt x="1237907" y="455930"/>
                      </a:lnTo>
                      <a:lnTo>
                        <a:pt x="1239278" y="454660"/>
                      </a:lnTo>
                      <a:lnTo>
                        <a:pt x="1241463" y="454660"/>
                      </a:lnTo>
                      <a:lnTo>
                        <a:pt x="1241463" y="452742"/>
                      </a:lnTo>
                      <a:lnTo>
                        <a:pt x="1240243" y="452120"/>
                      </a:lnTo>
                      <a:lnTo>
                        <a:pt x="1237983" y="453390"/>
                      </a:lnTo>
                      <a:lnTo>
                        <a:pt x="1237068" y="454660"/>
                      </a:lnTo>
                      <a:lnTo>
                        <a:pt x="1234440" y="455930"/>
                      </a:lnTo>
                      <a:lnTo>
                        <a:pt x="1233055" y="455930"/>
                      </a:lnTo>
                      <a:lnTo>
                        <a:pt x="1233525" y="457200"/>
                      </a:lnTo>
                      <a:lnTo>
                        <a:pt x="1236548" y="457200"/>
                      </a:lnTo>
                      <a:lnTo>
                        <a:pt x="1237005" y="456768"/>
                      </a:lnTo>
                      <a:lnTo>
                        <a:pt x="1237970" y="458470"/>
                      </a:lnTo>
                      <a:lnTo>
                        <a:pt x="1239456" y="458470"/>
                      </a:lnTo>
                      <a:lnTo>
                        <a:pt x="1240828" y="458470"/>
                      </a:lnTo>
                      <a:lnTo>
                        <a:pt x="1240167" y="457200"/>
                      </a:lnTo>
                      <a:lnTo>
                        <a:pt x="1239253" y="457200"/>
                      </a:lnTo>
                      <a:lnTo>
                        <a:pt x="1241818" y="455930"/>
                      </a:lnTo>
                      <a:lnTo>
                        <a:pt x="1242682" y="457200"/>
                      </a:lnTo>
                      <a:lnTo>
                        <a:pt x="1243317" y="458470"/>
                      </a:lnTo>
                      <a:lnTo>
                        <a:pt x="1244892" y="459740"/>
                      </a:lnTo>
                      <a:lnTo>
                        <a:pt x="1247876" y="458470"/>
                      </a:lnTo>
                      <a:lnTo>
                        <a:pt x="1253020" y="457200"/>
                      </a:lnTo>
                      <a:lnTo>
                        <a:pt x="1256804" y="457200"/>
                      </a:lnTo>
                      <a:lnTo>
                        <a:pt x="1260830" y="455930"/>
                      </a:lnTo>
                      <a:lnTo>
                        <a:pt x="1260055" y="454660"/>
                      </a:lnTo>
                      <a:lnTo>
                        <a:pt x="1259065" y="455930"/>
                      </a:lnTo>
                      <a:lnTo>
                        <a:pt x="1256601" y="454660"/>
                      </a:lnTo>
                      <a:lnTo>
                        <a:pt x="1256220" y="453390"/>
                      </a:lnTo>
                      <a:lnTo>
                        <a:pt x="1259840" y="453390"/>
                      </a:lnTo>
                      <a:lnTo>
                        <a:pt x="1263599" y="452120"/>
                      </a:lnTo>
                      <a:lnTo>
                        <a:pt x="1266164" y="450850"/>
                      </a:lnTo>
                      <a:lnTo>
                        <a:pt x="1267447" y="452120"/>
                      </a:lnTo>
                      <a:lnTo>
                        <a:pt x="1265809" y="453390"/>
                      </a:lnTo>
                      <a:lnTo>
                        <a:pt x="1263548" y="455930"/>
                      </a:lnTo>
                      <a:lnTo>
                        <a:pt x="1261986" y="458470"/>
                      </a:lnTo>
                      <a:lnTo>
                        <a:pt x="1258354" y="458470"/>
                      </a:lnTo>
                      <a:lnTo>
                        <a:pt x="1259776" y="459740"/>
                      </a:lnTo>
                      <a:lnTo>
                        <a:pt x="1263065" y="461010"/>
                      </a:lnTo>
                      <a:lnTo>
                        <a:pt x="1264958" y="461010"/>
                      </a:lnTo>
                      <a:lnTo>
                        <a:pt x="1264145" y="462280"/>
                      </a:lnTo>
                      <a:lnTo>
                        <a:pt x="1267942" y="462280"/>
                      </a:lnTo>
                      <a:lnTo>
                        <a:pt x="1269072" y="463550"/>
                      </a:lnTo>
                      <a:lnTo>
                        <a:pt x="1270939" y="463550"/>
                      </a:lnTo>
                      <a:lnTo>
                        <a:pt x="1270571" y="464820"/>
                      </a:lnTo>
                      <a:lnTo>
                        <a:pt x="1268628" y="464820"/>
                      </a:lnTo>
                      <a:lnTo>
                        <a:pt x="1264158" y="463550"/>
                      </a:lnTo>
                      <a:lnTo>
                        <a:pt x="1262799" y="462280"/>
                      </a:lnTo>
                      <a:lnTo>
                        <a:pt x="1251102" y="462280"/>
                      </a:lnTo>
                      <a:lnTo>
                        <a:pt x="1246708" y="461010"/>
                      </a:lnTo>
                      <a:lnTo>
                        <a:pt x="1245222" y="461010"/>
                      </a:lnTo>
                      <a:lnTo>
                        <a:pt x="1242250" y="459740"/>
                      </a:lnTo>
                      <a:lnTo>
                        <a:pt x="1240955" y="459740"/>
                      </a:lnTo>
                      <a:lnTo>
                        <a:pt x="1239456" y="458470"/>
                      </a:lnTo>
                      <a:lnTo>
                        <a:pt x="1240256" y="459740"/>
                      </a:lnTo>
                      <a:lnTo>
                        <a:pt x="1240802" y="459740"/>
                      </a:lnTo>
                      <a:lnTo>
                        <a:pt x="1242199" y="461010"/>
                      </a:lnTo>
                      <a:lnTo>
                        <a:pt x="1243076" y="461010"/>
                      </a:lnTo>
                      <a:lnTo>
                        <a:pt x="1244041" y="462280"/>
                      </a:lnTo>
                      <a:lnTo>
                        <a:pt x="1240497" y="461251"/>
                      </a:lnTo>
                      <a:lnTo>
                        <a:pt x="1240497" y="464604"/>
                      </a:lnTo>
                      <a:lnTo>
                        <a:pt x="1237107" y="463550"/>
                      </a:lnTo>
                      <a:lnTo>
                        <a:pt x="1236865" y="463194"/>
                      </a:lnTo>
                      <a:lnTo>
                        <a:pt x="1240497" y="464604"/>
                      </a:lnTo>
                      <a:lnTo>
                        <a:pt x="1240497" y="461251"/>
                      </a:lnTo>
                      <a:lnTo>
                        <a:pt x="1239710" y="461010"/>
                      </a:lnTo>
                      <a:lnTo>
                        <a:pt x="1235659" y="458470"/>
                      </a:lnTo>
                      <a:lnTo>
                        <a:pt x="1231404" y="459740"/>
                      </a:lnTo>
                      <a:lnTo>
                        <a:pt x="1234605" y="459740"/>
                      </a:lnTo>
                      <a:lnTo>
                        <a:pt x="1234224" y="461010"/>
                      </a:lnTo>
                      <a:lnTo>
                        <a:pt x="1234376" y="461670"/>
                      </a:lnTo>
                      <a:lnTo>
                        <a:pt x="1231480" y="463550"/>
                      </a:lnTo>
                      <a:lnTo>
                        <a:pt x="1237018" y="463550"/>
                      </a:lnTo>
                      <a:lnTo>
                        <a:pt x="1235570" y="464820"/>
                      </a:lnTo>
                      <a:lnTo>
                        <a:pt x="1232281" y="464820"/>
                      </a:lnTo>
                      <a:lnTo>
                        <a:pt x="1232725" y="466090"/>
                      </a:lnTo>
                      <a:lnTo>
                        <a:pt x="1234655" y="466090"/>
                      </a:lnTo>
                      <a:lnTo>
                        <a:pt x="1233932" y="467360"/>
                      </a:lnTo>
                      <a:lnTo>
                        <a:pt x="1231226" y="467360"/>
                      </a:lnTo>
                      <a:lnTo>
                        <a:pt x="1230782" y="466090"/>
                      </a:lnTo>
                      <a:lnTo>
                        <a:pt x="1227886" y="466090"/>
                      </a:lnTo>
                      <a:lnTo>
                        <a:pt x="1230477" y="468630"/>
                      </a:lnTo>
                      <a:lnTo>
                        <a:pt x="1227899" y="468630"/>
                      </a:lnTo>
                      <a:lnTo>
                        <a:pt x="1228699" y="467360"/>
                      </a:lnTo>
                      <a:lnTo>
                        <a:pt x="1227721" y="467360"/>
                      </a:lnTo>
                      <a:lnTo>
                        <a:pt x="1226972" y="468630"/>
                      </a:lnTo>
                      <a:lnTo>
                        <a:pt x="1226400" y="468630"/>
                      </a:lnTo>
                      <a:lnTo>
                        <a:pt x="1227416" y="469900"/>
                      </a:lnTo>
                      <a:lnTo>
                        <a:pt x="1227785" y="469900"/>
                      </a:lnTo>
                      <a:lnTo>
                        <a:pt x="1228331" y="471170"/>
                      </a:lnTo>
                      <a:lnTo>
                        <a:pt x="1227239" y="473710"/>
                      </a:lnTo>
                      <a:lnTo>
                        <a:pt x="1227493" y="474980"/>
                      </a:lnTo>
                      <a:lnTo>
                        <a:pt x="1229855" y="473710"/>
                      </a:lnTo>
                      <a:lnTo>
                        <a:pt x="1231811" y="472440"/>
                      </a:lnTo>
                      <a:lnTo>
                        <a:pt x="1236218" y="468630"/>
                      </a:lnTo>
                      <a:lnTo>
                        <a:pt x="1238326" y="469900"/>
                      </a:lnTo>
                      <a:lnTo>
                        <a:pt x="1242466" y="468947"/>
                      </a:lnTo>
                      <a:lnTo>
                        <a:pt x="1242187" y="469900"/>
                      </a:lnTo>
                      <a:lnTo>
                        <a:pt x="1222667" y="480060"/>
                      </a:lnTo>
                      <a:lnTo>
                        <a:pt x="1222324" y="482600"/>
                      </a:lnTo>
                      <a:lnTo>
                        <a:pt x="1222451" y="482600"/>
                      </a:lnTo>
                      <a:lnTo>
                        <a:pt x="1226350" y="482600"/>
                      </a:lnTo>
                      <a:lnTo>
                        <a:pt x="1227988" y="481330"/>
                      </a:lnTo>
                      <a:lnTo>
                        <a:pt x="1231468" y="481330"/>
                      </a:lnTo>
                      <a:lnTo>
                        <a:pt x="1232154" y="480060"/>
                      </a:lnTo>
                      <a:lnTo>
                        <a:pt x="1233512" y="480060"/>
                      </a:lnTo>
                      <a:lnTo>
                        <a:pt x="1233563" y="481330"/>
                      </a:lnTo>
                      <a:lnTo>
                        <a:pt x="1235951" y="481330"/>
                      </a:lnTo>
                      <a:lnTo>
                        <a:pt x="1239050" y="480060"/>
                      </a:lnTo>
                      <a:lnTo>
                        <a:pt x="1241793" y="478790"/>
                      </a:lnTo>
                      <a:lnTo>
                        <a:pt x="1245184" y="478790"/>
                      </a:lnTo>
                      <a:lnTo>
                        <a:pt x="1243952" y="480060"/>
                      </a:lnTo>
                      <a:lnTo>
                        <a:pt x="1241425" y="481330"/>
                      </a:lnTo>
                      <a:lnTo>
                        <a:pt x="1240002" y="480060"/>
                      </a:lnTo>
                      <a:lnTo>
                        <a:pt x="1237373" y="481330"/>
                      </a:lnTo>
                      <a:lnTo>
                        <a:pt x="1236472" y="481330"/>
                      </a:lnTo>
                      <a:lnTo>
                        <a:pt x="1232141" y="482206"/>
                      </a:lnTo>
                      <a:lnTo>
                        <a:pt x="1232141" y="487680"/>
                      </a:lnTo>
                      <a:lnTo>
                        <a:pt x="1230947" y="488950"/>
                      </a:lnTo>
                      <a:lnTo>
                        <a:pt x="1226604" y="488950"/>
                      </a:lnTo>
                      <a:lnTo>
                        <a:pt x="1226362" y="488784"/>
                      </a:lnTo>
                      <a:lnTo>
                        <a:pt x="1229271" y="487680"/>
                      </a:lnTo>
                      <a:lnTo>
                        <a:pt x="1232141" y="487680"/>
                      </a:lnTo>
                      <a:lnTo>
                        <a:pt x="1232141" y="482206"/>
                      </a:lnTo>
                      <a:lnTo>
                        <a:pt x="1230109" y="482600"/>
                      </a:lnTo>
                      <a:lnTo>
                        <a:pt x="1229893" y="482600"/>
                      </a:lnTo>
                      <a:lnTo>
                        <a:pt x="1228864" y="483870"/>
                      </a:lnTo>
                      <a:lnTo>
                        <a:pt x="1222451" y="482600"/>
                      </a:lnTo>
                      <a:lnTo>
                        <a:pt x="1222527" y="486410"/>
                      </a:lnTo>
                      <a:lnTo>
                        <a:pt x="1229829" y="485140"/>
                      </a:lnTo>
                      <a:lnTo>
                        <a:pt x="1227823" y="486410"/>
                      </a:lnTo>
                      <a:lnTo>
                        <a:pt x="1223822" y="486410"/>
                      </a:lnTo>
                      <a:lnTo>
                        <a:pt x="1225067" y="487908"/>
                      </a:lnTo>
                      <a:lnTo>
                        <a:pt x="1224737" y="487680"/>
                      </a:lnTo>
                      <a:lnTo>
                        <a:pt x="1223848" y="488950"/>
                      </a:lnTo>
                      <a:lnTo>
                        <a:pt x="1227188" y="491490"/>
                      </a:lnTo>
                      <a:lnTo>
                        <a:pt x="1231760" y="490220"/>
                      </a:lnTo>
                      <a:lnTo>
                        <a:pt x="1237234" y="490220"/>
                      </a:lnTo>
                      <a:lnTo>
                        <a:pt x="1239570" y="491490"/>
                      </a:lnTo>
                      <a:lnTo>
                        <a:pt x="1241717" y="490220"/>
                      </a:lnTo>
                      <a:lnTo>
                        <a:pt x="1242275" y="488950"/>
                      </a:lnTo>
                      <a:lnTo>
                        <a:pt x="1244092" y="488950"/>
                      </a:lnTo>
                      <a:lnTo>
                        <a:pt x="1243990" y="490220"/>
                      </a:lnTo>
                      <a:lnTo>
                        <a:pt x="1244244" y="490220"/>
                      </a:lnTo>
                      <a:lnTo>
                        <a:pt x="1243520" y="491490"/>
                      </a:lnTo>
                      <a:lnTo>
                        <a:pt x="1246378" y="491490"/>
                      </a:lnTo>
                      <a:lnTo>
                        <a:pt x="1244892" y="492760"/>
                      </a:lnTo>
                      <a:lnTo>
                        <a:pt x="1243799" y="492379"/>
                      </a:lnTo>
                      <a:lnTo>
                        <a:pt x="1243799" y="499110"/>
                      </a:lnTo>
                      <a:lnTo>
                        <a:pt x="1241628" y="500380"/>
                      </a:lnTo>
                      <a:lnTo>
                        <a:pt x="1239189" y="499110"/>
                      </a:lnTo>
                      <a:lnTo>
                        <a:pt x="1234719" y="499110"/>
                      </a:lnTo>
                      <a:lnTo>
                        <a:pt x="1233258" y="500380"/>
                      </a:lnTo>
                      <a:lnTo>
                        <a:pt x="1231696" y="499554"/>
                      </a:lnTo>
                      <a:lnTo>
                        <a:pt x="1231887" y="499110"/>
                      </a:lnTo>
                      <a:lnTo>
                        <a:pt x="1234363" y="499110"/>
                      </a:lnTo>
                      <a:lnTo>
                        <a:pt x="1235202" y="497840"/>
                      </a:lnTo>
                      <a:lnTo>
                        <a:pt x="1238808" y="497840"/>
                      </a:lnTo>
                      <a:lnTo>
                        <a:pt x="1241259" y="499110"/>
                      </a:lnTo>
                      <a:lnTo>
                        <a:pt x="1243799" y="499110"/>
                      </a:lnTo>
                      <a:lnTo>
                        <a:pt x="1243799" y="492379"/>
                      </a:lnTo>
                      <a:lnTo>
                        <a:pt x="1241577" y="491591"/>
                      </a:lnTo>
                      <a:lnTo>
                        <a:pt x="1237818" y="494030"/>
                      </a:lnTo>
                      <a:lnTo>
                        <a:pt x="1234668" y="495300"/>
                      </a:lnTo>
                      <a:lnTo>
                        <a:pt x="1235697" y="495300"/>
                      </a:lnTo>
                      <a:lnTo>
                        <a:pt x="1238707" y="494030"/>
                      </a:lnTo>
                      <a:lnTo>
                        <a:pt x="1240053" y="495300"/>
                      </a:lnTo>
                      <a:lnTo>
                        <a:pt x="1241361" y="494030"/>
                      </a:lnTo>
                      <a:lnTo>
                        <a:pt x="1240269" y="496570"/>
                      </a:lnTo>
                      <a:lnTo>
                        <a:pt x="1235862" y="496570"/>
                      </a:lnTo>
                      <a:lnTo>
                        <a:pt x="1232636" y="495300"/>
                      </a:lnTo>
                      <a:lnTo>
                        <a:pt x="1231988" y="495300"/>
                      </a:lnTo>
                      <a:lnTo>
                        <a:pt x="1229258" y="496570"/>
                      </a:lnTo>
                      <a:lnTo>
                        <a:pt x="1228369" y="497840"/>
                      </a:lnTo>
                      <a:lnTo>
                        <a:pt x="1230731" y="497840"/>
                      </a:lnTo>
                      <a:lnTo>
                        <a:pt x="1229055" y="499110"/>
                      </a:lnTo>
                      <a:lnTo>
                        <a:pt x="1226273" y="499110"/>
                      </a:lnTo>
                      <a:lnTo>
                        <a:pt x="1226312" y="501650"/>
                      </a:lnTo>
                      <a:lnTo>
                        <a:pt x="1226934" y="501650"/>
                      </a:lnTo>
                      <a:lnTo>
                        <a:pt x="1227556" y="500380"/>
                      </a:lnTo>
                      <a:lnTo>
                        <a:pt x="1228166" y="500380"/>
                      </a:lnTo>
                      <a:lnTo>
                        <a:pt x="1227010" y="502920"/>
                      </a:lnTo>
                      <a:lnTo>
                        <a:pt x="1224165" y="502920"/>
                      </a:lnTo>
                      <a:lnTo>
                        <a:pt x="1229169" y="505460"/>
                      </a:lnTo>
                      <a:lnTo>
                        <a:pt x="1230617" y="505460"/>
                      </a:lnTo>
                      <a:lnTo>
                        <a:pt x="1227493" y="506730"/>
                      </a:lnTo>
                      <a:lnTo>
                        <a:pt x="1227543" y="508000"/>
                      </a:lnTo>
                      <a:lnTo>
                        <a:pt x="1227772" y="508000"/>
                      </a:lnTo>
                      <a:lnTo>
                        <a:pt x="1227150" y="509270"/>
                      </a:lnTo>
                      <a:lnTo>
                        <a:pt x="1226718" y="509270"/>
                      </a:lnTo>
                      <a:lnTo>
                        <a:pt x="1230020" y="509943"/>
                      </a:lnTo>
                      <a:lnTo>
                        <a:pt x="1229245" y="510540"/>
                      </a:lnTo>
                      <a:lnTo>
                        <a:pt x="1230845" y="511810"/>
                      </a:lnTo>
                      <a:lnTo>
                        <a:pt x="1232941" y="511810"/>
                      </a:lnTo>
                      <a:lnTo>
                        <a:pt x="1225689" y="513080"/>
                      </a:lnTo>
                      <a:lnTo>
                        <a:pt x="1233462" y="513080"/>
                      </a:lnTo>
                      <a:lnTo>
                        <a:pt x="1234884" y="511810"/>
                      </a:lnTo>
                      <a:lnTo>
                        <a:pt x="1235748" y="511810"/>
                      </a:lnTo>
                      <a:lnTo>
                        <a:pt x="1233690" y="513080"/>
                      </a:lnTo>
                      <a:lnTo>
                        <a:pt x="1232014" y="514350"/>
                      </a:lnTo>
                      <a:lnTo>
                        <a:pt x="1233779" y="515620"/>
                      </a:lnTo>
                      <a:lnTo>
                        <a:pt x="1235189" y="514350"/>
                      </a:lnTo>
                      <a:lnTo>
                        <a:pt x="1235900" y="514350"/>
                      </a:lnTo>
                      <a:lnTo>
                        <a:pt x="1233906" y="515620"/>
                      </a:lnTo>
                      <a:lnTo>
                        <a:pt x="1233601" y="516890"/>
                      </a:lnTo>
                      <a:lnTo>
                        <a:pt x="1232052" y="518160"/>
                      </a:lnTo>
                      <a:lnTo>
                        <a:pt x="1233805" y="518160"/>
                      </a:lnTo>
                      <a:lnTo>
                        <a:pt x="1232395" y="519430"/>
                      </a:lnTo>
                      <a:lnTo>
                        <a:pt x="1239405" y="519430"/>
                      </a:lnTo>
                      <a:lnTo>
                        <a:pt x="1239380" y="516890"/>
                      </a:lnTo>
                      <a:lnTo>
                        <a:pt x="1239989" y="516890"/>
                      </a:lnTo>
                      <a:lnTo>
                        <a:pt x="1239862" y="518160"/>
                      </a:lnTo>
                      <a:lnTo>
                        <a:pt x="1239431" y="519366"/>
                      </a:lnTo>
                      <a:lnTo>
                        <a:pt x="1238948" y="520700"/>
                      </a:lnTo>
                      <a:lnTo>
                        <a:pt x="1239075" y="520700"/>
                      </a:lnTo>
                      <a:lnTo>
                        <a:pt x="1238669" y="521970"/>
                      </a:lnTo>
                      <a:lnTo>
                        <a:pt x="1239634" y="520700"/>
                      </a:lnTo>
                      <a:lnTo>
                        <a:pt x="1239913" y="520700"/>
                      </a:lnTo>
                      <a:lnTo>
                        <a:pt x="1240929" y="519430"/>
                      </a:lnTo>
                      <a:lnTo>
                        <a:pt x="1241818" y="519430"/>
                      </a:lnTo>
                      <a:lnTo>
                        <a:pt x="1240840" y="520700"/>
                      </a:lnTo>
                      <a:lnTo>
                        <a:pt x="1239964" y="520700"/>
                      </a:lnTo>
                      <a:lnTo>
                        <a:pt x="1239672" y="521970"/>
                      </a:lnTo>
                      <a:lnTo>
                        <a:pt x="1238669" y="521970"/>
                      </a:lnTo>
                      <a:lnTo>
                        <a:pt x="1238491" y="521970"/>
                      </a:lnTo>
                      <a:lnTo>
                        <a:pt x="1241120" y="524510"/>
                      </a:lnTo>
                      <a:lnTo>
                        <a:pt x="1241285" y="523354"/>
                      </a:lnTo>
                      <a:lnTo>
                        <a:pt x="1241323" y="521970"/>
                      </a:lnTo>
                      <a:lnTo>
                        <a:pt x="1241374" y="522820"/>
                      </a:lnTo>
                      <a:lnTo>
                        <a:pt x="1241526" y="521792"/>
                      </a:lnTo>
                      <a:lnTo>
                        <a:pt x="1241691" y="520700"/>
                      </a:lnTo>
                      <a:lnTo>
                        <a:pt x="1243139" y="519430"/>
                      </a:lnTo>
                      <a:lnTo>
                        <a:pt x="1242771" y="520700"/>
                      </a:lnTo>
                      <a:lnTo>
                        <a:pt x="1241526" y="521792"/>
                      </a:lnTo>
                      <a:lnTo>
                        <a:pt x="1241475" y="524510"/>
                      </a:lnTo>
                      <a:lnTo>
                        <a:pt x="1241818" y="523240"/>
                      </a:lnTo>
                      <a:lnTo>
                        <a:pt x="1243279" y="523240"/>
                      </a:lnTo>
                      <a:lnTo>
                        <a:pt x="1243825" y="524510"/>
                      </a:lnTo>
                      <a:lnTo>
                        <a:pt x="1244574" y="525780"/>
                      </a:lnTo>
                      <a:lnTo>
                        <a:pt x="1245831" y="524510"/>
                      </a:lnTo>
                      <a:lnTo>
                        <a:pt x="1246682" y="524510"/>
                      </a:lnTo>
                      <a:lnTo>
                        <a:pt x="1245374" y="525780"/>
                      </a:lnTo>
                      <a:lnTo>
                        <a:pt x="1241996" y="528320"/>
                      </a:lnTo>
                      <a:lnTo>
                        <a:pt x="1242187" y="528320"/>
                      </a:lnTo>
                      <a:lnTo>
                        <a:pt x="1242783" y="530860"/>
                      </a:lnTo>
                      <a:lnTo>
                        <a:pt x="1243558" y="529590"/>
                      </a:lnTo>
                      <a:lnTo>
                        <a:pt x="1244701" y="528320"/>
                      </a:lnTo>
                      <a:lnTo>
                        <a:pt x="1244536" y="528320"/>
                      </a:lnTo>
                      <a:lnTo>
                        <a:pt x="1245552" y="527050"/>
                      </a:lnTo>
                      <a:lnTo>
                        <a:pt x="1245908" y="528320"/>
                      </a:lnTo>
                      <a:lnTo>
                        <a:pt x="1246835" y="528320"/>
                      </a:lnTo>
                      <a:lnTo>
                        <a:pt x="1246301" y="529590"/>
                      </a:lnTo>
                      <a:lnTo>
                        <a:pt x="1245489" y="530860"/>
                      </a:lnTo>
                      <a:lnTo>
                        <a:pt x="1247457" y="530860"/>
                      </a:lnTo>
                      <a:lnTo>
                        <a:pt x="1247813" y="530301"/>
                      </a:lnTo>
                      <a:lnTo>
                        <a:pt x="1247101" y="532130"/>
                      </a:lnTo>
                      <a:lnTo>
                        <a:pt x="1247190" y="533400"/>
                      </a:lnTo>
                      <a:lnTo>
                        <a:pt x="1245997" y="533400"/>
                      </a:lnTo>
                      <a:lnTo>
                        <a:pt x="1246695" y="534670"/>
                      </a:lnTo>
                      <a:lnTo>
                        <a:pt x="1248054" y="534670"/>
                      </a:lnTo>
                      <a:lnTo>
                        <a:pt x="1249654" y="535940"/>
                      </a:lnTo>
                      <a:lnTo>
                        <a:pt x="1249426" y="535940"/>
                      </a:lnTo>
                      <a:lnTo>
                        <a:pt x="1246936" y="538480"/>
                      </a:lnTo>
                      <a:lnTo>
                        <a:pt x="1246936" y="537210"/>
                      </a:lnTo>
                      <a:lnTo>
                        <a:pt x="1246847" y="538480"/>
                      </a:lnTo>
                      <a:lnTo>
                        <a:pt x="1246759" y="539750"/>
                      </a:lnTo>
                      <a:lnTo>
                        <a:pt x="1248270" y="539750"/>
                      </a:lnTo>
                      <a:lnTo>
                        <a:pt x="1249667" y="538480"/>
                      </a:lnTo>
                      <a:lnTo>
                        <a:pt x="1249260" y="537210"/>
                      </a:lnTo>
                      <a:lnTo>
                        <a:pt x="1250035" y="537210"/>
                      </a:lnTo>
                      <a:lnTo>
                        <a:pt x="1250530" y="538480"/>
                      </a:lnTo>
                      <a:lnTo>
                        <a:pt x="1250137" y="538480"/>
                      </a:lnTo>
                      <a:lnTo>
                        <a:pt x="1249311" y="539750"/>
                      </a:lnTo>
                      <a:lnTo>
                        <a:pt x="1248600" y="539750"/>
                      </a:lnTo>
                      <a:lnTo>
                        <a:pt x="1251013" y="540854"/>
                      </a:lnTo>
                      <a:lnTo>
                        <a:pt x="1250988" y="541020"/>
                      </a:lnTo>
                      <a:lnTo>
                        <a:pt x="1249489" y="541020"/>
                      </a:lnTo>
                      <a:lnTo>
                        <a:pt x="1247025" y="542290"/>
                      </a:lnTo>
                      <a:lnTo>
                        <a:pt x="1248029" y="546100"/>
                      </a:lnTo>
                      <a:lnTo>
                        <a:pt x="1248460" y="548640"/>
                      </a:lnTo>
                      <a:lnTo>
                        <a:pt x="1248752" y="552450"/>
                      </a:lnTo>
                      <a:lnTo>
                        <a:pt x="1249603" y="553720"/>
                      </a:lnTo>
                      <a:lnTo>
                        <a:pt x="1249819" y="553720"/>
                      </a:lnTo>
                      <a:lnTo>
                        <a:pt x="1250264" y="551180"/>
                      </a:lnTo>
                      <a:lnTo>
                        <a:pt x="1251712" y="549910"/>
                      </a:lnTo>
                      <a:lnTo>
                        <a:pt x="1254188" y="549910"/>
                      </a:lnTo>
                      <a:lnTo>
                        <a:pt x="1255877" y="551180"/>
                      </a:lnTo>
                      <a:lnTo>
                        <a:pt x="1256906" y="552450"/>
                      </a:lnTo>
                      <a:lnTo>
                        <a:pt x="1257287" y="553720"/>
                      </a:lnTo>
                      <a:lnTo>
                        <a:pt x="1257401" y="554990"/>
                      </a:lnTo>
                      <a:lnTo>
                        <a:pt x="1257236" y="554990"/>
                      </a:lnTo>
                      <a:lnTo>
                        <a:pt x="1257071" y="556260"/>
                      </a:lnTo>
                      <a:lnTo>
                        <a:pt x="1263345" y="556260"/>
                      </a:lnTo>
                      <a:lnTo>
                        <a:pt x="1259370" y="557530"/>
                      </a:lnTo>
                      <a:lnTo>
                        <a:pt x="1256576" y="557530"/>
                      </a:lnTo>
                      <a:lnTo>
                        <a:pt x="1258455" y="558800"/>
                      </a:lnTo>
                      <a:lnTo>
                        <a:pt x="1259103" y="560070"/>
                      </a:lnTo>
                      <a:lnTo>
                        <a:pt x="1258023" y="561340"/>
                      </a:lnTo>
                      <a:lnTo>
                        <a:pt x="1257515" y="561340"/>
                      </a:lnTo>
                      <a:lnTo>
                        <a:pt x="1260043" y="562470"/>
                      </a:lnTo>
                      <a:lnTo>
                        <a:pt x="1257046" y="563880"/>
                      </a:lnTo>
                      <a:lnTo>
                        <a:pt x="1258519" y="563880"/>
                      </a:lnTo>
                      <a:lnTo>
                        <a:pt x="1259319" y="565150"/>
                      </a:lnTo>
                      <a:lnTo>
                        <a:pt x="1256601" y="565150"/>
                      </a:lnTo>
                      <a:lnTo>
                        <a:pt x="1257287" y="566420"/>
                      </a:lnTo>
                      <a:lnTo>
                        <a:pt x="1259357" y="567690"/>
                      </a:lnTo>
                      <a:lnTo>
                        <a:pt x="1258328" y="568960"/>
                      </a:lnTo>
                      <a:lnTo>
                        <a:pt x="1258836" y="568960"/>
                      </a:lnTo>
                      <a:lnTo>
                        <a:pt x="1261821" y="570141"/>
                      </a:lnTo>
                      <a:lnTo>
                        <a:pt x="1260729" y="571500"/>
                      </a:lnTo>
                      <a:lnTo>
                        <a:pt x="1263154" y="571500"/>
                      </a:lnTo>
                      <a:lnTo>
                        <a:pt x="1263637" y="570230"/>
                      </a:lnTo>
                      <a:lnTo>
                        <a:pt x="1264386" y="570230"/>
                      </a:lnTo>
                      <a:lnTo>
                        <a:pt x="1263396" y="571461"/>
                      </a:lnTo>
                      <a:lnTo>
                        <a:pt x="1263269" y="571881"/>
                      </a:lnTo>
                      <a:lnTo>
                        <a:pt x="1263053" y="572770"/>
                      </a:lnTo>
                      <a:lnTo>
                        <a:pt x="1263243" y="572770"/>
                      </a:lnTo>
                      <a:lnTo>
                        <a:pt x="1262481" y="574040"/>
                      </a:lnTo>
                      <a:lnTo>
                        <a:pt x="1263586" y="576580"/>
                      </a:lnTo>
                      <a:lnTo>
                        <a:pt x="1265440" y="576580"/>
                      </a:lnTo>
                      <a:lnTo>
                        <a:pt x="1265275" y="577850"/>
                      </a:lnTo>
                      <a:lnTo>
                        <a:pt x="1267675" y="576580"/>
                      </a:lnTo>
                      <a:lnTo>
                        <a:pt x="1269415" y="575310"/>
                      </a:lnTo>
                      <a:lnTo>
                        <a:pt x="1272222" y="576580"/>
                      </a:lnTo>
                      <a:lnTo>
                        <a:pt x="1272362" y="576580"/>
                      </a:lnTo>
                      <a:lnTo>
                        <a:pt x="1272667" y="577850"/>
                      </a:lnTo>
                      <a:lnTo>
                        <a:pt x="1271384" y="579120"/>
                      </a:lnTo>
                      <a:lnTo>
                        <a:pt x="1270101" y="579120"/>
                      </a:lnTo>
                      <a:lnTo>
                        <a:pt x="1269580" y="580390"/>
                      </a:lnTo>
                      <a:lnTo>
                        <a:pt x="1270990" y="580390"/>
                      </a:lnTo>
                      <a:lnTo>
                        <a:pt x="1269936" y="581660"/>
                      </a:lnTo>
                      <a:lnTo>
                        <a:pt x="1274635" y="581660"/>
                      </a:lnTo>
                      <a:lnTo>
                        <a:pt x="1276311" y="579120"/>
                      </a:lnTo>
                      <a:lnTo>
                        <a:pt x="1275829" y="581660"/>
                      </a:lnTo>
                      <a:lnTo>
                        <a:pt x="1273898" y="582930"/>
                      </a:lnTo>
                      <a:lnTo>
                        <a:pt x="1272946" y="584200"/>
                      </a:lnTo>
                      <a:lnTo>
                        <a:pt x="1273606" y="585470"/>
                      </a:lnTo>
                      <a:lnTo>
                        <a:pt x="1274127" y="585470"/>
                      </a:lnTo>
                      <a:lnTo>
                        <a:pt x="1274711" y="584200"/>
                      </a:lnTo>
                      <a:lnTo>
                        <a:pt x="1276261" y="581660"/>
                      </a:lnTo>
                      <a:lnTo>
                        <a:pt x="1276070" y="582930"/>
                      </a:lnTo>
                      <a:lnTo>
                        <a:pt x="1278813" y="581660"/>
                      </a:lnTo>
                      <a:lnTo>
                        <a:pt x="1281074" y="579120"/>
                      </a:lnTo>
                      <a:lnTo>
                        <a:pt x="1282522" y="579120"/>
                      </a:lnTo>
                      <a:lnTo>
                        <a:pt x="1281493" y="581660"/>
                      </a:lnTo>
                      <a:lnTo>
                        <a:pt x="1279321" y="581660"/>
                      </a:lnTo>
                      <a:lnTo>
                        <a:pt x="1276311" y="582930"/>
                      </a:lnTo>
                      <a:lnTo>
                        <a:pt x="1275588" y="584200"/>
                      </a:lnTo>
                      <a:lnTo>
                        <a:pt x="1274635" y="585470"/>
                      </a:lnTo>
                      <a:lnTo>
                        <a:pt x="1273987" y="586740"/>
                      </a:lnTo>
                      <a:lnTo>
                        <a:pt x="1275372" y="588010"/>
                      </a:lnTo>
                      <a:lnTo>
                        <a:pt x="1276146" y="585470"/>
                      </a:lnTo>
                      <a:lnTo>
                        <a:pt x="1277251" y="585470"/>
                      </a:lnTo>
                      <a:lnTo>
                        <a:pt x="1278877" y="584200"/>
                      </a:lnTo>
                      <a:lnTo>
                        <a:pt x="1279385" y="584200"/>
                      </a:lnTo>
                      <a:lnTo>
                        <a:pt x="1280083" y="582930"/>
                      </a:lnTo>
                      <a:lnTo>
                        <a:pt x="1279550" y="585470"/>
                      </a:lnTo>
                      <a:lnTo>
                        <a:pt x="1278534" y="585470"/>
                      </a:lnTo>
                      <a:lnTo>
                        <a:pt x="1277327" y="586740"/>
                      </a:lnTo>
                      <a:lnTo>
                        <a:pt x="1276515" y="588010"/>
                      </a:lnTo>
                      <a:lnTo>
                        <a:pt x="1275778" y="588010"/>
                      </a:lnTo>
                      <a:lnTo>
                        <a:pt x="1275118" y="589280"/>
                      </a:lnTo>
                      <a:lnTo>
                        <a:pt x="1274521" y="590550"/>
                      </a:lnTo>
                      <a:lnTo>
                        <a:pt x="1273479" y="594360"/>
                      </a:lnTo>
                      <a:lnTo>
                        <a:pt x="1278229" y="595630"/>
                      </a:lnTo>
                      <a:lnTo>
                        <a:pt x="1281684" y="596900"/>
                      </a:lnTo>
                      <a:lnTo>
                        <a:pt x="1283208" y="598170"/>
                      </a:lnTo>
                      <a:lnTo>
                        <a:pt x="1284427" y="598170"/>
                      </a:lnTo>
                      <a:lnTo>
                        <a:pt x="1284516" y="596900"/>
                      </a:lnTo>
                      <a:lnTo>
                        <a:pt x="1286192" y="596900"/>
                      </a:lnTo>
                      <a:lnTo>
                        <a:pt x="1286865" y="598170"/>
                      </a:lnTo>
                      <a:lnTo>
                        <a:pt x="1288389" y="596900"/>
                      </a:lnTo>
                      <a:lnTo>
                        <a:pt x="1287475" y="598170"/>
                      </a:lnTo>
                      <a:lnTo>
                        <a:pt x="1286865" y="598170"/>
                      </a:lnTo>
                      <a:lnTo>
                        <a:pt x="1285646" y="598170"/>
                      </a:lnTo>
                      <a:lnTo>
                        <a:pt x="1284008" y="599440"/>
                      </a:lnTo>
                      <a:lnTo>
                        <a:pt x="1283246" y="599440"/>
                      </a:lnTo>
                      <a:lnTo>
                        <a:pt x="1285455" y="600710"/>
                      </a:lnTo>
                      <a:lnTo>
                        <a:pt x="1286090" y="599440"/>
                      </a:lnTo>
                      <a:lnTo>
                        <a:pt x="1287665" y="598170"/>
                      </a:lnTo>
                      <a:lnTo>
                        <a:pt x="1287716" y="599440"/>
                      </a:lnTo>
                      <a:lnTo>
                        <a:pt x="1286459" y="600710"/>
                      </a:lnTo>
                      <a:lnTo>
                        <a:pt x="1285455" y="600710"/>
                      </a:lnTo>
                      <a:lnTo>
                        <a:pt x="1282090" y="600710"/>
                      </a:lnTo>
                      <a:lnTo>
                        <a:pt x="1283385" y="601980"/>
                      </a:lnTo>
                      <a:lnTo>
                        <a:pt x="1284427" y="603250"/>
                      </a:lnTo>
                      <a:lnTo>
                        <a:pt x="1286243" y="603250"/>
                      </a:lnTo>
                      <a:lnTo>
                        <a:pt x="1286573" y="601980"/>
                      </a:lnTo>
                      <a:lnTo>
                        <a:pt x="1287373" y="601980"/>
                      </a:lnTo>
                      <a:lnTo>
                        <a:pt x="1287881" y="601980"/>
                      </a:lnTo>
                      <a:lnTo>
                        <a:pt x="1289405" y="603250"/>
                      </a:lnTo>
                      <a:lnTo>
                        <a:pt x="1291361" y="601980"/>
                      </a:lnTo>
                      <a:lnTo>
                        <a:pt x="1291082" y="600710"/>
                      </a:lnTo>
                      <a:lnTo>
                        <a:pt x="1290815" y="599440"/>
                      </a:lnTo>
                      <a:lnTo>
                        <a:pt x="1292364" y="598170"/>
                      </a:lnTo>
                      <a:lnTo>
                        <a:pt x="1292225" y="599440"/>
                      </a:lnTo>
                      <a:lnTo>
                        <a:pt x="1291678" y="600710"/>
                      </a:lnTo>
                      <a:lnTo>
                        <a:pt x="1291463" y="601980"/>
                      </a:lnTo>
                      <a:lnTo>
                        <a:pt x="1292682" y="600710"/>
                      </a:lnTo>
                      <a:lnTo>
                        <a:pt x="1293901" y="600710"/>
                      </a:lnTo>
                      <a:lnTo>
                        <a:pt x="1294841" y="601980"/>
                      </a:lnTo>
                      <a:lnTo>
                        <a:pt x="1293647" y="601980"/>
                      </a:lnTo>
                      <a:lnTo>
                        <a:pt x="1292745" y="603250"/>
                      </a:lnTo>
                      <a:lnTo>
                        <a:pt x="1295946" y="603250"/>
                      </a:lnTo>
                      <a:lnTo>
                        <a:pt x="1295095" y="604520"/>
                      </a:lnTo>
                      <a:lnTo>
                        <a:pt x="1294485" y="604850"/>
                      </a:lnTo>
                      <a:lnTo>
                        <a:pt x="1294485" y="608330"/>
                      </a:lnTo>
                      <a:lnTo>
                        <a:pt x="1293774" y="609600"/>
                      </a:lnTo>
                      <a:lnTo>
                        <a:pt x="1292110" y="609600"/>
                      </a:lnTo>
                      <a:lnTo>
                        <a:pt x="1293507" y="608330"/>
                      </a:lnTo>
                      <a:lnTo>
                        <a:pt x="1294485" y="608330"/>
                      </a:lnTo>
                      <a:lnTo>
                        <a:pt x="1294485" y="604850"/>
                      </a:lnTo>
                      <a:lnTo>
                        <a:pt x="1292720" y="605790"/>
                      </a:lnTo>
                      <a:lnTo>
                        <a:pt x="1292847" y="607060"/>
                      </a:lnTo>
                      <a:lnTo>
                        <a:pt x="1291183" y="607060"/>
                      </a:lnTo>
                      <a:lnTo>
                        <a:pt x="1291526" y="605790"/>
                      </a:lnTo>
                      <a:lnTo>
                        <a:pt x="1291869" y="604520"/>
                      </a:lnTo>
                      <a:lnTo>
                        <a:pt x="1292123" y="603618"/>
                      </a:lnTo>
                      <a:lnTo>
                        <a:pt x="1290574" y="604520"/>
                      </a:lnTo>
                      <a:lnTo>
                        <a:pt x="1290332" y="603250"/>
                      </a:lnTo>
                      <a:lnTo>
                        <a:pt x="1287322" y="604520"/>
                      </a:lnTo>
                      <a:lnTo>
                        <a:pt x="1286586" y="605790"/>
                      </a:lnTo>
                      <a:lnTo>
                        <a:pt x="1286802" y="607060"/>
                      </a:lnTo>
                      <a:lnTo>
                        <a:pt x="1287894" y="607060"/>
                      </a:lnTo>
                      <a:lnTo>
                        <a:pt x="1288961" y="605790"/>
                      </a:lnTo>
                      <a:lnTo>
                        <a:pt x="1290142" y="605790"/>
                      </a:lnTo>
                      <a:lnTo>
                        <a:pt x="1289748" y="607060"/>
                      </a:lnTo>
                      <a:lnTo>
                        <a:pt x="1288707" y="607060"/>
                      </a:lnTo>
                      <a:lnTo>
                        <a:pt x="1288008" y="608330"/>
                      </a:lnTo>
                      <a:lnTo>
                        <a:pt x="1290675" y="607263"/>
                      </a:lnTo>
                      <a:lnTo>
                        <a:pt x="1291945" y="608330"/>
                      </a:lnTo>
                      <a:lnTo>
                        <a:pt x="1290828" y="609600"/>
                      </a:lnTo>
                      <a:lnTo>
                        <a:pt x="1291488" y="609600"/>
                      </a:lnTo>
                      <a:lnTo>
                        <a:pt x="1292364" y="612140"/>
                      </a:lnTo>
                      <a:lnTo>
                        <a:pt x="1289354" y="612140"/>
                      </a:lnTo>
                      <a:lnTo>
                        <a:pt x="1288808" y="613410"/>
                      </a:lnTo>
                      <a:lnTo>
                        <a:pt x="1293545" y="614680"/>
                      </a:lnTo>
                      <a:lnTo>
                        <a:pt x="1297838" y="614680"/>
                      </a:lnTo>
                      <a:lnTo>
                        <a:pt x="1299933" y="613410"/>
                      </a:lnTo>
                      <a:lnTo>
                        <a:pt x="1301470" y="612482"/>
                      </a:lnTo>
                      <a:lnTo>
                        <a:pt x="1301064" y="613410"/>
                      </a:lnTo>
                      <a:lnTo>
                        <a:pt x="1303121" y="613410"/>
                      </a:lnTo>
                      <a:lnTo>
                        <a:pt x="1301356" y="614680"/>
                      </a:lnTo>
                      <a:lnTo>
                        <a:pt x="1298816" y="614680"/>
                      </a:lnTo>
                      <a:lnTo>
                        <a:pt x="1295336" y="615950"/>
                      </a:lnTo>
                      <a:lnTo>
                        <a:pt x="1292021" y="615950"/>
                      </a:lnTo>
                      <a:lnTo>
                        <a:pt x="1293939" y="617220"/>
                      </a:lnTo>
                      <a:lnTo>
                        <a:pt x="1295920" y="615950"/>
                      </a:lnTo>
                      <a:lnTo>
                        <a:pt x="1299108" y="615950"/>
                      </a:lnTo>
                      <a:lnTo>
                        <a:pt x="1300568" y="617220"/>
                      </a:lnTo>
                      <a:lnTo>
                        <a:pt x="1301483" y="617220"/>
                      </a:lnTo>
                      <a:lnTo>
                        <a:pt x="1299552" y="618490"/>
                      </a:lnTo>
                      <a:lnTo>
                        <a:pt x="1298257" y="618490"/>
                      </a:lnTo>
                      <a:lnTo>
                        <a:pt x="1297952" y="621030"/>
                      </a:lnTo>
                      <a:lnTo>
                        <a:pt x="1301216" y="621030"/>
                      </a:lnTo>
                      <a:lnTo>
                        <a:pt x="1301038" y="622300"/>
                      </a:lnTo>
                      <a:lnTo>
                        <a:pt x="1304163" y="621030"/>
                      </a:lnTo>
                      <a:lnTo>
                        <a:pt x="1304048" y="619760"/>
                      </a:lnTo>
                      <a:lnTo>
                        <a:pt x="1304201" y="620344"/>
                      </a:lnTo>
                      <a:lnTo>
                        <a:pt x="1305445" y="624840"/>
                      </a:lnTo>
                      <a:lnTo>
                        <a:pt x="1308798" y="622300"/>
                      </a:lnTo>
                      <a:lnTo>
                        <a:pt x="1310259" y="621030"/>
                      </a:lnTo>
                      <a:lnTo>
                        <a:pt x="1309700" y="622300"/>
                      </a:lnTo>
                      <a:lnTo>
                        <a:pt x="1307426" y="623570"/>
                      </a:lnTo>
                      <a:lnTo>
                        <a:pt x="1308773" y="624840"/>
                      </a:lnTo>
                      <a:lnTo>
                        <a:pt x="1311211" y="624840"/>
                      </a:lnTo>
                      <a:lnTo>
                        <a:pt x="1310271" y="626110"/>
                      </a:lnTo>
                      <a:lnTo>
                        <a:pt x="1308468" y="627380"/>
                      </a:lnTo>
                      <a:lnTo>
                        <a:pt x="1309573" y="627380"/>
                      </a:lnTo>
                      <a:lnTo>
                        <a:pt x="1310335" y="628015"/>
                      </a:lnTo>
                      <a:lnTo>
                        <a:pt x="1311097" y="627380"/>
                      </a:lnTo>
                      <a:lnTo>
                        <a:pt x="1313078" y="628650"/>
                      </a:lnTo>
                      <a:lnTo>
                        <a:pt x="1314348" y="627380"/>
                      </a:lnTo>
                      <a:lnTo>
                        <a:pt x="1313967" y="626110"/>
                      </a:lnTo>
                      <a:lnTo>
                        <a:pt x="1321041" y="626110"/>
                      </a:lnTo>
                      <a:lnTo>
                        <a:pt x="1321485" y="628015"/>
                      </a:lnTo>
                      <a:lnTo>
                        <a:pt x="1323352" y="627380"/>
                      </a:lnTo>
                      <a:lnTo>
                        <a:pt x="1322298" y="628650"/>
                      </a:lnTo>
                      <a:lnTo>
                        <a:pt x="1321816" y="628650"/>
                      </a:lnTo>
                      <a:lnTo>
                        <a:pt x="1323924" y="629920"/>
                      </a:lnTo>
                      <a:lnTo>
                        <a:pt x="1327327" y="628650"/>
                      </a:lnTo>
                      <a:lnTo>
                        <a:pt x="1324229" y="627380"/>
                      </a:lnTo>
                      <a:lnTo>
                        <a:pt x="1325372" y="627380"/>
                      </a:lnTo>
                      <a:lnTo>
                        <a:pt x="1325270" y="626414"/>
                      </a:lnTo>
                      <a:lnTo>
                        <a:pt x="1325854" y="627380"/>
                      </a:lnTo>
                      <a:lnTo>
                        <a:pt x="1326680" y="627380"/>
                      </a:lnTo>
                      <a:lnTo>
                        <a:pt x="1327251" y="626110"/>
                      </a:lnTo>
                      <a:lnTo>
                        <a:pt x="1326248" y="626110"/>
                      </a:lnTo>
                      <a:lnTo>
                        <a:pt x="1326819" y="624840"/>
                      </a:lnTo>
                      <a:lnTo>
                        <a:pt x="1327988" y="626110"/>
                      </a:lnTo>
                      <a:lnTo>
                        <a:pt x="1327086" y="624840"/>
                      </a:lnTo>
                      <a:lnTo>
                        <a:pt x="1329448" y="624840"/>
                      </a:lnTo>
                      <a:lnTo>
                        <a:pt x="1329296" y="623570"/>
                      </a:lnTo>
                      <a:lnTo>
                        <a:pt x="1329639" y="624840"/>
                      </a:lnTo>
                      <a:lnTo>
                        <a:pt x="1330121" y="623570"/>
                      </a:lnTo>
                      <a:lnTo>
                        <a:pt x="1331201" y="623570"/>
                      </a:lnTo>
                      <a:lnTo>
                        <a:pt x="1332471" y="624840"/>
                      </a:lnTo>
                      <a:lnTo>
                        <a:pt x="1333741" y="624840"/>
                      </a:lnTo>
                      <a:lnTo>
                        <a:pt x="1333220" y="623709"/>
                      </a:lnTo>
                      <a:lnTo>
                        <a:pt x="1337068" y="624535"/>
                      </a:lnTo>
                      <a:lnTo>
                        <a:pt x="1336751" y="624840"/>
                      </a:lnTo>
                      <a:lnTo>
                        <a:pt x="1335519" y="624840"/>
                      </a:lnTo>
                      <a:lnTo>
                        <a:pt x="1334439" y="626110"/>
                      </a:lnTo>
                      <a:lnTo>
                        <a:pt x="1336586" y="627380"/>
                      </a:lnTo>
                      <a:lnTo>
                        <a:pt x="1339710" y="626110"/>
                      </a:lnTo>
                      <a:lnTo>
                        <a:pt x="1343380" y="623570"/>
                      </a:lnTo>
                      <a:lnTo>
                        <a:pt x="1342986" y="622300"/>
                      </a:lnTo>
                      <a:lnTo>
                        <a:pt x="1342834" y="619760"/>
                      </a:lnTo>
                      <a:lnTo>
                        <a:pt x="1343520" y="621030"/>
                      </a:lnTo>
                      <a:lnTo>
                        <a:pt x="1344841" y="622300"/>
                      </a:lnTo>
                      <a:lnTo>
                        <a:pt x="1345907" y="622300"/>
                      </a:lnTo>
                      <a:lnTo>
                        <a:pt x="1346631" y="621030"/>
                      </a:lnTo>
                      <a:lnTo>
                        <a:pt x="1346860" y="621030"/>
                      </a:lnTo>
                      <a:lnTo>
                        <a:pt x="1346174" y="623570"/>
                      </a:lnTo>
                      <a:lnTo>
                        <a:pt x="1344612" y="624840"/>
                      </a:lnTo>
                      <a:lnTo>
                        <a:pt x="1344561" y="625005"/>
                      </a:lnTo>
                      <a:lnTo>
                        <a:pt x="1346225" y="627380"/>
                      </a:lnTo>
                      <a:lnTo>
                        <a:pt x="1339951" y="632460"/>
                      </a:lnTo>
                      <a:lnTo>
                        <a:pt x="1340243" y="632460"/>
                      </a:lnTo>
                      <a:lnTo>
                        <a:pt x="1337919" y="633730"/>
                      </a:lnTo>
                      <a:lnTo>
                        <a:pt x="1339659" y="633730"/>
                      </a:lnTo>
                      <a:lnTo>
                        <a:pt x="1340993" y="635000"/>
                      </a:lnTo>
                      <a:lnTo>
                        <a:pt x="1342313" y="635000"/>
                      </a:lnTo>
                      <a:lnTo>
                        <a:pt x="1343431" y="633730"/>
                      </a:lnTo>
                      <a:lnTo>
                        <a:pt x="1344104" y="633730"/>
                      </a:lnTo>
                      <a:lnTo>
                        <a:pt x="1345272" y="631190"/>
                      </a:lnTo>
                      <a:lnTo>
                        <a:pt x="1344752" y="632460"/>
                      </a:lnTo>
                      <a:lnTo>
                        <a:pt x="1345895" y="631190"/>
                      </a:lnTo>
                      <a:lnTo>
                        <a:pt x="1346987" y="632460"/>
                      </a:lnTo>
                      <a:lnTo>
                        <a:pt x="1348257" y="631190"/>
                      </a:lnTo>
                      <a:lnTo>
                        <a:pt x="1347406" y="632460"/>
                      </a:lnTo>
                      <a:lnTo>
                        <a:pt x="1346987" y="632460"/>
                      </a:lnTo>
                      <a:lnTo>
                        <a:pt x="1345882" y="632460"/>
                      </a:lnTo>
                      <a:lnTo>
                        <a:pt x="1344155" y="635000"/>
                      </a:lnTo>
                      <a:lnTo>
                        <a:pt x="1343113" y="636270"/>
                      </a:lnTo>
                      <a:lnTo>
                        <a:pt x="1344282" y="636270"/>
                      </a:lnTo>
                      <a:lnTo>
                        <a:pt x="1345336" y="635000"/>
                      </a:lnTo>
                      <a:lnTo>
                        <a:pt x="1346377" y="635000"/>
                      </a:lnTo>
                      <a:lnTo>
                        <a:pt x="1346174" y="633730"/>
                      </a:lnTo>
                      <a:lnTo>
                        <a:pt x="1346517" y="633730"/>
                      </a:lnTo>
                      <a:lnTo>
                        <a:pt x="1346771" y="634974"/>
                      </a:lnTo>
                      <a:lnTo>
                        <a:pt x="1347241" y="633730"/>
                      </a:lnTo>
                      <a:lnTo>
                        <a:pt x="1347990" y="633730"/>
                      </a:lnTo>
                      <a:lnTo>
                        <a:pt x="1349032" y="632460"/>
                      </a:lnTo>
                      <a:lnTo>
                        <a:pt x="1352994" y="632460"/>
                      </a:lnTo>
                      <a:lnTo>
                        <a:pt x="1353134" y="631190"/>
                      </a:lnTo>
                      <a:lnTo>
                        <a:pt x="1355369" y="631190"/>
                      </a:lnTo>
                      <a:lnTo>
                        <a:pt x="1354099" y="632460"/>
                      </a:lnTo>
                      <a:lnTo>
                        <a:pt x="1352727" y="635000"/>
                      </a:lnTo>
                      <a:lnTo>
                        <a:pt x="1350899" y="636270"/>
                      </a:lnTo>
                      <a:lnTo>
                        <a:pt x="1354137" y="636270"/>
                      </a:lnTo>
                      <a:lnTo>
                        <a:pt x="1348054" y="641350"/>
                      </a:lnTo>
                      <a:lnTo>
                        <a:pt x="1347381" y="642620"/>
                      </a:lnTo>
                      <a:lnTo>
                        <a:pt x="1350416" y="642620"/>
                      </a:lnTo>
                      <a:lnTo>
                        <a:pt x="1348994" y="643890"/>
                      </a:lnTo>
                      <a:lnTo>
                        <a:pt x="1346428" y="643890"/>
                      </a:lnTo>
                      <a:lnTo>
                        <a:pt x="1350568" y="646430"/>
                      </a:lnTo>
                      <a:lnTo>
                        <a:pt x="1351673" y="643890"/>
                      </a:lnTo>
                      <a:lnTo>
                        <a:pt x="1352308" y="643890"/>
                      </a:lnTo>
                      <a:lnTo>
                        <a:pt x="1352384" y="646430"/>
                      </a:lnTo>
                      <a:lnTo>
                        <a:pt x="1357541" y="646430"/>
                      </a:lnTo>
                      <a:lnTo>
                        <a:pt x="1356474" y="645160"/>
                      </a:lnTo>
                      <a:lnTo>
                        <a:pt x="1358341" y="643890"/>
                      </a:lnTo>
                      <a:lnTo>
                        <a:pt x="1361960" y="643890"/>
                      </a:lnTo>
                      <a:lnTo>
                        <a:pt x="1360932" y="642620"/>
                      </a:lnTo>
                      <a:lnTo>
                        <a:pt x="1359903" y="641350"/>
                      </a:lnTo>
                      <a:lnTo>
                        <a:pt x="1360411" y="641350"/>
                      </a:lnTo>
                      <a:lnTo>
                        <a:pt x="1361059" y="640080"/>
                      </a:lnTo>
                      <a:lnTo>
                        <a:pt x="1360792" y="640080"/>
                      </a:lnTo>
                      <a:lnTo>
                        <a:pt x="1362087" y="638810"/>
                      </a:lnTo>
                      <a:lnTo>
                        <a:pt x="1363141" y="640080"/>
                      </a:lnTo>
                      <a:lnTo>
                        <a:pt x="1362964" y="638810"/>
                      </a:lnTo>
                      <a:lnTo>
                        <a:pt x="1363179" y="640080"/>
                      </a:lnTo>
                      <a:lnTo>
                        <a:pt x="1363459" y="640080"/>
                      </a:lnTo>
                      <a:lnTo>
                        <a:pt x="1363014" y="641350"/>
                      </a:lnTo>
                      <a:lnTo>
                        <a:pt x="1362278" y="641350"/>
                      </a:lnTo>
                      <a:lnTo>
                        <a:pt x="1361986" y="643890"/>
                      </a:lnTo>
                      <a:lnTo>
                        <a:pt x="1362748" y="642874"/>
                      </a:lnTo>
                      <a:lnTo>
                        <a:pt x="1362964" y="643051"/>
                      </a:lnTo>
                      <a:lnTo>
                        <a:pt x="1363497" y="643445"/>
                      </a:lnTo>
                      <a:lnTo>
                        <a:pt x="1365300" y="645261"/>
                      </a:lnTo>
                      <a:lnTo>
                        <a:pt x="1368475" y="646684"/>
                      </a:lnTo>
                      <a:lnTo>
                        <a:pt x="1370558" y="648004"/>
                      </a:lnTo>
                      <a:lnTo>
                        <a:pt x="1370774" y="647649"/>
                      </a:lnTo>
                      <a:lnTo>
                        <a:pt x="1371117" y="647192"/>
                      </a:lnTo>
                      <a:lnTo>
                        <a:pt x="1371676" y="646201"/>
                      </a:lnTo>
                      <a:lnTo>
                        <a:pt x="1371828" y="645833"/>
                      </a:lnTo>
                      <a:lnTo>
                        <a:pt x="1371739" y="645007"/>
                      </a:lnTo>
                      <a:lnTo>
                        <a:pt x="1371549" y="644740"/>
                      </a:lnTo>
                      <a:lnTo>
                        <a:pt x="1371409" y="644664"/>
                      </a:lnTo>
                      <a:lnTo>
                        <a:pt x="1371612" y="644893"/>
                      </a:lnTo>
                      <a:lnTo>
                        <a:pt x="1371485" y="644740"/>
                      </a:lnTo>
                      <a:lnTo>
                        <a:pt x="1371206" y="644550"/>
                      </a:lnTo>
                      <a:lnTo>
                        <a:pt x="1371930" y="644766"/>
                      </a:lnTo>
                      <a:lnTo>
                        <a:pt x="1372958" y="645172"/>
                      </a:lnTo>
                      <a:lnTo>
                        <a:pt x="1374152" y="645629"/>
                      </a:lnTo>
                      <a:lnTo>
                        <a:pt x="1374813" y="645833"/>
                      </a:lnTo>
                      <a:lnTo>
                        <a:pt x="1375511" y="646290"/>
                      </a:lnTo>
                      <a:lnTo>
                        <a:pt x="1375752" y="646366"/>
                      </a:lnTo>
                      <a:lnTo>
                        <a:pt x="1375943" y="646379"/>
                      </a:lnTo>
                      <a:lnTo>
                        <a:pt x="1376235" y="646252"/>
                      </a:lnTo>
                      <a:lnTo>
                        <a:pt x="1376362" y="646214"/>
                      </a:lnTo>
                      <a:lnTo>
                        <a:pt x="1376502" y="646049"/>
                      </a:lnTo>
                      <a:lnTo>
                        <a:pt x="1376705" y="645833"/>
                      </a:lnTo>
                      <a:lnTo>
                        <a:pt x="1376730" y="645502"/>
                      </a:lnTo>
                      <a:lnTo>
                        <a:pt x="1376464" y="645109"/>
                      </a:lnTo>
                      <a:lnTo>
                        <a:pt x="1375994" y="644893"/>
                      </a:lnTo>
                      <a:lnTo>
                        <a:pt x="1374546" y="644550"/>
                      </a:lnTo>
                      <a:lnTo>
                        <a:pt x="1371879" y="643915"/>
                      </a:lnTo>
                      <a:lnTo>
                        <a:pt x="1373149" y="643890"/>
                      </a:lnTo>
                      <a:lnTo>
                        <a:pt x="1377518" y="645160"/>
                      </a:lnTo>
                      <a:lnTo>
                        <a:pt x="1377188" y="643890"/>
                      </a:lnTo>
                      <a:lnTo>
                        <a:pt x="1376743" y="642620"/>
                      </a:lnTo>
                      <a:lnTo>
                        <a:pt x="1376730" y="641350"/>
                      </a:lnTo>
                      <a:lnTo>
                        <a:pt x="1378191" y="641350"/>
                      </a:lnTo>
                      <a:lnTo>
                        <a:pt x="1376324" y="638810"/>
                      </a:lnTo>
                      <a:lnTo>
                        <a:pt x="1375054" y="638810"/>
                      </a:lnTo>
                      <a:lnTo>
                        <a:pt x="1373606" y="640080"/>
                      </a:lnTo>
                      <a:lnTo>
                        <a:pt x="1373085" y="638810"/>
                      </a:lnTo>
                      <a:lnTo>
                        <a:pt x="1371231" y="639978"/>
                      </a:lnTo>
                      <a:lnTo>
                        <a:pt x="1371917" y="638810"/>
                      </a:lnTo>
                      <a:lnTo>
                        <a:pt x="1372577" y="638810"/>
                      </a:lnTo>
                      <a:lnTo>
                        <a:pt x="1374013" y="637540"/>
                      </a:lnTo>
                      <a:lnTo>
                        <a:pt x="1374140" y="636955"/>
                      </a:lnTo>
                      <a:lnTo>
                        <a:pt x="1375321" y="637540"/>
                      </a:lnTo>
                      <a:lnTo>
                        <a:pt x="1376489" y="636270"/>
                      </a:lnTo>
                      <a:lnTo>
                        <a:pt x="1374838" y="636270"/>
                      </a:lnTo>
                      <a:lnTo>
                        <a:pt x="1374241" y="635000"/>
                      </a:lnTo>
                      <a:lnTo>
                        <a:pt x="1375829" y="635000"/>
                      </a:lnTo>
                      <a:lnTo>
                        <a:pt x="1376807" y="636270"/>
                      </a:lnTo>
                      <a:lnTo>
                        <a:pt x="1379334" y="635000"/>
                      </a:lnTo>
                      <a:lnTo>
                        <a:pt x="1379575" y="633755"/>
                      </a:lnTo>
                      <a:lnTo>
                        <a:pt x="1378102" y="635000"/>
                      </a:lnTo>
                      <a:lnTo>
                        <a:pt x="1376768" y="633730"/>
                      </a:lnTo>
                      <a:lnTo>
                        <a:pt x="1376591" y="633730"/>
                      </a:lnTo>
                      <a:lnTo>
                        <a:pt x="1374952" y="632460"/>
                      </a:lnTo>
                      <a:lnTo>
                        <a:pt x="1377950" y="632460"/>
                      </a:lnTo>
                      <a:lnTo>
                        <a:pt x="1379435" y="633730"/>
                      </a:lnTo>
                      <a:lnTo>
                        <a:pt x="1380680" y="632460"/>
                      </a:lnTo>
                      <a:lnTo>
                        <a:pt x="1381937" y="631190"/>
                      </a:lnTo>
                      <a:lnTo>
                        <a:pt x="1380350" y="629920"/>
                      </a:lnTo>
                      <a:lnTo>
                        <a:pt x="1381620" y="629920"/>
                      </a:lnTo>
                      <a:lnTo>
                        <a:pt x="1380705" y="628650"/>
                      </a:lnTo>
                      <a:lnTo>
                        <a:pt x="1378254" y="628650"/>
                      </a:lnTo>
                      <a:lnTo>
                        <a:pt x="1378254" y="629920"/>
                      </a:lnTo>
                      <a:lnTo>
                        <a:pt x="1374838" y="629920"/>
                      </a:lnTo>
                      <a:lnTo>
                        <a:pt x="1372362" y="628650"/>
                      </a:lnTo>
                      <a:lnTo>
                        <a:pt x="1374800" y="628650"/>
                      </a:lnTo>
                      <a:lnTo>
                        <a:pt x="1378254" y="629920"/>
                      </a:lnTo>
                      <a:lnTo>
                        <a:pt x="1378254" y="628650"/>
                      </a:lnTo>
                      <a:lnTo>
                        <a:pt x="1377048" y="628650"/>
                      </a:lnTo>
                      <a:lnTo>
                        <a:pt x="1376845" y="627380"/>
                      </a:lnTo>
                      <a:lnTo>
                        <a:pt x="1380159" y="627380"/>
                      </a:lnTo>
                      <a:lnTo>
                        <a:pt x="1382268" y="626148"/>
                      </a:lnTo>
                      <a:lnTo>
                        <a:pt x="1381531" y="624840"/>
                      </a:lnTo>
                      <a:lnTo>
                        <a:pt x="1382814" y="626110"/>
                      </a:lnTo>
                      <a:lnTo>
                        <a:pt x="1383461" y="626110"/>
                      </a:lnTo>
                      <a:lnTo>
                        <a:pt x="1382915" y="624840"/>
                      </a:lnTo>
                      <a:lnTo>
                        <a:pt x="1382382" y="623570"/>
                      </a:lnTo>
                      <a:lnTo>
                        <a:pt x="1381112" y="622681"/>
                      </a:lnTo>
                      <a:lnTo>
                        <a:pt x="1381633" y="622300"/>
                      </a:lnTo>
                      <a:lnTo>
                        <a:pt x="1383855" y="623570"/>
                      </a:lnTo>
                      <a:lnTo>
                        <a:pt x="1382953" y="622300"/>
                      </a:lnTo>
                      <a:lnTo>
                        <a:pt x="1382064" y="621030"/>
                      </a:lnTo>
                      <a:lnTo>
                        <a:pt x="1384744" y="621030"/>
                      </a:lnTo>
                      <a:lnTo>
                        <a:pt x="1383792" y="619760"/>
                      </a:lnTo>
                      <a:lnTo>
                        <a:pt x="1383004" y="619760"/>
                      </a:lnTo>
                      <a:lnTo>
                        <a:pt x="1381506" y="619760"/>
                      </a:lnTo>
                      <a:lnTo>
                        <a:pt x="1379829" y="621030"/>
                      </a:lnTo>
                      <a:lnTo>
                        <a:pt x="1380350" y="619760"/>
                      </a:lnTo>
                      <a:lnTo>
                        <a:pt x="1380883" y="618490"/>
                      </a:lnTo>
                      <a:lnTo>
                        <a:pt x="1379054" y="618490"/>
                      </a:lnTo>
                      <a:lnTo>
                        <a:pt x="1379054" y="623328"/>
                      </a:lnTo>
                      <a:lnTo>
                        <a:pt x="1378712" y="623570"/>
                      </a:lnTo>
                      <a:lnTo>
                        <a:pt x="1378813" y="623265"/>
                      </a:lnTo>
                      <a:lnTo>
                        <a:pt x="1379054" y="623328"/>
                      </a:lnTo>
                      <a:lnTo>
                        <a:pt x="1379054" y="618490"/>
                      </a:lnTo>
                      <a:lnTo>
                        <a:pt x="1377594" y="618490"/>
                      </a:lnTo>
                      <a:lnTo>
                        <a:pt x="1377594" y="622922"/>
                      </a:lnTo>
                      <a:lnTo>
                        <a:pt x="1376019" y="623570"/>
                      </a:lnTo>
                      <a:lnTo>
                        <a:pt x="1375321" y="623227"/>
                      </a:lnTo>
                      <a:lnTo>
                        <a:pt x="1375321" y="626859"/>
                      </a:lnTo>
                      <a:lnTo>
                        <a:pt x="1372298" y="628548"/>
                      </a:lnTo>
                      <a:lnTo>
                        <a:pt x="1372298" y="636054"/>
                      </a:lnTo>
                      <a:lnTo>
                        <a:pt x="1363916" y="635127"/>
                      </a:lnTo>
                      <a:lnTo>
                        <a:pt x="1363916" y="642835"/>
                      </a:lnTo>
                      <a:lnTo>
                        <a:pt x="1363484" y="642835"/>
                      </a:lnTo>
                      <a:lnTo>
                        <a:pt x="1362875" y="642772"/>
                      </a:lnTo>
                      <a:lnTo>
                        <a:pt x="1362938" y="642620"/>
                      </a:lnTo>
                      <a:lnTo>
                        <a:pt x="1363916" y="642835"/>
                      </a:lnTo>
                      <a:lnTo>
                        <a:pt x="1363916" y="635127"/>
                      </a:lnTo>
                      <a:lnTo>
                        <a:pt x="1362837" y="635000"/>
                      </a:lnTo>
                      <a:lnTo>
                        <a:pt x="1361554" y="633730"/>
                      </a:lnTo>
                      <a:lnTo>
                        <a:pt x="1364386" y="633730"/>
                      </a:lnTo>
                      <a:lnTo>
                        <a:pt x="1366926" y="635000"/>
                      </a:lnTo>
                      <a:lnTo>
                        <a:pt x="1369720" y="635000"/>
                      </a:lnTo>
                      <a:lnTo>
                        <a:pt x="1369428" y="633730"/>
                      </a:lnTo>
                      <a:lnTo>
                        <a:pt x="1368729" y="632460"/>
                      </a:lnTo>
                      <a:lnTo>
                        <a:pt x="1368590" y="631190"/>
                      </a:lnTo>
                      <a:lnTo>
                        <a:pt x="1369669" y="633755"/>
                      </a:lnTo>
                      <a:lnTo>
                        <a:pt x="1370063" y="635000"/>
                      </a:lnTo>
                      <a:lnTo>
                        <a:pt x="1372298" y="636054"/>
                      </a:lnTo>
                      <a:lnTo>
                        <a:pt x="1372298" y="628548"/>
                      </a:lnTo>
                      <a:lnTo>
                        <a:pt x="1372095" y="628650"/>
                      </a:lnTo>
                      <a:lnTo>
                        <a:pt x="1371854" y="626110"/>
                      </a:lnTo>
                      <a:lnTo>
                        <a:pt x="1374025" y="626110"/>
                      </a:lnTo>
                      <a:lnTo>
                        <a:pt x="1375321" y="626859"/>
                      </a:lnTo>
                      <a:lnTo>
                        <a:pt x="1375321" y="623227"/>
                      </a:lnTo>
                      <a:lnTo>
                        <a:pt x="1373441" y="622300"/>
                      </a:lnTo>
                      <a:lnTo>
                        <a:pt x="1375359" y="622300"/>
                      </a:lnTo>
                      <a:lnTo>
                        <a:pt x="1377594" y="622922"/>
                      </a:lnTo>
                      <a:lnTo>
                        <a:pt x="1377594" y="618490"/>
                      </a:lnTo>
                      <a:lnTo>
                        <a:pt x="1375333" y="618490"/>
                      </a:lnTo>
                      <a:lnTo>
                        <a:pt x="1377315" y="617220"/>
                      </a:lnTo>
                      <a:lnTo>
                        <a:pt x="1379588" y="617220"/>
                      </a:lnTo>
                      <a:lnTo>
                        <a:pt x="1382344" y="618490"/>
                      </a:lnTo>
                      <a:lnTo>
                        <a:pt x="1383004" y="619760"/>
                      </a:lnTo>
                      <a:lnTo>
                        <a:pt x="1385138" y="618490"/>
                      </a:lnTo>
                      <a:lnTo>
                        <a:pt x="1386052" y="617220"/>
                      </a:lnTo>
                      <a:lnTo>
                        <a:pt x="1387068" y="615950"/>
                      </a:lnTo>
                      <a:lnTo>
                        <a:pt x="1385849" y="615950"/>
                      </a:lnTo>
                      <a:lnTo>
                        <a:pt x="1385354" y="614680"/>
                      </a:lnTo>
                      <a:lnTo>
                        <a:pt x="1385277" y="614222"/>
                      </a:lnTo>
                      <a:lnTo>
                        <a:pt x="1386484" y="614680"/>
                      </a:lnTo>
                      <a:lnTo>
                        <a:pt x="1387144" y="613410"/>
                      </a:lnTo>
                      <a:lnTo>
                        <a:pt x="1389113" y="609600"/>
                      </a:lnTo>
                      <a:lnTo>
                        <a:pt x="1385468" y="610870"/>
                      </a:lnTo>
                      <a:lnTo>
                        <a:pt x="1383741" y="609600"/>
                      </a:lnTo>
                      <a:lnTo>
                        <a:pt x="1383284" y="608330"/>
                      </a:lnTo>
                      <a:lnTo>
                        <a:pt x="1383182" y="613410"/>
                      </a:lnTo>
                      <a:lnTo>
                        <a:pt x="1379474" y="613410"/>
                      </a:lnTo>
                      <a:lnTo>
                        <a:pt x="1378356" y="612140"/>
                      </a:lnTo>
                      <a:lnTo>
                        <a:pt x="1379918" y="612140"/>
                      </a:lnTo>
                      <a:lnTo>
                        <a:pt x="1383182" y="613410"/>
                      </a:lnTo>
                      <a:lnTo>
                        <a:pt x="1383182" y="608330"/>
                      </a:lnTo>
                      <a:lnTo>
                        <a:pt x="1380655" y="608330"/>
                      </a:lnTo>
                      <a:lnTo>
                        <a:pt x="1382674" y="607060"/>
                      </a:lnTo>
                      <a:lnTo>
                        <a:pt x="1384185" y="609600"/>
                      </a:lnTo>
                      <a:lnTo>
                        <a:pt x="1389316" y="608330"/>
                      </a:lnTo>
                      <a:lnTo>
                        <a:pt x="1390370" y="607060"/>
                      </a:lnTo>
                      <a:lnTo>
                        <a:pt x="1387094" y="605790"/>
                      </a:lnTo>
                      <a:lnTo>
                        <a:pt x="1390294" y="605790"/>
                      </a:lnTo>
                      <a:lnTo>
                        <a:pt x="1390142" y="604520"/>
                      </a:lnTo>
                      <a:lnTo>
                        <a:pt x="1389989" y="603250"/>
                      </a:lnTo>
                      <a:lnTo>
                        <a:pt x="1387373" y="603250"/>
                      </a:lnTo>
                      <a:lnTo>
                        <a:pt x="1386890" y="604520"/>
                      </a:lnTo>
                      <a:lnTo>
                        <a:pt x="1384363" y="604520"/>
                      </a:lnTo>
                      <a:lnTo>
                        <a:pt x="1386649" y="603250"/>
                      </a:lnTo>
                      <a:lnTo>
                        <a:pt x="1385785" y="603250"/>
                      </a:lnTo>
                      <a:lnTo>
                        <a:pt x="1386763" y="600710"/>
                      </a:lnTo>
                      <a:lnTo>
                        <a:pt x="1388097" y="599440"/>
                      </a:lnTo>
                      <a:lnTo>
                        <a:pt x="1389100" y="598170"/>
                      </a:lnTo>
                      <a:lnTo>
                        <a:pt x="1388071" y="598170"/>
                      </a:lnTo>
                      <a:lnTo>
                        <a:pt x="1389011" y="595630"/>
                      </a:lnTo>
                      <a:lnTo>
                        <a:pt x="1386192" y="595630"/>
                      </a:lnTo>
                      <a:lnTo>
                        <a:pt x="1385049" y="596900"/>
                      </a:lnTo>
                      <a:lnTo>
                        <a:pt x="1383969" y="595630"/>
                      </a:lnTo>
                      <a:lnTo>
                        <a:pt x="1383512" y="594360"/>
                      </a:lnTo>
                      <a:lnTo>
                        <a:pt x="1382776" y="594360"/>
                      </a:lnTo>
                      <a:lnTo>
                        <a:pt x="1380502" y="593090"/>
                      </a:lnTo>
                      <a:lnTo>
                        <a:pt x="1379029" y="593090"/>
                      </a:lnTo>
                      <a:lnTo>
                        <a:pt x="1379067" y="591820"/>
                      </a:lnTo>
                      <a:lnTo>
                        <a:pt x="1381836" y="591820"/>
                      </a:lnTo>
                      <a:lnTo>
                        <a:pt x="1383157" y="593090"/>
                      </a:lnTo>
                      <a:lnTo>
                        <a:pt x="1384782" y="593674"/>
                      </a:lnTo>
                      <a:lnTo>
                        <a:pt x="1385227" y="591820"/>
                      </a:lnTo>
                      <a:lnTo>
                        <a:pt x="1385836" y="591820"/>
                      </a:lnTo>
                      <a:lnTo>
                        <a:pt x="1386738" y="593090"/>
                      </a:lnTo>
                      <a:lnTo>
                        <a:pt x="1388859" y="593090"/>
                      </a:lnTo>
                      <a:lnTo>
                        <a:pt x="1387983" y="591820"/>
                      </a:lnTo>
                      <a:lnTo>
                        <a:pt x="1386941" y="590550"/>
                      </a:lnTo>
                      <a:lnTo>
                        <a:pt x="1385760" y="590550"/>
                      </a:lnTo>
                      <a:lnTo>
                        <a:pt x="1384592" y="589280"/>
                      </a:lnTo>
                      <a:lnTo>
                        <a:pt x="1383880" y="589280"/>
                      </a:lnTo>
                      <a:lnTo>
                        <a:pt x="1382128" y="589280"/>
                      </a:lnTo>
                      <a:lnTo>
                        <a:pt x="1381290" y="589280"/>
                      </a:lnTo>
                      <a:lnTo>
                        <a:pt x="1377937" y="588010"/>
                      </a:lnTo>
                      <a:lnTo>
                        <a:pt x="1377162" y="588010"/>
                      </a:lnTo>
                      <a:lnTo>
                        <a:pt x="1376680" y="586740"/>
                      </a:lnTo>
                      <a:lnTo>
                        <a:pt x="1378648" y="586740"/>
                      </a:lnTo>
                      <a:lnTo>
                        <a:pt x="1382128" y="589280"/>
                      </a:lnTo>
                      <a:lnTo>
                        <a:pt x="1383919" y="588010"/>
                      </a:lnTo>
                      <a:lnTo>
                        <a:pt x="1383880" y="589280"/>
                      </a:lnTo>
                      <a:lnTo>
                        <a:pt x="1384477" y="588010"/>
                      </a:lnTo>
                      <a:lnTo>
                        <a:pt x="1385087" y="586740"/>
                      </a:lnTo>
                      <a:lnTo>
                        <a:pt x="1385836" y="588010"/>
                      </a:lnTo>
                      <a:lnTo>
                        <a:pt x="1385570" y="586740"/>
                      </a:lnTo>
                      <a:lnTo>
                        <a:pt x="1384935" y="585470"/>
                      </a:lnTo>
                      <a:lnTo>
                        <a:pt x="1384947" y="584200"/>
                      </a:lnTo>
                      <a:lnTo>
                        <a:pt x="1384084" y="584200"/>
                      </a:lnTo>
                      <a:lnTo>
                        <a:pt x="1385544" y="582930"/>
                      </a:lnTo>
                      <a:lnTo>
                        <a:pt x="1388427" y="582930"/>
                      </a:lnTo>
                      <a:lnTo>
                        <a:pt x="1388300" y="584200"/>
                      </a:lnTo>
                      <a:lnTo>
                        <a:pt x="1389341" y="584200"/>
                      </a:lnTo>
                      <a:lnTo>
                        <a:pt x="1387665" y="585470"/>
                      </a:lnTo>
                      <a:lnTo>
                        <a:pt x="1388630" y="585470"/>
                      </a:lnTo>
                      <a:lnTo>
                        <a:pt x="1388351" y="585914"/>
                      </a:lnTo>
                      <a:lnTo>
                        <a:pt x="1387309" y="587260"/>
                      </a:lnTo>
                      <a:lnTo>
                        <a:pt x="1388402" y="587324"/>
                      </a:lnTo>
                      <a:lnTo>
                        <a:pt x="1389049" y="586955"/>
                      </a:lnTo>
                      <a:lnTo>
                        <a:pt x="1390167" y="587082"/>
                      </a:lnTo>
                      <a:lnTo>
                        <a:pt x="1391183" y="587552"/>
                      </a:lnTo>
                      <a:lnTo>
                        <a:pt x="1391551" y="587502"/>
                      </a:lnTo>
                      <a:lnTo>
                        <a:pt x="1391729" y="587502"/>
                      </a:lnTo>
                      <a:lnTo>
                        <a:pt x="1392885" y="587336"/>
                      </a:lnTo>
                      <a:lnTo>
                        <a:pt x="1392567" y="586955"/>
                      </a:lnTo>
                      <a:lnTo>
                        <a:pt x="1392275" y="586587"/>
                      </a:lnTo>
                      <a:lnTo>
                        <a:pt x="1393050" y="586219"/>
                      </a:lnTo>
                      <a:lnTo>
                        <a:pt x="1393507" y="586130"/>
                      </a:lnTo>
                      <a:lnTo>
                        <a:pt x="1393964" y="586981"/>
                      </a:lnTo>
                      <a:lnTo>
                        <a:pt x="1394764" y="586473"/>
                      </a:lnTo>
                      <a:lnTo>
                        <a:pt x="1394269" y="586295"/>
                      </a:lnTo>
                      <a:lnTo>
                        <a:pt x="1393875" y="586130"/>
                      </a:lnTo>
                      <a:lnTo>
                        <a:pt x="1393710" y="586054"/>
                      </a:lnTo>
                      <a:lnTo>
                        <a:pt x="1392186" y="585825"/>
                      </a:lnTo>
                      <a:lnTo>
                        <a:pt x="1391437" y="585685"/>
                      </a:lnTo>
                      <a:lnTo>
                        <a:pt x="1390396" y="585533"/>
                      </a:lnTo>
                      <a:lnTo>
                        <a:pt x="1390167" y="585533"/>
                      </a:lnTo>
                      <a:lnTo>
                        <a:pt x="1389214" y="585470"/>
                      </a:lnTo>
                      <a:lnTo>
                        <a:pt x="1393469" y="585470"/>
                      </a:lnTo>
                      <a:lnTo>
                        <a:pt x="1394625" y="584200"/>
                      </a:lnTo>
                      <a:lnTo>
                        <a:pt x="1395056" y="585470"/>
                      </a:lnTo>
                      <a:lnTo>
                        <a:pt x="1396326" y="584200"/>
                      </a:lnTo>
                      <a:lnTo>
                        <a:pt x="1397990" y="582930"/>
                      </a:lnTo>
                      <a:lnTo>
                        <a:pt x="1396720" y="580390"/>
                      </a:lnTo>
                      <a:lnTo>
                        <a:pt x="1399514" y="580390"/>
                      </a:lnTo>
                      <a:lnTo>
                        <a:pt x="1398511" y="578256"/>
                      </a:lnTo>
                      <a:lnTo>
                        <a:pt x="1399413" y="579120"/>
                      </a:lnTo>
                      <a:lnTo>
                        <a:pt x="1399578" y="579120"/>
                      </a:lnTo>
                      <a:lnTo>
                        <a:pt x="1401889" y="577850"/>
                      </a:lnTo>
                      <a:lnTo>
                        <a:pt x="1400340" y="576580"/>
                      </a:lnTo>
                      <a:lnTo>
                        <a:pt x="1399286" y="575310"/>
                      </a:lnTo>
                      <a:lnTo>
                        <a:pt x="1398866" y="574040"/>
                      </a:lnTo>
                      <a:lnTo>
                        <a:pt x="1398079" y="574040"/>
                      </a:lnTo>
                      <a:lnTo>
                        <a:pt x="1398079" y="577850"/>
                      </a:lnTo>
                      <a:lnTo>
                        <a:pt x="1396085" y="577850"/>
                      </a:lnTo>
                      <a:lnTo>
                        <a:pt x="1396085" y="580390"/>
                      </a:lnTo>
                      <a:lnTo>
                        <a:pt x="1392682" y="580390"/>
                      </a:lnTo>
                      <a:lnTo>
                        <a:pt x="1390688" y="579120"/>
                      </a:lnTo>
                      <a:lnTo>
                        <a:pt x="1390192" y="577850"/>
                      </a:lnTo>
                      <a:lnTo>
                        <a:pt x="1391348" y="577850"/>
                      </a:lnTo>
                      <a:lnTo>
                        <a:pt x="1390637" y="576580"/>
                      </a:lnTo>
                      <a:lnTo>
                        <a:pt x="1392047" y="577850"/>
                      </a:lnTo>
                      <a:lnTo>
                        <a:pt x="1391894" y="577850"/>
                      </a:lnTo>
                      <a:lnTo>
                        <a:pt x="1393812" y="579120"/>
                      </a:lnTo>
                      <a:lnTo>
                        <a:pt x="1395476" y="579120"/>
                      </a:lnTo>
                      <a:lnTo>
                        <a:pt x="1396085" y="580390"/>
                      </a:lnTo>
                      <a:lnTo>
                        <a:pt x="1396085" y="577850"/>
                      </a:lnTo>
                      <a:lnTo>
                        <a:pt x="1394866" y="577850"/>
                      </a:lnTo>
                      <a:lnTo>
                        <a:pt x="1392821" y="575310"/>
                      </a:lnTo>
                      <a:lnTo>
                        <a:pt x="1395133" y="576580"/>
                      </a:lnTo>
                      <a:lnTo>
                        <a:pt x="1396758" y="576580"/>
                      </a:lnTo>
                      <a:lnTo>
                        <a:pt x="1398079" y="577850"/>
                      </a:lnTo>
                      <a:lnTo>
                        <a:pt x="1398079" y="574040"/>
                      </a:lnTo>
                      <a:lnTo>
                        <a:pt x="1397050" y="574040"/>
                      </a:lnTo>
                      <a:lnTo>
                        <a:pt x="1395768" y="572770"/>
                      </a:lnTo>
                      <a:lnTo>
                        <a:pt x="1395514" y="572770"/>
                      </a:lnTo>
                      <a:lnTo>
                        <a:pt x="1394828" y="571500"/>
                      </a:lnTo>
                      <a:lnTo>
                        <a:pt x="1393698" y="570230"/>
                      </a:lnTo>
                      <a:lnTo>
                        <a:pt x="1395882" y="570230"/>
                      </a:lnTo>
                      <a:lnTo>
                        <a:pt x="1398536" y="572223"/>
                      </a:lnTo>
                      <a:lnTo>
                        <a:pt x="1402308" y="573849"/>
                      </a:lnTo>
                      <a:lnTo>
                        <a:pt x="1405750" y="575716"/>
                      </a:lnTo>
                      <a:lnTo>
                        <a:pt x="1405318" y="574763"/>
                      </a:lnTo>
                      <a:lnTo>
                        <a:pt x="1404988" y="574116"/>
                      </a:lnTo>
                      <a:lnTo>
                        <a:pt x="1405661" y="574040"/>
                      </a:lnTo>
                      <a:lnTo>
                        <a:pt x="1403807" y="572770"/>
                      </a:lnTo>
                      <a:lnTo>
                        <a:pt x="1403946" y="572960"/>
                      </a:lnTo>
                      <a:lnTo>
                        <a:pt x="1403743" y="572820"/>
                      </a:lnTo>
                      <a:lnTo>
                        <a:pt x="1401965" y="571881"/>
                      </a:lnTo>
                      <a:lnTo>
                        <a:pt x="1402105" y="572592"/>
                      </a:lnTo>
                      <a:lnTo>
                        <a:pt x="1401749" y="572566"/>
                      </a:lnTo>
                      <a:lnTo>
                        <a:pt x="1401229" y="572262"/>
                      </a:lnTo>
                      <a:lnTo>
                        <a:pt x="1401546" y="571741"/>
                      </a:lnTo>
                      <a:lnTo>
                        <a:pt x="1401140" y="571500"/>
                      </a:lnTo>
                      <a:lnTo>
                        <a:pt x="1399082" y="570230"/>
                      </a:lnTo>
                      <a:lnTo>
                        <a:pt x="1400886" y="570230"/>
                      </a:lnTo>
                      <a:lnTo>
                        <a:pt x="1402092" y="571500"/>
                      </a:lnTo>
                      <a:lnTo>
                        <a:pt x="1403705" y="571500"/>
                      </a:lnTo>
                      <a:lnTo>
                        <a:pt x="1403350" y="570230"/>
                      </a:lnTo>
                      <a:lnTo>
                        <a:pt x="1402130" y="568960"/>
                      </a:lnTo>
                      <a:lnTo>
                        <a:pt x="1402626" y="568960"/>
                      </a:lnTo>
                      <a:lnTo>
                        <a:pt x="1403502" y="570230"/>
                      </a:lnTo>
                      <a:lnTo>
                        <a:pt x="1405661" y="572770"/>
                      </a:lnTo>
                      <a:lnTo>
                        <a:pt x="1407172" y="571500"/>
                      </a:lnTo>
                      <a:lnTo>
                        <a:pt x="1406779" y="570230"/>
                      </a:lnTo>
                      <a:lnTo>
                        <a:pt x="1406042" y="570230"/>
                      </a:lnTo>
                      <a:lnTo>
                        <a:pt x="1405699" y="569569"/>
                      </a:lnTo>
                      <a:lnTo>
                        <a:pt x="1405699" y="571461"/>
                      </a:lnTo>
                      <a:lnTo>
                        <a:pt x="1403845" y="570230"/>
                      </a:lnTo>
                      <a:lnTo>
                        <a:pt x="1403311" y="568960"/>
                      </a:lnTo>
                      <a:lnTo>
                        <a:pt x="1404721" y="568960"/>
                      </a:lnTo>
                      <a:lnTo>
                        <a:pt x="1405699" y="571461"/>
                      </a:lnTo>
                      <a:lnTo>
                        <a:pt x="1405699" y="569569"/>
                      </a:lnTo>
                      <a:lnTo>
                        <a:pt x="1405394" y="568960"/>
                      </a:lnTo>
                      <a:lnTo>
                        <a:pt x="1409039" y="568960"/>
                      </a:lnTo>
                      <a:lnTo>
                        <a:pt x="1410665" y="570230"/>
                      </a:lnTo>
                      <a:lnTo>
                        <a:pt x="1410322" y="568960"/>
                      </a:lnTo>
                      <a:lnTo>
                        <a:pt x="1409395" y="568960"/>
                      </a:lnTo>
                      <a:lnTo>
                        <a:pt x="1408798" y="567690"/>
                      </a:lnTo>
                      <a:lnTo>
                        <a:pt x="1408887" y="567524"/>
                      </a:lnTo>
                      <a:lnTo>
                        <a:pt x="1412684" y="565150"/>
                      </a:lnTo>
                      <a:lnTo>
                        <a:pt x="1413090" y="566420"/>
                      </a:lnTo>
                      <a:lnTo>
                        <a:pt x="1414233" y="565150"/>
                      </a:lnTo>
                      <a:lnTo>
                        <a:pt x="1413649" y="565150"/>
                      </a:lnTo>
                      <a:lnTo>
                        <a:pt x="1413268" y="562610"/>
                      </a:lnTo>
                      <a:lnTo>
                        <a:pt x="1412582" y="558800"/>
                      </a:lnTo>
                      <a:lnTo>
                        <a:pt x="1411782" y="560070"/>
                      </a:lnTo>
                      <a:lnTo>
                        <a:pt x="1409788" y="560070"/>
                      </a:lnTo>
                      <a:lnTo>
                        <a:pt x="1410690" y="558800"/>
                      </a:lnTo>
                      <a:lnTo>
                        <a:pt x="1412036" y="557530"/>
                      </a:lnTo>
                      <a:lnTo>
                        <a:pt x="1412697" y="556260"/>
                      </a:lnTo>
                      <a:lnTo>
                        <a:pt x="1411795" y="554990"/>
                      </a:lnTo>
                      <a:lnTo>
                        <a:pt x="1408480" y="554990"/>
                      </a:lnTo>
                      <a:lnTo>
                        <a:pt x="1406385" y="556260"/>
                      </a:lnTo>
                      <a:lnTo>
                        <a:pt x="1407452" y="554990"/>
                      </a:lnTo>
                      <a:lnTo>
                        <a:pt x="1405750" y="554990"/>
                      </a:lnTo>
                      <a:lnTo>
                        <a:pt x="1405750" y="565150"/>
                      </a:lnTo>
                      <a:lnTo>
                        <a:pt x="1403807" y="565150"/>
                      </a:lnTo>
                      <a:lnTo>
                        <a:pt x="1402753" y="563880"/>
                      </a:lnTo>
                      <a:lnTo>
                        <a:pt x="1398371" y="563880"/>
                      </a:lnTo>
                      <a:lnTo>
                        <a:pt x="1402892" y="562610"/>
                      </a:lnTo>
                      <a:lnTo>
                        <a:pt x="1405750" y="565150"/>
                      </a:lnTo>
                      <a:lnTo>
                        <a:pt x="1405750" y="554990"/>
                      </a:lnTo>
                      <a:lnTo>
                        <a:pt x="1403819" y="554990"/>
                      </a:lnTo>
                      <a:lnTo>
                        <a:pt x="1401229" y="553720"/>
                      </a:lnTo>
                      <a:lnTo>
                        <a:pt x="1400263" y="552450"/>
                      </a:lnTo>
                      <a:lnTo>
                        <a:pt x="1399349" y="553720"/>
                      </a:lnTo>
                      <a:lnTo>
                        <a:pt x="1399286" y="552450"/>
                      </a:lnTo>
                      <a:lnTo>
                        <a:pt x="1399235" y="551180"/>
                      </a:lnTo>
                      <a:lnTo>
                        <a:pt x="1408836" y="551180"/>
                      </a:lnTo>
                      <a:lnTo>
                        <a:pt x="1410042" y="549910"/>
                      </a:lnTo>
                      <a:lnTo>
                        <a:pt x="1413637" y="549910"/>
                      </a:lnTo>
                      <a:lnTo>
                        <a:pt x="1413852" y="551180"/>
                      </a:lnTo>
                      <a:lnTo>
                        <a:pt x="1415935" y="551180"/>
                      </a:lnTo>
                      <a:lnTo>
                        <a:pt x="1416862" y="549910"/>
                      </a:lnTo>
                      <a:lnTo>
                        <a:pt x="1414411" y="548640"/>
                      </a:lnTo>
                      <a:lnTo>
                        <a:pt x="1413268" y="548640"/>
                      </a:lnTo>
                      <a:lnTo>
                        <a:pt x="1412328" y="547370"/>
                      </a:lnTo>
                      <a:lnTo>
                        <a:pt x="1413408" y="547370"/>
                      </a:lnTo>
                      <a:lnTo>
                        <a:pt x="1413637" y="546100"/>
                      </a:lnTo>
                      <a:lnTo>
                        <a:pt x="1413217" y="543560"/>
                      </a:lnTo>
                      <a:lnTo>
                        <a:pt x="1411897" y="542290"/>
                      </a:lnTo>
                      <a:lnTo>
                        <a:pt x="1411516" y="542290"/>
                      </a:lnTo>
                      <a:lnTo>
                        <a:pt x="1409407" y="541020"/>
                      </a:lnTo>
                      <a:lnTo>
                        <a:pt x="1409065" y="539750"/>
                      </a:lnTo>
                      <a:lnTo>
                        <a:pt x="1407807" y="539750"/>
                      </a:lnTo>
                      <a:lnTo>
                        <a:pt x="1407680" y="538480"/>
                      </a:lnTo>
                      <a:lnTo>
                        <a:pt x="1406207" y="538480"/>
                      </a:lnTo>
                      <a:lnTo>
                        <a:pt x="1405737" y="537210"/>
                      </a:lnTo>
                      <a:lnTo>
                        <a:pt x="1405483" y="536536"/>
                      </a:lnTo>
                      <a:lnTo>
                        <a:pt x="1405547" y="535940"/>
                      </a:lnTo>
                      <a:lnTo>
                        <a:pt x="1405686" y="534670"/>
                      </a:lnTo>
                      <a:lnTo>
                        <a:pt x="1406321" y="534670"/>
                      </a:lnTo>
                      <a:lnTo>
                        <a:pt x="1406436" y="533400"/>
                      </a:lnTo>
                      <a:lnTo>
                        <a:pt x="1409534" y="533400"/>
                      </a:lnTo>
                      <a:lnTo>
                        <a:pt x="1411160" y="534670"/>
                      </a:lnTo>
                      <a:lnTo>
                        <a:pt x="1412595" y="534670"/>
                      </a:lnTo>
                      <a:lnTo>
                        <a:pt x="1413649" y="533400"/>
                      </a:lnTo>
                      <a:lnTo>
                        <a:pt x="1415516" y="534670"/>
                      </a:lnTo>
                      <a:lnTo>
                        <a:pt x="1417675" y="534670"/>
                      </a:lnTo>
                      <a:lnTo>
                        <a:pt x="1417358" y="535940"/>
                      </a:lnTo>
                      <a:lnTo>
                        <a:pt x="1418856" y="533400"/>
                      </a:lnTo>
                      <a:lnTo>
                        <a:pt x="1419225" y="532130"/>
                      </a:lnTo>
                      <a:lnTo>
                        <a:pt x="1420825" y="530860"/>
                      </a:lnTo>
                      <a:lnTo>
                        <a:pt x="1422908" y="529590"/>
                      </a:lnTo>
                      <a:lnTo>
                        <a:pt x="1424076" y="528320"/>
                      </a:lnTo>
                      <a:lnTo>
                        <a:pt x="1423339" y="528320"/>
                      </a:lnTo>
                      <a:lnTo>
                        <a:pt x="1422666" y="527050"/>
                      </a:lnTo>
                      <a:lnTo>
                        <a:pt x="1423098" y="527050"/>
                      </a:lnTo>
                      <a:lnTo>
                        <a:pt x="1423009" y="525780"/>
                      </a:lnTo>
                      <a:lnTo>
                        <a:pt x="1423847" y="525780"/>
                      </a:lnTo>
                      <a:lnTo>
                        <a:pt x="1423060" y="524510"/>
                      </a:lnTo>
                      <a:lnTo>
                        <a:pt x="1421688" y="525780"/>
                      </a:lnTo>
                      <a:lnTo>
                        <a:pt x="1419618" y="524510"/>
                      </a:lnTo>
                      <a:lnTo>
                        <a:pt x="1417828" y="524510"/>
                      </a:lnTo>
                      <a:lnTo>
                        <a:pt x="1420533" y="522046"/>
                      </a:lnTo>
                      <a:lnTo>
                        <a:pt x="1423606" y="523240"/>
                      </a:lnTo>
                      <a:lnTo>
                        <a:pt x="1424381" y="524510"/>
                      </a:lnTo>
                      <a:lnTo>
                        <a:pt x="1424914" y="519430"/>
                      </a:lnTo>
                      <a:lnTo>
                        <a:pt x="1426311" y="519430"/>
                      </a:lnTo>
                      <a:lnTo>
                        <a:pt x="1428584" y="521970"/>
                      </a:lnTo>
                      <a:lnTo>
                        <a:pt x="1429791" y="524510"/>
                      </a:lnTo>
                      <a:lnTo>
                        <a:pt x="1433042" y="519430"/>
                      </a:lnTo>
                      <a:lnTo>
                        <a:pt x="1430388" y="519430"/>
                      </a:lnTo>
                      <a:lnTo>
                        <a:pt x="1431874" y="516890"/>
                      </a:lnTo>
                      <a:lnTo>
                        <a:pt x="1434109" y="520700"/>
                      </a:lnTo>
                      <a:lnTo>
                        <a:pt x="1435608" y="521970"/>
                      </a:lnTo>
                      <a:lnTo>
                        <a:pt x="1440726" y="521970"/>
                      </a:lnTo>
                      <a:lnTo>
                        <a:pt x="1438732" y="520700"/>
                      </a:lnTo>
                      <a:lnTo>
                        <a:pt x="1439799" y="518160"/>
                      </a:lnTo>
                      <a:lnTo>
                        <a:pt x="1442974" y="520700"/>
                      </a:lnTo>
                      <a:lnTo>
                        <a:pt x="1443228" y="521970"/>
                      </a:lnTo>
                      <a:lnTo>
                        <a:pt x="1445145" y="520700"/>
                      </a:lnTo>
                      <a:lnTo>
                        <a:pt x="1447139" y="518160"/>
                      </a:lnTo>
                      <a:lnTo>
                        <a:pt x="1448536" y="516890"/>
                      </a:lnTo>
                      <a:lnTo>
                        <a:pt x="1446961" y="515620"/>
                      </a:lnTo>
                      <a:lnTo>
                        <a:pt x="1444663" y="515620"/>
                      </a:lnTo>
                      <a:lnTo>
                        <a:pt x="1442745" y="511810"/>
                      </a:lnTo>
                      <a:lnTo>
                        <a:pt x="1446720" y="511810"/>
                      </a:lnTo>
                      <a:lnTo>
                        <a:pt x="1450860" y="510540"/>
                      </a:lnTo>
                      <a:lnTo>
                        <a:pt x="1451089" y="509270"/>
                      </a:lnTo>
                      <a:lnTo>
                        <a:pt x="1448752" y="509270"/>
                      </a:lnTo>
                      <a:lnTo>
                        <a:pt x="1449908" y="508000"/>
                      </a:lnTo>
                      <a:lnTo>
                        <a:pt x="1452410" y="509270"/>
                      </a:lnTo>
                      <a:lnTo>
                        <a:pt x="1452397" y="508000"/>
                      </a:lnTo>
                      <a:lnTo>
                        <a:pt x="1452384" y="506730"/>
                      </a:lnTo>
                      <a:lnTo>
                        <a:pt x="1450708" y="506730"/>
                      </a:lnTo>
                      <a:lnTo>
                        <a:pt x="1450213" y="505460"/>
                      </a:lnTo>
                      <a:lnTo>
                        <a:pt x="1453540" y="506730"/>
                      </a:lnTo>
                      <a:lnTo>
                        <a:pt x="1456131" y="505460"/>
                      </a:lnTo>
                      <a:lnTo>
                        <a:pt x="1450314" y="504190"/>
                      </a:lnTo>
                      <a:lnTo>
                        <a:pt x="1448600" y="504190"/>
                      </a:lnTo>
                      <a:lnTo>
                        <a:pt x="1447558" y="502920"/>
                      </a:lnTo>
                      <a:lnTo>
                        <a:pt x="1451914" y="502920"/>
                      </a:lnTo>
                      <a:lnTo>
                        <a:pt x="1452130" y="504190"/>
                      </a:lnTo>
                      <a:lnTo>
                        <a:pt x="1452372" y="501650"/>
                      </a:lnTo>
                      <a:lnTo>
                        <a:pt x="1453591" y="501650"/>
                      </a:lnTo>
                      <a:lnTo>
                        <a:pt x="1454772" y="504190"/>
                      </a:lnTo>
                      <a:lnTo>
                        <a:pt x="1461757" y="504190"/>
                      </a:lnTo>
                      <a:lnTo>
                        <a:pt x="1458264" y="505460"/>
                      </a:lnTo>
                      <a:lnTo>
                        <a:pt x="1457769" y="506514"/>
                      </a:lnTo>
                      <a:lnTo>
                        <a:pt x="1457769" y="515112"/>
                      </a:lnTo>
                      <a:lnTo>
                        <a:pt x="1457426" y="514959"/>
                      </a:lnTo>
                      <a:lnTo>
                        <a:pt x="1457299" y="514629"/>
                      </a:lnTo>
                      <a:lnTo>
                        <a:pt x="1457769" y="515112"/>
                      </a:lnTo>
                      <a:lnTo>
                        <a:pt x="1457769" y="506514"/>
                      </a:lnTo>
                      <a:lnTo>
                        <a:pt x="1457071" y="508000"/>
                      </a:lnTo>
                      <a:lnTo>
                        <a:pt x="1455318" y="509270"/>
                      </a:lnTo>
                      <a:lnTo>
                        <a:pt x="1455166" y="510540"/>
                      </a:lnTo>
                      <a:lnTo>
                        <a:pt x="1453832" y="510540"/>
                      </a:lnTo>
                      <a:lnTo>
                        <a:pt x="1452448" y="511810"/>
                      </a:lnTo>
                      <a:lnTo>
                        <a:pt x="1453489" y="513080"/>
                      </a:lnTo>
                      <a:lnTo>
                        <a:pt x="1452422" y="514350"/>
                      </a:lnTo>
                      <a:lnTo>
                        <a:pt x="1453070" y="514350"/>
                      </a:lnTo>
                      <a:lnTo>
                        <a:pt x="1452638" y="514781"/>
                      </a:lnTo>
                      <a:lnTo>
                        <a:pt x="1452575" y="515188"/>
                      </a:lnTo>
                      <a:lnTo>
                        <a:pt x="1452372" y="515607"/>
                      </a:lnTo>
                      <a:lnTo>
                        <a:pt x="1452118" y="515810"/>
                      </a:lnTo>
                      <a:lnTo>
                        <a:pt x="1451076" y="516077"/>
                      </a:lnTo>
                      <a:lnTo>
                        <a:pt x="1450911" y="516331"/>
                      </a:lnTo>
                      <a:lnTo>
                        <a:pt x="1450771" y="516890"/>
                      </a:lnTo>
                      <a:lnTo>
                        <a:pt x="1450670" y="518325"/>
                      </a:lnTo>
                      <a:lnTo>
                        <a:pt x="1450848" y="518807"/>
                      </a:lnTo>
                      <a:lnTo>
                        <a:pt x="1452194" y="520636"/>
                      </a:lnTo>
                      <a:lnTo>
                        <a:pt x="1455267" y="520979"/>
                      </a:lnTo>
                      <a:lnTo>
                        <a:pt x="1457401" y="520573"/>
                      </a:lnTo>
                      <a:lnTo>
                        <a:pt x="1459928" y="518566"/>
                      </a:lnTo>
                      <a:lnTo>
                        <a:pt x="1459674" y="518325"/>
                      </a:lnTo>
                      <a:lnTo>
                        <a:pt x="1458633" y="518045"/>
                      </a:lnTo>
                      <a:lnTo>
                        <a:pt x="1458912" y="517220"/>
                      </a:lnTo>
                      <a:lnTo>
                        <a:pt x="1459522" y="516940"/>
                      </a:lnTo>
                      <a:lnTo>
                        <a:pt x="1460703" y="518160"/>
                      </a:lnTo>
                      <a:lnTo>
                        <a:pt x="1462735" y="516890"/>
                      </a:lnTo>
                      <a:lnTo>
                        <a:pt x="1461528" y="515620"/>
                      </a:lnTo>
                      <a:lnTo>
                        <a:pt x="1461693" y="514350"/>
                      </a:lnTo>
                      <a:lnTo>
                        <a:pt x="1462163" y="514350"/>
                      </a:lnTo>
                      <a:lnTo>
                        <a:pt x="1462697" y="513080"/>
                      </a:lnTo>
                      <a:lnTo>
                        <a:pt x="1462201" y="511810"/>
                      </a:lnTo>
                      <a:lnTo>
                        <a:pt x="1462443" y="511810"/>
                      </a:lnTo>
                      <a:lnTo>
                        <a:pt x="1463103" y="510540"/>
                      </a:lnTo>
                      <a:lnTo>
                        <a:pt x="1463459" y="510540"/>
                      </a:lnTo>
                      <a:lnTo>
                        <a:pt x="1463535" y="513080"/>
                      </a:lnTo>
                      <a:lnTo>
                        <a:pt x="1463763" y="514350"/>
                      </a:lnTo>
                      <a:lnTo>
                        <a:pt x="1464602" y="515620"/>
                      </a:lnTo>
                      <a:lnTo>
                        <a:pt x="1464017" y="515620"/>
                      </a:lnTo>
                      <a:lnTo>
                        <a:pt x="1466570" y="516890"/>
                      </a:lnTo>
                      <a:lnTo>
                        <a:pt x="1469390" y="509270"/>
                      </a:lnTo>
                      <a:lnTo>
                        <a:pt x="1473390" y="511810"/>
                      </a:lnTo>
                      <a:lnTo>
                        <a:pt x="1472717" y="511810"/>
                      </a:lnTo>
                      <a:lnTo>
                        <a:pt x="1473835" y="514146"/>
                      </a:lnTo>
                      <a:lnTo>
                        <a:pt x="1475740" y="513080"/>
                      </a:lnTo>
                      <a:lnTo>
                        <a:pt x="1477073" y="514350"/>
                      </a:lnTo>
                      <a:lnTo>
                        <a:pt x="1478762" y="513080"/>
                      </a:lnTo>
                      <a:lnTo>
                        <a:pt x="1480362" y="510540"/>
                      </a:lnTo>
                      <a:lnTo>
                        <a:pt x="1481010" y="509270"/>
                      </a:lnTo>
                      <a:lnTo>
                        <a:pt x="1479842" y="509270"/>
                      </a:lnTo>
                      <a:lnTo>
                        <a:pt x="1480540" y="508000"/>
                      </a:lnTo>
                      <a:lnTo>
                        <a:pt x="1483144" y="508000"/>
                      </a:lnTo>
                      <a:lnTo>
                        <a:pt x="1483779" y="509270"/>
                      </a:lnTo>
                      <a:lnTo>
                        <a:pt x="1484528" y="509270"/>
                      </a:lnTo>
                      <a:lnTo>
                        <a:pt x="1484642" y="508000"/>
                      </a:lnTo>
                      <a:lnTo>
                        <a:pt x="1484757" y="506730"/>
                      </a:lnTo>
                      <a:lnTo>
                        <a:pt x="1484274" y="506730"/>
                      </a:lnTo>
                      <a:lnTo>
                        <a:pt x="1484731" y="505460"/>
                      </a:lnTo>
                      <a:lnTo>
                        <a:pt x="1482623" y="505460"/>
                      </a:lnTo>
                      <a:lnTo>
                        <a:pt x="1484249" y="504456"/>
                      </a:lnTo>
                      <a:lnTo>
                        <a:pt x="1485315" y="505460"/>
                      </a:lnTo>
                      <a:lnTo>
                        <a:pt x="1485366" y="504190"/>
                      </a:lnTo>
                      <a:lnTo>
                        <a:pt x="1489151" y="505460"/>
                      </a:lnTo>
                      <a:lnTo>
                        <a:pt x="1490205" y="506730"/>
                      </a:lnTo>
                      <a:lnTo>
                        <a:pt x="1492034" y="506730"/>
                      </a:lnTo>
                      <a:lnTo>
                        <a:pt x="1491297" y="505460"/>
                      </a:lnTo>
                      <a:lnTo>
                        <a:pt x="1489925" y="505460"/>
                      </a:lnTo>
                      <a:lnTo>
                        <a:pt x="1490040" y="504190"/>
                      </a:lnTo>
                      <a:lnTo>
                        <a:pt x="1490167" y="502920"/>
                      </a:lnTo>
                      <a:lnTo>
                        <a:pt x="1490840" y="502920"/>
                      </a:lnTo>
                      <a:lnTo>
                        <a:pt x="1491399" y="501650"/>
                      </a:lnTo>
                      <a:lnTo>
                        <a:pt x="1491957" y="502920"/>
                      </a:lnTo>
                      <a:lnTo>
                        <a:pt x="1492186" y="505460"/>
                      </a:lnTo>
                      <a:lnTo>
                        <a:pt x="1495780" y="505460"/>
                      </a:lnTo>
                      <a:lnTo>
                        <a:pt x="1498866" y="501650"/>
                      </a:lnTo>
                      <a:lnTo>
                        <a:pt x="1499539" y="500380"/>
                      </a:lnTo>
                      <a:lnTo>
                        <a:pt x="1499946" y="500380"/>
                      </a:lnTo>
                      <a:lnTo>
                        <a:pt x="1502283" y="499110"/>
                      </a:lnTo>
                      <a:lnTo>
                        <a:pt x="1501457" y="499110"/>
                      </a:lnTo>
                      <a:lnTo>
                        <a:pt x="1500886" y="499110"/>
                      </a:lnTo>
                      <a:lnTo>
                        <a:pt x="1500492" y="497840"/>
                      </a:lnTo>
                      <a:lnTo>
                        <a:pt x="1500428" y="497624"/>
                      </a:lnTo>
                      <a:lnTo>
                        <a:pt x="1500416" y="497840"/>
                      </a:lnTo>
                      <a:lnTo>
                        <a:pt x="1500251" y="497840"/>
                      </a:lnTo>
                      <a:lnTo>
                        <a:pt x="1500352" y="497636"/>
                      </a:lnTo>
                      <a:lnTo>
                        <a:pt x="1501305" y="496570"/>
                      </a:lnTo>
                      <a:lnTo>
                        <a:pt x="1501470" y="495300"/>
                      </a:lnTo>
                      <a:lnTo>
                        <a:pt x="1501381" y="494030"/>
                      </a:lnTo>
                      <a:lnTo>
                        <a:pt x="1501800" y="495300"/>
                      </a:lnTo>
                      <a:lnTo>
                        <a:pt x="1501457" y="499110"/>
                      </a:lnTo>
                      <a:lnTo>
                        <a:pt x="1503413" y="497840"/>
                      </a:lnTo>
                      <a:lnTo>
                        <a:pt x="1504886" y="496570"/>
                      </a:lnTo>
                      <a:lnTo>
                        <a:pt x="1505978" y="494030"/>
                      </a:lnTo>
                      <a:lnTo>
                        <a:pt x="1506435" y="492760"/>
                      </a:lnTo>
                      <a:lnTo>
                        <a:pt x="1506905" y="491490"/>
                      </a:lnTo>
                      <a:lnTo>
                        <a:pt x="1507591" y="491490"/>
                      </a:lnTo>
                      <a:lnTo>
                        <a:pt x="1507794" y="490220"/>
                      </a:lnTo>
                      <a:lnTo>
                        <a:pt x="1507490" y="490220"/>
                      </a:lnTo>
                      <a:lnTo>
                        <a:pt x="1507807" y="488950"/>
                      </a:lnTo>
                      <a:lnTo>
                        <a:pt x="1508125" y="487680"/>
                      </a:lnTo>
                      <a:lnTo>
                        <a:pt x="1512062" y="486410"/>
                      </a:lnTo>
                      <a:lnTo>
                        <a:pt x="1514411" y="485140"/>
                      </a:lnTo>
                      <a:lnTo>
                        <a:pt x="1514424" y="483870"/>
                      </a:lnTo>
                      <a:lnTo>
                        <a:pt x="1513941" y="482600"/>
                      </a:lnTo>
                      <a:lnTo>
                        <a:pt x="1512366" y="482600"/>
                      </a:lnTo>
                      <a:lnTo>
                        <a:pt x="1513243" y="481330"/>
                      </a:lnTo>
                      <a:lnTo>
                        <a:pt x="1514690" y="481330"/>
                      </a:lnTo>
                      <a:lnTo>
                        <a:pt x="1515795" y="480060"/>
                      </a:lnTo>
                      <a:lnTo>
                        <a:pt x="1515122" y="480060"/>
                      </a:lnTo>
                      <a:lnTo>
                        <a:pt x="1516176" y="478790"/>
                      </a:lnTo>
                      <a:lnTo>
                        <a:pt x="1513992" y="480060"/>
                      </a:lnTo>
                      <a:lnTo>
                        <a:pt x="1513344" y="478790"/>
                      </a:lnTo>
                      <a:lnTo>
                        <a:pt x="1513890" y="478790"/>
                      </a:lnTo>
                      <a:lnTo>
                        <a:pt x="1516926" y="477520"/>
                      </a:lnTo>
                      <a:lnTo>
                        <a:pt x="1519961" y="476250"/>
                      </a:lnTo>
                      <a:lnTo>
                        <a:pt x="1517180" y="476250"/>
                      </a:lnTo>
                      <a:lnTo>
                        <a:pt x="1516443" y="474980"/>
                      </a:lnTo>
                      <a:lnTo>
                        <a:pt x="1517294" y="473710"/>
                      </a:lnTo>
                      <a:lnTo>
                        <a:pt x="1519872" y="473710"/>
                      </a:lnTo>
                      <a:lnTo>
                        <a:pt x="1520837" y="472440"/>
                      </a:lnTo>
                      <a:lnTo>
                        <a:pt x="1516684" y="472440"/>
                      </a:lnTo>
                      <a:lnTo>
                        <a:pt x="1521421" y="469900"/>
                      </a:lnTo>
                      <a:lnTo>
                        <a:pt x="1527111" y="467360"/>
                      </a:lnTo>
                      <a:lnTo>
                        <a:pt x="1531416" y="466090"/>
                      </a:lnTo>
                      <a:lnTo>
                        <a:pt x="1533283" y="464820"/>
                      </a:lnTo>
                      <a:lnTo>
                        <a:pt x="1535150" y="463550"/>
                      </a:lnTo>
                      <a:lnTo>
                        <a:pt x="1534414" y="463550"/>
                      </a:lnTo>
                      <a:lnTo>
                        <a:pt x="1535188" y="462280"/>
                      </a:lnTo>
                      <a:lnTo>
                        <a:pt x="1533613" y="463550"/>
                      </a:lnTo>
                      <a:lnTo>
                        <a:pt x="1536585" y="461010"/>
                      </a:lnTo>
                      <a:lnTo>
                        <a:pt x="1536090" y="461010"/>
                      </a:lnTo>
                      <a:lnTo>
                        <a:pt x="1534782" y="459740"/>
                      </a:lnTo>
                      <a:lnTo>
                        <a:pt x="1533169" y="459740"/>
                      </a:lnTo>
                      <a:lnTo>
                        <a:pt x="1532534" y="458470"/>
                      </a:lnTo>
                      <a:lnTo>
                        <a:pt x="1528749" y="458470"/>
                      </a:lnTo>
                      <a:lnTo>
                        <a:pt x="1531353" y="457200"/>
                      </a:lnTo>
                      <a:lnTo>
                        <a:pt x="1534731" y="455930"/>
                      </a:lnTo>
                      <a:lnTo>
                        <a:pt x="1531442" y="454660"/>
                      </a:lnTo>
                      <a:lnTo>
                        <a:pt x="1530299" y="454660"/>
                      </a:lnTo>
                      <a:lnTo>
                        <a:pt x="1528356" y="452120"/>
                      </a:lnTo>
                      <a:lnTo>
                        <a:pt x="1528787" y="450850"/>
                      </a:lnTo>
                      <a:lnTo>
                        <a:pt x="1529689" y="450850"/>
                      </a:lnTo>
                      <a:lnTo>
                        <a:pt x="1529854" y="449580"/>
                      </a:lnTo>
                      <a:lnTo>
                        <a:pt x="1529384" y="449580"/>
                      </a:lnTo>
                      <a:lnTo>
                        <a:pt x="1529054" y="448310"/>
                      </a:lnTo>
                      <a:lnTo>
                        <a:pt x="1529930" y="449580"/>
                      </a:lnTo>
                      <a:lnTo>
                        <a:pt x="1531124" y="449580"/>
                      </a:lnTo>
                      <a:lnTo>
                        <a:pt x="1531696" y="452120"/>
                      </a:lnTo>
                      <a:lnTo>
                        <a:pt x="1531454" y="452120"/>
                      </a:lnTo>
                      <a:lnTo>
                        <a:pt x="1532724" y="453390"/>
                      </a:lnTo>
                      <a:lnTo>
                        <a:pt x="1534172" y="453390"/>
                      </a:lnTo>
                      <a:lnTo>
                        <a:pt x="1535684" y="455930"/>
                      </a:lnTo>
                      <a:lnTo>
                        <a:pt x="1535391" y="457200"/>
                      </a:lnTo>
                      <a:lnTo>
                        <a:pt x="1541576" y="457200"/>
                      </a:lnTo>
                      <a:lnTo>
                        <a:pt x="1542923" y="458470"/>
                      </a:lnTo>
                      <a:lnTo>
                        <a:pt x="1539900" y="458470"/>
                      </a:lnTo>
                      <a:lnTo>
                        <a:pt x="1541500" y="459740"/>
                      </a:lnTo>
                      <a:lnTo>
                        <a:pt x="1539925" y="459740"/>
                      </a:lnTo>
                      <a:lnTo>
                        <a:pt x="1540903" y="462280"/>
                      </a:lnTo>
                      <a:lnTo>
                        <a:pt x="1552130" y="462280"/>
                      </a:lnTo>
                      <a:lnTo>
                        <a:pt x="1554937" y="461010"/>
                      </a:lnTo>
                      <a:lnTo>
                        <a:pt x="1556461" y="458470"/>
                      </a:lnTo>
                      <a:lnTo>
                        <a:pt x="1554086" y="458470"/>
                      </a:lnTo>
                      <a:lnTo>
                        <a:pt x="1553210" y="457200"/>
                      </a:lnTo>
                      <a:lnTo>
                        <a:pt x="1555076" y="457200"/>
                      </a:lnTo>
                      <a:lnTo>
                        <a:pt x="1557223" y="458470"/>
                      </a:lnTo>
                      <a:lnTo>
                        <a:pt x="1558213" y="458470"/>
                      </a:lnTo>
                      <a:lnTo>
                        <a:pt x="1558925" y="458470"/>
                      </a:lnTo>
                      <a:lnTo>
                        <a:pt x="1559407" y="459740"/>
                      </a:lnTo>
                      <a:lnTo>
                        <a:pt x="1558772" y="459740"/>
                      </a:lnTo>
                      <a:lnTo>
                        <a:pt x="1560461" y="462280"/>
                      </a:lnTo>
                      <a:lnTo>
                        <a:pt x="1564195" y="461010"/>
                      </a:lnTo>
                      <a:lnTo>
                        <a:pt x="1562608" y="456514"/>
                      </a:lnTo>
                      <a:lnTo>
                        <a:pt x="1563928" y="455930"/>
                      </a:lnTo>
                      <a:lnTo>
                        <a:pt x="1564284" y="455930"/>
                      </a:lnTo>
                      <a:lnTo>
                        <a:pt x="1565300" y="454660"/>
                      </a:lnTo>
                      <a:lnTo>
                        <a:pt x="1565859" y="454660"/>
                      </a:lnTo>
                      <a:lnTo>
                        <a:pt x="1566621" y="453390"/>
                      </a:lnTo>
                      <a:lnTo>
                        <a:pt x="1568030" y="454660"/>
                      </a:lnTo>
                      <a:lnTo>
                        <a:pt x="1567980" y="457200"/>
                      </a:lnTo>
                      <a:lnTo>
                        <a:pt x="1569580" y="457200"/>
                      </a:lnTo>
                      <a:lnTo>
                        <a:pt x="1571917" y="458470"/>
                      </a:lnTo>
                      <a:lnTo>
                        <a:pt x="1574215" y="458470"/>
                      </a:lnTo>
                      <a:lnTo>
                        <a:pt x="1574215" y="457200"/>
                      </a:lnTo>
                      <a:lnTo>
                        <a:pt x="1575943" y="454660"/>
                      </a:lnTo>
                      <a:lnTo>
                        <a:pt x="1576933" y="455930"/>
                      </a:lnTo>
                      <a:lnTo>
                        <a:pt x="1576260" y="454660"/>
                      </a:lnTo>
                      <a:lnTo>
                        <a:pt x="1579003" y="454660"/>
                      </a:lnTo>
                      <a:lnTo>
                        <a:pt x="1580413" y="455930"/>
                      </a:lnTo>
                      <a:lnTo>
                        <a:pt x="1583182" y="454660"/>
                      </a:lnTo>
                      <a:lnTo>
                        <a:pt x="1585963" y="453390"/>
                      </a:lnTo>
                      <a:lnTo>
                        <a:pt x="1588833" y="452120"/>
                      </a:lnTo>
                      <a:lnTo>
                        <a:pt x="1594332" y="449580"/>
                      </a:lnTo>
                      <a:lnTo>
                        <a:pt x="1594777" y="452120"/>
                      </a:lnTo>
                      <a:lnTo>
                        <a:pt x="1599539" y="452120"/>
                      </a:lnTo>
                      <a:lnTo>
                        <a:pt x="1610118" y="448310"/>
                      </a:lnTo>
                      <a:lnTo>
                        <a:pt x="1624228" y="443230"/>
                      </a:lnTo>
                      <a:lnTo>
                        <a:pt x="1625117" y="441960"/>
                      </a:lnTo>
                      <a:lnTo>
                        <a:pt x="1626019" y="440690"/>
                      </a:lnTo>
                      <a:lnTo>
                        <a:pt x="1626781" y="439420"/>
                      </a:lnTo>
                      <a:lnTo>
                        <a:pt x="1627555" y="438150"/>
                      </a:lnTo>
                      <a:lnTo>
                        <a:pt x="1628660" y="438150"/>
                      </a:lnTo>
                      <a:lnTo>
                        <a:pt x="1627149" y="436880"/>
                      </a:lnTo>
                      <a:lnTo>
                        <a:pt x="1631327" y="436880"/>
                      </a:lnTo>
                      <a:lnTo>
                        <a:pt x="1630819" y="438150"/>
                      </a:lnTo>
                      <a:lnTo>
                        <a:pt x="1632686" y="438150"/>
                      </a:lnTo>
                      <a:lnTo>
                        <a:pt x="1632635" y="436880"/>
                      </a:lnTo>
                      <a:lnTo>
                        <a:pt x="1631505" y="435610"/>
                      </a:lnTo>
                      <a:lnTo>
                        <a:pt x="1633410" y="434340"/>
                      </a:lnTo>
                      <a:lnTo>
                        <a:pt x="1634439" y="434340"/>
                      </a:lnTo>
                      <a:lnTo>
                        <a:pt x="1635264" y="433070"/>
                      </a:lnTo>
                      <a:lnTo>
                        <a:pt x="1631950" y="433070"/>
                      </a:lnTo>
                      <a:lnTo>
                        <a:pt x="1633804" y="431800"/>
                      </a:lnTo>
                      <a:lnTo>
                        <a:pt x="1637919" y="431800"/>
                      </a:lnTo>
                      <a:lnTo>
                        <a:pt x="1639379" y="433070"/>
                      </a:lnTo>
                      <a:lnTo>
                        <a:pt x="1641640" y="433070"/>
                      </a:lnTo>
                      <a:lnTo>
                        <a:pt x="1641665" y="431800"/>
                      </a:lnTo>
                      <a:lnTo>
                        <a:pt x="1641690" y="430530"/>
                      </a:lnTo>
                      <a:lnTo>
                        <a:pt x="1640878" y="429260"/>
                      </a:lnTo>
                      <a:lnTo>
                        <a:pt x="1639316" y="429260"/>
                      </a:lnTo>
                      <a:lnTo>
                        <a:pt x="1640116" y="427990"/>
                      </a:lnTo>
                      <a:lnTo>
                        <a:pt x="1640662" y="427990"/>
                      </a:lnTo>
                      <a:lnTo>
                        <a:pt x="1643291" y="429260"/>
                      </a:lnTo>
                      <a:lnTo>
                        <a:pt x="1643913" y="429260"/>
                      </a:lnTo>
                      <a:lnTo>
                        <a:pt x="1643316" y="430530"/>
                      </a:lnTo>
                      <a:lnTo>
                        <a:pt x="1644967" y="429260"/>
                      </a:lnTo>
                      <a:lnTo>
                        <a:pt x="1649310" y="429260"/>
                      </a:lnTo>
                      <a:lnTo>
                        <a:pt x="1649323" y="427990"/>
                      </a:lnTo>
                      <a:lnTo>
                        <a:pt x="1649374" y="425132"/>
                      </a:lnTo>
                      <a:lnTo>
                        <a:pt x="1649844" y="425450"/>
                      </a:lnTo>
                      <a:lnTo>
                        <a:pt x="1650644" y="424180"/>
                      </a:lnTo>
                      <a:lnTo>
                        <a:pt x="1652168" y="425450"/>
                      </a:lnTo>
                      <a:lnTo>
                        <a:pt x="1652651" y="426720"/>
                      </a:lnTo>
                      <a:lnTo>
                        <a:pt x="1654784" y="424180"/>
                      </a:lnTo>
                      <a:lnTo>
                        <a:pt x="1656245" y="421640"/>
                      </a:lnTo>
                      <a:lnTo>
                        <a:pt x="1654022" y="420370"/>
                      </a:lnTo>
                      <a:lnTo>
                        <a:pt x="1651762" y="420370"/>
                      </a:lnTo>
                      <a:lnTo>
                        <a:pt x="1654911" y="419100"/>
                      </a:lnTo>
                      <a:lnTo>
                        <a:pt x="1658137" y="420370"/>
                      </a:lnTo>
                      <a:lnTo>
                        <a:pt x="1661287" y="420370"/>
                      </a:lnTo>
                      <a:lnTo>
                        <a:pt x="1661147" y="419100"/>
                      </a:lnTo>
                      <a:lnTo>
                        <a:pt x="1660410" y="417830"/>
                      </a:lnTo>
                      <a:lnTo>
                        <a:pt x="1661807" y="419100"/>
                      </a:lnTo>
                      <a:lnTo>
                        <a:pt x="1664944" y="419100"/>
                      </a:lnTo>
                      <a:lnTo>
                        <a:pt x="1664627" y="416560"/>
                      </a:lnTo>
                      <a:lnTo>
                        <a:pt x="1662925" y="417830"/>
                      </a:lnTo>
                      <a:lnTo>
                        <a:pt x="1661172" y="416560"/>
                      </a:lnTo>
                      <a:lnTo>
                        <a:pt x="1664639" y="415290"/>
                      </a:lnTo>
                      <a:lnTo>
                        <a:pt x="1668526" y="415290"/>
                      </a:lnTo>
                      <a:lnTo>
                        <a:pt x="1673059" y="414020"/>
                      </a:lnTo>
                      <a:lnTo>
                        <a:pt x="1677758" y="411480"/>
                      </a:lnTo>
                      <a:lnTo>
                        <a:pt x="1678266" y="408940"/>
                      </a:lnTo>
                      <a:lnTo>
                        <a:pt x="1648688" y="408940"/>
                      </a:lnTo>
                      <a:lnTo>
                        <a:pt x="1648688" y="424662"/>
                      </a:lnTo>
                      <a:lnTo>
                        <a:pt x="1647571" y="425450"/>
                      </a:lnTo>
                      <a:lnTo>
                        <a:pt x="1645742" y="424180"/>
                      </a:lnTo>
                      <a:lnTo>
                        <a:pt x="1647977" y="424180"/>
                      </a:lnTo>
                      <a:lnTo>
                        <a:pt x="1648688" y="424662"/>
                      </a:lnTo>
                      <a:lnTo>
                        <a:pt x="1648688" y="408940"/>
                      </a:lnTo>
                      <a:lnTo>
                        <a:pt x="1646605" y="408940"/>
                      </a:lnTo>
                      <a:lnTo>
                        <a:pt x="1642681" y="406400"/>
                      </a:lnTo>
                      <a:lnTo>
                        <a:pt x="1641500" y="406400"/>
                      </a:lnTo>
                      <a:lnTo>
                        <a:pt x="1640001" y="405130"/>
                      </a:lnTo>
                      <a:lnTo>
                        <a:pt x="1637347" y="405130"/>
                      </a:lnTo>
                      <a:lnTo>
                        <a:pt x="1635213" y="403860"/>
                      </a:lnTo>
                      <a:lnTo>
                        <a:pt x="1632788" y="403860"/>
                      </a:lnTo>
                      <a:lnTo>
                        <a:pt x="1634147" y="402590"/>
                      </a:lnTo>
                      <a:lnTo>
                        <a:pt x="1632127" y="402590"/>
                      </a:lnTo>
                      <a:lnTo>
                        <a:pt x="1629308" y="403860"/>
                      </a:lnTo>
                      <a:lnTo>
                        <a:pt x="1624609" y="406400"/>
                      </a:lnTo>
                      <a:lnTo>
                        <a:pt x="1620774" y="407670"/>
                      </a:lnTo>
                      <a:lnTo>
                        <a:pt x="1613166" y="408940"/>
                      </a:lnTo>
                      <a:lnTo>
                        <a:pt x="1609255" y="410210"/>
                      </a:lnTo>
                      <a:lnTo>
                        <a:pt x="1604530" y="411480"/>
                      </a:lnTo>
                      <a:lnTo>
                        <a:pt x="1604352" y="414020"/>
                      </a:lnTo>
                      <a:lnTo>
                        <a:pt x="1601368" y="415290"/>
                      </a:lnTo>
                      <a:lnTo>
                        <a:pt x="1594967" y="412750"/>
                      </a:lnTo>
                      <a:lnTo>
                        <a:pt x="1592694" y="412750"/>
                      </a:lnTo>
                      <a:lnTo>
                        <a:pt x="1585925" y="411480"/>
                      </a:lnTo>
                      <a:lnTo>
                        <a:pt x="1588338" y="411480"/>
                      </a:lnTo>
                      <a:lnTo>
                        <a:pt x="1587893" y="410210"/>
                      </a:lnTo>
                      <a:lnTo>
                        <a:pt x="1592033" y="408940"/>
                      </a:lnTo>
                      <a:lnTo>
                        <a:pt x="1592884" y="410210"/>
                      </a:lnTo>
                      <a:lnTo>
                        <a:pt x="1596199" y="411480"/>
                      </a:lnTo>
                      <a:lnTo>
                        <a:pt x="1597685" y="410210"/>
                      </a:lnTo>
                      <a:lnTo>
                        <a:pt x="1602092" y="408940"/>
                      </a:lnTo>
                      <a:lnTo>
                        <a:pt x="1604238" y="406400"/>
                      </a:lnTo>
                      <a:lnTo>
                        <a:pt x="1609801" y="405130"/>
                      </a:lnTo>
                      <a:lnTo>
                        <a:pt x="1613281" y="407670"/>
                      </a:lnTo>
                      <a:lnTo>
                        <a:pt x="1616659" y="403860"/>
                      </a:lnTo>
                      <a:lnTo>
                        <a:pt x="1617751" y="403860"/>
                      </a:lnTo>
                      <a:lnTo>
                        <a:pt x="1616240" y="402590"/>
                      </a:lnTo>
                      <a:lnTo>
                        <a:pt x="1615554" y="401320"/>
                      </a:lnTo>
                      <a:lnTo>
                        <a:pt x="1613090" y="400050"/>
                      </a:lnTo>
                      <a:lnTo>
                        <a:pt x="1610931" y="401320"/>
                      </a:lnTo>
                      <a:lnTo>
                        <a:pt x="1607515" y="402590"/>
                      </a:lnTo>
                      <a:lnTo>
                        <a:pt x="1606054" y="401320"/>
                      </a:lnTo>
                      <a:lnTo>
                        <a:pt x="1602562" y="402590"/>
                      </a:lnTo>
                      <a:lnTo>
                        <a:pt x="1596707" y="402590"/>
                      </a:lnTo>
                      <a:lnTo>
                        <a:pt x="1591195" y="405130"/>
                      </a:lnTo>
                      <a:lnTo>
                        <a:pt x="1588071" y="402590"/>
                      </a:lnTo>
                      <a:lnTo>
                        <a:pt x="1588897" y="401320"/>
                      </a:lnTo>
                      <a:lnTo>
                        <a:pt x="1588922" y="400050"/>
                      </a:lnTo>
                      <a:lnTo>
                        <a:pt x="1586433" y="401320"/>
                      </a:lnTo>
                      <a:lnTo>
                        <a:pt x="1581150" y="401320"/>
                      </a:lnTo>
                      <a:lnTo>
                        <a:pt x="1578762" y="402590"/>
                      </a:lnTo>
                      <a:lnTo>
                        <a:pt x="1577060" y="405130"/>
                      </a:lnTo>
                      <a:lnTo>
                        <a:pt x="1575790" y="402590"/>
                      </a:lnTo>
                      <a:lnTo>
                        <a:pt x="1578470" y="401320"/>
                      </a:lnTo>
                      <a:lnTo>
                        <a:pt x="1581251" y="400050"/>
                      </a:lnTo>
                      <a:lnTo>
                        <a:pt x="1587779" y="400050"/>
                      </a:lnTo>
                      <a:lnTo>
                        <a:pt x="1591195" y="397510"/>
                      </a:lnTo>
                      <a:lnTo>
                        <a:pt x="1592059" y="394970"/>
                      </a:lnTo>
                      <a:lnTo>
                        <a:pt x="1593291" y="392430"/>
                      </a:lnTo>
                      <a:lnTo>
                        <a:pt x="1593938" y="391160"/>
                      </a:lnTo>
                      <a:lnTo>
                        <a:pt x="1593710" y="389890"/>
                      </a:lnTo>
                      <a:lnTo>
                        <a:pt x="1592783" y="389890"/>
                      </a:lnTo>
                      <a:lnTo>
                        <a:pt x="1591144" y="388620"/>
                      </a:lnTo>
                      <a:lnTo>
                        <a:pt x="1589379" y="389890"/>
                      </a:lnTo>
                      <a:lnTo>
                        <a:pt x="1587601" y="388620"/>
                      </a:lnTo>
                      <a:lnTo>
                        <a:pt x="1591144" y="388620"/>
                      </a:lnTo>
                      <a:lnTo>
                        <a:pt x="1595196" y="388620"/>
                      </a:lnTo>
                      <a:lnTo>
                        <a:pt x="1596999" y="389890"/>
                      </a:lnTo>
                      <a:lnTo>
                        <a:pt x="1598676" y="388620"/>
                      </a:lnTo>
                      <a:lnTo>
                        <a:pt x="1598269" y="387350"/>
                      </a:lnTo>
                      <a:lnTo>
                        <a:pt x="1597025" y="387350"/>
                      </a:lnTo>
                      <a:lnTo>
                        <a:pt x="1595526" y="386080"/>
                      </a:lnTo>
                      <a:lnTo>
                        <a:pt x="1595069" y="384810"/>
                      </a:lnTo>
                      <a:lnTo>
                        <a:pt x="1596707" y="384810"/>
                      </a:lnTo>
                      <a:lnTo>
                        <a:pt x="1600098" y="388620"/>
                      </a:lnTo>
                      <a:lnTo>
                        <a:pt x="1600301" y="388620"/>
                      </a:lnTo>
                      <a:lnTo>
                        <a:pt x="1603425" y="389890"/>
                      </a:lnTo>
                      <a:lnTo>
                        <a:pt x="1605064" y="388620"/>
                      </a:lnTo>
                      <a:lnTo>
                        <a:pt x="1608340" y="388620"/>
                      </a:lnTo>
                      <a:lnTo>
                        <a:pt x="1608734" y="388950"/>
                      </a:lnTo>
                      <a:lnTo>
                        <a:pt x="1608048" y="388988"/>
                      </a:lnTo>
                      <a:lnTo>
                        <a:pt x="1603832" y="391579"/>
                      </a:lnTo>
                      <a:lnTo>
                        <a:pt x="1602320" y="392950"/>
                      </a:lnTo>
                      <a:lnTo>
                        <a:pt x="1598269" y="394906"/>
                      </a:lnTo>
                      <a:lnTo>
                        <a:pt x="1594954" y="395693"/>
                      </a:lnTo>
                      <a:lnTo>
                        <a:pt x="1592237" y="398297"/>
                      </a:lnTo>
                      <a:lnTo>
                        <a:pt x="1590992" y="400875"/>
                      </a:lnTo>
                      <a:lnTo>
                        <a:pt x="1592999" y="402285"/>
                      </a:lnTo>
                      <a:lnTo>
                        <a:pt x="1596224" y="401713"/>
                      </a:lnTo>
                      <a:lnTo>
                        <a:pt x="1601800" y="401066"/>
                      </a:lnTo>
                      <a:lnTo>
                        <a:pt x="1607235" y="399961"/>
                      </a:lnTo>
                      <a:lnTo>
                        <a:pt x="1608848" y="399376"/>
                      </a:lnTo>
                      <a:lnTo>
                        <a:pt x="1613179" y="399453"/>
                      </a:lnTo>
                      <a:lnTo>
                        <a:pt x="1615960" y="398627"/>
                      </a:lnTo>
                      <a:lnTo>
                        <a:pt x="1617967" y="397586"/>
                      </a:lnTo>
                      <a:lnTo>
                        <a:pt x="1620977" y="398221"/>
                      </a:lnTo>
                      <a:lnTo>
                        <a:pt x="1620558" y="399821"/>
                      </a:lnTo>
                      <a:lnTo>
                        <a:pt x="1625485" y="397471"/>
                      </a:lnTo>
                      <a:lnTo>
                        <a:pt x="1628571" y="396836"/>
                      </a:lnTo>
                      <a:lnTo>
                        <a:pt x="1631962" y="396519"/>
                      </a:lnTo>
                      <a:lnTo>
                        <a:pt x="1632889" y="393560"/>
                      </a:lnTo>
                      <a:lnTo>
                        <a:pt x="1629841" y="392798"/>
                      </a:lnTo>
                      <a:lnTo>
                        <a:pt x="1630133" y="392620"/>
                      </a:lnTo>
                      <a:lnTo>
                        <a:pt x="1631289" y="392290"/>
                      </a:lnTo>
                      <a:lnTo>
                        <a:pt x="1631619" y="391439"/>
                      </a:lnTo>
                      <a:lnTo>
                        <a:pt x="1631035" y="391718"/>
                      </a:lnTo>
                      <a:lnTo>
                        <a:pt x="1631073" y="391312"/>
                      </a:lnTo>
                      <a:lnTo>
                        <a:pt x="1631124" y="390753"/>
                      </a:lnTo>
                      <a:lnTo>
                        <a:pt x="1630946" y="389712"/>
                      </a:lnTo>
                      <a:lnTo>
                        <a:pt x="1630222" y="388442"/>
                      </a:lnTo>
                      <a:lnTo>
                        <a:pt x="1629181" y="388162"/>
                      </a:lnTo>
                      <a:lnTo>
                        <a:pt x="1627251" y="386892"/>
                      </a:lnTo>
                      <a:lnTo>
                        <a:pt x="1627251" y="387502"/>
                      </a:lnTo>
                      <a:lnTo>
                        <a:pt x="1626628" y="385343"/>
                      </a:lnTo>
                      <a:lnTo>
                        <a:pt x="1616430" y="387743"/>
                      </a:lnTo>
                      <a:lnTo>
                        <a:pt x="1617154" y="387350"/>
                      </a:lnTo>
                      <a:lnTo>
                        <a:pt x="1621815" y="386080"/>
                      </a:lnTo>
                      <a:lnTo>
                        <a:pt x="1622945" y="384810"/>
                      </a:lnTo>
                      <a:lnTo>
                        <a:pt x="1625803" y="384810"/>
                      </a:lnTo>
                      <a:lnTo>
                        <a:pt x="1627924" y="383540"/>
                      </a:lnTo>
                      <a:lnTo>
                        <a:pt x="1627505" y="383540"/>
                      </a:lnTo>
                      <a:lnTo>
                        <a:pt x="1626654" y="382270"/>
                      </a:lnTo>
                      <a:lnTo>
                        <a:pt x="1625930" y="381000"/>
                      </a:lnTo>
                      <a:lnTo>
                        <a:pt x="1628609" y="382270"/>
                      </a:lnTo>
                      <a:lnTo>
                        <a:pt x="1629575" y="381000"/>
                      </a:lnTo>
                      <a:lnTo>
                        <a:pt x="1629054" y="378460"/>
                      </a:lnTo>
                      <a:lnTo>
                        <a:pt x="1627974" y="375920"/>
                      </a:lnTo>
                      <a:lnTo>
                        <a:pt x="1626133" y="375920"/>
                      </a:lnTo>
                      <a:lnTo>
                        <a:pt x="1623148" y="374650"/>
                      </a:lnTo>
                      <a:lnTo>
                        <a:pt x="1610296" y="374650"/>
                      </a:lnTo>
                      <a:lnTo>
                        <a:pt x="1608531" y="373380"/>
                      </a:lnTo>
                      <a:lnTo>
                        <a:pt x="1606588" y="373380"/>
                      </a:lnTo>
                      <a:lnTo>
                        <a:pt x="1602930" y="375920"/>
                      </a:lnTo>
                      <a:lnTo>
                        <a:pt x="1603159" y="374650"/>
                      </a:lnTo>
                      <a:lnTo>
                        <a:pt x="1603629" y="372110"/>
                      </a:lnTo>
                      <a:lnTo>
                        <a:pt x="1602346" y="372110"/>
                      </a:lnTo>
                      <a:lnTo>
                        <a:pt x="1597837" y="370840"/>
                      </a:lnTo>
                      <a:lnTo>
                        <a:pt x="1595501" y="372110"/>
                      </a:lnTo>
                      <a:lnTo>
                        <a:pt x="1591475" y="373380"/>
                      </a:lnTo>
                      <a:lnTo>
                        <a:pt x="1587169" y="373380"/>
                      </a:lnTo>
                      <a:lnTo>
                        <a:pt x="1586471" y="372110"/>
                      </a:lnTo>
                      <a:lnTo>
                        <a:pt x="1592326" y="372110"/>
                      </a:lnTo>
                      <a:lnTo>
                        <a:pt x="1596263" y="370840"/>
                      </a:lnTo>
                      <a:lnTo>
                        <a:pt x="1597837" y="370840"/>
                      </a:lnTo>
                      <a:lnTo>
                        <a:pt x="1601520" y="370840"/>
                      </a:lnTo>
                      <a:lnTo>
                        <a:pt x="1603819" y="369570"/>
                      </a:lnTo>
                      <a:lnTo>
                        <a:pt x="1600860" y="368300"/>
                      </a:lnTo>
                      <a:lnTo>
                        <a:pt x="1597914" y="367030"/>
                      </a:lnTo>
                      <a:lnTo>
                        <a:pt x="1596097" y="365760"/>
                      </a:lnTo>
                      <a:lnTo>
                        <a:pt x="1595081" y="365760"/>
                      </a:lnTo>
                      <a:lnTo>
                        <a:pt x="1592148" y="363220"/>
                      </a:lnTo>
                      <a:lnTo>
                        <a:pt x="1585099" y="363220"/>
                      </a:lnTo>
                      <a:lnTo>
                        <a:pt x="1587855" y="360680"/>
                      </a:lnTo>
                      <a:lnTo>
                        <a:pt x="1586941" y="359410"/>
                      </a:lnTo>
                      <a:lnTo>
                        <a:pt x="1586331" y="358559"/>
                      </a:lnTo>
                      <a:lnTo>
                        <a:pt x="1587754" y="358140"/>
                      </a:lnTo>
                      <a:lnTo>
                        <a:pt x="1589963" y="361950"/>
                      </a:lnTo>
                      <a:lnTo>
                        <a:pt x="1596390" y="361950"/>
                      </a:lnTo>
                      <a:lnTo>
                        <a:pt x="1599272" y="364490"/>
                      </a:lnTo>
                      <a:lnTo>
                        <a:pt x="1598688" y="364490"/>
                      </a:lnTo>
                      <a:lnTo>
                        <a:pt x="1601520" y="367030"/>
                      </a:lnTo>
                      <a:lnTo>
                        <a:pt x="1603527" y="367030"/>
                      </a:lnTo>
                      <a:lnTo>
                        <a:pt x="1605394" y="369570"/>
                      </a:lnTo>
                      <a:lnTo>
                        <a:pt x="1605559" y="369570"/>
                      </a:lnTo>
                      <a:lnTo>
                        <a:pt x="1608988" y="372110"/>
                      </a:lnTo>
                      <a:lnTo>
                        <a:pt x="1611452" y="373380"/>
                      </a:lnTo>
                      <a:lnTo>
                        <a:pt x="1615313" y="373380"/>
                      </a:lnTo>
                      <a:lnTo>
                        <a:pt x="1616087" y="372110"/>
                      </a:lnTo>
                      <a:lnTo>
                        <a:pt x="1617548" y="372110"/>
                      </a:lnTo>
                      <a:lnTo>
                        <a:pt x="1618538" y="373380"/>
                      </a:lnTo>
                      <a:lnTo>
                        <a:pt x="1620837" y="372110"/>
                      </a:lnTo>
                      <a:lnTo>
                        <a:pt x="1622425" y="372110"/>
                      </a:lnTo>
                      <a:lnTo>
                        <a:pt x="1626476" y="373380"/>
                      </a:lnTo>
                      <a:lnTo>
                        <a:pt x="1628559" y="374650"/>
                      </a:lnTo>
                      <a:lnTo>
                        <a:pt x="1631721" y="377190"/>
                      </a:lnTo>
                      <a:lnTo>
                        <a:pt x="1632851" y="377190"/>
                      </a:lnTo>
                      <a:lnTo>
                        <a:pt x="1635264" y="379730"/>
                      </a:lnTo>
                      <a:lnTo>
                        <a:pt x="1638274" y="379730"/>
                      </a:lnTo>
                      <a:lnTo>
                        <a:pt x="1641627" y="378460"/>
                      </a:lnTo>
                      <a:lnTo>
                        <a:pt x="1642262" y="378460"/>
                      </a:lnTo>
                      <a:lnTo>
                        <a:pt x="1640865" y="379730"/>
                      </a:lnTo>
                      <a:lnTo>
                        <a:pt x="1641259" y="381000"/>
                      </a:lnTo>
                      <a:lnTo>
                        <a:pt x="1641995" y="379730"/>
                      </a:lnTo>
                      <a:lnTo>
                        <a:pt x="1642541" y="381000"/>
                      </a:lnTo>
                      <a:lnTo>
                        <a:pt x="1642630" y="382270"/>
                      </a:lnTo>
                      <a:lnTo>
                        <a:pt x="1643316" y="383540"/>
                      </a:lnTo>
                      <a:lnTo>
                        <a:pt x="1644573" y="383540"/>
                      </a:lnTo>
                      <a:lnTo>
                        <a:pt x="1646097" y="384810"/>
                      </a:lnTo>
                      <a:lnTo>
                        <a:pt x="1647558" y="386080"/>
                      </a:lnTo>
                      <a:lnTo>
                        <a:pt x="1647977" y="388620"/>
                      </a:lnTo>
                      <a:lnTo>
                        <a:pt x="1647456" y="389890"/>
                      </a:lnTo>
                      <a:lnTo>
                        <a:pt x="1647825" y="392430"/>
                      </a:lnTo>
                      <a:lnTo>
                        <a:pt x="1648294" y="392430"/>
                      </a:lnTo>
                      <a:lnTo>
                        <a:pt x="1651444" y="398780"/>
                      </a:lnTo>
                      <a:lnTo>
                        <a:pt x="1657997" y="402590"/>
                      </a:lnTo>
                      <a:lnTo>
                        <a:pt x="1671396" y="402590"/>
                      </a:lnTo>
                      <a:lnTo>
                        <a:pt x="1670989" y="398780"/>
                      </a:lnTo>
                      <a:lnTo>
                        <a:pt x="1671561" y="394970"/>
                      </a:lnTo>
                      <a:lnTo>
                        <a:pt x="1672018" y="391160"/>
                      </a:lnTo>
                      <a:lnTo>
                        <a:pt x="1673720" y="391160"/>
                      </a:lnTo>
                      <a:lnTo>
                        <a:pt x="1673225" y="393700"/>
                      </a:lnTo>
                      <a:lnTo>
                        <a:pt x="1673136" y="398780"/>
                      </a:lnTo>
                      <a:lnTo>
                        <a:pt x="1673694" y="402590"/>
                      </a:lnTo>
                      <a:lnTo>
                        <a:pt x="1674825" y="402590"/>
                      </a:lnTo>
                      <a:lnTo>
                        <a:pt x="1676095" y="401320"/>
                      </a:lnTo>
                      <a:lnTo>
                        <a:pt x="1675955" y="401320"/>
                      </a:lnTo>
                      <a:lnTo>
                        <a:pt x="1675955" y="398780"/>
                      </a:lnTo>
                      <a:lnTo>
                        <a:pt x="1677695" y="397510"/>
                      </a:lnTo>
                      <a:lnTo>
                        <a:pt x="1682115" y="397510"/>
                      </a:lnTo>
                      <a:lnTo>
                        <a:pt x="1682826" y="398780"/>
                      </a:lnTo>
                      <a:lnTo>
                        <a:pt x="1683004" y="398297"/>
                      </a:lnTo>
                      <a:lnTo>
                        <a:pt x="1683359" y="398729"/>
                      </a:lnTo>
                      <a:lnTo>
                        <a:pt x="1683727" y="399529"/>
                      </a:lnTo>
                      <a:lnTo>
                        <a:pt x="1683727" y="400888"/>
                      </a:lnTo>
                      <a:lnTo>
                        <a:pt x="1683613" y="401307"/>
                      </a:lnTo>
                      <a:lnTo>
                        <a:pt x="1683461" y="401713"/>
                      </a:lnTo>
                      <a:lnTo>
                        <a:pt x="1684337" y="401777"/>
                      </a:lnTo>
                      <a:lnTo>
                        <a:pt x="1685213" y="401701"/>
                      </a:lnTo>
                      <a:lnTo>
                        <a:pt x="1685366" y="400456"/>
                      </a:lnTo>
                      <a:lnTo>
                        <a:pt x="1685505" y="399288"/>
                      </a:lnTo>
                      <a:lnTo>
                        <a:pt x="1684032" y="397510"/>
                      </a:lnTo>
                      <a:lnTo>
                        <a:pt x="1684756" y="397510"/>
                      </a:lnTo>
                      <a:lnTo>
                        <a:pt x="1685112" y="396240"/>
                      </a:lnTo>
                      <a:lnTo>
                        <a:pt x="1684477" y="396240"/>
                      </a:lnTo>
                      <a:lnTo>
                        <a:pt x="1683727" y="395071"/>
                      </a:lnTo>
                      <a:lnTo>
                        <a:pt x="1683727" y="397510"/>
                      </a:lnTo>
                      <a:lnTo>
                        <a:pt x="1683156" y="397865"/>
                      </a:lnTo>
                      <a:lnTo>
                        <a:pt x="1683296" y="397510"/>
                      </a:lnTo>
                      <a:lnTo>
                        <a:pt x="1683727" y="397510"/>
                      </a:lnTo>
                      <a:lnTo>
                        <a:pt x="1683727" y="395071"/>
                      </a:lnTo>
                      <a:lnTo>
                        <a:pt x="1684718" y="394970"/>
                      </a:lnTo>
                      <a:lnTo>
                        <a:pt x="1683689" y="393700"/>
                      </a:lnTo>
                      <a:lnTo>
                        <a:pt x="1682508" y="394970"/>
                      </a:lnTo>
                      <a:lnTo>
                        <a:pt x="1683029" y="393700"/>
                      </a:lnTo>
                      <a:lnTo>
                        <a:pt x="1683689" y="393700"/>
                      </a:lnTo>
                      <a:lnTo>
                        <a:pt x="1684477" y="393700"/>
                      </a:lnTo>
                      <a:lnTo>
                        <a:pt x="1683321" y="392480"/>
                      </a:lnTo>
                      <a:lnTo>
                        <a:pt x="1683918" y="391160"/>
                      </a:lnTo>
                      <a:lnTo>
                        <a:pt x="1683512" y="391160"/>
                      </a:lnTo>
                      <a:lnTo>
                        <a:pt x="1684058" y="389890"/>
                      </a:lnTo>
                      <a:lnTo>
                        <a:pt x="1685023" y="389890"/>
                      </a:lnTo>
                      <a:lnTo>
                        <a:pt x="1685353" y="388620"/>
                      </a:lnTo>
                      <a:lnTo>
                        <a:pt x="1683219" y="388620"/>
                      </a:lnTo>
                      <a:lnTo>
                        <a:pt x="1682356" y="389890"/>
                      </a:lnTo>
                      <a:lnTo>
                        <a:pt x="1682750" y="388620"/>
                      </a:lnTo>
                      <a:lnTo>
                        <a:pt x="1682330" y="388620"/>
                      </a:lnTo>
                      <a:lnTo>
                        <a:pt x="1682330" y="393204"/>
                      </a:lnTo>
                      <a:lnTo>
                        <a:pt x="1681734" y="393700"/>
                      </a:lnTo>
                      <a:lnTo>
                        <a:pt x="1680451" y="392430"/>
                      </a:lnTo>
                      <a:lnTo>
                        <a:pt x="1681657" y="392430"/>
                      </a:lnTo>
                      <a:lnTo>
                        <a:pt x="1682330" y="393204"/>
                      </a:lnTo>
                      <a:lnTo>
                        <a:pt x="1682330" y="388620"/>
                      </a:lnTo>
                      <a:lnTo>
                        <a:pt x="1681060" y="388620"/>
                      </a:lnTo>
                      <a:lnTo>
                        <a:pt x="1682661" y="387350"/>
                      </a:lnTo>
                      <a:lnTo>
                        <a:pt x="1684058" y="387350"/>
                      </a:lnTo>
                      <a:lnTo>
                        <a:pt x="1681949" y="384810"/>
                      </a:lnTo>
                      <a:lnTo>
                        <a:pt x="1678025" y="387350"/>
                      </a:lnTo>
                      <a:lnTo>
                        <a:pt x="1674761" y="386080"/>
                      </a:lnTo>
                      <a:lnTo>
                        <a:pt x="1677327" y="386080"/>
                      </a:lnTo>
                      <a:lnTo>
                        <a:pt x="1680400" y="384810"/>
                      </a:lnTo>
                      <a:lnTo>
                        <a:pt x="1681949" y="384810"/>
                      </a:lnTo>
                      <a:lnTo>
                        <a:pt x="1682661" y="384810"/>
                      </a:lnTo>
                      <a:lnTo>
                        <a:pt x="1682153" y="383794"/>
                      </a:lnTo>
                      <a:lnTo>
                        <a:pt x="1683854" y="384810"/>
                      </a:lnTo>
                      <a:lnTo>
                        <a:pt x="1684655" y="383540"/>
                      </a:lnTo>
                      <a:lnTo>
                        <a:pt x="1683702" y="382270"/>
                      </a:lnTo>
                      <a:lnTo>
                        <a:pt x="1681797" y="379730"/>
                      </a:lnTo>
                      <a:lnTo>
                        <a:pt x="1680933" y="382270"/>
                      </a:lnTo>
                      <a:lnTo>
                        <a:pt x="1680222" y="381000"/>
                      </a:lnTo>
                      <a:lnTo>
                        <a:pt x="1681784" y="379730"/>
                      </a:lnTo>
                      <a:lnTo>
                        <a:pt x="1682165" y="379730"/>
                      </a:lnTo>
                      <a:lnTo>
                        <a:pt x="1682330" y="379730"/>
                      </a:lnTo>
                      <a:lnTo>
                        <a:pt x="1684718" y="379730"/>
                      </a:lnTo>
                      <a:lnTo>
                        <a:pt x="1683880" y="378460"/>
                      </a:lnTo>
                      <a:lnTo>
                        <a:pt x="1682953" y="378460"/>
                      </a:lnTo>
                      <a:lnTo>
                        <a:pt x="1682356" y="379425"/>
                      </a:lnTo>
                      <a:lnTo>
                        <a:pt x="1682432" y="378460"/>
                      </a:lnTo>
                      <a:lnTo>
                        <a:pt x="1682115" y="378460"/>
                      </a:lnTo>
                      <a:lnTo>
                        <a:pt x="1683016" y="377190"/>
                      </a:lnTo>
                      <a:lnTo>
                        <a:pt x="1682064" y="377190"/>
                      </a:lnTo>
                      <a:lnTo>
                        <a:pt x="1682267" y="375920"/>
                      </a:lnTo>
                      <a:lnTo>
                        <a:pt x="1682457" y="375920"/>
                      </a:lnTo>
                      <a:lnTo>
                        <a:pt x="1683207" y="374650"/>
                      </a:lnTo>
                      <a:lnTo>
                        <a:pt x="1680019" y="374650"/>
                      </a:lnTo>
                      <a:lnTo>
                        <a:pt x="1679905" y="375920"/>
                      </a:lnTo>
                      <a:lnTo>
                        <a:pt x="1678444" y="374650"/>
                      </a:lnTo>
                      <a:lnTo>
                        <a:pt x="1676742" y="374650"/>
                      </a:lnTo>
                      <a:lnTo>
                        <a:pt x="1675142" y="377190"/>
                      </a:lnTo>
                      <a:lnTo>
                        <a:pt x="1674495" y="377190"/>
                      </a:lnTo>
                      <a:lnTo>
                        <a:pt x="1674190" y="378460"/>
                      </a:lnTo>
                      <a:lnTo>
                        <a:pt x="1674736" y="381000"/>
                      </a:lnTo>
                      <a:lnTo>
                        <a:pt x="1671993" y="382270"/>
                      </a:lnTo>
                      <a:lnTo>
                        <a:pt x="1671802" y="379730"/>
                      </a:lnTo>
                      <a:lnTo>
                        <a:pt x="1671713" y="378460"/>
                      </a:lnTo>
                      <a:lnTo>
                        <a:pt x="1671535" y="375920"/>
                      </a:lnTo>
                      <a:lnTo>
                        <a:pt x="1673847" y="370840"/>
                      </a:lnTo>
                      <a:lnTo>
                        <a:pt x="1675498" y="373380"/>
                      </a:lnTo>
                      <a:lnTo>
                        <a:pt x="1677797" y="372110"/>
                      </a:lnTo>
                      <a:lnTo>
                        <a:pt x="1677454" y="372110"/>
                      </a:lnTo>
                      <a:lnTo>
                        <a:pt x="1676946" y="370840"/>
                      </a:lnTo>
                      <a:lnTo>
                        <a:pt x="1676565" y="370840"/>
                      </a:lnTo>
                      <a:lnTo>
                        <a:pt x="1677466" y="369570"/>
                      </a:lnTo>
                      <a:lnTo>
                        <a:pt x="1678444" y="370840"/>
                      </a:lnTo>
                      <a:lnTo>
                        <a:pt x="1679867" y="369570"/>
                      </a:lnTo>
                      <a:lnTo>
                        <a:pt x="1680337" y="368300"/>
                      </a:lnTo>
                      <a:lnTo>
                        <a:pt x="1679448" y="368300"/>
                      </a:lnTo>
                      <a:lnTo>
                        <a:pt x="1678482" y="369570"/>
                      </a:lnTo>
                      <a:lnTo>
                        <a:pt x="1677009" y="368300"/>
                      </a:lnTo>
                      <a:lnTo>
                        <a:pt x="1675320" y="367030"/>
                      </a:lnTo>
                      <a:lnTo>
                        <a:pt x="1674672" y="369570"/>
                      </a:lnTo>
                      <a:lnTo>
                        <a:pt x="1673644" y="370840"/>
                      </a:lnTo>
                      <a:lnTo>
                        <a:pt x="1671955" y="372110"/>
                      </a:lnTo>
                      <a:lnTo>
                        <a:pt x="1670888" y="370840"/>
                      </a:lnTo>
                      <a:lnTo>
                        <a:pt x="1670481" y="372110"/>
                      </a:lnTo>
                      <a:lnTo>
                        <a:pt x="1669173" y="370840"/>
                      </a:lnTo>
                      <a:lnTo>
                        <a:pt x="1671421" y="369570"/>
                      </a:lnTo>
                      <a:lnTo>
                        <a:pt x="1673821" y="367030"/>
                      </a:lnTo>
                      <a:lnTo>
                        <a:pt x="1669745" y="368300"/>
                      </a:lnTo>
                      <a:lnTo>
                        <a:pt x="1668195" y="368300"/>
                      </a:lnTo>
                      <a:lnTo>
                        <a:pt x="1665719" y="369570"/>
                      </a:lnTo>
                      <a:lnTo>
                        <a:pt x="1665135" y="370840"/>
                      </a:lnTo>
                      <a:lnTo>
                        <a:pt x="1663458" y="370840"/>
                      </a:lnTo>
                      <a:lnTo>
                        <a:pt x="1664055" y="368300"/>
                      </a:lnTo>
                      <a:lnTo>
                        <a:pt x="1666011" y="368300"/>
                      </a:lnTo>
                      <a:lnTo>
                        <a:pt x="1668246" y="367030"/>
                      </a:lnTo>
                      <a:lnTo>
                        <a:pt x="1668653" y="365760"/>
                      </a:lnTo>
                      <a:lnTo>
                        <a:pt x="1669643" y="364490"/>
                      </a:lnTo>
                      <a:lnTo>
                        <a:pt x="1670405" y="364490"/>
                      </a:lnTo>
                      <a:lnTo>
                        <a:pt x="1673123" y="363220"/>
                      </a:lnTo>
                      <a:lnTo>
                        <a:pt x="1670189" y="363220"/>
                      </a:lnTo>
                      <a:lnTo>
                        <a:pt x="1667535" y="361950"/>
                      </a:lnTo>
                      <a:lnTo>
                        <a:pt x="1666087" y="360680"/>
                      </a:lnTo>
                      <a:lnTo>
                        <a:pt x="1663700" y="360680"/>
                      </a:lnTo>
                      <a:lnTo>
                        <a:pt x="1662518" y="361950"/>
                      </a:lnTo>
                      <a:lnTo>
                        <a:pt x="1661795" y="358140"/>
                      </a:lnTo>
                      <a:lnTo>
                        <a:pt x="1657464" y="358140"/>
                      </a:lnTo>
                      <a:lnTo>
                        <a:pt x="1656829" y="356870"/>
                      </a:lnTo>
                      <a:lnTo>
                        <a:pt x="1655406" y="356870"/>
                      </a:lnTo>
                      <a:lnTo>
                        <a:pt x="1654327" y="358140"/>
                      </a:lnTo>
                      <a:lnTo>
                        <a:pt x="1652422" y="358140"/>
                      </a:lnTo>
                      <a:lnTo>
                        <a:pt x="1653070" y="354330"/>
                      </a:lnTo>
                      <a:lnTo>
                        <a:pt x="1651063" y="353060"/>
                      </a:lnTo>
                      <a:lnTo>
                        <a:pt x="1647063" y="353060"/>
                      </a:lnTo>
                      <a:lnTo>
                        <a:pt x="1644535" y="351790"/>
                      </a:lnTo>
                      <a:lnTo>
                        <a:pt x="1644040" y="350520"/>
                      </a:lnTo>
                      <a:lnTo>
                        <a:pt x="1642224" y="349250"/>
                      </a:lnTo>
                      <a:lnTo>
                        <a:pt x="1640128" y="350520"/>
                      </a:lnTo>
                      <a:lnTo>
                        <a:pt x="1638973" y="350520"/>
                      </a:lnTo>
                      <a:lnTo>
                        <a:pt x="1638846" y="349250"/>
                      </a:lnTo>
                      <a:lnTo>
                        <a:pt x="1637677" y="350520"/>
                      </a:lnTo>
                      <a:lnTo>
                        <a:pt x="1636890" y="350520"/>
                      </a:lnTo>
                      <a:lnTo>
                        <a:pt x="1635010" y="351790"/>
                      </a:lnTo>
                      <a:lnTo>
                        <a:pt x="1634058" y="351790"/>
                      </a:lnTo>
                      <a:lnTo>
                        <a:pt x="1631911" y="353060"/>
                      </a:lnTo>
                      <a:lnTo>
                        <a:pt x="1631162" y="354330"/>
                      </a:lnTo>
                      <a:lnTo>
                        <a:pt x="1630464" y="356870"/>
                      </a:lnTo>
                      <a:lnTo>
                        <a:pt x="1630895" y="358140"/>
                      </a:lnTo>
                      <a:lnTo>
                        <a:pt x="1628990" y="358140"/>
                      </a:lnTo>
                      <a:lnTo>
                        <a:pt x="1629562" y="355600"/>
                      </a:lnTo>
                      <a:lnTo>
                        <a:pt x="1630591" y="354330"/>
                      </a:lnTo>
                      <a:lnTo>
                        <a:pt x="1631289" y="350520"/>
                      </a:lnTo>
                      <a:lnTo>
                        <a:pt x="1623695" y="350520"/>
                      </a:lnTo>
                      <a:lnTo>
                        <a:pt x="1626844" y="349250"/>
                      </a:lnTo>
                      <a:lnTo>
                        <a:pt x="1636750" y="349250"/>
                      </a:lnTo>
                      <a:lnTo>
                        <a:pt x="1638935" y="347980"/>
                      </a:lnTo>
                      <a:lnTo>
                        <a:pt x="1639646" y="347980"/>
                      </a:lnTo>
                      <a:lnTo>
                        <a:pt x="1642198" y="346710"/>
                      </a:lnTo>
                      <a:lnTo>
                        <a:pt x="1641398" y="346710"/>
                      </a:lnTo>
                      <a:lnTo>
                        <a:pt x="1640878" y="345440"/>
                      </a:lnTo>
                      <a:lnTo>
                        <a:pt x="1640370" y="344170"/>
                      </a:lnTo>
                      <a:lnTo>
                        <a:pt x="1640573" y="342900"/>
                      </a:lnTo>
                      <a:lnTo>
                        <a:pt x="1637792" y="341630"/>
                      </a:lnTo>
                      <a:lnTo>
                        <a:pt x="1636090" y="341630"/>
                      </a:lnTo>
                      <a:lnTo>
                        <a:pt x="1633626" y="340360"/>
                      </a:lnTo>
                      <a:lnTo>
                        <a:pt x="1633054" y="339090"/>
                      </a:lnTo>
                      <a:lnTo>
                        <a:pt x="1630324" y="340360"/>
                      </a:lnTo>
                      <a:lnTo>
                        <a:pt x="1629549" y="337820"/>
                      </a:lnTo>
                      <a:lnTo>
                        <a:pt x="1625422" y="339090"/>
                      </a:lnTo>
                      <a:lnTo>
                        <a:pt x="1623733" y="341630"/>
                      </a:lnTo>
                      <a:lnTo>
                        <a:pt x="1619580" y="341630"/>
                      </a:lnTo>
                      <a:lnTo>
                        <a:pt x="1617624" y="344170"/>
                      </a:lnTo>
                      <a:lnTo>
                        <a:pt x="1616773" y="345440"/>
                      </a:lnTo>
                      <a:lnTo>
                        <a:pt x="1615503" y="345440"/>
                      </a:lnTo>
                      <a:lnTo>
                        <a:pt x="1615681" y="344170"/>
                      </a:lnTo>
                      <a:lnTo>
                        <a:pt x="1616506" y="342900"/>
                      </a:lnTo>
                      <a:lnTo>
                        <a:pt x="1616532" y="341630"/>
                      </a:lnTo>
                      <a:lnTo>
                        <a:pt x="1611871" y="341630"/>
                      </a:lnTo>
                      <a:lnTo>
                        <a:pt x="1611058" y="342900"/>
                      </a:lnTo>
                      <a:lnTo>
                        <a:pt x="1611325" y="339090"/>
                      </a:lnTo>
                      <a:lnTo>
                        <a:pt x="1607286" y="339090"/>
                      </a:lnTo>
                      <a:lnTo>
                        <a:pt x="1602359" y="339090"/>
                      </a:lnTo>
                      <a:lnTo>
                        <a:pt x="1604797" y="337820"/>
                      </a:lnTo>
                      <a:lnTo>
                        <a:pt x="1607286" y="339090"/>
                      </a:lnTo>
                      <a:lnTo>
                        <a:pt x="1611693" y="337820"/>
                      </a:lnTo>
                      <a:lnTo>
                        <a:pt x="1612480" y="337820"/>
                      </a:lnTo>
                      <a:lnTo>
                        <a:pt x="1616773" y="340360"/>
                      </a:lnTo>
                      <a:lnTo>
                        <a:pt x="1619161" y="340360"/>
                      </a:lnTo>
                      <a:lnTo>
                        <a:pt x="1624368" y="339090"/>
                      </a:lnTo>
                      <a:lnTo>
                        <a:pt x="1625358" y="337820"/>
                      </a:lnTo>
                      <a:lnTo>
                        <a:pt x="1626349" y="336550"/>
                      </a:lnTo>
                      <a:lnTo>
                        <a:pt x="1630553" y="336550"/>
                      </a:lnTo>
                      <a:lnTo>
                        <a:pt x="1632673" y="337820"/>
                      </a:lnTo>
                      <a:lnTo>
                        <a:pt x="1634299" y="335280"/>
                      </a:lnTo>
                      <a:lnTo>
                        <a:pt x="1635442" y="332778"/>
                      </a:lnTo>
                      <a:lnTo>
                        <a:pt x="1634655" y="331470"/>
                      </a:lnTo>
                      <a:lnTo>
                        <a:pt x="1630222" y="331470"/>
                      </a:lnTo>
                      <a:lnTo>
                        <a:pt x="1627517" y="330200"/>
                      </a:lnTo>
                      <a:lnTo>
                        <a:pt x="1626171" y="330200"/>
                      </a:lnTo>
                      <a:lnTo>
                        <a:pt x="1623580" y="328930"/>
                      </a:lnTo>
                      <a:lnTo>
                        <a:pt x="1614665" y="328930"/>
                      </a:lnTo>
                      <a:lnTo>
                        <a:pt x="1613954" y="331470"/>
                      </a:lnTo>
                      <a:lnTo>
                        <a:pt x="1611287" y="331470"/>
                      </a:lnTo>
                      <a:lnTo>
                        <a:pt x="1609775" y="331470"/>
                      </a:lnTo>
                      <a:lnTo>
                        <a:pt x="1605330" y="328968"/>
                      </a:lnTo>
                      <a:lnTo>
                        <a:pt x="1603057" y="332701"/>
                      </a:lnTo>
                      <a:lnTo>
                        <a:pt x="1604048" y="335280"/>
                      </a:lnTo>
                      <a:lnTo>
                        <a:pt x="1598815" y="336550"/>
                      </a:lnTo>
                      <a:lnTo>
                        <a:pt x="1603044" y="332778"/>
                      </a:lnTo>
                      <a:lnTo>
                        <a:pt x="1602054" y="331470"/>
                      </a:lnTo>
                      <a:lnTo>
                        <a:pt x="1601012" y="330200"/>
                      </a:lnTo>
                      <a:lnTo>
                        <a:pt x="1600415" y="330200"/>
                      </a:lnTo>
                      <a:lnTo>
                        <a:pt x="1605229" y="328993"/>
                      </a:lnTo>
                      <a:lnTo>
                        <a:pt x="1605495" y="328930"/>
                      </a:lnTo>
                      <a:lnTo>
                        <a:pt x="1608823" y="330200"/>
                      </a:lnTo>
                      <a:lnTo>
                        <a:pt x="1611287" y="331470"/>
                      </a:lnTo>
                      <a:lnTo>
                        <a:pt x="1612519" y="330200"/>
                      </a:lnTo>
                      <a:lnTo>
                        <a:pt x="1614639" y="327660"/>
                      </a:lnTo>
                      <a:lnTo>
                        <a:pt x="1614004" y="326390"/>
                      </a:lnTo>
                      <a:lnTo>
                        <a:pt x="1612379" y="326390"/>
                      </a:lnTo>
                      <a:lnTo>
                        <a:pt x="1610512" y="325120"/>
                      </a:lnTo>
                      <a:lnTo>
                        <a:pt x="1616494" y="325120"/>
                      </a:lnTo>
                      <a:lnTo>
                        <a:pt x="1619707" y="327660"/>
                      </a:lnTo>
                      <a:lnTo>
                        <a:pt x="1625498" y="327660"/>
                      </a:lnTo>
                      <a:lnTo>
                        <a:pt x="1629930" y="323850"/>
                      </a:lnTo>
                      <a:lnTo>
                        <a:pt x="1633054" y="321310"/>
                      </a:lnTo>
                      <a:lnTo>
                        <a:pt x="1634617" y="320040"/>
                      </a:lnTo>
                      <a:lnTo>
                        <a:pt x="1635645" y="314960"/>
                      </a:lnTo>
                      <a:lnTo>
                        <a:pt x="1635442" y="314896"/>
                      </a:lnTo>
                      <a:lnTo>
                        <a:pt x="1636217" y="313690"/>
                      </a:lnTo>
                      <a:lnTo>
                        <a:pt x="1637157" y="316230"/>
                      </a:lnTo>
                      <a:lnTo>
                        <a:pt x="1636242" y="316230"/>
                      </a:lnTo>
                      <a:lnTo>
                        <a:pt x="1639697" y="318770"/>
                      </a:lnTo>
                      <a:lnTo>
                        <a:pt x="1642668" y="318770"/>
                      </a:lnTo>
                      <a:lnTo>
                        <a:pt x="1644103" y="320040"/>
                      </a:lnTo>
                      <a:lnTo>
                        <a:pt x="1644789" y="317500"/>
                      </a:lnTo>
                      <a:lnTo>
                        <a:pt x="1643354" y="316230"/>
                      </a:lnTo>
                      <a:lnTo>
                        <a:pt x="1645742" y="313690"/>
                      </a:lnTo>
                      <a:lnTo>
                        <a:pt x="1646936" y="312420"/>
                      </a:lnTo>
                      <a:lnTo>
                        <a:pt x="1650034" y="312420"/>
                      </a:lnTo>
                      <a:lnTo>
                        <a:pt x="1654771" y="314960"/>
                      </a:lnTo>
                      <a:lnTo>
                        <a:pt x="1657235" y="313690"/>
                      </a:lnTo>
                      <a:lnTo>
                        <a:pt x="1662201" y="316230"/>
                      </a:lnTo>
                      <a:lnTo>
                        <a:pt x="1664779" y="317500"/>
                      </a:lnTo>
                      <a:lnTo>
                        <a:pt x="1670532" y="319976"/>
                      </a:lnTo>
                      <a:lnTo>
                        <a:pt x="1665528" y="318770"/>
                      </a:lnTo>
                      <a:lnTo>
                        <a:pt x="1662772" y="317500"/>
                      </a:lnTo>
                      <a:lnTo>
                        <a:pt x="1659178" y="316230"/>
                      </a:lnTo>
                      <a:lnTo>
                        <a:pt x="1658315" y="314960"/>
                      </a:lnTo>
                      <a:lnTo>
                        <a:pt x="1654771" y="314960"/>
                      </a:lnTo>
                      <a:lnTo>
                        <a:pt x="1652511" y="314960"/>
                      </a:lnTo>
                      <a:lnTo>
                        <a:pt x="1650263" y="313690"/>
                      </a:lnTo>
                      <a:lnTo>
                        <a:pt x="1662442" y="323850"/>
                      </a:lnTo>
                      <a:lnTo>
                        <a:pt x="1662823" y="323850"/>
                      </a:lnTo>
                      <a:lnTo>
                        <a:pt x="1664195" y="325120"/>
                      </a:lnTo>
                      <a:lnTo>
                        <a:pt x="1668487" y="325120"/>
                      </a:lnTo>
                      <a:lnTo>
                        <a:pt x="1672374" y="326390"/>
                      </a:lnTo>
                      <a:lnTo>
                        <a:pt x="1675003" y="328930"/>
                      </a:lnTo>
                      <a:lnTo>
                        <a:pt x="1678990" y="326390"/>
                      </a:lnTo>
                      <a:lnTo>
                        <a:pt x="1680108" y="325120"/>
                      </a:lnTo>
                      <a:lnTo>
                        <a:pt x="1685391" y="323850"/>
                      </a:lnTo>
                      <a:lnTo>
                        <a:pt x="1686166" y="322580"/>
                      </a:lnTo>
                      <a:lnTo>
                        <a:pt x="1685378" y="321310"/>
                      </a:lnTo>
                      <a:lnTo>
                        <a:pt x="1698028" y="321310"/>
                      </a:lnTo>
                      <a:lnTo>
                        <a:pt x="1698942" y="322580"/>
                      </a:lnTo>
                      <a:lnTo>
                        <a:pt x="1702358" y="321310"/>
                      </a:lnTo>
                      <a:lnTo>
                        <a:pt x="1702384" y="320040"/>
                      </a:lnTo>
                      <a:lnTo>
                        <a:pt x="1701025" y="317500"/>
                      </a:lnTo>
                      <a:lnTo>
                        <a:pt x="1701101" y="316230"/>
                      </a:lnTo>
                      <a:lnTo>
                        <a:pt x="1700911" y="314960"/>
                      </a:lnTo>
                      <a:lnTo>
                        <a:pt x="1699755" y="313690"/>
                      </a:lnTo>
                      <a:lnTo>
                        <a:pt x="1701761" y="313690"/>
                      </a:lnTo>
                      <a:lnTo>
                        <a:pt x="1700593" y="312420"/>
                      </a:lnTo>
                      <a:lnTo>
                        <a:pt x="1703641" y="312420"/>
                      </a:lnTo>
                      <a:lnTo>
                        <a:pt x="1704898" y="308610"/>
                      </a:lnTo>
                      <a:lnTo>
                        <a:pt x="1700276" y="308610"/>
                      </a:lnTo>
                      <a:lnTo>
                        <a:pt x="1682153" y="304800"/>
                      </a:lnTo>
                      <a:lnTo>
                        <a:pt x="1680895" y="306070"/>
                      </a:lnTo>
                      <a:lnTo>
                        <a:pt x="1680400" y="308610"/>
                      </a:lnTo>
                      <a:lnTo>
                        <a:pt x="1681911" y="308610"/>
                      </a:lnTo>
                      <a:lnTo>
                        <a:pt x="1683118" y="311150"/>
                      </a:lnTo>
                      <a:lnTo>
                        <a:pt x="1682788" y="312420"/>
                      </a:lnTo>
                      <a:lnTo>
                        <a:pt x="1683042" y="313690"/>
                      </a:lnTo>
                      <a:lnTo>
                        <a:pt x="1684058" y="316230"/>
                      </a:lnTo>
                      <a:lnTo>
                        <a:pt x="1681429" y="316230"/>
                      </a:lnTo>
                      <a:lnTo>
                        <a:pt x="1681607" y="313690"/>
                      </a:lnTo>
                      <a:lnTo>
                        <a:pt x="1681708" y="312420"/>
                      </a:lnTo>
                      <a:lnTo>
                        <a:pt x="1681695" y="311150"/>
                      </a:lnTo>
                      <a:lnTo>
                        <a:pt x="1682064" y="311150"/>
                      </a:lnTo>
                      <a:lnTo>
                        <a:pt x="1678101" y="307340"/>
                      </a:lnTo>
                      <a:lnTo>
                        <a:pt x="1676755" y="306679"/>
                      </a:lnTo>
                      <a:lnTo>
                        <a:pt x="1676755" y="317500"/>
                      </a:lnTo>
                      <a:lnTo>
                        <a:pt x="1674025" y="317500"/>
                      </a:lnTo>
                      <a:lnTo>
                        <a:pt x="1670824" y="320040"/>
                      </a:lnTo>
                      <a:lnTo>
                        <a:pt x="1673606" y="316230"/>
                      </a:lnTo>
                      <a:lnTo>
                        <a:pt x="1676755" y="317500"/>
                      </a:lnTo>
                      <a:lnTo>
                        <a:pt x="1676755" y="306679"/>
                      </a:lnTo>
                      <a:lnTo>
                        <a:pt x="1675536" y="306070"/>
                      </a:lnTo>
                      <a:lnTo>
                        <a:pt x="1672691" y="304800"/>
                      </a:lnTo>
                      <a:lnTo>
                        <a:pt x="1673860" y="303530"/>
                      </a:lnTo>
                      <a:lnTo>
                        <a:pt x="1675244" y="304800"/>
                      </a:lnTo>
                      <a:lnTo>
                        <a:pt x="1677111" y="303530"/>
                      </a:lnTo>
                      <a:lnTo>
                        <a:pt x="1677149" y="302260"/>
                      </a:lnTo>
                      <a:lnTo>
                        <a:pt x="1677403" y="300990"/>
                      </a:lnTo>
                      <a:lnTo>
                        <a:pt x="1678482" y="300990"/>
                      </a:lnTo>
                      <a:lnTo>
                        <a:pt x="1678851" y="298450"/>
                      </a:lnTo>
                      <a:lnTo>
                        <a:pt x="1677047" y="298450"/>
                      </a:lnTo>
                      <a:lnTo>
                        <a:pt x="1680921" y="297180"/>
                      </a:lnTo>
                      <a:lnTo>
                        <a:pt x="1682026" y="295910"/>
                      </a:lnTo>
                      <a:lnTo>
                        <a:pt x="1680641" y="292100"/>
                      </a:lnTo>
                      <a:lnTo>
                        <a:pt x="1679473" y="290830"/>
                      </a:lnTo>
                      <a:lnTo>
                        <a:pt x="1677873" y="289560"/>
                      </a:lnTo>
                      <a:lnTo>
                        <a:pt x="1681670" y="290830"/>
                      </a:lnTo>
                      <a:lnTo>
                        <a:pt x="1682026" y="294640"/>
                      </a:lnTo>
                      <a:lnTo>
                        <a:pt x="1688592" y="293370"/>
                      </a:lnTo>
                      <a:lnTo>
                        <a:pt x="1698840" y="293370"/>
                      </a:lnTo>
                      <a:lnTo>
                        <a:pt x="1704632" y="294640"/>
                      </a:lnTo>
                      <a:lnTo>
                        <a:pt x="1703806" y="298450"/>
                      </a:lnTo>
                      <a:lnTo>
                        <a:pt x="1708226" y="299720"/>
                      </a:lnTo>
                      <a:lnTo>
                        <a:pt x="1719033" y="299720"/>
                      </a:lnTo>
                      <a:lnTo>
                        <a:pt x="1720215" y="295910"/>
                      </a:lnTo>
                      <a:lnTo>
                        <a:pt x="1723110" y="293370"/>
                      </a:lnTo>
                      <a:lnTo>
                        <a:pt x="1722208" y="292100"/>
                      </a:lnTo>
                      <a:lnTo>
                        <a:pt x="1718894" y="292100"/>
                      </a:lnTo>
                      <a:lnTo>
                        <a:pt x="1718576" y="290830"/>
                      </a:lnTo>
                      <a:lnTo>
                        <a:pt x="1717598" y="290830"/>
                      </a:lnTo>
                      <a:lnTo>
                        <a:pt x="1717827" y="289560"/>
                      </a:lnTo>
                      <a:lnTo>
                        <a:pt x="1720189" y="288290"/>
                      </a:lnTo>
                      <a:lnTo>
                        <a:pt x="1716074" y="287020"/>
                      </a:lnTo>
                      <a:lnTo>
                        <a:pt x="1714017" y="289560"/>
                      </a:lnTo>
                      <a:lnTo>
                        <a:pt x="1710867" y="290830"/>
                      </a:lnTo>
                      <a:lnTo>
                        <a:pt x="1709280" y="289560"/>
                      </a:lnTo>
                      <a:lnTo>
                        <a:pt x="1702206" y="285750"/>
                      </a:lnTo>
                      <a:lnTo>
                        <a:pt x="1696821" y="289560"/>
                      </a:lnTo>
                      <a:lnTo>
                        <a:pt x="1692097" y="288290"/>
                      </a:lnTo>
                      <a:lnTo>
                        <a:pt x="1693786" y="287020"/>
                      </a:lnTo>
                      <a:lnTo>
                        <a:pt x="1695805" y="288290"/>
                      </a:lnTo>
                      <a:lnTo>
                        <a:pt x="1699971" y="285750"/>
                      </a:lnTo>
                      <a:lnTo>
                        <a:pt x="1697850" y="285750"/>
                      </a:lnTo>
                      <a:lnTo>
                        <a:pt x="1696974" y="281940"/>
                      </a:lnTo>
                      <a:lnTo>
                        <a:pt x="1697786" y="281940"/>
                      </a:lnTo>
                      <a:lnTo>
                        <a:pt x="1698142" y="279400"/>
                      </a:lnTo>
                      <a:lnTo>
                        <a:pt x="1697659" y="279400"/>
                      </a:lnTo>
                      <a:lnTo>
                        <a:pt x="1698688" y="276860"/>
                      </a:lnTo>
                      <a:lnTo>
                        <a:pt x="1699209" y="275590"/>
                      </a:lnTo>
                      <a:lnTo>
                        <a:pt x="1697228" y="276860"/>
                      </a:lnTo>
                      <a:lnTo>
                        <a:pt x="1694053" y="276860"/>
                      </a:lnTo>
                      <a:lnTo>
                        <a:pt x="1692922" y="275590"/>
                      </a:lnTo>
                      <a:lnTo>
                        <a:pt x="1692414" y="275590"/>
                      </a:lnTo>
                      <a:lnTo>
                        <a:pt x="1694053" y="274320"/>
                      </a:lnTo>
                      <a:lnTo>
                        <a:pt x="1697443" y="274320"/>
                      </a:lnTo>
                      <a:lnTo>
                        <a:pt x="1698053" y="275590"/>
                      </a:lnTo>
                      <a:lnTo>
                        <a:pt x="1701901" y="274320"/>
                      </a:lnTo>
                      <a:lnTo>
                        <a:pt x="1694954" y="269240"/>
                      </a:lnTo>
                      <a:lnTo>
                        <a:pt x="1692414" y="269240"/>
                      </a:lnTo>
                      <a:lnTo>
                        <a:pt x="1690928" y="267970"/>
                      </a:lnTo>
                      <a:lnTo>
                        <a:pt x="1688325" y="267970"/>
                      </a:lnTo>
                      <a:lnTo>
                        <a:pt x="1688007" y="266700"/>
                      </a:lnTo>
                      <a:lnTo>
                        <a:pt x="1683969" y="264922"/>
                      </a:lnTo>
                      <a:lnTo>
                        <a:pt x="1682254" y="264160"/>
                      </a:lnTo>
                      <a:lnTo>
                        <a:pt x="1677936" y="265430"/>
                      </a:lnTo>
                      <a:lnTo>
                        <a:pt x="1672793" y="264160"/>
                      </a:lnTo>
                      <a:lnTo>
                        <a:pt x="1671091" y="262890"/>
                      </a:lnTo>
                      <a:lnTo>
                        <a:pt x="1675307" y="261620"/>
                      </a:lnTo>
                      <a:lnTo>
                        <a:pt x="1678165" y="264160"/>
                      </a:lnTo>
                      <a:lnTo>
                        <a:pt x="1682254" y="264160"/>
                      </a:lnTo>
                      <a:lnTo>
                        <a:pt x="1682750" y="264160"/>
                      </a:lnTo>
                      <a:lnTo>
                        <a:pt x="1683969" y="264922"/>
                      </a:lnTo>
                      <a:lnTo>
                        <a:pt x="1685124" y="265430"/>
                      </a:lnTo>
                      <a:lnTo>
                        <a:pt x="1686902" y="265430"/>
                      </a:lnTo>
                      <a:lnTo>
                        <a:pt x="1686229" y="262890"/>
                      </a:lnTo>
                      <a:lnTo>
                        <a:pt x="1682508" y="261620"/>
                      </a:lnTo>
                      <a:lnTo>
                        <a:pt x="1679333" y="260350"/>
                      </a:lnTo>
                      <a:lnTo>
                        <a:pt x="1675752" y="260350"/>
                      </a:lnTo>
                      <a:lnTo>
                        <a:pt x="1675371" y="259080"/>
                      </a:lnTo>
                      <a:lnTo>
                        <a:pt x="1680210" y="260350"/>
                      </a:lnTo>
                      <a:lnTo>
                        <a:pt x="1685696" y="261620"/>
                      </a:lnTo>
                      <a:lnTo>
                        <a:pt x="1691144" y="265430"/>
                      </a:lnTo>
                      <a:lnTo>
                        <a:pt x="1690865" y="266700"/>
                      </a:lnTo>
                      <a:lnTo>
                        <a:pt x="1693773" y="267970"/>
                      </a:lnTo>
                      <a:lnTo>
                        <a:pt x="1695094" y="267970"/>
                      </a:lnTo>
                      <a:lnTo>
                        <a:pt x="1696923" y="269240"/>
                      </a:lnTo>
                      <a:lnTo>
                        <a:pt x="1697443" y="269240"/>
                      </a:lnTo>
                      <a:lnTo>
                        <a:pt x="1699501" y="270510"/>
                      </a:lnTo>
                      <a:lnTo>
                        <a:pt x="1702206" y="269240"/>
                      </a:lnTo>
                      <a:lnTo>
                        <a:pt x="1707565" y="269240"/>
                      </a:lnTo>
                      <a:lnTo>
                        <a:pt x="1708734" y="270510"/>
                      </a:lnTo>
                      <a:lnTo>
                        <a:pt x="1707146" y="271780"/>
                      </a:lnTo>
                      <a:lnTo>
                        <a:pt x="1708696" y="274320"/>
                      </a:lnTo>
                      <a:lnTo>
                        <a:pt x="1715008" y="274320"/>
                      </a:lnTo>
                      <a:lnTo>
                        <a:pt x="1716938" y="271780"/>
                      </a:lnTo>
                      <a:lnTo>
                        <a:pt x="1717230" y="266700"/>
                      </a:lnTo>
                      <a:lnTo>
                        <a:pt x="1717611" y="266700"/>
                      </a:lnTo>
                      <a:lnTo>
                        <a:pt x="1716138" y="264160"/>
                      </a:lnTo>
                      <a:lnTo>
                        <a:pt x="1713826" y="259080"/>
                      </a:lnTo>
                      <a:lnTo>
                        <a:pt x="1713230" y="259080"/>
                      </a:lnTo>
                      <a:lnTo>
                        <a:pt x="1714474" y="257810"/>
                      </a:lnTo>
                      <a:lnTo>
                        <a:pt x="1715503" y="256540"/>
                      </a:lnTo>
                      <a:lnTo>
                        <a:pt x="1717294" y="257810"/>
                      </a:lnTo>
                      <a:lnTo>
                        <a:pt x="1716112" y="256540"/>
                      </a:lnTo>
                      <a:lnTo>
                        <a:pt x="1714563" y="255270"/>
                      </a:lnTo>
                      <a:lnTo>
                        <a:pt x="1712506" y="254000"/>
                      </a:lnTo>
                      <a:lnTo>
                        <a:pt x="1711934" y="252730"/>
                      </a:lnTo>
                      <a:lnTo>
                        <a:pt x="1709470" y="251460"/>
                      </a:lnTo>
                      <a:lnTo>
                        <a:pt x="1703539" y="251460"/>
                      </a:lnTo>
                      <a:lnTo>
                        <a:pt x="1701114" y="250190"/>
                      </a:lnTo>
                      <a:lnTo>
                        <a:pt x="1692910" y="250190"/>
                      </a:lnTo>
                      <a:lnTo>
                        <a:pt x="1687055" y="251460"/>
                      </a:lnTo>
                      <a:lnTo>
                        <a:pt x="1680197" y="250190"/>
                      </a:lnTo>
                      <a:lnTo>
                        <a:pt x="1679422" y="248920"/>
                      </a:lnTo>
                      <a:lnTo>
                        <a:pt x="1682699" y="248920"/>
                      </a:lnTo>
                      <a:lnTo>
                        <a:pt x="1683385" y="250190"/>
                      </a:lnTo>
                      <a:lnTo>
                        <a:pt x="1687626" y="250190"/>
                      </a:lnTo>
                      <a:lnTo>
                        <a:pt x="1690128" y="248920"/>
                      </a:lnTo>
                      <a:lnTo>
                        <a:pt x="1698205" y="248920"/>
                      </a:lnTo>
                      <a:lnTo>
                        <a:pt x="1703984" y="250190"/>
                      </a:lnTo>
                      <a:lnTo>
                        <a:pt x="1704886" y="248920"/>
                      </a:lnTo>
                      <a:lnTo>
                        <a:pt x="1705787" y="247650"/>
                      </a:lnTo>
                      <a:lnTo>
                        <a:pt x="1712226" y="247650"/>
                      </a:lnTo>
                      <a:lnTo>
                        <a:pt x="1713153" y="246380"/>
                      </a:lnTo>
                      <a:lnTo>
                        <a:pt x="1710258" y="243840"/>
                      </a:lnTo>
                      <a:lnTo>
                        <a:pt x="1708746" y="242519"/>
                      </a:lnTo>
                      <a:lnTo>
                        <a:pt x="1707222" y="241300"/>
                      </a:lnTo>
                      <a:lnTo>
                        <a:pt x="1701469" y="243420"/>
                      </a:lnTo>
                      <a:lnTo>
                        <a:pt x="1701469" y="245110"/>
                      </a:lnTo>
                      <a:lnTo>
                        <a:pt x="1700657" y="245110"/>
                      </a:lnTo>
                      <a:lnTo>
                        <a:pt x="1698294" y="246380"/>
                      </a:lnTo>
                      <a:lnTo>
                        <a:pt x="1698955" y="245110"/>
                      </a:lnTo>
                      <a:lnTo>
                        <a:pt x="1697113" y="243840"/>
                      </a:lnTo>
                      <a:lnTo>
                        <a:pt x="1695259" y="242608"/>
                      </a:lnTo>
                      <a:lnTo>
                        <a:pt x="1698625" y="243840"/>
                      </a:lnTo>
                      <a:lnTo>
                        <a:pt x="1701469" y="245110"/>
                      </a:lnTo>
                      <a:lnTo>
                        <a:pt x="1701469" y="243420"/>
                      </a:lnTo>
                      <a:lnTo>
                        <a:pt x="1700301" y="243840"/>
                      </a:lnTo>
                      <a:lnTo>
                        <a:pt x="1695132" y="238760"/>
                      </a:lnTo>
                      <a:lnTo>
                        <a:pt x="1692478" y="240030"/>
                      </a:lnTo>
                      <a:lnTo>
                        <a:pt x="1695081" y="242493"/>
                      </a:lnTo>
                      <a:lnTo>
                        <a:pt x="1693303" y="241300"/>
                      </a:lnTo>
                      <a:lnTo>
                        <a:pt x="1687042" y="241300"/>
                      </a:lnTo>
                      <a:lnTo>
                        <a:pt x="1686953" y="242570"/>
                      </a:lnTo>
                      <a:lnTo>
                        <a:pt x="1682915" y="242570"/>
                      </a:lnTo>
                      <a:lnTo>
                        <a:pt x="1687080" y="237490"/>
                      </a:lnTo>
                      <a:lnTo>
                        <a:pt x="1682788" y="236220"/>
                      </a:lnTo>
                      <a:lnTo>
                        <a:pt x="1681086" y="236220"/>
                      </a:lnTo>
                      <a:lnTo>
                        <a:pt x="1677987" y="237490"/>
                      </a:lnTo>
                      <a:lnTo>
                        <a:pt x="1673745" y="237490"/>
                      </a:lnTo>
                      <a:lnTo>
                        <a:pt x="1672412" y="236220"/>
                      </a:lnTo>
                      <a:lnTo>
                        <a:pt x="1673186" y="236220"/>
                      </a:lnTo>
                      <a:lnTo>
                        <a:pt x="1674558" y="234950"/>
                      </a:lnTo>
                      <a:lnTo>
                        <a:pt x="1675231" y="234950"/>
                      </a:lnTo>
                      <a:lnTo>
                        <a:pt x="1675765" y="236220"/>
                      </a:lnTo>
                      <a:lnTo>
                        <a:pt x="1679308" y="236220"/>
                      </a:lnTo>
                      <a:lnTo>
                        <a:pt x="1679778" y="234950"/>
                      </a:lnTo>
                      <a:lnTo>
                        <a:pt x="1678508" y="233680"/>
                      </a:lnTo>
                      <a:lnTo>
                        <a:pt x="1679651" y="232410"/>
                      </a:lnTo>
                      <a:lnTo>
                        <a:pt x="1681048" y="232410"/>
                      </a:lnTo>
                      <a:lnTo>
                        <a:pt x="1679879" y="234911"/>
                      </a:lnTo>
                      <a:lnTo>
                        <a:pt x="1683727" y="233680"/>
                      </a:lnTo>
                      <a:lnTo>
                        <a:pt x="1682686" y="232410"/>
                      </a:lnTo>
                      <a:lnTo>
                        <a:pt x="1681657" y="231140"/>
                      </a:lnTo>
                      <a:lnTo>
                        <a:pt x="1681467" y="231533"/>
                      </a:lnTo>
                      <a:lnTo>
                        <a:pt x="1681238" y="231140"/>
                      </a:lnTo>
                      <a:lnTo>
                        <a:pt x="1680324" y="231140"/>
                      </a:lnTo>
                      <a:lnTo>
                        <a:pt x="1677377" y="229882"/>
                      </a:lnTo>
                      <a:lnTo>
                        <a:pt x="1675320" y="231140"/>
                      </a:lnTo>
                      <a:lnTo>
                        <a:pt x="1674368" y="233680"/>
                      </a:lnTo>
                      <a:lnTo>
                        <a:pt x="1672869" y="233680"/>
                      </a:lnTo>
                      <a:lnTo>
                        <a:pt x="1672805" y="232410"/>
                      </a:lnTo>
                      <a:lnTo>
                        <a:pt x="1672742" y="231140"/>
                      </a:lnTo>
                      <a:lnTo>
                        <a:pt x="1670138" y="228600"/>
                      </a:lnTo>
                      <a:lnTo>
                        <a:pt x="1667129" y="228600"/>
                      </a:lnTo>
                      <a:lnTo>
                        <a:pt x="1672450" y="227330"/>
                      </a:lnTo>
                      <a:lnTo>
                        <a:pt x="1675574" y="228600"/>
                      </a:lnTo>
                      <a:lnTo>
                        <a:pt x="1674787" y="227330"/>
                      </a:lnTo>
                      <a:lnTo>
                        <a:pt x="1673225" y="224790"/>
                      </a:lnTo>
                      <a:lnTo>
                        <a:pt x="1673034" y="224790"/>
                      </a:lnTo>
                      <a:lnTo>
                        <a:pt x="1675447" y="223520"/>
                      </a:lnTo>
                      <a:lnTo>
                        <a:pt x="1676133" y="223520"/>
                      </a:lnTo>
                      <a:lnTo>
                        <a:pt x="1677568" y="224790"/>
                      </a:lnTo>
                      <a:lnTo>
                        <a:pt x="1677403" y="224790"/>
                      </a:lnTo>
                      <a:lnTo>
                        <a:pt x="1678698" y="226060"/>
                      </a:lnTo>
                      <a:lnTo>
                        <a:pt x="1679473" y="226060"/>
                      </a:lnTo>
                      <a:lnTo>
                        <a:pt x="1681403" y="227330"/>
                      </a:lnTo>
                      <a:lnTo>
                        <a:pt x="1681899" y="229870"/>
                      </a:lnTo>
                      <a:lnTo>
                        <a:pt x="1685124" y="231140"/>
                      </a:lnTo>
                      <a:lnTo>
                        <a:pt x="1690674" y="226060"/>
                      </a:lnTo>
                      <a:lnTo>
                        <a:pt x="1692363" y="226060"/>
                      </a:lnTo>
                      <a:lnTo>
                        <a:pt x="1694459" y="224790"/>
                      </a:lnTo>
                      <a:lnTo>
                        <a:pt x="1696389" y="224790"/>
                      </a:lnTo>
                      <a:lnTo>
                        <a:pt x="1694967" y="223520"/>
                      </a:lnTo>
                      <a:lnTo>
                        <a:pt x="1683753" y="223520"/>
                      </a:lnTo>
                      <a:lnTo>
                        <a:pt x="1685531" y="222250"/>
                      </a:lnTo>
                      <a:lnTo>
                        <a:pt x="1694421" y="222250"/>
                      </a:lnTo>
                      <a:lnTo>
                        <a:pt x="1697151" y="223520"/>
                      </a:lnTo>
                      <a:lnTo>
                        <a:pt x="1697736" y="222250"/>
                      </a:lnTo>
                      <a:lnTo>
                        <a:pt x="1699260" y="222250"/>
                      </a:lnTo>
                      <a:lnTo>
                        <a:pt x="1697621" y="220980"/>
                      </a:lnTo>
                      <a:lnTo>
                        <a:pt x="1693595" y="220980"/>
                      </a:lnTo>
                      <a:lnTo>
                        <a:pt x="1695894" y="219710"/>
                      </a:lnTo>
                      <a:lnTo>
                        <a:pt x="1705851" y="220980"/>
                      </a:lnTo>
                      <a:lnTo>
                        <a:pt x="1708810" y="219710"/>
                      </a:lnTo>
                      <a:lnTo>
                        <a:pt x="1714080" y="222250"/>
                      </a:lnTo>
                      <a:lnTo>
                        <a:pt x="1716493" y="223520"/>
                      </a:lnTo>
                      <a:lnTo>
                        <a:pt x="1724736" y="223520"/>
                      </a:lnTo>
                      <a:lnTo>
                        <a:pt x="1725422" y="224790"/>
                      </a:lnTo>
                      <a:lnTo>
                        <a:pt x="1727530" y="226060"/>
                      </a:lnTo>
                      <a:lnTo>
                        <a:pt x="1728101" y="224790"/>
                      </a:lnTo>
                      <a:lnTo>
                        <a:pt x="1728914" y="224790"/>
                      </a:lnTo>
                      <a:lnTo>
                        <a:pt x="1730667" y="227330"/>
                      </a:lnTo>
                      <a:lnTo>
                        <a:pt x="1730349" y="226060"/>
                      </a:lnTo>
                      <a:lnTo>
                        <a:pt x="1729930" y="226060"/>
                      </a:lnTo>
                      <a:lnTo>
                        <a:pt x="1729943" y="224790"/>
                      </a:lnTo>
                      <a:lnTo>
                        <a:pt x="1730679" y="226060"/>
                      </a:lnTo>
                      <a:lnTo>
                        <a:pt x="1731429" y="224790"/>
                      </a:lnTo>
                      <a:lnTo>
                        <a:pt x="1732648" y="226060"/>
                      </a:lnTo>
                      <a:lnTo>
                        <a:pt x="1732445" y="224790"/>
                      </a:lnTo>
                      <a:lnTo>
                        <a:pt x="1732241" y="223520"/>
                      </a:lnTo>
                      <a:lnTo>
                        <a:pt x="1734489" y="223520"/>
                      </a:lnTo>
                      <a:lnTo>
                        <a:pt x="1735188" y="220980"/>
                      </a:lnTo>
                      <a:lnTo>
                        <a:pt x="1734947" y="219710"/>
                      </a:lnTo>
                      <a:lnTo>
                        <a:pt x="1734705" y="215900"/>
                      </a:lnTo>
                      <a:lnTo>
                        <a:pt x="1734286" y="214630"/>
                      </a:lnTo>
                      <a:lnTo>
                        <a:pt x="1734045" y="213360"/>
                      </a:lnTo>
                      <a:lnTo>
                        <a:pt x="1733689" y="210820"/>
                      </a:lnTo>
                      <a:lnTo>
                        <a:pt x="1723618" y="210820"/>
                      </a:lnTo>
                      <a:lnTo>
                        <a:pt x="1721827" y="212090"/>
                      </a:lnTo>
                      <a:lnTo>
                        <a:pt x="1722386" y="212090"/>
                      </a:lnTo>
                      <a:lnTo>
                        <a:pt x="1721535" y="213360"/>
                      </a:lnTo>
                      <a:lnTo>
                        <a:pt x="1720557" y="212090"/>
                      </a:lnTo>
                      <a:lnTo>
                        <a:pt x="1716697" y="212090"/>
                      </a:lnTo>
                      <a:lnTo>
                        <a:pt x="1713280" y="209550"/>
                      </a:lnTo>
                      <a:lnTo>
                        <a:pt x="1711655" y="208280"/>
                      </a:lnTo>
                      <a:lnTo>
                        <a:pt x="1707286" y="205740"/>
                      </a:lnTo>
                      <a:lnTo>
                        <a:pt x="1704149" y="203200"/>
                      </a:lnTo>
                      <a:lnTo>
                        <a:pt x="1704428" y="203200"/>
                      </a:lnTo>
                      <a:lnTo>
                        <a:pt x="1702879" y="201193"/>
                      </a:lnTo>
                      <a:lnTo>
                        <a:pt x="1702879" y="202666"/>
                      </a:lnTo>
                      <a:lnTo>
                        <a:pt x="1701177" y="201930"/>
                      </a:lnTo>
                      <a:lnTo>
                        <a:pt x="1702206" y="201930"/>
                      </a:lnTo>
                      <a:lnTo>
                        <a:pt x="1702879" y="202666"/>
                      </a:lnTo>
                      <a:lnTo>
                        <a:pt x="1702879" y="201193"/>
                      </a:lnTo>
                      <a:lnTo>
                        <a:pt x="1702473" y="200660"/>
                      </a:lnTo>
                      <a:lnTo>
                        <a:pt x="1699094" y="200660"/>
                      </a:lnTo>
                      <a:lnTo>
                        <a:pt x="1697024" y="198120"/>
                      </a:lnTo>
                      <a:lnTo>
                        <a:pt x="1705584" y="198120"/>
                      </a:lnTo>
                      <a:lnTo>
                        <a:pt x="1706448" y="196850"/>
                      </a:lnTo>
                      <a:lnTo>
                        <a:pt x="1711667" y="199390"/>
                      </a:lnTo>
                      <a:lnTo>
                        <a:pt x="1714131" y="200660"/>
                      </a:lnTo>
                      <a:lnTo>
                        <a:pt x="1718271" y="201930"/>
                      </a:lnTo>
                      <a:lnTo>
                        <a:pt x="1719834" y="201930"/>
                      </a:lnTo>
                      <a:lnTo>
                        <a:pt x="1722602" y="200660"/>
                      </a:lnTo>
                      <a:lnTo>
                        <a:pt x="1721840" y="196850"/>
                      </a:lnTo>
                      <a:lnTo>
                        <a:pt x="1721548" y="195580"/>
                      </a:lnTo>
                      <a:lnTo>
                        <a:pt x="1712290" y="194310"/>
                      </a:lnTo>
                      <a:lnTo>
                        <a:pt x="1706689" y="194310"/>
                      </a:lnTo>
                      <a:lnTo>
                        <a:pt x="1704390" y="193040"/>
                      </a:lnTo>
                      <a:lnTo>
                        <a:pt x="1701419" y="191770"/>
                      </a:lnTo>
                      <a:lnTo>
                        <a:pt x="1700758" y="191770"/>
                      </a:lnTo>
                      <a:lnTo>
                        <a:pt x="1698726" y="190500"/>
                      </a:lnTo>
                      <a:lnTo>
                        <a:pt x="1699717" y="190500"/>
                      </a:lnTo>
                      <a:lnTo>
                        <a:pt x="1695716" y="186690"/>
                      </a:lnTo>
                      <a:lnTo>
                        <a:pt x="1692084" y="193040"/>
                      </a:lnTo>
                      <a:lnTo>
                        <a:pt x="1689684" y="195008"/>
                      </a:lnTo>
                      <a:lnTo>
                        <a:pt x="1689684" y="199390"/>
                      </a:lnTo>
                      <a:lnTo>
                        <a:pt x="1687918" y="201930"/>
                      </a:lnTo>
                      <a:lnTo>
                        <a:pt x="1685112" y="201930"/>
                      </a:lnTo>
                      <a:lnTo>
                        <a:pt x="1686534" y="200660"/>
                      </a:lnTo>
                      <a:lnTo>
                        <a:pt x="1687957" y="199390"/>
                      </a:lnTo>
                      <a:lnTo>
                        <a:pt x="1689684" y="199390"/>
                      </a:lnTo>
                      <a:lnTo>
                        <a:pt x="1689684" y="195008"/>
                      </a:lnTo>
                      <a:lnTo>
                        <a:pt x="1688985" y="195580"/>
                      </a:lnTo>
                      <a:lnTo>
                        <a:pt x="1686077" y="199390"/>
                      </a:lnTo>
                      <a:lnTo>
                        <a:pt x="1682915" y="199390"/>
                      </a:lnTo>
                      <a:lnTo>
                        <a:pt x="1680679" y="198120"/>
                      </a:lnTo>
                      <a:lnTo>
                        <a:pt x="1679308" y="198120"/>
                      </a:lnTo>
                      <a:lnTo>
                        <a:pt x="1679816" y="196850"/>
                      </a:lnTo>
                      <a:lnTo>
                        <a:pt x="1680756" y="195580"/>
                      </a:lnTo>
                      <a:lnTo>
                        <a:pt x="1681695" y="194310"/>
                      </a:lnTo>
                      <a:lnTo>
                        <a:pt x="1683981" y="193040"/>
                      </a:lnTo>
                      <a:lnTo>
                        <a:pt x="1684502" y="191770"/>
                      </a:lnTo>
                      <a:lnTo>
                        <a:pt x="1685036" y="190500"/>
                      </a:lnTo>
                      <a:lnTo>
                        <a:pt x="1683893" y="190500"/>
                      </a:lnTo>
                      <a:lnTo>
                        <a:pt x="1683131" y="191770"/>
                      </a:lnTo>
                      <a:lnTo>
                        <a:pt x="1682013" y="191770"/>
                      </a:lnTo>
                      <a:lnTo>
                        <a:pt x="1682838" y="189230"/>
                      </a:lnTo>
                      <a:lnTo>
                        <a:pt x="1686001" y="187960"/>
                      </a:lnTo>
                      <a:lnTo>
                        <a:pt x="1687664" y="185420"/>
                      </a:lnTo>
                      <a:lnTo>
                        <a:pt x="1683131" y="185420"/>
                      </a:lnTo>
                      <a:lnTo>
                        <a:pt x="1685010" y="184150"/>
                      </a:lnTo>
                      <a:lnTo>
                        <a:pt x="1688338" y="185420"/>
                      </a:lnTo>
                      <a:lnTo>
                        <a:pt x="1688693" y="184150"/>
                      </a:lnTo>
                      <a:lnTo>
                        <a:pt x="1689404" y="181610"/>
                      </a:lnTo>
                      <a:lnTo>
                        <a:pt x="1687906" y="181610"/>
                      </a:lnTo>
                      <a:lnTo>
                        <a:pt x="1689303" y="177800"/>
                      </a:lnTo>
                      <a:lnTo>
                        <a:pt x="1690420" y="175260"/>
                      </a:lnTo>
                      <a:lnTo>
                        <a:pt x="1692503" y="171450"/>
                      </a:lnTo>
                      <a:lnTo>
                        <a:pt x="1695831" y="170180"/>
                      </a:lnTo>
                      <a:lnTo>
                        <a:pt x="1693799" y="168910"/>
                      </a:lnTo>
                      <a:lnTo>
                        <a:pt x="1693100" y="168478"/>
                      </a:lnTo>
                      <a:lnTo>
                        <a:pt x="1694357" y="167640"/>
                      </a:lnTo>
                      <a:lnTo>
                        <a:pt x="1693456" y="166370"/>
                      </a:lnTo>
                      <a:lnTo>
                        <a:pt x="1692224" y="166370"/>
                      </a:lnTo>
                      <a:lnTo>
                        <a:pt x="1691119" y="167640"/>
                      </a:lnTo>
                      <a:lnTo>
                        <a:pt x="1691119" y="168351"/>
                      </a:lnTo>
                      <a:lnTo>
                        <a:pt x="1689430" y="170180"/>
                      </a:lnTo>
                      <a:lnTo>
                        <a:pt x="1687817" y="168910"/>
                      </a:lnTo>
                      <a:lnTo>
                        <a:pt x="1689417" y="167640"/>
                      </a:lnTo>
                      <a:lnTo>
                        <a:pt x="1691119" y="168351"/>
                      </a:lnTo>
                      <a:lnTo>
                        <a:pt x="1691119" y="167640"/>
                      </a:lnTo>
                      <a:lnTo>
                        <a:pt x="1691538" y="166370"/>
                      </a:lnTo>
                      <a:lnTo>
                        <a:pt x="1694281" y="163830"/>
                      </a:lnTo>
                      <a:lnTo>
                        <a:pt x="1691500" y="163830"/>
                      </a:lnTo>
                      <a:lnTo>
                        <a:pt x="1693367" y="162560"/>
                      </a:lnTo>
                      <a:lnTo>
                        <a:pt x="1694675" y="163830"/>
                      </a:lnTo>
                      <a:lnTo>
                        <a:pt x="1698129" y="162560"/>
                      </a:lnTo>
                      <a:lnTo>
                        <a:pt x="1698015" y="161290"/>
                      </a:lnTo>
                      <a:lnTo>
                        <a:pt x="1709686" y="163830"/>
                      </a:lnTo>
                      <a:lnTo>
                        <a:pt x="1708632" y="158750"/>
                      </a:lnTo>
                      <a:lnTo>
                        <a:pt x="1707540" y="157480"/>
                      </a:lnTo>
                      <a:lnTo>
                        <a:pt x="1708759" y="153670"/>
                      </a:lnTo>
                      <a:lnTo>
                        <a:pt x="1711045" y="153670"/>
                      </a:lnTo>
                      <a:lnTo>
                        <a:pt x="1711375" y="154940"/>
                      </a:lnTo>
                      <a:lnTo>
                        <a:pt x="1713077" y="153670"/>
                      </a:lnTo>
                      <a:lnTo>
                        <a:pt x="1715922" y="153670"/>
                      </a:lnTo>
                      <a:lnTo>
                        <a:pt x="1715960" y="152400"/>
                      </a:lnTo>
                      <a:lnTo>
                        <a:pt x="1716049" y="149860"/>
                      </a:lnTo>
                      <a:lnTo>
                        <a:pt x="1717967" y="148590"/>
                      </a:lnTo>
                      <a:lnTo>
                        <a:pt x="1721053" y="148590"/>
                      </a:lnTo>
                      <a:lnTo>
                        <a:pt x="1719567" y="149860"/>
                      </a:lnTo>
                      <a:lnTo>
                        <a:pt x="1718640" y="152400"/>
                      </a:lnTo>
                      <a:lnTo>
                        <a:pt x="1721319" y="152400"/>
                      </a:lnTo>
                      <a:lnTo>
                        <a:pt x="1723466" y="148590"/>
                      </a:lnTo>
                      <a:lnTo>
                        <a:pt x="1724190" y="147320"/>
                      </a:lnTo>
                      <a:lnTo>
                        <a:pt x="1713826" y="147320"/>
                      </a:lnTo>
                      <a:lnTo>
                        <a:pt x="1713534" y="148590"/>
                      </a:lnTo>
                      <a:lnTo>
                        <a:pt x="1712442" y="151130"/>
                      </a:lnTo>
                      <a:lnTo>
                        <a:pt x="1711960" y="151130"/>
                      </a:lnTo>
                      <a:lnTo>
                        <a:pt x="1711071" y="152400"/>
                      </a:lnTo>
                      <a:lnTo>
                        <a:pt x="1710613" y="152400"/>
                      </a:lnTo>
                      <a:lnTo>
                        <a:pt x="1710664" y="151130"/>
                      </a:lnTo>
                      <a:lnTo>
                        <a:pt x="1712175" y="149860"/>
                      </a:lnTo>
                      <a:lnTo>
                        <a:pt x="1713814" y="146050"/>
                      </a:lnTo>
                      <a:lnTo>
                        <a:pt x="1713572" y="143510"/>
                      </a:lnTo>
                      <a:lnTo>
                        <a:pt x="1712595" y="140970"/>
                      </a:lnTo>
                      <a:lnTo>
                        <a:pt x="1714563" y="139700"/>
                      </a:lnTo>
                      <a:lnTo>
                        <a:pt x="1714538" y="135890"/>
                      </a:lnTo>
                      <a:lnTo>
                        <a:pt x="1715287" y="134620"/>
                      </a:lnTo>
                      <a:lnTo>
                        <a:pt x="1717395" y="133350"/>
                      </a:lnTo>
                      <a:lnTo>
                        <a:pt x="1719503" y="132080"/>
                      </a:lnTo>
                      <a:lnTo>
                        <a:pt x="1723466" y="132080"/>
                      </a:lnTo>
                      <a:lnTo>
                        <a:pt x="1726590" y="133350"/>
                      </a:lnTo>
                      <a:lnTo>
                        <a:pt x="1730425" y="134620"/>
                      </a:lnTo>
                      <a:lnTo>
                        <a:pt x="1733296" y="134620"/>
                      </a:lnTo>
                      <a:lnTo>
                        <a:pt x="1738350" y="130810"/>
                      </a:lnTo>
                      <a:lnTo>
                        <a:pt x="1740039" y="129540"/>
                      </a:lnTo>
                      <a:lnTo>
                        <a:pt x="1742211" y="125730"/>
                      </a:lnTo>
                      <a:lnTo>
                        <a:pt x="1745488" y="123190"/>
                      </a:lnTo>
                      <a:lnTo>
                        <a:pt x="1716506" y="127000"/>
                      </a:lnTo>
                      <a:lnTo>
                        <a:pt x="1709407" y="127000"/>
                      </a:lnTo>
                      <a:lnTo>
                        <a:pt x="1704441" y="129540"/>
                      </a:lnTo>
                      <a:lnTo>
                        <a:pt x="1705584" y="129540"/>
                      </a:lnTo>
                      <a:lnTo>
                        <a:pt x="1704238" y="130810"/>
                      </a:lnTo>
                      <a:lnTo>
                        <a:pt x="1706283" y="132041"/>
                      </a:lnTo>
                      <a:lnTo>
                        <a:pt x="1704721" y="133350"/>
                      </a:lnTo>
                      <a:lnTo>
                        <a:pt x="1701088" y="132080"/>
                      </a:lnTo>
                      <a:lnTo>
                        <a:pt x="1700530" y="129540"/>
                      </a:lnTo>
                      <a:lnTo>
                        <a:pt x="1697596" y="130810"/>
                      </a:lnTo>
                      <a:lnTo>
                        <a:pt x="1698180" y="128270"/>
                      </a:lnTo>
                      <a:lnTo>
                        <a:pt x="1705775" y="123190"/>
                      </a:lnTo>
                      <a:lnTo>
                        <a:pt x="1700885" y="121920"/>
                      </a:lnTo>
                      <a:lnTo>
                        <a:pt x="1703171" y="120650"/>
                      </a:lnTo>
                      <a:lnTo>
                        <a:pt x="1705457" y="119380"/>
                      </a:lnTo>
                      <a:lnTo>
                        <a:pt x="1709064" y="116840"/>
                      </a:lnTo>
                      <a:lnTo>
                        <a:pt x="1710880" y="115570"/>
                      </a:lnTo>
                      <a:lnTo>
                        <a:pt x="1720405" y="116840"/>
                      </a:lnTo>
                      <a:lnTo>
                        <a:pt x="1724063" y="118110"/>
                      </a:lnTo>
                      <a:lnTo>
                        <a:pt x="1749767" y="118110"/>
                      </a:lnTo>
                      <a:lnTo>
                        <a:pt x="1754517" y="116840"/>
                      </a:lnTo>
                      <a:lnTo>
                        <a:pt x="1756168" y="115570"/>
                      </a:lnTo>
                      <a:lnTo>
                        <a:pt x="1763191" y="110490"/>
                      </a:lnTo>
                      <a:lnTo>
                        <a:pt x="1764614" y="109220"/>
                      </a:lnTo>
                      <a:lnTo>
                        <a:pt x="1763547" y="107950"/>
                      </a:lnTo>
                      <a:lnTo>
                        <a:pt x="1762480" y="106680"/>
                      </a:lnTo>
                      <a:lnTo>
                        <a:pt x="1751304" y="106680"/>
                      </a:lnTo>
                      <a:lnTo>
                        <a:pt x="1749399" y="105410"/>
                      </a:lnTo>
                      <a:lnTo>
                        <a:pt x="1745348" y="104140"/>
                      </a:lnTo>
                      <a:lnTo>
                        <a:pt x="1744256" y="105410"/>
                      </a:lnTo>
                      <a:lnTo>
                        <a:pt x="1738477" y="106680"/>
                      </a:lnTo>
                      <a:lnTo>
                        <a:pt x="1735366" y="107950"/>
                      </a:lnTo>
                      <a:lnTo>
                        <a:pt x="1728355" y="107950"/>
                      </a:lnTo>
                      <a:lnTo>
                        <a:pt x="1725637" y="106680"/>
                      </a:lnTo>
                      <a:lnTo>
                        <a:pt x="1719643" y="106680"/>
                      </a:lnTo>
                      <a:lnTo>
                        <a:pt x="1716849" y="105410"/>
                      </a:lnTo>
                      <a:lnTo>
                        <a:pt x="1716011" y="105410"/>
                      </a:lnTo>
                      <a:lnTo>
                        <a:pt x="1712912" y="104140"/>
                      </a:lnTo>
                      <a:lnTo>
                        <a:pt x="1708365" y="102870"/>
                      </a:lnTo>
                      <a:lnTo>
                        <a:pt x="1705432" y="105410"/>
                      </a:lnTo>
                      <a:lnTo>
                        <a:pt x="1705203" y="106680"/>
                      </a:lnTo>
                      <a:lnTo>
                        <a:pt x="1701088" y="106680"/>
                      </a:lnTo>
                      <a:lnTo>
                        <a:pt x="1699590" y="107950"/>
                      </a:lnTo>
                      <a:lnTo>
                        <a:pt x="1697774" y="107950"/>
                      </a:lnTo>
                      <a:lnTo>
                        <a:pt x="1694700" y="106680"/>
                      </a:lnTo>
                      <a:lnTo>
                        <a:pt x="1692846" y="107950"/>
                      </a:lnTo>
                      <a:lnTo>
                        <a:pt x="1691246" y="106680"/>
                      </a:lnTo>
                      <a:lnTo>
                        <a:pt x="1695234" y="105410"/>
                      </a:lnTo>
                      <a:lnTo>
                        <a:pt x="1698777" y="106680"/>
                      </a:lnTo>
                      <a:lnTo>
                        <a:pt x="1701292" y="105410"/>
                      </a:lnTo>
                      <a:lnTo>
                        <a:pt x="1706321" y="102870"/>
                      </a:lnTo>
                      <a:lnTo>
                        <a:pt x="1708365" y="102870"/>
                      </a:lnTo>
                      <a:lnTo>
                        <a:pt x="1710486" y="102870"/>
                      </a:lnTo>
                      <a:lnTo>
                        <a:pt x="1718970" y="104140"/>
                      </a:lnTo>
                      <a:lnTo>
                        <a:pt x="1725117" y="105410"/>
                      </a:lnTo>
                      <a:lnTo>
                        <a:pt x="1730832" y="104140"/>
                      </a:lnTo>
                      <a:lnTo>
                        <a:pt x="1733067" y="102870"/>
                      </a:lnTo>
                      <a:lnTo>
                        <a:pt x="1735429" y="101600"/>
                      </a:lnTo>
                      <a:lnTo>
                        <a:pt x="1736991" y="99060"/>
                      </a:lnTo>
                      <a:lnTo>
                        <a:pt x="1739646" y="99060"/>
                      </a:lnTo>
                      <a:lnTo>
                        <a:pt x="1740573" y="100330"/>
                      </a:lnTo>
                      <a:lnTo>
                        <a:pt x="1743837" y="101600"/>
                      </a:lnTo>
                      <a:lnTo>
                        <a:pt x="1746923" y="100330"/>
                      </a:lnTo>
                      <a:lnTo>
                        <a:pt x="1752015" y="101600"/>
                      </a:lnTo>
                      <a:lnTo>
                        <a:pt x="1755419" y="102870"/>
                      </a:lnTo>
                      <a:lnTo>
                        <a:pt x="1762988" y="100330"/>
                      </a:lnTo>
                      <a:lnTo>
                        <a:pt x="1767611" y="99060"/>
                      </a:lnTo>
                      <a:lnTo>
                        <a:pt x="1774507" y="97790"/>
                      </a:lnTo>
                      <a:lnTo>
                        <a:pt x="1787169" y="96520"/>
                      </a:lnTo>
                      <a:lnTo>
                        <a:pt x="1786394" y="93980"/>
                      </a:lnTo>
                      <a:lnTo>
                        <a:pt x="1785302" y="93980"/>
                      </a:lnTo>
                      <a:lnTo>
                        <a:pt x="1784819" y="92710"/>
                      </a:lnTo>
                      <a:lnTo>
                        <a:pt x="1814398" y="77470"/>
                      </a:lnTo>
                      <a:lnTo>
                        <a:pt x="1824266" y="7239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04" name="object 44">
                  <a:extLst>
                    <a:ext uri="{FF2B5EF4-FFF2-40B4-BE49-F238E27FC236}">
                      <a16:creationId xmlns:a16="http://schemas.microsoft.com/office/drawing/2014/main" id="{0CAACDA3-4606-5BDF-824D-CAE0E0D4C52E}"/>
                    </a:ext>
                  </a:extLst>
                </p:cNvPr>
                <p:cNvSpPr/>
                <p:nvPr/>
              </p:nvSpPr>
              <p:spPr>
                <a:xfrm>
                  <a:off x="980630" y="1406778"/>
                  <a:ext cx="689610" cy="5645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89610" h="564514">
                      <a:moveTo>
                        <a:pt x="79527" y="84747"/>
                      </a:moveTo>
                      <a:lnTo>
                        <a:pt x="77508" y="82359"/>
                      </a:lnTo>
                      <a:lnTo>
                        <a:pt x="75031" y="82156"/>
                      </a:lnTo>
                      <a:lnTo>
                        <a:pt x="74841" y="83388"/>
                      </a:lnTo>
                      <a:lnTo>
                        <a:pt x="72478" y="84632"/>
                      </a:lnTo>
                      <a:lnTo>
                        <a:pt x="71628" y="84391"/>
                      </a:lnTo>
                      <a:lnTo>
                        <a:pt x="70650" y="85064"/>
                      </a:lnTo>
                      <a:lnTo>
                        <a:pt x="70586" y="85763"/>
                      </a:lnTo>
                      <a:lnTo>
                        <a:pt x="69049" y="86804"/>
                      </a:lnTo>
                      <a:lnTo>
                        <a:pt x="68021" y="86448"/>
                      </a:lnTo>
                      <a:lnTo>
                        <a:pt x="63792" y="87515"/>
                      </a:lnTo>
                      <a:lnTo>
                        <a:pt x="57619" y="92798"/>
                      </a:lnTo>
                      <a:lnTo>
                        <a:pt x="55473" y="93967"/>
                      </a:lnTo>
                      <a:lnTo>
                        <a:pt x="50952" y="97650"/>
                      </a:lnTo>
                      <a:lnTo>
                        <a:pt x="54140" y="97967"/>
                      </a:lnTo>
                      <a:lnTo>
                        <a:pt x="57327" y="98552"/>
                      </a:lnTo>
                      <a:lnTo>
                        <a:pt x="59804" y="98399"/>
                      </a:lnTo>
                      <a:lnTo>
                        <a:pt x="59118" y="99453"/>
                      </a:lnTo>
                      <a:lnTo>
                        <a:pt x="60617" y="99085"/>
                      </a:lnTo>
                      <a:lnTo>
                        <a:pt x="61328" y="100139"/>
                      </a:lnTo>
                      <a:lnTo>
                        <a:pt x="62712" y="100253"/>
                      </a:lnTo>
                      <a:lnTo>
                        <a:pt x="65582" y="100482"/>
                      </a:lnTo>
                      <a:lnTo>
                        <a:pt x="68618" y="97459"/>
                      </a:lnTo>
                      <a:lnTo>
                        <a:pt x="72834" y="93103"/>
                      </a:lnTo>
                      <a:lnTo>
                        <a:pt x="74815" y="90258"/>
                      </a:lnTo>
                      <a:lnTo>
                        <a:pt x="78727" y="85483"/>
                      </a:lnTo>
                      <a:lnTo>
                        <a:pt x="79527" y="84747"/>
                      </a:lnTo>
                      <a:close/>
                    </a:path>
                    <a:path w="689610" h="564514">
                      <a:moveTo>
                        <a:pt x="84594" y="42227"/>
                      </a:moveTo>
                      <a:lnTo>
                        <a:pt x="84366" y="42011"/>
                      </a:lnTo>
                      <a:lnTo>
                        <a:pt x="84378" y="42392"/>
                      </a:lnTo>
                      <a:lnTo>
                        <a:pt x="84378" y="42265"/>
                      </a:lnTo>
                      <a:lnTo>
                        <a:pt x="84594" y="42227"/>
                      </a:lnTo>
                      <a:close/>
                    </a:path>
                    <a:path w="689610" h="564514">
                      <a:moveTo>
                        <a:pt x="86639" y="44170"/>
                      </a:moveTo>
                      <a:lnTo>
                        <a:pt x="86423" y="44043"/>
                      </a:lnTo>
                      <a:lnTo>
                        <a:pt x="86639" y="44170"/>
                      </a:lnTo>
                      <a:close/>
                    </a:path>
                    <a:path w="689610" h="564514">
                      <a:moveTo>
                        <a:pt x="215988" y="116560"/>
                      </a:moveTo>
                      <a:lnTo>
                        <a:pt x="215607" y="116522"/>
                      </a:lnTo>
                      <a:lnTo>
                        <a:pt x="215773" y="116560"/>
                      </a:lnTo>
                      <a:lnTo>
                        <a:pt x="215988" y="116560"/>
                      </a:lnTo>
                      <a:close/>
                    </a:path>
                    <a:path w="689610" h="564514">
                      <a:moveTo>
                        <a:pt x="220345" y="154952"/>
                      </a:moveTo>
                      <a:lnTo>
                        <a:pt x="219075" y="153568"/>
                      </a:lnTo>
                      <a:lnTo>
                        <a:pt x="215671" y="152527"/>
                      </a:lnTo>
                      <a:lnTo>
                        <a:pt x="214109" y="154203"/>
                      </a:lnTo>
                      <a:lnTo>
                        <a:pt x="214426" y="154317"/>
                      </a:lnTo>
                      <a:lnTo>
                        <a:pt x="214795" y="154482"/>
                      </a:lnTo>
                      <a:lnTo>
                        <a:pt x="215125" y="154533"/>
                      </a:lnTo>
                      <a:lnTo>
                        <a:pt x="215252" y="154546"/>
                      </a:lnTo>
                      <a:lnTo>
                        <a:pt x="216941" y="154901"/>
                      </a:lnTo>
                      <a:lnTo>
                        <a:pt x="218757" y="154825"/>
                      </a:lnTo>
                      <a:lnTo>
                        <a:pt x="220345" y="154952"/>
                      </a:lnTo>
                      <a:close/>
                    </a:path>
                    <a:path w="689610" h="564514">
                      <a:moveTo>
                        <a:pt x="252793" y="95605"/>
                      </a:moveTo>
                      <a:lnTo>
                        <a:pt x="244614" y="85445"/>
                      </a:lnTo>
                      <a:lnTo>
                        <a:pt x="239661" y="84302"/>
                      </a:lnTo>
                      <a:lnTo>
                        <a:pt x="235927" y="83286"/>
                      </a:lnTo>
                      <a:lnTo>
                        <a:pt x="232638" y="86461"/>
                      </a:lnTo>
                      <a:lnTo>
                        <a:pt x="231597" y="86461"/>
                      </a:lnTo>
                      <a:lnTo>
                        <a:pt x="230733" y="91160"/>
                      </a:lnTo>
                      <a:lnTo>
                        <a:pt x="232359" y="90398"/>
                      </a:lnTo>
                      <a:lnTo>
                        <a:pt x="234480" y="91795"/>
                      </a:lnTo>
                      <a:lnTo>
                        <a:pt x="231254" y="91541"/>
                      </a:lnTo>
                      <a:lnTo>
                        <a:pt x="231495" y="92684"/>
                      </a:lnTo>
                      <a:lnTo>
                        <a:pt x="231609" y="93954"/>
                      </a:lnTo>
                      <a:lnTo>
                        <a:pt x="231381" y="96113"/>
                      </a:lnTo>
                      <a:lnTo>
                        <a:pt x="230454" y="95859"/>
                      </a:lnTo>
                      <a:lnTo>
                        <a:pt x="230225" y="92684"/>
                      </a:lnTo>
                      <a:lnTo>
                        <a:pt x="229819" y="92430"/>
                      </a:lnTo>
                      <a:lnTo>
                        <a:pt x="228904" y="90779"/>
                      </a:lnTo>
                      <a:lnTo>
                        <a:pt x="229006" y="90144"/>
                      </a:lnTo>
                      <a:lnTo>
                        <a:pt x="229235" y="89509"/>
                      </a:lnTo>
                      <a:lnTo>
                        <a:pt x="228574" y="89001"/>
                      </a:lnTo>
                      <a:lnTo>
                        <a:pt x="228079" y="88620"/>
                      </a:lnTo>
                      <a:lnTo>
                        <a:pt x="226225" y="88493"/>
                      </a:lnTo>
                      <a:lnTo>
                        <a:pt x="224891" y="88366"/>
                      </a:lnTo>
                      <a:lnTo>
                        <a:pt x="223405" y="89001"/>
                      </a:lnTo>
                      <a:lnTo>
                        <a:pt x="220395" y="88366"/>
                      </a:lnTo>
                      <a:lnTo>
                        <a:pt x="220789" y="86334"/>
                      </a:lnTo>
                      <a:lnTo>
                        <a:pt x="218846" y="84683"/>
                      </a:lnTo>
                      <a:lnTo>
                        <a:pt x="218694" y="84556"/>
                      </a:lnTo>
                      <a:lnTo>
                        <a:pt x="218249" y="84175"/>
                      </a:lnTo>
                      <a:lnTo>
                        <a:pt x="216954" y="83794"/>
                      </a:lnTo>
                      <a:lnTo>
                        <a:pt x="214909" y="83921"/>
                      </a:lnTo>
                      <a:lnTo>
                        <a:pt x="213626" y="84556"/>
                      </a:lnTo>
                      <a:lnTo>
                        <a:pt x="212077" y="84048"/>
                      </a:lnTo>
                      <a:lnTo>
                        <a:pt x="212674" y="82778"/>
                      </a:lnTo>
                      <a:lnTo>
                        <a:pt x="212801" y="82397"/>
                      </a:lnTo>
                      <a:lnTo>
                        <a:pt x="213334" y="80365"/>
                      </a:lnTo>
                      <a:lnTo>
                        <a:pt x="213436" y="80111"/>
                      </a:lnTo>
                      <a:lnTo>
                        <a:pt x="214541" y="77825"/>
                      </a:lnTo>
                      <a:lnTo>
                        <a:pt x="213499" y="77190"/>
                      </a:lnTo>
                      <a:lnTo>
                        <a:pt x="212864" y="76809"/>
                      </a:lnTo>
                      <a:lnTo>
                        <a:pt x="212547" y="75793"/>
                      </a:lnTo>
                      <a:lnTo>
                        <a:pt x="211378" y="74523"/>
                      </a:lnTo>
                      <a:lnTo>
                        <a:pt x="211023" y="74142"/>
                      </a:lnTo>
                      <a:lnTo>
                        <a:pt x="209321" y="74523"/>
                      </a:lnTo>
                      <a:lnTo>
                        <a:pt x="207314" y="72745"/>
                      </a:lnTo>
                      <a:lnTo>
                        <a:pt x="208572" y="69443"/>
                      </a:lnTo>
                      <a:lnTo>
                        <a:pt x="206197" y="68808"/>
                      </a:lnTo>
                      <a:lnTo>
                        <a:pt x="204889" y="67538"/>
                      </a:lnTo>
                      <a:lnTo>
                        <a:pt x="205524" y="66014"/>
                      </a:lnTo>
                      <a:lnTo>
                        <a:pt x="208356" y="66014"/>
                      </a:lnTo>
                      <a:lnTo>
                        <a:pt x="208978" y="63855"/>
                      </a:lnTo>
                      <a:lnTo>
                        <a:pt x="208368" y="63855"/>
                      </a:lnTo>
                      <a:lnTo>
                        <a:pt x="207772" y="63347"/>
                      </a:lnTo>
                      <a:lnTo>
                        <a:pt x="207479" y="63093"/>
                      </a:lnTo>
                      <a:lnTo>
                        <a:pt x="206921" y="63347"/>
                      </a:lnTo>
                      <a:lnTo>
                        <a:pt x="206298" y="62839"/>
                      </a:lnTo>
                      <a:lnTo>
                        <a:pt x="206336" y="62458"/>
                      </a:lnTo>
                      <a:lnTo>
                        <a:pt x="205689" y="61823"/>
                      </a:lnTo>
                      <a:lnTo>
                        <a:pt x="205206" y="60680"/>
                      </a:lnTo>
                      <a:lnTo>
                        <a:pt x="203631" y="60299"/>
                      </a:lnTo>
                      <a:lnTo>
                        <a:pt x="203809" y="61188"/>
                      </a:lnTo>
                      <a:lnTo>
                        <a:pt x="201714" y="61823"/>
                      </a:lnTo>
                      <a:lnTo>
                        <a:pt x="200240" y="61569"/>
                      </a:lnTo>
                      <a:lnTo>
                        <a:pt x="197332" y="61442"/>
                      </a:lnTo>
                      <a:lnTo>
                        <a:pt x="196354" y="62839"/>
                      </a:lnTo>
                      <a:lnTo>
                        <a:pt x="194741" y="64363"/>
                      </a:lnTo>
                      <a:lnTo>
                        <a:pt x="194157" y="64363"/>
                      </a:lnTo>
                      <a:lnTo>
                        <a:pt x="193255" y="65887"/>
                      </a:lnTo>
                      <a:lnTo>
                        <a:pt x="193167" y="66903"/>
                      </a:lnTo>
                      <a:lnTo>
                        <a:pt x="191897" y="67919"/>
                      </a:lnTo>
                      <a:lnTo>
                        <a:pt x="187706" y="70205"/>
                      </a:lnTo>
                      <a:lnTo>
                        <a:pt x="190487" y="70586"/>
                      </a:lnTo>
                      <a:lnTo>
                        <a:pt x="189725" y="71475"/>
                      </a:lnTo>
                      <a:lnTo>
                        <a:pt x="187667" y="71602"/>
                      </a:lnTo>
                      <a:lnTo>
                        <a:pt x="186563" y="71602"/>
                      </a:lnTo>
                      <a:lnTo>
                        <a:pt x="184835" y="72491"/>
                      </a:lnTo>
                      <a:lnTo>
                        <a:pt x="180581" y="73888"/>
                      </a:lnTo>
                      <a:lnTo>
                        <a:pt x="181444" y="77571"/>
                      </a:lnTo>
                      <a:lnTo>
                        <a:pt x="183108" y="77190"/>
                      </a:lnTo>
                      <a:lnTo>
                        <a:pt x="185572" y="78079"/>
                      </a:lnTo>
                      <a:lnTo>
                        <a:pt x="187083" y="79349"/>
                      </a:lnTo>
                      <a:lnTo>
                        <a:pt x="191376" y="81635"/>
                      </a:lnTo>
                      <a:lnTo>
                        <a:pt x="194183" y="82905"/>
                      </a:lnTo>
                      <a:lnTo>
                        <a:pt x="196735" y="84683"/>
                      </a:lnTo>
                      <a:lnTo>
                        <a:pt x="196062" y="84556"/>
                      </a:lnTo>
                      <a:lnTo>
                        <a:pt x="190588" y="87477"/>
                      </a:lnTo>
                      <a:lnTo>
                        <a:pt x="188810" y="87731"/>
                      </a:lnTo>
                      <a:lnTo>
                        <a:pt x="185204" y="89255"/>
                      </a:lnTo>
                      <a:lnTo>
                        <a:pt x="190817" y="90779"/>
                      </a:lnTo>
                      <a:lnTo>
                        <a:pt x="203758" y="95097"/>
                      </a:lnTo>
                      <a:lnTo>
                        <a:pt x="203428" y="95097"/>
                      </a:lnTo>
                      <a:lnTo>
                        <a:pt x="202641" y="101066"/>
                      </a:lnTo>
                      <a:lnTo>
                        <a:pt x="199466" y="100812"/>
                      </a:lnTo>
                      <a:lnTo>
                        <a:pt x="196837" y="100177"/>
                      </a:lnTo>
                      <a:lnTo>
                        <a:pt x="193421" y="99796"/>
                      </a:lnTo>
                      <a:lnTo>
                        <a:pt x="191135" y="99542"/>
                      </a:lnTo>
                      <a:lnTo>
                        <a:pt x="187998" y="99161"/>
                      </a:lnTo>
                      <a:lnTo>
                        <a:pt x="167500" y="99796"/>
                      </a:lnTo>
                      <a:lnTo>
                        <a:pt x="166966" y="97383"/>
                      </a:lnTo>
                      <a:lnTo>
                        <a:pt x="166700" y="95097"/>
                      </a:lnTo>
                      <a:lnTo>
                        <a:pt x="166674" y="94462"/>
                      </a:lnTo>
                      <a:lnTo>
                        <a:pt x="167246" y="92303"/>
                      </a:lnTo>
                      <a:lnTo>
                        <a:pt x="166230" y="91414"/>
                      </a:lnTo>
                      <a:lnTo>
                        <a:pt x="166090" y="91287"/>
                      </a:lnTo>
                      <a:lnTo>
                        <a:pt x="164642" y="90017"/>
                      </a:lnTo>
                      <a:lnTo>
                        <a:pt x="161798" y="90779"/>
                      </a:lnTo>
                      <a:lnTo>
                        <a:pt x="158826" y="91033"/>
                      </a:lnTo>
                      <a:lnTo>
                        <a:pt x="156870" y="91287"/>
                      </a:lnTo>
                      <a:lnTo>
                        <a:pt x="154952" y="91160"/>
                      </a:lnTo>
                      <a:lnTo>
                        <a:pt x="156197" y="90906"/>
                      </a:lnTo>
                      <a:lnTo>
                        <a:pt x="155346" y="90144"/>
                      </a:lnTo>
                      <a:lnTo>
                        <a:pt x="157949" y="89128"/>
                      </a:lnTo>
                      <a:lnTo>
                        <a:pt x="159143" y="89128"/>
                      </a:lnTo>
                      <a:lnTo>
                        <a:pt x="160185" y="89001"/>
                      </a:lnTo>
                      <a:lnTo>
                        <a:pt x="159473" y="88493"/>
                      </a:lnTo>
                      <a:lnTo>
                        <a:pt x="154470" y="84937"/>
                      </a:lnTo>
                      <a:lnTo>
                        <a:pt x="150355" y="82016"/>
                      </a:lnTo>
                      <a:lnTo>
                        <a:pt x="150177" y="81889"/>
                      </a:lnTo>
                      <a:lnTo>
                        <a:pt x="148043" y="79603"/>
                      </a:lnTo>
                      <a:lnTo>
                        <a:pt x="147447" y="78968"/>
                      </a:lnTo>
                      <a:lnTo>
                        <a:pt x="145376" y="78333"/>
                      </a:lnTo>
                      <a:lnTo>
                        <a:pt x="143713" y="77825"/>
                      </a:lnTo>
                      <a:lnTo>
                        <a:pt x="143243" y="78333"/>
                      </a:lnTo>
                      <a:lnTo>
                        <a:pt x="140893" y="78333"/>
                      </a:lnTo>
                      <a:lnTo>
                        <a:pt x="139941" y="77825"/>
                      </a:lnTo>
                      <a:lnTo>
                        <a:pt x="134632" y="79095"/>
                      </a:lnTo>
                      <a:lnTo>
                        <a:pt x="132067" y="79603"/>
                      </a:lnTo>
                      <a:lnTo>
                        <a:pt x="127787" y="79603"/>
                      </a:lnTo>
                      <a:lnTo>
                        <a:pt x="128295" y="79349"/>
                      </a:lnTo>
                      <a:lnTo>
                        <a:pt x="128803" y="79095"/>
                      </a:lnTo>
                      <a:lnTo>
                        <a:pt x="129806" y="78587"/>
                      </a:lnTo>
                      <a:lnTo>
                        <a:pt x="129527" y="78206"/>
                      </a:lnTo>
                      <a:lnTo>
                        <a:pt x="128346" y="77444"/>
                      </a:lnTo>
                      <a:lnTo>
                        <a:pt x="127635" y="76809"/>
                      </a:lnTo>
                      <a:lnTo>
                        <a:pt x="134594" y="75793"/>
                      </a:lnTo>
                      <a:lnTo>
                        <a:pt x="134772" y="75158"/>
                      </a:lnTo>
                      <a:lnTo>
                        <a:pt x="135470" y="72618"/>
                      </a:lnTo>
                      <a:lnTo>
                        <a:pt x="135750" y="71602"/>
                      </a:lnTo>
                      <a:lnTo>
                        <a:pt x="133159" y="72618"/>
                      </a:lnTo>
                      <a:lnTo>
                        <a:pt x="134404" y="72110"/>
                      </a:lnTo>
                      <a:lnTo>
                        <a:pt x="133769" y="71856"/>
                      </a:lnTo>
                      <a:lnTo>
                        <a:pt x="133451" y="71729"/>
                      </a:lnTo>
                      <a:lnTo>
                        <a:pt x="133540" y="71602"/>
                      </a:lnTo>
                      <a:lnTo>
                        <a:pt x="134518" y="70078"/>
                      </a:lnTo>
                      <a:lnTo>
                        <a:pt x="137883" y="67284"/>
                      </a:lnTo>
                      <a:lnTo>
                        <a:pt x="138950" y="66395"/>
                      </a:lnTo>
                      <a:lnTo>
                        <a:pt x="140436" y="65760"/>
                      </a:lnTo>
                      <a:lnTo>
                        <a:pt x="146951" y="65887"/>
                      </a:lnTo>
                      <a:lnTo>
                        <a:pt x="148450" y="65760"/>
                      </a:lnTo>
                      <a:lnTo>
                        <a:pt x="149948" y="65633"/>
                      </a:lnTo>
                      <a:lnTo>
                        <a:pt x="155181" y="62712"/>
                      </a:lnTo>
                      <a:lnTo>
                        <a:pt x="154914" y="61569"/>
                      </a:lnTo>
                      <a:lnTo>
                        <a:pt x="156629" y="60426"/>
                      </a:lnTo>
                      <a:lnTo>
                        <a:pt x="158521" y="59156"/>
                      </a:lnTo>
                      <a:lnTo>
                        <a:pt x="161823" y="56616"/>
                      </a:lnTo>
                      <a:lnTo>
                        <a:pt x="162102" y="56362"/>
                      </a:lnTo>
                      <a:lnTo>
                        <a:pt x="163372" y="55219"/>
                      </a:lnTo>
                      <a:lnTo>
                        <a:pt x="163944" y="54711"/>
                      </a:lnTo>
                      <a:lnTo>
                        <a:pt x="164503" y="54203"/>
                      </a:lnTo>
                      <a:lnTo>
                        <a:pt x="165214" y="53568"/>
                      </a:lnTo>
                      <a:lnTo>
                        <a:pt x="165912" y="52933"/>
                      </a:lnTo>
                      <a:lnTo>
                        <a:pt x="165150" y="52298"/>
                      </a:lnTo>
                      <a:lnTo>
                        <a:pt x="162420" y="53314"/>
                      </a:lnTo>
                      <a:lnTo>
                        <a:pt x="162039" y="53568"/>
                      </a:lnTo>
                      <a:lnTo>
                        <a:pt x="162191" y="53441"/>
                      </a:lnTo>
                      <a:lnTo>
                        <a:pt x="162661" y="53060"/>
                      </a:lnTo>
                      <a:lnTo>
                        <a:pt x="163601" y="52298"/>
                      </a:lnTo>
                      <a:lnTo>
                        <a:pt x="165379" y="51409"/>
                      </a:lnTo>
                      <a:lnTo>
                        <a:pt x="168325" y="48742"/>
                      </a:lnTo>
                      <a:lnTo>
                        <a:pt x="170434" y="46202"/>
                      </a:lnTo>
                      <a:lnTo>
                        <a:pt x="170637" y="45948"/>
                      </a:lnTo>
                      <a:lnTo>
                        <a:pt x="173418" y="45186"/>
                      </a:lnTo>
                      <a:lnTo>
                        <a:pt x="177406" y="45440"/>
                      </a:lnTo>
                      <a:lnTo>
                        <a:pt x="177406" y="45948"/>
                      </a:lnTo>
                      <a:lnTo>
                        <a:pt x="182130" y="46710"/>
                      </a:lnTo>
                      <a:lnTo>
                        <a:pt x="184404" y="45186"/>
                      </a:lnTo>
                      <a:lnTo>
                        <a:pt x="185166" y="44678"/>
                      </a:lnTo>
                      <a:lnTo>
                        <a:pt x="185483" y="44424"/>
                      </a:lnTo>
                      <a:lnTo>
                        <a:pt x="185813" y="44170"/>
                      </a:lnTo>
                      <a:lnTo>
                        <a:pt x="186131" y="43916"/>
                      </a:lnTo>
                      <a:lnTo>
                        <a:pt x="186778" y="43408"/>
                      </a:lnTo>
                      <a:lnTo>
                        <a:pt x="188709" y="41884"/>
                      </a:lnTo>
                      <a:lnTo>
                        <a:pt x="187210" y="41630"/>
                      </a:lnTo>
                      <a:lnTo>
                        <a:pt x="185178" y="43408"/>
                      </a:lnTo>
                      <a:lnTo>
                        <a:pt x="183451" y="43408"/>
                      </a:lnTo>
                      <a:lnTo>
                        <a:pt x="182587" y="42773"/>
                      </a:lnTo>
                      <a:lnTo>
                        <a:pt x="180848" y="43154"/>
                      </a:lnTo>
                      <a:lnTo>
                        <a:pt x="179273" y="43916"/>
                      </a:lnTo>
                      <a:lnTo>
                        <a:pt x="180111" y="43408"/>
                      </a:lnTo>
                      <a:lnTo>
                        <a:pt x="181076" y="43027"/>
                      </a:lnTo>
                      <a:lnTo>
                        <a:pt x="181737" y="42265"/>
                      </a:lnTo>
                      <a:lnTo>
                        <a:pt x="180022" y="42176"/>
                      </a:lnTo>
                      <a:lnTo>
                        <a:pt x="180441" y="42011"/>
                      </a:lnTo>
                      <a:lnTo>
                        <a:pt x="184010" y="40614"/>
                      </a:lnTo>
                      <a:lnTo>
                        <a:pt x="187820" y="40741"/>
                      </a:lnTo>
                      <a:lnTo>
                        <a:pt x="188188" y="40614"/>
                      </a:lnTo>
                      <a:lnTo>
                        <a:pt x="189992" y="39979"/>
                      </a:lnTo>
                      <a:lnTo>
                        <a:pt x="191071" y="39598"/>
                      </a:lnTo>
                      <a:lnTo>
                        <a:pt x="190538" y="39217"/>
                      </a:lnTo>
                      <a:lnTo>
                        <a:pt x="189458" y="38455"/>
                      </a:lnTo>
                      <a:lnTo>
                        <a:pt x="187147" y="39217"/>
                      </a:lnTo>
                      <a:lnTo>
                        <a:pt x="185039" y="39217"/>
                      </a:lnTo>
                      <a:lnTo>
                        <a:pt x="184975" y="38455"/>
                      </a:lnTo>
                      <a:lnTo>
                        <a:pt x="185026" y="37820"/>
                      </a:lnTo>
                      <a:lnTo>
                        <a:pt x="188379" y="38074"/>
                      </a:lnTo>
                      <a:lnTo>
                        <a:pt x="190093" y="38074"/>
                      </a:lnTo>
                      <a:lnTo>
                        <a:pt x="188569" y="37947"/>
                      </a:lnTo>
                      <a:lnTo>
                        <a:pt x="188341" y="37820"/>
                      </a:lnTo>
                      <a:lnTo>
                        <a:pt x="187223" y="37185"/>
                      </a:lnTo>
                      <a:lnTo>
                        <a:pt x="185623" y="37058"/>
                      </a:lnTo>
                      <a:lnTo>
                        <a:pt x="185699" y="36931"/>
                      </a:lnTo>
                      <a:lnTo>
                        <a:pt x="185788" y="36169"/>
                      </a:lnTo>
                      <a:lnTo>
                        <a:pt x="187566" y="36296"/>
                      </a:lnTo>
                      <a:lnTo>
                        <a:pt x="189191" y="36550"/>
                      </a:lnTo>
                      <a:lnTo>
                        <a:pt x="192392" y="37439"/>
                      </a:lnTo>
                      <a:lnTo>
                        <a:pt x="193852" y="37566"/>
                      </a:lnTo>
                      <a:lnTo>
                        <a:pt x="197662" y="38582"/>
                      </a:lnTo>
                      <a:lnTo>
                        <a:pt x="195999" y="39217"/>
                      </a:lnTo>
                      <a:lnTo>
                        <a:pt x="197040" y="41376"/>
                      </a:lnTo>
                      <a:lnTo>
                        <a:pt x="200596" y="38201"/>
                      </a:lnTo>
                      <a:lnTo>
                        <a:pt x="201942" y="36804"/>
                      </a:lnTo>
                      <a:lnTo>
                        <a:pt x="202184" y="36550"/>
                      </a:lnTo>
                      <a:lnTo>
                        <a:pt x="200634" y="36804"/>
                      </a:lnTo>
                      <a:lnTo>
                        <a:pt x="199694" y="36169"/>
                      </a:lnTo>
                      <a:lnTo>
                        <a:pt x="198374" y="35280"/>
                      </a:lnTo>
                      <a:lnTo>
                        <a:pt x="195516" y="35026"/>
                      </a:lnTo>
                      <a:lnTo>
                        <a:pt x="194564" y="35280"/>
                      </a:lnTo>
                      <a:lnTo>
                        <a:pt x="192125" y="34391"/>
                      </a:lnTo>
                      <a:lnTo>
                        <a:pt x="191401" y="33883"/>
                      </a:lnTo>
                      <a:lnTo>
                        <a:pt x="189903" y="33756"/>
                      </a:lnTo>
                      <a:lnTo>
                        <a:pt x="185394" y="33375"/>
                      </a:lnTo>
                      <a:lnTo>
                        <a:pt x="184531" y="30708"/>
                      </a:lnTo>
                      <a:lnTo>
                        <a:pt x="179273" y="33591"/>
                      </a:lnTo>
                      <a:lnTo>
                        <a:pt x="179273" y="42138"/>
                      </a:lnTo>
                      <a:lnTo>
                        <a:pt x="179146" y="42519"/>
                      </a:lnTo>
                      <a:lnTo>
                        <a:pt x="178523" y="44170"/>
                      </a:lnTo>
                      <a:lnTo>
                        <a:pt x="176060" y="42392"/>
                      </a:lnTo>
                      <a:lnTo>
                        <a:pt x="175882" y="42265"/>
                      </a:lnTo>
                      <a:lnTo>
                        <a:pt x="176009" y="42265"/>
                      </a:lnTo>
                      <a:lnTo>
                        <a:pt x="177711" y="42011"/>
                      </a:lnTo>
                      <a:lnTo>
                        <a:pt x="179133" y="42519"/>
                      </a:lnTo>
                      <a:lnTo>
                        <a:pt x="179273" y="42138"/>
                      </a:lnTo>
                      <a:lnTo>
                        <a:pt x="179273" y="33591"/>
                      </a:lnTo>
                      <a:lnTo>
                        <a:pt x="178955" y="33756"/>
                      </a:lnTo>
                      <a:lnTo>
                        <a:pt x="176187" y="32613"/>
                      </a:lnTo>
                      <a:lnTo>
                        <a:pt x="174396" y="31089"/>
                      </a:lnTo>
                      <a:lnTo>
                        <a:pt x="174447" y="29311"/>
                      </a:lnTo>
                      <a:lnTo>
                        <a:pt x="175145" y="29692"/>
                      </a:lnTo>
                      <a:lnTo>
                        <a:pt x="177368" y="29311"/>
                      </a:lnTo>
                      <a:lnTo>
                        <a:pt x="178854" y="29057"/>
                      </a:lnTo>
                      <a:lnTo>
                        <a:pt x="181711" y="28803"/>
                      </a:lnTo>
                      <a:lnTo>
                        <a:pt x="186347" y="28041"/>
                      </a:lnTo>
                      <a:lnTo>
                        <a:pt x="193192" y="24739"/>
                      </a:lnTo>
                      <a:lnTo>
                        <a:pt x="191020" y="22072"/>
                      </a:lnTo>
                      <a:lnTo>
                        <a:pt x="187553" y="22326"/>
                      </a:lnTo>
                      <a:lnTo>
                        <a:pt x="186563" y="22326"/>
                      </a:lnTo>
                      <a:lnTo>
                        <a:pt x="165366" y="25184"/>
                      </a:lnTo>
                      <a:lnTo>
                        <a:pt x="165366" y="44424"/>
                      </a:lnTo>
                      <a:lnTo>
                        <a:pt x="163576" y="45694"/>
                      </a:lnTo>
                      <a:lnTo>
                        <a:pt x="162661" y="46202"/>
                      </a:lnTo>
                      <a:lnTo>
                        <a:pt x="162763" y="45694"/>
                      </a:lnTo>
                      <a:lnTo>
                        <a:pt x="163029" y="45059"/>
                      </a:lnTo>
                      <a:lnTo>
                        <a:pt x="163080" y="44932"/>
                      </a:lnTo>
                      <a:lnTo>
                        <a:pt x="165366" y="44424"/>
                      </a:lnTo>
                      <a:lnTo>
                        <a:pt x="165366" y="25184"/>
                      </a:lnTo>
                      <a:lnTo>
                        <a:pt x="140360" y="28549"/>
                      </a:lnTo>
                      <a:lnTo>
                        <a:pt x="139382" y="29819"/>
                      </a:lnTo>
                      <a:lnTo>
                        <a:pt x="138988" y="32740"/>
                      </a:lnTo>
                      <a:lnTo>
                        <a:pt x="140360" y="33375"/>
                      </a:lnTo>
                      <a:lnTo>
                        <a:pt x="140716" y="34772"/>
                      </a:lnTo>
                      <a:lnTo>
                        <a:pt x="140817" y="35280"/>
                      </a:lnTo>
                      <a:lnTo>
                        <a:pt x="140360" y="35661"/>
                      </a:lnTo>
                      <a:lnTo>
                        <a:pt x="140436" y="36296"/>
                      </a:lnTo>
                      <a:lnTo>
                        <a:pt x="141287" y="36169"/>
                      </a:lnTo>
                      <a:lnTo>
                        <a:pt x="141262" y="37566"/>
                      </a:lnTo>
                      <a:lnTo>
                        <a:pt x="140525" y="37947"/>
                      </a:lnTo>
                      <a:lnTo>
                        <a:pt x="140957" y="40995"/>
                      </a:lnTo>
                      <a:lnTo>
                        <a:pt x="142494" y="39979"/>
                      </a:lnTo>
                      <a:lnTo>
                        <a:pt x="144640" y="41249"/>
                      </a:lnTo>
                      <a:lnTo>
                        <a:pt x="144614" y="41884"/>
                      </a:lnTo>
                      <a:lnTo>
                        <a:pt x="146558" y="42646"/>
                      </a:lnTo>
                      <a:lnTo>
                        <a:pt x="146888" y="42392"/>
                      </a:lnTo>
                      <a:lnTo>
                        <a:pt x="150025" y="42519"/>
                      </a:lnTo>
                      <a:lnTo>
                        <a:pt x="149161" y="43281"/>
                      </a:lnTo>
                      <a:lnTo>
                        <a:pt x="152082" y="45567"/>
                      </a:lnTo>
                      <a:lnTo>
                        <a:pt x="155676" y="46583"/>
                      </a:lnTo>
                      <a:lnTo>
                        <a:pt x="162534" y="45059"/>
                      </a:lnTo>
                      <a:lnTo>
                        <a:pt x="162318" y="45567"/>
                      </a:lnTo>
                      <a:lnTo>
                        <a:pt x="161455" y="46456"/>
                      </a:lnTo>
                      <a:lnTo>
                        <a:pt x="159943" y="46456"/>
                      </a:lnTo>
                      <a:lnTo>
                        <a:pt x="158394" y="47599"/>
                      </a:lnTo>
                      <a:lnTo>
                        <a:pt x="157746" y="48488"/>
                      </a:lnTo>
                      <a:lnTo>
                        <a:pt x="155244" y="50266"/>
                      </a:lnTo>
                      <a:lnTo>
                        <a:pt x="153466" y="52044"/>
                      </a:lnTo>
                      <a:lnTo>
                        <a:pt x="150342" y="53060"/>
                      </a:lnTo>
                      <a:lnTo>
                        <a:pt x="148971" y="52806"/>
                      </a:lnTo>
                      <a:lnTo>
                        <a:pt x="147116" y="53060"/>
                      </a:lnTo>
                      <a:lnTo>
                        <a:pt x="146532" y="53441"/>
                      </a:lnTo>
                      <a:lnTo>
                        <a:pt x="145135" y="53441"/>
                      </a:lnTo>
                      <a:lnTo>
                        <a:pt x="145199" y="52679"/>
                      </a:lnTo>
                      <a:lnTo>
                        <a:pt x="143764" y="52933"/>
                      </a:lnTo>
                      <a:lnTo>
                        <a:pt x="143649" y="53949"/>
                      </a:lnTo>
                      <a:lnTo>
                        <a:pt x="142722" y="54203"/>
                      </a:lnTo>
                      <a:lnTo>
                        <a:pt x="142341" y="53568"/>
                      </a:lnTo>
                      <a:lnTo>
                        <a:pt x="140906" y="53822"/>
                      </a:lnTo>
                      <a:lnTo>
                        <a:pt x="140271" y="54711"/>
                      </a:lnTo>
                      <a:lnTo>
                        <a:pt x="138620" y="54330"/>
                      </a:lnTo>
                      <a:lnTo>
                        <a:pt x="138518" y="54076"/>
                      </a:lnTo>
                      <a:lnTo>
                        <a:pt x="138353" y="53695"/>
                      </a:lnTo>
                      <a:lnTo>
                        <a:pt x="137490" y="53568"/>
                      </a:lnTo>
                      <a:lnTo>
                        <a:pt x="136906" y="54076"/>
                      </a:lnTo>
                      <a:lnTo>
                        <a:pt x="136448" y="53949"/>
                      </a:lnTo>
                      <a:lnTo>
                        <a:pt x="133934" y="52171"/>
                      </a:lnTo>
                      <a:lnTo>
                        <a:pt x="132956" y="51028"/>
                      </a:lnTo>
                      <a:lnTo>
                        <a:pt x="132562" y="50520"/>
                      </a:lnTo>
                      <a:lnTo>
                        <a:pt x="131978" y="51028"/>
                      </a:lnTo>
                      <a:lnTo>
                        <a:pt x="131000" y="50266"/>
                      </a:lnTo>
                      <a:lnTo>
                        <a:pt x="130695" y="49631"/>
                      </a:lnTo>
                      <a:lnTo>
                        <a:pt x="129984" y="48996"/>
                      </a:lnTo>
                      <a:lnTo>
                        <a:pt x="129349" y="48615"/>
                      </a:lnTo>
                      <a:lnTo>
                        <a:pt x="129032" y="48488"/>
                      </a:lnTo>
                      <a:lnTo>
                        <a:pt x="128714" y="48361"/>
                      </a:lnTo>
                      <a:lnTo>
                        <a:pt x="127711" y="48107"/>
                      </a:lnTo>
                      <a:lnTo>
                        <a:pt x="126644" y="47472"/>
                      </a:lnTo>
                      <a:lnTo>
                        <a:pt x="126580" y="46710"/>
                      </a:lnTo>
                      <a:lnTo>
                        <a:pt x="126441" y="45186"/>
                      </a:lnTo>
                      <a:lnTo>
                        <a:pt x="124548" y="44932"/>
                      </a:lnTo>
                      <a:lnTo>
                        <a:pt x="123088" y="46075"/>
                      </a:lnTo>
                      <a:lnTo>
                        <a:pt x="119443" y="46710"/>
                      </a:lnTo>
                      <a:lnTo>
                        <a:pt x="118656" y="44805"/>
                      </a:lnTo>
                      <a:lnTo>
                        <a:pt x="115290" y="43662"/>
                      </a:lnTo>
                      <a:lnTo>
                        <a:pt x="114922" y="43535"/>
                      </a:lnTo>
                      <a:lnTo>
                        <a:pt x="113690" y="43662"/>
                      </a:lnTo>
                      <a:lnTo>
                        <a:pt x="113411" y="43408"/>
                      </a:lnTo>
                      <a:lnTo>
                        <a:pt x="112039" y="42138"/>
                      </a:lnTo>
                      <a:lnTo>
                        <a:pt x="111493" y="41630"/>
                      </a:lnTo>
                      <a:lnTo>
                        <a:pt x="111607" y="41122"/>
                      </a:lnTo>
                      <a:lnTo>
                        <a:pt x="109220" y="40360"/>
                      </a:lnTo>
                      <a:lnTo>
                        <a:pt x="108813" y="40233"/>
                      </a:lnTo>
                      <a:lnTo>
                        <a:pt x="107276" y="40360"/>
                      </a:lnTo>
                      <a:lnTo>
                        <a:pt x="104965" y="39217"/>
                      </a:lnTo>
                      <a:lnTo>
                        <a:pt x="103822" y="38201"/>
                      </a:lnTo>
                      <a:lnTo>
                        <a:pt x="101561" y="36931"/>
                      </a:lnTo>
                      <a:lnTo>
                        <a:pt x="99656" y="36931"/>
                      </a:lnTo>
                      <a:lnTo>
                        <a:pt x="100190" y="39471"/>
                      </a:lnTo>
                      <a:lnTo>
                        <a:pt x="102768" y="40106"/>
                      </a:lnTo>
                      <a:lnTo>
                        <a:pt x="103378" y="40614"/>
                      </a:lnTo>
                      <a:lnTo>
                        <a:pt x="103352" y="40868"/>
                      </a:lnTo>
                      <a:lnTo>
                        <a:pt x="104025" y="42519"/>
                      </a:lnTo>
                      <a:lnTo>
                        <a:pt x="104000" y="42138"/>
                      </a:lnTo>
                      <a:lnTo>
                        <a:pt x="104089" y="42392"/>
                      </a:lnTo>
                      <a:lnTo>
                        <a:pt x="104724" y="43408"/>
                      </a:lnTo>
                      <a:lnTo>
                        <a:pt x="105651" y="43916"/>
                      </a:lnTo>
                      <a:lnTo>
                        <a:pt x="107632" y="43789"/>
                      </a:lnTo>
                      <a:lnTo>
                        <a:pt x="109347" y="43789"/>
                      </a:lnTo>
                      <a:lnTo>
                        <a:pt x="109931" y="43408"/>
                      </a:lnTo>
                      <a:lnTo>
                        <a:pt x="111975" y="43662"/>
                      </a:lnTo>
                      <a:lnTo>
                        <a:pt x="110896" y="44043"/>
                      </a:lnTo>
                      <a:lnTo>
                        <a:pt x="110972" y="45694"/>
                      </a:lnTo>
                      <a:lnTo>
                        <a:pt x="110007" y="46837"/>
                      </a:lnTo>
                      <a:lnTo>
                        <a:pt x="111709" y="47345"/>
                      </a:lnTo>
                      <a:lnTo>
                        <a:pt x="109093" y="50139"/>
                      </a:lnTo>
                      <a:lnTo>
                        <a:pt x="111836" y="48488"/>
                      </a:lnTo>
                      <a:lnTo>
                        <a:pt x="115049" y="50901"/>
                      </a:lnTo>
                      <a:lnTo>
                        <a:pt x="113830" y="51155"/>
                      </a:lnTo>
                      <a:lnTo>
                        <a:pt x="115735" y="53187"/>
                      </a:lnTo>
                      <a:lnTo>
                        <a:pt x="117068" y="53314"/>
                      </a:lnTo>
                      <a:lnTo>
                        <a:pt x="118097" y="54203"/>
                      </a:lnTo>
                      <a:lnTo>
                        <a:pt x="118351" y="55092"/>
                      </a:lnTo>
                      <a:lnTo>
                        <a:pt x="119811" y="56134"/>
                      </a:lnTo>
                      <a:lnTo>
                        <a:pt x="119849" y="57378"/>
                      </a:lnTo>
                      <a:lnTo>
                        <a:pt x="120802" y="57505"/>
                      </a:lnTo>
                      <a:lnTo>
                        <a:pt x="119164" y="57759"/>
                      </a:lnTo>
                      <a:lnTo>
                        <a:pt x="119291" y="57886"/>
                      </a:lnTo>
                      <a:lnTo>
                        <a:pt x="119456" y="57886"/>
                      </a:lnTo>
                      <a:lnTo>
                        <a:pt x="119481" y="58267"/>
                      </a:lnTo>
                      <a:lnTo>
                        <a:pt x="118656" y="59156"/>
                      </a:lnTo>
                      <a:lnTo>
                        <a:pt x="114566" y="60426"/>
                      </a:lnTo>
                      <a:lnTo>
                        <a:pt x="111887" y="59410"/>
                      </a:lnTo>
                      <a:lnTo>
                        <a:pt x="110629" y="59029"/>
                      </a:lnTo>
                      <a:lnTo>
                        <a:pt x="108038" y="59537"/>
                      </a:lnTo>
                      <a:lnTo>
                        <a:pt x="105943" y="59918"/>
                      </a:lnTo>
                      <a:lnTo>
                        <a:pt x="107581" y="60934"/>
                      </a:lnTo>
                      <a:lnTo>
                        <a:pt x="106591" y="61696"/>
                      </a:lnTo>
                      <a:lnTo>
                        <a:pt x="106146" y="61823"/>
                      </a:lnTo>
                      <a:lnTo>
                        <a:pt x="105283" y="63220"/>
                      </a:lnTo>
                      <a:lnTo>
                        <a:pt x="104279" y="64363"/>
                      </a:lnTo>
                      <a:lnTo>
                        <a:pt x="104165" y="66141"/>
                      </a:lnTo>
                      <a:lnTo>
                        <a:pt x="105575" y="66522"/>
                      </a:lnTo>
                      <a:lnTo>
                        <a:pt x="103009" y="67284"/>
                      </a:lnTo>
                      <a:lnTo>
                        <a:pt x="102057" y="67030"/>
                      </a:lnTo>
                      <a:lnTo>
                        <a:pt x="101320" y="67157"/>
                      </a:lnTo>
                      <a:lnTo>
                        <a:pt x="100558" y="67665"/>
                      </a:lnTo>
                      <a:lnTo>
                        <a:pt x="100177" y="67792"/>
                      </a:lnTo>
                      <a:lnTo>
                        <a:pt x="101663" y="68808"/>
                      </a:lnTo>
                      <a:lnTo>
                        <a:pt x="103593" y="69062"/>
                      </a:lnTo>
                      <a:lnTo>
                        <a:pt x="100926" y="71602"/>
                      </a:lnTo>
                      <a:lnTo>
                        <a:pt x="98653" y="70586"/>
                      </a:lnTo>
                      <a:lnTo>
                        <a:pt x="96672" y="70205"/>
                      </a:lnTo>
                      <a:lnTo>
                        <a:pt x="95034" y="69824"/>
                      </a:lnTo>
                      <a:lnTo>
                        <a:pt x="102438" y="65125"/>
                      </a:lnTo>
                      <a:lnTo>
                        <a:pt x="100761" y="62458"/>
                      </a:lnTo>
                      <a:lnTo>
                        <a:pt x="100330" y="61950"/>
                      </a:lnTo>
                      <a:lnTo>
                        <a:pt x="101092" y="61823"/>
                      </a:lnTo>
                      <a:lnTo>
                        <a:pt x="100101" y="61442"/>
                      </a:lnTo>
                      <a:lnTo>
                        <a:pt x="99428" y="61061"/>
                      </a:lnTo>
                      <a:lnTo>
                        <a:pt x="98653" y="60934"/>
                      </a:lnTo>
                      <a:lnTo>
                        <a:pt x="96989" y="60045"/>
                      </a:lnTo>
                      <a:lnTo>
                        <a:pt x="96812" y="59791"/>
                      </a:lnTo>
                      <a:lnTo>
                        <a:pt x="95986" y="58648"/>
                      </a:lnTo>
                      <a:lnTo>
                        <a:pt x="97142" y="57759"/>
                      </a:lnTo>
                      <a:lnTo>
                        <a:pt x="101371" y="58267"/>
                      </a:lnTo>
                      <a:lnTo>
                        <a:pt x="105359" y="58267"/>
                      </a:lnTo>
                      <a:lnTo>
                        <a:pt x="104940" y="57759"/>
                      </a:lnTo>
                      <a:lnTo>
                        <a:pt x="104521" y="57251"/>
                      </a:lnTo>
                      <a:lnTo>
                        <a:pt x="100799" y="55981"/>
                      </a:lnTo>
                      <a:lnTo>
                        <a:pt x="99212" y="55854"/>
                      </a:lnTo>
                      <a:lnTo>
                        <a:pt x="98602" y="55473"/>
                      </a:lnTo>
                      <a:lnTo>
                        <a:pt x="95973" y="53822"/>
                      </a:lnTo>
                      <a:lnTo>
                        <a:pt x="96443" y="51155"/>
                      </a:lnTo>
                      <a:lnTo>
                        <a:pt x="101803" y="48742"/>
                      </a:lnTo>
                      <a:lnTo>
                        <a:pt x="105841" y="48488"/>
                      </a:lnTo>
                      <a:lnTo>
                        <a:pt x="107848" y="47345"/>
                      </a:lnTo>
                      <a:lnTo>
                        <a:pt x="108508" y="46964"/>
                      </a:lnTo>
                      <a:lnTo>
                        <a:pt x="109181" y="46583"/>
                      </a:lnTo>
                      <a:lnTo>
                        <a:pt x="107975" y="45186"/>
                      </a:lnTo>
                      <a:lnTo>
                        <a:pt x="106324" y="44551"/>
                      </a:lnTo>
                      <a:lnTo>
                        <a:pt x="105181" y="43916"/>
                      </a:lnTo>
                      <a:lnTo>
                        <a:pt x="103797" y="43154"/>
                      </a:lnTo>
                      <a:lnTo>
                        <a:pt x="102781" y="43027"/>
                      </a:lnTo>
                      <a:lnTo>
                        <a:pt x="100799" y="42392"/>
                      </a:lnTo>
                      <a:lnTo>
                        <a:pt x="97993" y="40487"/>
                      </a:lnTo>
                      <a:lnTo>
                        <a:pt x="95923" y="39344"/>
                      </a:lnTo>
                      <a:lnTo>
                        <a:pt x="92036" y="39471"/>
                      </a:lnTo>
                      <a:lnTo>
                        <a:pt x="90119" y="39852"/>
                      </a:lnTo>
                      <a:lnTo>
                        <a:pt x="88392" y="39979"/>
                      </a:lnTo>
                      <a:lnTo>
                        <a:pt x="92303" y="40868"/>
                      </a:lnTo>
                      <a:lnTo>
                        <a:pt x="84594" y="42227"/>
                      </a:lnTo>
                      <a:lnTo>
                        <a:pt x="86575" y="44119"/>
                      </a:lnTo>
                      <a:lnTo>
                        <a:pt x="87845" y="44678"/>
                      </a:lnTo>
                      <a:lnTo>
                        <a:pt x="89852" y="43916"/>
                      </a:lnTo>
                      <a:lnTo>
                        <a:pt x="91401" y="44424"/>
                      </a:lnTo>
                      <a:lnTo>
                        <a:pt x="90995" y="44805"/>
                      </a:lnTo>
                      <a:lnTo>
                        <a:pt x="90347" y="44932"/>
                      </a:lnTo>
                      <a:lnTo>
                        <a:pt x="89687" y="45567"/>
                      </a:lnTo>
                      <a:lnTo>
                        <a:pt x="89179" y="46456"/>
                      </a:lnTo>
                      <a:lnTo>
                        <a:pt x="87731" y="46964"/>
                      </a:lnTo>
                      <a:lnTo>
                        <a:pt x="85788" y="45313"/>
                      </a:lnTo>
                      <a:lnTo>
                        <a:pt x="84264" y="45313"/>
                      </a:lnTo>
                      <a:lnTo>
                        <a:pt x="86233" y="46456"/>
                      </a:lnTo>
                      <a:lnTo>
                        <a:pt x="86334" y="46837"/>
                      </a:lnTo>
                      <a:lnTo>
                        <a:pt x="86106" y="47345"/>
                      </a:lnTo>
                      <a:lnTo>
                        <a:pt x="82473" y="47218"/>
                      </a:lnTo>
                      <a:lnTo>
                        <a:pt x="82130" y="47091"/>
                      </a:lnTo>
                      <a:lnTo>
                        <a:pt x="81330" y="46583"/>
                      </a:lnTo>
                      <a:lnTo>
                        <a:pt x="81127" y="46456"/>
                      </a:lnTo>
                      <a:lnTo>
                        <a:pt x="80505" y="46329"/>
                      </a:lnTo>
                      <a:lnTo>
                        <a:pt x="79273" y="46075"/>
                      </a:lnTo>
                      <a:lnTo>
                        <a:pt x="76238" y="46329"/>
                      </a:lnTo>
                      <a:lnTo>
                        <a:pt x="75641" y="45440"/>
                      </a:lnTo>
                      <a:lnTo>
                        <a:pt x="74714" y="44043"/>
                      </a:lnTo>
                      <a:lnTo>
                        <a:pt x="71462" y="44805"/>
                      </a:lnTo>
                      <a:lnTo>
                        <a:pt x="70192" y="45186"/>
                      </a:lnTo>
                      <a:lnTo>
                        <a:pt x="67284" y="45440"/>
                      </a:lnTo>
                      <a:lnTo>
                        <a:pt x="65151" y="45440"/>
                      </a:lnTo>
                      <a:lnTo>
                        <a:pt x="61709" y="45059"/>
                      </a:lnTo>
                      <a:lnTo>
                        <a:pt x="60871" y="45694"/>
                      </a:lnTo>
                      <a:lnTo>
                        <a:pt x="57924" y="46583"/>
                      </a:lnTo>
                      <a:lnTo>
                        <a:pt x="56540" y="45948"/>
                      </a:lnTo>
                      <a:lnTo>
                        <a:pt x="53492" y="47091"/>
                      </a:lnTo>
                      <a:lnTo>
                        <a:pt x="53581" y="48742"/>
                      </a:lnTo>
                      <a:lnTo>
                        <a:pt x="51714" y="51028"/>
                      </a:lnTo>
                      <a:lnTo>
                        <a:pt x="49999" y="51409"/>
                      </a:lnTo>
                      <a:lnTo>
                        <a:pt x="48590" y="52044"/>
                      </a:lnTo>
                      <a:lnTo>
                        <a:pt x="47307" y="52552"/>
                      </a:lnTo>
                      <a:lnTo>
                        <a:pt x="46189" y="53314"/>
                      </a:lnTo>
                      <a:lnTo>
                        <a:pt x="46189" y="53822"/>
                      </a:lnTo>
                      <a:lnTo>
                        <a:pt x="44729" y="55473"/>
                      </a:lnTo>
                      <a:lnTo>
                        <a:pt x="43535" y="54965"/>
                      </a:lnTo>
                      <a:lnTo>
                        <a:pt x="41922" y="56235"/>
                      </a:lnTo>
                      <a:lnTo>
                        <a:pt x="41795" y="56997"/>
                      </a:lnTo>
                      <a:lnTo>
                        <a:pt x="40779" y="58521"/>
                      </a:lnTo>
                      <a:lnTo>
                        <a:pt x="39878" y="59156"/>
                      </a:lnTo>
                      <a:lnTo>
                        <a:pt x="38887" y="59156"/>
                      </a:lnTo>
                      <a:lnTo>
                        <a:pt x="37299" y="60299"/>
                      </a:lnTo>
                      <a:lnTo>
                        <a:pt x="38112" y="59791"/>
                      </a:lnTo>
                      <a:lnTo>
                        <a:pt x="37668" y="61315"/>
                      </a:lnTo>
                      <a:lnTo>
                        <a:pt x="38620" y="61823"/>
                      </a:lnTo>
                      <a:lnTo>
                        <a:pt x="36550" y="62585"/>
                      </a:lnTo>
                      <a:lnTo>
                        <a:pt x="36207" y="62966"/>
                      </a:lnTo>
                      <a:lnTo>
                        <a:pt x="34366" y="64109"/>
                      </a:lnTo>
                      <a:lnTo>
                        <a:pt x="32664" y="63220"/>
                      </a:lnTo>
                      <a:lnTo>
                        <a:pt x="30721" y="64871"/>
                      </a:lnTo>
                      <a:lnTo>
                        <a:pt x="30594" y="65125"/>
                      </a:lnTo>
                      <a:lnTo>
                        <a:pt x="28740" y="65760"/>
                      </a:lnTo>
                      <a:lnTo>
                        <a:pt x="27152" y="65125"/>
                      </a:lnTo>
                      <a:lnTo>
                        <a:pt x="26060" y="66014"/>
                      </a:lnTo>
                      <a:lnTo>
                        <a:pt x="25984" y="66395"/>
                      </a:lnTo>
                      <a:lnTo>
                        <a:pt x="26111" y="67157"/>
                      </a:lnTo>
                      <a:lnTo>
                        <a:pt x="25730" y="67792"/>
                      </a:lnTo>
                      <a:lnTo>
                        <a:pt x="24257" y="69189"/>
                      </a:lnTo>
                      <a:lnTo>
                        <a:pt x="23736" y="69189"/>
                      </a:lnTo>
                      <a:lnTo>
                        <a:pt x="22948" y="69697"/>
                      </a:lnTo>
                      <a:lnTo>
                        <a:pt x="23456" y="70078"/>
                      </a:lnTo>
                      <a:lnTo>
                        <a:pt x="22898" y="70840"/>
                      </a:lnTo>
                      <a:lnTo>
                        <a:pt x="22694" y="71348"/>
                      </a:lnTo>
                      <a:lnTo>
                        <a:pt x="21145" y="72872"/>
                      </a:lnTo>
                      <a:lnTo>
                        <a:pt x="20281" y="73253"/>
                      </a:lnTo>
                      <a:lnTo>
                        <a:pt x="17233" y="73253"/>
                      </a:lnTo>
                      <a:lnTo>
                        <a:pt x="15963" y="72745"/>
                      </a:lnTo>
                      <a:lnTo>
                        <a:pt x="14160" y="72999"/>
                      </a:lnTo>
                      <a:lnTo>
                        <a:pt x="13487" y="73380"/>
                      </a:lnTo>
                      <a:lnTo>
                        <a:pt x="10604" y="74015"/>
                      </a:lnTo>
                      <a:lnTo>
                        <a:pt x="6908" y="74015"/>
                      </a:lnTo>
                      <a:lnTo>
                        <a:pt x="5321" y="77317"/>
                      </a:lnTo>
                      <a:lnTo>
                        <a:pt x="5943" y="77571"/>
                      </a:lnTo>
                      <a:lnTo>
                        <a:pt x="4584" y="78968"/>
                      </a:lnTo>
                      <a:lnTo>
                        <a:pt x="4076" y="78841"/>
                      </a:lnTo>
                      <a:lnTo>
                        <a:pt x="3213" y="78968"/>
                      </a:lnTo>
                      <a:lnTo>
                        <a:pt x="3365" y="78968"/>
                      </a:lnTo>
                      <a:lnTo>
                        <a:pt x="1765" y="80492"/>
                      </a:lnTo>
                      <a:lnTo>
                        <a:pt x="558" y="82143"/>
                      </a:lnTo>
                      <a:lnTo>
                        <a:pt x="0" y="83286"/>
                      </a:lnTo>
                      <a:lnTo>
                        <a:pt x="2273" y="82397"/>
                      </a:lnTo>
                      <a:lnTo>
                        <a:pt x="5969" y="79730"/>
                      </a:lnTo>
                      <a:lnTo>
                        <a:pt x="8737" y="83413"/>
                      </a:lnTo>
                      <a:lnTo>
                        <a:pt x="5562" y="85699"/>
                      </a:lnTo>
                      <a:lnTo>
                        <a:pt x="7848" y="88366"/>
                      </a:lnTo>
                      <a:lnTo>
                        <a:pt x="9829" y="87985"/>
                      </a:lnTo>
                      <a:lnTo>
                        <a:pt x="22174" y="88366"/>
                      </a:lnTo>
                      <a:lnTo>
                        <a:pt x="26492" y="89001"/>
                      </a:lnTo>
                      <a:lnTo>
                        <a:pt x="28282" y="87985"/>
                      </a:lnTo>
                      <a:lnTo>
                        <a:pt x="30975" y="86461"/>
                      </a:lnTo>
                      <a:lnTo>
                        <a:pt x="29286" y="86080"/>
                      </a:lnTo>
                      <a:lnTo>
                        <a:pt x="28854" y="83032"/>
                      </a:lnTo>
                      <a:lnTo>
                        <a:pt x="29552" y="82397"/>
                      </a:lnTo>
                      <a:lnTo>
                        <a:pt x="31305" y="79984"/>
                      </a:lnTo>
                      <a:lnTo>
                        <a:pt x="31546" y="80619"/>
                      </a:lnTo>
                      <a:lnTo>
                        <a:pt x="34417" y="81508"/>
                      </a:lnTo>
                      <a:lnTo>
                        <a:pt x="33172" y="81508"/>
                      </a:lnTo>
                      <a:lnTo>
                        <a:pt x="33337" y="82016"/>
                      </a:lnTo>
                      <a:lnTo>
                        <a:pt x="33883" y="82651"/>
                      </a:lnTo>
                      <a:lnTo>
                        <a:pt x="33972" y="82905"/>
                      </a:lnTo>
                      <a:lnTo>
                        <a:pt x="33388" y="83540"/>
                      </a:lnTo>
                      <a:lnTo>
                        <a:pt x="33667" y="84175"/>
                      </a:lnTo>
                      <a:lnTo>
                        <a:pt x="32994" y="83921"/>
                      </a:lnTo>
                      <a:lnTo>
                        <a:pt x="34772" y="85191"/>
                      </a:lnTo>
                      <a:lnTo>
                        <a:pt x="35979" y="84937"/>
                      </a:lnTo>
                      <a:lnTo>
                        <a:pt x="37096" y="85699"/>
                      </a:lnTo>
                      <a:lnTo>
                        <a:pt x="37503" y="86207"/>
                      </a:lnTo>
                      <a:lnTo>
                        <a:pt x="37757" y="87350"/>
                      </a:lnTo>
                      <a:lnTo>
                        <a:pt x="36842" y="87731"/>
                      </a:lnTo>
                      <a:lnTo>
                        <a:pt x="38061" y="90652"/>
                      </a:lnTo>
                      <a:lnTo>
                        <a:pt x="38176" y="91287"/>
                      </a:lnTo>
                      <a:lnTo>
                        <a:pt x="37871" y="91668"/>
                      </a:lnTo>
                      <a:lnTo>
                        <a:pt x="41833" y="90144"/>
                      </a:lnTo>
                      <a:lnTo>
                        <a:pt x="50749" y="87858"/>
                      </a:lnTo>
                      <a:lnTo>
                        <a:pt x="51130" y="85064"/>
                      </a:lnTo>
                      <a:lnTo>
                        <a:pt x="50495" y="84937"/>
                      </a:lnTo>
                      <a:lnTo>
                        <a:pt x="50190" y="84175"/>
                      </a:lnTo>
                      <a:lnTo>
                        <a:pt x="49936" y="83540"/>
                      </a:lnTo>
                      <a:lnTo>
                        <a:pt x="49669" y="83540"/>
                      </a:lnTo>
                      <a:lnTo>
                        <a:pt x="49580" y="80746"/>
                      </a:lnTo>
                      <a:lnTo>
                        <a:pt x="49326" y="79984"/>
                      </a:lnTo>
                      <a:lnTo>
                        <a:pt x="49237" y="79730"/>
                      </a:lnTo>
                      <a:lnTo>
                        <a:pt x="48933" y="78841"/>
                      </a:lnTo>
                      <a:lnTo>
                        <a:pt x="47472" y="78079"/>
                      </a:lnTo>
                      <a:lnTo>
                        <a:pt x="48082" y="76047"/>
                      </a:lnTo>
                      <a:lnTo>
                        <a:pt x="49949" y="74777"/>
                      </a:lnTo>
                      <a:lnTo>
                        <a:pt x="51282" y="75539"/>
                      </a:lnTo>
                      <a:lnTo>
                        <a:pt x="51015" y="76301"/>
                      </a:lnTo>
                      <a:lnTo>
                        <a:pt x="50927" y="76809"/>
                      </a:lnTo>
                      <a:lnTo>
                        <a:pt x="51396" y="78206"/>
                      </a:lnTo>
                      <a:lnTo>
                        <a:pt x="52743" y="79984"/>
                      </a:lnTo>
                      <a:lnTo>
                        <a:pt x="56857" y="83413"/>
                      </a:lnTo>
                      <a:lnTo>
                        <a:pt x="66929" y="77317"/>
                      </a:lnTo>
                      <a:lnTo>
                        <a:pt x="64427" y="74777"/>
                      </a:lnTo>
                      <a:lnTo>
                        <a:pt x="62915" y="73253"/>
                      </a:lnTo>
                      <a:lnTo>
                        <a:pt x="62039" y="72364"/>
                      </a:lnTo>
                      <a:lnTo>
                        <a:pt x="57759" y="71602"/>
                      </a:lnTo>
                      <a:lnTo>
                        <a:pt x="60833" y="69189"/>
                      </a:lnTo>
                      <a:lnTo>
                        <a:pt x="62407" y="70205"/>
                      </a:lnTo>
                      <a:lnTo>
                        <a:pt x="64693" y="70078"/>
                      </a:lnTo>
                      <a:lnTo>
                        <a:pt x="66433" y="69824"/>
                      </a:lnTo>
                      <a:lnTo>
                        <a:pt x="67779" y="69189"/>
                      </a:lnTo>
                      <a:lnTo>
                        <a:pt x="67056" y="67919"/>
                      </a:lnTo>
                      <a:lnTo>
                        <a:pt x="66967" y="65760"/>
                      </a:lnTo>
                      <a:lnTo>
                        <a:pt x="66903" y="64236"/>
                      </a:lnTo>
                      <a:lnTo>
                        <a:pt x="67043" y="64109"/>
                      </a:lnTo>
                      <a:lnTo>
                        <a:pt x="68770" y="62458"/>
                      </a:lnTo>
                      <a:lnTo>
                        <a:pt x="74269" y="60934"/>
                      </a:lnTo>
                      <a:lnTo>
                        <a:pt x="77012" y="63601"/>
                      </a:lnTo>
                      <a:lnTo>
                        <a:pt x="74066" y="64109"/>
                      </a:lnTo>
                      <a:lnTo>
                        <a:pt x="73164" y="65760"/>
                      </a:lnTo>
                      <a:lnTo>
                        <a:pt x="73101" y="67538"/>
                      </a:lnTo>
                      <a:lnTo>
                        <a:pt x="72986" y="67919"/>
                      </a:lnTo>
                      <a:lnTo>
                        <a:pt x="72872" y="69697"/>
                      </a:lnTo>
                      <a:lnTo>
                        <a:pt x="73545" y="69697"/>
                      </a:lnTo>
                      <a:lnTo>
                        <a:pt x="73215" y="70459"/>
                      </a:lnTo>
                      <a:lnTo>
                        <a:pt x="72504" y="70459"/>
                      </a:lnTo>
                      <a:lnTo>
                        <a:pt x="72085" y="71907"/>
                      </a:lnTo>
                      <a:lnTo>
                        <a:pt x="71526" y="73253"/>
                      </a:lnTo>
                      <a:lnTo>
                        <a:pt x="71450" y="73380"/>
                      </a:lnTo>
                      <a:lnTo>
                        <a:pt x="74460" y="76428"/>
                      </a:lnTo>
                      <a:lnTo>
                        <a:pt x="79006" y="75920"/>
                      </a:lnTo>
                      <a:lnTo>
                        <a:pt x="82575" y="77698"/>
                      </a:lnTo>
                      <a:lnTo>
                        <a:pt x="86372" y="76301"/>
                      </a:lnTo>
                      <a:lnTo>
                        <a:pt x="86626" y="75920"/>
                      </a:lnTo>
                      <a:lnTo>
                        <a:pt x="87045" y="75285"/>
                      </a:lnTo>
                      <a:lnTo>
                        <a:pt x="89344" y="75412"/>
                      </a:lnTo>
                      <a:lnTo>
                        <a:pt x="90538" y="75285"/>
                      </a:lnTo>
                      <a:lnTo>
                        <a:pt x="91719" y="75158"/>
                      </a:lnTo>
                      <a:lnTo>
                        <a:pt x="94297" y="76301"/>
                      </a:lnTo>
                      <a:lnTo>
                        <a:pt x="95110" y="77444"/>
                      </a:lnTo>
                      <a:lnTo>
                        <a:pt x="97269" y="78333"/>
                      </a:lnTo>
                      <a:lnTo>
                        <a:pt x="98412" y="78460"/>
                      </a:lnTo>
                      <a:lnTo>
                        <a:pt x="101904" y="79603"/>
                      </a:lnTo>
                      <a:lnTo>
                        <a:pt x="103784" y="79095"/>
                      </a:lnTo>
                      <a:lnTo>
                        <a:pt x="108115" y="79857"/>
                      </a:lnTo>
                      <a:lnTo>
                        <a:pt x="110109" y="79730"/>
                      </a:lnTo>
                      <a:lnTo>
                        <a:pt x="112090" y="79349"/>
                      </a:lnTo>
                      <a:lnTo>
                        <a:pt x="117386" y="80238"/>
                      </a:lnTo>
                      <a:lnTo>
                        <a:pt x="119824" y="81127"/>
                      </a:lnTo>
                      <a:lnTo>
                        <a:pt x="116840" y="82016"/>
                      </a:lnTo>
                      <a:lnTo>
                        <a:pt x="113220" y="80746"/>
                      </a:lnTo>
                      <a:lnTo>
                        <a:pt x="110045" y="80365"/>
                      </a:lnTo>
                      <a:lnTo>
                        <a:pt x="107924" y="80111"/>
                      </a:lnTo>
                      <a:lnTo>
                        <a:pt x="105689" y="80365"/>
                      </a:lnTo>
                      <a:lnTo>
                        <a:pt x="101612" y="80111"/>
                      </a:lnTo>
                      <a:lnTo>
                        <a:pt x="99860" y="79857"/>
                      </a:lnTo>
                      <a:lnTo>
                        <a:pt x="96431" y="80238"/>
                      </a:lnTo>
                      <a:lnTo>
                        <a:pt x="90106" y="81889"/>
                      </a:lnTo>
                      <a:lnTo>
                        <a:pt x="90805" y="85191"/>
                      </a:lnTo>
                      <a:lnTo>
                        <a:pt x="92138" y="84937"/>
                      </a:lnTo>
                      <a:lnTo>
                        <a:pt x="92341" y="86207"/>
                      </a:lnTo>
                      <a:lnTo>
                        <a:pt x="90170" y="86715"/>
                      </a:lnTo>
                      <a:lnTo>
                        <a:pt x="90360" y="89382"/>
                      </a:lnTo>
                      <a:lnTo>
                        <a:pt x="92671" y="89382"/>
                      </a:lnTo>
                      <a:lnTo>
                        <a:pt x="96596" y="89636"/>
                      </a:lnTo>
                      <a:lnTo>
                        <a:pt x="99174" y="89763"/>
                      </a:lnTo>
                      <a:lnTo>
                        <a:pt x="106311" y="88747"/>
                      </a:lnTo>
                      <a:lnTo>
                        <a:pt x="110947" y="88874"/>
                      </a:lnTo>
                      <a:lnTo>
                        <a:pt x="113157" y="88747"/>
                      </a:lnTo>
                      <a:lnTo>
                        <a:pt x="117563" y="88493"/>
                      </a:lnTo>
                      <a:lnTo>
                        <a:pt x="118630" y="89509"/>
                      </a:lnTo>
                      <a:lnTo>
                        <a:pt x="113690" y="90271"/>
                      </a:lnTo>
                      <a:lnTo>
                        <a:pt x="105016" y="90271"/>
                      </a:lnTo>
                      <a:lnTo>
                        <a:pt x="102704" y="90652"/>
                      </a:lnTo>
                      <a:lnTo>
                        <a:pt x="95669" y="91414"/>
                      </a:lnTo>
                      <a:lnTo>
                        <a:pt x="89966" y="91033"/>
                      </a:lnTo>
                      <a:lnTo>
                        <a:pt x="85623" y="93700"/>
                      </a:lnTo>
                      <a:lnTo>
                        <a:pt x="84848" y="95097"/>
                      </a:lnTo>
                      <a:lnTo>
                        <a:pt x="80543" y="99034"/>
                      </a:lnTo>
                      <a:lnTo>
                        <a:pt x="88734" y="98526"/>
                      </a:lnTo>
                      <a:lnTo>
                        <a:pt x="94068" y="98653"/>
                      </a:lnTo>
                      <a:lnTo>
                        <a:pt x="97091" y="98526"/>
                      </a:lnTo>
                      <a:lnTo>
                        <a:pt x="104825" y="96113"/>
                      </a:lnTo>
                      <a:lnTo>
                        <a:pt x="110667" y="94462"/>
                      </a:lnTo>
                      <a:lnTo>
                        <a:pt x="115049" y="94716"/>
                      </a:lnTo>
                      <a:lnTo>
                        <a:pt x="113258" y="94716"/>
                      </a:lnTo>
                      <a:lnTo>
                        <a:pt x="112306" y="96113"/>
                      </a:lnTo>
                      <a:lnTo>
                        <a:pt x="109791" y="97510"/>
                      </a:lnTo>
                      <a:lnTo>
                        <a:pt x="107823" y="97637"/>
                      </a:lnTo>
                      <a:lnTo>
                        <a:pt x="104279" y="98653"/>
                      </a:lnTo>
                      <a:lnTo>
                        <a:pt x="102958" y="99415"/>
                      </a:lnTo>
                      <a:lnTo>
                        <a:pt x="79730" y="103352"/>
                      </a:lnTo>
                      <a:lnTo>
                        <a:pt x="79209" y="103987"/>
                      </a:lnTo>
                      <a:lnTo>
                        <a:pt x="76657" y="106654"/>
                      </a:lnTo>
                      <a:lnTo>
                        <a:pt x="76365" y="107162"/>
                      </a:lnTo>
                      <a:lnTo>
                        <a:pt x="79527" y="109829"/>
                      </a:lnTo>
                      <a:lnTo>
                        <a:pt x="83261" y="110337"/>
                      </a:lnTo>
                      <a:lnTo>
                        <a:pt x="86995" y="110591"/>
                      </a:lnTo>
                      <a:lnTo>
                        <a:pt x="87769" y="110845"/>
                      </a:lnTo>
                      <a:lnTo>
                        <a:pt x="90500" y="111480"/>
                      </a:lnTo>
                      <a:lnTo>
                        <a:pt x="91465" y="110464"/>
                      </a:lnTo>
                      <a:lnTo>
                        <a:pt x="93129" y="109448"/>
                      </a:lnTo>
                      <a:lnTo>
                        <a:pt x="93941" y="109575"/>
                      </a:lnTo>
                      <a:lnTo>
                        <a:pt x="94564" y="109448"/>
                      </a:lnTo>
                      <a:lnTo>
                        <a:pt x="95796" y="109194"/>
                      </a:lnTo>
                      <a:lnTo>
                        <a:pt x="97434" y="108051"/>
                      </a:lnTo>
                      <a:lnTo>
                        <a:pt x="97180" y="110718"/>
                      </a:lnTo>
                      <a:lnTo>
                        <a:pt x="95631" y="111099"/>
                      </a:lnTo>
                      <a:lnTo>
                        <a:pt x="96481" y="112115"/>
                      </a:lnTo>
                      <a:lnTo>
                        <a:pt x="97904" y="111734"/>
                      </a:lnTo>
                      <a:lnTo>
                        <a:pt x="98158" y="111734"/>
                      </a:lnTo>
                      <a:lnTo>
                        <a:pt x="95885" y="113766"/>
                      </a:lnTo>
                      <a:lnTo>
                        <a:pt x="100330" y="114147"/>
                      </a:lnTo>
                      <a:lnTo>
                        <a:pt x="103466" y="115163"/>
                      </a:lnTo>
                      <a:lnTo>
                        <a:pt x="105854" y="116433"/>
                      </a:lnTo>
                      <a:lnTo>
                        <a:pt x="107911" y="113131"/>
                      </a:lnTo>
                      <a:lnTo>
                        <a:pt x="105867" y="112369"/>
                      </a:lnTo>
                      <a:lnTo>
                        <a:pt x="105892" y="111734"/>
                      </a:lnTo>
                      <a:lnTo>
                        <a:pt x="105943" y="110718"/>
                      </a:lnTo>
                      <a:lnTo>
                        <a:pt x="108127" y="111099"/>
                      </a:lnTo>
                      <a:lnTo>
                        <a:pt x="108077" y="111861"/>
                      </a:lnTo>
                      <a:lnTo>
                        <a:pt x="109740" y="110718"/>
                      </a:lnTo>
                      <a:lnTo>
                        <a:pt x="111582" y="109448"/>
                      </a:lnTo>
                      <a:lnTo>
                        <a:pt x="112395" y="109956"/>
                      </a:lnTo>
                      <a:lnTo>
                        <a:pt x="112547" y="112115"/>
                      </a:lnTo>
                      <a:lnTo>
                        <a:pt x="112052" y="112369"/>
                      </a:lnTo>
                      <a:lnTo>
                        <a:pt x="111925" y="113131"/>
                      </a:lnTo>
                      <a:lnTo>
                        <a:pt x="112052" y="113766"/>
                      </a:lnTo>
                      <a:lnTo>
                        <a:pt x="113030" y="114401"/>
                      </a:lnTo>
                      <a:lnTo>
                        <a:pt x="114833" y="116052"/>
                      </a:lnTo>
                      <a:lnTo>
                        <a:pt x="118821" y="114655"/>
                      </a:lnTo>
                      <a:lnTo>
                        <a:pt x="121500" y="113893"/>
                      </a:lnTo>
                      <a:lnTo>
                        <a:pt x="123710" y="112369"/>
                      </a:lnTo>
                      <a:lnTo>
                        <a:pt x="125133" y="110845"/>
                      </a:lnTo>
                      <a:lnTo>
                        <a:pt x="125069" y="109448"/>
                      </a:lnTo>
                      <a:lnTo>
                        <a:pt x="124955" y="108686"/>
                      </a:lnTo>
                      <a:lnTo>
                        <a:pt x="123901" y="108051"/>
                      </a:lnTo>
                      <a:lnTo>
                        <a:pt x="122415" y="107162"/>
                      </a:lnTo>
                      <a:lnTo>
                        <a:pt x="122008" y="105765"/>
                      </a:lnTo>
                      <a:lnTo>
                        <a:pt x="124180" y="107162"/>
                      </a:lnTo>
                      <a:lnTo>
                        <a:pt x="126466" y="109448"/>
                      </a:lnTo>
                      <a:lnTo>
                        <a:pt x="128257" y="105765"/>
                      </a:lnTo>
                      <a:lnTo>
                        <a:pt x="128562" y="105130"/>
                      </a:lnTo>
                      <a:lnTo>
                        <a:pt x="128638" y="104749"/>
                      </a:lnTo>
                      <a:lnTo>
                        <a:pt x="127876" y="102971"/>
                      </a:lnTo>
                      <a:lnTo>
                        <a:pt x="128892" y="100812"/>
                      </a:lnTo>
                      <a:lnTo>
                        <a:pt x="130492" y="103733"/>
                      </a:lnTo>
                      <a:lnTo>
                        <a:pt x="131533" y="104368"/>
                      </a:lnTo>
                      <a:lnTo>
                        <a:pt x="133324" y="103606"/>
                      </a:lnTo>
                      <a:lnTo>
                        <a:pt x="134239" y="103352"/>
                      </a:lnTo>
                      <a:lnTo>
                        <a:pt x="133908" y="104241"/>
                      </a:lnTo>
                      <a:lnTo>
                        <a:pt x="132549" y="104749"/>
                      </a:lnTo>
                      <a:lnTo>
                        <a:pt x="131597" y="106273"/>
                      </a:lnTo>
                      <a:lnTo>
                        <a:pt x="131597" y="106654"/>
                      </a:lnTo>
                      <a:lnTo>
                        <a:pt x="131470" y="107289"/>
                      </a:lnTo>
                      <a:lnTo>
                        <a:pt x="131013" y="108305"/>
                      </a:lnTo>
                      <a:lnTo>
                        <a:pt x="130581" y="108940"/>
                      </a:lnTo>
                      <a:lnTo>
                        <a:pt x="130530" y="109067"/>
                      </a:lnTo>
                      <a:lnTo>
                        <a:pt x="130441" y="109829"/>
                      </a:lnTo>
                      <a:lnTo>
                        <a:pt x="130543" y="110337"/>
                      </a:lnTo>
                      <a:lnTo>
                        <a:pt x="130429" y="110845"/>
                      </a:lnTo>
                      <a:lnTo>
                        <a:pt x="130086" y="110972"/>
                      </a:lnTo>
                      <a:lnTo>
                        <a:pt x="129959" y="113131"/>
                      </a:lnTo>
                      <a:lnTo>
                        <a:pt x="132867" y="113258"/>
                      </a:lnTo>
                      <a:lnTo>
                        <a:pt x="134327" y="113131"/>
                      </a:lnTo>
                      <a:lnTo>
                        <a:pt x="137782" y="111988"/>
                      </a:lnTo>
                      <a:lnTo>
                        <a:pt x="147561" y="113385"/>
                      </a:lnTo>
                      <a:lnTo>
                        <a:pt x="147777" y="111988"/>
                      </a:lnTo>
                      <a:lnTo>
                        <a:pt x="148094" y="109829"/>
                      </a:lnTo>
                      <a:lnTo>
                        <a:pt x="148297" y="106019"/>
                      </a:lnTo>
                      <a:lnTo>
                        <a:pt x="149479" y="107797"/>
                      </a:lnTo>
                      <a:lnTo>
                        <a:pt x="148907" y="108686"/>
                      </a:lnTo>
                      <a:lnTo>
                        <a:pt x="149733" y="109829"/>
                      </a:lnTo>
                      <a:lnTo>
                        <a:pt x="153377" y="106781"/>
                      </a:lnTo>
                      <a:lnTo>
                        <a:pt x="152400" y="110337"/>
                      </a:lnTo>
                      <a:lnTo>
                        <a:pt x="150431" y="110210"/>
                      </a:lnTo>
                      <a:lnTo>
                        <a:pt x="152527" y="111353"/>
                      </a:lnTo>
                      <a:lnTo>
                        <a:pt x="153784" y="111226"/>
                      </a:lnTo>
                      <a:lnTo>
                        <a:pt x="155778" y="111226"/>
                      </a:lnTo>
                      <a:lnTo>
                        <a:pt x="156908" y="110591"/>
                      </a:lnTo>
                      <a:lnTo>
                        <a:pt x="159677" y="111099"/>
                      </a:lnTo>
                      <a:lnTo>
                        <a:pt x="159918" y="110591"/>
                      </a:lnTo>
                      <a:lnTo>
                        <a:pt x="160045" y="110337"/>
                      </a:lnTo>
                      <a:lnTo>
                        <a:pt x="160401" y="109575"/>
                      </a:lnTo>
                      <a:lnTo>
                        <a:pt x="162090" y="109575"/>
                      </a:lnTo>
                      <a:lnTo>
                        <a:pt x="162255" y="110337"/>
                      </a:lnTo>
                      <a:lnTo>
                        <a:pt x="165455" y="110464"/>
                      </a:lnTo>
                      <a:lnTo>
                        <a:pt x="165976" y="109575"/>
                      </a:lnTo>
                      <a:lnTo>
                        <a:pt x="167462" y="107035"/>
                      </a:lnTo>
                      <a:lnTo>
                        <a:pt x="169989" y="107289"/>
                      </a:lnTo>
                      <a:lnTo>
                        <a:pt x="167970" y="111988"/>
                      </a:lnTo>
                      <a:lnTo>
                        <a:pt x="164134" y="115544"/>
                      </a:lnTo>
                      <a:lnTo>
                        <a:pt x="155994" y="114528"/>
                      </a:lnTo>
                      <a:lnTo>
                        <a:pt x="153123" y="115036"/>
                      </a:lnTo>
                      <a:lnTo>
                        <a:pt x="125145" y="122783"/>
                      </a:lnTo>
                      <a:lnTo>
                        <a:pt x="123698" y="122910"/>
                      </a:lnTo>
                      <a:lnTo>
                        <a:pt x="121716" y="126085"/>
                      </a:lnTo>
                      <a:lnTo>
                        <a:pt x="134467" y="130784"/>
                      </a:lnTo>
                      <a:lnTo>
                        <a:pt x="140868" y="131927"/>
                      </a:lnTo>
                      <a:lnTo>
                        <a:pt x="144653" y="131927"/>
                      </a:lnTo>
                      <a:lnTo>
                        <a:pt x="188544" y="118592"/>
                      </a:lnTo>
                      <a:lnTo>
                        <a:pt x="195935" y="115544"/>
                      </a:lnTo>
                      <a:lnTo>
                        <a:pt x="203987" y="112496"/>
                      </a:lnTo>
                      <a:lnTo>
                        <a:pt x="209372" y="115036"/>
                      </a:lnTo>
                      <a:lnTo>
                        <a:pt x="212610" y="116179"/>
                      </a:lnTo>
                      <a:lnTo>
                        <a:pt x="215607" y="116522"/>
                      </a:lnTo>
                      <a:lnTo>
                        <a:pt x="215277" y="116433"/>
                      </a:lnTo>
                      <a:lnTo>
                        <a:pt x="215950" y="116052"/>
                      </a:lnTo>
                      <a:lnTo>
                        <a:pt x="216293" y="115163"/>
                      </a:lnTo>
                      <a:lnTo>
                        <a:pt x="217297" y="113893"/>
                      </a:lnTo>
                      <a:lnTo>
                        <a:pt x="218059" y="112623"/>
                      </a:lnTo>
                      <a:lnTo>
                        <a:pt x="218490" y="112496"/>
                      </a:lnTo>
                      <a:lnTo>
                        <a:pt x="219367" y="112242"/>
                      </a:lnTo>
                      <a:lnTo>
                        <a:pt x="219316" y="112623"/>
                      </a:lnTo>
                      <a:lnTo>
                        <a:pt x="222097" y="112623"/>
                      </a:lnTo>
                      <a:lnTo>
                        <a:pt x="226110" y="113004"/>
                      </a:lnTo>
                      <a:lnTo>
                        <a:pt x="244919" y="113385"/>
                      </a:lnTo>
                      <a:lnTo>
                        <a:pt x="241706" y="112242"/>
                      </a:lnTo>
                      <a:lnTo>
                        <a:pt x="244525" y="111099"/>
                      </a:lnTo>
                      <a:lnTo>
                        <a:pt x="245884" y="110718"/>
                      </a:lnTo>
                      <a:lnTo>
                        <a:pt x="245897" y="109575"/>
                      </a:lnTo>
                      <a:lnTo>
                        <a:pt x="245910" y="109067"/>
                      </a:lnTo>
                      <a:lnTo>
                        <a:pt x="244881" y="109575"/>
                      </a:lnTo>
                      <a:lnTo>
                        <a:pt x="244627" y="107289"/>
                      </a:lnTo>
                      <a:lnTo>
                        <a:pt x="245414" y="107035"/>
                      </a:lnTo>
                      <a:lnTo>
                        <a:pt x="246214" y="106781"/>
                      </a:lnTo>
                      <a:lnTo>
                        <a:pt x="246608" y="106654"/>
                      </a:lnTo>
                      <a:lnTo>
                        <a:pt x="247408" y="106019"/>
                      </a:lnTo>
                      <a:lnTo>
                        <a:pt x="247891" y="105638"/>
                      </a:lnTo>
                      <a:lnTo>
                        <a:pt x="248069" y="105130"/>
                      </a:lnTo>
                      <a:lnTo>
                        <a:pt x="249593" y="103987"/>
                      </a:lnTo>
                      <a:lnTo>
                        <a:pt x="247916" y="103606"/>
                      </a:lnTo>
                      <a:lnTo>
                        <a:pt x="247980" y="103352"/>
                      </a:lnTo>
                      <a:lnTo>
                        <a:pt x="248386" y="101701"/>
                      </a:lnTo>
                      <a:lnTo>
                        <a:pt x="250964" y="101320"/>
                      </a:lnTo>
                      <a:lnTo>
                        <a:pt x="249377" y="101066"/>
                      </a:lnTo>
                      <a:lnTo>
                        <a:pt x="247789" y="100812"/>
                      </a:lnTo>
                      <a:lnTo>
                        <a:pt x="248920" y="99796"/>
                      </a:lnTo>
                      <a:lnTo>
                        <a:pt x="250126" y="98526"/>
                      </a:lnTo>
                      <a:lnTo>
                        <a:pt x="252336" y="96113"/>
                      </a:lnTo>
                      <a:lnTo>
                        <a:pt x="252793" y="95605"/>
                      </a:lnTo>
                      <a:close/>
                    </a:path>
                    <a:path w="689610" h="564514">
                      <a:moveTo>
                        <a:pt x="395109" y="27914"/>
                      </a:moveTo>
                      <a:lnTo>
                        <a:pt x="371246" y="27914"/>
                      </a:lnTo>
                      <a:lnTo>
                        <a:pt x="370509" y="27914"/>
                      </a:lnTo>
                      <a:lnTo>
                        <a:pt x="371627" y="31978"/>
                      </a:lnTo>
                      <a:lnTo>
                        <a:pt x="372452" y="31508"/>
                      </a:lnTo>
                      <a:lnTo>
                        <a:pt x="374434" y="32080"/>
                      </a:lnTo>
                      <a:lnTo>
                        <a:pt x="377266" y="31508"/>
                      </a:lnTo>
                      <a:lnTo>
                        <a:pt x="395109" y="27914"/>
                      </a:lnTo>
                      <a:close/>
                    </a:path>
                    <a:path w="689610" h="564514">
                      <a:moveTo>
                        <a:pt x="403885" y="15100"/>
                      </a:moveTo>
                      <a:lnTo>
                        <a:pt x="403136" y="12242"/>
                      </a:lnTo>
                      <a:lnTo>
                        <a:pt x="397548" y="10782"/>
                      </a:lnTo>
                      <a:lnTo>
                        <a:pt x="397014" y="10642"/>
                      </a:lnTo>
                      <a:lnTo>
                        <a:pt x="394131" y="9563"/>
                      </a:lnTo>
                      <a:lnTo>
                        <a:pt x="392379" y="9017"/>
                      </a:lnTo>
                      <a:lnTo>
                        <a:pt x="389407" y="9906"/>
                      </a:lnTo>
                      <a:lnTo>
                        <a:pt x="388404" y="10782"/>
                      </a:lnTo>
                      <a:lnTo>
                        <a:pt x="384492" y="9296"/>
                      </a:lnTo>
                      <a:lnTo>
                        <a:pt x="385330" y="6477"/>
                      </a:lnTo>
                      <a:lnTo>
                        <a:pt x="385546" y="5765"/>
                      </a:lnTo>
                      <a:lnTo>
                        <a:pt x="381749" y="6477"/>
                      </a:lnTo>
                      <a:lnTo>
                        <a:pt x="380263" y="4635"/>
                      </a:lnTo>
                      <a:lnTo>
                        <a:pt x="379958" y="4559"/>
                      </a:lnTo>
                      <a:lnTo>
                        <a:pt x="377494" y="3924"/>
                      </a:lnTo>
                      <a:lnTo>
                        <a:pt x="375666" y="4559"/>
                      </a:lnTo>
                      <a:lnTo>
                        <a:pt x="372859" y="2781"/>
                      </a:lnTo>
                      <a:lnTo>
                        <a:pt x="371932" y="2070"/>
                      </a:lnTo>
                      <a:lnTo>
                        <a:pt x="366737" y="1308"/>
                      </a:lnTo>
                      <a:lnTo>
                        <a:pt x="363702" y="63"/>
                      </a:lnTo>
                      <a:lnTo>
                        <a:pt x="356247" y="0"/>
                      </a:lnTo>
                      <a:lnTo>
                        <a:pt x="350647" y="1422"/>
                      </a:lnTo>
                      <a:lnTo>
                        <a:pt x="355015" y="5905"/>
                      </a:lnTo>
                      <a:lnTo>
                        <a:pt x="358800" y="8382"/>
                      </a:lnTo>
                      <a:lnTo>
                        <a:pt x="356857" y="9207"/>
                      </a:lnTo>
                      <a:lnTo>
                        <a:pt x="355625" y="9055"/>
                      </a:lnTo>
                      <a:lnTo>
                        <a:pt x="351955" y="9893"/>
                      </a:lnTo>
                      <a:lnTo>
                        <a:pt x="352323" y="11099"/>
                      </a:lnTo>
                      <a:lnTo>
                        <a:pt x="356768" y="13169"/>
                      </a:lnTo>
                      <a:lnTo>
                        <a:pt x="357759" y="15468"/>
                      </a:lnTo>
                      <a:lnTo>
                        <a:pt x="357593" y="15697"/>
                      </a:lnTo>
                      <a:lnTo>
                        <a:pt x="358101" y="16471"/>
                      </a:lnTo>
                      <a:lnTo>
                        <a:pt x="358762" y="16268"/>
                      </a:lnTo>
                      <a:lnTo>
                        <a:pt x="359651" y="17526"/>
                      </a:lnTo>
                      <a:lnTo>
                        <a:pt x="359079" y="18262"/>
                      </a:lnTo>
                      <a:lnTo>
                        <a:pt x="360565" y="19062"/>
                      </a:lnTo>
                      <a:lnTo>
                        <a:pt x="363842" y="19291"/>
                      </a:lnTo>
                      <a:lnTo>
                        <a:pt x="366306" y="19342"/>
                      </a:lnTo>
                      <a:lnTo>
                        <a:pt x="367614" y="18923"/>
                      </a:lnTo>
                      <a:lnTo>
                        <a:pt x="370751" y="20129"/>
                      </a:lnTo>
                      <a:lnTo>
                        <a:pt x="372706" y="20586"/>
                      </a:lnTo>
                      <a:lnTo>
                        <a:pt x="376047" y="22225"/>
                      </a:lnTo>
                      <a:lnTo>
                        <a:pt x="373138" y="23266"/>
                      </a:lnTo>
                      <a:lnTo>
                        <a:pt x="369595" y="22936"/>
                      </a:lnTo>
                      <a:lnTo>
                        <a:pt x="363207" y="21844"/>
                      </a:lnTo>
                      <a:lnTo>
                        <a:pt x="361988" y="24701"/>
                      </a:lnTo>
                      <a:lnTo>
                        <a:pt x="364655" y="25133"/>
                      </a:lnTo>
                      <a:lnTo>
                        <a:pt x="366560" y="26250"/>
                      </a:lnTo>
                      <a:lnTo>
                        <a:pt x="371055" y="27851"/>
                      </a:lnTo>
                      <a:lnTo>
                        <a:pt x="395427" y="27851"/>
                      </a:lnTo>
                      <a:lnTo>
                        <a:pt x="398272" y="27279"/>
                      </a:lnTo>
                      <a:lnTo>
                        <a:pt x="400850" y="27152"/>
                      </a:lnTo>
                      <a:lnTo>
                        <a:pt x="402805" y="23266"/>
                      </a:lnTo>
                      <a:lnTo>
                        <a:pt x="403301" y="22301"/>
                      </a:lnTo>
                      <a:lnTo>
                        <a:pt x="402463" y="22301"/>
                      </a:lnTo>
                      <a:lnTo>
                        <a:pt x="400177" y="20421"/>
                      </a:lnTo>
                      <a:lnTo>
                        <a:pt x="399910" y="20205"/>
                      </a:lnTo>
                      <a:lnTo>
                        <a:pt x="399796" y="20421"/>
                      </a:lnTo>
                      <a:lnTo>
                        <a:pt x="399859" y="20154"/>
                      </a:lnTo>
                      <a:lnTo>
                        <a:pt x="400659" y="18923"/>
                      </a:lnTo>
                      <a:lnTo>
                        <a:pt x="401294" y="17843"/>
                      </a:lnTo>
                      <a:lnTo>
                        <a:pt x="402780" y="16268"/>
                      </a:lnTo>
                      <a:lnTo>
                        <a:pt x="403885" y="15100"/>
                      </a:lnTo>
                      <a:close/>
                    </a:path>
                    <a:path w="689610" h="564514">
                      <a:moveTo>
                        <a:pt x="424281" y="116408"/>
                      </a:moveTo>
                      <a:lnTo>
                        <a:pt x="423011" y="114338"/>
                      </a:lnTo>
                      <a:lnTo>
                        <a:pt x="422173" y="114376"/>
                      </a:lnTo>
                      <a:lnTo>
                        <a:pt x="420674" y="113398"/>
                      </a:lnTo>
                      <a:lnTo>
                        <a:pt x="423037" y="111810"/>
                      </a:lnTo>
                      <a:lnTo>
                        <a:pt x="423379" y="111023"/>
                      </a:lnTo>
                      <a:lnTo>
                        <a:pt x="422859" y="107734"/>
                      </a:lnTo>
                      <a:lnTo>
                        <a:pt x="422833" y="106883"/>
                      </a:lnTo>
                      <a:lnTo>
                        <a:pt x="420509" y="105930"/>
                      </a:lnTo>
                      <a:lnTo>
                        <a:pt x="420878" y="105041"/>
                      </a:lnTo>
                      <a:lnTo>
                        <a:pt x="419874" y="104152"/>
                      </a:lnTo>
                      <a:lnTo>
                        <a:pt x="418896" y="103987"/>
                      </a:lnTo>
                      <a:lnTo>
                        <a:pt x="415823" y="102450"/>
                      </a:lnTo>
                      <a:lnTo>
                        <a:pt x="414070" y="100291"/>
                      </a:lnTo>
                      <a:lnTo>
                        <a:pt x="409333" y="96786"/>
                      </a:lnTo>
                      <a:lnTo>
                        <a:pt x="405955" y="96774"/>
                      </a:lnTo>
                      <a:lnTo>
                        <a:pt x="403021" y="96354"/>
                      </a:lnTo>
                      <a:lnTo>
                        <a:pt x="390359" y="101053"/>
                      </a:lnTo>
                      <a:lnTo>
                        <a:pt x="385191" y="101930"/>
                      </a:lnTo>
                      <a:lnTo>
                        <a:pt x="384568" y="103759"/>
                      </a:lnTo>
                      <a:lnTo>
                        <a:pt x="385559" y="103619"/>
                      </a:lnTo>
                      <a:lnTo>
                        <a:pt x="386359" y="103035"/>
                      </a:lnTo>
                      <a:lnTo>
                        <a:pt x="387413" y="103276"/>
                      </a:lnTo>
                      <a:lnTo>
                        <a:pt x="385546" y="105651"/>
                      </a:lnTo>
                      <a:lnTo>
                        <a:pt x="381977" y="106819"/>
                      </a:lnTo>
                      <a:lnTo>
                        <a:pt x="379488" y="110617"/>
                      </a:lnTo>
                      <a:lnTo>
                        <a:pt x="378561" y="113601"/>
                      </a:lnTo>
                      <a:lnTo>
                        <a:pt x="378498" y="115138"/>
                      </a:lnTo>
                      <a:lnTo>
                        <a:pt x="381038" y="113779"/>
                      </a:lnTo>
                      <a:lnTo>
                        <a:pt x="380314" y="116827"/>
                      </a:lnTo>
                      <a:lnTo>
                        <a:pt x="384187" y="118071"/>
                      </a:lnTo>
                      <a:lnTo>
                        <a:pt x="383705" y="116039"/>
                      </a:lnTo>
                      <a:lnTo>
                        <a:pt x="384860" y="115493"/>
                      </a:lnTo>
                      <a:lnTo>
                        <a:pt x="385343" y="118313"/>
                      </a:lnTo>
                      <a:lnTo>
                        <a:pt x="388315" y="119545"/>
                      </a:lnTo>
                      <a:lnTo>
                        <a:pt x="390855" y="119862"/>
                      </a:lnTo>
                      <a:lnTo>
                        <a:pt x="391045" y="119532"/>
                      </a:lnTo>
                      <a:lnTo>
                        <a:pt x="392480" y="120256"/>
                      </a:lnTo>
                      <a:lnTo>
                        <a:pt x="392696" y="121119"/>
                      </a:lnTo>
                      <a:lnTo>
                        <a:pt x="394157" y="122047"/>
                      </a:lnTo>
                      <a:lnTo>
                        <a:pt x="395312" y="122440"/>
                      </a:lnTo>
                      <a:lnTo>
                        <a:pt x="394512" y="121018"/>
                      </a:lnTo>
                      <a:lnTo>
                        <a:pt x="395528" y="121627"/>
                      </a:lnTo>
                      <a:lnTo>
                        <a:pt x="396506" y="120434"/>
                      </a:lnTo>
                      <a:lnTo>
                        <a:pt x="399719" y="121551"/>
                      </a:lnTo>
                      <a:lnTo>
                        <a:pt x="399783" y="123990"/>
                      </a:lnTo>
                      <a:lnTo>
                        <a:pt x="402996" y="124358"/>
                      </a:lnTo>
                      <a:lnTo>
                        <a:pt x="403009" y="123850"/>
                      </a:lnTo>
                      <a:lnTo>
                        <a:pt x="404609" y="124320"/>
                      </a:lnTo>
                      <a:lnTo>
                        <a:pt x="405155" y="125069"/>
                      </a:lnTo>
                      <a:lnTo>
                        <a:pt x="406996" y="125679"/>
                      </a:lnTo>
                      <a:lnTo>
                        <a:pt x="414883" y="124142"/>
                      </a:lnTo>
                      <a:lnTo>
                        <a:pt x="422986" y="127596"/>
                      </a:lnTo>
                      <a:lnTo>
                        <a:pt x="424129" y="118389"/>
                      </a:lnTo>
                      <a:lnTo>
                        <a:pt x="424281" y="116408"/>
                      </a:lnTo>
                      <a:close/>
                    </a:path>
                    <a:path w="689610" h="564514">
                      <a:moveTo>
                        <a:pt x="635533" y="563905"/>
                      </a:moveTo>
                      <a:lnTo>
                        <a:pt x="635050" y="561238"/>
                      </a:lnTo>
                      <a:lnTo>
                        <a:pt x="635228" y="557923"/>
                      </a:lnTo>
                      <a:lnTo>
                        <a:pt x="633120" y="557034"/>
                      </a:lnTo>
                      <a:lnTo>
                        <a:pt x="632993" y="559498"/>
                      </a:lnTo>
                      <a:lnTo>
                        <a:pt x="632358" y="561606"/>
                      </a:lnTo>
                      <a:lnTo>
                        <a:pt x="631469" y="562635"/>
                      </a:lnTo>
                      <a:lnTo>
                        <a:pt x="631367" y="563740"/>
                      </a:lnTo>
                      <a:lnTo>
                        <a:pt x="635533" y="563905"/>
                      </a:lnTo>
                      <a:close/>
                    </a:path>
                    <a:path w="689610" h="564514">
                      <a:moveTo>
                        <a:pt x="642708" y="266547"/>
                      </a:moveTo>
                      <a:lnTo>
                        <a:pt x="639495" y="265620"/>
                      </a:lnTo>
                      <a:lnTo>
                        <a:pt x="638111" y="265455"/>
                      </a:lnTo>
                      <a:lnTo>
                        <a:pt x="627011" y="276186"/>
                      </a:lnTo>
                      <a:lnTo>
                        <a:pt x="622655" y="279209"/>
                      </a:lnTo>
                      <a:lnTo>
                        <a:pt x="626313" y="279501"/>
                      </a:lnTo>
                      <a:lnTo>
                        <a:pt x="627481" y="279590"/>
                      </a:lnTo>
                      <a:lnTo>
                        <a:pt x="629183" y="278511"/>
                      </a:lnTo>
                      <a:lnTo>
                        <a:pt x="631812" y="277863"/>
                      </a:lnTo>
                      <a:lnTo>
                        <a:pt x="633310" y="277279"/>
                      </a:lnTo>
                      <a:lnTo>
                        <a:pt x="634542" y="275653"/>
                      </a:lnTo>
                      <a:lnTo>
                        <a:pt x="634377" y="275196"/>
                      </a:lnTo>
                      <a:lnTo>
                        <a:pt x="635266" y="274116"/>
                      </a:lnTo>
                      <a:lnTo>
                        <a:pt x="636219" y="273824"/>
                      </a:lnTo>
                      <a:lnTo>
                        <a:pt x="637133" y="272529"/>
                      </a:lnTo>
                      <a:lnTo>
                        <a:pt x="637108" y="271068"/>
                      </a:lnTo>
                      <a:lnTo>
                        <a:pt x="638048" y="270395"/>
                      </a:lnTo>
                      <a:lnTo>
                        <a:pt x="637781" y="269887"/>
                      </a:lnTo>
                      <a:lnTo>
                        <a:pt x="638327" y="269570"/>
                      </a:lnTo>
                      <a:lnTo>
                        <a:pt x="638886" y="270306"/>
                      </a:lnTo>
                      <a:lnTo>
                        <a:pt x="639953" y="269748"/>
                      </a:lnTo>
                      <a:lnTo>
                        <a:pt x="642708" y="266547"/>
                      </a:lnTo>
                      <a:close/>
                    </a:path>
                    <a:path w="689610" h="564514">
                      <a:moveTo>
                        <a:pt x="689203" y="297383"/>
                      </a:moveTo>
                      <a:lnTo>
                        <a:pt x="684860" y="293878"/>
                      </a:lnTo>
                      <a:lnTo>
                        <a:pt x="683539" y="294119"/>
                      </a:lnTo>
                      <a:lnTo>
                        <a:pt x="680491" y="293357"/>
                      </a:lnTo>
                      <a:lnTo>
                        <a:pt x="679272" y="292506"/>
                      </a:lnTo>
                      <a:lnTo>
                        <a:pt x="677875" y="292100"/>
                      </a:lnTo>
                      <a:lnTo>
                        <a:pt x="676033" y="291566"/>
                      </a:lnTo>
                      <a:lnTo>
                        <a:pt x="672338" y="292608"/>
                      </a:lnTo>
                      <a:lnTo>
                        <a:pt x="672058" y="292849"/>
                      </a:lnTo>
                      <a:lnTo>
                        <a:pt x="670458" y="292557"/>
                      </a:lnTo>
                      <a:lnTo>
                        <a:pt x="669823" y="291922"/>
                      </a:lnTo>
                      <a:lnTo>
                        <a:pt x="668388" y="291884"/>
                      </a:lnTo>
                      <a:lnTo>
                        <a:pt x="666457" y="292735"/>
                      </a:lnTo>
                      <a:lnTo>
                        <a:pt x="664095" y="293395"/>
                      </a:lnTo>
                      <a:lnTo>
                        <a:pt x="663308" y="294005"/>
                      </a:lnTo>
                      <a:lnTo>
                        <a:pt x="660641" y="296456"/>
                      </a:lnTo>
                      <a:lnTo>
                        <a:pt x="659498" y="298386"/>
                      </a:lnTo>
                      <a:lnTo>
                        <a:pt x="656869" y="302209"/>
                      </a:lnTo>
                      <a:lnTo>
                        <a:pt x="655154" y="304050"/>
                      </a:lnTo>
                      <a:lnTo>
                        <a:pt x="654342" y="308686"/>
                      </a:lnTo>
                      <a:lnTo>
                        <a:pt x="655548" y="312254"/>
                      </a:lnTo>
                      <a:lnTo>
                        <a:pt x="656399" y="314172"/>
                      </a:lnTo>
                      <a:lnTo>
                        <a:pt x="660234" y="316826"/>
                      </a:lnTo>
                      <a:lnTo>
                        <a:pt x="662863" y="319481"/>
                      </a:lnTo>
                      <a:lnTo>
                        <a:pt x="670560" y="318427"/>
                      </a:lnTo>
                      <a:lnTo>
                        <a:pt x="673862" y="318719"/>
                      </a:lnTo>
                      <a:lnTo>
                        <a:pt x="687031" y="314058"/>
                      </a:lnTo>
                      <a:lnTo>
                        <a:pt x="687019" y="306654"/>
                      </a:lnTo>
                      <a:lnTo>
                        <a:pt x="686765" y="304812"/>
                      </a:lnTo>
                      <a:lnTo>
                        <a:pt x="684403" y="299859"/>
                      </a:lnTo>
                      <a:lnTo>
                        <a:pt x="689203" y="297383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05" name="object 45">
                  <a:extLst>
                    <a:ext uri="{FF2B5EF4-FFF2-40B4-BE49-F238E27FC236}">
                      <a16:creationId xmlns:a16="http://schemas.microsoft.com/office/drawing/2014/main" id="{92DAB59F-B8CC-0596-7012-5C5AC46481A5}"/>
                    </a:ext>
                  </a:extLst>
                </p:cNvPr>
                <p:cNvSpPr/>
                <p:nvPr/>
              </p:nvSpPr>
              <p:spPr>
                <a:xfrm>
                  <a:off x="1722211" y="1826822"/>
                  <a:ext cx="14604" cy="88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605" h="8889">
                      <a:moveTo>
                        <a:pt x="0" y="0"/>
                      </a:moveTo>
                      <a:lnTo>
                        <a:pt x="1790" y="1536"/>
                      </a:lnTo>
                      <a:lnTo>
                        <a:pt x="4533" y="2603"/>
                      </a:lnTo>
                      <a:lnTo>
                        <a:pt x="5600" y="4660"/>
                      </a:lnTo>
                      <a:lnTo>
                        <a:pt x="6032" y="5511"/>
                      </a:lnTo>
                      <a:lnTo>
                        <a:pt x="6134" y="6883"/>
                      </a:lnTo>
                      <a:lnTo>
                        <a:pt x="8636" y="8458"/>
                      </a:lnTo>
                      <a:lnTo>
                        <a:pt x="12395" y="8166"/>
                      </a:lnTo>
                      <a:lnTo>
                        <a:pt x="14414" y="6972"/>
                      </a:lnTo>
                      <a:lnTo>
                        <a:pt x="12941" y="5270"/>
                      </a:lnTo>
                      <a:lnTo>
                        <a:pt x="10947" y="3949"/>
                      </a:lnTo>
                      <a:lnTo>
                        <a:pt x="9207" y="2527"/>
                      </a:lnTo>
                      <a:lnTo>
                        <a:pt x="6324" y="1041"/>
                      </a:lnTo>
                      <a:lnTo>
                        <a:pt x="3200" y="46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06" name="object 46">
                  <a:extLst>
                    <a:ext uri="{FF2B5EF4-FFF2-40B4-BE49-F238E27FC236}">
                      <a16:creationId xmlns:a16="http://schemas.microsoft.com/office/drawing/2014/main" id="{AC1E7020-F9BA-016D-E7C3-DE9F1242239C}"/>
                    </a:ext>
                  </a:extLst>
                </p:cNvPr>
                <p:cNvSpPr/>
                <p:nvPr/>
              </p:nvSpPr>
              <p:spPr>
                <a:xfrm>
                  <a:off x="1209865" y="1440040"/>
                  <a:ext cx="434975" cy="41655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4975" h="416560">
                      <a:moveTo>
                        <a:pt x="26136" y="116370"/>
                      </a:moveTo>
                      <a:lnTo>
                        <a:pt x="25730" y="116217"/>
                      </a:lnTo>
                      <a:lnTo>
                        <a:pt x="24130" y="116382"/>
                      </a:lnTo>
                      <a:lnTo>
                        <a:pt x="26136" y="116370"/>
                      </a:lnTo>
                      <a:close/>
                    </a:path>
                    <a:path w="434975" h="416560">
                      <a:moveTo>
                        <a:pt x="36245" y="123431"/>
                      </a:moveTo>
                      <a:lnTo>
                        <a:pt x="36207" y="122809"/>
                      </a:lnTo>
                      <a:lnTo>
                        <a:pt x="35966" y="122224"/>
                      </a:lnTo>
                      <a:lnTo>
                        <a:pt x="35572" y="121399"/>
                      </a:lnTo>
                      <a:lnTo>
                        <a:pt x="34975" y="120916"/>
                      </a:lnTo>
                      <a:lnTo>
                        <a:pt x="34239" y="120586"/>
                      </a:lnTo>
                      <a:lnTo>
                        <a:pt x="33464" y="120192"/>
                      </a:lnTo>
                      <a:lnTo>
                        <a:pt x="27990" y="117030"/>
                      </a:lnTo>
                      <a:lnTo>
                        <a:pt x="26174" y="116382"/>
                      </a:lnTo>
                      <a:lnTo>
                        <a:pt x="24130" y="116382"/>
                      </a:lnTo>
                      <a:lnTo>
                        <a:pt x="22529" y="116382"/>
                      </a:lnTo>
                      <a:lnTo>
                        <a:pt x="22021" y="116446"/>
                      </a:lnTo>
                      <a:lnTo>
                        <a:pt x="19824" y="116624"/>
                      </a:lnTo>
                      <a:lnTo>
                        <a:pt x="17780" y="117208"/>
                      </a:lnTo>
                      <a:lnTo>
                        <a:pt x="13843" y="117170"/>
                      </a:lnTo>
                      <a:lnTo>
                        <a:pt x="11861" y="117081"/>
                      </a:lnTo>
                      <a:lnTo>
                        <a:pt x="9766" y="117182"/>
                      </a:lnTo>
                      <a:lnTo>
                        <a:pt x="9372" y="117233"/>
                      </a:lnTo>
                      <a:lnTo>
                        <a:pt x="8801" y="117259"/>
                      </a:lnTo>
                      <a:lnTo>
                        <a:pt x="8242" y="117335"/>
                      </a:lnTo>
                      <a:lnTo>
                        <a:pt x="7340" y="117500"/>
                      </a:lnTo>
                      <a:lnTo>
                        <a:pt x="6375" y="117805"/>
                      </a:lnTo>
                      <a:lnTo>
                        <a:pt x="6070" y="117843"/>
                      </a:lnTo>
                      <a:lnTo>
                        <a:pt x="5715" y="117995"/>
                      </a:lnTo>
                      <a:lnTo>
                        <a:pt x="5410" y="118224"/>
                      </a:lnTo>
                      <a:lnTo>
                        <a:pt x="5181" y="118287"/>
                      </a:lnTo>
                      <a:lnTo>
                        <a:pt x="4381" y="118833"/>
                      </a:lnTo>
                      <a:lnTo>
                        <a:pt x="2362" y="121399"/>
                      </a:lnTo>
                      <a:lnTo>
                        <a:pt x="1866" y="121881"/>
                      </a:lnTo>
                      <a:lnTo>
                        <a:pt x="279" y="123278"/>
                      </a:lnTo>
                      <a:lnTo>
                        <a:pt x="0" y="123799"/>
                      </a:lnTo>
                      <a:lnTo>
                        <a:pt x="355" y="124079"/>
                      </a:lnTo>
                      <a:lnTo>
                        <a:pt x="292" y="124434"/>
                      </a:lnTo>
                      <a:lnTo>
                        <a:pt x="1765" y="124993"/>
                      </a:lnTo>
                      <a:lnTo>
                        <a:pt x="12153" y="130175"/>
                      </a:lnTo>
                      <a:lnTo>
                        <a:pt x="12407" y="130263"/>
                      </a:lnTo>
                      <a:lnTo>
                        <a:pt x="12636" y="130429"/>
                      </a:lnTo>
                      <a:lnTo>
                        <a:pt x="12877" y="130556"/>
                      </a:lnTo>
                      <a:lnTo>
                        <a:pt x="13055" y="130733"/>
                      </a:lnTo>
                      <a:lnTo>
                        <a:pt x="13157" y="131051"/>
                      </a:lnTo>
                      <a:lnTo>
                        <a:pt x="13220" y="131546"/>
                      </a:lnTo>
                      <a:lnTo>
                        <a:pt x="13322" y="131787"/>
                      </a:lnTo>
                      <a:lnTo>
                        <a:pt x="13411" y="132321"/>
                      </a:lnTo>
                      <a:lnTo>
                        <a:pt x="13792" y="132346"/>
                      </a:lnTo>
                      <a:lnTo>
                        <a:pt x="14274" y="132486"/>
                      </a:lnTo>
                      <a:lnTo>
                        <a:pt x="14986" y="132969"/>
                      </a:lnTo>
                      <a:lnTo>
                        <a:pt x="15748" y="133451"/>
                      </a:lnTo>
                      <a:lnTo>
                        <a:pt x="17868" y="135280"/>
                      </a:lnTo>
                      <a:lnTo>
                        <a:pt x="19316" y="136664"/>
                      </a:lnTo>
                      <a:lnTo>
                        <a:pt x="20853" y="137871"/>
                      </a:lnTo>
                      <a:lnTo>
                        <a:pt x="21755" y="138709"/>
                      </a:lnTo>
                      <a:lnTo>
                        <a:pt x="22517" y="139471"/>
                      </a:lnTo>
                      <a:lnTo>
                        <a:pt x="23139" y="140360"/>
                      </a:lnTo>
                      <a:lnTo>
                        <a:pt x="27203" y="138709"/>
                      </a:lnTo>
                      <a:lnTo>
                        <a:pt x="30111" y="135077"/>
                      </a:lnTo>
                      <a:lnTo>
                        <a:pt x="34061" y="131546"/>
                      </a:lnTo>
                      <a:lnTo>
                        <a:pt x="35483" y="127177"/>
                      </a:lnTo>
                      <a:lnTo>
                        <a:pt x="35433" y="125869"/>
                      </a:lnTo>
                      <a:lnTo>
                        <a:pt x="35699" y="124625"/>
                      </a:lnTo>
                      <a:lnTo>
                        <a:pt x="36245" y="123431"/>
                      </a:lnTo>
                      <a:close/>
                    </a:path>
                    <a:path w="434975" h="416560">
                      <a:moveTo>
                        <a:pt x="39484" y="14071"/>
                      </a:moveTo>
                      <a:lnTo>
                        <a:pt x="35966" y="12827"/>
                      </a:lnTo>
                      <a:lnTo>
                        <a:pt x="32626" y="10922"/>
                      </a:lnTo>
                      <a:lnTo>
                        <a:pt x="32994" y="10375"/>
                      </a:lnTo>
                      <a:lnTo>
                        <a:pt x="32131" y="10083"/>
                      </a:lnTo>
                      <a:lnTo>
                        <a:pt x="31737" y="10337"/>
                      </a:lnTo>
                      <a:lnTo>
                        <a:pt x="30378" y="9867"/>
                      </a:lnTo>
                      <a:lnTo>
                        <a:pt x="29705" y="10960"/>
                      </a:lnTo>
                      <a:lnTo>
                        <a:pt x="29705" y="7150"/>
                      </a:lnTo>
                      <a:lnTo>
                        <a:pt x="28790" y="6502"/>
                      </a:lnTo>
                      <a:lnTo>
                        <a:pt x="25222" y="3149"/>
                      </a:lnTo>
                      <a:lnTo>
                        <a:pt x="22555" y="1270"/>
                      </a:lnTo>
                      <a:lnTo>
                        <a:pt x="19672" y="0"/>
                      </a:lnTo>
                      <a:lnTo>
                        <a:pt x="17780" y="330"/>
                      </a:lnTo>
                      <a:lnTo>
                        <a:pt x="15354" y="292"/>
                      </a:lnTo>
                      <a:lnTo>
                        <a:pt x="13703" y="1346"/>
                      </a:lnTo>
                      <a:lnTo>
                        <a:pt x="17221" y="3594"/>
                      </a:lnTo>
                      <a:lnTo>
                        <a:pt x="16891" y="8267"/>
                      </a:lnTo>
                      <a:lnTo>
                        <a:pt x="19748" y="11277"/>
                      </a:lnTo>
                      <a:lnTo>
                        <a:pt x="21628" y="13258"/>
                      </a:lnTo>
                      <a:lnTo>
                        <a:pt x="22593" y="15608"/>
                      </a:lnTo>
                      <a:lnTo>
                        <a:pt x="26187" y="18262"/>
                      </a:lnTo>
                      <a:lnTo>
                        <a:pt x="27038" y="17284"/>
                      </a:lnTo>
                      <a:lnTo>
                        <a:pt x="30543" y="18110"/>
                      </a:lnTo>
                      <a:lnTo>
                        <a:pt x="31051" y="19532"/>
                      </a:lnTo>
                      <a:lnTo>
                        <a:pt x="34163" y="19024"/>
                      </a:lnTo>
                      <a:lnTo>
                        <a:pt x="36360" y="18834"/>
                      </a:lnTo>
                      <a:lnTo>
                        <a:pt x="39484" y="14071"/>
                      </a:lnTo>
                      <a:close/>
                    </a:path>
                    <a:path w="434975" h="416560">
                      <a:moveTo>
                        <a:pt x="51219" y="77190"/>
                      </a:moveTo>
                      <a:lnTo>
                        <a:pt x="46634" y="74460"/>
                      </a:lnTo>
                      <a:lnTo>
                        <a:pt x="46532" y="71818"/>
                      </a:lnTo>
                      <a:lnTo>
                        <a:pt x="44729" y="69938"/>
                      </a:lnTo>
                      <a:lnTo>
                        <a:pt x="42456" y="69608"/>
                      </a:lnTo>
                      <a:lnTo>
                        <a:pt x="41109" y="68935"/>
                      </a:lnTo>
                      <a:lnTo>
                        <a:pt x="38874" y="69748"/>
                      </a:lnTo>
                      <a:lnTo>
                        <a:pt x="35979" y="70256"/>
                      </a:lnTo>
                      <a:lnTo>
                        <a:pt x="32651" y="73113"/>
                      </a:lnTo>
                      <a:lnTo>
                        <a:pt x="31623" y="74663"/>
                      </a:lnTo>
                      <a:lnTo>
                        <a:pt x="29984" y="78105"/>
                      </a:lnTo>
                      <a:lnTo>
                        <a:pt x="30314" y="77889"/>
                      </a:lnTo>
                      <a:lnTo>
                        <a:pt x="31673" y="78549"/>
                      </a:lnTo>
                      <a:lnTo>
                        <a:pt x="32943" y="79171"/>
                      </a:lnTo>
                      <a:lnTo>
                        <a:pt x="33934" y="79730"/>
                      </a:lnTo>
                      <a:lnTo>
                        <a:pt x="38252" y="80949"/>
                      </a:lnTo>
                      <a:lnTo>
                        <a:pt x="40436" y="80657"/>
                      </a:lnTo>
                      <a:lnTo>
                        <a:pt x="45707" y="79616"/>
                      </a:lnTo>
                      <a:lnTo>
                        <a:pt x="51219" y="77190"/>
                      </a:lnTo>
                      <a:close/>
                    </a:path>
                    <a:path w="434975" h="416560">
                      <a:moveTo>
                        <a:pt x="334302" y="403542"/>
                      </a:moveTo>
                      <a:lnTo>
                        <a:pt x="334035" y="403174"/>
                      </a:lnTo>
                      <a:lnTo>
                        <a:pt x="333908" y="403199"/>
                      </a:lnTo>
                      <a:lnTo>
                        <a:pt x="334302" y="403542"/>
                      </a:lnTo>
                      <a:close/>
                    </a:path>
                    <a:path w="434975" h="416560">
                      <a:moveTo>
                        <a:pt x="360603" y="384924"/>
                      </a:moveTo>
                      <a:lnTo>
                        <a:pt x="358914" y="385521"/>
                      </a:lnTo>
                      <a:lnTo>
                        <a:pt x="356400" y="385140"/>
                      </a:lnTo>
                      <a:lnTo>
                        <a:pt x="355333" y="384327"/>
                      </a:lnTo>
                      <a:lnTo>
                        <a:pt x="352894" y="384784"/>
                      </a:lnTo>
                      <a:lnTo>
                        <a:pt x="352869" y="385699"/>
                      </a:lnTo>
                      <a:lnTo>
                        <a:pt x="350304" y="386041"/>
                      </a:lnTo>
                      <a:lnTo>
                        <a:pt x="349224" y="385305"/>
                      </a:lnTo>
                      <a:lnTo>
                        <a:pt x="346748" y="386067"/>
                      </a:lnTo>
                      <a:lnTo>
                        <a:pt x="345859" y="386791"/>
                      </a:lnTo>
                      <a:lnTo>
                        <a:pt x="343649" y="387769"/>
                      </a:lnTo>
                      <a:lnTo>
                        <a:pt x="343014" y="388150"/>
                      </a:lnTo>
                      <a:lnTo>
                        <a:pt x="340728" y="386880"/>
                      </a:lnTo>
                      <a:lnTo>
                        <a:pt x="340614" y="385673"/>
                      </a:lnTo>
                      <a:lnTo>
                        <a:pt x="338391" y="386257"/>
                      </a:lnTo>
                      <a:lnTo>
                        <a:pt x="337108" y="387299"/>
                      </a:lnTo>
                      <a:lnTo>
                        <a:pt x="335953" y="388950"/>
                      </a:lnTo>
                      <a:lnTo>
                        <a:pt x="336423" y="390105"/>
                      </a:lnTo>
                      <a:lnTo>
                        <a:pt x="334886" y="393280"/>
                      </a:lnTo>
                      <a:lnTo>
                        <a:pt x="332473" y="394639"/>
                      </a:lnTo>
                      <a:lnTo>
                        <a:pt x="330593" y="396151"/>
                      </a:lnTo>
                      <a:lnTo>
                        <a:pt x="331457" y="398043"/>
                      </a:lnTo>
                      <a:lnTo>
                        <a:pt x="332105" y="400481"/>
                      </a:lnTo>
                      <a:lnTo>
                        <a:pt x="334035" y="403174"/>
                      </a:lnTo>
                      <a:lnTo>
                        <a:pt x="335661" y="402767"/>
                      </a:lnTo>
                      <a:lnTo>
                        <a:pt x="335991" y="402170"/>
                      </a:lnTo>
                      <a:lnTo>
                        <a:pt x="337870" y="401612"/>
                      </a:lnTo>
                      <a:lnTo>
                        <a:pt x="339902" y="402259"/>
                      </a:lnTo>
                      <a:lnTo>
                        <a:pt x="343598" y="402539"/>
                      </a:lnTo>
                      <a:lnTo>
                        <a:pt x="345173" y="401612"/>
                      </a:lnTo>
                      <a:lnTo>
                        <a:pt x="346430" y="400875"/>
                      </a:lnTo>
                      <a:lnTo>
                        <a:pt x="349478" y="397916"/>
                      </a:lnTo>
                      <a:lnTo>
                        <a:pt x="351155" y="396709"/>
                      </a:lnTo>
                      <a:lnTo>
                        <a:pt x="353923" y="393547"/>
                      </a:lnTo>
                      <a:lnTo>
                        <a:pt x="357378" y="393192"/>
                      </a:lnTo>
                      <a:lnTo>
                        <a:pt x="359549" y="389801"/>
                      </a:lnTo>
                      <a:lnTo>
                        <a:pt x="358902" y="388658"/>
                      </a:lnTo>
                      <a:lnTo>
                        <a:pt x="359130" y="388150"/>
                      </a:lnTo>
                      <a:lnTo>
                        <a:pt x="360095" y="386041"/>
                      </a:lnTo>
                      <a:lnTo>
                        <a:pt x="360337" y="385521"/>
                      </a:lnTo>
                      <a:lnTo>
                        <a:pt x="360603" y="384924"/>
                      </a:lnTo>
                      <a:close/>
                    </a:path>
                    <a:path w="434975" h="416560">
                      <a:moveTo>
                        <a:pt x="382638" y="227990"/>
                      </a:moveTo>
                      <a:lnTo>
                        <a:pt x="382447" y="227799"/>
                      </a:lnTo>
                      <a:lnTo>
                        <a:pt x="382346" y="227965"/>
                      </a:lnTo>
                      <a:lnTo>
                        <a:pt x="382206" y="227965"/>
                      </a:lnTo>
                      <a:lnTo>
                        <a:pt x="382638" y="227990"/>
                      </a:lnTo>
                      <a:close/>
                    </a:path>
                    <a:path w="434975" h="416560">
                      <a:moveTo>
                        <a:pt x="396722" y="222465"/>
                      </a:moveTo>
                      <a:lnTo>
                        <a:pt x="393026" y="221716"/>
                      </a:lnTo>
                      <a:lnTo>
                        <a:pt x="391325" y="221399"/>
                      </a:lnTo>
                      <a:lnTo>
                        <a:pt x="391502" y="221780"/>
                      </a:lnTo>
                      <a:lnTo>
                        <a:pt x="389940" y="222694"/>
                      </a:lnTo>
                      <a:lnTo>
                        <a:pt x="388277" y="223735"/>
                      </a:lnTo>
                      <a:lnTo>
                        <a:pt x="387451" y="223723"/>
                      </a:lnTo>
                      <a:lnTo>
                        <a:pt x="386080" y="223723"/>
                      </a:lnTo>
                      <a:lnTo>
                        <a:pt x="384492" y="222123"/>
                      </a:lnTo>
                      <a:lnTo>
                        <a:pt x="380746" y="221589"/>
                      </a:lnTo>
                      <a:lnTo>
                        <a:pt x="378040" y="222415"/>
                      </a:lnTo>
                      <a:lnTo>
                        <a:pt x="381368" y="224142"/>
                      </a:lnTo>
                      <a:lnTo>
                        <a:pt x="379260" y="224180"/>
                      </a:lnTo>
                      <a:lnTo>
                        <a:pt x="377456" y="223570"/>
                      </a:lnTo>
                      <a:lnTo>
                        <a:pt x="375348" y="224929"/>
                      </a:lnTo>
                      <a:lnTo>
                        <a:pt x="377278" y="225793"/>
                      </a:lnTo>
                      <a:lnTo>
                        <a:pt x="379056" y="224751"/>
                      </a:lnTo>
                      <a:lnTo>
                        <a:pt x="380873" y="226225"/>
                      </a:lnTo>
                      <a:lnTo>
                        <a:pt x="382447" y="227799"/>
                      </a:lnTo>
                      <a:lnTo>
                        <a:pt x="383286" y="226491"/>
                      </a:lnTo>
                      <a:lnTo>
                        <a:pt x="383578" y="226288"/>
                      </a:lnTo>
                      <a:lnTo>
                        <a:pt x="383667" y="226961"/>
                      </a:lnTo>
                      <a:lnTo>
                        <a:pt x="383209" y="228053"/>
                      </a:lnTo>
                      <a:lnTo>
                        <a:pt x="383679" y="228701"/>
                      </a:lnTo>
                      <a:lnTo>
                        <a:pt x="386511" y="229552"/>
                      </a:lnTo>
                      <a:lnTo>
                        <a:pt x="386651" y="229616"/>
                      </a:lnTo>
                      <a:lnTo>
                        <a:pt x="386549" y="229082"/>
                      </a:lnTo>
                      <a:lnTo>
                        <a:pt x="385559" y="226288"/>
                      </a:lnTo>
                      <a:lnTo>
                        <a:pt x="386435" y="225463"/>
                      </a:lnTo>
                      <a:lnTo>
                        <a:pt x="387515" y="226326"/>
                      </a:lnTo>
                      <a:lnTo>
                        <a:pt x="394068" y="225463"/>
                      </a:lnTo>
                      <a:lnTo>
                        <a:pt x="396087" y="225196"/>
                      </a:lnTo>
                      <a:lnTo>
                        <a:pt x="396189" y="224751"/>
                      </a:lnTo>
                      <a:lnTo>
                        <a:pt x="396328" y="224180"/>
                      </a:lnTo>
                      <a:lnTo>
                        <a:pt x="396430" y="223735"/>
                      </a:lnTo>
                      <a:lnTo>
                        <a:pt x="396722" y="222465"/>
                      </a:lnTo>
                      <a:close/>
                    </a:path>
                    <a:path w="434975" h="416560">
                      <a:moveTo>
                        <a:pt x="397751" y="401142"/>
                      </a:moveTo>
                      <a:lnTo>
                        <a:pt x="396138" y="399961"/>
                      </a:lnTo>
                      <a:lnTo>
                        <a:pt x="394144" y="398030"/>
                      </a:lnTo>
                      <a:lnTo>
                        <a:pt x="393865" y="397370"/>
                      </a:lnTo>
                      <a:lnTo>
                        <a:pt x="391744" y="397535"/>
                      </a:lnTo>
                      <a:lnTo>
                        <a:pt x="391477" y="398221"/>
                      </a:lnTo>
                      <a:lnTo>
                        <a:pt x="390994" y="398272"/>
                      </a:lnTo>
                      <a:lnTo>
                        <a:pt x="391160" y="398246"/>
                      </a:lnTo>
                      <a:lnTo>
                        <a:pt x="389826" y="397789"/>
                      </a:lnTo>
                      <a:lnTo>
                        <a:pt x="388594" y="397649"/>
                      </a:lnTo>
                      <a:lnTo>
                        <a:pt x="387616" y="397725"/>
                      </a:lnTo>
                      <a:lnTo>
                        <a:pt x="386067" y="399046"/>
                      </a:lnTo>
                      <a:lnTo>
                        <a:pt x="385102" y="400659"/>
                      </a:lnTo>
                      <a:lnTo>
                        <a:pt x="383806" y="402475"/>
                      </a:lnTo>
                      <a:lnTo>
                        <a:pt x="383235" y="403529"/>
                      </a:lnTo>
                      <a:lnTo>
                        <a:pt x="382574" y="406146"/>
                      </a:lnTo>
                      <a:lnTo>
                        <a:pt x="382473" y="408622"/>
                      </a:lnTo>
                      <a:lnTo>
                        <a:pt x="383641" y="412369"/>
                      </a:lnTo>
                      <a:lnTo>
                        <a:pt x="387223" y="414324"/>
                      </a:lnTo>
                      <a:lnTo>
                        <a:pt x="389293" y="416052"/>
                      </a:lnTo>
                      <a:lnTo>
                        <a:pt x="391934" y="414705"/>
                      </a:lnTo>
                      <a:lnTo>
                        <a:pt x="391502" y="413893"/>
                      </a:lnTo>
                      <a:lnTo>
                        <a:pt x="392671" y="411276"/>
                      </a:lnTo>
                      <a:lnTo>
                        <a:pt x="393433" y="410400"/>
                      </a:lnTo>
                      <a:lnTo>
                        <a:pt x="394106" y="409422"/>
                      </a:lnTo>
                      <a:lnTo>
                        <a:pt x="395033" y="407746"/>
                      </a:lnTo>
                      <a:lnTo>
                        <a:pt x="395389" y="406869"/>
                      </a:lnTo>
                      <a:lnTo>
                        <a:pt x="396036" y="406031"/>
                      </a:lnTo>
                      <a:lnTo>
                        <a:pt x="395947" y="407149"/>
                      </a:lnTo>
                      <a:lnTo>
                        <a:pt x="396925" y="405206"/>
                      </a:lnTo>
                      <a:lnTo>
                        <a:pt x="397306" y="403110"/>
                      </a:lnTo>
                      <a:lnTo>
                        <a:pt x="397116" y="401053"/>
                      </a:lnTo>
                      <a:lnTo>
                        <a:pt x="397751" y="401142"/>
                      </a:lnTo>
                      <a:close/>
                    </a:path>
                    <a:path w="434975" h="416560">
                      <a:moveTo>
                        <a:pt x="434581" y="232740"/>
                      </a:moveTo>
                      <a:lnTo>
                        <a:pt x="428929" y="231216"/>
                      </a:lnTo>
                      <a:lnTo>
                        <a:pt x="428129" y="230886"/>
                      </a:lnTo>
                      <a:lnTo>
                        <a:pt x="425107" y="231228"/>
                      </a:lnTo>
                      <a:lnTo>
                        <a:pt x="424649" y="232067"/>
                      </a:lnTo>
                      <a:lnTo>
                        <a:pt x="424357" y="234721"/>
                      </a:lnTo>
                      <a:lnTo>
                        <a:pt x="424434" y="237578"/>
                      </a:lnTo>
                      <a:lnTo>
                        <a:pt x="426377" y="239331"/>
                      </a:lnTo>
                      <a:lnTo>
                        <a:pt x="429590" y="238417"/>
                      </a:lnTo>
                      <a:lnTo>
                        <a:pt x="430936" y="239141"/>
                      </a:lnTo>
                      <a:lnTo>
                        <a:pt x="430631" y="239255"/>
                      </a:lnTo>
                      <a:lnTo>
                        <a:pt x="431787" y="238861"/>
                      </a:lnTo>
                      <a:lnTo>
                        <a:pt x="431457" y="236499"/>
                      </a:lnTo>
                      <a:lnTo>
                        <a:pt x="432650" y="235077"/>
                      </a:lnTo>
                      <a:lnTo>
                        <a:pt x="434581" y="234289"/>
                      </a:lnTo>
                      <a:lnTo>
                        <a:pt x="434581" y="232740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07" name="object 47">
                  <a:extLst>
                    <a:ext uri="{FF2B5EF4-FFF2-40B4-BE49-F238E27FC236}">
                      <a16:creationId xmlns:a16="http://schemas.microsoft.com/office/drawing/2014/main" id="{7B6B2FB0-3367-CE89-5A24-B1EE1926BC95}"/>
                    </a:ext>
                  </a:extLst>
                </p:cNvPr>
                <p:cNvSpPr/>
                <p:nvPr/>
              </p:nvSpPr>
              <p:spPr>
                <a:xfrm>
                  <a:off x="1804530" y="1853608"/>
                  <a:ext cx="12065" cy="82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064" h="8255">
                      <a:moveTo>
                        <a:pt x="3771" y="0"/>
                      </a:moveTo>
                      <a:lnTo>
                        <a:pt x="0" y="1955"/>
                      </a:lnTo>
                      <a:lnTo>
                        <a:pt x="2489" y="3073"/>
                      </a:lnTo>
                      <a:lnTo>
                        <a:pt x="4483" y="4508"/>
                      </a:lnTo>
                      <a:lnTo>
                        <a:pt x="6527" y="6134"/>
                      </a:lnTo>
                      <a:lnTo>
                        <a:pt x="8064" y="7366"/>
                      </a:lnTo>
                      <a:lnTo>
                        <a:pt x="8051" y="8204"/>
                      </a:lnTo>
                      <a:lnTo>
                        <a:pt x="9956" y="6489"/>
                      </a:lnTo>
                      <a:lnTo>
                        <a:pt x="9842" y="5981"/>
                      </a:lnTo>
                      <a:lnTo>
                        <a:pt x="10236" y="5499"/>
                      </a:lnTo>
                      <a:lnTo>
                        <a:pt x="10795" y="5676"/>
                      </a:lnTo>
                      <a:lnTo>
                        <a:pt x="11544" y="4343"/>
                      </a:lnTo>
                      <a:lnTo>
                        <a:pt x="11557" y="3060"/>
                      </a:lnTo>
                      <a:lnTo>
                        <a:pt x="11747" y="2019"/>
                      </a:lnTo>
                      <a:lnTo>
                        <a:pt x="7874" y="1193"/>
                      </a:lnTo>
                      <a:lnTo>
                        <a:pt x="3771" y="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08" name="object 48">
                  <a:extLst>
                    <a:ext uri="{FF2B5EF4-FFF2-40B4-BE49-F238E27FC236}">
                      <a16:creationId xmlns:a16="http://schemas.microsoft.com/office/drawing/2014/main" id="{A59E9241-B268-3D4C-96D6-219F18C37B41}"/>
                    </a:ext>
                  </a:extLst>
                </p:cNvPr>
                <p:cNvSpPr/>
                <p:nvPr/>
              </p:nvSpPr>
              <p:spPr>
                <a:xfrm>
                  <a:off x="1119632" y="1408607"/>
                  <a:ext cx="513715" cy="4140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3714" h="414019">
                      <a:moveTo>
                        <a:pt x="58674" y="10071"/>
                      </a:moveTo>
                      <a:lnTo>
                        <a:pt x="58153" y="8013"/>
                      </a:lnTo>
                      <a:lnTo>
                        <a:pt x="54991" y="5549"/>
                      </a:lnTo>
                      <a:lnTo>
                        <a:pt x="53467" y="5727"/>
                      </a:lnTo>
                      <a:lnTo>
                        <a:pt x="49085" y="2743"/>
                      </a:lnTo>
                      <a:lnTo>
                        <a:pt x="39662" y="0"/>
                      </a:lnTo>
                      <a:lnTo>
                        <a:pt x="34328" y="965"/>
                      </a:lnTo>
                      <a:lnTo>
                        <a:pt x="32270" y="1816"/>
                      </a:lnTo>
                      <a:lnTo>
                        <a:pt x="1511" y="11188"/>
                      </a:lnTo>
                      <a:lnTo>
                        <a:pt x="0" y="12852"/>
                      </a:lnTo>
                      <a:lnTo>
                        <a:pt x="1206" y="15570"/>
                      </a:lnTo>
                      <a:lnTo>
                        <a:pt x="3187" y="15455"/>
                      </a:lnTo>
                      <a:lnTo>
                        <a:pt x="4546" y="15138"/>
                      </a:lnTo>
                      <a:lnTo>
                        <a:pt x="8077" y="14325"/>
                      </a:lnTo>
                      <a:lnTo>
                        <a:pt x="11061" y="12954"/>
                      </a:lnTo>
                      <a:lnTo>
                        <a:pt x="17640" y="12242"/>
                      </a:lnTo>
                      <a:lnTo>
                        <a:pt x="19989" y="13398"/>
                      </a:lnTo>
                      <a:lnTo>
                        <a:pt x="20294" y="14122"/>
                      </a:lnTo>
                      <a:lnTo>
                        <a:pt x="22364" y="15341"/>
                      </a:lnTo>
                      <a:lnTo>
                        <a:pt x="24511" y="15214"/>
                      </a:lnTo>
                      <a:lnTo>
                        <a:pt x="26085" y="15417"/>
                      </a:lnTo>
                      <a:lnTo>
                        <a:pt x="27520" y="14389"/>
                      </a:lnTo>
                      <a:lnTo>
                        <a:pt x="29603" y="12141"/>
                      </a:lnTo>
                      <a:lnTo>
                        <a:pt x="32270" y="11455"/>
                      </a:lnTo>
                      <a:lnTo>
                        <a:pt x="34340" y="12115"/>
                      </a:lnTo>
                      <a:lnTo>
                        <a:pt x="39535" y="12712"/>
                      </a:lnTo>
                      <a:lnTo>
                        <a:pt x="43751" y="13423"/>
                      </a:lnTo>
                      <a:lnTo>
                        <a:pt x="50812" y="13817"/>
                      </a:lnTo>
                      <a:lnTo>
                        <a:pt x="55600" y="15265"/>
                      </a:lnTo>
                      <a:lnTo>
                        <a:pt x="58674" y="10071"/>
                      </a:lnTo>
                      <a:close/>
                    </a:path>
                    <a:path w="513714" h="414019">
                      <a:moveTo>
                        <a:pt x="162306" y="85813"/>
                      </a:moveTo>
                      <a:lnTo>
                        <a:pt x="161264" y="85305"/>
                      </a:lnTo>
                      <a:lnTo>
                        <a:pt x="160375" y="84683"/>
                      </a:lnTo>
                      <a:lnTo>
                        <a:pt x="159778" y="84416"/>
                      </a:lnTo>
                      <a:lnTo>
                        <a:pt x="159461" y="84328"/>
                      </a:lnTo>
                      <a:lnTo>
                        <a:pt x="158927" y="84315"/>
                      </a:lnTo>
                      <a:lnTo>
                        <a:pt x="158673" y="84378"/>
                      </a:lnTo>
                      <a:lnTo>
                        <a:pt x="156273" y="84366"/>
                      </a:lnTo>
                      <a:lnTo>
                        <a:pt x="151269" y="85725"/>
                      </a:lnTo>
                      <a:lnTo>
                        <a:pt x="149745" y="86093"/>
                      </a:lnTo>
                      <a:lnTo>
                        <a:pt x="148615" y="86296"/>
                      </a:lnTo>
                      <a:lnTo>
                        <a:pt x="147078" y="86918"/>
                      </a:lnTo>
                      <a:lnTo>
                        <a:pt x="146710" y="87134"/>
                      </a:lnTo>
                      <a:lnTo>
                        <a:pt x="145021" y="88519"/>
                      </a:lnTo>
                      <a:lnTo>
                        <a:pt x="143903" y="89839"/>
                      </a:lnTo>
                      <a:lnTo>
                        <a:pt x="142354" y="90754"/>
                      </a:lnTo>
                      <a:lnTo>
                        <a:pt x="162306" y="85813"/>
                      </a:lnTo>
                      <a:close/>
                    </a:path>
                    <a:path w="513714" h="414019">
                      <a:moveTo>
                        <a:pt x="513105" y="409295"/>
                      </a:moveTo>
                      <a:lnTo>
                        <a:pt x="510590" y="406501"/>
                      </a:lnTo>
                      <a:lnTo>
                        <a:pt x="509612" y="405866"/>
                      </a:lnTo>
                      <a:lnTo>
                        <a:pt x="509016" y="406222"/>
                      </a:lnTo>
                      <a:lnTo>
                        <a:pt x="508457" y="406006"/>
                      </a:lnTo>
                      <a:lnTo>
                        <a:pt x="508317" y="405422"/>
                      </a:lnTo>
                      <a:lnTo>
                        <a:pt x="507847" y="405282"/>
                      </a:lnTo>
                      <a:lnTo>
                        <a:pt x="507301" y="405079"/>
                      </a:lnTo>
                      <a:lnTo>
                        <a:pt x="505358" y="404583"/>
                      </a:lnTo>
                      <a:lnTo>
                        <a:pt x="504177" y="405117"/>
                      </a:lnTo>
                      <a:lnTo>
                        <a:pt x="502627" y="404495"/>
                      </a:lnTo>
                      <a:lnTo>
                        <a:pt x="502208" y="404698"/>
                      </a:lnTo>
                      <a:lnTo>
                        <a:pt x="497636" y="406603"/>
                      </a:lnTo>
                      <a:lnTo>
                        <a:pt x="498398" y="407517"/>
                      </a:lnTo>
                      <a:lnTo>
                        <a:pt x="499198" y="407771"/>
                      </a:lnTo>
                      <a:lnTo>
                        <a:pt x="501307" y="409371"/>
                      </a:lnTo>
                      <a:lnTo>
                        <a:pt x="502767" y="411099"/>
                      </a:lnTo>
                      <a:lnTo>
                        <a:pt x="506476" y="413778"/>
                      </a:lnTo>
                      <a:lnTo>
                        <a:pt x="507111" y="413651"/>
                      </a:lnTo>
                      <a:lnTo>
                        <a:pt x="509066" y="412699"/>
                      </a:lnTo>
                      <a:lnTo>
                        <a:pt x="510438" y="412026"/>
                      </a:lnTo>
                      <a:lnTo>
                        <a:pt x="511721" y="411810"/>
                      </a:lnTo>
                      <a:lnTo>
                        <a:pt x="513105" y="409295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09" name="object 49">
                  <a:extLst>
                    <a:ext uri="{FF2B5EF4-FFF2-40B4-BE49-F238E27FC236}">
                      <a16:creationId xmlns:a16="http://schemas.microsoft.com/office/drawing/2014/main" id="{4D04E056-6F5B-3C61-3CB7-1C1A65E190F0}"/>
                    </a:ext>
                  </a:extLst>
                </p:cNvPr>
                <p:cNvSpPr/>
                <p:nvPr/>
              </p:nvSpPr>
              <p:spPr>
                <a:xfrm>
                  <a:off x="836129" y="2009472"/>
                  <a:ext cx="21590" cy="20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590" h="20319">
                      <a:moveTo>
                        <a:pt x="8000" y="16700"/>
                      </a:moveTo>
                      <a:lnTo>
                        <a:pt x="6718" y="16916"/>
                      </a:lnTo>
                      <a:lnTo>
                        <a:pt x="6413" y="18262"/>
                      </a:lnTo>
                      <a:lnTo>
                        <a:pt x="8572" y="19634"/>
                      </a:lnTo>
                      <a:lnTo>
                        <a:pt x="10540" y="20294"/>
                      </a:lnTo>
                      <a:lnTo>
                        <a:pt x="12090" y="19951"/>
                      </a:lnTo>
                      <a:lnTo>
                        <a:pt x="13373" y="19481"/>
                      </a:lnTo>
                      <a:lnTo>
                        <a:pt x="13030" y="19392"/>
                      </a:lnTo>
                      <a:lnTo>
                        <a:pt x="12699" y="19075"/>
                      </a:lnTo>
                      <a:lnTo>
                        <a:pt x="12407" y="18948"/>
                      </a:lnTo>
                      <a:lnTo>
                        <a:pt x="14757" y="18059"/>
                      </a:lnTo>
                      <a:lnTo>
                        <a:pt x="17168" y="18059"/>
                      </a:lnTo>
                      <a:lnTo>
                        <a:pt x="17246" y="17119"/>
                      </a:lnTo>
                      <a:lnTo>
                        <a:pt x="10337" y="17119"/>
                      </a:lnTo>
                      <a:lnTo>
                        <a:pt x="9909" y="16802"/>
                      </a:lnTo>
                      <a:lnTo>
                        <a:pt x="8483" y="16802"/>
                      </a:lnTo>
                      <a:lnTo>
                        <a:pt x="8000" y="16700"/>
                      </a:lnTo>
                      <a:close/>
                    </a:path>
                    <a:path w="21590" h="20319">
                      <a:moveTo>
                        <a:pt x="17168" y="18059"/>
                      </a:moveTo>
                      <a:lnTo>
                        <a:pt x="14757" y="18059"/>
                      </a:lnTo>
                      <a:lnTo>
                        <a:pt x="17132" y="18491"/>
                      </a:lnTo>
                      <a:lnTo>
                        <a:pt x="17168" y="18059"/>
                      </a:lnTo>
                      <a:close/>
                    </a:path>
                    <a:path w="21590" h="20319">
                      <a:moveTo>
                        <a:pt x="17441" y="14782"/>
                      </a:moveTo>
                      <a:lnTo>
                        <a:pt x="6857" y="14782"/>
                      </a:lnTo>
                      <a:lnTo>
                        <a:pt x="7129" y="14955"/>
                      </a:lnTo>
                      <a:lnTo>
                        <a:pt x="10515" y="15557"/>
                      </a:lnTo>
                      <a:lnTo>
                        <a:pt x="10337" y="17119"/>
                      </a:lnTo>
                      <a:lnTo>
                        <a:pt x="17246" y="17119"/>
                      </a:lnTo>
                      <a:lnTo>
                        <a:pt x="17441" y="14782"/>
                      </a:lnTo>
                      <a:close/>
                    </a:path>
                    <a:path w="21590" h="20319">
                      <a:moveTo>
                        <a:pt x="9550" y="16535"/>
                      </a:moveTo>
                      <a:lnTo>
                        <a:pt x="7607" y="16535"/>
                      </a:lnTo>
                      <a:lnTo>
                        <a:pt x="8483" y="16802"/>
                      </a:lnTo>
                      <a:lnTo>
                        <a:pt x="9909" y="16802"/>
                      </a:lnTo>
                      <a:lnTo>
                        <a:pt x="9550" y="16535"/>
                      </a:lnTo>
                      <a:close/>
                    </a:path>
                    <a:path w="21590" h="20319">
                      <a:moveTo>
                        <a:pt x="6793" y="14895"/>
                      </a:moveTo>
                      <a:lnTo>
                        <a:pt x="5714" y="16776"/>
                      </a:lnTo>
                      <a:lnTo>
                        <a:pt x="6591" y="16560"/>
                      </a:lnTo>
                      <a:lnTo>
                        <a:pt x="7607" y="16535"/>
                      </a:lnTo>
                      <a:lnTo>
                        <a:pt x="9550" y="16535"/>
                      </a:lnTo>
                      <a:lnTo>
                        <a:pt x="9156" y="16243"/>
                      </a:lnTo>
                      <a:lnTo>
                        <a:pt x="7129" y="14955"/>
                      </a:lnTo>
                      <a:lnTo>
                        <a:pt x="6793" y="14895"/>
                      </a:lnTo>
                      <a:close/>
                    </a:path>
                    <a:path w="21590" h="20319">
                      <a:moveTo>
                        <a:pt x="6857" y="14782"/>
                      </a:moveTo>
                      <a:lnTo>
                        <a:pt x="7129" y="14955"/>
                      </a:lnTo>
                      <a:lnTo>
                        <a:pt x="6857" y="14782"/>
                      </a:lnTo>
                      <a:close/>
                    </a:path>
                    <a:path w="21590" h="20319">
                      <a:moveTo>
                        <a:pt x="12830" y="8039"/>
                      </a:moveTo>
                      <a:lnTo>
                        <a:pt x="2095" y="8039"/>
                      </a:lnTo>
                      <a:lnTo>
                        <a:pt x="2244" y="8547"/>
                      </a:lnTo>
                      <a:lnTo>
                        <a:pt x="2031" y="9029"/>
                      </a:lnTo>
                      <a:lnTo>
                        <a:pt x="1997" y="10020"/>
                      </a:lnTo>
                      <a:lnTo>
                        <a:pt x="2158" y="10401"/>
                      </a:lnTo>
                      <a:lnTo>
                        <a:pt x="3314" y="10947"/>
                      </a:lnTo>
                      <a:lnTo>
                        <a:pt x="3619" y="11252"/>
                      </a:lnTo>
                      <a:lnTo>
                        <a:pt x="3086" y="11252"/>
                      </a:lnTo>
                      <a:lnTo>
                        <a:pt x="2705" y="11404"/>
                      </a:lnTo>
                      <a:lnTo>
                        <a:pt x="2285" y="11480"/>
                      </a:lnTo>
                      <a:lnTo>
                        <a:pt x="3086" y="14236"/>
                      </a:lnTo>
                      <a:lnTo>
                        <a:pt x="6793" y="14895"/>
                      </a:lnTo>
                      <a:lnTo>
                        <a:pt x="17441" y="14782"/>
                      </a:lnTo>
                      <a:lnTo>
                        <a:pt x="17513" y="13919"/>
                      </a:lnTo>
                      <a:lnTo>
                        <a:pt x="16827" y="12331"/>
                      </a:lnTo>
                      <a:lnTo>
                        <a:pt x="16976" y="11760"/>
                      </a:lnTo>
                      <a:lnTo>
                        <a:pt x="9423" y="11760"/>
                      </a:lnTo>
                      <a:lnTo>
                        <a:pt x="9572" y="11252"/>
                      </a:lnTo>
                      <a:lnTo>
                        <a:pt x="3619" y="11252"/>
                      </a:lnTo>
                      <a:lnTo>
                        <a:pt x="3213" y="11201"/>
                      </a:lnTo>
                      <a:lnTo>
                        <a:pt x="9587" y="11201"/>
                      </a:lnTo>
                      <a:lnTo>
                        <a:pt x="9639" y="11023"/>
                      </a:lnTo>
                      <a:lnTo>
                        <a:pt x="10553" y="10540"/>
                      </a:lnTo>
                      <a:lnTo>
                        <a:pt x="10769" y="10325"/>
                      </a:lnTo>
                      <a:lnTo>
                        <a:pt x="9410" y="10325"/>
                      </a:lnTo>
                      <a:lnTo>
                        <a:pt x="11823" y="8394"/>
                      </a:lnTo>
                      <a:lnTo>
                        <a:pt x="12830" y="8039"/>
                      </a:lnTo>
                      <a:close/>
                    </a:path>
                    <a:path w="21590" h="20319">
                      <a:moveTo>
                        <a:pt x="13728" y="2717"/>
                      </a:moveTo>
                      <a:lnTo>
                        <a:pt x="15900" y="4279"/>
                      </a:lnTo>
                      <a:lnTo>
                        <a:pt x="14980" y="5333"/>
                      </a:lnTo>
                      <a:lnTo>
                        <a:pt x="15849" y="6972"/>
                      </a:lnTo>
                      <a:lnTo>
                        <a:pt x="13575" y="7775"/>
                      </a:lnTo>
                      <a:lnTo>
                        <a:pt x="13408" y="8102"/>
                      </a:lnTo>
                      <a:lnTo>
                        <a:pt x="13304" y="9029"/>
                      </a:lnTo>
                      <a:lnTo>
                        <a:pt x="13352" y="9220"/>
                      </a:lnTo>
                      <a:lnTo>
                        <a:pt x="13468" y="9944"/>
                      </a:lnTo>
                      <a:lnTo>
                        <a:pt x="11506" y="11264"/>
                      </a:lnTo>
                      <a:lnTo>
                        <a:pt x="10286" y="11277"/>
                      </a:lnTo>
                      <a:lnTo>
                        <a:pt x="9423" y="11760"/>
                      </a:lnTo>
                      <a:lnTo>
                        <a:pt x="16976" y="11760"/>
                      </a:lnTo>
                      <a:lnTo>
                        <a:pt x="18075" y="7581"/>
                      </a:lnTo>
                      <a:lnTo>
                        <a:pt x="20198" y="4279"/>
                      </a:lnTo>
                      <a:lnTo>
                        <a:pt x="21056" y="3276"/>
                      </a:lnTo>
                      <a:lnTo>
                        <a:pt x="15951" y="3276"/>
                      </a:lnTo>
                      <a:lnTo>
                        <a:pt x="13728" y="2717"/>
                      </a:lnTo>
                      <a:close/>
                    </a:path>
                    <a:path w="21590" h="20319">
                      <a:moveTo>
                        <a:pt x="11150" y="9944"/>
                      </a:moveTo>
                      <a:lnTo>
                        <a:pt x="10515" y="9969"/>
                      </a:lnTo>
                      <a:lnTo>
                        <a:pt x="9994" y="10020"/>
                      </a:lnTo>
                      <a:lnTo>
                        <a:pt x="9410" y="10325"/>
                      </a:lnTo>
                      <a:lnTo>
                        <a:pt x="10769" y="10325"/>
                      </a:lnTo>
                      <a:lnTo>
                        <a:pt x="11150" y="9944"/>
                      </a:lnTo>
                      <a:close/>
                    </a:path>
                    <a:path w="21590" h="20319">
                      <a:moveTo>
                        <a:pt x="14836" y="5499"/>
                      </a:moveTo>
                      <a:lnTo>
                        <a:pt x="25" y="5499"/>
                      </a:lnTo>
                      <a:lnTo>
                        <a:pt x="800" y="7871"/>
                      </a:lnTo>
                      <a:lnTo>
                        <a:pt x="1739" y="8153"/>
                      </a:lnTo>
                      <a:lnTo>
                        <a:pt x="2095" y="8039"/>
                      </a:lnTo>
                      <a:lnTo>
                        <a:pt x="12830" y="8039"/>
                      </a:lnTo>
                      <a:lnTo>
                        <a:pt x="13575" y="7775"/>
                      </a:lnTo>
                      <a:lnTo>
                        <a:pt x="14592" y="5778"/>
                      </a:lnTo>
                      <a:lnTo>
                        <a:pt x="14836" y="5499"/>
                      </a:lnTo>
                      <a:close/>
                    </a:path>
                    <a:path w="21590" h="20319">
                      <a:moveTo>
                        <a:pt x="368" y="7581"/>
                      </a:moveTo>
                      <a:lnTo>
                        <a:pt x="876" y="8102"/>
                      </a:lnTo>
                      <a:lnTo>
                        <a:pt x="800" y="7871"/>
                      </a:lnTo>
                      <a:lnTo>
                        <a:pt x="596" y="7810"/>
                      </a:lnTo>
                      <a:lnTo>
                        <a:pt x="368" y="7581"/>
                      </a:lnTo>
                      <a:close/>
                    </a:path>
                    <a:path w="21590" h="20319">
                      <a:moveTo>
                        <a:pt x="14980" y="5333"/>
                      </a:moveTo>
                      <a:lnTo>
                        <a:pt x="14592" y="5778"/>
                      </a:lnTo>
                      <a:lnTo>
                        <a:pt x="13575" y="7775"/>
                      </a:lnTo>
                      <a:lnTo>
                        <a:pt x="15849" y="6972"/>
                      </a:lnTo>
                      <a:lnTo>
                        <a:pt x="14980" y="5333"/>
                      </a:lnTo>
                      <a:close/>
                    </a:path>
                    <a:path w="21590" h="20319">
                      <a:moveTo>
                        <a:pt x="2133" y="0"/>
                      </a:moveTo>
                      <a:lnTo>
                        <a:pt x="939" y="177"/>
                      </a:lnTo>
                      <a:lnTo>
                        <a:pt x="1139" y="761"/>
                      </a:lnTo>
                      <a:lnTo>
                        <a:pt x="1264" y="2565"/>
                      </a:lnTo>
                      <a:lnTo>
                        <a:pt x="1079" y="3644"/>
                      </a:lnTo>
                      <a:lnTo>
                        <a:pt x="76" y="4508"/>
                      </a:lnTo>
                      <a:lnTo>
                        <a:pt x="0" y="5943"/>
                      </a:lnTo>
                      <a:lnTo>
                        <a:pt x="25" y="5499"/>
                      </a:lnTo>
                      <a:lnTo>
                        <a:pt x="14836" y="5499"/>
                      </a:lnTo>
                      <a:lnTo>
                        <a:pt x="14980" y="5333"/>
                      </a:lnTo>
                      <a:lnTo>
                        <a:pt x="13876" y="3251"/>
                      </a:lnTo>
                      <a:lnTo>
                        <a:pt x="8839" y="3251"/>
                      </a:lnTo>
                      <a:lnTo>
                        <a:pt x="7896" y="888"/>
                      </a:lnTo>
                      <a:lnTo>
                        <a:pt x="4571" y="888"/>
                      </a:lnTo>
                      <a:lnTo>
                        <a:pt x="2730" y="533"/>
                      </a:lnTo>
                      <a:lnTo>
                        <a:pt x="2133" y="0"/>
                      </a:lnTo>
                      <a:close/>
                    </a:path>
                    <a:path w="21590" h="20319">
                      <a:moveTo>
                        <a:pt x="20993" y="431"/>
                      </a:moveTo>
                      <a:lnTo>
                        <a:pt x="19519" y="2565"/>
                      </a:lnTo>
                      <a:lnTo>
                        <a:pt x="15951" y="3276"/>
                      </a:lnTo>
                      <a:lnTo>
                        <a:pt x="21056" y="3276"/>
                      </a:lnTo>
                      <a:lnTo>
                        <a:pt x="21285" y="3009"/>
                      </a:lnTo>
                      <a:lnTo>
                        <a:pt x="20993" y="431"/>
                      </a:lnTo>
                      <a:close/>
                    </a:path>
                    <a:path w="21590" h="20319">
                      <a:moveTo>
                        <a:pt x="11836" y="1244"/>
                      </a:moveTo>
                      <a:lnTo>
                        <a:pt x="9080" y="2133"/>
                      </a:lnTo>
                      <a:lnTo>
                        <a:pt x="8839" y="3251"/>
                      </a:lnTo>
                      <a:lnTo>
                        <a:pt x="13876" y="3251"/>
                      </a:lnTo>
                      <a:lnTo>
                        <a:pt x="12852" y="1320"/>
                      </a:lnTo>
                      <a:lnTo>
                        <a:pt x="11836" y="1244"/>
                      </a:lnTo>
                      <a:close/>
                    </a:path>
                    <a:path w="21590" h="20319">
                      <a:moveTo>
                        <a:pt x="5092" y="698"/>
                      </a:moveTo>
                      <a:lnTo>
                        <a:pt x="4571" y="888"/>
                      </a:lnTo>
                      <a:lnTo>
                        <a:pt x="7896" y="888"/>
                      </a:lnTo>
                      <a:lnTo>
                        <a:pt x="7845" y="761"/>
                      </a:lnTo>
                      <a:lnTo>
                        <a:pt x="6769" y="761"/>
                      </a:lnTo>
                      <a:lnTo>
                        <a:pt x="5092" y="698"/>
                      </a:lnTo>
                      <a:close/>
                    </a:path>
                    <a:path w="21590" h="20319">
                      <a:moveTo>
                        <a:pt x="7785" y="609"/>
                      </a:moveTo>
                      <a:lnTo>
                        <a:pt x="6769" y="761"/>
                      </a:lnTo>
                      <a:lnTo>
                        <a:pt x="7845" y="761"/>
                      </a:lnTo>
                      <a:lnTo>
                        <a:pt x="7785" y="609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10" name="object 50">
                  <a:extLst>
                    <a:ext uri="{FF2B5EF4-FFF2-40B4-BE49-F238E27FC236}">
                      <a16:creationId xmlns:a16="http://schemas.microsoft.com/office/drawing/2014/main" id="{40260D1A-29F6-B8E3-E1A5-D0429668FC25}"/>
                    </a:ext>
                  </a:extLst>
                </p:cNvPr>
                <p:cNvSpPr/>
                <p:nvPr/>
              </p:nvSpPr>
              <p:spPr>
                <a:xfrm>
                  <a:off x="1567370" y="1960448"/>
                  <a:ext cx="318770" cy="2114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8769" h="211455">
                      <a:moveTo>
                        <a:pt x="19469" y="73456"/>
                      </a:moveTo>
                      <a:lnTo>
                        <a:pt x="16611" y="71450"/>
                      </a:lnTo>
                      <a:lnTo>
                        <a:pt x="13754" y="68465"/>
                      </a:lnTo>
                      <a:lnTo>
                        <a:pt x="10947" y="67068"/>
                      </a:lnTo>
                      <a:lnTo>
                        <a:pt x="7670" y="67856"/>
                      </a:lnTo>
                      <a:lnTo>
                        <a:pt x="3289" y="68503"/>
                      </a:lnTo>
                      <a:lnTo>
                        <a:pt x="596" y="68859"/>
                      </a:lnTo>
                      <a:lnTo>
                        <a:pt x="0" y="72326"/>
                      </a:lnTo>
                      <a:lnTo>
                        <a:pt x="5130" y="73698"/>
                      </a:lnTo>
                      <a:lnTo>
                        <a:pt x="6959" y="74231"/>
                      </a:lnTo>
                      <a:lnTo>
                        <a:pt x="9029" y="74828"/>
                      </a:lnTo>
                      <a:lnTo>
                        <a:pt x="10922" y="75044"/>
                      </a:lnTo>
                      <a:lnTo>
                        <a:pt x="14757" y="76873"/>
                      </a:lnTo>
                      <a:lnTo>
                        <a:pt x="17322" y="76669"/>
                      </a:lnTo>
                      <a:lnTo>
                        <a:pt x="18872" y="77952"/>
                      </a:lnTo>
                      <a:lnTo>
                        <a:pt x="19469" y="73456"/>
                      </a:lnTo>
                      <a:close/>
                    </a:path>
                    <a:path w="318769" h="211455">
                      <a:moveTo>
                        <a:pt x="41808" y="8623"/>
                      </a:moveTo>
                      <a:lnTo>
                        <a:pt x="41668" y="8255"/>
                      </a:lnTo>
                      <a:lnTo>
                        <a:pt x="41275" y="8839"/>
                      </a:lnTo>
                      <a:lnTo>
                        <a:pt x="41808" y="8623"/>
                      </a:lnTo>
                      <a:close/>
                    </a:path>
                    <a:path w="318769" h="211455">
                      <a:moveTo>
                        <a:pt x="42875" y="8178"/>
                      </a:moveTo>
                      <a:lnTo>
                        <a:pt x="41948" y="8559"/>
                      </a:lnTo>
                      <a:lnTo>
                        <a:pt x="41935" y="8966"/>
                      </a:lnTo>
                      <a:lnTo>
                        <a:pt x="42291" y="9956"/>
                      </a:lnTo>
                      <a:lnTo>
                        <a:pt x="42875" y="8178"/>
                      </a:lnTo>
                      <a:close/>
                    </a:path>
                    <a:path w="318769" h="211455">
                      <a:moveTo>
                        <a:pt x="46151" y="5422"/>
                      </a:moveTo>
                      <a:lnTo>
                        <a:pt x="45504" y="4838"/>
                      </a:lnTo>
                      <a:lnTo>
                        <a:pt x="44843" y="4229"/>
                      </a:lnTo>
                      <a:lnTo>
                        <a:pt x="44208" y="3657"/>
                      </a:lnTo>
                      <a:lnTo>
                        <a:pt x="43370" y="4229"/>
                      </a:lnTo>
                      <a:lnTo>
                        <a:pt x="42837" y="3860"/>
                      </a:lnTo>
                      <a:lnTo>
                        <a:pt x="42176" y="3365"/>
                      </a:lnTo>
                      <a:lnTo>
                        <a:pt x="41808" y="2095"/>
                      </a:lnTo>
                      <a:lnTo>
                        <a:pt x="41287" y="1435"/>
                      </a:lnTo>
                      <a:lnTo>
                        <a:pt x="40182" y="444"/>
                      </a:lnTo>
                      <a:lnTo>
                        <a:pt x="39789" y="0"/>
                      </a:lnTo>
                      <a:lnTo>
                        <a:pt x="39204" y="1168"/>
                      </a:lnTo>
                      <a:lnTo>
                        <a:pt x="39243" y="1435"/>
                      </a:lnTo>
                      <a:lnTo>
                        <a:pt x="39357" y="3365"/>
                      </a:lnTo>
                      <a:lnTo>
                        <a:pt x="38785" y="5410"/>
                      </a:lnTo>
                      <a:lnTo>
                        <a:pt x="38290" y="7734"/>
                      </a:lnTo>
                      <a:lnTo>
                        <a:pt x="36779" y="9283"/>
                      </a:lnTo>
                      <a:lnTo>
                        <a:pt x="35826" y="8966"/>
                      </a:lnTo>
                      <a:lnTo>
                        <a:pt x="35077" y="10160"/>
                      </a:lnTo>
                      <a:lnTo>
                        <a:pt x="36360" y="7099"/>
                      </a:lnTo>
                      <a:lnTo>
                        <a:pt x="37769" y="4978"/>
                      </a:lnTo>
                      <a:lnTo>
                        <a:pt x="37185" y="1435"/>
                      </a:lnTo>
                      <a:lnTo>
                        <a:pt x="36207" y="2781"/>
                      </a:lnTo>
                      <a:lnTo>
                        <a:pt x="37045" y="5740"/>
                      </a:lnTo>
                      <a:lnTo>
                        <a:pt x="34874" y="8559"/>
                      </a:lnTo>
                      <a:lnTo>
                        <a:pt x="33515" y="9118"/>
                      </a:lnTo>
                      <a:lnTo>
                        <a:pt x="31521" y="11303"/>
                      </a:lnTo>
                      <a:lnTo>
                        <a:pt x="30670" y="12712"/>
                      </a:lnTo>
                      <a:lnTo>
                        <a:pt x="29311" y="13881"/>
                      </a:lnTo>
                      <a:lnTo>
                        <a:pt x="29908" y="14592"/>
                      </a:lnTo>
                      <a:lnTo>
                        <a:pt x="30441" y="15354"/>
                      </a:lnTo>
                      <a:lnTo>
                        <a:pt x="31165" y="15900"/>
                      </a:lnTo>
                      <a:lnTo>
                        <a:pt x="31775" y="14274"/>
                      </a:lnTo>
                      <a:lnTo>
                        <a:pt x="34582" y="10871"/>
                      </a:lnTo>
                      <a:lnTo>
                        <a:pt x="36931" y="10160"/>
                      </a:lnTo>
                      <a:lnTo>
                        <a:pt x="37680" y="9931"/>
                      </a:lnTo>
                      <a:lnTo>
                        <a:pt x="36322" y="11163"/>
                      </a:lnTo>
                      <a:lnTo>
                        <a:pt x="34785" y="13487"/>
                      </a:lnTo>
                      <a:lnTo>
                        <a:pt x="33362" y="15151"/>
                      </a:lnTo>
                      <a:lnTo>
                        <a:pt x="32626" y="16865"/>
                      </a:lnTo>
                      <a:lnTo>
                        <a:pt x="35090" y="15709"/>
                      </a:lnTo>
                      <a:lnTo>
                        <a:pt x="36931" y="15646"/>
                      </a:lnTo>
                      <a:lnTo>
                        <a:pt x="39497" y="11569"/>
                      </a:lnTo>
                      <a:lnTo>
                        <a:pt x="40170" y="9931"/>
                      </a:lnTo>
                      <a:lnTo>
                        <a:pt x="40284" y="9652"/>
                      </a:lnTo>
                      <a:lnTo>
                        <a:pt x="40563" y="9283"/>
                      </a:lnTo>
                      <a:lnTo>
                        <a:pt x="41567" y="7975"/>
                      </a:lnTo>
                      <a:lnTo>
                        <a:pt x="41668" y="8255"/>
                      </a:lnTo>
                      <a:lnTo>
                        <a:pt x="41859" y="7975"/>
                      </a:lnTo>
                      <a:lnTo>
                        <a:pt x="43992" y="4838"/>
                      </a:lnTo>
                      <a:lnTo>
                        <a:pt x="43688" y="7975"/>
                      </a:lnTo>
                      <a:lnTo>
                        <a:pt x="43561" y="8255"/>
                      </a:lnTo>
                      <a:lnTo>
                        <a:pt x="42392" y="9931"/>
                      </a:lnTo>
                      <a:lnTo>
                        <a:pt x="42405" y="10261"/>
                      </a:lnTo>
                      <a:lnTo>
                        <a:pt x="41935" y="10947"/>
                      </a:lnTo>
                      <a:lnTo>
                        <a:pt x="42202" y="10198"/>
                      </a:lnTo>
                      <a:lnTo>
                        <a:pt x="41389" y="11379"/>
                      </a:lnTo>
                      <a:lnTo>
                        <a:pt x="41313" y="11849"/>
                      </a:lnTo>
                      <a:lnTo>
                        <a:pt x="40386" y="13182"/>
                      </a:lnTo>
                      <a:lnTo>
                        <a:pt x="39636" y="15290"/>
                      </a:lnTo>
                      <a:lnTo>
                        <a:pt x="40970" y="13487"/>
                      </a:lnTo>
                      <a:lnTo>
                        <a:pt x="41071" y="13208"/>
                      </a:lnTo>
                      <a:lnTo>
                        <a:pt x="40767" y="14986"/>
                      </a:lnTo>
                      <a:lnTo>
                        <a:pt x="41694" y="12712"/>
                      </a:lnTo>
                      <a:lnTo>
                        <a:pt x="42430" y="10579"/>
                      </a:lnTo>
                      <a:lnTo>
                        <a:pt x="44361" y="7556"/>
                      </a:lnTo>
                      <a:lnTo>
                        <a:pt x="46151" y="5422"/>
                      </a:lnTo>
                      <a:close/>
                    </a:path>
                    <a:path w="318769" h="211455">
                      <a:moveTo>
                        <a:pt x="318287" y="202387"/>
                      </a:moveTo>
                      <a:lnTo>
                        <a:pt x="318173" y="199580"/>
                      </a:lnTo>
                      <a:lnTo>
                        <a:pt x="318084" y="199339"/>
                      </a:lnTo>
                      <a:lnTo>
                        <a:pt x="317855" y="199059"/>
                      </a:lnTo>
                      <a:lnTo>
                        <a:pt x="317347" y="198945"/>
                      </a:lnTo>
                      <a:lnTo>
                        <a:pt x="316699" y="198501"/>
                      </a:lnTo>
                      <a:lnTo>
                        <a:pt x="315048" y="198120"/>
                      </a:lnTo>
                      <a:lnTo>
                        <a:pt x="314833" y="198018"/>
                      </a:lnTo>
                      <a:lnTo>
                        <a:pt x="312915" y="197129"/>
                      </a:lnTo>
                      <a:lnTo>
                        <a:pt x="311353" y="196329"/>
                      </a:lnTo>
                      <a:lnTo>
                        <a:pt x="311353" y="198018"/>
                      </a:lnTo>
                      <a:lnTo>
                        <a:pt x="309575" y="199275"/>
                      </a:lnTo>
                      <a:lnTo>
                        <a:pt x="307898" y="200748"/>
                      </a:lnTo>
                      <a:lnTo>
                        <a:pt x="304990" y="202615"/>
                      </a:lnTo>
                      <a:lnTo>
                        <a:pt x="304647" y="202907"/>
                      </a:lnTo>
                      <a:lnTo>
                        <a:pt x="304571" y="203581"/>
                      </a:lnTo>
                      <a:lnTo>
                        <a:pt x="304673" y="203847"/>
                      </a:lnTo>
                      <a:lnTo>
                        <a:pt x="304965" y="204038"/>
                      </a:lnTo>
                      <a:lnTo>
                        <a:pt x="306565" y="204266"/>
                      </a:lnTo>
                      <a:lnTo>
                        <a:pt x="308864" y="202539"/>
                      </a:lnTo>
                      <a:lnTo>
                        <a:pt x="309803" y="202387"/>
                      </a:lnTo>
                      <a:lnTo>
                        <a:pt x="308978" y="203352"/>
                      </a:lnTo>
                      <a:lnTo>
                        <a:pt x="307721" y="203949"/>
                      </a:lnTo>
                      <a:lnTo>
                        <a:pt x="305879" y="205486"/>
                      </a:lnTo>
                      <a:lnTo>
                        <a:pt x="305193" y="206108"/>
                      </a:lnTo>
                      <a:lnTo>
                        <a:pt x="304965" y="206375"/>
                      </a:lnTo>
                      <a:lnTo>
                        <a:pt x="304914" y="206514"/>
                      </a:lnTo>
                      <a:lnTo>
                        <a:pt x="304152" y="207721"/>
                      </a:lnTo>
                      <a:lnTo>
                        <a:pt x="303403" y="208216"/>
                      </a:lnTo>
                      <a:lnTo>
                        <a:pt x="302514" y="208267"/>
                      </a:lnTo>
                      <a:lnTo>
                        <a:pt x="301421" y="208013"/>
                      </a:lnTo>
                      <a:lnTo>
                        <a:pt x="300278" y="207797"/>
                      </a:lnTo>
                      <a:lnTo>
                        <a:pt x="299262" y="207302"/>
                      </a:lnTo>
                      <a:lnTo>
                        <a:pt x="299351" y="206514"/>
                      </a:lnTo>
                      <a:lnTo>
                        <a:pt x="299897" y="206019"/>
                      </a:lnTo>
                      <a:lnTo>
                        <a:pt x="300812" y="205613"/>
                      </a:lnTo>
                      <a:lnTo>
                        <a:pt x="301294" y="205486"/>
                      </a:lnTo>
                      <a:lnTo>
                        <a:pt x="300977" y="205384"/>
                      </a:lnTo>
                      <a:lnTo>
                        <a:pt x="300228" y="204990"/>
                      </a:lnTo>
                      <a:lnTo>
                        <a:pt x="300088" y="204812"/>
                      </a:lnTo>
                      <a:lnTo>
                        <a:pt x="300177" y="204508"/>
                      </a:lnTo>
                      <a:lnTo>
                        <a:pt x="300558" y="204177"/>
                      </a:lnTo>
                      <a:lnTo>
                        <a:pt x="302234" y="203746"/>
                      </a:lnTo>
                      <a:lnTo>
                        <a:pt x="302996" y="203581"/>
                      </a:lnTo>
                      <a:lnTo>
                        <a:pt x="303453" y="203415"/>
                      </a:lnTo>
                      <a:lnTo>
                        <a:pt x="303593" y="203301"/>
                      </a:lnTo>
                      <a:lnTo>
                        <a:pt x="303898" y="203060"/>
                      </a:lnTo>
                      <a:lnTo>
                        <a:pt x="304038" y="202907"/>
                      </a:lnTo>
                      <a:lnTo>
                        <a:pt x="304368" y="202222"/>
                      </a:lnTo>
                      <a:lnTo>
                        <a:pt x="304749" y="201041"/>
                      </a:lnTo>
                      <a:lnTo>
                        <a:pt x="303110" y="201777"/>
                      </a:lnTo>
                      <a:lnTo>
                        <a:pt x="301294" y="202755"/>
                      </a:lnTo>
                      <a:lnTo>
                        <a:pt x="299529" y="203301"/>
                      </a:lnTo>
                      <a:lnTo>
                        <a:pt x="300774" y="202222"/>
                      </a:lnTo>
                      <a:lnTo>
                        <a:pt x="302920" y="201193"/>
                      </a:lnTo>
                      <a:lnTo>
                        <a:pt x="304863" y="200787"/>
                      </a:lnTo>
                      <a:lnTo>
                        <a:pt x="305511" y="200533"/>
                      </a:lnTo>
                      <a:lnTo>
                        <a:pt x="306349" y="200113"/>
                      </a:lnTo>
                      <a:lnTo>
                        <a:pt x="307073" y="199580"/>
                      </a:lnTo>
                      <a:lnTo>
                        <a:pt x="306374" y="200977"/>
                      </a:lnTo>
                      <a:lnTo>
                        <a:pt x="306844" y="200799"/>
                      </a:lnTo>
                      <a:lnTo>
                        <a:pt x="307289" y="200533"/>
                      </a:lnTo>
                      <a:lnTo>
                        <a:pt x="308914" y="199275"/>
                      </a:lnTo>
                      <a:lnTo>
                        <a:pt x="309841" y="198221"/>
                      </a:lnTo>
                      <a:lnTo>
                        <a:pt x="311353" y="198018"/>
                      </a:lnTo>
                      <a:lnTo>
                        <a:pt x="311353" y="196329"/>
                      </a:lnTo>
                      <a:lnTo>
                        <a:pt x="310184" y="195719"/>
                      </a:lnTo>
                      <a:lnTo>
                        <a:pt x="309295" y="196773"/>
                      </a:lnTo>
                      <a:lnTo>
                        <a:pt x="309435" y="196202"/>
                      </a:lnTo>
                      <a:lnTo>
                        <a:pt x="308533" y="196621"/>
                      </a:lnTo>
                      <a:lnTo>
                        <a:pt x="308533" y="198120"/>
                      </a:lnTo>
                      <a:lnTo>
                        <a:pt x="308152" y="198501"/>
                      </a:lnTo>
                      <a:lnTo>
                        <a:pt x="307771" y="198970"/>
                      </a:lnTo>
                      <a:lnTo>
                        <a:pt x="307898" y="198793"/>
                      </a:lnTo>
                      <a:lnTo>
                        <a:pt x="308152" y="198501"/>
                      </a:lnTo>
                      <a:lnTo>
                        <a:pt x="308305" y="198323"/>
                      </a:lnTo>
                      <a:lnTo>
                        <a:pt x="308533" y="198120"/>
                      </a:lnTo>
                      <a:lnTo>
                        <a:pt x="308533" y="196621"/>
                      </a:lnTo>
                      <a:lnTo>
                        <a:pt x="308394" y="196672"/>
                      </a:lnTo>
                      <a:lnTo>
                        <a:pt x="306920" y="198386"/>
                      </a:lnTo>
                      <a:lnTo>
                        <a:pt x="307454" y="196672"/>
                      </a:lnTo>
                      <a:lnTo>
                        <a:pt x="308597" y="195300"/>
                      </a:lnTo>
                      <a:lnTo>
                        <a:pt x="309359" y="193535"/>
                      </a:lnTo>
                      <a:lnTo>
                        <a:pt x="309448" y="193370"/>
                      </a:lnTo>
                      <a:lnTo>
                        <a:pt x="309867" y="192176"/>
                      </a:lnTo>
                      <a:lnTo>
                        <a:pt x="310273" y="189979"/>
                      </a:lnTo>
                      <a:lnTo>
                        <a:pt x="311061" y="188493"/>
                      </a:lnTo>
                      <a:lnTo>
                        <a:pt x="311277" y="187820"/>
                      </a:lnTo>
                      <a:lnTo>
                        <a:pt x="311200" y="187096"/>
                      </a:lnTo>
                      <a:lnTo>
                        <a:pt x="311150" y="186829"/>
                      </a:lnTo>
                      <a:lnTo>
                        <a:pt x="310807" y="186385"/>
                      </a:lnTo>
                      <a:lnTo>
                        <a:pt x="309054" y="186194"/>
                      </a:lnTo>
                      <a:lnTo>
                        <a:pt x="308610" y="185864"/>
                      </a:lnTo>
                      <a:lnTo>
                        <a:pt x="309130" y="185242"/>
                      </a:lnTo>
                      <a:lnTo>
                        <a:pt x="309511" y="184531"/>
                      </a:lnTo>
                      <a:lnTo>
                        <a:pt x="309689" y="183756"/>
                      </a:lnTo>
                      <a:lnTo>
                        <a:pt x="308698" y="184467"/>
                      </a:lnTo>
                      <a:lnTo>
                        <a:pt x="307924" y="183261"/>
                      </a:lnTo>
                      <a:lnTo>
                        <a:pt x="306743" y="183756"/>
                      </a:lnTo>
                      <a:lnTo>
                        <a:pt x="306514" y="184111"/>
                      </a:lnTo>
                      <a:lnTo>
                        <a:pt x="306133" y="184404"/>
                      </a:lnTo>
                      <a:lnTo>
                        <a:pt x="305777" y="185267"/>
                      </a:lnTo>
                      <a:lnTo>
                        <a:pt x="305028" y="186194"/>
                      </a:lnTo>
                      <a:lnTo>
                        <a:pt x="304520" y="186702"/>
                      </a:lnTo>
                      <a:lnTo>
                        <a:pt x="303644" y="187502"/>
                      </a:lnTo>
                      <a:lnTo>
                        <a:pt x="303453" y="187629"/>
                      </a:lnTo>
                      <a:lnTo>
                        <a:pt x="303250" y="187718"/>
                      </a:lnTo>
                      <a:lnTo>
                        <a:pt x="302602" y="188391"/>
                      </a:lnTo>
                      <a:lnTo>
                        <a:pt x="300990" y="190817"/>
                      </a:lnTo>
                      <a:lnTo>
                        <a:pt x="300812" y="190906"/>
                      </a:lnTo>
                      <a:lnTo>
                        <a:pt x="300647" y="191122"/>
                      </a:lnTo>
                      <a:lnTo>
                        <a:pt x="300456" y="191376"/>
                      </a:lnTo>
                      <a:lnTo>
                        <a:pt x="300634" y="191770"/>
                      </a:lnTo>
                      <a:lnTo>
                        <a:pt x="300634" y="192176"/>
                      </a:lnTo>
                      <a:lnTo>
                        <a:pt x="295122" y="199377"/>
                      </a:lnTo>
                      <a:lnTo>
                        <a:pt x="294589" y="199923"/>
                      </a:lnTo>
                      <a:lnTo>
                        <a:pt x="294081" y="200596"/>
                      </a:lnTo>
                      <a:lnTo>
                        <a:pt x="293738" y="201193"/>
                      </a:lnTo>
                      <a:lnTo>
                        <a:pt x="293624" y="202907"/>
                      </a:lnTo>
                      <a:lnTo>
                        <a:pt x="293839" y="204038"/>
                      </a:lnTo>
                      <a:lnTo>
                        <a:pt x="294170" y="205168"/>
                      </a:lnTo>
                      <a:lnTo>
                        <a:pt x="294589" y="206273"/>
                      </a:lnTo>
                      <a:lnTo>
                        <a:pt x="295122" y="207949"/>
                      </a:lnTo>
                      <a:lnTo>
                        <a:pt x="296494" y="210870"/>
                      </a:lnTo>
                      <a:lnTo>
                        <a:pt x="298043" y="209448"/>
                      </a:lnTo>
                      <a:lnTo>
                        <a:pt x="298196" y="209181"/>
                      </a:lnTo>
                      <a:lnTo>
                        <a:pt x="298475" y="209892"/>
                      </a:lnTo>
                      <a:lnTo>
                        <a:pt x="298894" y="210032"/>
                      </a:lnTo>
                      <a:lnTo>
                        <a:pt x="299554" y="209943"/>
                      </a:lnTo>
                      <a:lnTo>
                        <a:pt x="301421" y="209257"/>
                      </a:lnTo>
                      <a:lnTo>
                        <a:pt x="301993" y="209181"/>
                      </a:lnTo>
                      <a:lnTo>
                        <a:pt x="302463" y="209118"/>
                      </a:lnTo>
                      <a:lnTo>
                        <a:pt x="302971" y="208610"/>
                      </a:lnTo>
                      <a:lnTo>
                        <a:pt x="303758" y="209613"/>
                      </a:lnTo>
                      <a:lnTo>
                        <a:pt x="304939" y="209778"/>
                      </a:lnTo>
                      <a:lnTo>
                        <a:pt x="306158" y="209600"/>
                      </a:lnTo>
                      <a:lnTo>
                        <a:pt x="307505" y="209448"/>
                      </a:lnTo>
                      <a:lnTo>
                        <a:pt x="309727" y="208610"/>
                      </a:lnTo>
                      <a:lnTo>
                        <a:pt x="310108" y="208457"/>
                      </a:lnTo>
                      <a:lnTo>
                        <a:pt x="310324" y="208318"/>
                      </a:lnTo>
                      <a:lnTo>
                        <a:pt x="311238" y="207949"/>
                      </a:lnTo>
                      <a:lnTo>
                        <a:pt x="311924" y="207632"/>
                      </a:lnTo>
                      <a:lnTo>
                        <a:pt x="314159" y="205828"/>
                      </a:lnTo>
                      <a:lnTo>
                        <a:pt x="312521" y="204177"/>
                      </a:lnTo>
                      <a:lnTo>
                        <a:pt x="315595" y="204508"/>
                      </a:lnTo>
                      <a:lnTo>
                        <a:pt x="316318" y="204177"/>
                      </a:lnTo>
                      <a:lnTo>
                        <a:pt x="316941" y="203936"/>
                      </a:lnTo>
                      <a:lnTo>
                        <a:pt x="317512" y="203822"/>
                      </a:lnTo>
                      <a:lnTo>
                        <a:pt x="317995" y="203581"/>
                      </a:lnTo>
                      <a:lnTo>
                        <a:pt x="318287" y="203060"/>
                      </a:lnTo>
                      <a:lnTo>
                        <a:pt x="318287" y="202387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11" name="object 51">
                  <a:extLst>
                    <a:ext uri="{FF2B5EF4-FFF2-40B4-BE49-F238E27FC236}">
                      <a16:creationId xmlns:a16="http://schemas.microsoft.com/office/drawing/2014/main" id="{9E0E8F86-3EB5-03DB-00A6-AC9AB0B2BB45}"/>
                    </a:ext>
                  </a:extLst>
                </p:cNvPr>
                <p:cNvSpPr/>
                <p:nvPr/>
              </p:nvSpPr>
              <p:spPr>
                <a:xfrm>
                  <a:off x="891235" y="2035962"/>
                  <a:ext cx="995680" cy="1638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5680" h="163830">
                      <a:moveTo>
                        <a:pt x="7061" y="5422"/>
                      </a:moveTo>
                      <a:lnTo>
                        <a:pt x="1663" y="914"/>
                      </a:lnTo>
                      <a:lnTo>
                        <a:pt x="749" y="0"/>
                      </a:lnTo>
                      <a:lnTo>
                        <a:pt x="0" y="1828"/>
                      </a:lnTo>
                      <a:lnTo>
                        <a:pt x="1130" y="3543"/>
                      </a:lnTo>
                      <a:lnTo>
                        <a:pt x="3213" y="5588"/>
                      </a:lnTo>
                      <a:lnTo>
                        <a:pt x="4191" y="5651"/>
                      </a:lnTo>
                      <a:lnTo>
                        <a:pt x="4330" y="6959"/>
                      </a:lnTo>
                      <a:lnTo>
                        <a:pt x="7061" y="5422"/>
                      </a:lnTo>
                      <a:close/>
                    </a:path>
                    <a:path w="995680" h="163830">
                      <a:moveTo>
                        <a:pt x="995565" y="162293"/>
                      </a:moveTo>
                      <a:lnTo>
                        <a:pt x="994257" y="162623"/>
                      </a:lnTo>
                      <a:lnTo>
                        <a:pt x="993000" y="163207"/>
                      </a:lnTo>
                      <a:lnTo>
                        <a:pt x="991730" y="163703"/>
                      </a:lnTo>
                      <a:lnTo>
                        <a:pt x="993216" y="163779"/>
                      </a:lnTo>
                      <a:lnTo>
                        <a:pt x="994575" y="163436"/>
                      </a:lnTo>
                      <a:lnTo>
                        <a:pt x="995565" y="162293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12" name="object 52">
                  <a:extLst>
                    <a:ext uri="{FF2B5EF4-FFF2-40B4-BE49-F238E27FC236}">
                      <a16:creationId xmlns:a16="http://schemas.microsoft.com/office/drawing/2014/main" id="{393F6FE4-D0B2-8FDB-DDEC-EA89BA3736FA}"/>
                    </a:ext>
                  </a:extLst>
                </p:cNvPr>
                <p:cNvSpPr/>
                <p:nvPr/>
              </p:nvSpPr>
              <p:spPr>
                <a:xfrm>
                  <a:off x="1818948" y="2143581"/>
                  <a:ext cx="36195" cy="203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194" h="20319">
                      <a:moveTo>
                        <a:pt x="28509" y="14185"/>
                      </a:moveTo>
                      <a:lnTo>
                        <a:pt x="18389" y="14185"/>
                      </a:lnTo>
                      <a:lnTo>
                        <a:pt x="19570" y="15239"/>
                      </a:lnTo>
                      <a:lnTo>
                        <a:pt x="20726" y="15328"/>
                      </a:lnTo>
                      <a:lnTo>
                        <a:pt x="20701" y="17640"/>
                      </a:lnTo>
                      <a:lnTo>
                        <a:pt x="22313" y="18935"/>
                      </a:lnTo>
                      <a:lnTo>
                        <a:pt x="24371" y="20040"/>
                      </a:lnTo>
                      <a:lnTo>
                        <a:pt x="27813" y="20053"/>
                      </a:lnTo>
                      <a:lnTo>
                        <a:pt x="28829" y="18757"/>
                      </a:lnTo>
                      <a:lnTo>
                        <a:pt x="28371" y="18668"/>
                      </a:lnTo>
                      <a:lnTo>
                        <a:pt x="27787" y="18338"/>
                      </a:lnTo>
                      <a:lnTo>
                        <a:pt x="27292" y="18326"/>
                      </a:lnTo>
                      <a:lnTo>
                        <a:pt x="28194" y="18135"/>
                      </a:lnTo>
                      <a:lnTo>
                        <a:pt x="28536" y="17932"/>
                      </a:lnTo>
                      <a:lnTo>
                        <a:pt x="28613" y="17030"/>
                      </a:lnTo>
                      <a:lnTo>
                        <a:pt x="27109" y="15835"/>
                      </a:lnTo>
                      <a:lnTo>
                        <a:pt x="26809" y="15798"/>
                      </a:lnTo>
                      <a:lnTo>
                        <a:pt x="27415" y="15798"/>
                      </a:lnTo>
                      <a:lnTo>
                        <a:pt x="27787" y="15697"/>
                      </a:lnTo>
                      <a:lnTo>
                        <a:pt x="28232" y="15697"/>
                      </a:lnTo>
                      <a:lnTo>
                        <a:pt x="27885" y="15239"/>
                      </a:lnTo>
                      <a:lnTo>
                        <a:pt x="29474" y="15151"/>
                      </a:lnTo>
                      <a:lnTo>
                        <a:pt x="29933" y="14668"/>
                      </a:lnTo>
                      <a:lnTo>
                        <a:pt x="28509" y="14185"/>
                      </a:lnTo>
                      <a:close/>
                    </a:path>
                    <a:path w="36194" h="20319">
                      <a:moveTo>
                        <a:pt x="18137" y="14922"/>
                      </a:moveTo>
                      <a:lnTo>
                        <a:pt x="12814" y="14922"/>
                      </a:lnTo>
                      <a:lnTo>
                        <a:pt x="15138" y="15608"/>
                      </a:lnTo>
                      <a:lnTo>
                        <a:pt x="16535" y="16649"/>
                      </a:lnTo>
                      <a:lnTo>
                        <a:pt x="17016" y="16522"/>
                      </a:lnTo>
                      <a:lnTo>
                        <a:pt x="18137" y="14922"/>
                      </a:lnTo>
                      <a:close/>
                    </a:path>
                    <a:path w="36194" h="20319">
                      <a:moveTo>
                        <a:pt x="27415" y="15798"/>
                      </a:moveTo>
                      <a:lnTo>
                        <a:pt x="27063" y="15798"/>
                      </a:lnTo>
                      <a:lnTo>
                        <a:pt x="27228" y="15849"/>
                      </a:lnTo>
                      <a:lnTo>
                        <a:pt x="27415" y="15798"/>
                      </a:lnTo>
                      <a:close/>
                    </a:path>
                    <a:path w="36194" h="20319">
                      <a:moveTo>
                        <a:pt x="27063" y="15798"/>
                      </a:moveTo>
                      <a:lnTo>
                        <a:pt x="26809" y="15798"/>
                      </a:lnTo>
                      <a:lnTo>
                        <a:pt x="27109" y="15835"/>
                      </a:lnTo>
                      <a:close/>
                    </a:path>
                    <a:path w="36194" h="20319">
                      <a:moveTo>
                        <a:pt x="29474" y="15151"/>
                      </a:moveTo>
                      <a:lnTo>
                        <a:pt x="27787" y="15151"/>
                      </a:lnTo>
                      <a:lnTo>
                        <a:pt x="29184" y="15455"/>
                      </a:lnTo>
                      <a:lnTo>
                        <a:pt x="29474" y="15151"/>
                      </a:lnTo>
                      <a:close/>
                    </a:path>
                    <a:path w="36194" h="20319">
                      <a:moveTo>
                        <a:pt x="34865" y="11518"/>
                      </a:moveTo>
                      <a:lnTo>
                        <a:pt x="7391" y="11518"/>
                      </a:lnTo>
                      <a:lnTo>
                        <a:pt x="9067" y="12064"/>
                      </a:lnTo>
                      <a:lnTo>
                        <a:pt x="11798" y="15011"/>
                      </a:lnTo>
                      <a:lnTo>
                        <a:pt x="12814" y="14922"/>
                      </a:lnTo>
                      <a:lnTo>
                        <a:pt x="18137" y="14922"/>
                      </a:lnTo>
                      <a:lnTo>
                        <a:pt x="18313" y="14668"/>
                      </a:lnTo>
                      <a:lnTo>
                        <a:pt x="18389" y="14185"/>
                      </a:lnTo>
                      <a:lnTo>
                        <a:pt x="28509" y="14185"/>
                      </a:lnTo>
                      <a:lnTo>
                        <a:pt x="30296" y="14147"/>
                      </a:lnTo>
                      <a:lnTo>
                        <a:pt x="29806" y="13563"/>
                      </a:lnTo>
                      <a:lnTo>
                        <a:pt x="30022" y="13474"/>
                      </a:lnTo>
                      <a:lnTo>
                        <a:pt x="30314" y="13474"/>
                      </a:lnTo>
                      <a:lnTo>
                        <a:pt x="30530" y="13398"/>
                      </a:lnTo>
                      <a:lnTo>
                        <a:pt x="34865" y="11518"/>
                      </a:lnTo>
                      <a:close/>
                    </a:path>
                    <a:path w="36194" h="20319">
                      <a:moveTo>
                        <a:pt x="30296" y="14147"/>
                      </a:moveTo>
                      <a:lnTo>
                        <a:pt x="28397" y="14147"/>
                      </a:lnTo>
                      <a:lnTo>
                        <a:pt x="29197" y="14338"/>
                      </a:lnTo>
                      <a:lnTo>
                        <a:pt x="30594" y="14503"/>
                      </a:lnTo>
                      <a:lnTo>
                        <a:pt x="30296" y="14147"/>
                      </a:lnTo>
                      <a:close/>
                    </a:path>
                    <a:path w="36194" h="20319">
                      <a:moveTo>
                        <a:pt x="8532" y="7746"/>
                      </a:moveTo>
                      <a:lnTo>
                        <a:pt x="5702" y="7746"/>
                      </a:lnTo>
                      <a:lnTo>
                        <a:pt x="6184" y="9169"/>
                      </a:lnTo>
                      <a:lnTo>
                        <a:pt x="3289" y="11607"/>
                      </a:lnTo>
                      <a:lnTo>
                        <a:pt x="7429" y="11912"/>
                      </a:lnTo>
                      <a:lnTo>
                        <a:pt x="7391" y="11518"/>
                      </a:lnTo>
                      <a:lnTo>
                        <a:pt x="34865" y="11518"/>
                      </a:lnTo>
                      <a:lnTo>
                        <a:pt x="35687" y="10756"/>
                      </a:lnTo>
                      <a:lnTo>
                        <a:pt x="34643" y="10502"/>
                      </a:lnTo>
                      <a:lnTo>
                        <a:pt x="6083" y="10426"/>
                      </a:lnTo>
                      <a:lnTo>
                        <a:pt x="10731" y="8902"/>
                      </a:lnTo>
                      <a:lnTo>
                        <a:pt x="8089" y="8013"/>
                      </a:lnTo>
                      <a:lnTo>
                        <a:pt x="8532" y="7746"/>
                      </a:lnTo>
                      <a:close/>
                    </a:path>
                    <a:path w="36194" h="20319">
                      <a:moveTo>
                        <a:pt x="33756" y="10286"/>
                      </a:moveTo>
                      <a:lnTo>
                        <a:pt x="32219" y="10439"/>
                      </a:lnTo>
                      <a:lnTo>
                        <a:pt x="30251" y="10502"/>
                      </a:lnTo>
                      <a:lnTo>
                        <a:pt x="34643" y="10502"/>
                      </a:lnTo>
                      <a:lnTo>
                        <a:pt x="33756" y="10286"/>
                      </a:lnTo>
                      <a:close/>
                    </a:path>
                    <a:path w="36194" h="20319">
                      <a:moveTo>
                        <a:pt x="6718" y="0"/>
                      </a:moveTo>
                      <a:lnTo>
                        <a:pt x="6019" y="888"/>
                      </a:lnTo>
                      <a:lnTo>
                        <a:pt x="5118" y="1117"/>
                      </a:lnTo>
                      <a:lnTo>
                        <a:pt x="3467" y="2590"/>
                      </a:lnTo>
                      <a:lnTo>
                        <a:pt x="3086" y="3682"/>
                      </a:lnTo>
                      <a:lnTo>
                        <a:pt x="1308" y="6349"/>
                      </a:lnTo>
                      <a:lnTo>
                        <a:pt x="0" y="7099"/>
                      </a:lnTo>
                      <a:lnTo>
                        <a:pt x="2819" y="7988"/>
                      </a:lnTo>
                      <a:lnTo>
                        <a:pt x="5168" y="8280"/>
                      </a:lnTo>
                      <a:lnTo>
                        <a:pt x="5702" y="7746"/>
                      </a:lnTo>
                      <a:lnTo>
                        <a:pt x="8532" y="7746"/>
                      </a:lnTo>
                      <a:lnTo>
                        <a:pt x="9398" y="7226"/>
                      </a:lnTo>
                      <a:lnTo>
                        <a:pt x="5575" y="5651"/>
                      </a:lnTo>
                      <a:lnTo>
                        <a:pt x="5702" y="4368"/>
                      </a:lnTo>
                      <a:lnTo>
                        <a:pt x="6934" y="3568"/>
                      </a:lnTo>
                      <a:lnTo>
                        <a:pt x="7264" y="2527"/>
                      </a:lnTo>
                      <a:lnTo>
                        <a:pt x="6807" y="660"/>
                      </a:lnTo>
                      <a:lnTo>
                        <a:pt x="6718" y="0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13" name="object 53">
                  <a:extLst>
                    <a:ext uri="{FF2B5EF4-FFF2-40B4-BE49-F238E27FC236}">
                      <a16:creationId xmlns:a16="http://schemas.microsoft.com/office/drawing/2014/main" id="{E46051E3-5261-17BC-FC4A-7305258DBBDE}"/>
                    </a:ext>
                  </a:extLst>
                </p:cNvPr>
                <p:cNvSpPr/>
                <p:nvPr/>
              </p:nvSpPr>
              <p:spPr>
                <a:xfrm>
                  <a:off x="922782" y="1834184"/>
                  <a:ext cx="897890" cy="263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97889" h="263525">
                      <a:moveTo>
                        <a:pt x="6070" y="262801"/>
                      </a:moveTo>
                      <a:lnTo>
                        <a:pt x="5867" y="262813"/>
                      </a:lnTo>
                      <a:lnTo>
                        <a:pt x="5829" y="263144"/>
                      </a:lnTo>
                      <a:lnTo>
                        <a:pt x="6070" y="262801"/>
                      </a:lnTo>
                      <a:close/>
                    </a:path>
                    <a:path w="897889" h="263525">
                      <a:moveTo>
                        <a:pt x="6134" y="260832"/>
                      </a:moveTo>
                      <a:lnTo>
                        <a:pt x="4838" y="258660"/>
                      </a:lnTo>
                      <a:lnTo>
                        <a:pt x="4457" y="257556"/>
                      </a:lnTo>
                      <a:lnTo>
                        <a:pt x="1739" y="258394"/>
                      </a:lnTo>
                      <a:lnTo>
                        <a:pt x="0" y="259397"/>
                      </a:lnTo>
                      <a:lnTo>
                        <a:pt x="3835" y="262102"/>
                      </a:lnTo>
                      <a:lnTo>
                        <a:pt x="4381" y="262890"/>
                      </a:lnTo>
                      <a:lnTo>
                        <a:pt x="5867" y="262813"/>
                      </a:lnTo>
                      <a:lnTo>
                        <a:pt x="6134" y="260832"/>
                      </a:lnTo>
                      <a:close/>
                    </a:path>
                    <a:path w="897889" h="263525">
                      <a:moveTo>
                        <a:pt x="897458" y="711"/>
                      </a:moveTo>
                      <a:lnTo>
                        <a:pt x="895934" y="190"/>
                      </a:lnTo>
                      <a:lnTo>
                        <a:pt x="895438" y="368"/>
                      </a:lnTo>
                      <a:lnTo>
                        <a:pt x="894359" y="330"/>
                      </a:lnTo>
                      <a:lnTo>
                        <a:pt x="893711" y="304"/>
                      </a:lnTo>
                      <a:lnTo>
                        <a:pt x="892962" y="76"/>
                      </a:lnTo>
                      <a:lnTo>
                        <a:pt x="892505" y="50"/>
                      </a:lnTo>
                      <a:lnTo>
                        <a:pt x="890270" y="0"/>
                      </a:lnTo>
                      <a:lnTo>
                        <a:pt x="891146" y="1384"/>
                      </a:lnTo>
                      <a:lnTo>
                        <a:pt x="889304" y="1905"/>
                      </a:lnTo>
                      <a:lnTo>
                        <a:pt x="890282" y="2984"/>
                      </a:lnTo>
                      <a:lnTo>
                        <a:pt x="891794" y="3949"/>
                      </a:lnTo>
                      <a:lnTo>
                        <a:pt x="895286" y="4051"/>
                      </a:lnTo>
                      <a:lnTo>
                        <a:pt x="896086" y="2298"/>
                      </a:lnTo>
                      <a:lnTo>
                        <a:pt x="897458" y="711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14" name="object 54">
                  <a:extLst>
                    <a:ext uri="{FF2B5EF4-FFF2-40B4-BE49-F238E27FC236}">
                      <a16:creationId xmlns:a16="http://schemas.microsoft.com/office/drawing/2014/main" id="{4528DA63-64DC-CD3C-A0E4-E600852086B6}"/>
                    </a:ext>
                  </a:extLst>
                </p:cNvPr>
                <p:cNvSpPr/>
                <p:nvPr/>
              </p:nvSpPr>
              <p:spPr>
                <a:xfrm>
                  <a:off x="1301292" y="1681225"/>
                  <a:ext cx="560070" cy="4597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0069" h="459739">
                      <a:moveTo>
                        <a:pt x="7277" y="5105"/>
                      </a:moveTo>
                      <a:lnTo>
                        <a:pt x="6248" y="2362"/>
                      </a:lnTo>
                      <a:lnTo>
                        <a:pt x="3797" y="419"/>
                      </a:lnTo>
                      <a:lnTo>
                        <a:pt x="3162" y="114"/>
                      </a:lnTo>
                      <a:lnTo>
                        <a:pt x="2400" y="63"/>
                      </a:lnTo>
                      <a:lnTo>
                        <a:pt x="2247" y="101"/>
                      </a:lnTo>
                      <a:lnTo>
                        <a:pt x="1358" y="0"/>
                      </a:lnTo>
                      <a:lnTo>
                        <a:pt x="546" y="304"/>
                      </a:lnTo>
                      <a:lnTo>
                        <a:pt x="114" y="1701"/>
                      </a:lnTo>
                      <a:lnTo>
                        <a:pt x="0" y="5867"/>
                      </a:lnTo>
                      <a:lnTo>
                        <a:pt x="152" y="6121"/>
                      </a:lnTo>
                      <a:lnTo>
                        <a:pt x="330" y="6197"/>
                      </a:lnTo>
                      <a:lnTo>
                        <a:pt x="457" y="6413"/>
                      </a:lnTo>
                      <a:lnTo>
                        <a:pt x="622" y="6565"/>
                      </a:lnTo>
                      <a:lnTo>
                        <a:pt x="800" y="6591"/>
                      </a:lnTo>
                      <a:lnTo>
                        <a:pt x="2514" y="6159"/>
                      </a:lnTo>
                      <a:lnTo>
                        <a:pt x="2044" y="7493"/>
                      </a:lnTo>
                      <a:lnTo>
                        <a:pt x="2857" y="7696"/>
                      </a:lnTo>
                      <a:lnTo>
                        <a:pt x="3073" y="8026"/>
                      </a:lnTo>
                      <a:lnTo>
                        <a:pt x="3378" y="8255"/>
                      </a:lnTo>
                      <a:lnTo>
                        <a:pt x="4635" y="7493"/>
                      </a:lnTo>
                      <a:lnTo>
                        <a:pt x="5232" y="6985"/>
                      </a:lnTo>
                      <a:lnTo>
                        <a:pt x="5626" y="6477"/>
                      </a:lnTo>
                      <a:lnTo>
                        <a:pt x="6007" y="6159"/>
                      </a:lnTo>
                      <a:lnTo>
                        <a:pt x="7277" y="5105"/>
                      </a:lnTo>
                      <a:close/>
                    </a:path>
                    <a:path w="560069" h="459739">
                      <a:moveTo>
                        <a:pt x="554139" y="457174"/>
                      </a:moveTo>
                      <a:lnTo>
                        <a:pt x="554088" y="457301"/>
                      </a:lnTo>
                      <a:lnTo>
                        <a:pt x="554139" y="457174"/>
                      </a:lnTo>
                      <a:close/>
                    </a:path>
                    <a:path w="560069" h="459739">
                      <a:moveTo>
                        <a:pt x="558139" y="459320"/>
                      </a:moveTo>
                      <a:lnTo>
                        <a:pt x="554266" y="458698"/>
                      </a:lnTo>
                      <a:lnTo>
                        <a:pt x="554101" y="457339"/>
                      </a:lnTo>
                      <a:lnTo>
                        <a:pt x="553986" y="457860"/>
                      </a:lnTo>
                      <a:lnTo>
                        <a:pt x="553897" y="458533"/>
                      </a:lnTo>
                      <a:lnTo>
                        <a:pt x="553796" y="459549"/>
                      </a:lnTo>
                      <a:lnTo>
                        <a:pt x="558139" y="459320"/>
                      </a:lnTo>
                      <a:close/>
                    </a:path>
                    <a:path w="560069" h="459739">
                      <a:moveTo>
                        <a:pt x="559460" y="452272"/>
                      </a:moveTo>
                      <a:lnTo>
                        <a:pt x="558368" y="452628"/>
                      </a:lnTo>
                      <a:lnTo>
                        <a:pt x="557491" y="453517"/>
                      </a:lnTo>
                      <a:lnTo>
                        <a:pt x="555078" y="455726"/>
                      </a:lnTo>
                      <a:lnTo>
                        <a:pt x="554482" y="455993"/>
                      </a:lnTo>
                      <a:lnTo>
                        <a:pt x="554151" y="457149"/>
                      </a:lnTo>
                      <a:lnTo>
                        <a:pt x="554393" y="456577"/>
                      </a:lnTo>
                      <a:lnTo>
                        <a:pt x="556348" y="456107"/>
                      </a:lnTo>
                      <a:lnTo>
                        <a:pt x="557530" y="454888"/>
                      </a:lnTo>
                      <a:lnTo>
                        <a:pt x="558647" y="453326"/>
                      </a:lnTo>
                      <a:lnTo>
                        <a:pt x="559460" y="452272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15" name="object 55">
                  <a:extLst>
                    <a:ext uri="{FF2B5EF4-FFF2-40B4-BE49-F238E27FC236}">
                      <a16:creationId xmlns:a16="http://schemas.microsoft.com/office/drawing/2014/main" id="{5069595C-07C4-87E6-BA41-9E5572C461FA}"/>
                    </a:ext>
                  </a:extLst>
                </p:cNvPr>
                <p:cNvSpPr/>
                <p:nvPr/>
              </p:nvSpPr>
              <p:spPr>
                <a:xfrm>
                  <a:off x="844359" y="2027504"/>
                  <a:ext cx="1092200" cy="1212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2200" h="121285">
                      <a:moveTo>
                        <a:pt x="11239" y="2844"/>
                      </a:moveTo>
                      <a:lnTo>
                        <a:pt x="11214" y="2667"/>
                      </a:lnTo>
                      <a:lnTo>
                        <a:pt x="10934" y="901"/>
                      </a:lnTo>
                      <a:lnTo>
                        <a:pt x="10718" y="0"/>
                      </a:lnTo>
                      <a:lnTo>
                        <a:pt x="9461" y="622"/>
                      </a:lnTo>
                      <a:lnTo>
                        <a:pt x="8153" y="1384"/>
                      </a:lnTo>
                      <a:lnTo>
                        <a:pt x="5003" y="2667"/>
                      </a:lnTo>
                      <a:lnTo>
                        <a:pt x="2006" y="1892"/>
                      </a:lnTo>
                      <a:lnTo>
                        <a:pt x="0" y="2260"/>
                      </a:lnTo>
                      <a:lnTo>
                        <a:pt x="533" y="5372"/>
                      </a:lnTo>
                      <a:lnTo>
                        <a:pt x="3835" y="3784"/>
                      </a:lnTo>
                      <a:lnTo>
                        <a:pt x="6350" y="5118"/>
                      </a:lnTo>
                      <a:lnTo>
                        <a:pt x="5930" y="5994"/>
                      </a:lnTo>
                      <a:lnTo>
                        <a:pt x="8978" y="5981"/>
                      </a:lnTo>
                      <a:lnTo>
                        <a:pt x="8242" y="4381"/>
                      </a:lnTo>
                      <a:lnTo>
                        <a:pt x="9334" y="3594"/>
                      </a:lnTo>
                      <a:lnTo>
                        <a:pt x="10223" y="3810"/>
                      </a:lnTo>
                      <a:lnTo>
                        <a:pt x="10452" y="3594"/>
                      </a:lnTo>
                      <a:lnTo>
                        <a:pt x="10693" y="3365"/>
                      </a:lnTo>
                      <a:lnTo>
                        <a:pt x="11239" y="2844"/>
                      </a:lnTo>
                      <a:close/>
                    </a:path>
                    <a:path w="1092200" h="121285">
                      <a:moveTo>
                        <a:pt x="18770" y="15722"/>
                      </a:moveTo>
                      <a:lnTo>
                        <a:pt x="18186" y="15849"/>
                      </a:lnTo>
                      <a:lnTo>
                        <a:pt x="17957" y="16281"/>
                      </a:lnTo>
                      <a:lnTo>
                        <a:pt x="17665" y="16827"/>
                      </a:lnTo>
                      <a:lnTo>
                        <a:pt x="18034" y="16662"/>
                      </a:lnTo>
                      <a:lnTo>
                        <a:pt x="18554" y="16256"/>
                      </a:lnTo>
                      <a:lnTo>
                        <a:pt x="18770" y="15722"/>
                      </a:lnTo>
                      <a:close/>
                    </a:path>
                    <a:path w="1092200" h="121285">
                      <a:moveTo>
                        <a:pt x="21247" y="19939"/>
                      </a:moveTo>
                      <a:lnTo>
                        <a:pt x="20916" y="19659"/>
                      </a:lnTo>
                      <a:lnTo>
                        <a:pt x="20320" y="19138"/>
                      </a:lnTo>
                      <a:lnTo>
                        <a:pt x="18821" y="17259"/>
                      </a:lnTo>
                      <a:lnTo>
                        <a:pt x="18376" y="16700"/>
                      </a:lnTo>
                      <a:lnTo>
                        <a:pt x="17399" y="17259"/>
                      </a:lnTo>
                      <a:lnTo>
                        <a:pt x="17868" y="15925"/>
                      </a:lnTo>
                      <a:lnTo>
                        <a:pt x="12077" y="11963"/>
                      </a:lnTo>
                      <a:lnTo>
                        <a:pt x="9893" y="9791"/>
                      </a:lnTo>
                      <a:lnTo>
                        <a:pt x="9423" y="9321"/>
                      </a:lnTo>
                      <a:lnTo>
                        <a:pt x="11836" y="9017"/>
                      </a:lnTo>
                      <a:lnTo>
                        <a:pt x="12801" y="8724"/>
                      </a:lnTo>
                      <a:lnTo>
                        <a:pt x="11341" y="8597"/>
                      </a:lnTo>
                      <a:lnTo>
                        <a:pt x="9690" y="7861"/>
                      </a:lnTo>
                      <a:lnTo>
                        <a:pt x="8420" y="7112"/>
                      </a:lnTo>
                      <a:lnTo>
                        <a:pt x="9105" y="6705"/>
                      </a:lnTo>
                      <a:lnTo>
                        <a:pt x="8978" y="5994"/>
                      </a:lnTo>
                      <a:lnTo>
                        <a:pt x="5930" y="5994"/>
                      </a:lnTo>
                      <a:lnTo>
                        <a:pt x="3975" y="5994"/>
                      </a:lnTo>
                      <a:lnTo>
                        <a:pt x="3124" y="6299"/>
                      </a:lnTo>
                      <a:lnTo>
                        <a:pt x="3810" y="7683"/>
                      </a:lnTo>
                      <a:lnTo>
                        <a:pt x="5080" y="8597"/>
                      </a:lnTo>
                      <a:lnTo>
                        <a:pt x="6159" y="9690"/>
                      </a:lnTo>
                      <a:lnTo>
                        <a:pt x="6540" y="9105"/>
                      </a:lnTo>
                      <a:lnTo>
                        <a:pt x="6692" y="8432"/>
                      </a:lnTo>
                      <a:lnTo>
                        <a:pt x="6972" y="7797"/>
                      </a:lnTo>
                      <a:lnTo>
                        <a:pt x="7175" y="8051"/>
                      </a:lnTo>
                      <a:lnTo>
                        <a:pt x="8216" y="8724"/>
                      </a:lnTo>
                      <a:lnTo>
                        <a:pt x="8483" y="9791"/>
                      </a:lnTo>
                      <a:lnTo>
                        <a:pt x="7010" y="9359"/>
                      </a:lnTo>
                      <a:lnTo>
                        <a:pt x="6883" y="10706"/>
                      </a:lnTo>
                      <a:lnTo>
                        <a:pt x="8204" y="11328"/>
                      </a:lnTo>
                      <a:lnTo>
                        <a:pt x="9156" y="12306"/>
                      </a:lnTo>
                      <a:lnTo>
                        <a:pt x="10147" y="13627"/>
                      </a:lnTo>
                      <a:lnTo>
                        <a:pt x="12077" y="14897"/>
                      </a:lnTo>
                      <a:lnTo>
                        <a:pt x="12661" y="14935"/>
                      </a:lnTo>
                      <a:lnTo>
                        <a:pt x="13982" y="16319"/>
                      </a:lnTo>
                      <a:lnTo>
                        <a:pt x="13779" y="16649"/>
                      </a:lnTo>
                      <a:lnTo>
                        <a:pt x="14782" y="18122"/>
                      </a:lnTo>
                      <a:lnTo>
                        <a:pt x="16167" y="19939"/>
                      </a:lnTo>
                      <a:lnTo>
                        <a:pt x="17132" y="20472"/>
                      </a:lnTo>
                      <a:lnTo>
                        <a:pt x="17170" y="20243"/>
                      </a:lnTo>
                      <a:lnTo>
                        <a:pt x="17284" y="19939"/>
                      </a:lnTo>
                      <a:lnTo>
                        <a:pt x="17310" y="19761"/>
                      </a:lnTo>
                      <a:lnTo>
                        <a:pt x="18402" y="21475"/>
                      </a:lnTo>
                      <a:lnTo>
                        <a:pt x="18872" y="22885"/>
                      </a:lnTo>
                      <a:lnTo>
                        <a:pt x="18516" y="19761"/>
                      </a:lnTo>
                      <a:lnTo>
                        <a:pt x="20142" y="21120"/>
                      </a:lnTo>
                      <a:lnTo>
                        <a:pt x="19367" y="22910"/>
                      </a:lnTo>
                      <a:lnTo>
                        <a:pt x="21247" y="19939"/>
                      </a:lnTo>
                      <a:close/>
                    </a:path>
                    <a:path w="1092200" h="121285">
                      <a:moveTo>
                        <a:pt x="1091717" y="115811"/>
                      </a:moveTo>
                      <a:lnTo>
                        <a:pt x="1089583" y="112293"/>
                      </a:lnTo>
                      <a:lnTo>
                        <a:pt x="1091260" y="117881"/>
                      </a:lnTo>
                      <a:lnTo>
                        <a:pt x="1091057" y="119608"/>
                      </a:lnTo>
                      <a:lnTo>
                        <a:pt x="1089812" y="119926"/>
                      </a:lnTo>
                      <a:lnTo>
                        <a:pt x="1090561" y="120904"/>
                      </a:lnTo>
                      <a:lnTo>
                        <a:pt x="1091438" y="119456"/>
                      </a:lnTo>
                      <a:lnTo>
                        <a:pt x="1091438" y="117462"/>
                      </a:lnTo>
                      <a:lnTo>
                        <a:pt x="1091717" y="115811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16" name="object 56">
                  <a:extLst>
                    <a:ext uri="{FF2B5EF4-FFF2-40B4-BE49-F238E27FC236}">
                      <a16:creationId xmlns:a16="http://schemas.microsoft.com/office/drawing/2014/main" id="{5A939C35-E292-900B-FC9F-7A6EE8F622B8}"/>
                    </a:ext>
                  </a:extLst>
                </p:cNvPr>
                <p:cNvSpPr/>
                <p:nvPr/>
              </p:nvSpPr>
              <p:spPr>
                <a:xfrm>
                  <a:off x="940663" y="1469631"/>
                  <a:ext cx="365760" cy="1600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5759" h="160019">
                      <a:moveTo>
                        <a:pt x="70573" y="69088"/>
                      </a:moveTo>
                      <a:lnTo>
                        <a:pt x="69088" y="67881"/>
                      </a:lnTo>
                      <a:lnTo>
                        <a:pt x="68999" y="66954"/>
                      </a:lnTo>
                      <a:lnTo>
                        <a:pt x="67716" y="66040"/>
                      </a:lnTo>
                      <a:lnTo>
                        <a:pt x="66992" y="65798"/>
                      </a:lnTo>
                      <a:lnTo>
                        <a:pt x="65049" y="65709"/>
                      </a:lnTo>
                      <a:lnTo>
                        <a:pt x="63373" y="65074"/>
                      </a:lnTo>
                      <a:lnTo>
                        <a:pt x="57048" y="64071"/>
                      </a:lnTo>
                      <a:lnTo>
                        <a:pt x="51485" y="66903"/>
                      </a:lnTo>
                      <a:lnTo>
                        <a:pt x="41122" y="67602"/>
                      </a:lnTo>
                      <a:lnTo>
                        <a:pt x="35953" y="67652"/>
                      </a:lnTo>
                      <a:lnTo>
                        <a:pt x="25908" y="69113"/>
                      </a:lnTo>
                      <a:lnTo>
                        <a:pt x="70573" y="69088"/>
                      </a:lnTo>
                      <a:close/>
                    </a:path>
                    <a:path w="365759" h="160019">
                      <a:moveTo>
                        <a:pt x="81330" y="132422"/>
                      </a:moveTo>
                      <a:lnTo>
                        <a:pt x="81292" y="130568"/>
                      </a:lnTo>
                      <a:lnTo>
                        <a:pt x="2260" y="130568"/>
                      </a:lnTo>
                      <a:lnTo>
                        <a:pt x="1295" y="130568"/>
                      </a:lnTo>
                      <a:lnTo>
                        <a:pt x="355" y="132600"/>
                      </a:lnTo>
                      <a:lnTo>
                        <a:pt x="2070" y="134899"/>
                      </a:lnTo>
                      <a:lnTo>
                        <a:pt x="0" y="135547"/>
                      </a:lnTo>
                      <a:lnTo>
                        <a:pt x="3835" y="135750"/>
                      </a:lnTo>
                      <a:lnTo>
                        <a:pt x="8521" y="134696"/>
                      </a:lnTo>
                      <a:lnTo>
                        <a:pt x="12255" y="135674"/>
                      </a:lnTo>
                      <a:lnTo>
                        <a:pt x="11087" y="136055"/>
                      </a:lnTo>
                      <a:lnTo>
                        <a:pt x="9715" y="135991"/>
                      </a:lnTo>
                      <a:lnTo>
                        <a:pt x="8470" y="136042"/>
                      </a:lnTo>
                      <a:lnTo>
                        <a:pt x="11785" y="138188"/>
                      </a:lnTo>
                      <a:lnTo>
                        <a:pt x="15887" y="139827"/>
                      </a:lnTo>
                      <a:lnTo>
                        <a:pt x="21399" y="141579"/>
                      </a:lnTo>
                      <a:lnTo>
                        <a:pt x="23634" y="141859"/>
                      </a:lnTo>
                      <a:lnTo>
                        <a:pt x="26504" y="143471"/>
                      </a:lnTo>
                      <a:lnTo>
                        <a:pt x="27330" y="144792"/>
                      </a:lnTo>
                      <a:lnTo>
                        <a:pt x="34836" y="153708"/>
                      </a:lnTo>
                      <a:lnTo>
                        <a:pt x="37160" y="156438"/>
                      </a:lnTo>
                      <a:lnTo>
                        <a:pt x="38328" y="159435"/>
                      </a:lnTo>
                      <a:lnTo>
                        <a:pt x="43903" y="158877"/>
                      </a:lnTo>
                      <a:lnTo>
                        <a:pt x="44030" y="158318"/>
                      </a:lnTo>
                      <a:lnTo>
                        <a:pt x="46545" y="156273"/>
                      </a:lnTo>
                      <a:lnTo>
                        <a:pt x="52870" y="154254"/>
                      </a:lnTo>
                      <a:lnTo>
                        <a:pt x="54343" y="153022"/>
                      </a:lnTo>
                      <a:lnTo>
                        <a:pt x="59245" y="148463"/>
                      </a:lnTo>
                      <a:lnTo>
                        <a:pt x="61582" y="149694"/>
                      </a:lnTo>
                      <a:lnTo>
                        <a:pt x="61493" y="150647"/>
                      </a:lnTo>
                      <a:lnTo>
                        <a:pt x="63017" y="151498"/>
                      </a:lnTo>
                      <a:lnTo>
                        <a:pt x="63957" y="151091"/>
                      </a:lnTo>
                      <a:lnTo>
                        <a:pt x="67957" y="150406"/>
                      </a:lnTo>
                      <a:lnTo>
                        <a:pt x="72250" y="149898"/>
                      </a:lnTo>
                      <a:lnTo>
                        <a:pt x="74472" y="148463"/>
                      </a:lnTo>
                      <a:lnTo>
                        <a:pt x="78295" y="145999"/>
                      </a:lnTo>
                      <a:lnTo>
                        <a:pt x="77622" y="142189"/>
                      </a:lnTo>
                      <a:lnTo>
                        <a:pt x="77749" y="136994"/>
                      </a:lnTo>
                      <a:lnTo>
                        <a:pt x="77838" y="136055"/>
                      </a:lnTo>
                      <a:lnTo>
                        <a:pt x="77863" y="135928"/>
                      </a:lnTo>
                      <a:lnTo>
                        <a:pt x="78854" y="134696"/>
                      </a:lnTo>
                      <a:lnTo>
                        <a:pt x="79730" y="133616"/>
                      </a:lnTo>
                      <a:lnTo>
                        <a:pt x="81330" y="132422"/>
                      </a:lnTo>
                      <a:close/>
                    </a:path>
                    <a:path w="365759" h="160019">
                      <a:moveTo>
                        <a:pt x="150914" y="94132"/>
                      </a:moveTo>
                      <a:lnTo>
                        <a:pt x="148666" y="91490"/>
                      </a:lnTo>
                      <a:lnTo>
                        <a:pt x="146342" y="89395"/>
                      </a:lnTo>
                      <a:lnTo>
                        <a:pt x="142875" y="88684"/>
                      </a:lnTo>
                      <a:lnTo>
                        <a:pt x="140970" y="86753"/>
                      </a:lnTo>
                      <a:lnTo>
                        <a:pt x="136613" y="83959"/>
                      </a:lnTo>
                      <a:lnTo>
                        <a:pt x="133756" y="82067"/>
                      </a:lnTo>
                      <a:lnTo>
                        <a:pt x="132689" y="81178"/>
                      </a:lnTo>
                      <a:lnTo>
                        <a:pt x="126949" y="76352"/>
                      </a:lnTo>
                      <a:lnTo>
                        <a:pt x="121450" y="73596"/>
                      </a:lnTo>
                      <a:lnTo>
                        <a:pt x="112496" y="72885"/>
                      </a:lnTo>
                      <a:lnTo>
                        <a:pt x="110350" y="72491"/>
                      </a:lnTo>
                      <a:lnTo>
                        <a:pt x="105435" y="73228"/>
                      </a:lnTo>
                      <a:lnTo>
                        <a:pt x="103428" y="73596"/>
                      </a:lnTo>
                      <a:lnTo>
                        <a:pt x="101003" y="74460"/>
                      </a:lnTo>
                      <a:lnTo>
                        <a:pt x="99656" y="74676"/>
                      </a:lnTo>
                      <a:lnTo>
                        <a:pt x="101117" y="77724"/>
                      </a:lnTo>
                      <a:lnTo>
                        <a:pt x="99174" y="78219"/>
                      </a:lnTo>
                      <a:lnTo>
                        <a:pt x="95923" y="80086"/>
                      </a:lnTo>
                      <a:lnTo>
                        <a:pt x="95199" y="81178"/>
                      </a:lnTo>
                      <a:lnTo>
                        <a:pt x="95681" y="78168"/>
                      </a:lnTo>
                      <a:lnTo>
                        <a:pt x="95770" y="77724"/>
                      </a:lnTo>
                      <a:lnTo>
                        <a:pt x="96799" y="76200"/>
                      </a:lnTo>
                      <a:lnTo>
                        <a:pt x="96735" y="75615"/>
                      </a:lnTo>
                      <a:lnTo>
                        <a:pt x="95846" y="74333"/>
                      </a:lnTo>
                      <a:lnTo>
                        <a:pt x="95338" y="73596"/>
                      </a:lnTo>
                      <a:lnTo>
                        <a:pt x="93535" y="74091"/>
                      </a:lnTo>
                      <a:lnTo>
                        <a:pt x="91008" y="74333"/>
                      </a:lnTo>
                      <a:lnTo>
                        <a:pt x="90881" y="74079"/>
                      </a:lnTo>
                      <a:lnTo>
                        <a:pt x="89027" y="75615"/>
                      </a:lnTo>
                      <a:lnTo>
                        <a:pt x="88798" y="74828"/>
                      </a:lnTo>
                      <a:lnTo>
                        <a:pt x="88798" y="75806"/>
                      </a:lnTo>
                      <a:lnTo>
                        <a:pt x="88315" y="76200"/>
                      </a:lnTo>
                      <a:lnTo>
                        <a:pt x="87236" y="77393"/>
                      </a:lnTo>
                      <a:lnTo>
                        <a:pt x="85839" y="78168"/>
                      </a:lnTo>
                      <a:lnTo>
                        <a:pt x="86258" y="76352"/>
                      </a:lnTo>
                      <a:lnTo>
                        <a:pt x="88798" y="75806"/>
                      </a:lnTo>
                      <a:lnTo>
                        <a:pt x="88798" y="74828"/>
                      </a:lnTo>
                      <a:lnTo>
                        <a:pt x="88468" y="73672"/>
                      </a:lnTo>
                      <a:lnTo>
                        <a:pt x="84988" y="73139"/>
                      </a:lnTo>
                      <a:lnTo>
                        <a:pt x="81800" y="72580"/>
                      </a:lnTo>
                      <a:lnTo>
                        <a:pt x="75958" y="70535"/>
                      </a:lnTo>
                      <a:lnTo>
                        <a:pt x="71513" y="69837"/>
                      </a:lnTo>
                      <a:lnTo>
                        <a:pt x="70612" y="69113"/>
                      </a:lnTo>
                      <a:lnTo>
                        <a:pt x="25908" y="69113"/>
                      </a:lnTo>
                      <a:lnTo>
                        <a:pt x="20281" y="69113"/>
                      </a:lnTo>
                      <a:lnTo>
                        <a:pt x="15608" y="70573"/>
                      </a:lnTo>
                      <a:lnTo>
                        <a:pt x="18326" y="71628"/>
                      </a:lnTo>
                      <a:lnTo>
                        <a:pt x="19291" y="74676"/>
                      </a:lnTo>
                      <a:lnTo>
                        <a:pt x="20523" y="78092"/>
                      </a:lnTo>
                      <a:lnTo>
                        <a:pt x="20726" y="79413"/>
                      </a:lnTo>
                      <a:lnTo>
                        <a:pt x="21996" y="81254"/>
                      </a:lnTo>
                      <a:lnTo>
                        <a:pt x="22847" y="81737"/>
                      </a:lnTo>
                      <a:lnTo>
                        <a:pt x="24853" y="84963"/>
                      </a:lnTo>
                      <a:lnTo>
                        <a:pt x="24866" y="83959"/>
                      </a:lnTo>
                      <a:lnTo>
                        <a:pt x="29768" y="85407"/>
                      </a:lnTo>
                      <a:lnTo>
                        <a:pt x="29311" y="87401"/>
                      </a:lnTo>
                      <a:lnTo>
                        <a:pt x="25349" y="90170"/>
                      </a:lnTo>
                      <a:lnTo>
                        <a:pt x="25349" y="89649"/>
                      </a:lnTo>
                      <a:lnTo>
                        <a:pt x="25298" y="90170"/>
                      </a:lnTo>
                      <a:lnTo>
                        <a:pt x="24955" y="94259"/>
                      </a:lnTo>
                      <a:lnTo>
                        <a:pt x="23050" y="94132"/>
                      </a:lnTo>
                      <a:lnTo>
                        <a:pt x="19596" y="95770"/>
                      </a:lnTo>
                      <a:lnTo>
                        <a:pt x="18681" y="99580"/>
                      </a:lnTo>
                      <a:lnTo>
                        <a:pt x="16598" y="103187"/>
                      </a:lnTo>
                      <a:lnTo>
                        <a:pt x="15176" y="103657"/>
                      </a:lnTo>
                      <a:lnTo>
                        <a:pt x="13868" y="106057"/>
                      </a:lnTo>
                      <a:lnTo>
                        <a:pt x="14541" y="106273"/>
                      </a:lnTo>
                      <a:lnTo>
                        <a:pt x="16764" y="107137"/>
                      </a:lnTo>
                      <a:lnTo>
                        <a:pt x="18008" y="107683"/>
                      </a:lnTo>
                      <a:lnTo>
                        <a:pt x="19392" y="110451"/>
                      </a:lnTo>
                      <a:lnTo>
                        <a:pt x="16725" y="110528"/>
                      </a:lnTo>
                      <a:lnTo>
                        <a:pt x="14516" y="110896"/>
                      </a:lnTo>
                      <a:lnTo>
                        <a:pt x="13677" y="111506"/>
                      </a:lnTo>
                      <a:lnTo>
                        <a:pt x="12534" y="111658"/>
                      </a:lnTo>
                      <a:lnTo>
                        <a:pt x="11315" y="110985"/>
                      </a:lnTo>
                      <a:lnTo>
                        <a:pt x="9563" y="111721"/>
                      </a:lnTo>
                      <a:lnTo>
                        <a:pt x="11074" y="114388"/>
                      </a:lnTo>
                      <a:lnTo>
                        <a:pt x="11277" y="116751"/>
                      </a:lnTo>
                      <a:lnTo>
                        <a:pt x="10858" y="117221"/>
                      </a:lnTo>
                      <a:lnTo>
                        <a:pt x="10109" y="120827"/>
                      </a:lnTo>
                      <a:lnTo>
                        <a:pt x="9842" y="120154"/>
                      </a:lnTo>
                      <a:lnTo>
                        <a:pt x="7442" y="121970"/>
                      </a:lnTo>
                      <a:lnTo>
                        <a:pt x="6807" y="122770"/>
                      </a:lnTo>
                      <a:lnTo>
                        <a:pt x="6629" y="123659"/>
                      </a:lnTo>
                      <a:lnTo>
                        <a:pt x="6019" y="123431"/>
                      </a:lnTo>
                      <a:lnTo>
                        <a:pt x="5588" y="124091"/>
                      </a:lnTo>
                      <a:lnTo>
                        <a:pt x="5994" y="124625"/>
                      </a:lnTo>
                      <a:lnTo>
                        <a:pt x="5397" y="125450"/>
                      </a:lnTo>
                      <a:lnTo>
                        <a:pt x="4800" y="125933"/>
                      </a:lnTo>
                      <a:lnTo>
                        <a:pt x="4203" y="126809"/>
                      </a:lnTo>
                      <a:lnTo>
                        <a:pt x="4381" y="127304"/>
                      </a:lnTo>
                      <a:lnTo>
                        <a:pt x="4368" y="127622"/>
                      </a:lnTo>
                      <a:lnTo>
                        <a:pt x="4102" y="127901"/>
                      </a:lnTo>
                      <a:lnTo>
                        <a:pt x="3543" y="127977"/>
                      </a:lnTo>
                      <a:lnTo>
                        <a:pt x="2806" y="128765"/>
                      </a:lnTo>
                      <a:lnTo>
                        <a:pt x="2209" y="128003"/>
                      </a:lnTo>
                      <a:lnTo>
                        <a:pt x="2247" y="130556"/>
                      </a:lnTo>
                      <a:lnTo>
                        <a:pt x="81292" y="130556"/>
                      </a:lnTo>
                      <a:lnTo>
                        <a:pt x="81292" y="130213"/>
                      </a:lnTo>
                      <a:lnTo>
                        <a:pt x="79578" y="128993"/>
                      </a:lnTo>
                      <a:lnTo>
                        <a:pt x="79514" y="128765"/>
                      </a:lnTo>
                      <a:lnTo>
                        <a:pt x="80010" y="127622"/>
                      </a:lnTo>
                      <a:lnTo>
                        <a:pt x="81292" y="127304"/>
                      </a:lnTo>
                      <a:lnTo>
                        <a:pt x="82499" y="129362"/>
                      </a:lnTo>
                      <a:lnTo>
                        <a:pt x="83921" y="128714"/>
                      </a:lnTo>
                      <a:lnTo>
                        <a:pt x="86969" y="128993"/>
                      </a:lnTo>
                      <a:lnTo>
                        <a:pt x="87515" y="128714"/>
                      </a:lnTo>
                      <a:lnTo>
                        <a:pt x="90284" y="127304"/>
                      </a:lnTo>
                      <a:lnTo>
                        <a:pt x="92837" y="126009"/>
                      </a:lnTo>
                      <a:lnTo>
                        <a:pt x="93624" y="124091"/>
                      </a:lnTo>
                      <a:lnTo>
                        <a:pt x="93560" y="123659"/>
                      </a:lnTo>
                      <a:lnTo>
                        <a:pt x="93484" y="123101"/>
                      </a:lnTo>
                      <a:lnTo>
                        <a:pt x="94043" y="121793"/>
                      </a:lnTo>
                      <a:lnTo>
                        <a:pt x="94602" y="121208"/>
                      </a:lnTo>
                      <a:lnTo>
                        <a:pt x="94742" y="120827"/>
                      </a:lnTo>
                      <a:lnTo>
                        <a:pt x="95554" y="118694"/>
                      </a:lnTo>
                      <a:lnTo>
                        <a:pt x="95110" y="118173"/>
                      </a:lnTo>
                      <a:lnTo>
                        <a:pt x="98526" y="116522"/>
                      </a:lnTo>
                      <a:lnTo>
                        <a:pt x="99707" y="115658"/>
                      </a:lnTo>
                      <a:lnTo>
                        <a:pt x="102565" y="114388"/>
                      </a:lnTo>
                      <a:lnTo>
                        <a:pt x="103974" y="114604"/>
                      </a:lnTo>
                      <a:lnTo>
                        <a:pt x="104305" y="114388"/>
                      </a:lnTo>
                      <a:lnTo>
                        <a:pt x="108077" y="111975"/>
                      </a:lnTo>
                      <a:lnTo>
                        <a:pt x="109524" y="111658"/>
                      </a:lnTo>
                      <a:lnTo>
                        <a:pt x="111150" y="111302"/>
                      </a:lnTo>
                      <a:lnTo>
                        <a:pt x="116205" y="108458"/>
                      </a:lnTo>
                      <a:lnTo>
                        <a:pt x="119291" y="106438"/>
                      </a:lnTo>
                      <a:lnTo>
                        <a:pt x="123228" y="106273"/>
                      </a:lnTo>
                      <a:lnTo>
                        <a:pt x="124993" y="105308"/>
                      </a:lnTo>
                      <a:lnTo>
                        <a:pt x="127520" y="104241"/>
                      </a:lnTo>
                      <a:lnTo>
                        <a:pt x="128828" y="103428"/>
                      </a:lnTo>
                      <a:lnTo>
                        <a:pt x="132867" y="101358"/>
                      </a:lnTo>
                      <a:lnTo>
                        <a:pt x="135458" y="100622"/>
                      </a:lnTo>
                      <a:lnTo>
                        <a:pt x="141668" y="98691"/>
                      </a:lnTo>
                      <a:lnTo>
                        <a:pt x="145122" y="97967"/>
                      </a:lnTo>
                      <a:lnTo>
                        <a:pt x="149809" y="95161"/>
                      </a:lnTo>
                      <a:lnTo>
                        <a:pt x="150888" y="94259"/>
                      </a:lnTo>
                      <a:lnTo>
                        <a:pt x="150914" y="94132"/>
                      </a:lnTo>
                      <a:close/>
                    </a:path>
                    <a:path w="365759" h="160019">
                      <a:moveTo>
                        <a:pt x="347218" y="5207"/>
                      </a:moveTo>
                      <a:lnTo>
                        <a:pt x="345579" y="5549"/>
                      </a:lnTo>
                      <a:lnTo>
                        <a:pt x="347129" y="5283"/>
                      </a:lnTo>
                      <a:close/>
                    </a:path>
                    <a:path w="365759" h="160019">
                      <a:moveTo>
                        <a:pt x="365493" y="1498"/>
                      </a:moveTo>
                      <a:lnTo>
                        <a:pt x="364985" y="1308"/>
                      </a:lnTo>
                      <a:lnTo>
                        <a:pt x="364477" y="1028"/>
                      </a:lnTo>
                      <a:lnTo>
                        <a:pt x="363956" y="901"/>
                      </a:lnTo>
                      <a:lnTo>
                        <a:pt x="361950" y="0"/>
                      </a:lnTo>
                      <a:lnTo>
                        <a:pt x="359651" y="279"/>
                      </a:lnTo>
                      <a:lnTo>
                        <a:pt x="357149" y="1168"/>
                      </a:lnTo>
                      <a:lnTo>
                        <a:pt x="355790" y="1803"/>
                      </a:lnTo>
                      <a:lnTo>
                        <a:pt x="354926" y="2298"/>
                      </a:lnTo>
                      <a:lnTo>
                        <a:pt x="354723" y="2387"/>
                      </a:lnTo>
                      <a:lnTo>
                        <a:pt x="354495" y="2578"/>
                      </a:lnTo>
                      <a:lnTo>
                        <a:pt x="354317" y="2641"/>
                      </a:lnTo>
                      <a:lnTo>
                        <a:pt x="354164" y="2743"/>
                      </a:lnTo>
                      <a:lnTo>
                        <a:pt x="352920" y="3403"/>
                      </a:lnTo>
                      <a:lnTo>
                        <a:pt x="351548" y="3606"/>
                      </a:lnTo>
                      <a:lnTo>
                        <a:pt x="348538" y="4216"/>
                      </a:lnTo>
                      <a:lnTo>
                        <a:pt x="347218" y="5207"/>
                      </a:lnTo>
                      <a:lnTo>
                        <a:pt x="365493" y="1498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17" name="object 57">
                  <a:extLst>
                    <a:ext uri="{FF2B5EF4-FFF2-40B4-BE49-F238E27FC236}">
                      <a16:creationId xmlns:a16="http://schemas.microsoft.com/office/drawing/2014/main" id="{1B777621-0277-FC16-86AB-7D60233C5319}"/>
                    </a:ext>
                  </a:extLst>
                </p:cNvPr>
                <p:cNvSpPr/>
                <p:nvPr/>
              </p:nvSpPr>
              <p:spPr>
                <a:xfrm>
                  <a:off x="907374" y="2057161"/>
                  <a:ext cx="3810" cy="57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09" h="5714">
                      <a:moveTo>
                        <a:pt x="2273" y="0"/>
                      </a:moveTo>
                      <a:lnTo>
                        <a:pt x="622" y="660"/>
                      </a:lnTo>
                      <a:lnTo>
                        <a:pt x="0" y="1041"/>
                      </a:lnTo>
                      <a:lnTo>
                        <a:pt x="253" y="2400"/>
                      </a:lnTo>
                      <a:lnTo>
                        <a:pt x="419" y="2806"/>
                      </a:lnTo>
                      <a:lnTo>
                        <a:pt x="1371" y="4851"/>
                      </a:lnTo>
                      <a:lnTo>
                        <a:pt x="2387" y="4508"/>
                      </a:lnTo>
                      <a:lnTo>
                        <a:pt x="3238" y="5702"/>
                      </a:lnTo>
                      <a:lnTo>
                        <a:pt x="3213" y="5397"/>
                      </a:lnTo>
                      <a:lnTo>
                        <a:pt x="3251" y="5067"/>
                      </a:lnTo>
                      <a:lnTo>
                        <a:pt x="3187" y="4597"/>
                      </a:lnTo>
                      <a:lnTo>
                        <a:pt x="2997" y="2997"/>
                      </a:lnTo>
                      <a:lnTo>
                        <a:pt x="2565" y="1485"/>
                      </a:lnTo>
                      <a:lnTo>
                        <a:pt x="2273" y="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18" name="object 58">
                  <a:extLst>
                    <a:ext uri="{FF2B5EF4-FFF2-40B4-BE49-F238E27FC236}">
                      <a16:creationId xmlns:a16="http://schemas.microsoft.com/office/drawing/2014/main" id="{468F4BA0-121E-9211-457C-E6BAA684D948}"/>
                    </a:ext>
                  </a:extLst>
                </p:cNvPr>
                <p:cNvSpPr/>
                <p:nvPr/>
              </p:nvSpPr>
              <p:spPr>
                <a:xfrm>
                  <a:off x="1094371" y="1429931"/>
                  <a:ext cx="364490" cy="53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4490" h="53975">
                      <a:moveTo>
                        <a:pt x="21983" y="8013"/>
                      </a:moveTo>
                      <a:lnTo>
                        <a:pt x="18669" y="4940"/>
                      </a:lnTo>
                      <a:lnTo>
                        <a:pt x="14630" y="2578"/>
                      </a:lnTo>
                      <a:lnTo>
                        <a:pt x="10934" y="0"/>
                      </a:lnTo>
                      <a:lnTo>
                        <a:pt x="8801" y="419"/>
                      </a:lnTo>
                      <a:lnTo>
                        <a:pt x="6489" y="1320"/>
                      </a:lnTo>
                      <a:lnTo>
                        <a:pt x="3860" y="2565"/>
                      </a:lnTo>
                      <a:lnTo>
                        <a:pt x="3086" y="3276"/>
                      </a:lnTo>
                      <a:lnTo>
                        <a:pt x="1282" y="3657"/>
                      </a:lnTo>
                      <a:lnTo>
                        <a:pt x="952" y="3314"/>
                      </a:lnTo>
                      <a:lnTo>
                        <a:pt x="0" y="3606"/>
                      </a:lnTo>
                      <a:lnTo>
                        <a:pt x="1193" y="5537"/>
                      </a:lnTo>
                      <a:lnTo>
                        <a:pt x="3708" y="7073"/>
                      </a:lnTo>
                      <a:lnTo>
                        <a:pt x="5727" y="8102"/>
                      </a:lnTo>
                      <a:lnTo>
                        <a:pt x="7518" y="9017"/>
                      </a:lnTo>
                      <a:lnTo>
                        <a:pt x="8902" y="10541"/>
                      </a:lnTo>
                      <a:lnTo>
                        <a:pt x="14795" y="12446"/>
                      </a:lnTo>
                      <a:lnTo>
                        <a:pt x="21983" y="8013"/>
                      </a:lnTo>
                      <a:close/>
                    </a:path>
                    <a:path w="364490" h="53975">
                      <a:moveTo>
                        <a:pt x="173024" y="49885"/>
                      </a:moveTo>
                      <a:lnTo>
                        <a:pt x="156857" y="42760"/>
                      </a:lnTo>
                      <a:lnTo>
                        <a:pt x="154000" y="42837"/>
                      </a:lnTo>
                      <a:lnTo>
                        <a:pt x="152222" y="44157"/>
                      </a:lnTo>
                      <a:lnTo>
                        <a:pt x="149529" y="44742"/>
                      </a:lnTo>
                      <a:lnTo>
                        <a:pt x="148932" y="44869"/>
                      </a:lnTo>
                      <a:lnTo>
                        <a:pt x="150126" y="47294"/>
                      </a:lnTo>
                      <a:lnTo>
                        <a:pt x="151091" y="48260"/>
                      </a:lnTo>
                      <a:lnTo>
                        <a:pt x="150939" y="48361"/>
                      </a:lnTo>
                      <a:lnTo>
                        <a:pt x="153885" y="48323"/>
                      </a:lnTo>
                      <a:lnTo>
                        <a:pt x="153136" y="50355"/>
                      </a:lnTo>
                      <a:lnTo>
                        <a:pt x="152323" y="51028"/>
                      </a:lnTo>
                      <a:lnTo>
                        <a:pt x="154774" y="50838"/>
                      </a:lnTo>
                      <a:lnTo>
                        <a:pt x="153060" y="52463"/>
                      </a:lnTo>
                      <a:lnTo>
                        <a:pt x="153619" y="53340"/>
                      </a:lnTo>
                      <a:lnTo>
                        <a:pt x="154673" y="53162"/>
                      </a:lnTo>
                      <a:lnTo>
                        <a:pt x="157899" y="53238"/>
                      </a:lnTo>
                      <a:lnTo>
                        <a:pt x="159867" y="53428"/>
                      </a:lnTo>
                      <a:lnTo>
                        <a:pt x="165379" y="53797"/>
                      </a:lnTo>
                      <a:lnTo>
                        <a:pt x="170980" y="53009"/>
                      </a:lnTo>
                      <a:lnTo>
                        <a:pt x="173024" y="49885"/>
                      </a:lnTo>
                      <a:close/>
                    </a:path>
                    <a:path w="364490" h="53975">
                      <a:moveTo>
                        <a:pt x="364363" y="22313"/>
                      </a:moveTo>
                      <a:lnTo>
                        <a:pt x="363004" y="18973"/>
                      </a:lnTo>
                      <a:lnTo>
                        <a:pt x="362686" y="18554"/>
                      </a:lnTo>
                      <a:lnTo>
                        <a:pt x="362280" y="18021"/>
                      </a:lnTo>
                      <a:lnTo>
                        <a:pt x="361429" y="17614"/>
                      </a:lnTo>
                      <a:lnTo>
                        <a:pt x="358089" y="15443"/>
                      </a:lnTo>
                      <a:lnTo>
                        <a:pt x="355295" y="13792"/>
                      </a:lnTo>
                      <a:lnTo>
                        <a:pt x="348462" y="13893"/>
                      </a:lnTo>
                      <a:lnTo>
                        <a:pt x="346341" y="12192"/>
                      </a:lnTo>
                      <a:lnTo>
                        <a:pt x="341922" y="15722"/>
                      </a:lnTo>
                      <a:lnTo>
                        <a:pt x="341363" y="19164"/>
                      </a:lnTo>
                      <a:lnTo>
                        <a:pt x="342582" y="21907"/>
                      </a:lnTo>
                      <a:lnTo>
                        <a:pt x="348234" y="24790"/>
                      </a:lnTo>
                      <a:lnTo>
                        <a:pt x="351320" y="25019"/>
                      </a:lnTo>
                      <a:lnTo>
                        <a:pt x="353923" y="26898"/>
                      </a:lnTo>
                      <a:lnTo>
                        <a:pt x="355866" y="26276"/>
                      </a:lnTo>
                      <a:lnTo>
                        <a:pt x="363753" y="25146"/>
                      </a:lnTo>
                      <a:lnTo>
                        <a:pt x="364363" y="22313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19" name="object 59">
                  <a:extLst>
                    <a:ext uri="{FF2B5EF4-FFF2-40B4-BE49-F238E27FC236}">
                      <a16:creationId xmlns:a16="http://schemas.microsoft.com/office/drawing/2014/main" id="{9C76AEA0-E4E6-ADA0-0976-47C89237D615}"/>
                    </a:ext>
                  </a:extLst>
                </p:cNvPr>
                <p:cNvSpPr/>
                <p:nvPr/>
              </p:nvSpPr>
              <p:spPr>
                <a:xfrm>
                  <a:off x="873709" y="2016848"/>
                  <a:ext cx="1093470" cy="1181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3470" h="118110">
                      <a:moveTo>
                        <a:pt x="13563" y="13195"/>
                      </a:moveTo>
                      <a:lnTo>
                        <a:pt x="8293" y="7277"/>
                      </a:lnTo>
                      <a:lnTo>
                        <a:pt x="7035" y="6400"/>
                      </a:lnTo>
                      <a:lnTo>
                        <a:pt x="5295" y="5194"/>
                      </a:lnTo>
                      <a:lnTo>
                        <a:pt x="3822" y="4152"/>
                      </a:lnTo>
                      <a:lnTo>
                        <a:pt x="4851" y="4229"/>
                      </a:lnTo>
                      <a:lnTo>
                        <a:pt x="5715" y="4495"/>
                      </a:lnTo>
                      <a:lnTo>
                        <a:pt x="5321" y="2882"/>
                      </a:lnTo>
                      <a:lnTo>
                        <a:pt x="4178" y="1435"/>
                      </a:lnTo>
                      <a:lnTo>
                        <a:pt x="3378" y="0"/>
                      </a:lnTo>
                      <a:lnTo>
                        <a:pt x="2387" y="1460"/>
                      </a:lnTo>
                      <a:lnTo>
                        <a:pt x="800" y="2184"/>
                      </a:lnTo>
                      <a:lnTo>
                        <a:pt x="1917" y="2997"/>
                      </a:lnTo>
                      <a:lnTo>
                        <a:pt x="0" y="3276"/>
                      </a:lnTo>
                      <a:lnTo>
                        <a:pt x="2857" y="6565"/>
                      </a:lnTo>
                      <a:lnTo>
                        <a:pt x="6108" y="9525"/>
                      </a:lnTo>
                      <a:lnTo>
                        <a:pt x="9207" y="12585"/>
                      </a:lnTo>
                      <a:lnTo>
                        <a:pt x="13563" y="13195"/>
                      </a:lnTo>
                      <a:close/>
                    </a:path>
                    <a:path w="1093470" h="118110">
                      <a:moveTo>
                        <a:pt x="1074140" y="57912"/>
                      </a:moveTo>
                      <a:lnTo>
                        <a:pt x="1072946" y="57950"/>
                      </a:lnTo>
                      <a:lnTo>
                        <a:pt x="1071765" y="57531"/>
                      </a:lnTo>
                      <a:lnTo>
                        <a:pt x="1071638" y="58801"/>
                      </a:lnTo>
                      <a:lnTo>
                        <a:pt x="1072502" y="58597"/>
                      </a:lnTo>
                      <a:lnTo>
                        <a:pt x="1073315" y="58242"/>
                      </a:lnTo>
                      <a:lnTo>
                        <a:pt x="1074140" y="57912"/>
                      </a:lnTo>
                      <a:close/>
                    </a:path>
                    <a:path w="1093470" h="118110">
                      <a:moveTo>
                        <a:pt x="1087564" y="79463"/>
                      </a:moveTo>
                      <a:lnTo>
                        <a:pt x="1086561" y="79502"/>
                      </a:lnTo>
                      <a:lnTo>
                        <a:pt x="1085786" y="79476"/>
                      </a:lnTo>
                      <a:lnTo>
                        <a:pt x="1085532" y="80467"/>
                      </a:lnTo>
                      <a:lnTo>
                        <a:pt x="1086218" y="80137"/>
                      </a:lnTo>
                      <a:lnTo>
                        <a:pt x="1086891" y="79806"/>
                      </a:lnTo>
                      <a:lnTo>
                        <a:pt x="1087564" y="79463"/>
                      </a:lnTo>
                      <a:close/>
                    </a:path>
                    <a:path w="1093470" h="118110">
                      <a:moveTo>
                        <a:pt x="1093355" y="116128"/>
                      </a:moveTo>
                      <a:lnTo>
                        <a:pt x="1092631" y="116738"/>
                      </a:lnTo>
                      <a:lnTo>
                        <a:pt x="1091882" y="117170"/>
                      </a:lnTo>
                      <a:lnTo>
                        <a:pt x="1091819" y="118021"/>
                      </a:lnTo>
                      <a:lnTo>
                        <a:pt x="1092835" y="116751"/>
                      </a:lnTo>
                      <a:lnTo>
                        <a:pt x="1093355" y="116128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20" name="object 60">
                  <a:extLst>
                    <a:ext uri="{FF2B5EF4-FFF2-40B4-BE49-F238E27FC236}">
                      <a16:creationId xmlns:a16="http://schemas.microsoft.com/office/drawing/2014/main" id="{13878361-4618-8EE1-47EF-0F4BE8E75122}"/>
                    </a:ext>
                  </a:extLst>
                </p:cNvPr>
                <p:cNvSpPr/>
                <p:nvPr/>
              </p:nvSpPr>
              <p:spPr>
                <a:xfrm>
                  <a:off x="1632681" y="1808810"/>
                  <a:ext cx="1333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335" h="9525">
                      <a:moveTo>
                        <a:pt x="4508" y="0"/>
                      </a:moveTo>
                      <a:lnTo>
                        <a:pt x="1854" y="342"/>
                      </a:lnTo>
                      <a:lnTo>
                        <a:pt x="965" y="1104"/>
                      </a:lnTo>
                      <a:lnTo>
                        <a:pt x="254" y="1358"/>
                      </a:lnTo>
                      <a:lnTo>
                        <a:pt x="0" y="1473"/>
                      </a:lnTo>
                      <a:lnTo>
                        <a:pt x="698" y="1435"/>
                      </a:lnTo>
                      <a:lnTo>
                        <a:pt x="622" y="1689"/>
                      </a:lnTo>
                      <a:lnTo>
                        <a:pt x="850" y="2311"/>
                      </a:lnTo>
                      <a:lnTo>
                        <a:pt x="3606" y="3670"/>
                      </a:lnTo>
                      <a:lnTo>
                        <a:pt x="4178" y="4089"/>
                      </a:lnTo>
                      <a:lnTo>
                        <a:pt x="11264" y="9245"/>
                      </a:lnTo>
                      <a:lnTo>
                        <a:pt x="13309" y="4965"/>
                      </a:lnTo>
                      <a:lnTo>
                        <a:pt x="12725" y="4851"/>
                      </a:lnTo>
                      <a:lnTo>
                        <a:pt x="12090" y="4622"/>
                      </a:lnTo>
                      <a:lnTo>
                        <a:pt x="11506" y="4622"/>
                      </a:lnTo>
                      <a:lnTo>
                        <a:pt x="9880" y="3302"/>
                      </a:lnTo>
                      <a:lnTo>
                        <a:pt x="7531" y="457"/>
                      </a:lnTo>
                      <a:lnTo>
                        <a:pt x="4508" y="0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21" name="object 61">
                  <a:extLst>
                    <a:ext uri="{FF2B5EF4-FFF2-40B4-BE49-F238E27FC236}">
                      <a16:creationId xmlns:a16="http://schemas.microsoft.com/office/drawing/2014/main" id="{485BC992-A6BF-1661-7902-AAD9F9BE74B7}"/>
                    </a:ext>
                  </a:extLst>
                </p:cNvPr>
                <p:cNvSpPr/>
                <p:nvPr/>
              </p:nvSpPr>
              <p:spPr>
                <a:xfrm>
                  <a:off x="1807563" y="1847650"/>
                  <a:ext cx="7620" cy="57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9" h="5714">
                      <a:moveTo>
                        <a:pt x="355" y="0"/>
                      </a:moveTo>
                      <a:lnTo>
                        <a:pt x="0" y="2946"/>
                      </a:lnTo>
                      <a:lnTo>
                        <a:pt x="2044" y="3543"/>
                      </a:lnTo>
                      <a:lnTo>
                        <a:pt x="3771" y="4445"/>
                      </a:lnTo>
                      <a:lnTo>
                        <a:pt x="4521" y="5334"/>
                      </a:lnTo>
                      <a:lnTo>
                        <a:pt x="5422" y="4940"/>
                      </a:lnTo>
                      <a:lnTo>
                        <a:pt x="7073" y="4203"/>
                      </a:lnTo>
                      <a:lnTo>
                        <a:pt x="3517" y="1320"/>
                      </a:lnTo>
                      <a:lnTo>
                        <a:pt x="2870" y="584"/>
                      </a:lnTo>
                      <a:lnTo>
                        <a:pt x="1930" y="38"/>
                      </a:lnTo>
                      <a:lnTo>
                        <a:pt x="355" y="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22" name="object 62">
                  <a:extLst>
                    <a:ext uri="{FF2B5EF4-FFF2-40B4-BE49-F238E27FC236}">
                      <a16:creationId xmlns:a16="http://schemas.microsoft.com/office/drawing/2014/main" id="{17796550-9576-404C-8655-E034D61D0185}"/>
                    </a:ext>
                  </a:extLst>
                </p:cNvPr>
                <p:cNvSpPr/>
                <p:nvPr/>
              </p:nvSpPr>
              <p:spPr>
                <a:xfrm>
                  <a:off x="1445463" y="1467611"/>
                  <a:ext cx="373380" cy="6635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3380" h="663575">
                      <a:moveTo>
                        <a:pt x="13106" y="3517"/>
                      </a:moveTo>
                      <a:lnTo>
                        <a:pt x="8851" y="241"/>
                      </a:lnTo>
                      <a:lnTo>
                        <a:pt x="8623" y="152"/>
                      </a:lnTo>
                      <a:lnTo>
                        <a:pt x="8191" y="50"/>
                      </a:lnTo>
                      <a:lnTo>
                        <a:pt x="7848" y="0"/>
                      </a:lnTo>
                      <a:lnTo>
                        <a:pt x="6972" y="50"/>
                      </a:lnTo>
                      <a:lnTo>
                        <a:pt x="5219" y="139"/>
                      </a:lnTo>
                      <a:lnTo>
                        <a:pt x="3479" y="812"/>
                      </a:lnTo>
                      <a:lnTo>
                        <a:pt x="1524" y="1143"/>
                      </a:lnTo>
                      <a:lnTo>
                        <a:pt x="1371" y="1244"/>
                      </a:lnTo>
                      <a:lnTo>
                        <a:pt x="787" y="1422"/>
                      </a:lnTo>
                      <a:lnTo>
                        <a:pt x="457" y="1587"/>
                      </a:lnTo>
                      <a:lnTo>
                        <a:pt x="317" y="1752"/>
                      </a:lnTo>
                      <a:lnTo>
                        <a:pt x="165" y="1993"/>
                      </a:lnTo>
                      <a:lnTo>
                        <a:pt x="0" y="2616"/>
                      </a:lnTo>
                      <a:lnTo>
                        <a:pt x="279" y="3251"/>
                      </a:lnTo>
                      <a:lnTo>
                        <a:pt x="965" y="4051"/>
                      </a:lnTo>
                      <a:lnTo>
                        <a:pt x="2540" y="5575"/>
                      </a:lnTo>
                      <a:lnTo>
                        <a:pt x="5334" y="9182"/>
                      </a:lnTo>
                      <a:lnTo>
                        <a:pt x="7607" y="10312"/>
                      </a:lnTo>
                      <a:lnTo>
                        <a:pt x="8382" y="11023"/>
                      </a:lnTo>
                      <a:lnTo>
                        <a:pt x="8674" y="10807"/>
                      </a:lnTo>
                      <a:lnTo>
                        <a:pt x="10045" y="10718"/>
                      </a:lnTo>
                      <a:lnTo>
                        <a:pt x="12407" y="9715"/>
                      </a:lnTo>
                      <a:lnTo>
                        <a:pt x="11798" y="8420"/>
                      </a:lnTo>
                      <a:lnTo>
                        <a:pt x="10147" y="7797"/>
                      </a:lnTo>
                      <a:lnTo>
                        <a:pt x="10210" y="6248"/>
                      </a:lnTo>
                      <a:lnTo>
                        <a:pt x="10477" y="5575"/>
                      </a:lnTo>
                      <a:lnTo>
                        <a:pt x="10604" y="5397"/>
                      </a:lnTo>
                      <a:lnTo>
                        <a:pt x="11023" y="5118"/>
                      </a:lnTo>
                      <a:lnTo>
                        <a:pt x="11557" y="4940"/>
                      </a:lnTo>
                      <a:lnTo>
                        <a:pt x="11925" y="4724"/>
                      </a:lnTo>
                      <a:lnTo>
                        <a:pt x="12153" y="4470"/>
                      </a:lnTo>
                      <a:lnTo>
                        <a:pt x="12776" y="4051"/>
                      </a:lnTo>
                      <a:lnTo>
                        <a:pt x="13106" y="3517"/>
                      </a:lnTo>
                      <a:close/>
                    </a:path>
                    <a:path w="373380" h="663575">
                      <a:moveTo>
                        <a:pt x="237515" y="365518"/>
                      </a:moveTo>
                      <a:lnTo>
                        <a:pt x="235292" y="364159"/>
                      </a:lnTo>
                      <a:lnTo>
                        <a:pt x="232638" y="363435"/>
                      </a:lnTo>
                      <a:lnTo>
                        <a:pt x="230225" y="362508"/>
                      </a:lnTo>
                      <a:lnTo>
                        <a:pt x="229412" y="362546"/>
                      </a:lnTo>
                      <a:lnTo>
                        <a:pt x="228612" y="362648"/>
                      </a:lnTo>
                      <a:lnTo>
                        <a:pt x="227863" y="362940"/>
                      </a:lnTo>
                      <a:lnTo>
                        <a:pt x="230657" y="364769"/>
                      </a:lnTo>
                      <a:lnTo>
                        <a:pt x="234200" y="365874"/>
                      </a:lnTo>
                      <a:lnTo>
                        <a:pt x="237515" y="365518"/>
                      </a:lnTo>
                      <a:close/>
                    </a:path>
                    <a:path w="373380" h="663575">
                      <a:moveTo>
                        <a:pt x="372999" y="660654"/>
                      </a:moveTo>
                      <a:lnTo>
                        <a:pt x="371894" y="661289"/>
                      </a:lnTo>
                      <a:lnTo>
                        <a:pt x="370179" y="660908"/>
                      </a:lnTo>
                      <a:lnTo>
                        <a:pt x="370281" y="662800"/>
                      </a:lnTo>
                      <a:lnTo>
                        <a:pt x="370395" y="663143"/>
                      </a:lnTo>
                      <a:lnTo>
                        <a:pt x="371487" y="662292"/>
                      </a:lnTo>
                      <a:lnTo>
                        <a:pt x="372364" y="661289"/>
                      </a:lnTo>
                      <a:lnTo>
                        <a:pt x="372999" y="660654"/>
                      </a:lnTo>
                      <a:close/>
                    </a:path>
                    <a:path w="373380" h="663575">
                      <a:moveTo>
                        <a:pt x="373341" y="660323"/>
                      </a:moveTo>
                      <a:lnTo>
                        <a:pt x="372999" y="660654"/>
                      </a:lnTo>
                      <a:lnTo>
                        <a:pt x="373227" y="660488"/>
                      </a:lnTo>
                      <a:lnTo>
                        <a:pt x="373341" y="660323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23" name="object 63">
                  <a:extLst>
                    <a:ext uri="{FF2B5EF4-FFF2-40B4-BE49-F238E27FC236}">
                      <a16:creationId xmlns:a16="http://schemas.microsoft.com/office/drawing/2014/main" id="{9BC8A1F1-26BE-5E63-6564-FB0EB81B7CE3}"/>
                    </a:ext>
                  </a:extLst>
                </p:cNvPr>
                <p:cNvSpPr/>
                <p:nvPr/>
              </p:nvSpPr>
              <p:spPr>
                <a:xfrm>
                  <a:off x="934783" y="2094115"/>
                  <a:ext cx="103441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4414" h="9525">
                      <a:moveTo>
                        <a:pt x="2336" y="8458"/>
                      </a:moveTo>
                      <a:lnTo>
                        <a:pt x="1917" y="7594"/>
                      </a:lnTo>
                      <a:lnTo>
                        <a:pt x="1638" y="6731"/>
                      </a:lnTo>
                      <a:lnTo>
                        <a:pt x="50" y="6515"/>
                      </a:lnTo>
                      <a:lnTo>
                        <a:pt x="2311" y="9372"/>
                      </a:lnTo>
                      <a:lnTo>
                        <a:pt x="2336" y="8458"/>
                      </a:lnTo>
                      <a:close/>
                    </a:path>
                    <a:path w="1034414" h="9525">
                      <a:moveTo>
                        <a:pt x="1034135" y="1943"/>
                      </a:moveTo>
                      <a:lnTo>
                        <a:pt x="1033830" y="1333"/>
                      </a:lnTo>
                      <a:lnTo>
                        <a:pt x="1033386" y="787"/>
                      </a:lnTo>
                      <a:lnTo>
                        <a:pt x="1032903" y="292"/>
                      </a:lnTo>
                      <a:lnTo>
                        <a:pt x="1032129" y="304"/>
                      </a:lnTo>
                      <a:lnTo>
                        <a:pt x="1031570" y="774"/>
                      </a:lnTo>
                      <a:lnTo>
                        <a:pt x="1031303" y="1333"/>
                      </a:lnTo>
                      <a:lnTo>
                        <a:pt x="1030795" y="0"/>
                      </a:lnTo>
                      <a:lnTo>
                        <a:pt x="1029550" y="685"/>
                      </a:lnTo>
                      <a:lnTo>
                        <a:pt x="1029779" y="1879"/>
                      </a:lnTo>
                      <a:lnTo>
                        <a:pt x="1030211" y="4051"/>
                      </a:lnTo>
                      <a:lnTo>
                        <a:pt x="1032344" y="2209"/>
                      </a:lnTo>
                      <a:lnTo>
                        <a:pt x="1034135" y="1943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24" name="object 64">
                  <a:extLst>
                    <a:ext uri="{FF2B5EF4-FFF2-40B4-BE49-F238E27FC236}">
                      <a16:creationId xmlns:a16="http://schemas.microsoft.com/office/drawing/2014/main" id="{BFB904BC-D9B8-CF8B-AB87-6FD8C117B20C}"/>
                    </a:ext>
                  </a:extLst>
                </p:cNvPr>
                <p:cNvSpPr/>
                <p:nvPr/>
              </p:nvSpPr>
              <p:spPr>
                <a:xfrm>
                  <a:off x="1245311" y="1438186"/>
                  <a:ext cx="163195" cy="53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3194" h="53975">
                      <a:moveTo>
                        <a:pt x="28905" y="50253"/>
                      </a:moveTo>
                      <a:lnTo>
                        <a:pt x="28524" y="49149"/>
                      </a:lnTo>
                      <a:lnTo>
                        <a:pt x="27127" y="45847"/>
                      </a:lnTo>
                      <a:lnTo>
                        <a:pt x="22809" y="43649"/>
                      </a:lnTo>
                      <a:lnTo>
                        <a:pt x="15697" y="46342"/>
                      </a:lnTo>
                      <a:lnTo>
                        <a:pt x="11125" y="46888"/>
                      </a:lnTo>
                      <a:lnTo>
                        <a:pt x="9817" y="47053"/>
                      </a:lnTo>
                      <a:lnTo>
                        <a:pt x="8597" y="47371"/>
                      </a:lnTo>
                      <a:lnTo>
                        <a:pt x="6121" y="47764"/>
                      </a:lnTo>
                      <a:lnTo>
                        <a:pt x="4610" y="47612"/>
                      </a:lnTo>
                      <a:lnTo>
                        <a:pt x="2781" y="48463"/>
                      </a:lnTo>
                      <a:lnTo>
                        <a:pt x="2819" y="49110"/>
                      </a:lnTo>
                      <a:lnTo>
                        <a:pt x="0" y="49809"/>
                      </a:lnTo>
                      <a:lnTo>
                        <a:pt x="2921" y="51117"/>
                      </a:lnTo>
                      <a:lnTo>
                        <a:pt x="5664" y="52654"/>
                      </a:lnTo>
                      <a:lnTo>
                        <a:pt x="7810" y="52946"/>
                      </a:lnTo>
                      <a:lnTo>
                        <a:pt x="8623" y="52641"/>
                      </a:lnTo>
                      <a:lnTo>
                        <a:pt x="9550" y="52946"/>
                      </a:lnTo>
                      <a:lnTo>
                        <a:pt x="9207" y="53022"/>
                      </a:lnTo>
                      <a:lnTo>
                        <a:pt x="8877" y="53187"/>
                      </a:lnTo>
                      <a:lnTo>
                        <a:pt x="8509" y="53238"/>
                      </a:lnTo>
                      <a:lnTo>
                        <a:pt x="10782" y="53911"/>
                      </a:lnTo>
                      <a:lnTo>
                        <a:pt x="14592" y="53390"/>
                      </a:lnTo>
                      <a:lnTo>
                        <a:pt x="19723" y="52971"/>
                      </a:lnTo>
                      <a:lnTo>
                        <a:pt x="22885" y="52628"/>
                      </a:lnTo>
                      <a:lnTo>
                        <a:pt x="28905" y="50253"/>
                      </a:lnTo>
                      <a:close/>
                    </a:path>
                    <a:path w="163194" h="53975">
                      <a:moveTo>
                        <a:pt x="162801" y="3213"/>
                      </a:moveTo>
                      <a:lnTo>
                        <a:pt x="161264" y="2095"/>
                      </a:lnTo>
                      <a:lnTo>
                        <a:pt x="158343" y="1219"/>
                      </a:lnTo>
                      <a:lnTo>
                        <a:pt x="154825" y="889"/>
                      </a:lnTo>
                      <a:lnTo>
                        <a:pt x="153720" y="2209"/>
                      </a:lnTo>
                      <a:lnTo>
                        <a:pt x="151422" y="2146"/>
                      </a:lnTo>
                      <a:lnTo>
                        <a:pt x="150710" y="1231"/>
                      </a:lnTo>
                      <a:lnTo>
                        <a:pt x="148882" y="1473"/>
                      </a:lnTo>
                      <a:lnTo>
                        <a:pt x="148805" y="1778"/>
                      </a:lnTo>
                      <a:lnTo>
                        <a:pt x="146748" y="800"/>
                      </a:lnTo>
                      <a:lnTo>
                        <a:pt x="145059" y="1498"/>
                      </a:lnTo>
                      <a:lnTo>
                        <a:pt x="142214" y="1028"/>
                      </a:lnTo>
                      <a:lnTo>
                        <a:pt x="141020" y="762"/>
                      </a:lnTo>
                      <a:lnTo>
                        <a:pt x="137553" y="863"/>
                      </a:lnTo>
                      <a:lnTo>
                        <a:pt x="136639" y="1320"/>
                      </a:lnTo>
                      <a:lnTo>
                        <a:pt x="134239" y="1981"/>
                      </a:lnTo>
                      <a:lnTo>
                        <a:pt x="133350" y="1638"/>
                      </a:lnTo>
                      <a:lnTo>
                        <a:pt x="132499" y="1701"/>
                      </a:lnTo>
                      <a:lnTo>
                        <a:pt x="131546" y="2349"/>
                      </a:lnTo>
                      <a:lnTo>
                        <a:pt x="130441" y="1600"/>
                      </a:lnTo>
                      <a:lnTo>
                        <a:pt x="131165" y="203"/>
                      </a:lnTo>
                      <a:lnTo>
                        <a:pt x="129159" y="0"/>
                      </a:lnTo>
                      <a:lnTo>
                        <a:pt x="128828" y="647"/>
                      </a:lnTo>
                      <a:lnTo>
                        <a:pt x="126822" y="1485"/>
                      </a:lnTo>
                      <a:lnTo>
                        <a:pt x="125209" y="1282"/>
                      </a:lnTo>
                      <a:lnTo>
                        <a:pt x="120802" y="2349"/>
                      </a:lnTo>
                      <a:lnTo>
                        <a:pt x="115963" y="4305"/>
                      </a:lnTo>
                      <a:lnTo>
                        <a:pt x="123215" y="11620"/>
                      </a:lnTo>
                      <a:lnTo>
                        <a:pt x="128168" y="10401"/>
                      </a:lnTo>
                      <a:lnTo>
                        <a:pt x="133057" y="10617"/>
                      </a:lnTo>
                      <a:lnTo>
                        <a:pt x="136347" y="10756"/>
                      </a:lnTo>
                      <a:lnTo>
                        <a:pt x="139661" y="10096"/>
                      </a:lnTo>
                      <a:lnTo>
                        <a:pt x="144614" y="10198"/>
                      </a:lnTo>
                      <a:lnTo>
                        <a:pt x="146138" y="10655"/>
                      </a:lnTo>
                      <a:lnTo>
                        <a:pt x="150241" y="11125"/>
                      </a:lnTo>
                      <a:lnTo>
                        <a:pt x="152463" y="11455"/>
                      </a:lnTo>
                      <a:lnTo>
                        <a:pt x="158584" y="11188"/>
                      </a:lnTo>
                      <a:lnTo>
                        <a:pt x="160947" y="5791"/>
                      </a:lnTo>
                      <a:lnTo>
                        <a:pt x="162801" y="3213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25" name="object 65">
                  <a:extLst>
                    <a:ext uri="{FF2B5EF4-FFF2-40B4-BE49-F238E27FC236}">
                      <a16:creationId xmlns:a16="http://schemas.microsoft.com/office/drawing/2014/main" id="{DBCB738D-701E-F5AF-3BAB-61C7CA612C2D}"/>
                    </a:ext>
                  </a:extLst>
                </p:cNvPr>
                <p:cNvSpPr/>
                <p:nvPr/>
              </p:nvSpPr>
              <p:spPr>
                <a:xfrm>
                  <a:off x="853854" y="2031142"/>
                  <a:ext cx="4445" cy="25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44" h="2539">
                      <a:moveTo>
                        <a:pt x="317" y="0"/>
                      </a:moveTo>
                      <a:lnTo>
                        <a:pt x="0" y="2324"/>
                      </a:lnTo>
                      <a:lnTo>
                        <a:pt x="1397" y="2184"/>
                      </a:lnTo>
                      <a:lnTo>
                        <a:pt x="2908" y="2209"/>
                      </a:lnTo>
                      <a:lnTo>
                        <a:pt x="4241" y="1739"/>
                      </a:lnTo>
                      <a:lnTo>
                        <a:pt x="3695" y="990"/>
                      </a:lnTo>
                      <a:lnTo>
                        <a:pt x="3035" y="1155"/>
                      </a:lnTo>
                      <a:lnTo>
                        <a:pt x="723" y="622"/>
                      </a:lnTo>
                      <a:lnTo>
                        <a:pt x="317" y="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26" name="object 66">
                  <a:extLst>
                    <a:ext uri="{FF2B5EF4-FFF2-40B4-BE49-F238E27FC236}">
                      <a16:creationId xmlns:a16="http://schemas.microsoft.com/office/drawing/2014/main" id="{A8683249-21BA-615A-7667-878C529B07D3}"/>
                    </a:ext>
                  </a:extLst>
                </p:cNvPr>
                <p:cNvSpPr/>
                <p:nvPr/>
              </p:nvSpPr>
              <p:spPr>
                <a:xfrm>
                  <a:off x="1307642" y="1363738"/>
                  <a:ext cx="385445" cy="6057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5444" h="605789">
                      <a:moveTo>
                        <a:pt x="22161" y="10452"/>
                      </a:moveTo>
                      <a:lnTo>
                        <a:pt x="21285" y="9436"/>
                      </a:lnTo>
                      <a:lnTo>
                        <a:pt x="20002" y="7759"/>
                      </a:lnTo>
                      <a:lnTo>
                        <a:pt x="20904" y="7581"/>
                      </a:lnTo>
                      <a:lnTo>
                        <a:pt x="20662" y="5194"/>
                      </a:lnTo>
                      <a:lnTo>
                        <a:pt x="20015" y="4940"/>
                      </a:lnTo>
                      <a:lnTo>
                        <a:pt x="18389" y="2794"/>
                      </a:lnTo>
                      <a:lnTo>
                        <a:pt x="19189" y="2628"/>
                      </a:lnTo>
                      <a:lnTo>
                        <a:pt x="17119" y="1816"/>
                      </a:lnTo>
                      <a:lnTo>
                        <a:pt x="16624" y="1409"/>
                      </a:lnTo>
                      <a:lnTo>
                        <a:pt x="14376" y="114"/>
                      </a:lnTo>
                      <a:lnTo>
                        <a:pt x="12204" y="1765"/>
                      </a:lnTo>
                      <a:lnTo>
                        <a:pt x="8966" y="1104"/>
                      </a:lnTo>
                      <a:lnTo>
                        <a:pt x="8204" y="0"/>
                      </a:lnTo>
                      <a:lnTo>
                        <a:pt x="3606" y="355"/>
                      </a:lnTo>
                      <a:lnTo>
                        <a:pt x="0" y="2743"/>
                      </a:lnTo>
                      <a:lnTo>
                        <a:pt x="381" y="9613"/>
                      </a:lnTo>
                      <a:lnTo>
                        <a:pt x="3048" y="9537"/>
                      </a:lnTo>
                      <a:lnTo>
                        <a:pt x="6464" y="10858"/>
                      </a:lnTo>
                      <a:lnTo>
                        <a:pt x="19507" y="15951"/>
                      </a:lnTo>
                      <a:lnTo>
                        <a:pt x="20294" y="14884"/>
                      </a:lnTo>
                      <a:lnTo>
                        <a:pt x="22085" y="12700"/>
                      </a:lnTo>
                      <a:lnTo>
                        <a:pt x="22161" y="10452"/>
                      </a:lnTo>
                      <a:close/>
                    </a:path>
                    <a:path w="385444" h="605789">
                      <a:moveTo>
                        <a:pt x="288417" y="602691"/>
                      </a:moveTo>
                      <a:lnTo>
                        <a:pt x="288086" y="603758"/>
                      </a:lnTo>
                      <a:lnTo>
                        <a:pt x="288340" y="603618"/>
                      </a:lnTo>
                      <a:lnTo>
                        <a:pt x="288417" y="602691"/>
                      </a:lnTo>
                      <a:close/>
                    </a:path>
                    <a:path w="385444" h="605789">
                      <a:moveTo>
                        <a:pt x="292087" y="601954"/>
                      </a:moveTo>
                      <a:lnTo>
                        <a:pt x="291020" y="601446"/>
                      </a:lnTo>
                      <a:lnTo>
                        <a:pt x="291033" y="602195"/>
                      </a:lnTo>
                      <a:lnTo>
                        <a:pt x="291287" y="602132"/>
                      </a:lnTo>
                      <a:lnTo>
                        <a:pt x="289763" y="602805"/>
                      </a:lnTo>
                      <a:lnTo>
                        <a:pt x="288340" y="603618"/>
                      </a:lnTo>
                      <a:lnTo>
                        <a:pt x="288175" y="605624"/>
                      </a:lnTo>
                      <a:lnTo>
                        <a:pt x="291896" y="602132"/>
                      </a:lnTo>
                      <a:lnTo>
                        <a:pt x="292087" y="601954"/>
                      </a:lnTo>
                      <a:close/>
                    </a:path>
                    <a:path w="385444" h="605789">
                      <a:moveTo>
                        <a:pt x="323037" y="437946"/>
                      </a:moveTo>
                      <a:lnTo>
                        <a:pt x="321856" y="437222"/>
                      </a:lnTo>
                      <a:lnTo>
                        <a:pt x="318947" y="436727"/>
                      </a:lnTo>
                      <a:lnTo>
                        <a:pt x="317982" y="438200"/>
                      </a:lnTo>
                      <a:lnTo>
                        <a:pt x="319620" y="438492"/>
                      </a:lnTo>
                      <a:lnTo>
                        <a:pt x="321398" y="438086"/>
                      </a:lnTo>
                      <a:lnTo>
                        <a:pt x="323037" y="437946"/>
                      </a:lnTo>
                      <a:close/>
                    </a:path>
                    <a:path w="385444" h="605789">
                      <a:moveTo>
                        <a:pt x="384886" y="348195"/>
                      </a:moveTo>
                      <a:lnTo>
                        <a:pt x="383501" y="346837"/>
                      </a:lnTo>
                      <a:lnTo>
                        <a:pt x="383044" y="343204"/>
                      </a:lnTo>
                      <a:lnTo>
                        <a:pt x="382104" y="342811"/>
                      </a:lnTo>
                      <a:lnTo>
                        <a:pt x="379857" y="342950"/>
                      </a:lnTo>
                      <a:lnTo>
                        <a:pt x="376809" y="341668"/>
                      </a:lnTo>
                      <a:lnTo>
                        <a:pt x="373773" y="340156"/>
                      </a:lnTo>
                      <a:lnTo>
                        <a:pt x="369023" y="338632"/>
                      </a:lnTo>
                      <a:lnTo>
                        <a:pt x="370141" y="339598"/>
                      </a:lnTo>
                      <a:lnTo>
                        <a:pt x="368058" y="341045"/>
                      </a:lnTo>
                      <a:lnTo>
                        <a:pt x="366649" y="341731"/>
                      </a:lnTo>
                      <a:lnTo>
                        <a:pt x="363410" y="343509"/>
                      </a:lnTo>
                      <a:lnTo>
                        <a:pt x="364058" y="344652"/>
                      </a:lnTo>
                      <a:lnTo>
                        <a:pt x="367055" y="348449"/>
                      </a:lnTo>
                      <a:lnTo>
                        <a:pt x="369455" y="348869"/>
                      </a:lnTo>
                      <a:lnTo>
                        <a:pt x="372338" y="348513"/>
                      </a:lnTo>
                      <a:lnTo>
                        <a:pt x="375526" y="348119"/>
                      </a:lnTo>
                      <a:lnTo>
                        <a:pt x="379412" y="349707"/>
                      </a:lnTo>
                      <a:lnTo>
                        <a:pt x="384886" y="348195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27" name="object 67">
                  <a:extLst>
                    <a:ext uri="{FF2B5EF4-FFF2-40B4-BE49-F238E27FC236}">
                      <a16:creationId xmlns:a16="http://schemas.microsoft.com/office/drawing/2014/main" id="{243CF02B-99A0-CC21-3C4A-F94E3B50F00B}"/>
                    </a:ext>
                  </a:extLst>
                </p:cNvPr>
                <p:cNvSpPr/>
                <p:nvPr/>
              </p:nvSpPr>
              <p:spPr>
                <a:xfrm>
                  <a:off x="1762785" y="1876869"/>
                  <a:ext cx="8255" cy="9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255" h="9525">
                      <a:moveTo>
                        <a:pt x="3467" y="0"/>
                      </a:moveTo>
                      <a:lnTo>
                        <a:pt x="3733" y="1523"/>
                      </a:lnTo>
                      <a:lnTo>
                        <a:pt x="2514" y="3428"/>
                      </a:lnTo>
                      <a:lnTo>
                        <a:pt x="1892" y="4394"/>
                      </a:lnTo>
                      <a:lnTo>
                        <a:pt x="0" y="5740"/>
                      </a:lnTo>
                      <a:lnTo>
                        <a:pt x="254" y="9245"/>
                      </a:lnTo>
                      <a:lnTo>
                        <a:pt x="4673" y="7073"/>
                      </a:lnTo>
                      <a:lnTo>
                        <a:pt x="7950" y="5562"/>
                      </a:lnTo>
                      <a:lnTo>
                        <a:pt x="7645" y="4864"/>
                      </a:lnTo>
                      <a:lnTo>
                        <a:pt x="6413" y="1092"/>
                      </a:lnTo>
                      <a:lnTo>
                        <a:pt x="3467" y="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28" name="object 68">
                  <a:extLst>
                    <a:ext uri="{FF2B5EF4-FFF2-40B4-BE49-F238E27FC236}">
                      <a16:creationId xmlns:a16="http://schemas.microsoft.com/office/drawing/2014/main" id="{706873EB-57FC-FFBF-7879-8350EA8F8540}"/>
                    </a:ext>
                  </a:extLst>
                </p:cNvPr>
                <p:cNvSpPr/>
                <p:nvPr/>
              </p:nvSpPr>
              <p:spPr>
                <a:xfrm>
                  <a:off x="1237957" y="1262684"/>
                  <a:ext cx="629920" cy="4375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9919" h="437514">
                      <a:moveTo>
                        <a:pt x="9194" y="434136"/>
                      </a:moveTo>
                      <a:lnTo>
                        <a:pt x="9017" y="432803"/>
                      </a:lnTo>
                      <a:lnTo>
                        <a:pt x="8724" y="432523"/>
                      </a:lnTo>
                      <a:lnTo>
                        <a:pt x="8204" y="431495"/>
                      </a:lnTo>
                      <a:lnTo>
                        <a:pt x="6311" y="430644"/>
                      </a:lnTo>
                      <a:lnTo>
                        <a:pt x="5422" y="430009"/>
                      </a:lnTo>
                      <a:lnTo>
                        <a:pt x="4419" y="429844"/>
                      </a:lnTo>
                      <a:lnTo>
                        <a:pt x="1409" y="429285"/>
                      </a:lnTo>
                      <a:lnTo>
                        <a:pt x="508" y="430123"/>
                      </a:lnTo>
                      <a:lnTo>
                        <a:pt x="139" y="430326"/>
                      </a:lnTo>
                      <a:lnTo>
                        <a:pt x="0" y="430593"/>
                      </a:lnTo>
                      <a:lnTo>
                        <a:pt x="292" y="431025"/>
                      </a:lnTo>
                      <a:lnTo>
                        <a:pt x="647" y="432054"/>
                      </a:lnTo>
                      <a:lnTo>
                        <a:pt x="4610" y="433997"/>
                      </a:lnTo>
                      <a:lnTo>
                        <a:pt x="6197" y="434721"/>
                      </a:lnTo>
                      <a:lnTo>
                        <a:pt x="7442" y="434467"/>
                      </a:lnTo>
                      <a:lnTo>
                        <a:pt x="8470" y="434517"/>
                      </a:lnTo>
                      <a:lnTo>
                        <a:pt x="9194" y="434136"/>
                      </a:lnTo>
                      <a:close/>
                    </a:path>
                    <a:path w="629919" h="437514">
                      <a:moveTo>
                        <a:pt x="66243" y="314312"/>
                      </a:moveTo>
                      <a:lnTo>
                        <a:pt x="66205" y="314109"/>
                      </a:lnTo>
                      <a:lnTo>
                        <a:pt x="65824" y="314617"/>
                      </a:lnTo>
                      <a:lnTo>
                        <a:pt x="66243" y="314312"/>
                      </a:lnTo>
                      <a:close/>
                    </a:path>
                    <a:path w="629919" h="437514">
                      <a:moveTo>
                        <a:pt x="66789" y="305981"/>
                      </a:moveTo>
                      <a:lnTo>
                        <a:pt x="66636" y="303974"/>
                      </a:lnTo>
                      <a:lnTo>
                        <a:pt x="65468" y="303441"/>
                      </a:lnTo>
                      <a:lnTo>
                        <a:pt x="62217" y="301536"/>
                      </a:lnTo>
                      <a:lnTo>
                        <a:pt x="61379" y="299504"/>
                      </a:lnTo>
                      <a:lnTo>
                        <a:pt x="61112" y="298869"/>
                      </a:lnTo>
                      <a:lnTo>
                        <a:pt x="59067" y="298234"/>
                      </a:lnTo>
                      <a:lnTo>
                        <a:pt x="56299" y="298107"/>
                      </a:lnTo>
                      <a:lnTo>
                        <a:pt x="54851" y="298361"/>
                      </a:lnTo>
                      <a:lnTo>
                        <a:pt x="54952" y="298996"/>
                      </a:lnTo>
                      <a:lnTo>
                        <a:pt x="53708" y="299504"/>
                      </a:lnTo>
                      <a:lnTo>
                        <a:pt x="53149" y="299377"/>
                      </a:lnTo>
                      <a:lnTo>
                        <a:pt x="50304" y="300266"/>
                      </a:lnTo>
                      <a:lnTo>
                        <a:pt x="48869" y="301282"/>
                      </a:lnTo>
                      <a:lnTo>
                        <a:pt x="52641" y="304076"/>
                      </a:lnTo>
                      <a:lnTo>
                        <a:pt x="54686" y="304965"/>
                      </a:lnTo>
                      <a:lnTo>
                        <a:pt x="60871" y="307886"/>
                      </a:lnTo>
                      <a:lnTo>
                        <a:pt x="64376" y="306870"/>
                      </a:lnTo>
                      <a:lnTo>
                        <a:pt x="66789" y="305981"/>
                      </a:lnTo>
                      <a:close/>
                    </a:path>
                    <a:path w="629919" h="437514">
                      <a:moveTo>
                        <a:pt x="67386" y="304330"/>
                      </a:moveTo>
                      <a:lnTo>
                        <a:pt x="66941" y="303784"/>
                      </a:lnTo>
                      <a:lnTo>
                        <a:pt x="66598" y="303568"/>
                      </a:lnTo>
                      <a:lnTo>
                        <a:pt x="66636" y="303974"/>
                      </a:lnTo>
                      <a:lnTo>
                        <a:pt x="67386" y="304330"/>
                      </a:lnTo>
                      <a:close/>
                    </a:path>
                    <a:path w="629919" h="437514">
                      <a:moveTo>
                        <a:pt x="111125" y="247192"/>
                      </a:moveTo>
                      <a:lnTo>
                        <a:pt x="109004" y="246049"/>
                      </a:lnTo>
                      <a:lnTo>
                        <a:pt x="108546" y="245033"/>
                      </a:lnTo>
                      <a:lnTo>
                        <a:pt x="108115" y="244741"/>
                      </a:lnTo>
                      <a:lnTo>
                        <a:pt x="107492" y="245668"/>
                      </a:lnTo>
                      <a:lnTo>
                        <a:pt x="111125" y="247192"/>
                      </a:lnTo>
                      <a:close/>
                    </a:path>
                    <a:path w="629919" h="437514">
                      <a:moveTo>
                        <a:pt x="111366" y="239826"/>
                      </a:moveTo>
                      <a:lnTo>
                        <a:pt x="86156" y="239826"/>
                      </a:lnTo>
                      <a:lnTo>
                        <a:pt x="81000" y="239826"/>
                      </a:lnTo>
                      <a:lnTo>
                        <a:pt x="76619" y="239826"/>
                      </a:lnTo>
                      <a:lnTo>
                        <a:pt x="75666" y="239826"/>
                      </a:lnTo>
                      <a:lnTo>
                        <a:pt x="74079" y="241477"/>
                      </a:lnTo>
                      <a:lnTo>
                        <a:pt x="76123" y="241096"/>
                      </a:lnTo>
                      <a:lnTo>
                        <a:pt x="76923" y="241350"/>
                      </a:lnTo>
                      <a:lnTo>
                        <a:pt x="76212" y="242239"/>
                      </a:lnTo>
                      <a:lnTo>
                        <a:pt x="73317" y="242620"/>
                      </a:lnTo>
                      <a:lnTo>
                        <a:pt x="72224" y="243128"/>
                      </a:lnTo>
                      <a:lnTo>
                        <a:pt x="73012" y="243255"/>
                      </a:lnTo>
                      <a:lnTo>
                        <a:pt x="73812" y="243128"/>
                      </a:lnTo>
                      <a:lnTo>
                        <a:pt x="74612" y="243255"/>
                      </a:lnTo>
                      <a:lnTo>
                        <a:pt x="72821" y="243636"/>
                      </a:lnTo>
                      <a:lnTo>
                        <a:pt x="70751" y="243509"/>
                      </a:lnTo>
                      <a:lnTo>
                        <a:pt x="68948" y="244017"/>
                      </a:lnTo>
                      <a:lnTo>
                        <a:pt x="70180" y="244398"/>
                      </a:lnTo>
                      <a:lnTo>
                        <a:pt x="71589" y="244398"/>
                      </a:lnTo>
                      <a:lnTo>
                        <a:pt x="72859" y="244652"/>
                      </a:lnTo>
                      <a:lnTo>
                        <a:pt x="71628" y="245287"/>
                      </a:lnTo>
                      <a:lnTo>
                        <a:pt x="69850" y="245033"/>
                      </a:lnTo>
                      <a:lnTo>
                        <a:pt x="68529" y="245287"/>
                      </a:lnTo>
                      <a:lnTo>
                        <a:pt x="69672" y="245414"/>
                      </a:lnTo>
                      <a:lnTo>
                        <a:pt x="70853" y="245287"/>
                      </a:lnTo>
                      <a:lnTo>
                        <a:pt x="71958" y="245541"/>
                      </a:lnTo>
                      <a:lnTo>
                        <a:pt x="70421" y="246303"/>
                      </a:lnTo>
                      <a:lnTo>
                        <a:pt x="68986" y="246049"/>
                      </a:lnTo>
                      <a:lnTo>
                        <a:pt x="68262" y="245922"/>
                      </a:lnTo>
                      <a:lnTo>
                        <a:pt x="65354" y="246049"/>
                      </a:lnTo>
                      <a:lnTo>
                        <a:pt x="63627" y="245922"/>
                      </a:lnTo>
                      <a:lnTo>
                        <a:pt x="67487" y="248843"/>
                      </a:lnTo>
                      <a:lnTo>
                        <a:pt x="62890" y="248462"/>
                      </a:lnTo>
                      <a:lnTo>
                        <a:pt x="61810" y="248970"/>
                      </a:lnTo>
                      <a:lnTo>
                        <a:pt x="62865" y="248970"/>
                      </a:lnTo>
                      <a:lnTo>
                        <a:pt x="63182" y="249859"/>
                      </a:lnTo>
                      <a:lnTo>
                        <a:pt x="65532" y="250621"/>
                      </a:lnTo>
                      <a:lnTo>
                        <a:pt x="66903" y="249859"/>
                      </a:lnTo>
                      <a:lnTo>
                        <a:pt x="68402" y="250113"/>
                      </a:lnTo>
                      <a:lnTo>
                        <a:pt x="64947" y="252272"/>
                      </a:lnTo>
                      <a:lnTo>
                        <a:pt x="71107" y="251637"/>
                      </a:lnTo>
                      <a:lnTo>
                        <a:pt x="72542" y="252145"/>
                      </a:lnTo>
                      <a:lnTo>
                        <a:pt x="70142" y="252653"/>
                      </a:lnTo>
                      <a:lnTo>
                        <a:pt x="67132" y="252145"/>
                      </a:lnTo>
                      <a:lnTo>
                        <a:pt x="64909" y="253415"/>
                      </a:lnTo>
                      <a:lnTo>
                        <a:pt x="67449" y="253796"/>
                      </a:lnTo>
                      <a:lnTo>
                        <a:pt x="66040" y="256336"/>
                      </a:lnTo>
                      <a:lnTo>
                        <a:pt x="66052" y="256590"/>
                      </a:lnTo>
                      <a:lnTo>
                        <a:pt x="67462" y="258749"/>
                      </a:lnTo>
                      <a:lnTo>
                        <a:pt x="69583" y="259003"/>
                      </a:lnTo>
                      <a:lnTo>
                        <a:pt x="72085" y="259384"/>
                      </a:lnTo>
                      <a:lnTo>
                        <a:pt x="75882" y="259384"/>
                      </a:lnTo>
                      <a:lnTo>
                        <a:pt x="77304" y="259892"/>
                      </a:lnTo>
                      <a:lnTo>
                        <a:pt x="79768" y="259130"/>
                      </a:lnTo>
                      <a:lnTo>
                        <a:pt x="81114" y="256336"/>
                      </a:lnTo>
                      <a:lnTo>
                        <a:pt x="82689" y="255320"/>
                      </a:lnTo>
                      <a:lnTo>
                        <a:pt x="82562" y="255574"/>
                      </a:lnTo>
                      <a:lnTo>
                        <a:pt x="82537" y="256082"/>
                      </a:lnTo>
                      <a:lnTo>
                        <a:pt x="82156" y="256590"/>
                      </a:lnTo>
                      <a:lnTo>
                        <a:pt x="96761" y="257860"/>
                      </a:lnTo>
                      <a:lnTo>
                        <a:pt x="102196" y="259638"/>
                      </a:lnTo>
                      <a:lnTo>
                        <a:pt x="101828" y="256082"/>
                      </a:lnTo>
                      <a:lnTo>
                        <a:pt x="100761" y="255320"/>
                      </a:lnTo>
                      <a:lnTo>
                        <a:pt x="98259" y="253542"/>
                      </a:lnTo>
                      <a:lnTo>
                        <a:pt x="99974" y="252653"/>
                      </a:lnTo>
                      <a:lnTo>
                        <a:pt x="100215" y="252526"/>
                      </a:lnTo>
                      <a:lnTo>
                        <a:pt x="102666" y="254050"/>
                      </a:lnTo>
                      <a:lnTo>
                        <a:pt x="104089" y="254558"/>
                      </a:lnTo>
                      <a:lnTo>
                        <a:pt x="106375" y="255828"/>
                      </a:lnTo>
                      <a:lnTo>
                        <a:pt x="107188" y="254685"/>
                      </a:lnTo>
                      <a:lnTo>
                        <a:pt x="105562" y="254558"/>
                      </a:lnTo>
                      <a:lnTo>
                        <a:pt x="105981" y="253415"/>
                      </a:lnTo>
                      <a:lnTo>
                        <a:pt x="106159" y="252907"/>
                      </a:lnTo>
                      <a:lnTo>
                        <a:pt x="104406" y="253415"/>
                      </a:lnTo>
                      <a:lnTo>
                        <a:pt x="105270" y="252526"/>
                      </a:lnTo>
                      <a:lnTo>
                        <a:pt x="106146" y="251637"/>
                      </a:lnTo>
                      <a:lnTo>
                        <a:pt x="106273" y="251510"/>
                      </a:lnTo>
                      <a:lnTo>
                        <a:pt x="106514" y="251256"/>
                      </a:lnTo>
                      <a:lnTo>
                        <a:pt x="98704" y="251510"/>
                      </a:lnTo>
                      <a:lnTo>
                        <a:pt x="101079" y="250367"/>
                      </a:lnTo>
                      <a:lnTo>
                        <a:pt x="102387" y="249732"/>
                      </a:lnTo>
                      <a:lnTo>
                        <a:pt x="101777" y="249859"/>
                      </a:lnTo>
                      <a:lnTo>
                        <a:pt x="101015" y="250367"/>
                      </a:lnTo>
                      <a:lnTo>
                        <a:pt x="100406" y="250367"/>
                      </a:lnTo>
                      <a:lnTo>
                        <a:pt x="100799" y="249859"/>
                      </a:lnTo>
                      <a:lnTo>
                        <a:pt x="101396" y="249097"/>
                      </a:lnTo>
                      <a:lnTo>
                        <a:pt x="101765" y="248843"/>
                      </a:lnTo>
                      <a:lnTo>
                        <a:pt x="103022" y="247954"/>
                      </a:lnTo>
                      <a:lnTo>
                        <a:pt x="104178" y="246684"/>
                      </a:lnTo>
                      <a:lnTo>
                        <a:pt x="103809" y="246430"/>
                      </a:lnTo>
                      <a:lnTo>
                        <a:pt x="103835" y="246303"/>
                      </a:lnTo>
                      <a:lnTo>
                        <a:pt x="104305" y="243636"/>
                      </a:lnTo>
                      <a:lnTo>
                        <a:pt x="104368" y="243255"/>
                      </a:lnTo>
                      <a:lnTo>
                        <a:pt x="104457" y="243128"/>
                      </a:lnTo>
                      <a:lnTo>
                        <a:pt x="105016" y="242366"/>
                      </a:lnTo>
                      <a:lnTo>
                        <a:pt x="106476" y="243636"/>
                      </a:lnTo>
                      <a:lnTo>
                        <a:pt x="108115" y="244741"/>
                      </a:lnTo>
                      <a:lnTo>
                        <a:pt x="109689" y="242366"/>
                      </a:lnTo>
                      <a:lnTo>
                        <a:pt x="110528" y="241096"/>
                      </a:lnTo>
                      <a:lnTo>
                        <a:pt x="111366" y="239826"/>
                      </a:lnTo>
                      <a:close/>
                    </a:path>
                    <a:path w="629919" h="437514">
                      <a:moveTo>
                        <a:pt x="111620" y="239445"/>
                      </a:moveTo>
                      <a:lnTo>
                        <a:pt x="107988" y="238556"/>
                      </a:lnTo>
                      <a:lnTo>
                        <a:pt x="106426" y="238175"/>
                      </a:lnTo>
                      <a:lnTo>
                        <a:pt x="106032" y="238556"/>
                      </a:lnTo>
                      <a:lnTo>
                        <a:pt x="106311" y="237540"/>
                      </a:lnTo>
                      <a:lnTo>
                        <a:pt x="106845" y="235635"/>
                      </a:lnTo>
                      <a:lnTo>
                        <a:pt x="107403" y="233603"/>
                      </a:lnTo>
                      <a:lnTo>
                        <a:pt x="106527" y="233476"/>
                      </a:lnTo>
                      <a:lnTo>
                        <a:pt x="106502" y="233222"/>
                      </a:lnTo>
                      <a:lnTo>
                        <a:pt x="106184" y="230555"/>
                      </a:lnTo>
                      <a:lnTo>
                        <a:pt x="107340" y="228523"/>
                      </a:lnTo>
                      <a:lnTo>
                        <a:pt x="108064" y="226237"/>
                      </a:lnTo>
                      <a:lnTo>
                        <a:pt x="108102" y="226110"/>
                      </a:lnTo>
                      <a:lnTo>
                        <a:pt x="108381" y="225221"/>
                      </a:lnTo>
                      <a:lnTo>
                        <a:pt x="108343" y="224078"/>
                      </a:lnTo>
                      <a:lnTo>
                        <a:pt x="108331" y="223570"/>
                      </a:lnTo>
                      <a:lnTo>
                        <a:pt x="105473" y="222173"/>
                      </a:lnTo>
                      <a:lnTo>
                        <a:pt x="105206" y="222046"/>
                      </a:lnTo>
                      <a:lnTo>
                        <a:pt x="103911" y="221411"/>
                      </a:lnTo>
                      <a:lnTo>
                        <a:pt x="105841" y="219125"/>
                      </a:lnTo>
                      <a:lnTo>
                        <a:pt x="105918" y="218744"/>
                      </a:lnTo>
                      <a:lnTo>
                        <a:pt x="105892" y="218490"/>
                      </a:lnTo>
                      <a:lnTo>
                        <a:pt x="105867" y="218236"/>
                      </a:lnTo>
                      <a:lnTo>
                        <a:pt x="105841" y="217982"/>
                      </a:lnTo>
                      <a:lnTo>
                        <a:pt x="105549" y="214934"/>
                      </a:lnTo>
                      <a:lnTo>
                        <a:pt x="104267" y="214680"/>
                      </a:lnTo>
                      <a:lnTo>
                        <a:pt x="101739" y="214553"/>
                      </a:lnTo>
                      <a:lnTo>
                        <a:pt x="100139" y="213791"/>
                      </a:lnTo>
                      <a:lnTo>
                        <a:pt x="99339" y="213410"/>
                      </a:lnTo>
                      <a:lnTo>
                        <a:pt x="97739" y="213791"/>
                      </a:lnTo>
                      <a:lnTo>
                        <a:pt x="96126" y="213029"/>
                      </a:lnTo>
                      <a:lnTo>
                        <a:pt x="95808" y="212521"/>
                      </a:lnTo>
                      <a:lnTo>
                        <a:pt x="95643" y="212267"/>
                      </a:lnTo>
                      <a:lnTo>
                        <a:pt x="96583" y="212521"/>
                      </a:lnTo>
                      <a:lnTo>
                        <a:pt x="98513" y="212521"/>
                      </a:lnTo>
                      <a:lnTo>
                        <a:pt x="97891" y="212267"/>
                      </a:lnTo>
                      <a:lnTo>
                        <a:pt x="95377" y="211759"/>
                      </a:lnTo>
                      <a:lnTo>
                        <a:pt x="95275" y="210616"/>
                      </a:lnTo>
                      <a:lnTo>
                        <a:pt x="95211" y="209981"/>
                      </a:lnTo>
                      <a:lnTo>
                        <a:pt x="92646" y="209600"/>
                      </a:lnTo>
                      <a:lnTo>
                        <a:pt x="89966" y="209473"/>
                      </a:lnTo>
                      <a:lnTo>
                        <a:pt x="88963" y="210362"/>
                      </a:lnTo>
                      <a:lnTo>
                        <a:pt x="90525" y="211124"/>
                      </a:lnTo>
                      <a:lnTo>
                        <a:pt x="92189" y="210616"/>
                      </a:lnTo>
                      <a:lnTo>
                        <a:pt x="93865" y="210743"/>
                      </a:lnTo>
                      <a:lnTo>
                        <a:pt x="93573" y="212521"/>
                      </a:lnTo>
                      <a:lnTo>
                        <a:pt x="88646" y="211632"/>
                      </a:lnTo>
                      <a:lnTo>
                        <a:pt x="86741" y="212013"/>
                      </a:lnTo>
                      <a:lnTo>
                        <a:pt x="85178" y="213410"/>
                      </a:lnTo>
                      <a:lnTo>
                        <a:pt x="87287" y="214807"/>
                      </a:lnTo>
                      <a:lnTo>
                        <a:pt x="89484" y="217982"/>
                      </a:lnTo>
                      <a:lnTo>
                        <a:pt x="87198" y="216077"/>
                      </a:lnTo>
                      <a:lnTo>
                        <a:pt x="86194" y="215569"/>
                      </a:lnTo>
                      <a:lnTo>
                        <a:pt x="86067" y="217982"/>
                      </a:lnTo>
                      <a:lnTo>
                        <a:pt x="84874" y="218236"/>
                      </a:lnTo>
                      <a:lnTo>
                        <a:pt x="84213" y="217474"/>
                      </a:lnTo>
                      <a:lnTo>
                        <a:pt x="82905" y="215823"/>
                      </a:lnTo>
                      <a:lnTo>
                        <a:pt x="84467" y="215696"/>
                      </a:lnTo>
                      <a:lnTo>
                        <a:pt x="84315" y="215315"/>
                      </a:lnTo>
                      <a:lnTo>
                        <a:pt x="83908" y="214299"/>
                      </a:lnTo>
                      <a:lnTo>
                        <a:pt x="83553" y="215315"/>
                      </a:lnTo>
                      <a:lnTo>
                        <a:pt x="80594" y="214426"/>
                      </a:lnTo>
                      <a:lnTo>
                        <a:pt x="79895" y="212521"/>
                      </a:lnTo>
                      <a:lnTo>
                        <a:pt x="77584" y="212140"/>
                      </a:lnTo>
                      <a:lnTo>
                        <a:pt x="77889" y="211759"/>
                      </a:lnTo>
                      <a:lnTo>
                        <a:pt x="77952" y="211632"/>
                      </a:lnTo>
                      <a:lnTo>
                        <a:pt x="78143" y="211505"/>
                      </a:lnTo>
                      <a:lnTo>
                        <a:pt x="76542" y="210743"/>
                      </a:lnTo>
                      <a:lnTo>
                        <a:pt x="75603" y="211759"/>
                      </a:lnTo>
                      <a:lnTo>
                        <a:pt x="72758" y="211759"/>
                      </a:lnTo>
                      <a:lnTo>
                        <a:pt x="71374" y="210997"/>
                      </a:lnTo>
                      <a:lnTo>
                        <a:pt x="67424" y="210870"/>
                      </a:lnTo>
                      <a:lnTo>
                        <a:pt x="64350" y="212140"/>
                      </a:lnTo>
                      <a:lnTo>
                        <a:pt x="61874" y="213664"/>
                      </a:lnTo>
                      <a:lnTo>
                        <a:pt x="62560" y="213918"/>
                      </a:lnTo>
                      <a:lnTo>
                        <a:pt x="61887" y="214299"/>
                      </a:lnTo>
                      <a:lnTo>
                        <a:pt x="61328" y="214299"/>
                      </a:lnTo>
                      <a:lnTo>
                        <a:pt x="60363" y="214680"/>
                      </a:lnTo>
                      <a:lnTo>
                        <a:pt x="57759" y="215061"/>
                      </a:lnTo>
                      <a:lnTo>
                        <a:pt x="60058" y="216712"/>
                      </a:lnTo>
                      <a:lnTo>
                        <a:pt x="61264" y="218236"/>
                      </a:lnTo>
                      <a:lnTo>
                        <a:pt x="63449" y="219252"/>
                      </a:lnTo>
                      <a:lnTo>
                        <a:pt x="67056" y="218744"/>
                      </a:lnTo>
                      <a:lnTo>
                        <a:pt x="67589" y="218490"/>
                      </a:lnTo>
                      <a:lnTo>
                        <a:pt x="68656" y="218871"/>
                      </a:lnTo>
                      <a:lnTo>
                        <a:pt x="69037" y="218871"/>
                      </a:lnTo>
                      <a:lnTo>
                        <a:pt x="70688" y="218744"/>
                      </a:lnTo>
                      <a:lnTo>
                        <a:pt x="69710" y="219125"/>
                      </a:lnTo>
                      <a:lnTo>
                        <a:pt x="71158" y="219887"/>
                      </a:lnTo>
                      <a:lnTo>
                        <a:pt x="71958" y="220268"/>
                      </a:lnTo>
                      <a:lnTo>
                        <a:pt x="73190" y="220522"/>
                      </a:lnTo>
                      <a:lnTo>
                        <a:pt x="72898" y="220649"/>
                      </a:lnTo>
                      <a:lnTo>
                        <a:pt x="72593" y="221030"/>
                      </a:lnTo>
                      <a:lnTo>
                        <a:pt x="72339" y="221157"/>
                      </a:lnTo>
                      <a:lnTo>
                        <a:pt x="73723" y="221411"/>
                      </a:lnTo>
                      <a:lnTo>
                        <a:pt x="74358" y="221665"/>
                      </a:lnTo>
                      <a:lnTo>
                        <a:pt x="72631" y="222046"/>
                      </a:lnTo>
                      <a:lnTo>
                        <a:pt x="71450" y="221030"/>
                      </a:lnTo>
                      <a:lnTo>
                        <a:pt x="69761" y="220776"/>
                      </a:lnTo>
                      <a:lnTo>
                        <a:pt x="70002" y="221157"/>
                      </a:lnTo>
                      <a:lnTo>
                        <a:pt x="70688" y="221665"/>
                      </a:lnTo>
                      <a:lnTo>
                        <a:pt x="71259" y="221919"/>
                      </a:lnTo>
                      <a:lnTo>
                        <a:pt x="69303" y="222173"/>
                      </a:lnTo>
                      <a:lnTo>
                        <a:pt x="67246" y="220903"/>
                      </a:lnTo>
                      <a:lnTo>
                        <a:pt x="64541" y="223062"/>
                      </a:lnTo>
                      <a:lnTo>
                        <a:pt x="68948" y="224332"/>
                      </a:lnTo>
                      <a:lnTo>
                        <a:pt x="72593" y="224078"/>
                      </a:lnTo>
                      <a:lnTo>
                        <a:pt x="76758" y="225983"/>
                      </a:lnTo>
                      <a:lnTo>
                        <a:pt x="78143" y="225221"/>
                      </a:lnTo>
                      <a:lnTo>
                        <a:pt x="80530" y="225221"/>
                      </a:lnTo>
                      <a:lnTo>
                        <a:pt x="78562" y="226110"/>
                      </a:lnTo>
                      <a:lnTo>
                        <a:pt x="76504" y="226110"/>
                      </a:lnTo>
                      <a:lnTo>
                        <a:pt x="73609" y="225602"/>
                      </a:lnTo>
                      <a:lnTo>
                        <a:pt x="72605" y="225348"/>
                      </a:lnTo>
                      <a:lnTo>
                        <a:pt x="71437" y="225348"/>
                      </a:lnTo>
                      <a:lnTo>
                        <a:pt x="69989" y="225475"/>
                      </a:lnTo>
                      <a:lnTo>
                        <a:pt x="69545" y="226618"/>
                      </a:lnTo>
                      <a:lnTo>
                        <a:pt x="70561" y="226237"/>
                      </a:lnTo>
                      <a:lnTo>
                        <a:pt x="71539" y="228777"/>
                      </a:lnTo>
                      <a:lnTo>
                        <a:pt x="72504" y="229920"/>
                      </a:lnTo>
                      <a:lnTo>
                        <a:pt x="74942" y="232079"/>
                      </a:lnTo>
                      <a:lnTo>
                        <a:pt x="78689" y="230555"/>
                      </a:lnTo>
                      <a:lnTo>
                        <a:pt x="80200" y="230936"/>
                      </a:lnTo>
                      <a:lnTo>
                        <a:pt x="78930" y="231317"/>
                      </a:lnTo>
                      <a:lnTo>
                        <a:pt x="77762" y="231952"/>
                      </a:lnTo>
                      <a:lnTo>
                        <a:pt x="74688" y="232841"/>
                      </a:lnTo>
                      <a:lnTo>
                        <a:pt x="74028" y="233222"/>
                      </a:lnTo>
                      <a:lnTo>
                        <a:pt x="70053" y="230555"/>
                      </a:lnTo>
                      <a:lnTo>
                        <a:pt x="68567" y="229158"/>
                      </a:lnTo>
                      <a:lnTo>
                        <a:pt x="67348" y="228015"/>
                      </a:lnTo>
                      <a:lnTo>
                        <a:pt x="67208" y="227888"/>
                      </a:lnTo>
                      <a:lnTo>
                        <a:pt x="65951" y="228015"/>
                      </a:lnTo>
                      <a:lnTo>
                        <a:pt x="63957" y="227380"/>
                      </a:lnTo>
                      <a:lnTo>
                        <a:pt x="65062" y="226999"/>
                      </a:lnTo>
                      <a:lnTo>
                        <a:pt x="65468" y="226872"/>
                      </a:lnTo>
                      <a:lnTo>
                        <a:pt x="66090" y="226491"/>
                      </a:lnTo>
                      <a:lnTo>
                        <a:pt x="65011" y="226491"/>
                      </a:lnTo>
                      <a:lnTo>
                        <a:pt x="63957" y="226999"/>
                      </a:lnTo>
                      <a:lnTo>
                        <a:pt x="62814" y="226745"/>
                      </a:lnTo>
                      <a:lnTo>
                        <a:pt x="63588" y="225221"/>
                      </a:lnTo>
                      <a:lnTo>
                        <a:pt x="62191" y="224586"/>
                      </a:lnTo>
                      <a:lnTo>
                        <a:pt x="59182" y="223227"/>
                      </a:lnTo>
                      <a:lnTo>
                        <a:pt x="59182" y="235635"/>
                      </a:lnTo>
                      <a:lnTo>
                        <a:pt x="55803" y="237794"/>
                      </a:lnTo>
                      <a:lnTo>
                        <a:pt x="54864" y="237159"/>
                      </a:lnTo>
                      <a:lnTo>
                        <a:pt x="54610" y="236994"/>
                      </a:lnTo>
                      <a:lnTo>
                        <a:pt x="54483" y="237159"/>
                      </a:lnTo>
                      <a:lnTo>
                        <a:pt x="54483" y="236918"/>
                      </a:lnTo>
                      <a:lnTo>
                        <a:pt x="54610" y="236994"/>
                      </a:lnTo>
                      <a:lnTo>
                        <a:pt x="55587" y="235635"/>
                      </a:lnTo>
                      <a:lnTo>
                        <a:pt x="59182" y="235635"/>
                      </a:lnTo>
                      <a:lnTo>
                        <a:pt x="59182" y="223227"/>
                      </a:lnTo>
                      <a:lnTo>
                        <a:pt x="57975" y="222681"/>
                      </a:lnTo>
                      <a:lnTo>
                        <a:pt x="56857" y="222173"/>
                      </a:lnTo>
                      <a:lnTo>
                        <a:pt x="55956" y="220014"/>
                      </a:lnTo>
                      <a:lnTo>
                        <a:pt x="55384" y="218617"/>
                      </a:lnTo>
                      <a:lnTo>
                        <a:pt x="54902" y="217474"/>
                      </a:lnTo>
                      <a:lnTo>
                        <a:pt x="50292" y="216839"/>
                      </a:lnTo>
                      <a:lnTo>
                        <a:pt x="44310" y="216344"/>
                      </a:lnTo>
                      <a:lnTo>
                        <a:pt x="44310" y="219252"/>
                      </a:lnTo>
                      <a:lnTo>
                        <a:pt x="44069" y="219506"/>
                      </a:lnTo>
                      <a:lnTo>
                        <a:pt x="43916" y="219760"/>
                      </a:lnTo>
                      <a:lnTo>
                        <a:pt x="43827" y="220014"/>
                      </a:lnTo>
                      <a:lnTo>
                        <a:pt x="43827" y="218643"/>
                      </a:lnTo>
                      <a:lnTo>
                        <a:pt x="44043" y="218998"/>
                      </a:lnTo>
                      <a:lnTo>
                        <a:pt x="44310" y="219252"/>
                      </a:lnTo>
                      <a:lnTo>
                        <a:pt x="44310" y="216344"/>
                      </a:lnTo>
                      <a:lnTo>
                        <a:pt x="43903" y="217474"/>
                      </a:lnTo>
                      <a:lnTo>
                        <a:pt x="43827" y="218554"/>
                      </a:lnTo>
                      <a:lnTo>
                        <a:pt x="43815" y="218313"/>
                      </a:lnTo>
                      <a:lnTo>
                        <a:pt x="43776" y="218084"/>
                      </a:lnTo>
                      <a:lnTo>
                        <a:pt x="43764" y="217893"/>
                      </a:lnTo>
                      <a:lnTo>
                        <a:pt x="43738" y="217766"/>
                      </a:lnTo>
                      <a:lnTo>
                        <a:pt x="43446" y="218122"/>
                      </a:lnTo>
                      <a:lnTo>
                        <a:pt x="43002" y="218198"/>
                      </a:lnTo>
                      <a:lnTo>
                        <a:pt x="43815" y="218643"/>
                      </a:lnTo>
                      <a:lnTo>
                        <a:pt x="43218" y="219887"/>
                      </a:lnTo>
                      <a:lnTo>
                        <a:pt x="42926" y="220141"/>
                      </a:lnTo>
                      <a:lnTo>
                        <a:pt x="41643" y="222554"/>
                      </a:lnTo>
                      <a:lnTo>
                        <a:pt x="41884" y="223443"/>
                      </a:lnTo>
                      <a:lnTo>
                        <a:pt x="42392" y="223697"/>
                      </a:lnTo>
                      <a:lnTo>
                        <a:pt x="43484" y="223443"/>
                      </a:lnTo>
                      <a:lnTo>
                        <a:pt x="43675" y="223316"/>
                      </a:lnTo>
                      <a:lnTo>
                        <a:pt x="43789" y="222935"/>
                      </a:lnTo>
                      <a:lnTo>
                        <a:pt x="43815" y="223443"/>
                      </a:lnTo>
                      <a:lnTo>
                        <a:pt x="45123" y="223189"/>
                      </a:lnTo>
                      <a:lnTo>
                        <a:pt x="45974" y="223443"/>
                      </a:lnTo>
                      <a:lnTo>
                        <a:pt x="48958" y="223570"/>
                      </a:lnTo>
                      <a:lnTo>
                        <a:pt x="49720" y="223189"/>
                      </a:lnTo>
                      <a:lnTo>
                        <a:pt x="50228" y="222935"/>
                      </a:lnTo>
                      <a:lnTo>
                        <a:pt x="50736" y="222681"/>
                      </a:lnTo>
                      <a:lnTo>
                        <a:pt x="52400" y="222681"/>
                      </a:lnTo>
                      <a:lnTo>
                        <a:pt x="50177" y="224586"/>
                      </a:lnTo>
                      <a:lnTo>
                        <a:pt x="45910" y="223824"/>
                      </a:lnTo>
                      <a:lnTo>
                        <a:pt x="46215" y="232333"/>
                      </a:lnTo>
                      <a:lnTo>
                        <a:pt x="51041" y="229158"/>
                      </a:lnTo>
                      <a:lnTo>
                        <a:pt x="53644" y="229666"/>
                      </a:lnTo>
                      <a:lnTo>
                        <a:pt x="52273" y="230682"/>
                      </a:lnTo>
                      <a:lnTo>
                        <a:pt x="48666" y="232333"/>
                      </a:lnTo>
                      <a:lnTo>
                        <a:pt x="52616" y="235635"/>
                      </a:lnTo>
                      <a:lnTo>
                        <a:pt x="48412" y="233857"/>
                      </a:lnTo>
                      <a:lnTo>
                        <a:pt x="47802" y="233476"/>
                      </a:lnTo>
                      <a:lnTo>
                        <a:pt x="45173" y="231825"/>
                      </a:lnTo>
                      <a:lnTo>
                        <a:pt x="43878" y="233349"/>
                      </a:lnTo>
                      <a:lnTo>
                        <a:pt x="43815" y="233476"/>
                      </a:lnTo>
                      <a:lnTo>
                        <a:pt x="43815" y="233222"/>
                      </a:lnTo>
                      <a:lnTo>
                        <a:pt x="40855" y="233476"/>
                      </a:lnTo>
                      <a:lnTo>
                        <a:pt x="39484" y="234238"/>
                      </a:lnTo>
                      <a:lnTo>
                        <a:pt x="40182" y="235254"/>
                      </a:lnTo>
                      <a:lnTo>
                        <a:pt x="41478" y="235381"/>
                      </a:lnTo>
                      <a:lnTo>
                        <a:pt x="42265" y="236270"/>
                      </a:lnTo>
                      <a:lnTo>
                        <a:pt x="39446" y="236905"/>
                      </a:lnTo>
                      <a:lnTo>
                        <a:pt x="42760" y="237794"/>
                      </a:lnTo>
                      <a:lnTo>
                        <a:pt x="43497" y="238683"/>
                      </a:lnTo>
                      <a:lnTo>
                        <a:pt x="41008" y="239064"/>
                      </a:lnTo>
                      <a:lnTo>
                        <a:pt x="38201" y="236778"/>
                      </a:lnTo>
                      <a:lnTo>
                        <a:pt x="35775" y="238302"/>
                      </a:lnTo>
                      <a:lnTo>
                        <a:pt x="36652" y="239699"/>
                      </a:lnTo>
                      <a:lnTo>
                        <a:pt x="29578" y="240080"/>
                      </a:lnTo>
                      <a:lnTo>
                        <a:pt x="33566" y="243001"/>
                      </a:lnTo>
                      <a:lnTo>
                        <a:pt x="33743" y="244779"/>
                      </a:lnTo>
                      <a:lnTo>
                        <a:pt x="37325" y="244144"/>
                      </a:lnTo>
                      <a:lnTo>
                        <a:pt x="38773" y="243128"/>
                      </a:lnTo>
                      <a:lnTo>
                        <a:pt x="41402" y="242874"/>
                      </a:lnTo>
                      <a:lnTo>
                        <a:pt x="42164" y="243001"/>
                      </a:lnTo>
                      <a:lnTo>
                        <a:pt x="43408" y="243128"/>
                      </a:lnTo>
                      <a:lnTo>
                        <a:pt x="43649" y="242874"/>
                      </a:lnTo>
                      <a:lnTo>
                        <a:pt x="43789" y="242493"/>
                      </a:lnTo>
                      <a:lnTo>
                        <a:pt x="43815" y="243128"/>
                      </a:lnTo>
                      <a:lnTo>
                        <a:pt x="46405" y="242747"/>
                      </a:lnTo>
                      <a:lnTo>
                        <a:pt x="46951" y="242493"/>
                      </a:lnTo>
                      <a:lnTo>
                        <a:pt x="49415" y="241350"/>
                      </a:lnTo>
                      <a:lnTo>
                        <a:pt x="52362" y="241604"/>
                      </a:lnTo>
                      <a:lnTo>
                        <a:pt x="52527" y="242112"/>
                      </a:lnTo>
                      <a:lnTo>
                        <a:pt x="52971" y="242112"/>
                      </a:lnTo>
                      <a:lnTo>
                        <a:pt x="53340" y="241985"/>
                      </a:lnTo>
                      <a:lnTo>
                        <a:pt x="54178" y="241985"/>
                      </a:lnTo>
                      <a:lnTo>
                        <a:pt x="57111" y="241477"/>
                      </a:lnTo>
                      <a:lnTo>
                        <a:pt x="58254" y="241477"/>
                      </a:lnTo>
                      <a:lnTo>
                        <a:pt x="59359" y="241350"/>
                      </a:lnTo>
                      <a:lnTo>
                        <a:pt x="62674" y="240969"/>
                      </a:lnTo>
                      <a:lnTo>
                        <a:pt x="65366" y="240461"/>
                      </a:lnTo>
                      <a:lnTo>
                        <a:pt x="70751" y="239826"/>
                      </a:lnTo>
                      <a:lnTo>
                        <a:pt x="73380" y="239445"/>
                      </a:lnTo>
                      <a:lnTo>
                        <a:pt x="75374" y="239064"/>
                      </a:lnTo>
                      <a:lnTo>
                        <a:pt x="76708" y="238810"/>
                      </a:lnTo>
                      <a:lnTo>
                        <a:pt x="77571" y="238810"/>
                      </a:lnTo>
                      <a:lnTo>
                        <a:pt x="78219" y="239064"/>
                      </a:lnTo>
                      <a:lnTo>
                        <a:pt x="77673" y="239445"/>
                      </a:lnTo>
                      <a:lnTo>
                        <a:pt x="78651" y="239560"/>
                      </a:lnTo>
                      <a:lnTo>
                        <a:pt x="77584" y="239699"/>
                      </a:lnTo>
                      <a:lnTo>
                        <a:pt x="79870" y="239699"/>
                      </a:lnTo>
                      <a:lnTo>
                        <a:pt x="81203" y="239699"/>
                      </a:lnTo>
                      <a:lnTo>
                        <a:pt x="85585" y="239699"/>
                      </a:lnTo>
                      <a:lnTo>
                        <a:pt x="83312" y="239191"/>
                      </a:lnTo>
                      <a:lnTo>
                        <a:pt x="81902" y="239293"/>
                      </a:lnTo>
                      <a:lnTo>
                        <a:pt x="82727" y="238810"/>
                      </a:lnTo>
                      <a:lnTo>
                        <a:pt x="84442" y="237794"/>
                      </a:lnTo>
                      <a:lnTo>
                        <a:pt x="84874" y="237540"/>
                      </a:lnTo>
                      <a:lnTo>
                        <a:pt x="88214" y="238810"/>
                      </a:lnTo>
                      <a:lnTo>
                        <a:pt x="86410" y="239699"/>
                      </a:lnTo>
                      <a:lnTo>
                        <a:pt x="111455" y="239699"/>
                      </a:lnTo>
                      <a:lnTo>
                        <a:pt x="111620" y="239445"/>
                      </a:lnTo>
                      <a:close/>
                    </a:path>
                    <a:path w="629919" h="437514">
                      <a:moveTo>
                        <a:pt x="125653" y="330619"/>
                      </a:moveTo>
                      <a:lnTo>
                        <a:pt x="124802" y="328079"/>
                      </a:lnTo>
                      <a:lnTo>
                        <a:pt x="124460" y="327063"/>
                      </a:lnTo>
                      <a:lnTo>
                        <a:pt x="122999" y="325666"/>
                      </a:lnTo>
                      <a:lnTo>
                        <a:pt x="122923" y="325412"/>
                      </a:lnTo>
                      <a:lnTo>
                        <a:pt x="122288" y="323380"/>
                      </a:lnTo>
                      <a:lnTo>
                        <a:pt x="122402" y="322237"/>
                      </a:lnTo>
                      <a:lnTo>
                        <a:pt x="122529" y="321856"/>
                      </a:lnTo>
                      <a:lnTo>
                        <a:pt x="121602" y="321729"/>
                      </a:lnTo>
                      <a:lnTo>
                        <a:pt x="119380" y="322745"/>
                      </a:lnTo>
                      <a:lnTo>
                        <a:pt x="117157" y="323253"/>
                      </a:lnTo>
                      <a:lnTo>
                        <a:pt x="115709" y="323888"/>
                      </a:lnTo>
                      <a:lnTo>
                        <a:pt x="114363" y="325412"/>
                      </a:lnTo>
                      <a:lnTo>
                        <a:pt x="114350" y="323761"/>
                      </a:lnTo>
                      <a:lnTo>
                        <a:pt x="114719" y="323380"/>
                      </a:lnTo>
                      <a:lnTo>
                        <a:pt x="115443" y="322618"/>
                      </a:lnTo>
                      <a:lnTo>
                        <a:pt x="115252" y="322364"/>
                      </a:lnTo>
                      <a:lnTo>
                        <a:pt x="113931" y="320586"/>
                      </a:lnTo>
                      <a:lnTo>
                        <a:pt x="113652" y="320205"/>
                      </a:lnTo>
                      <a:lnTo>
                        <a:pt x="112560" y="320586"/>
                      </a:lnTo>
                      <a:lnTo>
                        <a:pt x="112141" y="318554"/>
                      </a:lnTo>
                      <a:lnTo>
                        <a:pt x="111658" y="316268"/>
                      </a:lnTo>
                      <a:lnTo>
                        <a:pt x="112001" y="316141"/>
                      </a:lnTo>
                      <a:lnTo>
                        <a:pt x="108788" y="314617"/>
                      </a:lnTo>
                      <a:lnTo>
                        <a:pt x="107835" y="314490"/>
                      </a:lnTo>
                      <a:lnTo>
                        <a:pt x="104470" y="313601"/>
                      </a:lnTo>
                      <a:lnTo>
                        <a:pt x="102603" y="313474"/>
                      </a:lnTo>
                      <a:lnTo>
                        <a:pt x="98526" y="314744"/>
                      </a:lnTo>
                      <a:lnTo>
                        <a:pt x="97561" y="315226"/>
                      </a:lnTo>
                      <a:lnTo>
                        <a:pt x="97561" y="345732"/>
                      </a:lnTo>
                      <a:lnTo>
                        <a:pt x="97155" y="347256"/>
                      </a:lnTo>
                      <a:lnTo>
                        <a:pt x="96926" y="347764"/>
                      </a:lnTo>
                      <a:lnTo>
                        <a:pt x="97040" y="346875"/>
                      </a:lnTo>
                      <a:lnTo>
                        <a:pt x="97104" y="346240"/>
                      </a:lnTo>
                      <a:lnTo>
                        <a:pt x="96926" y="346367"/>
                      </a:lnTo>
                      <a:lnTo>
                        <a:pt x="96596" y="346875"/>
                      </a:lnTo>
                      <a:lnTo>
                        <a:pt x="96913" y="346240"/>
                      </a:lnTo>
                      <a:lnTo>
                        <a:pt x="97142" y="345605"/>
                      </a:lnTo>
                      <a:lnTo>
                        <a:pt x="97142" y="345986"/>
                      </a:lnTo>
                      <a:lnTo>
                        <a:pt x="97345" y="345986"/>
                      </a:lnTo>
                      <a:lnTo>
                        <a:pt x="97434" y="345859"/>
                      </a:lnTo>
                      <a:lnTo>
                        <a:pt x="97561" y="345732"/>
                      </a:lnTo>
                      <a:lnTo>
                        <a:pt x="97561" y="315226"/>
                      </a:lnTo>
                      <a:lnTo>
                        <a:pt x="95402" y="316268"/>
                      </a:lnTo>
                      <a:lnTo>
                        <a:pt x="95135" y="318554"/>
                      </a:lnTo>
                      <a:lnTo>
                        <a:pt x="94818" y="318046"/>
                      </a:lnTo>
                      <a:lnTo>
                        <a:pt x="94665" y="317792"/>
                      </a:lnTo>
                      <a:lnTo>
                        <a:pt x="93522" y="315379"/>
                      </a:lnTo>
                      <a:lnTo>
                        <a:pt x="93535" y="315125"/>
                      </a:lnTo>
                      <a:lnTo>
                        <a:pt x="94145" y="314109"/>
                      </a:lnTo>
                      <a:lnTo>
                        <a:pt x="95592" y="313855"/>
                      </a:lnTo>
                      <a:lnTo>
                        <a:pt x="97447" y="312966"/>
                      </a:lnTo>
                      <a:lnTo>
                        <a:pt x="98310" y="311696"/>
                      </a:lnTo>
                      <a:lnTo>
                        <a:pt x="100063" y="310553"/>
                      </a:lnTo>
                      <a:lnTo>
                        <a:pt x="100253" y="310426"/>
                      </a:lnTo>
                      <a:lnTo>
                        <a:pt x="102590" y="308902"/>
                      </a:lnTo>
                      <a:lnTo>
                        <a:pt x="102755" y="308648"/>
                      </a:lnTo>
                      <a:lnTo>
                        <a:pt x="103962" y="306743"/>
                      </a:lnTo>
                      <a:lnTo>
                        <a:pt x="109054" y="305600"/>
                      </a:lnTo>
                      <a:lnTo>
                        <a:pt x="110769" y="305092"/>
                      </a:lnTo>
                      <a:lnTo>
                        <a:pt x="112890" y="304076"/>
                      </a:lnTo>
                      <a:lnTo>
                        <a:pt x="113347" y="303060"/>
                      </a:lnTo>
                      <a:lnTo>
                        <a:pt x="113042" y="302552"/>
                      </a:lnTo>
                      <a:lnTo>
                        <a:pt x="112814" y="302171"/>
                      </a:lnTo>
                      <a:lnTo>
                        <a:pt x="112268" y="301282"/>
                      </a:lnTo>
                      <a:lnTo>
                        <a:pt x="111709" y="302171"/>
                      </a:lnTo>
                      <a:lnTo>
                        <a:pt x="109918" y="301790"/>
                      </a:lnTo>
                      <a:lnTo>
                        <a:pt x="109626" y="301409"/>
                      </a:lnTo>
                      <a:lnTo>
                        <a:pt x="107543" y="301155"/>
                      </a:lnTo>
                      <a:lnTo>
                        <a:pt x="107581" y="302552"/>
                      </a:lnTo>
                      <a:lnTo>
                        <a:pt x="106095" y="299504"/>
                      </a:lnTo>
                      <a:lnTo>
                        <a:pt x="107403" y="300520"/>
                      </a:lnTo>
                      <a:lnTo>
                        <a:pt x="108534" y="299631"/>
                      </a:lnTo>
                      <a:lnTo>
                        <a:pt x="108559" y="299504"/>
                      </a:lnTo>
                      <a:lnTo>
                        <a:pt x="108775" y="298615"/>
                      </a:lnTo>
                      <a:lnTo>
                        <a:pt x="111963" y="300012"/>
                      </a:lnTo>
                      <a:lnTo>
                        <a:pt x="114325" y="298615"/>
                      </a:lnTo>
                      <a:lnTo>
                        <a:pt x="116039" y="297599"/>
                      </a:lnTo>
                      <a:lnTo>
                        <a:pt x="116674" y="297218"/>
                      </a:lnTo>
                      <a:lnTo>
                        <a:pt x="116370" y="295948"/>
                      </a:lnTo>
                      <a:lnTo>
                        <a:pt x="116217" y="295313"/>
                      </a:lnTo>
                      <a:lnTo>
                        <a:pt x="116001" y="294424"/>
                      </a:lnTo>
                      <a:lnTo>
                        <a:pt x="115874" y="293916"/>
                      </a:lnTo>
                      <a:lnTo>
                        <a:pt x="114554" y="292900"/>
                      </a:lnTo>
                      <a:lnTo>
                        <a:pt x="112750" y="291503"/>
                      </a:lnTo>
                      <a:lnTo>
                        <a:pt x="111925" y="290868"/>
                      </a:lnTo>
                      <a:lnTo>
                        <a:pt x="110705" y="290868"/>
                      </a:lnTo>
                      <a:lnTo>
                        <a:pt x="109296" y="291503"/>
                      </a:lnTo>
                      <a:lnTo>
                        <a:pt x="107149" y="290360"/>
                      </a:lnTo>
                      <a:lnTo>
                        <a:pt x="104686" y="289852"/>
                      </a:lnTo>
                      <a:lnTo>
                        <a:pt x="104267" y="289471"/>
                      </a:lnTo>
                      <a:lnTo>
                        <a:pt x="102158" y="290233"/>
                      </a:lnTo>
                      <a:lnTo>
                        <a:pt x="102438" y="290741"/>
                      </a:lnTo>
                      <a:lnTo>
                        <a:pt x="99593" y="292900"/>
                      </a:lnTo>
                      <a:lnTo>
                        <a:pt x="96342" y="292773"/>
                      </a:lnTo>
                      <a:lnTo>
                        <a:pt x="92265" y="293281"/>
                      </a:lnTo>
                      <a:lnTo>
                        <a:pt x="90868" y="294043"/>
                      </a:lnTo>
                      <a:lnTo>
                        <a:pt x="88277" y="294424"/>
                      </a:lnTo>
                      <a:lnTo>
                        <a:pt x="86690" y="293789"/>
                      </a:lnTo>
                      <a:lnTo>
                        <a:pt x="84543" y="294297"/>
                      </a:lnTo>
                      <a:lnTo>
                        <a:pt x="84683" y="295313"/>
                      </a:lnTo>
                      <a:lnTo>
                        <a:pt x="84289" y="295059"/>
                      </a:lnTo>
                      <a:lnTo>
                        <a:pt x="82524" y="293916"/>
                      </a:lnTo>
                      <a:lnTo>
                        <a:pt x="81318" y="292900"/>
                      </a:lnTo>
                      <a:lnTo>
                        <a:pt x="79349" y="291884"/>
                      </a:lnTo>
                      <a:lnTo>
                        <a:pt x="78765" y="291757"/>
                      </a:lnTo>
                      <a:lnTo>
                        <a:pt x="76720" y="291503"/>
                      </a:lnTo>
                      <a:lnTo>
                        <a:pt x="76111" y="289598"/>
                      </a:lnTo>
                      <a:lnTo>
                        <a:pt x="76073" y="289471"/>
                      </a:lnTo>
                      <a:lnTo>
                        <a:pt x="73736" y="288455"/>
                      </a:lnTo>
                      <a:lnTo>
                        <a:pt x="72174" y="288709"/>
                      </a:lnTo>
                      <a:lnTo>
                        <a:pt x="70091" y="289090"/>
                      </a:lnTo>
                      <a:lnTo>
                        <a:pt x="67094" y="291503"/>
                      </a:lnTo>
                      <a:lnTo>
                        <a:pt x="70637" y="292138"/>
                      </a:lnTo>
                      <a:lnTo>
                        <a:pt x="71793" y="292011"/>
                      </a:lnTo>
                      <a:lnTo>
                        <a:pt x="73240" y="290614"/>
                      </a:lnTo>
                      <a:lnTo>
                        <a:pt x="74599" y="289598"/>
                      </a:lnTo>
                      <a:lnTo>
                        <a:pt x="74739" y="291757"/>
                      </a:lnTo>
                      <a:lnTo>
                        <a:pt x="73596" y="291884"/>
                      </a:lnTo>
                      <a:lnTo>
                        <a:pt x="71640" y="293916"/>
                      </a:lnTo>
                      <a:lnTo>
                        <a:pt x="71970" y="293535"/>
                      </a:lnTo>
                      <a:lnTo>
                        <a:pt x="68872" y="292519"/>
                      </a:lnTo>
                      <a:lnTo>
                        <a:pt x="68478" y="292392"/>
                      </a:lnTo>
                      <a:lnTo>
                        <a:pt x="67017" y="291630"/>
                      </a:lnTo>
                      <a:lnTo>
                        <a:pt x="63754" y="291122"/>
                      </a:lnTo>
                      <a:lnTo>
                        <a:pt x="63258" y="292138"/>
                      </a:lnTo>
                      <a:lnTo>
                        <a:pt x="60528" y="292519"/>
                      </a:lnTo>
                      <a:lnTo>
                        <a:pt x="59143" y="291630"/>
                      </a:lnTo>
                      <a:lnTo>
                        <a:pt x="58140" y="292646"/>
                      </a:lnTo>
                      <a:lnTo>
                        <a:pt x="57442" y="295059"/>
                      </a:lnTo>
                      <a:lnTo>
                        <a:pt x="56578" y="294678"/>
                      </a:lnTo>
                      <a:lnTo>
                        <a:pt x="57416" y="296329"/>
                      </a:lnTo>
                      <a:lnTo>
                        <a:pt x="57924" y="295948"/>
                      </a:lnTo>
                      <a:lnTo>
                        <a:pt x="59664" y="297726"/>
                      </a:lnTo>
                      <a:lnTo>
                        <a:pt x="60363" y="297599"/>
                      </a:lnTo>
                      <a:lnTo>
                        <a:pt x="65760" y="298234"/>
                      </a:lnTo>
                      <a:lnTo>
                        <a:pt x="63576" y="299758"/>
                      </a:lnTo>
                      <a:lnTo>
                        <a:pt x="66941" y="303784"/>
                      </a:lnTo>
                      <a:lnTo>
                        <a:pt x="67373" y="304076"/>
                      </a:lnTo>
                      <a:lnTo>
                        <a:pt x="69557" y="305854"/>
                      </a:lnTo>
                      <a:lnTo>
                        <a:pt x="70218" y="306997"/>
                      </a:lnTo>
                      <a:lnTo>
                        <a:pt x="72656" y="308902"/>
                      </a:lnTo>
                      <a:lnTo>
                        <a:pt x="74180" y="308648"/>
                      </a:lnTo>
                      <a:lnTo>
                        <a:pt x="75641" y="309283"/>
                      </a:lnTo>
                      <a:lnTo>
                        <a:pt x="73012" y="310426"/>
                      </a:lnTo>
                      <a:lnTo>
                        <a:pt x="70751" y="307759"/>
                      </a:lnTo>
                      <a:lnTo>
                        <a:pt x="66954" y="306870"/>
                      </a:lnTo>
                      <a:lnTo>
                        <a:pt x="65697" y="308394"/>
                      </a:lnTo>
                      <a:lnTo>
                        <a:pt x="65862" y="309029"/>
                      </a:lnTo>
                      <a:lnTo>
                        <a:pt x="65265" y="309791"/>
                      </a:lnTo>
                      <a:lnTo>
                        <a:pt x="64465" y="310045"/>
                      </a:lnTo>
                      <a:lnTo>
                        <a:pt x="63487" y="311569"/>
                      </a:lnTo>
                      <a:lnTo>
                        <a:pt x="65443" y="312458"/>
                      </a:lnTo>
                      <a:lnTo>
                        <a:pt x="66992" y="312331"/>
                      </a:lnTo>
                      <a:lnTo>
                        <a:pt x="67424" y="310553"/>
                      </a:lnTo>
                      <a:lnTo>
                        <a:pt x="69557" y="311569"/>
                      </a:lnTo>
                      <a:lnTo>
                        <a:pt x="71691" y="315125"/>
                      </a:lnTo>
                      <a:lnTo>
                        <a:pt x="70269" y="314744"/>
                      </a:lnTo>
                      <a:lnTo>
                        <a:pt x="71666" y="315887"/>
                      </a:lnTo>
                      <a:lnTo>
                        <a:pt x="72644" y="317411"/>
                      </a:lnTo>
                      <a:lnTo>
                        <a:pt x="70142" y="317919"/>
                      </a:lnTo>
                      <a:lnTo>
                        <a:pt x="69634" y="318046"/>
                      </a:lnTo>
                      <a:lnTo>
                        <a:pt x="67627" y="317538"/>
                      </a:lnTo>
                      <a:lnTo>
                        <a:pt x="69037" y="317665"/>
                      </a:lnTo>
                      <a:lnTo>
                        <a:pt x="68961" y="317538"/>
                      </a:lnTo>
                      <a:lnTo>
                        <a:pt x="68453" y="316776"/>
                      </a:lnTo>
                      <a:lnTo>
                        <a:pt x="67449" y="315252"/>
                      </a:lnTo>
                      <a:lnTo>
                        <a:pt x="66649" y="315252"/>
                      </a:lnTo>
                      <a:lnTo>
                        <a:pt x="67221" y="313601"/>
                      </a:lnTo>
                      <a:lnTo>
                        <a:pt x="66243" y="314312"/>
                      </a:lnTo>
                      <a:lnTo>
                        <a:pt x="66636" y="316776"/>
                      </a:lnTo>
                      <a:lnTo>
                        <a:pt x="66357" y="316522"/>
                      </a:lnTo>
                      <a:lnTo>
                        <a:pt x="66941" y="318300"/>
                      </a:lnTo>
                      <a:lnTo>
                        <a:pt x="67703" y="318681"/>
                      </a:lnTo>
                      <a:lnTo>
                        <a:pt x="68084" y="322364"/>
                      </a:lnTo>
                      <a:lnTo>
                        <a:pt x="63106" y="322110"/>
                      </a:lnTo>
                      <a:lnTo>
                        <a:pt x="59309" y="320967"/>
                      </a:lnTo>
                      <a:lnTo>
                        <a:pt x="60883" y="322110"/>
                      </a:lnTo>
                      <a:lnTo>
                        <a:pt x="60934" y="322364"/>
                      </a:lnTo>
                      <a:lnTo>
                        <a:pt x="60083" y="323253"/>
                      </a:lnTo>
                      <a:lnTo>
                        <a:pt x="59410" y="323380"/>
                      </a:lnTo>
                      <a:lnTo>
                        <a:pt x="57277" y="322745"/>
                      </a:lnTo>
                      <a:lnTo>
                        <a:pt x="55854" y="321094"/>
                      </a:lnTo>
                      <a:lnTo>
                        <a:pt x="51206" y="317538"/>
                      </a:lnTo>
                      <a:lnTo>
                        <a:pt x="48475" y="315379"/>
                      </a:lnTo>
                      <a:lnTo>
                        <a:pt x="46380" y="313220"/>
                      </a:lnTo>
                      <a:lnTo>
                        <a:pt x="46139" y="312966"/>
                      </a:lnTo>
                      <a:lnTo>
                        <a:pt x="45885" y="312712"/>
                      </a:lnTo>
                      <a:lnTo>
                        <a:pt x="44170" y="312458"/>
                      </a:lnTo>
                      <a:lnTo>
                        <a:pt x="43942" y="312712"/>
                      </a:lnTo>
                      <a:lnTo>
                        <a:pt x="43815" y="312966"/>
                      </a:lnTo>
                      <a:lnTo>
                        <a:pt x="43815" y="312712"/>
                      </a:lnTo>
                      <a:lnTo>
                        <a:pt x="43815" y="312585"/>
                      </a:lnTo>
                      <a:lnTo>
                        <a:pt x="42837" y="312712"/>
                      </a:lnTo>
                      <a:lnTo>
                        <a:pt x="41859" y="312585"/>
                      </a:lnTo>
                      <a:lnTo>
                        <a:pt x="40132" y="312839"/>
                      </a:lnTo>
                      <a:lnTo>
                        <a:pt x="39497" y="313220"/>
                      </a:lnTo>
                      <a:lnTo>
                        <a:pt x="38608" y="312966"/>
                      </a:lnTo>
                      <a:lnTo>
                        <a:pt x="38557" y="313474"/>
                      </a:lnTo>
                      <a:lnTo>
                        <a:pt x="35966" y="314617"/>
                      </a:lnTo>
                      <a:lnTo>
                        <a:pt x="35052" y="316776"/>
                      </a:lnTo>
                      <a:lnTo>
                        <a:pt x="34937" y="317792"/>
                      </a:lnTo>
                      <a:lnTo>
                        <a:pt x="33451" y="320078"/>
                      </a:lnTo>
                      <a:lnTo>
                        <a:pt x="32448" y="320840"/>
                      </a:lnTo>
                      <a:lnTo>
                        <a:pt x="35115" y="325285"/>
                      </a:lnTo>
                      <a:lnTo>
                        <a:pt x="40868" y="327825"/>
                      </a:lnTo>
                      <a:lnTo>
                        <a:pt x="43815" y="328333"/>
                      </a:lnTo>
                      <a:lnTo>
                        <a:pt x="43815" y="328968"/>
                      </a:lnTo>
                      <a:lnTo>
                        <a:pt x="45377" y="330238"/>
                      </a:lnTo>
                      <a:lnTo>
                        <a:pt x="45478" y="333032"/>
                      </a:lnTo>
                      <a:lnTo>
                        <a:pt x="47117" y="333921"/>
                      </a:lnTo>
                      <a:lnTo>
                        <a:pt x="48856" y="334175"/>
                      </a:lnTo>
                      <a:lnTo>
                        <a:pt x="48996" y="333413"/>
                      </a:lnTo>
                      <a:lnTo>
                        <a:pt x="50596" y="334048"/>
                      </a:lnTo>
                      <a:lnTo>
                        <a:pt x="51130" y="335318"/>
                      </a:lnTo>
                      <a:lnTo>
                        <a:pt x="52514" y="335318"/>
                      </a:lnTo>
                      <a:lnTo>
                        <a:pt x="53009" y="333413"/>
                      </a:lnTo>
                      <a:lnTo>
                        <a:pt x="53200" y="332651"/>
                      </a:lnTo>
                      <a:lnTo>
                        <a:pt x="56235" y="333032"/>
                      </a:lnTo>
                      <a:lnTo>
                        <a:pt x="56908" y="335064"/>
                      </a:lnTo>
                      <a:lnTo>
                        <a:pt x="58699" y="337223"/>
                      </a:lnTo>
                      <a:lnTo>
                        <a:pt x="58572" y="336715"/>
                      </a:lnTo>
                      <a:lnTo>
                        <a:pt x="63309" y="335953"/>
                      </a:lnTo>
                      <a:lnTo>
                        <a:pt x="65265" y="338747"/>
                      </a:lnTo>
                      <a:lnTo>
                        <a:pt x="68122" y="342684"/>
                      </a:lnTo>
                      <a:lnTo>
                        <a:pt x="70688" y="344970"/>
                      </a:lnTo>
                      <a:lnTo>
                        <a:pt x="73850" y="345859"/>
                      </a:lnTo>
                      <a:lnTo>
                        <a:pt x="73977" y="345605"/>
                      </a:lnTo>
                      <a:lnTo>
                        <a:pt x="74841" y="346240"/>
                      </a:lnTo>
                      <a:lnTo>
                        <a:pt x="75857" y="347510"/>
                      </a:lnTo>
                      <a:lnTo>
                        <a:pt x="76987" y="348653"/>
                      </a:lnTo>
                      <a:lnTo>
                        <a:pt x="77292" y="349415"/>
                      </a:lnTo>
                      <a:lnTo>
                        <a:pt x="78371" y="351193"/>
                      </a:lnTo>
                      <a:lnTo>
                        <a:pt x="78422" y="351701"/>
                      </a:lnTo>
                      <a:lnTo>
                        <a:pt x="79540" y="352590"/>
                      </a:lnTo>
                      <a:lnTo>
                        <a:pt x="80289" y="352463"/>
                      </a:lnTo>
                      <a:lnTo>
                        <a:pt x="81038" y="353225"/>
                      </a:lnTo>
                      <a:lnTo>
                        <a:pt x="80695" y="353606"/>
                      </a:lnTo>
                      <a:lnTo>
                        <a:pt x="81762" y="355384"/>
                      </a:lnTo>
                      <a:lnTo>
                        <a:pt x="82067" y="356527"/>
                      </a:lnTo>
                      <a:lnTo>
                        <a:pt x="83667" y="359702"/>
                      </a:lnTo>
                      <a:lnTo>
                        <a:pt x="84175" y="359067"/>
                      </a:lnTo>
                      <a:lnTo>
                        <a:pt x="87083" y="358559"/>
                      </a:lnTo>
                      <a:lnTo>
                        <a:pt x="86715" y="358051"/>
                      </a:lnTo>
                      <a:lnTo>
                        <a:pt x="88633" y="359448"/>
                      </a:lnTo>
                      <a:lnTo>
                        <a:pt x="88887" y="360337"/>
                      </a:lnTo>
                      <a:lnTo>
                        <a:pt x="91643" y="361480"/>
                      </a:lnTo>
                      <a:lnTo>
                        <a:pt x="93827" y="359067"/>
                      </a:lnTo>
                      <a:lnTo>
                        <a:pt x="95262" y="358051"/>
                      </a:lnTo>
                      <a:lnTo>
                        <a:pt x="97066" y="356781"/>
                      </a:lnTo>
                      <a:lnTo>
                        <a:pt x="98742" y="355638"/>
                      </a:lnTo>
                      <a:lnTo>
                        <a:pt x="100241" y="354241"/>
                      </a:lnTo>
                      <a:lnTo>
                        <a:pt x="98577" y="354241"/>
                      </a:lnTo>
                      <a:lnTo>
                        <a:pt x="97091" y="352463"/>
                      </a:lnTo>
                      <a:lnTo>
                        <a:pt x="96672" y="351955"/>
                      </a:lnTo>
                      <a:lnTo>
                        <a:pt x="96710" y="350253"/>
                      </a:lnTo>
                      <a:lnTo>
                        <a:pt x="96710" y="349973"/>
                      </a:lnTo>
                      <a:lnTo>
                        <a:pt x="96774" y="350304"/>
                      </a:lnTo>
                      <a:lnTo>
                        <a:pt x="99047" y="351828"/>
                      </a:lnTo>
                      <a:lnTo>
                        <a:pt x="99618" y="350939"/>
                      </a:lnTo>
                      <a:lnTo>
                        <a:pt x="101752" y="350939"/>
                      </a:lnTo>
                      <a:lnTo>
                        <a:pt x="102590" y="351320"/>
                      </a:lnTo>
                      <a:lnTo>
                        <a:pt x="105600" y="351193"/>
                      </a:lnTo>
                      <a:lnTo>
                        <a:pt x="106032" y="350939"/>
                      </a:lnTo>
                      <a:lnTo>
                        <a:pt x="107746" y="349923"/>
                      </a:lnTo>
                      <a:lnTo>
                        <a:pt x="118567" y="345732"/>
                      </a:lnTo>
                      <a:lnTo>
                        <a:pt x="118884" y="345605"/>
                      </a:lnTo>
                      <a:lnTo>
                        <a:pt x="122491" y="344208"/>
                      </a:lnTo>
                      <a:lnTo>
                        <a:pt x="122707" y="344208"/>
                      </a:lnTo>
                      <a:lnTo>
                        <a:pt x="122402" y="341287"/>
                      </a:lnTo>
                      <a:lnTo>
                        <a:pt x="122529" y="340017"/>
                      </a:lnTo>
                      <a:lnTo>
                        <a:pt x="120916" y="341287"/>
                      </a:lnTo>
                      <a:lnTo>
                        <a:pt x="121272" y="340271"/>
                      </a:lnTo>
                      <a:lnTo>
                        <a:pt x="122656" y="339763"/>
                      </a:lnTo>
                      <a:lnTo>
                        <a:pt x="122809" y="337858"/>
                      </a:lnTo>
                      <a:lnTo>
                        <a:pt x="122313" y="336588"/>
                      </a:lnTo>
                      <a:lnTo>
                        <a:pt x="122123" y="335953"/>
                      </a:lnTo>
                      <a:lnTo>
                        <a:pt x="121958" y="335445"/>
                      </a:lnTo>
                      <a:lnTo>
                        <a:pt x="121526" y="334810"/>
                      </a:lnTo>
                      <a:lnTo>
                        <a:pt x="120459" y="333921"/>
                      </a:lnTo>
                      <a:lnTo>
                        <a:pt x="118414" y="333667"/>
                      </a:lnTo>
                      <a:lnTo>
                        <a:pt x="117563" y="333159"/>
                      </a:lnTo>
                      <a:lnTo>
                        <a:pt x="119494" y="333286"/>
                      </a:lnTo>
                      <a:lnTo>
                        <a:pt x="119735" y="333159"/>
                      </a:lnTo>
                      <a:lnTo>
                        <a:pt x="120675" y="332651"/>
                      </a:lnTo>
                      <a:lnTo>
                        <a:pt x="121386" y="332270"/>
                      </a:lnTo>
                      <a:lnTo>
                        <a:pt x="124714" y="330873"/>
                      </a:lnTo>
                      <a:lnTo>
                        <a:pt x="125653" y="330619"/>
                      </a:lnTo>
                      <a:close/>
                    </a:path>
                    <a:path w="629919" h="437514">
                      <a:moveTo>
                        <a:pt x="265290" y="173990"/>
                      </a:moveTo>
                      <a:lnTo>
                        <a:pt x="257454" y="172720"/>
                      </a:lnTo>
                      <a:lnTo>
                        <a:pt x="250012" y="173990"/>
                      </a:lnTo>
                      <a:lnTo>
                        <a:pt x="265290" y="173990"/>
                      </a:lnTo>
                      <a:close/>
                    </a:path>
                    <a:path w="629919" h="437514">
                      <a:moveTo>
                        <a:pt x="374573" y="226428"/>
                      </a:moveTo>
                      <a:lnTo>
                        <a:pt x="374002" y="226390"/>
                      </a:lnTo>
                      <a:lnTo>
                        <a:pt x="372478" y="226136"/>
                      </a:lnTo>
                      <a:lnTo>
                        <a:pt x="371322" y="226695"/>
                      </a:lnTo>
                      <a:lnTo>
                        <a:pt x="371322" y="227457"/>
                      </a:lnTo>
                      <a:lnTo>
                        <a:pt x="369773" y="228282"/>
                      </a:lnTo>
                      <a:lnTo>
                        <a:pt x="368935" y="229374"/>
                      </a:lnTo>
                      <a:lnTo>
                        <a:pt x="363956" y="232994"/>
                      </a:lnTo>
                      <a:lnTo>
                        <a:pt x="362623" y="233273"/>
                      </a:lnTo>
                      <a:lnTo>
                        <a:pt x="368604" y="235826"/>
                      </a:lnTo>
                      <a:lnTo>
                        <a:pt x="370497" y="233248"/>
                      </a:lnTo>
                      <a:lnTo>
                        <a:pt x="372618" y="233718"/>
                      </a:lnTo>
                      <a:lnTo>
                        <a:pt x="371919" y="234442"/>
                      </a:lnTo>
                      <a:lnTo>
                        <a:pt x="372211" y="234505"/>
                      </a:lnTo>
                      <a:lnTo>
                        <a:pt x="372732" y="234480"/>
                      </a:lnTo>
                      <a:lnTo>
                        <a:pt x="373087" y="234683"/>
                      </a:lnTo>
                      <a:lnTo>
                        <a:pt x="373646" y="234721"/>
                      </a:lnTo>
                      <a:lnTo>
                        <a:pt x="373849" y="234492"/>
                      </a:lnTo>
                      <a:lnTo>
                        <a:pt x="374459" y="234543"/>
                      </a:lnTo>
                      <a:lnTo>
                        <a:pt x="374218" y="234226"/>
                      </a:lnTo>
                      <a:lnTo>
                        <a:pt x="373748" y="233870"/>
                      </a:lnTo>
                      <a:lnTo>
                        <a:pt x="373646" y="233692"/>
                      </a:lnTo>
                      <a:lnTo>
                        <a:pt x="372884" y="232905"/>
                      </a:lnTo>
                      <a:lnTo>
                        <a:pt x="371195" y="232625"/>
                      </a:lnTo>
                      <a:lnTo>
                        <a:pt x="370763" y="231609"/>
                      </a:lnTo>
                      <a:lnTo>
                        <a:pt x="370992" y="231089"/>
                      </a:lnTo>
                      <a:lnTo>
                        <a:pt x="371449" y="230352"/>
                      </a:lnTo>
                      <a:lnTo>
                        <a:pt x="374573" y="226428"/>
                      </a:lnTo>
                      <a:close/>
                    </a:path>
                    <a:path w="629919" h="437514">
                      <a:moveTo>
                        <a:pt x="390702" y="403174"/>
                      </a:moveTo>
                      <a:lnTo>
                        <a:pt x="385318" y="400608"/>
                      </a:lnTo>
                      <a:lnTo>
                        <a:pt x="381800" y="402882"/>
                      </a:lnTo>
                      <a:lnTo>
                        <a:pt x="378142" y="405015"/>
                      </a:lnTo>
                      <a:lnTo>
                        <a:pt x="374853" y="407644"/>
                      </a:lnTo>
                      <a:lnTo>
                        <a:pt x="375831" y="408343"/>
                      </a:lnTo>
                      <a:lnTo>
                        <a:pt x="377837" y="406793"/>
                      </a:lnTo>
                      <a:lnTo>
                        <a:pt x="379183" y="406615"/>
                      </a:lnTo>
                      <a:lnTo>
                        <a:pt x="379425" y="407276"/>
                      </a:lnTo>
                      <a:lnTo>
                        <a:pt x="379780" y="407250"/>
                      </a:lnTo>
                      <a:lnTo>
                        <a:pt x="380136" y="407225"/>
                      </a:lnTo>
                      <a:lnTo>
                        <a:pt x="380225" y="406755"/>
                      </a:lnTo>
                      <a:lnTo>
                        <a:pt x="381152" y="406565"/>
                      </a:lnTo>
                      <a:lnTo>
                        <a:pt x="381876" y="406107"/>
                      </a:lnTo>
                      <a:lnTo>
                        <a:pt x="385648" y="404622"/>
                      </a:lnTo>
                      <a:lnTo>
                        <a:pt x="390702" y="403174"/>
                      </a:lnTo>
                      <a:close/>
                    </a:path>
                    <a:path w="629919" h="437514">
                      <a:moveTo>
                        <a:pt x="433717" y="433552"/>
                      </a:moveTo>
                      <a:lnTo>
                        <a:pt x="433285" y="431571"/>
                      </a:lnTo>
                      <a:lnTo>
                        <a:pt x="431876" y="431126"/>
                      </a:lnTo>
                      <a:lnTo>
                        <a:pt x="430911" y="429539"/>
                      </a:lnTo>
                      <a:lnTo>
                        <a:pt x="430999" y="428650"/>
                      </a:lnTo>
                      <a:lnTo>
                        <a:pt x="429780" y="427101"/>
                      </a:lnTo>
                      <a:lnTo>
                        <a:pt x="429272" y="427520"/>
                      </a:lnTo>
                      <a:lnTo>
                        <a:pt x="427316" y="427050"/>
                      </a:lnTo>
                      <a:lnTo>
                        <a:pt x="427101" y="426364"/>
                      </a:lnTo>
                      <a:lnTo>
                        <a:pt x="422198" y="428040"/>
                      </a:lnTo>
                      <a:lnTo>
                        <a:pt x="429361" y="434809"/>
                      </a:lnTo>
                      <a:lnTo>
                        <a:pt x="430301" y="435978"/>
                      </a:lnTo>
                      <a:lnTo>
                        <a:pt x="431469" y="435660"/>
                      </a:lnTo>
                      <a:lnTo>
                        <a:pt x="432955" y="436892"/>
                      </a:lnTo>
                      <a:lnTo>
                        <a:pt x="433057" y="435470"/>
                      </a:lnTo>
                      <a:lnTo>
                        <a:pt x="433108" y="434632"/>
                      </a:lnTo>
                      <a:lnTo>
                        <a:pt x="433717" y="433552"/>
                      </a:lnTo>
                      <a:close/>
                    </a:path>
                    <a:path w="629919" h="437514">
                      <a:moveTo>
                        <a:pt x="477774" y="1270"/>
                      </a:moveTo>
                      <a:lnTo>
                        <a:pt x="477151" y="1270"/>
                      </a:lnTo>
                      <a:lnTo>
                        <a:pt x="477012" y="1460"/>
                      </a:lnTo>
                      <a:lnTo>
                        <a:pt x="477774" y="1270"/>
                      </a:lnTo>
                      <a:close/>
                    </a:path>
                    <a:path w="629919" h="437514">
                      <a:moveTo>
                        <a:pt x="597306" y="11430"/>
                      </a:moveTo>
                      <a:lnTo>
                        <a:pt x="595845" y="10160"/>
                      </a:lnTo>
                      <a:lnTo>
                        <a:pt x="569633" y="11430"/>
                      </a:lnTo>
                      <a:lnTo>
                        <a:pt x="570217" y="12700"/>
                      </a:lnTo>
                      <a:lnTo>
                        <a:pt x="565315" y="12700"/>
                      </a:lnTo>
                      <a:lnTo>
                        <a:pt x="558774" y="10160"/>
                      </a:lnTo>
                      <a:lnTo>
                        <a:pt x="551713" y="12700"/>
                      </a:lnTo>
                      <a:lnTo>
                        <a:pt x="550481" y="12700"/>
                      </a:lnTo>
                      <a:lnTo>
                        <a:pt x="549427" y="13970"/>
                      </a:lnTo>
                      <a:lnTo>
                        <a:pt x="550075" y="13970"/>
                      </a:lnTo>
                      <a:lnTo>
                        <a:pt x="592747" y="13970"/>
                      </a:lnTo>
                      <a:lnTo>
                        <a:pt x="594715" y="13970"/>
                      </a:lnTo>
                      <a:lnTo>
                        <a:pt x="597306" y="11430"/>
                      </a:lnTo>
                      <a:close/>
                    </a:path>
                    <a:path w="629919" h="437514">
                      <a:moveTo>
                        <a:pt x="629589" y="27940"/>
                      </a:moveTo>
                      <a:lnTo>
                        <a:pt x="628281" y="26670"/>
                      </a:lnTo>
                      <a:lnTo>
                        <a:pt x="626186" y="24130"/>
                      </a:lnTo>
                      <a:lnTo>
                        <a:pt x="625144" y="22860"/>
                      </a:lnTo>
                      <a:lnTo>
                        <a:pt x="608672" y="22860"/>
                      </a:lnTo>
                      <a:lnTo>
                        <a:pt x="605078" y="21590"/>
                      </a:lnTo>
                      <a:lnTo>
                        <a:pt x="600951" y="22860"/>
                      </a:lnTo>
                      <a:lnTo>
                        <a:pt x="599630" y="24130"/>
                      </a:lnTo>
                      <a:lnTo>
                        <a:pt x="597827" y="24130"/>
                      </a:lnTo>
                      <a:lnTo>
                        <a:pt x="598944" y="22860"/>
                      </a:lnTo>
                      <a:lnTo>
                        <a:pt x="601014" y="21590"/>
                      </a:lnTo>
                      <a:lnTo>
                        <a:pt x="602107" y="20320"/>
                      </a:lnTo>
                      <a:lnTo>
                        <a:pt x="602894" y="20320"/>
                      </a:lnTo>
                      <a:lnTo>
                        <a:pt x="603021" y="19050"/>
                      </a:lnTo>
                      <a:lnTo>
                        <a:pt x="600900" y="17780"/>
                      </a:lnTo>
                      <a:lnTo>
                        <a:pt x="598462" y="17780"/>
                      </a:lnTo>
                      <a:lnTo>
                        <a:pt x="596557" y="16510"/>
                      </a:lnTo>
                      <a:lnTo>
                        <a:pt x="593648" y="15240"/>
                      </a:lnTo>
                      <a:lnTo>
                        <a:pt x="547331" y="15240"/>
                      </a:lnTo>
                      <a:lnTo>
                        <a:pt x="541426" y="15240"/>
                      </a:lnTo>
                      <a:lnTo>
                        <a:pt x="538886" y="16510"/>
                      </a:lnTo>
                      <a:lnTo>
                        <a:pt x="526478" y="16510"/>
                      </a:lnTo>
                      <a:lnTo>
                        <a:pt x="521970" y="17780"/>
                      </a:lnTo>
                      <a:lnTo>
                        <a:pt x="527532" y="13970"/>
                      </a:lnTo>
                      <a:lnTo>
                        <a:pt x="534123" y="13970"/>
                      </a:lnTo>
                      <a:lnTo>
                        <a:pt x="544842" y="11430"/>
                      </a:lnTo>
                      <a:lnTo>
                        <a:pt x="549109" y="10160"/>
                      </a:lnTo>
                      <a:lnTo>
                        <a:pt x="553694" y="8890"/>
                      </a:lnTo>
                      <a:lnTo>
                        <a:pt x="539864" y="6350"/>
                      </a:lnTo>
                      <a:lnTo>
                        <a:pt x="513613" y="5080"/>
                      </a:lnTo>
                      <a:lnTo>
                        <a:pt x="509739" y="5080"/>
                      </a:lnTo>
                      <a:lnTo>
                        <a:pt x="507149" y="3810"/>
                      </a:lnTo>
                      <a:lnTo>
                        <a:pt x="509600" y="3810"/>
                      </a:lnTo>
                      <a:lnTo>
                        <a:pt x="508431" y="2540"/>
                      </a:lnTo>
                      <a:lnTo>
                        <a:pt x="505612" y="0"/>
                      </a:lnTo>
                      <a:lnTo>
                        <a:pt x="502310" y="1270"/>
                      </a:lnTo>
                      <a:lnTo>
                        <a:pt x="498182" y="2019"/>
                      </a:lnTo>
                      <a:lnTo>
                        <a:pt x="498182" y="92710"/>
                      </a:lnTo>
                      <a:lnTo>
                        <a:pt x="498094" y="93980"/>
                      </a:lnTo>
                      <a:lnTo>
                        <a:pt x="496316" y="95250"/>
                      </a:lnTo>
                      <a:lnTo>
                        <a:pt x="496849" y="95377"/>
                      </a:lnTo>
                      <a:lnTo>
                        <a:pt x="494804" y="96520"/>
                      </a:lnTo>
                      <a:lnTo>
                        <a:pt x="494538" y="93980"/>
                      </a:lnTo>
                      <a:lnTo>
                        <a:pt x="496189" y="93980"/>
                      </a:lnTo>
                      <a:lnTo>
                        <a:pt x="494639" y="92710"/>
                      </a:lnTo>
                      <a:lnTo>
                        <a:pt x="494182" y="91440"/>
                      </a:lnTo>
                      <a:lnTo>
                        <a:pt x="492645" y="90170"/>
                      </a:lnTo>
                      <a:lnTo>
                        <a:pt x="491172" y="90170"/>
                      </a:lnTo>
                      <a:lnTo>
                        <a:pt x="489966" y="88900"/>
                      </a:lnTo>
                      <a:lnTo>
                        <a:pt x="491782" y="88900"/>
                      </a:lnTo>
                      <a:lnTo>
                        <a:pt x="495058" y="90170"/>
                      </a:lnTo>
                      <a:lnTo>
                        <a:pt x="498182" y="92710"/>
                      </a:lnTo>
                      <a:lnTo>
                        <a:pt x="498182" y="2019"/>
                      </a:lnTo>
                      <a:lnTo>
                        <a:pt x="481228" y="5080"/>
                      </a:lnTo>
                      <a:lnTo>
                        <a:pt x="483260" y="5080"/>
                      </a:lnTo>
                      <a:lnTo>
                        <a:pt x="487629" y="6350"/>
                      </a:lnTo>
                      <a:lnTo>
                        <a:pt x="489077" y="7620"/>
                      </a:lnTo>
                      <a:lnTo>
                        <a:pt x="486041" y="8890"/>
                      </a:lnTo>
                      <a:lnTo>
                        <a:pt x="482498" y="7620"/>
                      </a:lnTo>
                      <a:lnTo>
                        <a:pt x="478713" y="6350"/>
                      </a:lnTo>
                      <a:lnTo>
                        <a:pt x="476059" y="5080"/>
                      </a:lnTo>
                      <a:lnTo>
                        <a:pt x="475297" y="3810"/>
                      </a:lnTo>
                      <a:lnTo>
                        <a:pt x="477012" y="1460"/>
                      </a:lnTo>
                      <a:lnTo>
                        <a:pt x="451485" y="7620"/>
                      </a:lnTo>
                      <a:lnTo>
                        <a:pt x="452843" y="10160"/>
                      </a:lnTo>
                      <a:lnTo>
                        <a:pt x="454494" y="11430"/>
                      </a:lnTo>
                      <a:lnTo>
                        <a:pt x="459460" y="12700"/>
                      </a:lnTo>
                      <a:lnTo>
                        <a:pt x="463067" y="12700"/>
                      </a:lnTo>
                      <a:lnTo>
                        <a:pt x="465023" y="13970"/>
                      </a:lnTo>
                      <a:lnTo>
                        <a:pt x="464578" y="13970"/>
                      </a:lnTo>
                      <a:lnTo>
                        <a:pt x="464032" y="15240"/>
                      </a:lnTo>
                      <a:lnTo>
                        <a:pt x="463804" y="15240"/>
                      </a:lnTo>
                      <a:lnTo>
                        <a:pt x="452234" y="12700"/>
                      </a:lnTo>
                      <a:lnTo>
                        <a:pt x="449973" y="11430"/>
                      </a:lnTo>
                      <a:lnTo>
                        <a:pt x="445452" y="8890"/>
                      </a:lnTo>
                      <a:lnTo>
                        <a:pt x="444830" y="7620"/>
                      </a:lnTo>
                      <a:lnTo>
                        <a:pt x="442988" y="6350"/>
                      </a:lnTo>
                      <a:lnTo>
                        <a:pt x="441871" y="5080"/>
                      </a:lnTo>
                      <a:lnTo>
                        <a:pt x="435356" y="2540"/>
                      </a:lnTo>
                      <a:lnTo>
                        <a:pt x="405447" y="2540"/>
                      </a:lnTo>
                      <a:lnTo>
                        <a:pt x="395579" y="3810"/>
                      </a:lnTo>
                      <a:lnTo>
                        <a:pt x="396887" y="6350"/>
                      </a:lnTo>
                      <a:lnTo>
                        <a:pt x="397383" y="6350"/>
                      </a:lnTo>
                      <a:lnTo>
                        <a:pt x="401739" y="7620"/>
                      </a:lnTo>
                      <a:lnTo>
                        <a:pt x="403085" y="8890"/>
                      </a:lnTo>
                      <a:lnTo>
                        <a:pt x="407035" y="12700"/>
                      </a:lnTo>
                      <a:lnTo>
                        <a:pt x="409740" y="11430"/>
                      </a:lnTo>
                      <a:lnTo>
                        <a:pt x="413588" y="12700"/>
                      </a:lnTo>
                      <a:lnTo>
                        <a:pt x="412851" y="12700"/>
                      </a:lnTo>
                      <a:lnTo>
                        <a:pt x="408038" y="13970"/>
                      </a:lnTo>
                      <a:lnTo>
                        <a:pt x="411010" y="15240"/>
                      </a:lnTo>
                      <a:lnTo>
                        <a:pt x="412216" y="15240"/>
                      </a:lnTo>
                      <a:lnTo>
                        <a:pt x="414756" y="16510"/>
                      </a:lnTo>
                      <a:lnTo>
                        <a:pt x="416191" y="16510"/>
                      </a:lnTo>
                      <a:lnTo>
                        <a:pt x="418973" y="17780"/>
                      </a:lnTo>
                      <a:lnTo>
                        <a:pt x="422300" y="17780"/>
                      </a:lnTo>
                      <a:lnTo>
                        <a:pt x="420293" y="19050"/>
                      </a:lnTo>
                      <a:lnTo>
                        <a:pt x="417601" y="20320"/>
                      </a:lnTo>
                      <a:lnTo>
                        <a:pt x="413905" y="22860"/>
                      </a:lnTo>
                      <a:lnTo>
                        <a:pt x="412115" y="22860"/>
                      </a:lnTo>
                      <a:lnTo>
                        <a:pt x="410425" y="24130"/>
                      </a:lnTo>
                      <a:lnTo>
                        <a:pt x="410730" y="22860"/>
                      </a:lnTo>
                      <a:lnTo>
                        <a:pt x="411886" y="20320"/>
                      </a:lnTo>
                      <a:lnTo>
                        <a:pt x="413207" y="20320"/>
                      </a:lnTo>
                      <a:lnTo>
                        <a:pt x="414934" y="19050"/>
                      </a:lnTo>
                      <a:lnTo>
                        <a:pt x="414909" y="17780"/>
                      </a:lnTo>
                      <a:lnTo>
                        <a:pt x="410565" y="17780"/>
                      </a:lnTo>
                      <a:lnTo>
                        <a:pt x="408482" y="16510"/>
                      </a:lnTo>
                      <a:lnTo>
                        <a:pt x="405282" y="16510"/>
                      </a:lnTo>
                      <a:lnTo>
                        <a:pt x="403834" y="13970"/>
                      </a:lnTo>
                      <a:lnTo>
                        <a:pt x="402450" y="13970"/>
                      </a:lnTo>
                      <a:lnTo>
                        <a:pt x="400799" y="12700"/>
                      </a:lnTo>
                      <a:lnTo>
                        <a:pt x="399707" y="12700"/>
                      </a:lnTo>
                      <a:lnTo>
                        <a:pt x="398805" y="11430"/>
                      </a:lnTo>
                      <a:lnTo>
                        <a:pt x="398183" y="11430"/>
                      </a:lnTo>
                      <a:lnTo>
                        <a:pt x="396100" y="8890"/>
                      </a:lnTo>
                      <a:lnTo>
                        <a:pt x="393814" y="8890"/>
                      </a:lnTo>
                      <a:lnTo>
                        <a:pt x="389115" y="7620"/>
                      </a:lnTo>
                      <a:lnTo>
                        <a:pt x="381050" y="7620"/>
                      </a:lnTo>
                      <a:lnTo>
                        <a:pt x="379933" y="7112"/>
                      </a:lnTo>
                      <a:lnTo>
                        <a:pt x="379933" y="15240"/>
                      </a:lnTo>
                      <a:lnTo>
                        <a:pt x="377939" y="16510"/>
                      </a:lnTo>
                      <a:lnTo>
                        <a:pt x="373786" y="15240"/>
                      </a:lnTo>
                      <a:lnTo>
                        <a:pt x="379933" y="15240"/>
                      </a:lnTo>
                      <a:lnTo>
                        <a:pt x="379933" y="7112"/>
                      </a:lnTo>
                      <a:lnTo>
                        <a:pt x="378320" y="6350"/>
                      </a:lnTo>
                      <a:lnTo>
                        <a:pt x="367715" y="6350"/>
                      </a:lnTo>
                      <a:lnTo>
                        <a:pt x="367652" y="5080"/>
                      </a:lnTo>
                      <a:lnTo>
                        <a:pt x="365544" y="7620"/>
                      </a:lnTo>
                      <a:lnTo>
                        <a:pt x="364667" y="7620"/>
                      </a:lnTo>
                      <a:lnTo>
                        <a:pt x="363296" y="10160"/>
                      </a:lnTo>
                      <a:lnTo>
                        <a:pt x="362013" y="11430"/>
                      </a:lnTo>
                      <a:lnTo>
                        <a:pt x="359841" y="11430"/>
                      </a:lnTo>
                      <a:lnTo>
                        <a:pt x="360146" y="12700"/>
                      </a:lnTo>
                      <a:lnTo>
                        <a:pt x="362724" y="13970"/>
                      </a:lnTo>
                      <a:lnTo>
                        <a:pt x="365391" y="13970"/>
                      </a:lnTo>
                      <a:lnTo>
                        <a:pt x="367639" y="15240"/>
                      </a:lnTo>
                      <a:lnTo>
                        <a:pt x="356438" y="15240"/>
                      </a:lnTo>
                      <a:lnTo>
                        <a:pt x="356717" y="13970"/>
                      </a:lnTo>
                      <a:lnTo>
                        <a:pt x="355346" y="13970"/>
                      </a:lnTo>
                      <a:lnTo>
                        <a:pt x="353364" y="11430"/>
                      </a:lnTo>
                      <a:lnTo>
                        <a:pt x="346773" y="11430"/>
                      </a:lnTo>
                      <a:lnTo>
                        <a:pt x="343598" y="10160"/>
                      </a:lnTo>
                      <a:lnTo>
                        <a:pt x="340728" y="10160"/>
                      </a:lnTo>
                      <a:lnTo>
                        <a:pt x="337667" y="11430"/>
                      </a:lnTo>
                      <a:lnTo>
                        <a:pt x="340804" y="13970"/>
                      </a:lnTo>
                      <a:lnTo>
                        <a:pt x="342341" y="15240"/>
                      </a:lnTo>
                      <a:lnTo>
                        <a:pt x="342976" y="16510"/>
                      </a:lnTo>
                      <a:lnTo>
                        <a:pt x="346113" y="17780"/>
                      </a:lnTo>
                      <a:lnTo>
                        <a:pt x="350113" y="20320"/>
                      </a:lnTo>
                      <a:lnTo>
                        <a:pt x="345871" y="20320"/>
                      </a:lnTo>
                      <a:lnTo>
                        <a:pt x="341591" y="17780"/>
                      </a:lnTo>
                      <a:lnTo>
                        <a:pt x="336143" y="16510"/>
                      </a:lnTo>
                      <a:lnTo>
                        <a:pt x="326174" y="16510"/>
                      </a:lnTo>
                      <a:lnTo>
                        <a:pt x="329018" y="20320"/>
                      </a:lnTo>
                      <a:lnTo>
                        <a:pt x="333451" y="21590"/>
                      </a:lnTo>
                      <a:lnTo>
                        <a:pt x="323265" y="21590"/>
                      </a:lnTo>
                      <a:lnTo>
                        <a:pt x="322160" y="22860"/>
                      </a:lnTo>
                      <a:lnTo>
                        <a:pt x="320078" y="24130"/>
                      </a:lnTo>
                      <a:lnTo>
                        <a:pt x="319836" y="27940"/>
                      </a:lnTo>
                      <a:lnTo>
                        <a:pt x="324853" y="27940"/>
                      </a:lnTo>
                      <a:lnTo>
                        <a:pt x="326567" y="29210"/>
                      </a:lnTo>
                      <a:lnTo>
                        <a:pt x="329298" y="30480"/>
                      </a:lnTo>
                      <a:lnTo>
                        <a:pt x="331939" y="31750"/>
                      </a:lnTo>
                      <a:lnTo>
                        <a:pt x="336245" y="33020"/>
                      </a:lnTo>
                      <a:lnTo>
                        <a:pt x="337756" y="33020"/>
                      </a:lnTo>
                      <a:lnTo>
                        <a:pt x="341477" y="34290"/>
                      </a:lnTo>
                      <a:lnTo>
                        <a:pt x="345846" y="34290"/>
                      </a:lnTo>
                      <a:lnTo>
                        <a:pt x="342633" y="35560"/>
                      </a:lnTo>
                      <a:lnTo>
                        <a:pt x="349161" y="36830"/>
                      </a:lnTo>
                      <a:lnTo>
                        <a:pt x="351675" y="38100"/>
                      </a:lnTo>
                      <a:lnTo>
                        <a:pt x="359321" y="38100"/>
                      </a:lnTo>
                      <a:lnTo>
                        <a:pt x="361505" y="39370"/>
                      </a:lnTo>
                      <a:lnTo>
                        <a:pt x="359079" y="39370"/>
                      </a:lnTo>
                      <a:lnTo>
                        <a:pt x="362521" y="40640"/>
                      </a:lnTo>
                      <a:lnTo>
                        <a:pt x="364959" y="43180"/>
                      </a:lnTo>
                      <a:lnTo>
                        <a:pt x="366052" y="43180"/>
                      </a:lnTo>
                      <a:lnTo>
                        <a:pt x="367919" y="44450"/>
                      </a:lnTo>
                      <a:lnTo>
                        <a:pt x="368541" y="45478"/>
                      </a:lnTo>
                      <a:lnTo>
                        <a:pt x="363588" y="44450"/>
                      </a:lnTo>
                      <a:lnTo>
                        <a:pt x="357416" y="43180"/>
                      </a:lnTo>
                      <a:lnTo>
                        <a:pt x="324294" y="36372"/>
                      </a:lnTo>
                      <a:lnTo>
                        <a:pt x="324294" y="67310"/>
                      </a:lnTo>
                      <a:lnTo>
                        <a:pt x="323392" y="68580"/>
                      </a:lnTo>
                      <a:lnTo>
                        <a:pt x="321475" y="68580"/>
                      </a:lnTo>
                      <a:lnTo>
                        <a:pt x="320560" y="68580"/>
                      </a:lnTo>
                      <a:lnTo>
                        <a:pt x="317284" y="69850"/>
                      </a:lnTo>
                      <a:lnTo>
                        <a:pt x="315290" y="68580"/>
                      </a:lnTo>
                      <a:lnTo>
                        <a:pt x="309664" y="71120"/>
                      </a:lnTo>
                      <a:lnTo>
                        <a:pt x="299618" y="71120"/>
                      </a:lnTo>
                      <a:lnTo>
                        <a:pt x="308978" y="68580"/>
                      </a:lnTo>
                      <a:lnTo>
                        <a:pt x="312305" y="68580"/>
                      </a:lnTo>
                      <a:lnTo>
                        <a:pt x="318554" y="67310"/>
                      </a:lnTo>
                      <a:lnTo>
                        <a:pt x="321475" y="68580"/>
                      </a:lnTo>
                      <a:lnTo>
                        <a:pt x="324294" y="67310"/>
                      </a:lnTo>
                      <a:lnTo>
                        <a:pt x="324294" y="36372"/>
                      </a:lnTo>
                      <a:lnTo>
                        <a:pt x="320408" y="35560"/>
                      </a:lnTo>
                      <a:lnTo>
                        <a:pt x="321462" y="36830"/>
                      </a:lnTo>
                      <a:lnTo>
                        <a:pt x="319163" y="36830"/>
                      </a:lnTo>
                      <a:lnTo>
                        <a:pt x="316090" y="38100"/>
                      </a:lnTo>
                      <a:lnTo>
                        <a:pt x="313969" y="36830"/>
                      </a:lnTo>
                      <a:lnTo>
                        <a:pt x="316725" y="34290"/>
                      </a:lnTo>
                      <a:lnTo>
                        <a:pt x="313728" y="33020"/>
                      </a:lnTo>
                      <a:lnTo>
                        <a:pt x="311950" y="31750"/>
                      </a:lnTo>
                      <a:lnTo>
                        <a:pt x="308432" y="27940"/>
                      </a:lnTo>
                      <a:lnTo>
                        <a:pt x="306438" y="27940"/>
                      </a:lnTo>
                      <a:lnTo>
                        <a:pt x="291973" y="24130"/>
                      </a:lnTo>
                      <a:lnTo>
                        <a:pt x="287159" y="22860"/>
                      </a:lnTo>
                      <a:lnTo>
                        <a:pt x="277025" y="22860"/>
                      </a:lnTo>
                      <a:lnTo>
                        <a:pt x="274434" y="24130"/>
                      </a:lnTo>
                      <a:lnTo>
                        <a:pt x="276720" y="25400"/>
                      </a:lnTo>
                      <a:lnTo>
                        <a:pt x="279107" y="24130"/>
                      </a:lnTo>
                      <a:lnTo>
                        <a:pt x="281546" y="27940"/>
                      </a:lnTo>
                      <a:lnTo>
                        <a:pt x="281990" y="29210"/>
                      </a:lnTo>
                      <a:lnTo>
                        <a:pt x="280327" y="30480"/>
                      </a:lnTo>
                      <a:lnTo>
                        <a:pt x="278384" y="30480"/>
                      </a:lnTo>
                      <a:lnTo>
                        <a:pt x="272681" y="31750"/>
                      </a:lnTo>
                      <a:lnTo>
                        <a:pt x="266903" y="30480"/>
                      </a:lnTo>
                      <a:lnTo>
                        <a:pt x="258584" y="33020"/>
                      </a:lnTo>
                      <a:lnTo>
                        <a:pt x="264477" y="35560"/>
                      </a:lnTo>
                      <a:lnTo>
                        <a:pt x="270535" y="35560"/>
                      </a:lnTo>
                      <a:lnTo>
                        <a:pt x="276631" y="38100"/>
                      </a:lnTo>
                      <a:lnTo>
                        <a:pt x="287337" y="38100"/>
                      </a:lnTo>
                      <a:lnTo>
                        <a:pt x="290728" y="39370"/>
                      </a:lnTo>
                      <a:lnTo>
                        <a:pt x="290690" y="40640"/>
                      </a:lnTo>
                      <a:lnTo>
                        <a:pt x="292519" y="43180"/>
                      </a:lnTo>
                      <a:lnTo>
                        <a:pt x="289763" y="43180"/>
                      </a:lnTo>
                      <a:lnTo>
                        <a:pt x="289496" y="42900"/>
                      </a:lnTo>
                      <a:lnTo>
                        <a:pt x="289471" y="43180"/>
                      </a:lnTo>
                      <a:lnTo>
                        <a:pt x="287972" y="43180"/>
                      </a:lnTo>
                      <a:lnTo>
                        <a:pt x="287159" y="41910"/>
                      </a:lnTo>
                      <a:lnTo>
                        <a:pt x="287159" y="43180"/>
                      </a:lnTo>
                      <a:lnTo>
                        <a:pt x="287070" y="41910"/>
                      </a:lnTo>
                      <a:lnTo>
                        <a:pt x="288582" y="41910"/>
                      </a:lnTo>
                      <a:lnTo>
                        <a:pt x="289496" y="42900"/>
                      </a:lnTo>
                      <a:lnTo>
                        <a:pt x="289915" y="39370"/>
                      </a:lnTo>
                      <a:lnTo>
                        <a:pt x="287159" y="39370"/>
                      </a:lnTo>
                      <a:lnTo>
                        <a:pt x="287020" y="39052"/>
                      </a:lnTo>
                      <a:lnTo>
                        <a:pt x="286715" y="39420"/>
                      </a:lnTo>
                      <a:lnTo>
                        <a:pt x="286461" y="39585"/>
                      </a:lnTo>
                      <a:lnTo>
                        <a:pt x="287045" y="40132"/>
                      </a:lnTo>
                      <a:lnTo>
                        <a:pt x="286791" y="41910"/>
                      </a:lnTo>
                      <a:lnTo>
                        <a:pt x="286270" y="41910"/>
                      </a:lnTo>
                      <a:lnTo>
                        <a:pt x="285750" y="40640"/>
                      </a:lnTo>
                      <a:lnTo>
                        <a:pt x="283667" y="39370"/>
                      </a:lnTo>
                      <a:lnTo>
                        <a:pt x="275742" y="39370"/>
                      </a:lnTo>
                      <a:lnTo>
                        <a:pt x="279387" y="41910"/>
                      </a:lnTo>
                      <a:lnTo>
                        <a:pt x="280873" y="43180"/>
                      </a:lnTo>
                      <a:lnTo>
                        <a:pt x="281711" y="44450"/>
                      </a:lnTo>
                      <a:lnTo>
                        <a:pt x="279984" y="44450"/>
                      </a:lnTo>
                      <a:lnTo>
                        <a:pt x="278041" y="41910"/>
                      </a:lnTo>
                      <a:lnTo>
                        <a:pt x="275120" y="40640"/>
                      </a:lnTo>
                      <a:lnTo>
                        <a:pt x="273507" y="39370"/>
                      </a:lnTo>
                      <a:lnTo>
                        <a:pt x="269163" y="38100"/>
                      </a:lnTo>
                      <a:lnTo>
                        <a:pt x="262763" y="38100"/>
                      </a:lnTo>
                      <a:lnTo>
                        <a:pt x="261264" y="36830"/>
                      </a:lnTo>
                      <a:lnTo>
                        <a:pt x="258140" y="38100"/>
                      </a:lnTo>
                      <a:lnTo>
                        <a:pt x="259105" y="38100"/>
                      </a:lnTo>
                      <a:lnTo>
                        <a:pt x="259943" y="39370"/>
                      </a:lnTo>
                      <a:lnTo>
                        <a:pt x="258013" y="39370"/>
                      </a:lnTo>
                      <a:lnTo>
                        <a:pt x="257098" y="40640"/>
                      </a:lnTo>
                      <a:lnTo>
                        <a:pt x="257898" y="41910"/>
                      </a:lnTo>
                      <a:lnTo>
                        <a:pt x="260896" y="41910"/>
                      </a:lnTo>
                      <a:lnTo>
                        <a:pt x="262077" y="43180"/>
                      </a:lnTo>
                      <a:lnTo>
                        <a:pt x="260248" y="43180"/>
                      </a:lnTo>
                      <a:lnTo>
                        <a:pt x="257860" y="41910"/>
                      </a:lnTo>
                      <a:lnTo>
                        <a:pt x="255193" y="40640"/>
                      </a:lnTo>
                      <a:lnTo>
                        <a:pt x="254444" y="40640"/>
                      </a:lnTo>
                      <a:lnTo>
                        <a:pt x="254584" y="39370"/>
                      </a:lnTo>
                      <a:lnTo>
                        <a:pt x="255816" y="39370"/>
                      </a:lnTo>
                      <a:lnTo>
                        <a:pt x="255714" y="38100"/>
                      </a:lnTo>
                      <a:lnTo>
                        <a:pt x="254038" y="38100"/>
                      </a:lnTo>
                      <a:lnTo>
                        <a:pt x="252577" y="36830"/>
                      </a:lnTo>
                      <a:lnTo>
                        <a:pt x="250507" y="35560"/>
                      </a:lnTo>
                      <a:lnTo>
                        <a:pt x="246938" y="36830"/>
                      </a:lnTo>
                      <a:lnTo>
                        <a:pt x="245973" y="35560"/>
                      </a:lnTo>
                      <a:lnTo>
                        <a:pt x="240512" y="35560"/>
                      </a:lnTo>
                      <a:lnTo>
                        <a:pt x="235864" y="36830"/>
                      </a:lnTo>
                      <a:lnTo>
                        <a:pt x="231686" y="38100"/>
                      </a:lnTo>
                      <a:lnTo>
                        <a:pt x="230936" y="39370"/>
                      </a:lnTo>
                      <a:lnTo>
                        <a:pt x="228752" y="39370"/>
                      </a:lnTo>
                      <a:lnTo>
                        <a:pt x="229831" y="41910"/>
                      </a:lnTo>
                      <a:lnTo>
                        <a:pt x="227698" y="43180"/>
                      </a:lnTo>
                      <a:lnTo>
                        <a:pt x="225742" y="40640"/>
                      </a:lnTo>
                      <a:lnTo>
                        <a:pt x="224028" y="41910"/>
                      </a:lnTo>
                      <a:lnTo>
                        <a:pt x="224739" y="43180"/>
                      </a:lnTo>
                      <a:lnTo>
                        <a:pt x="227076" y="43180"/>
                      </a:lnTo>
                      <a:lnTo>
                        <a:pt x="227215" y="44450"/>
                      </a:lnTo>
                      <a:lnTo>
                        <a:pt x="225209" y="45720"/>
                      </a:lnTo>
                      <a:lnTo>
                        <a:pt x="223266" y="45720"/>
                      </a:lnTo>
                      <a:lnTo>
                        <a:pt x="221462" y="44450"/>
                      </a:lnTo>
                      <a:lnTo>
                        <a:pt x="218719" y="43180"/>
                      </a:lnTo>
                      <a:lnTo>
                        <a:pt x="217360" y="41910"/>
                      </a:lnTo>
                      <a:lnTo>
                        <a:pt x="213106" y="43180"/>
                      </a:lnTo>
                      <a:lnTo>
                        <a:pt x="210489" y="43180"/>
                      </a:lnTo>
                      <a:lnTo>
                        <a:pt x="207137" y="44450"/>
                      </a:lnTo>
                      <a:lnTo>
                        <a:pt x="203644" y="44450"/>
                      </a:lnTo>
                      <a:lnTo>
                        <a:pt x="201650" y="45720"/>
                      </a:lnTo>
                      <a:lnTo>
                        <a:pt x="198996" y="45720"/>
                      </a:lnTo>
                      <a:lnTo>
                        <a:pt x="199009" y="46990"/>
                      </a:lnTo>
                      <a:lnTo>
                        <a:pt x="196684" y="48260"/>
                      </a:lnTo>
                      <a:lnTo>
                        <a:pt x="195046" y="46990"/>
                      </a:lnTo>
                      <a:lnTo>
                        <a:pt x="192646" y="48260"/>
                      </a:lnTo>
                      <a:lnTo>
                        <a:pt x="192201" y="48260"/>
                      </a:lnTo>
                      <a:lnTo>
                        <a:pt x="190779" y="49530"/>
                      </a:lnTo>
                      <a:lnTo>
                        <a:pt x="190512" y="49530"/>
                      </a:lnTo>
                      <a:lnTo>
                        <a:pt x="189014" y="50800"/>
                      </a:lnTo>
                      <a:lnTo>
                        <a:pt x="187439" y="50800"/>
                      </a:lnTo>
                      <a:lnTo>
                        <a:pt x="188455" y="53340"/>
                      </a:lnTo>
                      <a:lnTo>
                        <a:pt x="194856" y="53340"/>
                      </a:lnTo>
                      <a:lnTo>
                        <a:pt x="195999" y="54610"/>
                      </a:lnTo>
                      <a:lnTo>
                        <a:pt x="202260" y="54610"/>
                      </a:lnTo>
                      <a:lnTo>
                        <a:pt x="200647" y="53340"/>
                      </a:lnTo>
                      <a:lnTo>
                        <a:pt x="201980" y="52070"/>
                      </a:lnTo>
                      <a:lnTo>
                        <a:pt x="203479" y="52070"/>
                      </a:lnTo>
                      <a:lnTo>
                        <a:pt x="206451" y="50800"/>
                      </a:lnTo>
                      <a:lnTo>
                        <a:pt x="208813" y="50800"/>
                      </a:lnTo>
                      <a:lnTo>
                        <a:pt x="211099" y="52070"/>
                      </a:lnTo>
                      <a:lnTo>
                        <a:pt x="208610" y="48260"/>
                      </a:lnTo>
                      <a:lnTo>
                        <a:pt x="213588" y="50800"/>
                      </a:lnTo>
                      <a:lnTo>
                        <a:pt x="218363" y="53187"/>
                      </a:lnTo>
                      <a:lnTo>
                        <a:pt x="217982" y="53340"/>
                      </a:lnTo>
                      <a:lnTo>
                        <a:pt x="214782" y="53340"/>
                      </a:lnTo>
                      <a:lnTo>
                        <a:pt x="209372" y="55880"/>
                      </a:lnTo>
                      <a:lnTo>
                        <a:pt x="205486" y="57150"/>
                      </a:lnTo>
                      <a:lnTo>
                        <a:pt x="203415" y="58420"/>
                      </a:lnTo>
                      <a:lnTo>
                        <a:pt x="204241" y="58420"/>
                      </a:lnTo>
                      <a:lnTo>
                        <a:pt x="209486" y="60960"/>
                      </a:lnTo>
                      <a:lnTo>
                        <a:pt x="212547" y="59690"/>
                      </a:lnTo>
                      <a:lnTo>
                        <a:pt x="214515" y="59690"/>
                      </a:lnTo>
                      <a:lnTo>
                        <a:pt x="220510" y="58420"/>
                      </a:lnTo>
                      <a:lnTo>
                        <a:pt x="236842" y="53340"/>
                      </a:lnTo>
                      <a:lnTo>
                        <a:pt x="245033" y="54610"/>
                      </a:lnTo>
                      <a:lnTo>
                        <a:pt x="253898" y="55880"/>
                      </a:lnTo>
                      <a:lnTo>
                        <a:pt x="254266" y="55880"/>
                      </a:lnTo>
                      <a:lnTo>
                        <a:pt x="254723" y="57150"/>
                      </a:lnTo>
                      <a:lnTo>
                        <a:pt x="253212" y="57150"/>
                      </a:lnTo>
                      <a:lnTo>
                        <a:pt x="250977" y="55880"/>
                      </a:lnTo>
                      <a:lnTo>
                        <a:pt x="236283" y="55880"/>
                      </a:lnTo>
                      <a:lnTo>
                        <a:pt x="231444" y="57150"/>
                      </a:lnTo>
                      <a:lnTo>
                        <a:pt x="230695" y="57150"/>
                      </a:lnTo>
                      <a:lnTo>
                        <a:pt x="228282" y="58420"/>
                      </a:lnTo>
                      <a:lnTo>
                        <a:pt x="226898" y="59690"/>
                      </a:lnTo>
                      <a:lnTo>
                        <a:pt x="222592" y="60960"/>
                      </a:lnTo>
                      <a:lnTo>
                        <a:pt x="219583" y="60960"/>
                      </a:lnTo>
                      <a:lnTo>
                        <a:pt x="216535" y="62230"/>
                      </a:lnTo>
                      <a:lnTo>
                        <a:pt x="218198" y="63500"/>
                      </a:lnTo>
                      <a:lnTo>
                        <a:pt x="221602" y="63500"/>
                      </a:lnTo>
                      <a:lnTo>
                        <a:pt x="225983" y="66040"/>
                      </a:lnTo>
                      <a:lnTo>
                        <a:pt x="228053" y="64770"/>
                      </a:lnTo>
                      <a:lnTo>
                        <a:pt x="230238" y="64770"/>
                      </a:lnTo>
                      <a:lnTo>
                        <a:pt x="228117" y="66040"/>
                      </a:lnTo>
                      <a:lnTo>
                        <a:pt x="224612" y="67310"/>
                      </a:lnTo>
                      <a:lnTo>
                        <a:pt x="220332" y="66040"/>
                      </a:lnTo>
                      <a:lnTo>
                        <a:pt x="219100" y="64770"/>
                      </a:lnTo>
                      <a:lnTo>
                        <a:pt x="215379" y="66040"/>
                      </a:lnTo>
                      <a:lnTo>
                        <a:pt x="214071" y="66040"/>
                      </a:lnTo>
                      <a:lnTo>
                        <a:pt x="211963" y="67310"/>
                      </a:lnTo>
                      <a:lnTo>
                        <a:pt x="210362" y="67310"/>
                      </a:lnTo>
                      <a:lnTo>
                        <a:pt x="212229" y="69850"/>
                      </a:lnTo>
                      <a:lnTo>
                        <a:pt x="214223" y="71120"/>
                      </a:lnTo>
                      <a:lnTo>
                        <a:pt x="219633" y="74930"/>
                      </a:lnTo>
                      <a:lnTo>
                        <a:pt x="226047" y="72390"/>
                      </a:lnTo>
                      <a:lnTo>
                        <a:pt x="232448" y="71120"/>
                      </a:lnTo>
                      <a:lnTo>
                        <a:pt x="234962" y="72390"/>
                      </a:lnTo>
                      <a:lnTo>
                        <a:pt x="239801" y="71120"/>
                      </a:lnTo>
                      <a:lnTo>
                        <a:pt x="254266" y="71120"/>
                      </a:lnTo>
                      <a:lnTo>
                        <a:pt x="261404" y="69850"/>
                      </a:lnTo>
                      <a:lnTo>
                        <a:pt x="264058" y="69850"/>
                      </a:lnTo>
                      <a:lnTo>
                        <a:pt x="268071" y="68580"/>
                      </a:lnTo>
                      <a:lnTo>
                        <a:pt x="268947" y="68580"/>
                      </a:lnTo>
                      <a:lnTo>
                        <a:pt x="273786" y="64770"/>
                      </a:lnTo>
                      <a:lnTo>
                        <a:pt x="278892" y="64770"/>
                      </a:lnTo>
                      <a:lnTo>
                        <a:pt x="284187" y="63500"/>
                      </a:lnTo>
                      <a:lnTo>
                        <a:pt x="287083" y="63500"/>
                      </a:lnTo>
                      <a:lnTo>
                        <a:pt x="287159" y="62230"/>
                      </a:lnTo>
                      <a:lnTo>
                        <a:pt x="287159" y="63500"/>
                      </a:lnTo>
                      <a:lnTo>
                        <a:pt x="290487" y="63500"/>
                      </a:lnTo>
                      <a:lnTo>
                        <a:pt x="289725" y="64770"/>
                      </a:lnTo>
                      <a:lnTo>
                        <a:pt x="287083" y="64770"/>
                      </a:lnTo>
                      <a:lnTo>
                        <a:pt x="286994" y="66040"/>
                      </a:lnTo>
                      <a:lnTo>
                        <a:pt x="286842" y="64770"/>
                      </a:lnTo>
                      <a:lnTo>
                        <a:pt x="282956" y="66040"/>
                      </a:lnTo>
                      <a:lnTo>
                        <a:pt x="279539" y="67310"/>
                      </a:lnTo>
                      <a:lnTo>
                        <a:pt x="275310" y="69850"/>
                      </a:lnTo>
                      <a:lnTo>
                        <a:pt x="273646" y="69850"/>
                      </a:lnTo>
                      <a:lnTo>
                        <a:pt x="274142" y="71120"/>
                      </a:lnTo>
                      <a:lnTo>
                        <a:pt x="269455" y="71120"/>
                      </a:lnTo>
                      <a:lnTo>
                        <a:pt x="267538" y="72390"/>
                      </a:lnTo>
                      <a:lnTo>
                        <a:pt x="261759" y="73660"/>
                      </a:lnTo>
                      <a:lnTo>
                        <a:pt x="257098" y="73660"/>
                      </a:lnTo>
                      <a:lnTo>
                        <a:pt x="248704" y="74930"/>
                      </a:lnTo>
                      <a:lnTo>
                        <a:pt x="244271" y="73660"/>
                      </a:lnTo>
                      <a:lnTo>
                        <a:pt x="228650" y="73660"/>
                      </a:lnTo>
                      <a:lnTo>
                        <a:pt x="223634" y="76200"/>
                      </a:lnTo>
                      <a:lnTo>
                        <a:pt x="225425" y="80010"/>
                      </a:lnTo>
                      <a:lnTo>
                        <a:pt x="232410" y="80010"/>
                      </a:lnTo>
                      <a:lnTo>
                        <a:pt x="239064" y="83820"/>
                      </a:lnTo>
                      <a:lnTo>
                        <a:pt x="242074" y="83820"/>
                      </a:lnTo>
                      <a:lnTo>
                        <a:pt x="248107" y="85090"/>
                      </a:lnTo>
                      <a:lnTo>
                        <a:pt x="253149" y="87630"/>
                      </a:lnTo>
                      <a:lnTo>
                        <a:pt x="257136" y="83820"/>
                      </a:lnTo>
                      <a:lnTo>
                        <a:pt x="257505" y="82550"/>
                      </a:lnTo>
                      <a:lnTo>
                        <a:pt x="259867" y="81280"/>
                      </a:lnTo>
                      <a:lnTo>
                        <a:pt x="261023" y="80010"/>
                      </a:lnTo>
                      <a:lnTo>
                        <a:pt x="266026" y="77470"/>
                      </a:lnTo>
                      <a:lnTo>
                        <a:pt x="268960" y="74930"/>
                      </a:lnTo>
                      <a:lnTo>
                        <a:pt x="275958" y="72390"/>
                      </a:lnTo>
                      <a:lnTo>
                        <a:pt x="278422" y="71120"/>
                      </a:lnTo>
                      <a:lnTo>
                        <a:pt x="297408" y="71120"/>
                      </a:lnTo>
                      <a:lnTo>
                        <a:pt x="293306" y="72390"/>
                      </a:lnTo>
                      <a:lnTo>
                        <a:pt x="287108" y="72390"/>
                      </a:lnTo>
                      <a:lnTo>
                        <a:pt x="286219" y="73660"/>
                      </a:lnTo>
                      <a:lnTo>
                        <a:pt x="277939" y="73660"/>
                      </a:lnTo>
                      <a:lnTo>
                        <a:pt x="273900" y="76200"/>
                      </a:lnTo>
                      <a:lnTo>
                        <a:pt x="272097" y="78740"/>
                      </a:lnTo>
                      <a:lnTo>
                        <a:pt x="267627" y="81280"/>
                      </a:lnTo>
                      <a:lnTo>
                        <a:pt x="264350" y="82550"/>
                      </a:lnTo>
                      <a:lnTo>
                        <a:pt x="261861" y="87630"/>
                      </a:lnTo>
                      <a:lnTo>
                        <a:pt x="265010" y="87630"/>
                      </a:lnTo>
                      <a:lnTo>
                        <a:pt x="268617" y="88900"/>
                      </a:lnTo>
                      <a:lnTo>
                        <a:pt x="274472" y="88900"/>
                      </a:lnTo>
                      <a:lnTo>
                        <a:pt x="275780" y="86360"/>
                      </a:lnTo>
                      <a:lnTo>
                        <a:pt x="278396" y="86360"/>
                      </a:lnTo>
                      <a:lnTo>
                        <a:pt x="277482" y="87630"/>
                      </a:lnTo>
                      <a:lnTo>
                        <a:pt x="275983" y="87630"/>
                      </a:lnTo>
                      <a:lnTo>
                        <a:pt x="274904" y="88900"/>
                      </a:lnTo>
                      <a:lnTo>
                        <a:pt x="276453" y="90170"/>
                      </a:lnTo>
                      <a:lnTo>
                        <a:pt x="278790" y="88900"/>
                      </a:lnTo>
                      <a:lnTo>
                        <a:pt x="282181" y="90170"/>
                      </a:lnTo>
                      <a:lnTo>
                        <a:pt x="287159" y="90170"/>
                      </a:lnTo>
                      <a:lnTo>
                        <a:pt x="291211" y="88900"/>
                      </a:lnTo>
                      <a:lnTo>
                        <a:pt x="295236" y="90170"/>
                      </a:lnTo>
                      <a:lnTo>
                        <a:pt x="300837" y="88900"/>
                      </a:lnTo>
                      <a:lnTo>
                        <a:pt x="302907" y="90170"/>
                      </a:lnTo>
                      <a:lnTo>
                        <a:pt x="304114" y="88900"/>
                      </a:lnTo>
                      <a:lnTo>
                        <a:pt x="306514" y="86360"/>
                      </a:lnTo>
                      <a:lnTo>
                        <a:pt x="303784" y="85090"/>
                      </a:lnTo>
                      <a:lnTo>
                        <a:pt x="304736" y="81280"/>
                      </a:lnTo>
                      <a:lnTo>
                        <a:pt x="311899" y="78740"/>
                      </a:lnTo>
                      <a:lnTo>
                        <a:pt x="315010" y="78740"/>
                      </a:lnTo>
                      <a:lnTo>
                        <a:pt x="310972" y="81280"/>
                      </a:lnTo>
                      <a:lnTo>
                        <a:pt x="309308" y="82550"/>
                      </a:lnTo>
                      <a:lnTo>
                        <a:pt x="308063" y="81280"/>
                      </a:lnTo>
                      <a:lnTo>
                        <a:pt x="308330" y="83820"/>
                      </a:lnTo>
                      <a:lnTo>
                        <a:pt x="315010" y="83820"/>
                      </a:lnTo>
                      <a:lnTo>
                        <a:pt x="319874" y="82550"/>
                      </a:lnTo>
                      <a:lnTo>
                        <a:pt x="324751" y="81280"/>
                      </a:lnTo>
                      <a:lnTo>
                        <a:pt x="326745" y="81280"/>
                      </a:lnTo>
                      <a:lnTo>
                        <a:pt x="330327" y="78740"/>
                      </a:lnTo>
                      <a:lnTo>
                        <a:pt x="331381" y="80010"/>
                      </a:lnTo>
                      <a:lnTo>
                        <a:pt x="333260" y="80010"/>
                      </a:lnTo>
                      <a:lnTo>
                        <a:pt x="332117" y="82550"/>
                      </a:lnTo>
                      <a:lnTo>
                        <a:pt x="325170" y="82550"/>
                      </a:lnTo>
                      <a:lnTo>
                        <a:pt x="320484" y="83820"/>
                      </a:lnTo>
                      <a:lnTo>
                        <a:pt x="309511" y="86360"/>
                      </a:lnTo>
                      <a:lnTo>
                        <a:pt x="317665" y="90170"/>
                      </a:lnTo>
                      <a:lnTo>
                        <a:pt x="320776" y="88900"/>
                      </a:lnTo>
                      <a:lnTo>
                        <a:pt x="324878" y="88900"/>
                      </a:lnTo>
                      <a:lnTo>
                        <a:pt x="326898" y="87630"/>
                      </a:lnTo>
                      <a:lnTo>
                        <a:pt x="333883" y="87630"/>
                      </a:lnTo>
                      <a:lnTo>
                        <a:pt x="338709" y="86360"/>
                      </a:lnTo>
                      <a:lnTo>
                        <a:pt x="347319" y="85090"/>
                      </a:lnTo>
                      <a:lnTo>
                        <a:pt x="351116" y="83820"/>
                      </a:lnTo>
                      <a:lnTo>
                        <a:pt x="358000" y="81280"/>
                      </a:lnTo>
                      <a:lnTo>
                        <a:pt x="361911" y="81280"/>
                      </a:lnTo>
                      <a:lnTo>
                        <a:pt x="365252" y="78740"/>
                      </a:lnTo>
                      <a:lnTo>
                        <a:pt x="365887" y="78740"/>
                      </a:lnTo>
                      <a:lnTo>
                        <a:pt x="366636" y="77470"/>
                      </a:lnTo>
                      <a:lnTo>
                        <a:pt x="366649" y="76200"/>
                      </a:lnTo>
                      <a:lnTo>
                        <a:pt x="367131" y="76200"/>
                      </a:lnTo>
                      <a:lnTo>
                        <a:pt x="371500" y="74930"/>
                      </a:lnTo>
                      <a:lnTo>
                        <a:pt x="369912" y="73660"/>
                      </a:lnTo>
                      <a:lnTo>
                        <a:pt x="368427" y="74930"/>
                      </a:lnTo>
                      <a:lnTo>
                        <a:pt x="368109" y="72390"/>
                      </a:lnTo>
                      <a:lnTo>
                        <a:pt x="369912" y="71120"/>
                      </a:lnTo>
                      <a:lnTo>
                        <a:pt x="373113" y="71120"/>
                      </a:lnTo>
                      <a:lnTo>
                        <a:pt x="369379" y="69850"/>
                      </a:lnTo>
                      <a:lnTo>
                        <a:pt x="366788" y="67310"/>
                      </a:lnTo>
                      <a:lnTo>
                        <a:pt x="368058" y="67310"/>
                      </a:lnTo>
                      <a:lnTo>
                        <a:pt x="370497" y="68580"/>
                      </a:lnTo>
                      <a:lnTo>
                        <a:pt x="373684" y="69850"/>
                      </a:lnTo>
                      <a:lnTo>
                        <a:pt x="376758" y="69850"/>
                      </a:lnTo>
                      <a:lnTo>
                        <a:pt x="377621" y="68580"/>
                      </a:lnTo>
                      <a:lnTo>
                        <a:pt x="376694" y="68580"/>
                      </a:lnTo>
                      <a:lnTo>
                        <a:pt x="377317" y="67310"/>
                      </a:lnTo>
                      <a:lnTo>
                        <a:pt x="377939" y="66040"/>
                      </a:lnTo>
                      <a:lnTo>
                        <a:pt x="380606" y="66040"/>
                      </a:lnTo>
                      <a:lnTo>
                        <a:pt x="382968" y="64770"/>
                      </a:lnTo>
                      <a:lnTo>
                        <a:pt x="383362" y="63500"/>
                      </a:lnTo>
                      <a:lnTo>
                        <a:pt x="386854" y="63500"/>
                      </a:lnTo>
                      <a:lnTo>
                        <a:pt x="387515" y="62230"/>
                      </a:lnTo>
                      <a:lnTo>
                        <a:pt x="386435" y="62230"/>
                      </a:lnTo>
                      <a:lnTo>
                        <a:pt x="389001" y="60960"/>
                      </a:lnTo>
                      <a:lnTo>
                        <a:pt x="391922" y="60960"/>
                      </a:lnTo>
                      <a:lnTo>
                        <a:pt x="396824" y="59690"/>
                      </a:lnTo>
                      <a:lnTo>
                        <a:pt x="399288" y="58420"/>
                      </a:lnTo>
                      <a:lnTo>
                        <a:pt x="401688" y="58420"/>
                      </a:lnTo>
                      <a:lnTo>
                        <a:pt x="398830" y="62230"/>
                      </a:lnTo>
                      <a:lnTo>
                        <a:pt x="389763" y="62230"/>
                      </a:lnTo>
                      <a:lnTo>
                        <a:pt x="385432" y="64770"/>
                      </a:lnTo>
                      <a:lnTo>
                        <a:pt x="386765" y="64770"/>
                      </a:lnTo>
                      <a:lnTo>
                        <a:pt x="385838" y="66040"/>
                      </a:lnTo>
                      <a:lnTo>
                        <a:pt x="385178" y="67310"/>
                      </a:lnTo>
                      <a:lnTo>
                        <a:pt x="381609" y="67310"/>
                      </a:lnTo>
                      <a:lnTo>
                        <a:pt x="379501" y="69850"/>
                      </a:lnTo>
                      <a:lnTo>
                        <a:pt x="379120" y="71120"/>
                      </a:lnTo>
                      <a:lnTo>
                        <a:pt x="377278" y="72390"/>
                      </a:lnTo>
                      <a:lnTo>
                        <a:pt x="376440" y="72390"/>
                      </a:lnTo>
                      <a:lnTo>
                        <a:pt x="375145" y="73660"/>
                      </a:lnTo>
                      <a:lnTo>
                        <a:pt x="374459" y="73660"/>
                      </a:lnTo>
                      <a:lnTo>
                        <a:pt x="374510" y="76200"/>
                      </a:lnTo>
                      <a:lnTo>
                        <a:pt x="374700" y="78740"/>
                      </a:lnTo>
                      <a:lnTo>
                        <a:pt x="377151" y="78740"/>
                      </a:lnTo>
                      <a:lnTo>
                        <a:pt x="379704" y="77470"/>
                      </a:lnTo>
                      <a:lnTo>
                        <a:pt x="386029" y="77470"/>
                      </a:lnTo>
                      <a:lnTo>
                        <a:pt x="391198" y="76200"/>
                      </a:lnTo>
                      <a:lnTo>
                        <a:pt x="397344" y="77470"/>
                      </a:lnTo>
                      <a:lnTo>
                        <a:pt x="411149" y="77470"/>
                      </a:lnTo>
                      <a:lnTo>
                        <a:pt x="408063" y="78740"/>
                      </a:lnTo>
                      <a:lnTo>
                        <a:pt x="400659" y="78740"/>
                      </a:lnTo>
                      <a:lnTo>
                        <a:pt x="392671" y="80010"/>
                      </a:lnTo>
                      <a:lnTo>
                        <a:pt x="387565" y="80010"/>
                      </a:lnTo>
                      <a:lnTo>
                        <a:pt x="378358" y="81280"/>
                      </a:lnTo>
                      <a:lnTo>
                        <a:pt x="374497" y="82550"/>
                      </a:lnTo>
                      <a:lnTo>
                        <a:pt x="367309" y="83820"/>
                      </a:lnTo>
                      <a:lnTo>
                        <a:pt x="362762" y="85090"/>
                      </a:lnTo>
                      <a:lnTo>
                        <a:pt x="359905" y="86360"/>
                      </a:lnTo>
                      <a:lnTo>
                        <a:pt x="363385" y="88900"/>
                      </a:lnTo>
                      <a:lnTo>
                        <a:pt x="370027" y="86360"/>
                      </a:lnTo>
                      <a:lnTo>
                        <a:pt x="382917" y="86360"/>
                      </a:lnTo>
                      <a:lnTo>
                        <a:pt x="387019" y="87630"/>
                      </a:lnTo>
                      <a:lnTo>
                        <a:pt x="384683" y="88900"/>
                      </a:lnTo>
                      <a:lnTo>
                        <a:pt x="381495" y="87630"/>
                      </a:lnTo>
                      <a:lnTo>
                        <a:pt x="376453" y="88900"/>
                      </a:lnTo>
                      <a:lnTo>
                        <a:pt x="363385" y="88900"/>
                      </a:lnTo>
                      <a:lnTo>
                        <a:pt x="355434" y="88900"/>
                      </a:lnTo>
                      <a:lnTo>
                        <a:pt x="354241" y="90170"/>
                      </a:lnTo>
                      <a:lnTo>
                        <a:pt x="350520" y="91440"/>
                      </a:lnTo>
                      <a:lnTo>
                        <a:pt x="348018" y="91440"/>
                      </a:lnTo>
                      <a:lnTo>
                        <a:pt x="341757" y="92710"/>
                      </a:lnTo>
                      <a:lnTo>
                        <a:pt x="337426" y="92710"/>
                      </a:lnTo>
                      <a:lnTo>
                        <a:pt x="328688" y="93980"/>
                      </a:lnTo>
                      <a:lnTo>
                        <a:pt x="324548" y="95250"/>
                      </a:lnTo>
                      <a:lnTo>
                        <a:pt x="314185" y="95250"/>
                      </a:lnTo>
                      <a:lnTo>
                        <a:pt x="313143" y="96520"/>
                      </a:lnTo>
                      <a:lnTo>
                        <a:pt x="316001" y="97790"/>
                      </a:lnTo>
                      <a:lnTo>
                        <a:pt x="320522" y="102870"/>
                      </a:lnTo>
                      <a:lnTo>
                        <a:pt x="326288" y="105410"/>
                      </a:lnTo>
                      <a:lnTo>
                        <a:pt x="333324" y="107950"/>
                      </a:lnTo>
                      <a:lnTo>
                        <a:pt x="335889" y="107950"/>
                      </a:lnTo>
                      <a:lnTo>
                        <a:pt x="338124" y="109220"/>
                      </a:lnTo>
                      <a:lnTo>
                        <a:pt x="336105" y="110490"/>
                      </a:lnTo>
                      <a:lnTo>
                        <a:pt x="334657" y="109220"/>
                      </a:lnTo>
                      <a:lnTo>
                        <a:pt x="337134" y="114300"/>
                      </a:lnTo>
                      <a:lnTo>
                        <a:pt x="337210" y="115570"/>
                      </a:lnTo>
                      <a:lnTo>
                        <a:pt x="343738" y="116840"/>
                      </a:lnTo>
                      <a:lnTo>
                        <a:pt x="347395" y="118110"/>
                      </a:lnTo>
                      <a:lnTo>
                        <a:pt x="349973" y="118110"/>
                      </a:lnTo>
                      <a:lnTo>
                        <a:pt x="355587" y="116840"/>
                      </a:lnTo>
                      <a:lnTo>
                        <a:pt x="361988" y="116840"/>
                      </a:lnTo>
                      <a:lnTo>
                        <a:pt x="359549" y="118110"/>
                      </a:lnTo>
                      <a:lnTo>
                        <a:pt x="355904" y="118110"/>
                      </a:lnTo>
                      <a:lnTo>
                        <a:pt x="351561" y="119380"/>
                      </a:lnTo>
                      <a:lnTo>
                        <a:pt x="350520" y="119380"/>
                      </a:lnTo>
                      <a:lnTo>
                        <a:pt x="348005" y="120650"/>
                      </a:lnTo>
                      <a:lnTo>
                        <a:pt x="347281" y="120650"/>
                      </a:lnTo>
                      <a:lnTo>
                        <a:pt x="343712" y="119380"/>
                      </a:lnTo>
                      <a:lnTo>
                        <a:pt x="341515" y="119380"/>
                      </a:lnTo>
                      <a:lnTo>
                        <a:pt x="337108" y="118110"/>
                      </a:lnTo>
                      <a:lnTo>
                        <a:pt x="336575" y="119278"/>
                      </a:lnTo>
                      <a:lnTo>
                        <a:pt x="335343" y="121920"/>
                      </a:lnTo>
                      <a:lnTo>
                        <a:pt x="333286" y="119380"/>
                      </a:lnTo>
                      <a:lnTo>
                        <a:pt x="336524" y="119380"/>
                      </a:lnTo>
                      <a:lnTo>
                        <a:pt x="336524" y="119227"/>
                      </a:lnTo>
                      <a:lnTo>
                        <a:pt x="335470" y="118110"/>
                      </a:lnTo>
                      <a:lnTo>
                        <a:pt x="334264" y="116840"/>
                      </a:lnTo>
                      <a:lnTo>
                        <a:pt x="330161" y="115570"/>
                      </a:lnTo>
                      <a:lnTo>
                        <a:pt x="330441" y="114300"/>
                      </a:lnTo>
                      <a:lnTo>
                        <a:pt x="327748" y="110490"/>
                      </a:lnTo>
                      <a:lnTo>
                        <a:pt x="325094" y="109220"/>
                      </a:lnTo>
                      <a:lnTo>
                        <a:pt x="317614" y="105410"/>
                      </a:lnTo>
                      <a:lnTo>
                        <a:pt x="312127" y="104140"/>
                      </a:lnTo>
                      <a:lnTo>
                        <a:pt x="305587" y="99060"/>
                      </a:lnTo>
                      <a:lnTo>
                        <a:pt x="303949" y="97790"/>
                      </a:lnTo>
                      <a:lnTo>
                        <a:pt x="287159" y="97790"/>
                      </a:lnTo>
                      <a:lnTo>
                        <a:pt x="287159" y="99060"/>
                      </a:lnTo>
                      <a:lnTo>
                        <a:pt x="287058" y="97790"/>
                      </a:lnTo>
                      <a:lnTo>
                        <a:pt x="283019" y="97790"/>
                      </a:lnTo>
                      <a:lnTo>
                        <a:pt x="283019" y="109220"/>
                      </a:lnTo>
                      <a:lnTo>
                        <a:pt x="281673" y="110490"/>
                      </a:lnTo>
                      <a:lnTo>
                        <a:pt x="279844" y="109220"/>
                      </a:lnTo>
                      <a:lnTo>
                        <a:pt x="276567" y="107950"/>
                      </a:lnTo>
                      <a:lnTo>
                        <a:pt x="279247" y="107950"/>
                      </a:lnTo>
                      <a:lnTo>
                        <a:pt x="280555" y="109220"/>
                      </a:lnTo>
                      <a:lnTo>
                        <a:pt x="283019" y="109220"/>
                      </a:lnTo>
                      <a:lnTo>
                        <a:pt x="283019" y="97790"/>
                      </a:lnTo>
                      <a:lnTo>
                        <a:pt x="279882" y="97790"/>
                      </a:lnTo>
                      <a:lnTo>
                        <a:pt x="273418" y="95250"/>
                      </a:lnTo>
                      <a:lnTo>
                        <a:pt x="266141" y="95250"/>
                      </a:lnTo>
                      <a:lnTo>
                        <a:pt x="264185" y="101600"/>
                      </a:lnTo>
                      <a:lnTo>
                        <a:pt x="262509" y="102870"/>
                      </a:lnTo>
                      <a:lnTo>
                        <a:pt x="267665" y="106680"/>
                      </a:lnTo>
                      <a:lnTo>
                        <a:pt x="274091" y="106680"/>
                      </a:lnTo>
                      <a:lnTo>
                        <a:pt x="275818" y="107950"/>
                      </a:lnTo>
                      <a:lnTo>
                        <a:pt x="269100" y="107950"/>
                      </a:lnTo>
                      <a:lnTo>
                        <a:pt x="265709" y="109220"/>
                      </a:lnTo>
                      <a:lnTo>
                        <a:pt x="266331" y="110490"/>
                      </a:lnTo>
                      <a:lnTo>
                        <a:pt x="266230" y="113030"/>
                      </a:lnTo>
                      <a:lnTo>
                        <a:pt x="265353" y="113030"/>
                      </a:lnTo>
                      <a:lnTo>
                        <a:pt x="267373" y="115570"/>
                      </a:lnTo>
                      <a:lnTo>
                        <a:pt x="272199" y="115570"/>
                      </a:lnTo>
                      <a:lnTo>
                        <a:pt x="273862" y="116840"/>
                      </a:lnTo>
                      <a:lnTo>
                        <a:pt x="278904" y="115570"/>
                      </a:lnTo>
                      <a:lnTo>
                        <a:pt x="282321" y="116840"/>
                      </a:lnTo>
                      <a:lnTo>
                        <a:pt x="286067" y="119380"/>
                      </a:lnTo>
                      <a:lnTo>
                        <a:pt x="287159" y="119380"/>
                      </a:lnTo>
                      <a:lnTo>
                        <a:pt x="287197" y="118110"/>
                      </a:lnTo>
                      <a:lnTo>
                        <a:pt x="287286" y="119380"/>
                      </a:lnTo>
                      <a:lnTo>
                        <a:pt x="287540" y="120650"/>
                      </a:lnTo>
                      <a:lnTo>
                        <a:pt x="288353" y="121920"/>
                      </a:lnTo>
                      <a:lnTo>
                        <a:pt x="289928" y="124460"/>
                      </a:lnTo>
                      <a:lnTo>
                        <a:pt x="292036" y="124460"/>
                      </a:lnTo>
                      <a:lnTo>
                        <a:pt x="295605" y="127000"/>
                      </a:lnTo>
                      <a:lnTo>
                        <a:pt x="296367" y="130810"/>
                      </a:lnTo>
                      <a:lnTo>
                        <a:pt x="298056" y="133350"/>
                      </a:lnTo>
                      <a:lnTo>
                        <a:pt x="299567" y="133350"/>
                      </a:lnTo>
                      <a:lnTo>
                        <a:pt x="301256" y="132080"/>
                      </a:lnTo>
                      <a:lnTo>
                        <a:pt x="302298" y="132080"/>
                      </a:lnTo>
                      <a:lnTo>
                        <a:pt x="301142" y="133350"/>
                      </a:lnTo>
                      <a:lnTo>
                        <a:pt x="302806" y="134620"/>
                      </a:lnTo>
                      <a:lnTo>
                        <a:pt x="304025" y="135890"/>
                      </a:lnTo>
                      <a:lnTo>
                        <a:pt x="306057" y="135890"/>
                      </a:lnTo>
                      <a:lnTo>
                        <a:pt x="306781" y="137160"/>
                      </a:lnTo>
                      <a:lnTo>
                        <a:pt x="310375" y="137160"/>
                      </a:lnTo>
                      <a:lnTo>
                        <a:pt x="308864" y="139700"/>
                      </a:lnTo>
                      <a:lnTo>
                        <a:pt x="302361" y="138430"/>
                      </a:lnTo>
                      <a:lnTo>
                        <a:pt x="298627" y="134620"/>
                      </a:lnTo>
                      <a:lnTo>
                        <a:pt x="294957" y="133350"/>
                      </a:lnTo>
                      <a:lnTo>
                        <a:pt x="292138" y="135890"/>
                      </a:lnTo>
                      <a:lnTo>
                        <a:pt x="290537" y="135890"/>
                      </a:lnTo>
                      <a:lnTo>
                        <a:pt x="290283" y="137160"/>
                      </a:lnTo>
                      <a:lnTo>
                        <a:pt x="292455" y="138430"/>
                      </a:lnTo>
                      <a:lnTo>
                        <a:pt x="294728" y="138430"/>
                      </a:lnTo>
                      <a:lnTo>
                        <a:pt x="295922" y="139700"/>
                      </a:lnTo>
                      <a:lnTo>
                        <a:pt x="298894" y="140970"/>
                      </a:lnTo>
                      <a:lnTo>
                        <a:pt x="300812" y="139700"/>
                      </a:lnTo>
                      <a:lnTo>
                        <a:pt x="304063" y="139700"/>
                      </a:lnTo>
                      <a:lnTo>
                        <a:pt x="305574" y="140970"/>
                      </a:lnTo>
                      <a:lnTo>
                        <a:pt x="314413" y="140970"/>
                      </a:lnTo>
                      <a:lnTo>
                        <a:pt x="321513" y="142240"/>
                      </a:lnTo>
                      <a:lnTo>
                        <a:pt x="324472" y="143510"/>
                      </a:lnTo>
                      <a:lnTo>
                        <a:pt x="329641" y="140970"/>
                      </a:lnTo>
                      <a:lnTo>
                        <a:pt x="330339" y="139700"/>
                      </a:lnTo>
                      <a:lnTo>
                        <a:pt x="332879" y="138430"/>
                      </a:lnTo>
                      <a:lnTo>
                        <a:pt x="335089" y="137160"/>
                      </a:lnTo>
                      <a:lnTo>
                        <a:pt x="337172" y="137160"/>
                      </a:lnTo>
                      <a:lnTo>
                        <a:pt x="334962" y="139700"/>
                      </a:lnTo>
                      <a:lnTo>
                        <a:pt x="334632" y="139700"/>
                      </a:lnTo>
                      <a:lnTo>
                        <a:pt x="333387" y="142240"/>
                      </a:lnTo>
                      <a:lnTo>
                        <a:pt x="334403" y="142240"/>
                      </a:lnTo>
                      <a:lnTo>
                        <a:pt x="332562" y="143510"/>
                      </a:lnTo>
                      <a:lnTo>
                        <a:pt x="327609" y="143510"/>
                      </a:lnTo>
                      <a:lnTo>
                        <a:pt x="326885" y="143852"/>
                      </a:lnTo>
                      <a:lnTo>
                        <a:pt x="326885" y="147320"/>
                      </a:lnTo>
                      <a:lnTo>
                        <a:pt x="323126" y="147320"/>
                      </a:lnTo>
                      <a:lnTo>
                        <a:pt x="324383" y="146050"/>
                      </a:lnTo>
                      <a:lnTo>
                        <a:pt x="326885" y="147320"/>
                      </a:lnTo>
                      <a:lnTo>
                        <a:pt x="326885" y="143852"/>
                      </a:lnTo>
                      <a:lnTo>
                        <a:pt x="324866" y="144780"/>
                      </a:lnTo>
                      <a:lnTo>
                        <a:pt x="319087" y="143510"/>
                      </a:lnTo>
                      <a:lnTo>
                        <a:pt x="316268" y="143510"/>
                      </a:lnTo>
                      <a:lnTo>
                        <a:pt x="311238" y="144780"/>
                      </a:lnTo>
                      <a:lnTo>
                        <a:pt x="314947" y="146050"/>
                      </a:lnTo>
                      <a:lnTo>
                        <a:pt x="316928" y="146050"/>
                      </a:lnTo>
                      <a:lnTo>
                        <a:pt x="318122" y="147320"/>
                      </a:lnTo>
                      <a:lnTo>
                        <a:pt x="321614" y="148501"/>
                      </a:lnTo>
                      <a:lnTo>
                        <a:pt x="324954" y="151130"/>
                      </a:lnTo>
                      <a:lnTo>
                        <a:pt x="327812" y="152400"/>
                      </a:lnTo>
                      <a:lnTo>
                        <a:pt x="323748" y="152400"/>
                      </a:lnTo>
                      <a:lnTo>
                        <a:pt x="321411" y="151130"/>
                      </a:lnTo>
                      <a:lnTo>
                        <a:pt x="320662" y="149860"/>
                      </a:lnTo>
                      <a:lnTo>
                        <a:pt x="318046" y="148590"/>
                      </a:lnTo>
                      <a:lnTo>
                        <a:pt x="316725" y="148590"/>
                      </a:lnTo>
                      <a:lnTo>
                        <a:pt x="313702" y="147320"/>
                      </a:lnTo>
                      <a:lnTo>
                        <a:pt x="312432" y="147320"/>
                      </a:lnTo>
                      <a:lnTo>
                        <a:pt x="309600" y="146050"/>
                      </a:lnTo>
                      <a:lnTo>
                        <a:pt x="308190" y="146050"/>
                      </a:lnTo>
                      <a:lnTo>
                        <a:pt x="305333" y="143510"/>
                      </a:lnTo>
                      <a:lnTo>
                        <a:pt x="292938" y="143510"/>
                      </a:lnTo>
                      <a:lnTo>
                        <a:pt x="292938" y="158750"/>
                      </a:lnTo>
                      <a:lnTo>
                        <a:pt x="292290" y="160020"/>
                      </a:lnTo>
                      <a:lnTo>
                        <a:pt x="291858" y="160020"/>
                      </a:lnTo>
                      <a:lnTo>
                        <a:pt x="292938" y="158750"/>
                      </a:lnTo>
                      <a:lnTo>
                        <a:pt x="292938" y="143510"/>
                      </a:lnTo>
                      <a:lnTo>
                        <a:pt x="291960" y="143510"/>
                      </a:lnTo>
                      <a:lnTo>
                        <a:pt x="287159" y="142240"/>
                      </a:lnTo>
                      <a:lnTo>
                        <a:pt x="284289" y="140970"/>
                      </a:lnTo>
                      <a:lnTo>
                        <a:pt x="280936" y="143510"/>
                      </a:lnTo>
                      <a:lnTo>
                        <a:pt x="274180" y="144780"/>
                      </a:lnTo>
                      <a:lnTo>
                        <a:pt x="270167" y="144780"/>
                      </a:lnTo>
                      <a:lnTo>
                        <a:pt x="263398" y="146050"/>
                      </a:lnTo>
                      <a:lnTo>
                        <a:pt x="259854" y="147320"/>
                      </a:lnTo>
                      <a:lnTo>
                        <a:pt x="257543" y="153670"/>
                      </a:lnTo>
                      <a:lnTo>
                        <a:pt x="253479" y="153670"/>
                      </a:lnTo>
                      <a:lnTo>
                        <a:pt x="251612" y="156210"/>
                      </a:lnTo>
                      <a:lnTo>
                        <a:pt x="250812" y="157480"/>
                      </a:lnTo>
                      <a:lnTo>
                        <a:pt x="250939" y="161290"/>
                      </a:lnTo>
                      <a:lnTo>
                        <a:pt x="251599" y="162560"/>
                      </a:lnTo>
                      <a:lnTo>
                        <a:pt x="250977" y="162560"/>
                      </a:lnTo>
                      <a:lnTo>
                        <a:pt x="255333" y="163830"/>
                      </a:lnTo>
                      <a:lnTo>
                        <a:pt x="256667" y="163830"/>
                      </a:lnTo>
                      <a:lnTo>
                        <a:pt x="254863" y="165100"/>
                      </a:lnTo>
                      <a:lnTo>
                        <a:pt x="252196" y="163830"/>
                      </a:lnTo>
                      <a:lnTo>
                        <a:pt x="250863" y="166370"/>
                      </a:lnTo>
                      <a:lnTo>
                        <a:pt x="254393" y="167640"/>
                      </a:lnTo>
                      <a:lnTo>
                        <a:pt x="257670" y="166370"/>
                      </a:lnTo>
                      <a:lnTo>
                        <a:pt x="263093" y="166370"/>
                      </a:lnTo>
                      <a:lnTo>
                        <a:pt x="264134" y="165100"/>
                      </a:lnTo>
                      <a:lnTo>
                        <a:pt x="265176" y="163830"/>
                      </a:lnTo>
                      <a:lnTo>
                        <a:pt x="268592" y="165100"/>
                      </a:lnTo>
                      <a:lnTo>
                        <a:pt x="269887" y="163830"/>
                      </a:lnTo>
                      <a:lnTo>
                        <a:pt x="272008" y="162560"/>
                      </a:lnTo>
                      <a:lnTo>
                        <a:pt x="272389" y="161290"/>
                      </a:lnTo>
                      <a:lnTo>
                        <a:pt x="273608" y="160020"/>
                      </a:lnTo>
                      <a:lnTo>
                        <a:pt x="274281" y="160020"/>
                      </a:lnTo>
                      <a:lnTo>
                        <a:pt x="274675" y="158750"/>
                      </a:lnTo>
                      <a:lnTo>
                        <a:pt x="275043" y="160020"/>
                      </a:lnTo>
                      <a:lnTo>
                        <a:pt x="274320" y="162560"/>
                      </a:lnTo>
                      <a:lnTo>
                        <a:pt x="272313" y="163830"/>
                      </a:lnTo>
                      <a:lnTo>
                        <a:pt x="271983" y="163830"/>
                      </a:lnTo>
                      <a:lnTo>
                        <a:pt x="270548" y="165100"/>
                      </a:lnTo>
                      <a:lnTo>
                        <a:pt x="269836" y="165100"/>
                      </a:lnTo>
                      <a:lnTo>
                        <a:pt x="265925" y="168910"/>
                      </a:lnTo>
                      <a:lnTo>
                        <a:pt x="275831" y="167640"/>
                      </a:lnTo>
                      <a:lnTo>
                        <a:pt x="279374" y="166370"/>
                      </a:lnTo>
                      <a:lnTo>
                        <a:pt x="280339" y="166370"/>
                      </a:lnTo>
                      <a:lnTo>
                        <a:pt x="283083" y="165100"/>
                      </a:lnTo>
                      <a:lnTo>
                        <a:pt x="283921" y="163830"/>
                      </a:lnTo>
                      <a:lnTo>
                        <a:pt x="286067" y="161290"/>
                      </a:lnTo>
                      <a:lnTo>
                        <a:pt x="287159" y="161290"/>
                      </a:lnTo>
                      <a:lnTo>
                        <a:pt x="287159" y="160020"/>
                      </a:lnTo>
                      <a:lnTo>
                        <a:pt x="287794" y="160020"/>
                      </a:lnTo>
                      <a:lnTo>
                        <a:pt x="287528" y="158750"/>
                      </a:lnTo>
                      <a:lnTo>
                        <a:pt x="288023" y="157480"/>
                      </a:lnTo>
                      <a:lnTo>
                        <a:pt x="288315" y="157480"/>
                      </a:lnTo>
                      <a:lnTo>
                        <a:pt x="289852" y="154940"/>
                      </a:lnTo>
                      <a:lnTo>
                        <a:pt x="290347" y="152400"/>
                      </a:lnTo>
                      <a:lnTo>
                        <a:pt x="292150" y="152400"/>
                      </a:lnTo>
                      <a:lnTo>
                        <a:pt x="291134" y="153670"/>
                      </a:lnTo>
                      <a:lnTo>
                        <a:pt x="290220" y="154940"/>
                      </a:lnTo>
                      <a:lnTo>
                        <a:pt x="290017" y="156210"/>
                      </a:lnTo>
                      <a:lnTo>
                        <a:pt x="289598" y="157480"/>
                      </a:lnTo>
                      <a:lnTo>
                        <a:pt x="289115" y="158750"/>
                      </a:lnTo>
                      <a:lnTo>
                        <a:pt x="290766" y="160020"/>
                      </a:lnTo>
                      <a:lnTo>
                        <a:pt x="290385" y="160020"/>
                      </a:lnTo>
                      <a:lnTo>
                        <a:pt x="288810" y="161290"/>
                      </a:lnTo>
                      <a:lnTo>
                        <a:pt x="287820" y="162560"/>
                      </a:lnTo>
                      <a:lnTo>
                        <a:pt x="287591" y="163830"/>
                      </a:lnTo>
                      <a:lnTo>
                        <a:pt x="289991" y="163830"/>
                      </a:lnTo>
                      <a:lnTo>
                        <a:pt x="292684" y="162560"/>
                      </a:lnTo>
                      <a:lnTo>
                        <a:pt x="297218" y="163830"/>
                      </a:lnTo>
                      <a:lnTo>
                        <a:pt x="298665" y="165100"/>
                      </a:lnTo>
                      <a:lnTo>
                        <a:pt x="300685" y="165100"/>
                      </a:lnTo>
                      <a:lnTo>
                        <a:pt x="298094" y="166370"/>
                      </a:lnTo>
                      <a:lnTo>
                        <a:pt x="297091" y="164731"/>
                      </a:lnTo>
                      <a:lnTo>
                        <a:pt x="297091" y="167640"/>
                      </a:lnTo>
                      <a:lnTo>
                        <a:pt x="296583" y="168008"/>
                      </a:lnTo>
                      <a:lnTo>
                        <a:pt x="296583" y="173990"/>
                      </a:lnTo>
                      <a:lnTo>
                        <a:pt x="295656" y="173990"/>
                      </a:lnTo>
                      <a:lnTo>
                        <a:pt x="295656" y="179070"/>
                      </a:lnTo>
                      <a:lnTo>
                        <a:pt x="295021" y="179666"/>
                      </a:lnTo>
                      <a:lnTo>
                        <a:pt x="294500" y="177800"/>
                      </a:lnTo>
                      <a:lnTo>
                        <a:pt x="295656" y="179070"/>
                      </a:lnTo>
                      <a:lnTo>
                        <a:pt x="295656" y="173990"/>
                      </a:lnTo>
                      <a:lnTo>
                        <a:pt x="294906" y="173990"/>
                      </a:lnTo>
                      <a:lnTo>
                        <a:pt x="292849" y="172720"/>
                      </a:lnTo>
                      <a:lnTo>
                        <a:pt x="290550" y="173990"/>
                      </a:lnTo>
                      <a:lnTo>
                        <a:pt x="289814" y="175260"/>
                      </a:lnTo>
                      <a:lnTo>
                        <a:pt x="288124" y="175260"/>
                      </a:lnTo>
                      <a:lnTo>
                        <a:pt x="288150" y="173990"/>
                      </a:lnTo>
                      <a:lnTo>
                        <a:pt x="287401" y="173990"/>
                      </a:lnTo>
                      <a:lnTo>
                        <a:pt x="287070" y="173253"/>
                      </a:lnTo>
                      <a:lnTo>
                        <a:pt x="285559" y="173723"/>
                      </a:lnTo>
                      <a:lnTo>
                        <a:pt x="283210" y="172580"/>
                      </a:lnTo>
                      <a:lnTo>
                        <a:pt x="283756" y="172453"/>
                      </a:lnTo>
                      <a:lnTo>
                        <a:pt x="287159" y="172745"/>
                      </a:lnTo>
                      <a:lnTo>
                        <a:pt x="288874" y="173990"/>
                      </a:lnTo>
                      <a:lnTo>
                        <a:pt x="290576" y="172720"/>
                      </a:lnTo>
                      <a:lnTo>
                        <a:pt x="292849" y="172720"/>
                      </a:lnTo>
                      <a:lnTo>
                        <a:pt x="295198" y="172720"/>
                      </a:lnTo>
                      <a:lnTo>
                        <a:pt x="296583" y="173990"/>
                      </a:lnTo>
                      <a:lnTo>
                        <a:pt x="296583" y="168008"/>
                      </a:lnTo>
                      <a:lnTo>
                        <a:pt x="295325" y="168910"/>
                      </a:lnTo>
                      <a:lnTo>
                        <a:pt x="293662" y="167754"/>
                      </a:lnTo>
                      <a:lnTo>
                        <a:pt x="293903" y="167640"/>
                      </a:lnTo>
                      <a:lnTo>
                        <a:pt x="297091" y="167640"/>
                      </a:lnTo>
                      <a:lnTo>
                        <a:pt x="297091" y="164731"/>
                      </a:lnTo>
                      <a:lnTo>
                        <a:pt x="296545" y="163830"/>
                      </a:lnTo>
                      <a:lnTo>
                        <a:pt x="291579" y="163830"/>
                      </a:lnTo>
                      <a:lnTo>
                        <a:pt x="289572" y="165100"/>
                      </a:lnTo>
                      <a:lnTo>
                        <a:pt x="287147" y="165100"/>
                      </a:lnTo>
                      <a:lnTo>
                        <a:pt x="287134" y="164566"/>
                      </a:lnTo>
                      <a:lnTo>
                        <a:pt x="287096" y="164249"/>
                      </a:lnTo>
                      <a:lnTo>
                        <a:pt x="286727" y="165100"/>
                      </a:lnTo>
                      <a:lnTo>
                        <a:pt x="285775" y="166624"/>
                      </a:lnTo>
                      <a:lnTo>
                        <a:pt x="287159" y="167043"/>
                      </a:lnTo>
                      <a:lnTo>
                        <a:pt x="287159" y="166674"/>
                      </a:lnTo>
                      <a:lnTo>
                        <a:pt x="287172" y="166255"/>
                      </a:lnTo>
                      <a:lnTo>
                        <a:pt x="287223" y="167640"/>
                      </a:lnTo>
                      <a:lnTo>
                        <a:pt x="287566" y="167640"/>
                      </a:lnTo>
                      <a:lnTo>
                        <a:pt x="290283" y="168910"/>
                      </a:lnTo>
                      <a:lnTo>
                        <a:pt x="291236" y="168910"/>
                      </a:lnTo>
                      <a:lnTo>
                        <a:pt x="292938" y="168109"/>
                      </a:lnTo>
                      <a:lnTo>
                        <a:pt x="290398" y="170180"/>
                      </a:lnTo>
                      <a:lnTo>
                        <a:pt x="288569" y="168910"/>
                      </a:lnTo>
                      <a:lnTo>
                        <a:pt x="287159" y="168910"/>
                      </a:lnTo>
                      <a:lnTo>
                        <a:pt x="287147" y="167982"/>
                      </a:lnTo>
                      <a:lnTo>
                        <a:pt x="285140" y="167462"/>
                      </a:lnTo>
                      <a:lnTo>
                        <a:pt x="278803" y="170091"/>
                      </a:lnTo>
                      <a:lnTo>
                        <a:pt x="277444" y="171653"/>
                      </a:lnTo>
                      <a:lnTo>
                        <a:pt x="280746" y="173113"/>
                      </a:lnTo>
                      <a:lnTo>
                        <a:pt x="283006" y="172618"/>
                      </a:lnTo>
                      <a:lnTo>
                        <a:pt x="281940" y="174218"/>
                      </a:lnTo>
                      <a:lnTo>
                        <a:pt x="280619" y="176199"/>
                      </a:lnTo>
                      <a:lnTo>
                        <a:pt x="286677" y="175907"/>
                      </a:lnTo>
                      <a:lnTo>
                        <a:pt x="286499" y="176530"/>
                      </a:lnTo>
                      <a:lnTo>
                        <a:pt x="284365" y="176530"/>
                      </a:lnTo>
                      <a:lnTo>
                        <a:pt x="284607" y="177800"/>
                      </a:lnTo>
                      <a:lnTo>
                        <a:pt x="279895" y="179070"/>
                      </a:lnTo>
                      <a:lnTo>
                        <a:pt x="286499" y="181610"/>
                      </a:lnTo>
                      <a:lnTo>
                        <a:pt x="287159" y="181610"/>
                      </a:lnTo>
                      <a:lnTo>
                        <a:pt x="287159" y="182880"/>
                      </a:lnTo>
                      <a:lnTo>
                        <a:pt x="288886" y="181610"/>
                      </a:lnTo>
                      <a:lnTo>
                        <a:pt x="291477" y="181610"/>
                      </a:lnTo>
                      <a:lnTo>
                        <a:pt x="293776" y="180835"/>
                      </a:lnTo>
                      <a:lnTo>
                        <a:pt x="292938" y="181610"/>
                      </a:lnTo>
                      <a:lnTo>
                        <a:pt x="290487" y="182880"/>
                      </a:lnTo>
                      <a:lnTo>
                        <a:pt x="287401" y="184150"/>
                      </a:lnTo>
                      <a:lnTo>
                        <a:pt x="293027" y="185420"/>
                      </a:lnTo>
                      <a:lnTo>
                        <a:pt x="294970" y="184150"/>
                      </a:lnTo>
                      <a:lnTo>
                        <a:pt x="298843" y="185420"/>
                      </a:lnTo>
                      <a:lnTo>
                        <a:pt x="307835" y="185420"/>
                      </a:lnTo>
                      <a:lnTo>
                        <a:pt x="308737" y="184150"/>
                      </a:lnTo>
                      <a:lnTo>
                        <a:pt x="311454" y="180340"/>
                      </a:lnTo>
                      <a:lnTo>
                        <a:pt x="313550" y="177800"/>
                      </a:lnTo>
                      <a:lnTo>
                        <a:pt x="315658" y="175260"/>
                      </a:lnTo>
                      <a:lnTo>
                        <a:pt x="316496" y="173990"/>
                      </a:lnTo>
                      <a:lnTo>
                        <a:pt x="318566" y="172720"/>
                      </a:lnTo>
                      <a:lnTo>
                        <a:pt x="320281" y="172720"/>
                      </a:lnTo>
                      <a:lnTo>
                        <a:pt x="318033" y="170180"/>
                      </a:lnTo>
                      <a:lnTo>
                        <a:pt x="316903" y="168910"/>
                      </a:lnTo>
                      <a:lnTo>
                        <a:pt x="325120" y="167640"/>
                      </a:lnTo>
                      <a:lnTo>
                        <a:pt x="324345" y="168910"/>
                      </a:lnTo>
                      <a:lnTo>
                        <a:pt x="322922" y="168910"/>
                      </a:lnTo>
                      <a:lnTo>
                        <a:pt x="320852" y="170180"/>
                      </a:lnTo>
                      <a:lnTo>
                        <a:pt x="320713" y="172758"/>
                      </a:lnTo>
                      <a:lnTo>
                        <a:pt x="319062" y="176530"/>
                      </a:lnTo>
                      <a:lnTo>
                        <a:pt x="314363" y="181610"/>
                      </a:lnTo>
                      <a:lnTo>
                        <a:pt x="312140" y="184150"/>
                      </a:lnTo>
                      <a:lnTo>
                        <a:pt x="308381" y="186690"/>
                      </a:lnTo>
                      <a:lnTo>
                        <a:pt x="302082" y="186690"/>
                      </a:lnTo>
                      <a:lnTo>
                        <a:pt x="308927" y="189230"/>
                      </a:lnTo>
                      <a:lnTo>
                        <a:pt x="309524" y="190500"/>
                      </a:lnTo>
                      <a:lnTo>
                        <a:pt x="300799" y="189230"/>
                      </a:lnTo>
                      <a:lnTo>
                        <a:pt x="294919" y="189230"/>
                      </a:lnTo>
                      <a:lnTo>
                        <a:pt x="293941" y="187960"/>
                      </a:lnTo>
                      <a:lnTo>
                        <a:pt x="291350" y="190500"/>
                      </a:lnTo>
                      <a:lnTo>
                        <a:pt x="292011" y="191770"/>
                      </a:lnTo>
                      <a:lnTo>
                        <a:pt x="288886" y="190500"/>
                      </a:lnTo>
                      <a:lnTo>
                        <a:pt x="288226" y="189230"/>
                      </a:lnTo>
                      <a:lnTo>
                        <a:pt x="287159" y="189230"/>
                      </a:lnTo>
                      <a:lnTo>
                        <a:pt x="287159" y="190500"/>
                      </a:lnTo>
                      <a:lnTo>
                        <a:pt x="287108" y="189230"/>
                      </a:lnTo>
                      <a:lnTo>
                        <a:pt x="280073" y="189230"/>
                      </a:lnTo>
                      <a:lnTo>
                        <a:pt x="279755" y="187960"/>
                      </a:lnTo>
                      <a:lnTo>
                        <a:pt x="279438" y="186690"/>
                      </a:lnTo>
                      <a:lnTo>
                        <a:pt x="278193" y="186690"/>
                      </a:lnTo>
                      <a:lnTo>
                        <a:pt x="276542" y="187960"/>
                      </a:lnTo>
                      <a:lnTo>
                        <a:pt x="275691" y="186690"/>
                      </a:lnTo>
                      <a:lnTo>
                        <a:pt x="275717" y="185420"/>
                      </a:lnTo>
                      <a:lnTo>
                        <a:pt x="275310" y="184150"/>
                      </a:lnTo>
                      <a:lnTo>
                        <a:pt x="274993" y="182880"/>
                      </a:lnTo>
                      <a:lnTo>
                        <a:pt x="273621" y="180340"/>
                      </a:lnTo>
                      <a:lnTo>
                        <a:pt x="271983" y="177800"/>
                      </a:lnTo>
                      <a:lnTo>
                        <a:pt x="267525" y="175260"/>
                      </a:lnTo>
                      <a:lnTo>
                        <a:pt x="246862" y="175260"/>
                      </a:lnTo>
                      <a:lnTo>
                        <a:pt x="243446" y="175260"/>
                      </a:lnTo>
                      <a:lnTo>
                        <a:pt x="241287" y="175260"/>
                      </a:lnTo>
                      <a:lnTo>
                        <a:pt x="241388" y="176530"/>
                      </a:lnTo>
                      <a:lnTo>
                        <a:pt x="241007" y="177800"/>
                      </a:lnTo>
                      <a:lnTo>
                        <a:pt x="241452" y="180340"/>
                      </a:lnTo>
                      <a:lnTo>
                        <a:pt x="240944" y="180340"/>
                      </a:lnTo>
                      <a:lnTo>
                        <a:pt x="241274" y="181610"/>
                      </a:lnTo>
                      <a:lnTo>
                        <a:pt x="242252" y="181610"/>
                      </a:lnTo>
                      <a:lnTo>
                        <a:pt x="243713" y="182880"/>
                      </a:lnTo>
                      <a:lnTo>
                        <a:pt x="244944" y="184150"/>
                      </a:lnTo>
                      <a:lnTo>
                        <a:pt x="247180" y="186690"/>
                      </a:lnTo>
                      <a:lnTo>
                        <a:pt x="247345" y="187960"/>
                      </a:lnTo>
                      <a:lnTo>
                        <a:pt x="248589" y="189230"/>
                      </a:lnTo>
                      <a:lnTo>
                        <a:pt x="248094" y="189230"/>
                      </a:lnTo>
                      <a:lnTo>
                        <a:pt x="248767" y="190500"/>
                      </a:lnTo>
                      <a:lnTo>
                        <a:pt x="249974" y="189230"/>
                      </a:lnTo>
                      <a:lnTo>
                        <a:pt x="252171" y="190500"/>
                      </a:lnTo>
                      <a:lnTo>
                        <a:pt x="255600" y="189230"/>
                      </a:lnTo>
                      <a:lnTo>
                        <a:pt x="260324" y="189230"/>
                      </a:lnTo>
                      <a:lnTo>
                        <a:pt x="259080" y="190500"/>
                      </a:lnTo>
                      <a:lnTo>
                        <a:pt x="255130" y="190500"/>
                      </a:lnTo>
                      <a:lnTo>
                        <a:pt x="255358" y="193040"/>
                      </a:lnTo>
                      <a:lnTo>
                        <a:pt x="256540" y="193040"/>
                      </a:lnTo>
                      <a:lnTo>
                        <a:pt x="255625" y="194310"/>
                      </a:lnTo>
                      <a:lnTo>
                        <a:pt x="255943" y="194373"/>
                      </a:lnTo>
                      <a:lnTo>
                        <a:pt x="258203" y="195580"/>
                      </a:lnTo>
                      <a:lnTo>
                        <a:pt x="258445" y="195580"/>
                      </a:lnTo>
                      <a:lnTo>
                        <a:pt x="259816" y="196850"/>
                      </a:lnTo>
                      <a:lnTo>
                        <a:pt x="258203" y="195580"/>
                      </a:lnTo>
                      <a:lnTo>
                        <a:pt x="256971" y="195580"/>
                      </a:lnTo>
                      <a:lnTo>
                        <a:pt x="253072" y="195580"/>
                      </a:lnTo>
                      <a:lnTo>
                        <a:pt x="251193" y="196850"/>
                      </a:lnTo>
                      <a:lnTo>
                        <a:pt x="252717" y="196850"/>
                      </a:lnTo>
                      <a:lnTo>
                        <a:pt x="251167" y="198120"/>
                      </a:lnTo>
                      <a:lnTo>
                        <a:pt x="249428" y="198120"/>
                      </a:lnTo>
                      <a:lnTo>
                        <a:pt x="245999" y="196850"/>
                      </a:lnTo>
                      <a:lnTo>
                        <a:pt x="237032" y="196850"/>
                      </a:lnTo>
                      <a:lnTo>
                        <a:pt x="236753" y="198120"/>
                      </a:lnTo>
                      <a:lnTo>
                        <a:pt x="234391" y="200660"/>
                      </a:lnTo>
                      <a:lnTo>
                        <a:pt x="232994" y="200660"/>
                      </a:lnTo>
                      <a:lnTo>
                        <a:pt x="229984" y="201930"/>
                      </a:lnTo>
                      <a:lnTo>
                        <a:pt x="229628" y="201930"/>
                      </a:lnTo>
                      <a:lnTo>
                        <a:pt x="226542" y="203200"/>
                      </a:lnTo>
                      <a:lnTo>
                        <a:pt x="224878" y="203200"/>
                      </a:lnTo>
                      <a:lnTo>
                        <a:pt x="221335" y="205740"/>
                      </a:lnTo>
                      <a:lnTo>
                        <a:pt x="223456" y="207010"/>
                      </a:lnTo>
                      <a:lnTo>
                        <a:pt x="223469" y="210820"/>
                      </a:lnTo>
                      <a:lnTo>
                        <a:pt x="223608" y="210820"/>
                      </a:lnTo>
                      <a:lnTo>
                        <a:pt x="221335" y="211988"/>
                      </a:lnTo>
                      <a:lnTo>
                        <a:pt x="221234" y="213360"/>
                      </a:lnTo>
                      <a:lnTo>
                        <a:pt x="220459" y="213360"/>
                      </a:lnTo>
                      <a:lnTo>
                        <a:pt x="222224" y="215900"/>
                      </a:lnTo>
                      <a:lnTo>
                        <a:pt x="226136" y="217170"/>
                      </a:lnTo>
                      <a:lnTo>
                        <a:pt x="232283" y="218440"/>
                      </a:lnTo>
                      <a:lnTo>
                        <a:pt x="232359" y="215900"/>
                      </a:lnTo>
                      <a:lnTo>
                        <a:pt x="233680" y="213360"/>
                      </a:lnTo>
                      <a:lnTo>
                        <a:pt x="234264" y="213360"/>
                      </a:lnTo>
                      <a:lnTo>
                        <a:pt x="234835" y="214630"/>
                      </a:lnTo>
                      <a:lnTo>
                        <a:pt x="235216" y="215900"/>
                      </a:lnTo>
                      <a:lnTo>
                        <a:pt x="234962" y="215900"/>
                      </a:lnTo>
                      <a:lnTo>
                        <a:pt x="234708" y="217170"/>
                      </a:lnTo>
                      <a:lnTo>
                        <a:pt x="233718" y="218440"/>
                      </a:lnTo>
                      <a:lnTo>
                        <a:pt x="236054" y="218440"/>
                      </a:lnTo>
                      <a:lnTo>
                        <a:pt x="237413" y="214630"/>
                      </a:lnTo>
                      <a:lnTo>
                        <a:pt x="236715" y="213360"/>
                      </a:lnTo>
                      <a:lnTo>
                        <a:pt x="235686" y="213360"/>
                      </a:lnTo>
                      <a:lnTo>
                        <a:pt x="234835" y="212090"/>
                      </a:lnTo>
                      <a:lnTo>
                        <a:pt x="237007" y="212090"/>
                      </a:lnTo>
                      <a:lnTo>
                        <a:pt x="234594" y="210820"/>
                      </a:lnTo>
                      <a:lnTo>
                        <a:pt x="234264" y="208280"/>
                      </a:lnTo>
                      <a:lnTo>
                        <a:pt x="235762" y="207010"/>
                      </a:lnTo>
                      <a:lnTo>
                        <a:pt x="237020" y="207010"/>
                      </a:lnTo>
                      <a:lnTo>
                        <a:pt x="236486" y="208280"/>
                      </a:lnTo>
                      <a:lnTo>
                        <a:pt x="236664" y="209550"/>
                      </a:lnTo>
                      <a:lnTo>
                        <a:pt x="237109" y="209550"/>
                      </a:lnTo>
                      <a:lnTo>
                        <a:pt x="237045" y="212090"/>
                      </a:lnTo>
                      <a:lnTo>
                        <a:pt x="237363" y="212090"/>
                      </a:lnTo>
                      <a:lnTo>
                        <a:pt x="237820" y="213360"/>
                      </a:lnTo>
                      <a:lnTo>
                        <a:pt x="240512" y="215900"/>
                      </a:lnTo>
                      <a:lnTo>
                        <a:pt x="238099" y="217170"/>
                      </a:lnTo>
                      <a:lnTo>
                        <a:pt x="239928" y="218440"/>
                      </a:lnTo>
                      <a:lnTo>
                        <a:pt x="236867" y="218440"/>
                      </a:lnTo>
                      <a:lnTo>
                        <a:pt x="241439" y="219710"/>
                      </a:lnTo>
                      <a:lnTo>
                        <a:pt x="246545" y="219710"/>
                      </a:lnTo>
                      <a:lnTo>
                        <a:pt x="248234" y="220980"/>
                      </a:lnTo>
                      <a:lnTo>
                        <a:pt x="249682" y="219710"/>
                      </a:lnTo>
                      <a:lnTo>
                        <a:pt x="251320" y="215900"/>
                      </a:lnTo>
                      <a:lnTo>
                        <a:pt x="251231" y="214630"/>
                      </a:lnTo>
                      <a:lnTo>
                        <a:pt x="250367" y="215900"/>
                      </a:lnTo>
                      <a:lnTo>
                        <a:pt x="249872" y="214630"/>
                      </a:lnTo>
                      <a:lnTo>
                        <a:pt x="250507" y="213360"/>
                      </a:lnTo>
                      <a:lnTo>
                        <a:pt x="250228" y="212090"/>
                      </a:lnTo>
                      <a:lnTo>
                        <a:pt x="251079" y="213360"/>
                      </a:lnTo>
                      <a:lnTo>
                        <a:pt x="252374" y="214630"/>
                      </a:lnTo>
                      <a:lnTo>
                        <a:pt x="252780" y="215900"/>
                      </a:lnTo>
                      <a:lnTo>
                        <a:pt x="252501" y="217170"/>
                      </a:lnTo>
                      <a:lnTo>
                        <a:pt x="257200" y="217170"/>
                      </a:lnTo>
                      <a:lnTo>
                        <a:pt x="256209" y="218440"/>
                      </a:lnTo>
                      <a:lnTo>
                        <a:pt x="256870" y="219710"/>
                      </a:lnTo>
                      <a:lnTo>
                        <a:pt x="257009" y="218440"/>
                      </a:lnTo>
                      <a:lnTo>
                        <a:pt x="258660" y="219710"/>
                      </a:lnTo>
                      <a:lnTo>
                        <a:pt x="259994" y="219710"/>
                      </a:lnTo>
                      <a:lnTo>
                        <a:pt x="263588" y="220980"/>
                      </a:lnTo>
                      <a:lnTo>
                        <a:pt x="262496" y="218440"/>
                      </a:lnTo>
                      <a:lnTo>
                        <a:pt x="264058" y="215900"/>
                      </a:lnTo>
                      <a:lnTo>
                        <a:pt x="265912" y="215900"/>
                      </a:lnTo>
                      <a:lnTo>
                        <a:pt x="268643" y="214630"/>
                      </a:lnTo>
                      <a:lnTo>
                        <a:pt x="268376" y="214630"/>
                      </a:lnTo>
                      <a:lnTo>
                        <a:pt x="264960" y="212090"/>
                      </a:lnTo>
                      <a:lnTo>
                        <a:pt x="266014" y="212090"/>
                      </a:lnTo>
                      <a:lnTo>
                        <a:pt x="268236" y="213360"/>
                      </a:lnTo>
                      <a:lnTo>
                        <a:pt x="269760" y="214630"/>
                      </a:lnTo>
                      <a:lnTo>
                        <a:pt x="269074" y="215900"/>
                      </a:lnTo>
                      <a:lnTo>
                        <a:pt x="267500" y="215900"/>
                      </a:lnTo>
                      <a:lnTo>
                        <a:pt x="266433" y="217170"/>
                      </a:lnTo>
                      <a:lnTo>
                        <a:pt x="267004" y="218440"/>
                      </a:lnTo>
                      <a:lnTo>
                        <a:pt x="271106" y="219710"/>
                      </a:lnTo>
                      <a:lnTo>
                        <a:pt x="274523" y="219710"/>
                      </a:lnTo>
                      <a:lnTo>
                        <a:pt x="280174" y="220980"/>
                      </a:lnTo>
                      <a:lnTo>
                        <a:pt x="282536" y="222250"/>
                      </a:lnTo>
                      <a:lnTo>
                        <a:pt x="286994" y="222250"/>
                      </a:lnTo>
                      <a:lnTo>
                        <a:pt x="287108" y="220980"/>
                      </a:lnTo>
                      <a:lnTo>
                        <a:pt x="287159" y="222250"/>
                      </a:lnTo>
                      <a:lnTo>
                        <a:pt x="291769" y="222250"/>
                      </a:lnTo>
                      <a:lnTo>
                        <a:pt x="293751" y="220980"/>
                      </a:lnTo>
                      <a:lnTo>
                        <a:pt x="293446" y="218440"/>
                      </a:lnTo>
                      <a:lnTo>
                        <a:pt x="288302" y="219710"/>
                      </a:lnTo>
                      <a:lnTo>
                        <a:pt x="287731" y="218440"/>
                      </a:lnTo>
                      <a:lnTo>
                        <a:pt x="287159" y="217170"/>
                      </a:lnTo>
                      <a:lnTo>
                        <a:pt x="287096" y="218440"/>
                      </a:lnTo>
                      <a:lnTo>
                        <a:pt x="286981" y="217170"/>
                      </a:lnTo>
                      <a:lnTo>
                        <a:pt x="286664" y="215900"/>
                      </a:lnTo>
                      <a:lnTo>
                        <a:pt x="286435" y="214630"/>
                      </a:lnTo>
                      <a:lnTo>
                        <a:pt x="286715" y="213360"/>
                      </a:lnTo>
                      <a:lnTo>
                        <a:pt x="287159" y="213360"/>
                      </a:lnTo>
                      <a:lnTo>
                        <a:pt x="287159" y="214630"/>
                      </a:lnTo>
                      <a:lnTo>
                        <a:pt x="288467" y="214630"/>
                      </a:lnTo>
                      <a:lnTo>
                        <a:pt x="290766" y="217170"/>
                      </a:lnTo>
                      <a:lnTo>
                        <a:pt x="292823" y="218440"/>
                      </a:lnTo>
                      <a:lnTo>
                        <a:pt x="295186" y="217170"/>
                      </a:lnTo>
                      <a:lnTo>
                        <a:pt x="298627" y="214630"/>
                      </a:lnTo>
                      <a:lnTo>
                        <a:pt x="298577" y="213360"/>
                      </a:lnTo>
                      <a:lnTo>
                        <a:pt x="298538" y="212090"/>
                      </a:lnTo>
                      <a:lnTo>
                        <a:pt x="297395" y="212090"/>
                      </a:lnTo>
                      <a:lnTo>
                        <a:pt x="296862" y="210820"/>
                      </a:lnTo>
                      <a:lnTo>
                        <a:pt x="298538" y="212090"/>
                      </a:lnTo>
                      <a:lnTo>
                        <a:pt x="300215" y="213360"/>
                      </a:lnTo>
                      <a:lnTo>
                        <a:pt x="303199" y="217170"/>
                      </a:lnTo>
                      <a:lnTo>
                        <a:pt x="309016" y="218440"/>
                      </a:lnTo>
                      <a:lnTo>
                        <a:pt x="311556" y="218440"/>
                      </a:lnTo>
                      <a:lnTo>
                        <a:pt x="311378" y="215900"/>
                      </a:lnTo>
                      <a:lnTo>
                        <a:pt x="311251" y="213360"/>
                      </a:lnTo>
                      <a:lnTo>
                        <a:pt x="309740" y="210820"/>
                      </a:lnTo>
                      <a:lnTo>
                        <a:pt x="308864" y="210820"/>
                      </a:lnTo>
                      <a:lnTo>
                        <a:pt x="308356" y="209550"/>
                      </a:lnTo>
                      <a:lnTo>
                        <a:pt x="309372" y="209550"/>
                      </a:lnTo>
                      <a:lnTo>
                        <a:pt x="312572" y="212090"/>
                      </a:lnTo>
                      <a:lnTo>
                        <a:pt x="314350" y="210820"/>
                      </a:lnTo>
                      <a:lnTo>
                        <a:pt x="312699" y="212090"/>
                      </a:lnTo>
                      <a:lnTo>
                        <a:pt x="313016" y="212090"/>
                      </a:lnTo>
                      <a:lnTo>
                        <a:pt x="314325" y="214630"/>
                      </a:lnTo>
                      <a:lnTo>
                        <a:pt x="314718" y="214630"/>
                      </a:lnTo>
                      <a:lnTo>
                        <a:pt x="314274" y="215900"/>
                      </a:lnTo>
                      <a:lnTo>
                        <a:pt x="315302" y="218440"/>
                      </a:lnTo>
                      <a:lnTo>
                        <a:pt x="316509" y="217170"/>
                      </a:lnTo>
                      <a:lnTo>
                        <a:pt x="318719" y="218440"/>
                      </a:lnTo>
                      <a:lnTo>
                        <a:pt x="326275" y="218440"/>
                      </a:lnTo>
                      <a:lnTo>
                        <a:pt x="328828" y="217170"/>
                      </a:lnTo>
                      <a:lnTo>
                        <a:pt x="328434" y="213360"/>
                      </a:lnTo>
                      <a:lnTo>
                        <a:pt x="325475" y="210820"/>
                      </a:lnTo>
                      <a:lnTo>
                        <a:pt x="320827" y="205905"/>
                      </a:lnTo>
                      <a:lnTo>
                        <a:pt x="321056" y="205740"/>
                      </a:lnTo>
                      <a:lnTo>
                        <a:pt x="324396" y="208280"/>
                      </a:lnTo>
                      <a:lnTo>
                        <a:pt x="327939" y="209550"/>
                      </a:lnTo>
                      <a:lnTo>
                        <a:pt x="330200" y="211988"/>
                      </a:lnTo>
                      <a:lnTo>
                        <a:pt x="330060" y="212090"/>
                      </a:lnTo>
                      <a:lnTo>
                        <a:pt x="329082" y="213360"/>
                      </a:lnTo>
                      <a:lnTo>
                        <a:pt x="330288" y="214630"/>
                      </a:lnTo>
                      <a:lnTo>
                        <a:pt x="329031" y="214630"/>
                      </a:lnTo>
                      <a:lnTo>
                        <a:pt x="331343" y="215900"/>
                      </a:lnTo>
                      <a:lnTo>
                        <a:pt x="334784" y="217170"/>
                      </a:lnTo>
                      <a:lnTo>
                        <a:pt x="339077" y="215900"/>
                      </a:lnTo>
                      <a:lnTo>
                        <a:pt x="340372" y="214630"/>
                      </a:lnTo>
                      <a:lnTo>
                        <a:pt x="342125" y="214630"/>
                      </a:lnTo>
                      <a:lnTo>
                        <a:pt x="345795" y="217170"/>
                      </a:lnTo>
                      <a:lnTo>
                        <a:pt x="347129" y="217170"/>
                      </a:lnTo>
                      <a:lnTo>
                        <a:pt x="347459" y="218440"/>
                      </a:lnTo>
                      <a:lnTo>
                        <a:pt x="343649" y="226060"/>
                      </a:lnTo>
                      <a:lnTo>
                        <a:pt x="365671" y="222250"/>
                      </a:lnTo>
                      <a:lnTo>
                        <a:pt x="367449" y="222250"/>
                      </a:lnTo>
                      <a:lnTo>
                        <a:pt x="371246" y="219710"/>
                      </a:lnTo>
                      <a:lnTo>
                        <a:pt x="373176" y="217170"/>
                      </a:lnTo>
                      <a:lnTo>
                        <a:pt x="377215" y="212090"/>
                      </a:lnTo>
                      <a:lnTo>
                        <a:pt x="378561" y="217170"/>
                      </a:lnTo>
                      <a:lnTo>
                        <a:pt x="383425" y="215900"/>
                      </a:lnTo>
                      <a:lnTo>
                        <a:pt x="389750" y="213360"/>
                      </a:lnTo>
                      <a:lnTo>
                        <a:pt x="389991" y="210820"/>
                      </a:lnTo>
                      <a:lnTo>
                        <a:pt x="390232" y="208280"/>
                      </a:lnTo>
                      <a:lnTo>
                        <a:pt x="390271" y="207010"/>
                      </a:lnTo>
                      <a:lnTo>
                        <a:pt x="391312" y="205740"/>
                      </a:lnTo>
                      <a:lnTo>
                        <a:pt x="389928" y="205740"/>
                      </a:lnTo>
                      <a:lnTo>
                        <a:pt x="388874" y="204470"/>
                      </a:lnTo>
                      <a:lnTo>
                        <a:pt x="389140" y="203200"/>
                      </a:lnTo>
                      <a:lnTo>
                        <a:pt x="387108" y="200660"/>
                      </a:lnTo>
                      <a:lnTo>
                        <a:pt x="381342" y="200660"/>
                      </a:lnTo>
                      <a:lnTo>
                        <a:pt x="376301" y="207010"/>
                      </a:lnTo>
                      <a:lnTo>
                        <a:pt x="374548" y="205740"/>
                      </a:lnTo>
                      <a:lnTo>
                        <a:pt x="372808" y="204470"/>
                      </a:lnTo>
                      <a:lnTo>
                        <a:pt x="376123" y="203200"/>
                      </a:lnTo>
                      <a:lnTo>
                        <a:pt x="372325" y="201930"/>
                      </a:lnTo>
                      <a:lnTo>
                        <a:pt x="365366" y="203200"/>
                      </a:lnTo>
                      <a:lnTo>
                        <a:pt x="369265" y="199390"/>
                      </a:lnTo>
                      <a:lnTo>
                        <a:pt x="370560" y="198120"/>
                      </a:lnTo>
                      <a:lnTo>
                        <a:pt x="371932" y="195580"/>
                      </a:lnTo>
                      <a:lnTo>
                        <a:pt x="370738" y="194310"/>
                      </a:lnTo>
                      <a:lnTo>
                        <a:pt x="366293" y="193040"/>
                      </a:lnTo>
                      <a:lnTo>
                        <a:pt x="362940" y="193040"/>
                      </a:lnTo>
                      <a:lnTo>
                        <a:pt x="358127" y="195580"/>
                      </a:lnTo>
                      <a:lnTo>
                        <a:pt x="355333" y="199390"/>
                      </a:lnTo>
                      <a:lnTo>
                        <a:pt x="352958" y="198120"/>
                      </a:lnTo>
                      <a:lnTo>
                        <a:pt x="353491" y="196850"/>
                      </a:lnTo>
                      <a:lnTo>
                        <a:pt x="355269" y="195580"/>
                      </a:lnTo>
                      <a:lnTo>
                        <a:pt x="355041" y="194310"/>
                      </a:lnTo>
                      <a:lnTo>
                        <a:pt x="352031" y="194310"/>
                      </a:lnTo>
                      <a:lnTo>
                        <a:pt x="350634" y="193040"/>
                      </a:lnTo>
                      <a:lnTo>
                        <a:pt x="346417" y="193040"/>
                      </a:lnTo>
                      <a:lnTo>
                        <a:pt x="343217" y="191770"/>
                      </a:lnTo>
                      <a:lnTo>
                        <a:pt x="342569" y="193040"/>
                      </a:lnTo>
                      <a:lnTo>
                        <a:pt x="339585" y="193040"/>
                      </a:lnTo>
                      <a:lnTo>
                        <a:pt x="338442" y="194310"/>
                      </a:lnTo>
                      <a:lnTo>
                        <a:pt x="336372" y="194310"/>
                      </a:lnTo>
                      <a:lnTo>
                        <a:pt x="334175" y="195580"/>
                      </a:lnTo>
                      <a:lnTo>
                        <a:pt x="331012" y="195580"/>
                      </a:lnTo>
                      <a:lnTo>
                        <a:pt x="332181" y="194310"/>
                      </a:lnTo>
                      <a:lnTo>
                        <a:pt x="330758" y="193040"/>
                      </a:lnTo>
                      <a:lnTo>
                        <a:pt x="328523" y="191770"/>
                      </a:lnTo>
                      <a:lnTo>
                        <a:pt x="336740" y="191770"/>
                      </a:lnTo>
                      <a:lnTo>
                        <a:pt x="341236" y="190500"/>
                      </a:lnTo>
                      <a:lnTo>
                        <a:pt x="340207" y="190500"/>
                      </a:lnTo>
                      <a:lnTo>
                        <a:pt x="337527" y="189230"/>
                      </a:lnTo>
                      <a:lnTo>
                        <a:pt x="335661" y="187960"/>
                      </a:lnTo>
                      <a:lnTo>
                        <a:pt x="334606" y="187960"/>
                      </a:lnTo>
                      <a:lnTo>
                        <a:pt x="333387" y="186690"/>
                      </a:lnTo>
                      <a:lnTo>
                        <a:pt x="334378" y="186690"/>
                      </a:lnTo>
                      <a:lnTo>
                        <a:pt x="334708" y="184150"/>
                      </a:lnTo>
                      <a:lnTo>
                        <a:pt x="334429" y="184150"/>
                      </a:lnTo>
                      <a:lnTo>
                        <a:pt x="332066" y="181610"/>
                      </a:lnTo>
                      <a:lnTo>
                        <a:pt x="330352" y="181610"/>
                      </a:lnTo>
                      <a:lnTo>
                        <a:pt x="331025" y="180340"/>
                      </a:lnTo>
                      <a:lnTo>
                        <a:pt x="332105" y="180340"/>
                      </a:lnTo>
                      <a:lnTo>
                        <a:pt x="336105" y="182880"/>
                      </a:lnTo>
                      <a:lnTo>
                        <a:pt x="335051" y="184150"/>
                      </a:lnTo>
                      <a:lnTo>
                        <a:pt x="335876" y="184150"/>
                      </a:lnTo>
                      <a:lnTo>
                        <a:pt x="336473" y="185420"/>
                      </a:lnTo>
                      <a:lnTo>
                        <a:pt x="338747" y="186690"/>
                      </a:lnTo>
                      <a:lnTo>
                        <a:pt x="339432" y="186690"/>
                      </a:lnTo>
                      <a:lnTo>
                        <a:pt x="341160" y="187960"/>
                      </a:lnTo>
                      <a:lnTo>
                        <a:pt x="343535" y="187960"/>
                      </a:lnTo>
                      <a:lnTo>
                        <a:pt x="343776" y="189230"/>
                      </a:lnTo>
                      <a:lnTo>
                        <a:pt x="345440" y="190500"/>
                      </a:lnTo>
                      <a:lnTo>
                        <a:pt x="346849" y="190500"/>
                      </a:lnTo>
                      <a:lnTo>
                        <a:pt x="350786" y="191770"/>
                      </a:lnTo>
                      <a:lnTo>
                        <a:pt x="353644" y="191770"/>
                      </a:lnTo>
                      <a:lnTo>
                        <a:pt x="358927" y="193040"/>
                      </a:lnTo>
                      <a:lnTo>
                        <a:pt x="360692" y="191770"/>
                      </a:lnTo>
                      <a:lnTo>
                        <a:pt x="370878" y="191770"/>
                      </a:lnTo>
                      <a:lnTo>
                        <a:pt x="373303" y="190500"/>
                      </a:lnTo>
                      <a:lnTo>
                        <a:pt x="375704" y="190500"/>
                      </a:lnTo>
                      <a:lnTo>
                        <a:pt x="375526" y="191770"/>
                      </a:lnTo>
                      <a:lnTo>
                        <a:pt x="377253" y="191770"/>
                      </a:lnTo>
                      <a:lnTo>
                        <a:pt x="383324" y="185420"/>
                      </a:lnTo>
                      <a:lnTo>
                        <a:pt x="386270" y="182880"/>
                      </a:lnTo>
                      <a:lnTo>
                        <a:pt x="388061" y="180340"/>
                      </a:lnTo>
                      <a:lnTo>
                        <a:pt x="386257" y="180340"/>
                      </a:lnTo>
                      <a:lnTo>
                        <a:pt x="387578" y="179070"/>
                      </a:lnTo>
                      <a:lnTo>
                        <a:pt x="386613" y="179070"/>
                      </a:lnTo>
                      <a:lnTo>
                        <a:pt x="387286" y="177800"/>
                      </a:lnTo>
                      <a:lnTo>
                        <a:pt x="388543" y="177800"/>
                      </a:lnTo>
                      <a:lnTo>
                        <a:pt x="387223" y="175260"/>
                      </a:lnTo>
                      <a:lnTo>
                        <a:pt x="384581" y="173990"/>
                      </a:lnTo>
                      <a:lnTo>
                        <a:pt x="382714" y="173990"/>
                      </a:lnTo>
                      <a:lnTo>
                        <a:pt x="380403" y="172720"/>
                      </a:lnTo>
                      <a:lnTo>
                        <a:pt x="382435" y="171450"/>
                      </a:lnTo>
                      <a:lnTo>
                        <a:pt x="384073" y="170256"/>
                      </a:lnTo>
                      <a:lnTo>
                        <a:pt x="387477" y="171450"/>
                      </a:lnTo>
                      <a:lnTo>
                        <a:pt x="392366" y="171450"/>
                      </a:lnTo>
                      <a:lnTo>
                        <a:pt x="394157" y="172720"/>
                      </a:lnTo>
                      <a:lnTo>
                        <a:pt x="395960" y="171450"/>
                      </a:lnTo>
                      <a:lnTo>
                        <a:pt x="398145" y="171450"/>
                      </a:lnTo>
                      <a:lnTo>
                        <a:pt x="398805" y="172720"/>
                      </a:lnTo>
                      <a:lnTo>
                        <a:pt x="405307" y="175260"/>
                      </a:lnTo>
                      <a:lnTo>
                        <a:pt x="410692" y="170180"/>
                      </a:lnTo>
                      <a:lnTo>
                        <a:pt x="415988" y="171450"/>
                      </a:lnTo>
                      <a:lnTo>
                        <a:pt x="416648" y="171450"/>
                      </a:lnTo>
                      <a:lnTo>
                        <a:pt x="417461" y="170180"/>
                      </a:lnTo>
                      <a:lnTo>
                        <a:pt x="418274" y="168910"/>
                      </a:lnTo>
                      <a:lnTo>
                        <a:pt x="419138" y="166370"/>
                      </a:lnTo>
                      <a:lnTo>
                        <a:pt x="412927" y="166370"/>
                      </a:lnTo>
                      <a:lnTo>
                        <a:pt x="409676" y="165100"/>
                      </a:lnTo>
                      <a:lnTo>
                        <a:pt x="405180" y="165100"/>
                      </a:lnTo>
                      <a:lnTo>
                        <a:pt x="401269" y="163830"/>
                      </a:lnTo>
                      <a:lnTo>
                        <a:pt x="407987" y="162560"/>
                      </a:lnTo>
                      <a:lnTo>
                        <a:pt x="411975" y="162560"/>
                      </a:lnTo>
                      <a:lnTo>
                        <a:pt x="416902" y="163830"/>
                      </a:lnTo>
                      <a:lnTo>
                        <a:pt x="421932" y="163830"/>
                      </a:lnTo>
                      <a:lnTo>
                        <a:pt x="422579" y="162560"/>
                      </a:lnTo>
                      <a:lnTo>
                        <a:pt x="423240" y="161290"/>
                      </a:lnTo>
                      <a:lnTo>
                        <a:pt x="424637" y="158750"/>
                      </a:lnTo>
                      <a:lnTo>
                        <a:pt x="425335" y="157480"/>
                      </a:lnTo>
                      <a:lnTo>
                        <a:pt x="423710" y="156210"/>
                      </a:lnTo>
                      <a:lnTo>
                        <a:pt x="415137" y="156210"/>
                      </a:lnTo>
                      <a:lnTo>
                        <a:pt x="415074" y="154940"/>
                      </a:lnTo>
                      <a:lnTo>
                        <a:pt x="411835" y="153670"/>
                      </a:lnTo>
                      <a:lnTo>
                        <a:pt x="409460" y="154940"/>
                      </a:lnTo>
                      <a:lnTo>
                        <a:pt x="405180" y="154940"/>
                      </a:lnTo>
                      <a:lnTo>
                        <a:pt x="406742" y="153670"/>
                      </a:lnTo>
                      <a:lnTo>
                        <a:pt x="435546" y="152400"/>
                      </a:lnTo>
                      <a:lnTo>
                        <a:pt x="434746" y="151130"/>
                      </a:lnTo>
                      <a:lnTo>
                        <a:pt x="432663" y="151130"/>
                      </a:lnTo>
                      <a:lnTo>
                        <a:pt x="431977" y="148590"/>
                      </a:lnTo>
                      <a:lnTo>
                        <a:pt x="433235" y="148590"/>
                      </a:lnTo>
                      <a:lnTo>
                        <a:pt x="433336" y="146050"/>
                      </a:lnTo>
                      <a:lnTo>
                        <a:pt x="433044" y="144780"/>
                      </a:lnTo>
                      <a:lnTo>
                        <a:pt x="430860" y="146050"/>
                      </a:lnTo>
                      <a:lnTo>
                        <a:pt x="432612" y="144780"/>
                      </a:lnTo>
                      <a:lnTo>
                        <a:pt x="431292" y="143510"/>
                      </a:lnTo>
                      <a:lnTo>
                        <a:pt x="429539" y="143510"/>
                      </a:lnTo>
                      <a:lnTo>
                        <a:pt x="425564" y="142240"/>
                      </a:lnTo>
                      <a:lnTo>
                        <a:pt x="419100" y="142240"/>
                      </a:lnTo>
                      <a:lnTo>
                        <a:pt x="417004" y="143510"/>
                      </a:lnTo>
                      <a:lnTo>
                        <a:pt x="413816" y="143510"/>
                      </a:lnTo>
                      <a:lnTo>
                        <a:pt x="413143" y="142240"/>
                      </a:lnTo>
                      <a:lnTo>
                        <a:pt x="411162" y="143510"/>
                      </a:lnTo>
                      <a:lnTo>
                        <a:pt x="409460" y="143510"/>
                      </a:lnTo>
                      <a:lnTo>
                        <a:pt x="411099" y="142240"/>
                      </a:lnTo>
                      <a:lnTo>
                        <a:pt x="413346" y="140970"/>
                      </a:lnTo>
                      <a:lnTo>
                        <a:pt x="414858" y="138430"/>
                      </a:lnTo>
                      <a:lnTo>
                        <a:pt x="410184" y="138430"/>
                      </a:lnTo>
                      <a:lnTo>
                        <a:pt x="405980" y="137160"/>
                      </a:lnTo>
                      <a:lnTo>
                        <a:pt x="398513" y="139700"/>
                      </a:lnTo>
                      <a:lnTo>
                        <a:pt x="389216" y="139700"/>
                      </a:lnTo>
                      <a:lnTo>
                        <a:pt x="386588" y="143510"/>
                      </a:lnTo>
                      <a:lnTo>
                        <a:pt x="383235" y="144780"/>
                      </a:lnTo>
                      <a:lnTo>
                        <a:pt x="384594" y="143510"/>
                      </a:lnTo>
                      <a:lnTo>
                        <a:pt x="385864" y="142240"/>
                      </a:lnTo>
                      <a:lnTo>
                        <a:pt x="387616" y="140970"/>
                      </a:lnTo>
                      <a:lnTo>
                        <a:pt x="389216" y="139700"/>
                      </a:lnTo>
                      <a:lnTo>
                        <a:pt x="390817" y="138430"/>
                      </a:lnTo>
                      <a:lnTo>
                        <a:pt x="389420" y="137160"/>
                      </a:lnTo>
                      <a:lnTo>
                        <a:pt x="390309" y="137160"/>
                      </a:lnTo>
                      <a:lnTo>
                        <a:pt x="391896" y="138430"/>
                      </a:lnTo>
                      <a:lnTo>
                        <a:pt x="396506" y="138430"/>
                      </a:lnTo>
                      <a:lnTo>
                        <a:pt x="398576" y="137160"/>
                      </a:lnTo>
                      <a:lnTo>
                        <a:pt x="402145" y="135890"/>
                      </a:lnTo>
                      <a:lnTo>
                        <a:pt x="407377" y="135890"/>
                      </a:lnTo>
                      <a:lnTo>
                        <a:pt x="411365" y="137160"/>
                      </a:lnTo>
                      <a:lnTo>
                        <a:pt x="413105" y="135890"/>
                      </a:lnTo>
                      <a:lnTo>
                        <a:pt x="411276" y="134620"/>
                      </a:lnTo>
                      <a:lnTo>
                        <a:pt x="409460" y="133350"/>
                      </a:lnTo>
                      <a:lnTo>
                        <a:pt x="405472" y="134620"/>
                      </a:lnTo>
                      <a:lnTo>
                        <a:pt x="398145" y="133350"/>
                      </a:lnTo>
                      <a:lnTo>
                        <a:pt x="393446" y="133350"/>
                      </a:lnTo>
                      <a:lnTo>
                        <a:pt x="396100" y="132080"/>
                      </a:lnTo>
                      <a:lnTo>
                        <a:pt x="400443" y="133350"/>
                      </a:lnTo>
                      <a:lnTo>
                        <a:pt x="402094" y="133350"/>
                      </a:lnTo>
                      <a:lnTo>
                        <a:pt x="406819" y="132080"/>
                      </a:lnTo>
                      <a:lnTo>
                        <a:pt x="409917" y="133350"/>
                      </a:lnTo>
                      <a:lnTo>
                        <a:pt x="414426" y="132080"/>
                      </a:lnTo>
                      <a:lnTo>
                        <a:pt x="415467" y="133350"/>
                      </a:lnTo>
                      <a:lnTo>
                        <a:pt x="418236" y="134620"/>
                      </a:lnTo>
                      <a:lnTo>
                        <a:pt x="417944" y="134620"/>
                      </a:lnTo>
                      <a:lnTo>
                        <a:pt x="417664" y="135890"/>
                      </a:lnTo>
                      <a:lnTo>
                        <a:pt x="419087" y="135890"/>
                      </a:lnTo>
                      <a:lnTo>
                        <a:pt x="420598" y="137160"/>
                      </a:lnTo>
                      <a:lnTo>
                        <a:pt x="426212" y="137160"/>
                      </a:lnTo>
                      <a:lnTo>
                        <a:pt x="430212" y="138430"/>
                      </a:lnTo>
                      <a:lnTo>
                        <a:pt x="436511" y="138430"/>
                      </a:lnTo>
                      <a:lnTo>
                        <a:pt x="437616" y="137160"/>
                      </a:lnTo>
                      <a:lnTo>
                        <a:pt x="435254" y="134620"/>
                      </a:lnTo>
                      <a:lnTo>
                        <a:pt x="435457" y="134620"/>
                      </a:lnTo>
                      <a:lnTo>
                        <a:pt x="434733" y="133350"/>
                      </a:lnTo>
                      <a:lnTo>
                        <a:pt x="432460" y="133350"/>
                      </a:lnTo>
                      <a:lnTo>
                        <a:pt x="435648" y="132080"/>
                      </a:lnTo>
                      <a:lnTo>
                        <a:pt x="432422" y="130810"/>
                      </a:lnTo>
                      <a:lnTo>
                        <a:pt x="430644" y="132080"/>
                      </a:lnTo>
                      <a:lnTo>
                        <a:pt x="424967" y="130810"/>
                      </a:lnTo>
                      <a:lnTo>
                        <a:pt x="420979" y="132080"/>
                      </a:lnTo>
                      <a:lnTo>
                        <a:pt x="415505" y="132080"/>
                      </a:lnTo>
                      <a:lnTo>
                        <a:pt x="414375" y="130810"/>
                      </a:lnTo>
                      <a:lnTo>
                        <a:pt x="409168" y="130810"/>
                      </a:lnTo>
                      <a:lnTo>
                        <a:pt x="405574" y="129540"/>
                      </a:lnTo>
                      <a:lnTo>
                        <a:pt x="403796" y="130810"/>
                      </a:lnTo>
                      <a:lnTo>
                        <a:pt x="400011" y="129540"/>
                      </a:lnTo>
                      <a:lnTo>
                        <a:pt x="397903" y="130810"/>
                      </a:lnTo>
                      <a:lnTo>
                        <a:pt x="394881" y="130810"/>
                      </a:lnTo>
                      <a:lnTo>
                        <a:pt x="397052" y="129540"/>
                      </a:lnTo>
                      <a:lnTo>
                        <a:pt x="392823" y="128270"/>
                      </a:lnTo>
                      <a:lnTo>
                        <a:pt x="386626" y="128270"/>
                      </a:lnTo>
                      <a:lnTo>
                        <a:pt x="390017" y="127000"/>
                      </a:lnTo>
                      <a:lnTo>
                        <a:pt x="393446" y="128270"/>
                      </a:lnTo>
                      <a:lnTo>
                        <a:pt x="400202" y="128270"/>
                      </a:lnTo>
                      <a:lnTo>
                        <a:pt x="397535" y="127000"/>
                      </a:lnTo>
                      <a:lnTo>
                        <a:pt x="396074" y="124460"/>
                      </a:lnTo>
                      <a:lnTo>
                        <a:pt x="398310" y="124460"/>
                      </a:lnTo>
                      <a:lnTo>
                        <a:pt x="400456" y="125730"/>
                      </a:lnTo>
                      <a:lnTo>
                        <a:pt x="403961" y="128270"/>
                      </a:lnTo>
                      <a:lnTo>
                        <a:pt x="417080" y="128270"/>
                      </a:lnTo>
                      <a:lnTo>
                        <a:pt x="416102" y="127000"/>
                      </a:lnTo>
                      <a:lnTo>
                        <a:pt x="414032" y="127000"/>
                      </a:lnTo>
                      <a:lnTo>
                        <a:pt x="412800" y="124460"/>
                      </a:lnTo>
                      <a:lnTo>
                        <a:pt x="414261" y="124460"/>
                      </a:lnTo>
                      <a:lnTo>
                        <a:pt x="412013" y="123190"/>
                      </a:lnTo>
                      <a:lnTo>
                        <a:pt x="409130" y="124460"/>
                      </a:lnTo>
                      <a:lnTo>
                        <a:pt x="406184" y="123190"/>
                      </a:lnTo>
                      <a:lnTo>
                        <a:pt x="398894" y="123190"/>
                      </a:lnTo>
                      <a:lnTo>
                        <a:pt x="399097" y="121920"/>
                      </a:lnTo>
                      <a:lnTo>
                        <a:pt x="399300" y="120650"/>
                      </a:lnTo>
                      <a:lnTo>
                        <a:pt x="411899" y="121920"/>
                      </a:lnTo>
                      <a:lnTo>
                        <a:pt x="414604" y="124460"/>
                      </a:lnTo>
                      <a:lnTo>
                        <a:pt x="414972" y="124460"/>
                      </a:lnTo>
                      <a:lnTo>
                        <a:pt x="416775" y="125730"/>
                      </a:lnTo>
                      <a:lnTo>
                        <a:pt x="417474" y="124460"/>
                      </a:lnTo>
                      <a:lnTo>
                        <a:pt x="419011" y="124460"/>
                      </a:lnTo>
                      <a:lnTo>
                        <a:pt x="419519" y="125730"/>
                      </a:lnTo>
                      <a:lnTo>
                        <a:pt x="421817" y="125730"/>
                      </a:lnTo>
                      <a:lnTo>
                        <a:pt x="424281" y="127000"/>
                      </a:lnTo>
                      <a:lnTo>
                        <a:pt x="430441" y="127000"/>
                      </a:lnTo>
                      <a:lnTo>
                        <a:pt x="429907" y="123190"/>
                      </a:lnTo>
                      <a:lnTo>
                        <a:pt x="431901" y="123190"/>
                      </a:lnTo>
                      <a:lnTo>
                        <a:pt x="433603" y="124460"/>
                      </a:lnTo>
                      <a:lnTo>
                        <a:pt x="436397" y="125730"/>
                      </a:lnTo>
                      <a:lnTo>
                        <a:pt x="437896" y="124460"/>
                      </a:lnTo>
                      <a:lnTo>
                        <a:pt x="444157" y="124460"/>
                      </a:lnTo>
                      <a:lnTo>
                        <a:pt x="448602" y="123190"/>
                      </a:lnTo>
                      <a:lnTo>
                        <a:pt x="455485" y="121920"/>
                      </a:lnTo>
                      <a:lnTo>
                        <a:pt x="456412" y="118110"/>
                      </a:lnTo>
                      <a:lnTo>
                        <a:pt x="454533" y="116840"/>
                      </a:lnTo>
                      <a:lnTo>
                        <a:pt x="453034" y="115570"/>
                      </a:lnTo>
                      <a:lnTo>
                        <a:pt x="453796" y="114300"/>
                      </a:lnTo>
                      <a:lnTo>
                        <a:pt x="447103" y="114300"/>
                      </a:lnTo>
                      <a:lnTo>
                        <a:pt x="445325" y="113030"/>
                      </a:lnTo>
                      <a:lnTo>
                        <a:pt x="436613" y="113030"/>
                      </a:lnTo>
                      <a:lnTo>
                        <a:pt x="435368" y="114300"/>
                      </a:lnTo>
                      <a:lnTo>
                        <a:pt x="433793" y="113030"/>
                      </a:lnTo>
                      <a:lnTo>
                        <a:pt x="433692" y="111760"/>
                      </a:lnTo>
                      <a:lnTo>
                        <a:pt x="432930" y="111760"/>
                      </a:lnTo>
                      <a:lnTo>
                        <a:pt x="437083" y="110490"/>
                      </a:lnTo>
                      <a:lnTo>
                        <a:pt x="444144" y="109220"/>
                      </a:lnTo>
                      <a:lnTo>
                        <a:pt x="448132" y="111760"/>
                      </a:lnTo>
                      <a:lnTo>
                        <a:pt x="447014" y="111760"/>
                      </a:lnTo>
                      <a:lnTo>
                        <a:pt x="451294" y="113030"/>
                      </a:lnTo>
                      <a:lnTo>
                        <a:pt x="455917" y="111760"/>
                      </a:lnTo>
                      <a:lnTo>
                        <a:pt x="460184" y="113030"/>
                      </a:lnTo>
                      <a:lnTo>
                        <a:pt x="456095" y="115570"/>
                      </a:lnTo>
                      <a:lnTo>
                        <a:pt x="462572" y="116840"/>
                      </a:lnTo>
                      <a:lnTo>
                        <a:pt x="467042" y="116840"/>
                      </a:lnTo>
                      <a:lnTo>
                        <a:pt x="468426" y="118110"/>
                      </a:lnTo>
                      <a:lnTo>
                        <a:pt x="471601" y="118110"/>
                      </a:lnTo>
                      <a:lnTo>
                        <a:pt x="473227" y="116840"/>
                      </a:lnTo>
                      <a:lnTo>
                        <a:pt x="477901" y="115570"/>
                      </a:lnTo>
                      <a:lnTo>
                        <a:pt x="480783" y="115570"/>
                      </a:lnTo>
                      <a:lnTo>
                        <a:pt x="484682" y="113030"/>
                      </a:lnTo>
                      <a:lnTo>
                        <a:pt x="486321" y="110490"/>
                      </a:lnTo>
                      <a:lnTo>
                        <a:pt x="485432" y="109220"/>
                      </a:lnTo>
                      <a:lnTo>
                        <a:pt x="483946" y="110490"/>
                      </a:lnTo>
                      <a:lnTo>
                        <a:pt x="480110" y="110490"/>
                      </a:lnTo>
                      <a:lnTo>
                        <a:pt x="481304" y="109220"/>
                      </a:lnTo>
                      <a:lnTo>
                        <a:pt x="485940" y="107950"/>
                      </a:lnTo>
                      <a:lnTo>
                        <a:pt x="487857" y="107950"/>
                      </a:lnTo>
                      <a:lnTo>
                        <a:pt x="491947" y="106680"/>
                      </a:lnTo>
                      <a:lnTo>
                        <a:pt x="492277" y="105410"/>
                      </a:lnTo>
                      <a:lnTo>
                        <a:pt x="493102" y="101600"/>
                      </a:lnTo>
                      <a:lnTo>
                        <a:pt x="489419" y="102870"/>
                      </a:lnTo>
                      <a:lnTo>
                        <a:pt x="485228" y="102870"/>
                      </a:lnTo>
                      <a:lnTo>
                        <a:pt x="482803" y="104140"/>
                      </a:lnTo>
                      <a:lnTo>
                        <a:pt x="477748" y="105410"/>
                      </a:lnTo>
                      <a:lnTo>
                        <a:pt x="475119" y="104140"/>
                      </a:lnTo>
                      <a:lnTo>
                        <a:pt x="470331" y="105410"/>
                      </a:lnTo>
                      <a:lnTo>
                        <a:pt x="468337" y="105410"/>
                      </a:lnTo>
                      <a:lnTo>
                        <a:pt x="466890" y="104140"/>
                      </a:lnTo>
                      <a:lnTo>
                        <a:pt x="467423" y="102870"/>
                      </a:lnTo>
                      <a:lnTo>
                        <a:pt x="470192" y="101600"/>
                      </a:lnTo>
                      <a:lnTo>
                        <a:pt x="468147" y="100330"/>
                      </a:lnTo>
                      <a:lnTo>
                        <a:pt x="466369" y="100330"/>
                      </a:lnTo>
                      <a:lnTo>
                        <a:pt x="468680" y="99060"/>
                      </a:lnTo>
                      <a:lnTo>
                        <a:pt x="472516" y="100330"/>
                      </a:lnTo>
                      <a:lnTo>
                        <a:pt x="476351" y="102870"/>
                      </a:lnTo>
                      <a:lnTo>
                        <a:pt x="477570" y="102870"/>
                      </a:lnTo>
                      <a:lnTo>
                        <a:pt x="483184" y="101600"/>
                      </a:lnTo>
                      <a:lnTo>
                        <a:pt x="486143" y="101600"/>
                      </a:lnTo>
                      <a:lnTo>
                        <a:pt x="491490" y="100330"/>
                      </a:lnTo>
                      <a:lnTo>
                        <a:pt x="496735" y="100330"/>
                      </a:lnTo>
                      <a:lnTo>
                        <a:pt x="498424" y="101600"/>
                      </a:lnTo>
                      <a:lnTo>
                        <a:pt x="499046" y="100330"/>
                      </a:lnTo>
                      <a:lnTo>
                        <a:pt x="499681" y="99060"/>
                      </a:lnTo>
                      <a:lnTo>
                        <a:pt x="499160" y="97790"/>
                      </a:lnTo>
                      <a:lnTo>
                        <a:pt x="498106" y="96520"/>
                      </a:lnTo>
                      <a:lnTo>
                        <a:pt x="497243" y="95465"/>
                      </a:lnTo>
                      <a:lnTo>
                        <a:pt x="501840" y="96520"/>
                      </a:lnTo>
                      <a:lnTo>
                        <a:pt x="506755" y="95250"/>
                      </a:lnTo>
                      <a:lnTo>
                        <a:pt x="520839" y="86360"/>
                      </a:lnTo>
                      <a:lnTo>
                        <a:pt x="536943" y="76200"/>
                      </a:lnTo>
                      <a:lnTo>
                        <a:pt x="538962" y="74930"/>
                      </a:lnTo>
                      <a:lnTo>
                        <a:pt x="541591" y="73660"/>
                      </a:lnTo>
                      <a:lnTo>
                        <a:pt x="549122" y="71120"/>
                      </a:lnTo>
                      <a:lnTo>
                        <a:pt x="564197" y="66040"/>
                      </a:lnTo>
                      <a:lnTo>
                        <a:pt x="567728" y="64770"/>
                      </a:lnTo>
                      <a:lnTo>
                        <a:pt x="572719" y="62230"/>
                      </a:lnTo>
                      <a:lnTo>
                        <a:pt x="574179" y="62230"/>
                      </a:lnTo>
                      <a:lnTo>
                        <a:pt x="577723" y="60960"/>
                      </a:lnTo>
                      <a:lnTo>
                        <a:pt x="579564" y="57150"/>
                      </a:lnTo>
                      <a:lnTo>
                        <a:pt x="580085" y="55880"/>
                      </a:lnTo>
                      <a:lnTo>
                        <a:pt x="576110" y="54610"/>
                      </a:lnTo>
                      <a:lnTo>
                        <a:pt x="570661" y="55880"/>
                      </a:lnTo>
                      <a:lnTo>
                        <a:pt x="562356" y="57150"/>
                      </a:lnTo>
                      <a:lnTo>
                        <a:pt x="558279" y="58420"/>
                      </a:lnTo>
                      <a:lnTo>
                        <a:pt x="545820" y="59690"/>
                      </a:lnTo>
                      <a:lnTo>
                        <a:pt x="537768" y="62230"/>
                      </a:lnTo>
                      <a:lnTo>
                        <a:pt x="525170" y="64770"/>
                      </a:lnTo>
                      <a:lnTo>
                        <a:pt x="520255" y="64770"/>
                      </a:lnTo>
                      <a:lnTo>
                        <a:pt x="513461" y="66040"/>
                      </a:lnTo>
                      <a:lnTo>
                        <a:pt x="510921" y="67310"/>
                      </a:lnTo>
                      <a:lnTo>
                        <a:pt x="506564" y="68580"/>
                      </a:lnTo>
                      <a:lnTo>
                        <a:pt x="503809" y="71120"/>
                      </a:lnTo>
                      <a:lnTo>
                        <a:pt x="501129" y="69850"/>
                      </a:lnTo>
                      <a:lnTo>
                        <a:pt x="501891" y="69850"/>
                      </a:lnTo>
                      <a:lnTo>
                        <a:pt x="503199" y="68580"/>
                      </a:lnTo>
                      <a:lnTo>
                        <a:pt x="499859" y="68580"/>
                      </a:lnTo>
                      <a:lnTo>
                        <a:pt x="498424" y="67310"/>
                      </a:lnTo>
                      <a:lnTo>
                        <a:pt x="540245" y="58420"/>
                      </a:lnTo>
                      <a:lnTo>
                        <a:pt x="546214" y="57150"/>
                      </a:lnTo>
                      <a:lnTo>
                        <a:pt x="548703" y="57150"/>
                      </a:lnTo>
                      <a:lnTo>
                        <a:pt x="547598" y="55880"/>
                      </a:lnTo>
                      <a:lnTo>
                        <a:pt x="543775" y="54610"/>
                      </a:lnTo>
                      <a:lnTo>
                        <a:pt x="537108" y="54610"/>
                      </a:lnTo>
                      <a:lnTo>
                        <a:pt x="529640" y="55880"/>
                      </a:lnTo>
                      <a:lnTo>
                        <a:pt x="524827" y="57150"/>
                      </a:lnTo>
                      <a:lnTo>
                        <a:pt x="519518" y="55880"/>
                      </a:lnTo>
                      <a:lnTo>
                        <a:pt x="518248" y="55880"/>
                      </a:lnTo>
                      <a:lnTo>
                        <a:pt x="518782" y="54610"/>
                      </a:lnTo>
                      <a:lnTo>
                        <a:pt x="520979" y="53340"/>
                      </a:lnTo>
                      <a:lnTo>
                        <a:pt x="519734" y="52070"/>
                      </a:lnTo>
                      <a:lnTo>
                        <a:pt x="517956" y="52070"/>
                      </a:lnTo>
                      <a:lnTo>
                        <a:pt x="515531" y="50800"/>
                      </a:lnTo>
                      <a:lnTo>
                        <a:pt x="513486" y="50800"/>
                      </a:lnTo>
                      <a:lnTo>
                        <a:pt x="511721" y="49530"/>
                      </a:lnTo>
                      <a:lnTo>
                        <a:pt x="516610" y="49530"/>
                      </a:lnTo>
                      <a:lnTo>
                        <a:pt x="520687" y="52070"/>
                      </a:lnTo>
                      <a:lnTo>
                        <a:pt x="527824" y="54610"/>
                      </a:lnTo>
                      <a:lnTo>
                        <a:pt x="530910" y="54610"/>
                      </a:lnTo>
                      <a:lnTo>
                        <a:pt x="536536" y="53340"/>
                      </a:lnTo>
                      <a:lnTo>
                        <a:pt x="539457" y="53340"/>
                      </a:lnTo>
                      <a:lnTo>
                        <a:pt x="547509" y="52070"/>
                      </a:lnTo>
                      <a:lnTo>
                        <a:pt x="552589" y="52070"/>
                      </a:lnTo>
                      <a:lnTo>
                        <a:pt x="554990" y="53340"/>
                      </a:lnTo>
                      <a:lnTo>
                        <a:pt x="565073" y="52070"/>
                      </a:lnTo>
                      <a:lnTo>
                        <a:pt x="572604" y="50800"/>
                      </a:lnTo>
                      <a:lnTo>
                        <a:pt x="577443" y="49530"/>
                      </a:lnTo>
                      <a:lnTo>
                        <a:pt x="582295" y="48260"/>
                      </a:lnTo>
                      <a:lnTo>
                        <a:pt x="583349" y="48260"/>
                      </a:lnTo>
                      <a:lnTo>
                        <a:pt x="629589" y="27940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529" name="object 69">
                  <a:extLst>
                    <a:ext uri="{FF2B5EF4-FFF2-40B4-BE49-F238E27FC236}">
                      <a16:creationId xmlns:a16="http://schemas.microsoft.com/office/drawing/2014/main" id="{AE10014A-7AC1-4627-55D3-F34484826BE0}"/>
                    </a:ext>
                  </a:extLst>
                </p:cNvPr>
                <p:cNvPicPr/>
                <p:nvPr/>
              </p:nvPicPr>
              <p:blipFill>
                <a:blip r:embed="rId6" cstate="print"/>
                <a:stretch>
                  <a:fillRect/>
                </a:stretch>
              </p:blipFill>
              <p:spPr>
                <a:xfrm>
                  <a:off x="1493384" y="1756210"/>
                  <a:ext cx="100850" cy="65798"/>
                </a:xfrm>
                <a:prstGeom prst="rect">
                  <a:avLst/>
                </a:prstGeom>
              </p:spPr>
            </p:pic>
            <p:sp>
              <p:nvSpPr>
                <p:cNvPr id="530" name="object 70">
                  <a:extLst>
                    <a:ext uri="{FF2B5EF4-FFF2-40B4-BE49-F238E27FC236}">
                      <a16:creationId xmlns:a16="http://schemas.microsoft.com/office/drawing/2014/main" id="{6B2CABED-89E5-C1A7-78C0-B8B08AD2D252}"/>
                    </a:ext>
                  </a:extLst>
                </p:cNvPr>
                <p:cNvSpPr/>
                <p:nvPr/>
              </p:nvSpPr>
              <p:spPr>
                <a:xfrm>
                  <a:off x="1036510" y="1322476"/>
                  <a:ext cx="616585" cy="3746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6585" h="374650">
                      <a:moveTo>
                        <a:pt x="109956" y="268795"/>
                      </a:moveTo>
                      <a:lnTo>
                        <a:pt x="109664" y="269240"/>
                      </a:lnTo>
                      <a:lnTo>
                        <a:pt x="109918" y="270065"/>
                      </a:lnTo>
                      <a:lnTo>
                        <a:pt x="109956" y="268795"/>
                      </a:lnTo>
                      <a:close/>
                    </a:path>
                    <a:path w="616585" h="374650">
                      <a:moveTo>
                        <a:pt x="131381" y="269659"/>
                      </a:moveTo>
                      <a:lnTo>
                        <a:pt x="129336" y="267525"/>
                      </a:lnTo>
                      <a:lnTo>
                        <a:pt x="127393" y="267525"/>
                      </a:lnTo>
                      <a:lnTo>
                        <a:pt x="129311" y="268795"/>
                      </a:lnTo>
                      <a:lnTo>
                        <a:pt x="131381" y="269659"/>
                      </a:lnTo>
                      <a:close/>
                    </a:path>
                    <a:path w="616585" h="374650">
                      <a:moveTo>
                        <a:pt x="132016" y="269913"/>
                      </a:moveTo>
                      <a:lnTo>
                        <a:pt x="131381" y="269659"/>
                      </a:lnTo>
                      <a:lnTo>
                        <a:pt x="131787" y="270065"/>
                      </a:lnTo>
                      <a:lnTo>
                        <a:pt x="132016" y="269913"/>
                      </a:lnTo>
                      <a:close/>
                    </a:path>
                    <a:path w="616585" h="374650">
                      <a:moveTo>
                        <a:pt x="170154" y="249745"/>
                      </a:moveTo>
                      <a:lnTo>
                        <a:pt x="168859" y="248475"/>
                      </a:lnTo>
                      <a:lnTo>
                        <a:pt x="165849" y="247205"/>
                      </a:lnTo>
                      <a:lnTo>
                        <a:pt x="164528" y="247205"/>
                      </a:lnTo>
                      <a:lnTo>
                        <a:pt x="161950" y="245935"/>
                      </a:lnTo>
                      <a:lnTo>
                        <a:pt x="160235" y="245935"/>
                      </a:lnTo>
                      <a:lnTo>
                        <a:pt x="157403" y="247205"/>
                      </a:lnTo>
                      <a:lnTo>
                        <a:pt x="156908" y="248475"/>
                      </a:lnTo>
                      <a:lnTo>
                        <a:pt x="160375" y="249745"/>
                      </a:lnTo>
                      <a:lnTo>
                        <a:pt x="170154" y="249745"/>
                      </a:lnTo>
                      <a:close/>
                    </a:path>
                    <a:path w="616585" h="374650">
                      <a:moveTo>
                        <a:pt x="173342" y="356425"/>
                      </a:moveTo>
                      <a:lnTo>
                        <a:pt x="80429" y="356425"/>
                      </a:lnTo>
                      <a:lnTo>
                        <a:pt x="79552" y="356425"/>
                      </a:lnTo>
                      <a:lnTo>
                        <a:pt x="78613" y="356425"/>
                      </a:lnTo>
                      <a:lnTo>
                        <a:pt x="77635" y="357695"/>
                      </a:lnTo>
                      <a:lnTo>
                        <a:pt x="79197" y="358965"/>
                      </a:lnTo>
                      <a:lnTo>
                        <a:pt x="79870" y="360235"/>
                      </a:lnTo>
                      <a:lnTo>
                        <a:pt x="79171" y="361505"/>
                      </a:lnTo>
                      <a:lnTo>
                        <a:pt x="78016" y="366585"/>
                      </a:lnTo>
                      <a:lnTo>
                        <a:pt x="83121" y="370395"/>
                      </a:lnTo>
                      <a:lnTo>
                        <a:pt x="86144" y="372935"/>
                      </a:lnTo>
                      <a:lnTo>
                        <a:pt x="91909" y="372935"/>
                      </a:lnTo>
                      <a:lnTo>
                        <a:pt x="118452" y="370395"/>
                      </a:lnTo>
                      <a:lnTo>
                        <a:pt x="126314" y="370395"/>
                      </a:lnTo>
                      <a:lnTo>
                        <a:pt x="133858" y="369125"/>
                      </a:lnTo>
                      <a:lnTo>
                        <a:pt x="137604" y="367855"/>
                      </a:lnTo>
                      <a:lnTo>
                        <a:pt x="143040" y="367855"/>
                      </a:lnTo>
                      <a:lnTo>
                        <a:pt x="149440" y="364045"/>
                      </a:lnTo>
                      <a:lnTo>
                        <a:pt x="150545" y="361505"/>
                      </a:lnTo>
                      <a:lnTo>
                        <a:pt x="162560" y="360235"/>
                      </a:lnTo>
                      <a:lnTo>
                        <a:pt x="166738" y="360235"/>
                      </a:lnTo>
                      <a:lnTo>
                        <a:pt x="169722" y="358965"/>
                      </a:lnTo>
                      <a:lnTo>
                        <a:pt x="171462" y="357695"/>
                      </a:lnTo>
                      <a:lnTo>
                        <a:pt x="173342" y="356425"/>
                      </a:lnTo>
                      <a:close/>
                    </a:path>
                    <a:path w="616585" h="374650">
                      <a:moveTo>
                        <a:pt x="178993" y="249745"/>
                      </a:moveTo>
                      <a:lnTo>
                        <a:pt x="176428" y="247205"/>
                      </a:lnTo>
                      <a:lnTo>
                        <a:pt x="175971" y="245935"/>
                      </a:lnTo>
                      <a:lnTo>
                        <a:pt x="170967" y="248475"/>
                      </a:lnTo>
                      <a:lnTo>
                        <a:pt x="172808" y="249745"/>
                      </a:lnTo>
                      <a:lnTo>
                        <a:pt x="178993" y="249745"/>
                      </a:lnTo>
                      <a:close/>
                    </a:path>
                    <a:path w="616585" h="374650">
                      <a:moveTo>
                        <a:pt x="249643" y="365379"/>
                      </a:moveTo>
                      <a:lnTo>
                        <a:pt x="248881" y="365137"/>
                      </a:lnTo>
                      <a:lnTo>
                        <a:pt x="247434" y="364324"/>
                      </a:lnTo>
                      <a:lnTo>
                        <a:pt x="246011" y="364236"/>
                      </a:lnTo>
                      <a:lnTo>
                        <a:pt x="245668" y="364248"/>
                      </a:lnTo>
                      <a:lnTo>
                        <a:pt x="245414" y="364286"/>
                      </a:lnTo>
                      <a:lnTo>
                        <a:pt x="245160" y="364388"/>
                      </a:lnTo>
                      <a:lnTo>
                        <a:pt x="245097" y="364058"/>
                      </a:lnTo>
                      <a:lnTo>
                        <a:pt x="244805" y="364299"/>
                      </a:lnTo>
                      <a:lnTo>
                        <a:pt x="244411" y="364820"/>
                      </a:lnTo>
                      <a:lnTo>
                        <a:pt x="243801" y="365315"/>
                      </a:lnTo>
                      <a:lnTo>
                        <a:pt x="243547" y="365899"/>
                      </a:lnTo>
                      <a:lnTo>
                        <a:pt x="241325" y="367157"/>
                      </a:lnTo>
                      <a:lnTo>
                        <a:pt x="240601" y="367398"/>
                      </a:lnTo>
                      <a:lnTo>
                        <a:pt x="241490" y="368223"/>
                      </a:lnTo>
                      <a:lnTo>
                        <a:pt x="243217" y="369189"/>
                      </a:lnTo>
                      <a:lnTo>
                        <a:pt x="244551" y="369227"/>
                      </a:lnTo>
                      <a:lnTo>
                        <a:pt x="245745" y="369468"/>
                      </a:lnTo>
                      <a:lnTo>
                        <a:pt x="246227" y="369773"/>
                      </a:lnTo>
                      <a:lnTo>
                        <a:pt x="246811" y="370255"/>
                      </a:lnTo>
                      <a:lnTo>
                        <a:pt x="247091" y="370230"/>
                      </a:lnTo>
                      <a:lnTo>
                        <a:pt x="247307" y="370141"/>
                      </a:lnTo>
                      <a:lnTo>
                        <a:pt x="248500" y="369582"/>
                      </a:lnTo>
                      <a:lnTo>
                        <a:pt x="249237" y="366356"/>
                      </a:lnTo>
                      <a:lnTo>
                        <a:pt x="249643" y="365379"/>
                      </a:lnTo>
                      <a:close/>
                    </a:path>
                    <a:path w="616585" h="374650">
                      <a:moveTo>
                        <a:pt x="263118" y="342455"/>
                      </a:moveTo>
                      <a:lnTo>
                        <a:pt x="261264" y="337375"/>
                      </a:lnTo>
                      <a:lnTo>
                        <a:pt x="260337" y="334835"/>
                      </a:lnTo>
                      <a:lnTo>
                        <a:pt x="259930" y="332295"/>
                      </a:lnTo>
                      <a:lnTo>
                        <a:pt x="260172" y="331025"/>
                      </a:lnTo>
                      <a:lnTo>
                        <a:pt x="258305" y="329755"/>
                      </a:lnTo>
                      <a:lnTo>
                        <a:pt x="258318" y="331025"/>
                      </a:lnTo>
                      <a:lnTo>
                        <a:pt x="253949" y="331025"/>
                      </a:lnTo>
                      <a:lnTo>
                        <a:pt x="253352" y="332295"/>
                      </a:lnTo>
                      <a:lnTo>
                        <a:pt x="253085" y="331025"/>
                      </a:lnTo>
                      <a:lnTo>
                        <a:pt x="251777" y="332181"/>
                      </a:lnTo>
                      <a:lnTo>
                        <a:pt x="250202" y="329755"/>
                      </a:lnTo>
                      <a:lnTo>
                        <a:pt x="252056" y="325945"/>
                      </a:lnTo>
                      <a:lnTo>
                        <a:pt x="247472" y="327215"/>
                      </a:lnTo>
                      <a:lnTo>
                        <a:pt x="247078" y="329755"/>
                      </a:lnTo>
                      <a:lnTo>
                        <a:pt x="246164" y="328485"/>
                      </a:lnTo>
                      <a:lnTo>
                        <a:pt x="245262" y="327215"/>
                      </a:lnTo>
                      <a:lnTo>
                        <a:pt x="245262" y="328485"/>
                      </a:lnTo>
                      <a:lnTo>
                        <a:pt x="245160" y="327215"/>
                      </a:lnTo>
                      <a:lnTo>
                        <a:pt x="244983" y="327215"/>
                      </a:lnTo>
                      <a:lnTo>
                        <a:pt x="243916" y="325945"/>
                      </a:lnTo>
                      <a:lnTo>
                        <a:pt x="242951" y="327215"/>
                      </a:lnTo>
                      <a:lnTo>
                        <a:pt x="241808" y="325945"/>
                      </a:lnTo>
                      <a:lnTo>
                        <a:pt x="241338" y="324675"/>
                      </a:lnTo>
                      <a:lnTo>
                        <a:pt x="239496" y="324675"/>
                      </a:lnTo>
                      <a:lnTo>
                        <a:pt x="238328" y="323405"/>
                      </a:lnTo>
                      <a:lnTo>
                        <a:pt x="236474" y="323405"/>
                      </a:lnTo>
                      <a:lnTo>
                        <a:pt x="234480" y="322135"/>
                      </a:lnTo>
                      <a:lnTo>
                        <a:pt x="233108" y="320865"/>
                      </a:lnTo>
                      <a:lnTo>
                        <a:pt x="233578" y="320865"/>
                      </a:lnTo>
                      <a:lnTo>
                        <a:pt x="232321" y="318325"/>
                      </a:lnTo>
                      <a:lnTo>
                        <a:pt x="228854" y="318325"/>
                      </a:lnTo>
                      <a:lnTo>
                        <a:pt x="228841" y="319595"/>
                      </a:lnTo>
                      <a:lnTo>
                        <a:pt x="229692" y="320865"/>
                      </a:lnTo>
                      <a:lnTo>
                        <a:pt x="231089" y="320865"/>
                      </a:lnTo>
                      <a:lnTo>
                        <a:pt x="231914" y="322135"/>
                      </a:lnTo>
                      <a:lnTo>
                        <a:pt x="230073" y="322135"/>
                      </a:lnTo>
                      <a:lnTo>
                        <a:pt x="226314" y="319595"/>
                      </a:lnTo>
                      <a:lnTo>
                        <a:pt x="222364" y="319595"/>
                      </a:lnTo>
                      <a:lnTo>
                        <a:pt x="221576" y="318325"/>
                      </a:lnTo>
                      <a:lnTo>
                        <a:pt x="220281" y="317055"/>
                      </a:lnTo>
                      <a:lnTo>
                        <a:pt x="219557" y="315785"/>
                      </a:lnTo>
                      <a:lnTo>
                        <a:pt x="217424" y="315785"/>
                      </a:lnTo>
                      <a:lnTo>
                        <a:pt x="215988" y="314515"/>
                      </a:lnTo>
                      <a:lnTo>
                        <a:pt x="215925" y="313245"/>
                      </a:lnTo>
                      <a:lnTo>
                        <a:pt x="214922" y="310705"/>
                      </a:lnTo>
                      <a:lnTo>
                        <a:pt x="214198" y="310705"/>
                      </a:lnTo>
                      <a:lnTo>
                        <a:pt x="211874" y="309435"/>
                      </a:lnTo>
                      <a:lnTo>
                        <a:pt x="210439" y="309435"/>
                      </a:lnTo>
                      <a:lnTo>
                        <a:pt x="209423" y="308165"/>
                      </a:lnTo>
                      <a:lnTo>
                        <a:pt x="208483" y="306997"/>
                      </a:lnTo>
                      <a:lnTo>
                        <a:pt x="208343" y="308165"/>
                      </a:lnTo>
                      <a:lnTo>
                        <a:pt x="208407" y="306895"/>
                      </a:lnTo>
                      <a:lnTo>
                        <a:pt x="208788" y="304355"/>
                      </a:lnTo>
                      <a:lnTo>
                        <a:pt x="211061" y="301815"/>
                      </a:lnTo>
                      <a:lnTo>
                        <a:pt x="213766" y="298005"/>
                      </a:lnTo>
                      <a:lnTo>
                        <a:pt x="212369" y="295465"/>
                      </a:lnTo>
                      <a:lnTo>
                        <a:pt x="210972" y="292925"/>
                      </a:lnTo>
                      <a:lnTo>
                        <a:pt x="208546" y="290385"/>
                      </a:lnTo>
                      <a:lnTo>
                        <a:pt x="208089" y="289115"/>
                      </a:lnTo>
                      <a:lnTo>
                        <a:pt x="205828" y="286575"/>
                      </a:lnTo>
                      <a:lnTo>
                        <a:pt x="205486" y="286575"/>
                      </a:lnTo>
                      <a:lnTo>
                        <a:pt x="204546" y="284035"/>
                      </a:lnTo>
                      <a:lnTo>
                        <a:pt x="203682" y="282765"/>
                      </a:lnTo>
                      <a:lnTo>
                        <a:pt x="202806" y="280225"/>
                      </a:lnTo>
                      <a:lnTo>
                        <a:pt x="202996" y="278955"/>
                      </a:lnTo>
                      <a:lnTo>
                        <a:pt x="200240" y="273875"/>
                      </a:lnTo>
                      <a:lnTo>
                        <a:pt x="198945" y="268795"/>
                      </a:lnTo>
                      <a:lnTo>
                        <a:pt x="198310" y="266255"/>
                      </a:lnTo>
                      <a:lnTo>
                        <a:pt x="198196" y="264934"/>
                      </a:lnTo>
                      <a:lnTo>
                        <a:pt x="196621" y="263715"/>
                      </a:lnTo>
                      <a:lnTo>
                        <a:pt x="195186" y="263715"/>
                      </a:lnTo>
                      <a:lnTo>
                        <a:pt x="195453" y="261175"/>
                      </a:lnTo>
                      <a:lnTo>
                        <a:pt x="196164" y="262445"/>
                      </a:lnTo>
                      <a:lnTo>
                        <a:pt x="197624" y="262445"/>
                      </a:lnTo>
                      <a:lnTo>
                        <a:pt x="196786" y="261175"/>
                      </a:lnTo>
                      <a:lnTo>
                        <a:pt x="195783" y="259905"/>
                      </a:lnTo>
                      <a:lnTo>
                        <a:pt x="194398" y="258635"/>
                      </a:lnTo>
                      <a:lnTo>
                        <a:pt x="194183" y="257365"/>
                      </a:lnTo>
                      <a:lnTo>
                        <a:pt x="192976" y="256095"/>
                      </a:lnTo>
                      <a:lnTo>
                        <a:pt x="190830" y="256095"/>
                      </a:lnTo>
                      <a:lnTo>
                        <a:pt x="190842" y="254825"/>
                      </a:lnTo>
                      <a:lnTo>
                        <a:pt x="189611" y="253555"/>
                      </a:lnTo>
                      <a:lnTo>
                        <a:pt x="189344" y="254825"/>
                      </a:lnTo>
                      <a:lnTo>
                        <a:pt x="186817" y="253555"/>
                      </a:lnTo>
                      <a:lnTo>
                        <a:pt x="185597" y="253555"/>
                      </a:lnTo>
                      <a:lnTo>
                        <a:pt x="183184" y="252285"/>
                      </a:lnTo>
                      <a:lnTo>
                        <a:pt x="182206" y="251015"/>
                      </a:lnTo>
                      <a:lnTo>
                        <a:pt x="174663" y="251015"/>
                      </a:lnTo>
                      <a:lnTo>
                        <a:pt x="160985" y="251015"/>
                      </a:lnTo>
                      <a:lnTo>
                        <a:pt x="159791" y="251015"/>
                      </a:lnTo>
                      <a:lnTo>
                        <a:pt x="154381" y="251015"/>
                      </a:lnTo>
                      <a:lnTo>
                        <a:pt x="155359" y="252285"/>
                      </a:lnTo>
                      <a:lnTo>
                        <a:pt x="156438" y="253555"/>
                      </a:lnTo>
                      <a:lnTo>
                        <a:pt x="155981" y="254825"/>
                      </a:lnTo>
                      <a:lnTo>
                        <a:pt x="156959" y="254825"/>
                      </a:lnTo>
                      <a:lnTo>
                        <a:pt x="157226" y="256095"/>
                      </a:lnTo>
                      <a:lnTo>
                        <a:pt x="157060" y="256095"/>
                      </a:lnTo>
                      <a:lnTo>
                        <a:pt x="157264" y="258635"/>
                      </a:lnTo>
                      <a:lnTo>
                        <a:pt x="157937" y="259905"/>
                      </a:lnTo>
                      <a:lnTo>
                        <a:pt x="158711" y="262445"/>
                      </a:lnTo>
                      <a:lnTo>
                        <a:pt x="158623" y="263715"/>
                      </a:lnTo>
                      <a:lnTo>
                        <a:pt x="159626" y="266255"/>
                      </a:lnTo>
                      <a:lnTo>
                        <a:pt x="160223" y="266255"/>
                      </a:lnTo>
                      <a:lnTo>
                        <a:pt x="159689" y="270065"/>
                      </a:lnTo>
                      <a:lnTo>
                        <a:pt x="160477" y="268795"/>
                      </a:lnTo>
                      <a:lnTo>
                        <a:pt x="160997" y="270065"/>
                      </a:lnTo>
                      <a:lnTo>
                        <a:pt x="161937" y="273875"/>
                      </a:lnTo>
                      <a:lnTo>
                        <a:pt x="164312" y="275145"/>
                      </a:lnTo>
                      <a:lnTo>
                        <a:pt x="161417" y="275145"/>
                      </a:lnTo>
                      <a:lnTo>
                        <a:pt x="162890" y="276415"/>
                      </a:lnTo>
                      <a:lnTo>
                        <a:pt x="161925" y="277685"/>
                      </a:lnTo>
                      <a:lnTo>
                        <a:pt x="163068" y="278955"/>
                      </a:lnTo>
                      <a:lnTo>
                        <a:pt x="163639" y="278955"/>
                      </a:lnTo>
                      <a:lnTo>
                        <a:pt x="164782" y="280225"/>
                      </a:lnTo>
                      <a:lnTo>
                        <a:pt x="164223" y="281495"/>
                      </a:lnTo>
                      <a:lnTo>
                        <a:pt x="165328" y="282765"/>
                      </a:lnTo>
                      <a:lnTo>
                        <a:pt x="166776" y="282765"/>
                      </a:lnTo>
                      <a:lnTo>
                        <a:pt x="167894" y="284035"/>
                      </a:lnTo>
                      <a:lnTo>
                        <a:pt x="167678" y="284035"/>
                      </a:lnTo>
                      <a:lnTo>
                        <a:pt x="168236" y="285305"/>
                      </a:lnTo>
                      <a:lnTo>
                        <a:pt x="169583" y="285305"/>
                      </a:lnTo>
                      <a:lnTo>
                        <a:pt x="170002" y="286575"/>
                      </a:lnTo>
                      <a:lnTo>
                        <a:pt x="167779" y="285305"/>
                      </a:lnTo>
                      <a:lnTo>
                        <a:pt x="167043" y="286575"/>
                      </a:lnTo>
                      <a:lnTo>
                        <a:pt x="169113" y="286575"/>
                      </a:lnTo>
                      <a:lnTo>
                        <a:pt x="169811" y="287845"/>
                      </a:lnTo>
                      <a:lnTo>
                        <a:pt x="166624" y="287845"/>
                      </a:lnTo>
                      <a:lnTo>
                        <a:pt x="164452" y="289115"/>
                      </a:lnTo>
                      <a:lnTo>
                        <a:pt x="164566" y="290385"/>
                      </a:lnTo>
                      <a:lnTo>
                        <a:pt x="162979" y="290385"/>
                      </a:lnTo>
                      <a:lnTo>
                        <a:pt x="161772" y="289115"/>
                      </a:lnTo>
                      <a:lnTo>
                        <a:pt x="161721" y="291655"/>
                      </a:lnTo>
                      <a:lnTo>
                        <a:pt x="163957" y="291655"/>
                      </a:lnTo>
                      <a:lnTo>
                        <a:pt x="161836" y="292925"/>
                      </a:lnTo>
                      <a:lnTo>
                        <a:pt x="160883" y="292925"/>
                      </a:lnTo>
                      <a:lnTo>
                        <a:pt x="159829" y="291655"/>
                      </a:lnTo>
                      <a:lnTo>
                        <a:pt x="158851" y="290385"/>
                      </a:lnTo>
                      <a:lnTo>
                        <a:pt x="157480" y="290385"/>
                      </a:lnTo>
                      <a:lnTo>
                        <a:pt x="156502" y="289115"/>
                      </a:lnTo>
                      <a:lnTo>
                        <a:pt x="156972" y="286575"/>
                      </a:lnTo>
                      <a:lnTo>
                        <a:pt x="156705" y="284035"/>
                      </a:lnTo>
                      <a:lnTo>
                        <a:pt x="156832" y="284035"/>
                      </a:lnTo>
                      <a:lnTo>
                        <a:pt x="156108" y="282765"/>
                      </a:lnTo>
                      <a:lnTo>
                        <a:pt x="155448" y="284035"/>
                      </a:lnTo>
                      <a:lnTo>
                        <a:pt x="154978" y="282765"/>
                      </a:lnTo>
                      <a:lnTo>
                        <a:pt x="154203" y="282765"/>
                      </a:lnTo>
                      <a:lnTo>
                        <a:pt x="153784" y="281495"/>
                      </a:lnTo>
                      <a:lnTo>
                        <a:pt x="153454" y="280225"/>
                      </a:lnTo>
                      <a:lnTo>
                        <a:pt x="154089" y="278955"/>
                      </a:lnTo>
                      <a:lnTo>
                        <a:pt x="153009" y="277685"/>
                      </a:lnTo>
                      <a:lnTo>
                        <a:pt x="152349" y="280225"/>
                      </a:lnTo>
                      <a:lnTo>
                        <a:pt x="151853" y="277685"/>
                      </a:lnTo>
                      <a:lnTo>
                        <a:pt x="151498" y="276415"/>
                      </a:lnTo>
                      <a:lnTo>
                        <a:pt x="151155" y="275145"/>
                      </a:lnTo>
                      <a:lnTo>
                        <a:pt x="150812" y="273875"/>
                      </a:lnTo>
                      <a:lnTo>
                        <a:pt x="151828" y="270065"/>
                      </a:lnTo>
                      <a:lnTo>
                        <a:pt x="150139" y="267525"/>
                      </a:lnTo>
                      <a:lnTo>
                        <a:pt x="149593" y="267525"/>
                      </a:lnTo>
                      <a:lnTo>
                        <a:pt x="148018" y="266255"/>
                      </a:lnTo>
                      <a:lnTo>
                        <a:pt x="146697" y="267525"/>
                      </a:lnTo>
                      <a:lnTo>
                        <a:pt x="145719" y="266255"/>
                      </a:lnTo>
                      <a:lnTo>
                        <a:pt x="145796" y="264934"/>
                      </a:lnTo>
                      <a:lnTo>
                        <a:pt x="144970" y="263715"/>
                      </a:lnTo>
                      <a:lnTo>
                        <a:pt x="143408" y="263715"/>
                      </a:lnTo>
                      <a:lnTo>
                        <a:pt x="143573" y="262445"/>
                      </a:lnTo>
                      <a:lnTo>
                        <a:pt x="142379" y="261175"/>
                      </a:lnTo>
                      <a:lnTo>
                        <a:pt x="141782" y="262445"/>
                      </a:lnTo>
                      <a:lnTo>
                        <a:pt x="139573" y="262445"/>
                      </a:lnTo>
                      <a:lnTo>
                        <a:pt x="137706" y="261175"/>
                      </a:lnTo>
                      <a:lnTo>
                        <a:pt x="136855" y="259905"/>
                      </a:lnTo>
                      <a:lnTo>
                        <a:pt x="134099" y="258635"/>
                      </a:lnTo>
                      <a:lnTo>
                        <a:pt x="134581" y="258635"/>
                      </a:lnTo>
                      <a:lnTo>
                        <a:pt x="135966" y="257365"/>
                      </a:lnTo>
                      <a:lnTo>
                        <a:pt x="132638" y="257365"/>
                      </a:lnTo>
                      <a:lnTo>
                        <a:pt x="130505" y="256095"/>
                      </a:lnTo>
                      <a:lnTo>
                        <a:pt x="120053" y="256095"/>
                      </a:lnTo>
                      <a:lnTo>
                        <a:pt x="122199" y="258635"/>
                      </a:lnTo>
                      <a:lnTo>
                        <a:pt x="125234" y="261175"/>
                      </a:lnTo>
                      <a:lnTo>
                        <a:pt x="125920" y="259905"/>
                      </a:lnTo>
                      <a:lnTo>
                        <a:pt x="127254" y="263715"/>
                      </a:lnTo>
                      <a:lnTo>
                        <a:pt x="133108" y="261175"/>
                      </a:lnTo>
                      <a:lnTo>
                        <a:pt x="134315" y="264985"/>
                      </a:lnTo>
                      <a:lnTo>
                        <a:pt x="132435" y="263715"/>
                      </a:lnTo>
                      <a:lnTo>
                        <a:pt x="127914" y="263715"/>
                      </a:lnTo>
                      <a:lnTo>
                        <a:pt x="127330" y="264985"/>
                      </a:lnTo>
                      <a:lnTo>
                        <a:pt x="128587" y="264985"/>
                      </a:lnTo>
                      <a:lnTo>
                        <a:pt x="131076" y="266255"/>
                      </a:lnTo>
                      <a:lnTo>
                        <a:pt x="132969" y="267525"/>
                      </a:lnTo>
                      <a:lnTo>
                        <a:pt x="133654" y="268795"/>
                      </a:lnTo>
                      <a:lnTo>
                        <a:pt x="132016" y="269913"/>
                      </a:lnTo>
                      <a:lnTo>
                        <a:pt x="132397" y="270065"/>
                      </a:lnTo>
                      <a:lnTo>
                        <a:pt x="133629" y="271335"/>
                      </a:lnTo>
                      <a:lnTo>
                        <a:pt x="130937" y="270065"/>
                      </a:lnTo>
                      <a:lnTo>
                        <a:pt x="127939" y="270065"/>
                      </a:lnTo>
                      <a:lnTo>
                        <a:pt x="122186" y="267525"/>
                      </a:lnTo>
                      <a:lnTo>
                        <a:pt x="120078" y="267525"/>
                      </a:lnTo>
                      <a:lnTo>
                        <a:pt x="119329" y="268795"/>
                      </a:lnTo>
                      <a:lnTo>
                        <a:pt x="117055" y="268795"/>
                      </a:lnTo>
                      <a:lnTo>
                        <a:pt x="116166" y="270065"/>
                      </a:lnTo>
                      <a:lnTo>
                        <a:pt x="116890" y="270065"/>
                      </a:lnTo>
                      <a:lnTo>
                        <a:pt x="116141" y="271335"/>
                      </a:lnTo>
                      <a:lnTo>
                        <a:pt x="115392" y="271335"/>
                      </a:lnTo>
                      <a:lnTo>
                        <a:pt x="114795" y="272605"/>
                      </a:lnTo>
                      <a:lnTo>
                        <a:pt x="115646" y="273875"/>
                      </a:lnTo>
                      <a:lnTo>
                        <a:pt x="115671" y="275145"/>
                      </a:lnTo>
                      <a:lnTo>
                        <a:pt x="115176" y="273875"/>
                      </a:lnTo>
                      <a:lnTo>
                        <a:pt x="114160" y="273875"/>
                      </a:lnTo>
                      <a:lnTo>
                        <a:pt x="110058" y="272605"/>
                      </a:lnTo>
                      <a:lnTo>
                        <a:pt x="112128" y="272605"/>
                      </a:lnTo>
                      <a:lnTo>
                        <a:pt x="111620" y="270065"/>
                      </a:lnTo>
                      <a:lnTo>
                        <a:pt x="110782" y="271335"/>
                      </a:lnTo>
                      <a:lnTo>
                        <a:pt x="108356" y="271335"/>
                      </a:lnTo>
                      <a:lnTo>
                        <a:pt x="107403" y="273875"/>
                      </a:lnTo>
                      <a:lnTo>
                        <a:pt x="108661" y="272605"/>
                      </a:lnTo>
                      <a:lnTo>
                        <a:pt x="108254" y="275145"/>
                      </a:lnTo>
                      <a:lnTo>
                        <a:pt x="106489" y="276415"/>
                      </a:lnTo>
                      <a:lnTo>
                        <a:pt x="105359" y="276415"/>
                      </a:lnTo>
                      <a:lnTo>
                        <a:pt x="105143" y="275145"/>
                      </a:lnTo>
                      <a:lnTo>
                        <a:pt x="107226" y="275145"/>
                      </a:lnTo>
                      <a:lnTo>
                        <a:pt x="102184" y="272605"/>
                      </a:lnTo>
                      <a:lnTo>
                        <a:pt x="105600" y="272605"/>
                      </a:lnTo>
                      <a:lnTo>
                        <a:pt x="108000" y="271335"/>
                      </a:lnTo>
                      <a:lnTo>
                        <a:pt x="109105" y="270065"/>
                      </a:lnTo>
                      <a:lnTo>
                        <a:pt x="109664" y="269240"/>
                      </a:lnTo>
                      <a:lnTo>
                        <a:pt x="109524" y="268795"/>
                      </a:lnTo>
                      <a:lnTo>
                        <a:pt x="109956" y="268795"/>
                      </a:lnTo>
                      <a:lnTo>
                        <a:pt x="110515" y="268795"/>
                      </a:lnTo>
                      <a:lnTo>
                        <a:pt x="111404" y="267525"/>
                      </a:lnTo>
                      <a:lnTo>
                        <a:pt x="112674" y="267525"/>
                      </a:lnTo>
                      <a:lnTo>
                        <a:pt x="110185" y="266255"/>
                      </a:lnTo>
                      <a:lnTo>
                        <a:pt x="100266" y="261175"/>
                      </a:lnTo>
                      <a:lnTo>
                        <a:pt x="90347" y="256095"/>
                      </a:lnTo>
                      <a:lnTo>
                        <a:pt x="87757" y="254825"/>
                      </a:lnTo>
                      <a:lnTo>
                        <a:pt x="83248" y="257365"/>
                      </a:lnTo>
                      <a:lnTo>
                        <a:pt x="82537" y="257365"/>
                      </a:lnTo>
                      <a:lnTo>
                        <a:pt x="81318" y="259905"/>
                      </a:lnTo>
                      <a:lnTo>
                        <a:pt x="79514" y="261175"/>
                      </a:lnTo>
                      <a:lnTo>
                        <a:pt x="78816" y="263715"/>
                      </a:lnTo>
                      <a:lnTo>
                        <a:pt x="80606" y="261175"/>
                      </a:lnTo>
                      <a:lnTo>
                        <a:pt x="82626" y="263715"/>
                      </a:lnTo>
                      <a:lnTo>
                        <a:pt x="79451" y="264934"/>
                      </a:lnTo>
                      <a:lnTo>
                        <a:pt x="79997" y="263715"/>
                      </a:lnTo>
                      <a:lnTo>
                        <a:pt x="79311" y="264109"/>
                      </a:lnTo>
                      <a:lnTo>
                        <a:pt x="79311" y="264985"/>
                      </a:lnTo>
                      <a:lnTo>
                        <a:pt x="78079" y="266255"/>
                      </a:lnTo>
                      <a:lnTo>
                        <a:pt x="78574" y="264985"/>
                      </a:lnTo>
                      <a:lnTo>
                        <a:pt x="79311" y="264985"/>
                      </a:lnTo>
                      <a:lnTo>
                        <a:pt x="79311" y="264109"/>
                      </a:lnTo>
                      <a:lnTo>
                        <a:pt x="77774" y="264985"/>
                      </a:lnTo>
                      <a:lnTo>
                        <a:pt x="71374" y="264985"/>
                      </a:lnTo>
                      <a:lnTo>
                        <a:pt x="66332" y="268795"/>
                      </a:lnTo>
                      <a:lnTo>
                        <a:pt x="64935" y="266255"/>
                      </a:lnTo>
                      <a:lnTo>
                        <a:pt x="65836" y="266255"/>
                      </a:lnTo>
                      <a:lnTo>
                        <a:pt x="68961" y="264985"/>
                      </a:lnTo>
                      <a:lnTo>
                        <a:pt x="69265" y="263715"/>
                      </a:lnTo>
                      <a:lnTo>
                        <a:pt x="68313" y="262445"/>
                      </a:lnTo>
                      <a:lnTo>
                        <a:pt x="68453" y="262445"/>
                      </a:lnTo>
                      <a:lnTo>
                        <a:pt x="70154" y="261175"/>
                      </a:lnTo>
                      <a:lnTo>
                        <a:pt x="73406" y="261175"/>
                      </a:lnTo>
                      <a:lnTo>
                        <a:pt x="74193" y="259905"/>
                      </a:lnTo>
                      <a:lnTo>
                        <a:pt x="73215" y="259905"/>
                      </a:lnTo>
                      <a:lnTo>
                        <a:pt x="72796" y="258635"/>
                      </a:lnTo>
                      <a:lnTo>
                        <a:pt x="73164" y="258635"/>
                      </a:lnTo>
                      <a:lnTo>
                        <a:pt x="73126" y="256095"/>
                      </a:lnTo>
                      <a:lnTo>
                        <a:pt x="74193" y="252285"/>
                      </a:lnTo>
                      <a:lnTo>
                        <a:pt x="73939" y="251015"/>
                      </a:lnTo>
                      <a:lnTo>
                        <a:pt x="71196" y="249745"/>
                      </a:lnTo>
                      <a:lnTo>
                        <a:pt x="68986" y="248475"/>
                      </a:lnTo>
                      <a:lnTo>
                        <a:pt x="66598" y="245935"/>
                      </a:lnTo>
                      <a:lnTo>
                        <a:pt x="63322" y="244665"/>
                      </a:lnTo>
                      <a:lnTo>
                        <a:pt x="61861" y="245935"/>
                      </a:lnTo>
                      <a:lnTo>
                        <a:pt x="54508" y="248475"/>
                      </a:lnTo>
                      <a:lnTo>
                        <a:pt x="48361" y="251015"/>
                      </a:lnTo>
                      <a:lnTo>
                        <a:pt x="39039" y="253555"/>
                      </a:lnTo>
                      <a:lnTo>
                        <a:pt x="36195" y="254825"/>
                      </a:lnTo>
                      <a:lnTo>
                        <a:pt x="30200" y="257365"/>
                      </a:lnTo>
                      <a:lnTo>
                        <a:pt x="26593" y="257365"/>
                      </a:lnTo>
                      <a:lnTo>
                        <a:pt x="22898" y="259905"/>
                      </a:lnTo>
                      <a:lnTo>
                        <a:pt x="21831" y="261175"/>
                      </a:lnTo>
                      <a:lnTo>
                        <a:pt x="18173" y="263715"/>
                      </a:lnTo>
                      <a:lnTo>
                        <a:pt x="15544" y="264985"/>
                      </a:lnTo>
                      <a:lnTo>
                        <a:pt x="11976" y="266255"/>
                      </a:lnTo>
                      <a:lnTo>
                        <a:pt x="9398" y="267525"/>
                      </a:lnTo>
                      <a:lnTo>
                        <a:pt x="5943" y="272605"/>
                      </a:lnTo>
                      <a:lnTo>
                        <a:pt x="17259" y="273875"/>
                      </a:lnTo>
                      <a:lnTo>
                        <a:pt x="10464" y="276415"/>
                      </a:lnTo>
                      <a:lnTo>
                        <a:pt x="8483" y="277685"/>
                      </a:lnTo>
                      <a:lnTo>
                        <a:pt x="7581" y="277685"/>
                      </a:lnTo>
                      <a:lnTo>
                        <a:pt x="5765" y="278955"/>
                      </a:lnTo>
                      <a:lnTo>
                        <a:pt x="6375" y="280225"/>
                      </a:lnTo>
                      <a:lnTo>
                        <a:pt x="3263" y="282765"/>
                      </a:lnTo>
                      <a:lnTo>
                        <a:pt x="1168" y="284035"/>
                      </a:lnTo>
                      <a:lnTo>
                        <a:pt x="304" y="287845"/>
                      </a:lnTo>
                      <a:lnTo>
                        <a:pt x="0" y="287845"/>
                      </a:lnTo>
                      <a:lnTo>
                        <a:pt x="25" y="289115"/>
                      </a:lnTo>
                      <a:lnTo>
                        <a:pt x="228" y="291655"/>
                      </a:lnTo>
                      <a:lnTo>
                        <a:pt x="2006" y="292925"/>
                      </a:lnTo>
                      <a:lnTo>
                        <a:pt x="3378" y="291655"/>
                      </a:lnTo>
                      <a:lnTo>
                        <a:pt x="12179" y="291655"/>
                      </a:lnTo>
                      <a:lnTo>
                        <a:pt x="10160" y="294195"/>
                      </a:lnTo>
                      <a:lnTo>
                        <a:pt x="12915" y="294195"/>
                      </a:lnTo>
                      <a:lnTo>
                        <a:pt x="14274" y="291655"/>
                      </a:lnTo>
                      <a:lnTo>
                        <a:pt x="14960" y="290385"/>
                      </a:lnTo>
                      <a:lnTo>
                        <a:pt x="17919" y="291655"/>
                      </a:lnTo>
                      <a:lnTo>
                        <a:pt x="17195" y="291655"/>
                      </a:lnTo>
                      <a:lnTo>
                        <a:pt x="17005" y="292925"/>
                      </a:lnTo>
                      <a:lnTo>
                        <a:pt x="15887" y="294195"/>
                      </a:lnTo>
                      <a:lnTo>
                        <a:pt x="14579" y="294195"/>
                      </a:lnTo>
                      <a:lnTo>
                        <a:pt x="12560" y="295465"/>
                      </a:lnTo>
                      <a:lnTo>
                        <a:pt x="11188" y="296735"/>
                      </a:lnTo>
                      <a:lnTo>
                        <a:pt x="12941" y="299275"/>
                      </a:lnTo>
                      <a:lnTo>
                        <a:pt x="22733" y="299275"/>
                      </a:lnTo>
                      <a:lnTo>
                        <a:pt x="23698" y="298005"/>
                      </a:lnTo>
                      <a:lnTo>
                        <a:pt x="22694" y="296735"/>
                      </a:lnTo>
                      <a:lnTo>
                        <a:pt x="22936" y="295465"/>
                      </a:lnTo>
                      <a:lnTo>
                        <a:pt x="23710" y="296735"/>
                      </a:lnTo>
                      <a:lnTo>
                        <a:pt x="26035" y="296735"/>
                      </a:lnTo>
                      <a:lnTo>
                        <a:pt x="24168" y="298005"/>
                      </a:lnTo>
                      <a:lnTo>
                        <a:pt x="25412" y="299275"/>
                      </a:lnTo>
                      <a:lnTo>
                        <a:pt x="27635" y="298005"/>
                      </a:lnTo>
                      <a:lnTo>
                        <a:pt x="30937" y="298005"/>
                      </a:lnTo>
                      <a:lnTo>
                        <a:pt x="33312" y="296735"/>
                      </a:lnTo>
                      <a:lnTo>
                        <a:pt x="39014" y="296735"/>
                      </a:lnTo>
                      <a:lnTo>
                        <a:pt x="42519" y="295465"/>
                      </a:lnTo>
                      <a:lnTo>
                        <a:pt x="45999" y="295465"/>
                      </a:lnTo>
                      <a:lnTo>
                        <a:pt x="12712" y="308165"/>
                      </a:lnTo>
                      <a:lnTo>
                        <a:pt x="10375" y="309435"/>
                      </a:lnTo>
                      <a:lnTo>
                        <a:pt x="10007" y="309435"/>
                      </a:lnTo>
                      <a:lnTo>
                        <a:pt x="12344" y="311975"/>
                      </a:lnTo>
                      <a:lnTo>
                        <a:pt x="14185" y="314515"/>
                      </a:lnTo>
                      <a:lnTo>
                        <a:pt x="18211" y="314515"/>
                      </a:lnTo>
                      <a:lnTo>
                        <a:pt x="20510" y="317055"/>
                      </a:lnTo>
                      <a:lnTo>
                        <a:pt x="20002" y="319595"/>
                      </a:lnTo>
                      <a:lnTo>
                        <a:pt x="23025" y="319595"/>
                      </a:lnTo>
                      <a:lnTo>
                        <a:pt x="23774" y="318325"/>
                      </a:lnTo>
                      <a:lnTo>
                        <a:pt x="25438" y="318325"/>
                      </a:lnTo>
                      <a:lnTo>
                        <a:pt x="25654" y="319595"/>
                      </a:lnTo>
                      <a:lnTo>
                        <a:pt x="32842" y="319595"/>
                      </a:lnTo>
                      <a:lnTo>
                        <a:pt x="37122" y="318325"/>
                      </a:lnTo>
                      <a:lnTo>
                        <a:pt x="41795" y="318325"/>
                      </a:lnTo>
                      <a:lnTo>
                        <a:pt x="42125" y="319595"/>
                      </a:lnTo>
                      <a:lnTo>
                        <a:pt x="52019" y="319595"/>
                      </a:lnTo>
                      <a:lnTo>
                        <a:pt x="55803" y="318325"/>
                      </a:lnTo>
                      <a:lnTo>
                        <a:pt x="59283" y="319595"/>
                      </a:lnTo>
                      <a:lnTo>
                        <a:pt x="62217" y="318325"/>
                      </a:lnTo>
                      <a:lnTo>
                        <a:pt x="65443" y="318325"/>
                      </a:lnTo>
                      <a:lnTo>
                        <a:pt x="68580" y="317055"/>
                      </a:lnTo>
                      <a:lnTo>
                        <a:pt x="69672" y="318325"/>
                      </a:lnTo>
                      <a:lnTo>
                        <a:pt x="72504" y="317055"/>
                      </a:lnTo>
                      <a:lnTo>
                        <a:pt x="73152" y="315785"/>
                      </a:lnTo>
                      <a:lnTo>
                        <a:pt x="76250" y="317055"/>
                      </a:lnTo>
                      <a:lnTo>
                        <a:pt x="77698" y="318325"/>
                      </a:lnTo>
                      <a:lnTo>
                        <a:pt x="80035" y="318325"/>
                      </a:lnTo>
                      <a:lnTo>
                        <a:pt x="80187" y="317055"/>
                      </a:lnTo>
                      <a:lnTo>
                        <a:pt x="81635" y="317055"/>
                      </a:lnTo>
                      <a:lnTo>
                        <a:pt x="82689" y="318325"/>
                      </a:lnTo>
                      <a:lnTo>
                        <a:pt x="84899" y="318325"/>
                      </a:lnTo>
                      <a:lnTo>
                        <a:pt x="85280" y="319595"/>
                      </a:lnTo>
                      <a:lnTo>
                        <a:pt x="87998" y="319595"/>
                      </a:lnTo>
                      <a:lnTo>
                        <a:pt x="88976" y="320865"/>
                      </a:lnTo>
                      <a:lnTo>
                        <a:pt x="93179" y="320865"/>
                      </a:lnTo>
                      <a:lnTo>
                        <a:pt x="95148" y="322135"/>
                      </a:lnTo>
                      <a:lnTo>
                        <a:pt x="95364" y="320865"/>
                      </a:lnTo>
                      <a:lnTo>
                        <a:pt x="96088" y="320865"/>
                      </a:lnTo>
                      <a:lnTo>
                        <a:pt x="95999" y="322135"/>
                      </a:lnTo>
                      <a:lnTo>
                        <a:pt x="100711" y="322135"/>
                      </a:lnTo>
                      <a:lnTo>
                        <a:pt x="100012" y="323405"/>
                      </a:lnTo>
                      <a:lnTo>
                        <a:pt x="102146" y="325945"/>
                      </a:lnTo>
                      <a:lnTo>
                        <a:pt x="108648" y="325945"/>
                      </a:lnTo>
                      <a:lnTo>
                        <a:pt x="107911" y="327215"/>
                      </a:lnTo>
                      <a:lnTo>
                        <a:pt x="109537" y="327215"/>
                      </a:lnTo>
                      <a:lnTo>
                        <a:pt x="105994" y="329755"/>
                      </a:lnTo>
                      <a:lnTo>
                        <a:pt x="101879" y="327215"/>
                      </a:lnTo>
                      <a:lnTo>
                        <a:pt x="98793" y="327215"/>
                      </a:lnTo>
                      <a:lnTo>
                        <a:pt x="99377" y="328485"/>
                      </a:lnTo>
                      <a:lnTo>
                        <a:pt x="97777" y="328485"/>
                      </a:lnTo>
                      <a:lnTo>
                        <a:pt x="96024" y="329755"/>
                      </a:lnTo>
                      <a:lnTo>
                        <a:pt x="92290" y="329755"/>
                      </a:lnTo>
                      <a:lnTo>
                        <a:pt x="90678" y="328485"/>
                      </a:lnTo>
                      <a:lnTo>
                        <a:pt x="86042" y="328485"/>
                      </a:lnTo>
                      <a:lnTo>
                        <a:pt x="83159" y="327215"/>
                      </a:lnTo>
                      <a:lnTo>
                        <a:pt x="76708" y="328485"/>
                      </a:lnTo>
                      <a:lnTo>
                        <a:pt x="67716" y="325945"/>
                      </a:lnTo>
                      <a:lnTo>
                        <a:pt x="64033" y="327215"/>
                      </a:lnTo>
                      <a:lnTo>
                        <a:pt x="55448" y="328485"/>
                      </a:lnTo>
                      <a:lnTo>
                        <a:pt x="50203" y="328485"/>
                      </a:lnTo>
                      <a:lnTo>
                        <a:pt x="37947" y="329755"/>
                      </a:lnTo>
                      <a:lnTo>
                        <a:pt x="31318" y="332295"/>
                      </a:lnTo>
                      <a:lnTo>
                        <a:pt x="24434" y="334835"/>
                      </a:lnTo>
                      <a:lnTo>
                        <a:pt x="25285" y="337375"/>
                      </a:lnTo>
                      <a:lnTo>
                        <a:pt x="25996" y="338645"/>
                      </a:lnTo>
                      <a:lnTo>
                        <a:pt x="27952" y="342455"/>
                      </a:lnTo>
                      <a:lnTo>
                        <a:pt x="31356" y="343725"/>
                      </a:lnTo>
                      <a:lnTo>
                        <a:pt x="32308" y="343725"/>
                      </a:lnTo>
                      <a:lnTo>
                        <a:pt x="32092" y="344995"/>
                      </a:lnTo>
                      <a:lnTo>
                        <a:pt x="31661" y="344995"/>
                      </a:lnTo>
                      <a:lnTo>
                        <a:pt x="36156" y="347535"/>
                      </a:lnTo>
                      <a:lnTo>
                        <a:pt x="41262" y="351345"/>
                      </a:lnTo>
                      <a:lnTo>
                        <a:pt x="48387" y="353885"/>
                      </a:lnTo>
                      <a:lnTo>
                        <a:pt x="59156" y="353885"/>
                      </a:lnTo>
                      <a:lnTo>
                        <a:pt x="76441" y="355155"/>
                      </a:lnTo>
                      <a:lnTo>
                        <a:pt x="79336" y="355155"/>
                      </a:lnTo>
                      <a:lnTo>
                        <a:pt x="173596" y="355155"/>
                      </a:lnTo>
                      <a:lnTo>
                        <a:pt x="175298" y="353885"/>
                      </a:lnTo>
                      <a:lnTo>
                        <a:pt x="174231" y="353885"/>
                      </a:lnTo>
                      <a:lnTo>
                        <a:pt x="174980" y="351345"/>
                      </a:lnTo>
                      <a:lnTo>
                        <a:pt x="178473" y="347535"/>
                      </a:lnTo>
                      <a:lnTo>
                        <a:pt x="182778" y="348805"/>
                      </a:lnTo>
                      <a:lnTo>
                        <a:pt x="184632" y="351345"/>
                      </a:lnTo>
                      <a:lnTo>
                        <a:pt x="182918" y="355155"/>
                      </a:lnTo>
                      <a:lnTo>
                        <a:pt x="180797" y="355155"/>
                      </a:lnTo>
                      <a:lnTo>
                        <a:pt x="185940" y="356425"/>
                      </a:lnTo>
                      <a:lnTo>
                        <a:pt x="189179" y="355155"/>
                      </a:lnTo>
                      <a:lnTo>
                        <a:pt x="193078" y="356425"/>
                      </a:lnTo>
                      <a:lnTo>
                        <a:pt x="193941" y="356425"/>
                      </a:lnTo>
                      <a:lnTo>
                        <a:pt x="195541" y="357695"/>
                      </a:lnTo>
                      <a:lnTo>
                        <a:pt x="203466" y="357695"/>
                      </a:lnTo>
                      <a:lnTo>
                        <a:pt x="203682" y="360235"/>
                      </a:lnTo>
                      <a:lnTo>
                        <a:pt x="201891" y="358965"/>
                      </a:lnTo>
                      <a:lnTo>
                        <a:pt x="201853" y="360235"/>
                      </a:lnTo>
                      <a:lnTo>
                        <a:pt x="200291" y="360235"/>
                      </a:lnTo>
                      <a:lnTo>
                        <a:pt x="199834" y="361505"/>
                      </a:lnTo>
                      <a:lnTo>
                        <a:pt x="198526" y="361505"/>
                      </a:lnTo>
                      <a:lnTo>
                        <a:pt x="199898" y="362775"/>
                      </a:lnTo>
                      <a:lnTo>
                        <a:pt x="202526" y="361505"/>
                      </a:lnTo>
                      <a:lnTo>
                        <a:pt x="206260" y="361505"/>
                      </a:lnTo>
                      <a:lnTo>
                        <a:pt x="211188" y="360235"/>
                      </a:lnTo>
                      <a:lnTo>
                        <a:pt x="213702" y="362775"/>
                      </a:lnTo>
                      <a:lnTo>
                        <a:pt x="213220" y="362775"/>
                      </a:lnTo>
                      <a:lnTo>
                        <a:pt x="229831" y="365315"/>
                      </a:lnTo>
                      <a:lnTo>
                        <a:pt x="233286" y="365315"/>
                      </a:lnTo>
                      <a:lnTo>
                        <a:pt x="239585" y="362775"/>
                      </a:lnTo>
                      <a:lnTo>
                        <a:pt x="241173" y="362775"/>
                      </a:lnTo>
                      <a:lnTo>
                        <a:pt x="244944" y="361505"/>
                      </a:lnTo>
                      <a:lnTo>
                        <a:pt x="245262" y="361505"/>
                      </a:lnTo>
                      <a:lnTo>
                        <a:pt x="246011" y="361505"/>
                      </a:lnTo>
                      <a:lnTo>
                        <a:pt x="247637" y="360235"/>
                      </a:lnTo>
                      <a:lnTo>
                        <a:pt x="248170" y="360235"/>
                      </a:lnTo>
                      <a:lnTo>
                        <a:pt x="247129" y="358965"/>
                      </a:lnTo>
                      <a:lnTo>
                        <a:pt x="248005" y="358965"/>
                      </a:lnTo>
                      <a:lnTo>
                        <a:pt x="248488" y="357695"/>
                      </a:lnTo>
                      <a:lnTo>
                        <a:pt x="249148" y="356425"/>
                      </a:lnTo>
                      <a:lnTo>
                        <a:pt x="248170" y="355155"/>
                      </a:lnTo>
                      <a:lnTo>
                        <a:pt x="245287" y="355155"/>
                      </a:lnTo>
                      <a:lnTo>
                        <a:pt x="245262" y="356425"/>
                      </a:lnTo>
                      <a:lnTo>
                        <a:pt x="245262" y="355155"/>
                      </a:lnTo>
                      <a:lnTo>
                        <a:pt x="244703" y="355155"/>
                      </a:lnTo>
                      <a:lnTo>
                        <a:pt x="243649" y="356425"/>
                      </a:lnTo>
                      <a:lnTo>
                        <a:pt x="242544" y="353885"/>
                      </a:lnTo>
                      <a:lnTo>
                        <a:pt x="243967" y="355155"/>
                      </a:lnTo>
                      <a:lnTo>
                        <a:pt x="244436" y="353885"/>
                      </a:lnTo>
                      <a:lnTo>
                        <a:pt x="244919" y="352615"/>
                      </a:lnTo>
                      <a:lnTo>
                        <a:pt x="242836" y="352615"/>
                      </a:lnTo>
                      <a:lnTo>
                        <a:pt x="243509" y="351345"/>
                      </a:lnTo>
                      <a:lnTo>
                        <a:pt x="245300" y="351345"/>
                      </a:lnTo>
                      <a:lnTo>
                        <a:pt x="246278" y="350075"/>
                      </a:lnTo>
                      <a:lnTo>
                        <a:pt x="246595" y="348805"/>
                      </a:lnTo>
                      <a:lnTo>
                        <a:pt x="244551" y="348805"/>
                      </a:lnTo>
                      <a:lnTo>
                        <a:pt x="238455" y="347535"/>
                      </a:lnTo>
                      <a:lnTo>
                        <a:pt x="238645" y="348805"/>
                      </a:lnTo>
                      <a:lnTo>
                        <a:pt x="234048" y="351345"/>
                      </a:lnTo>
                      <a:lnTo>
                        <a:pt x="233718" y="350075"/>
                      </a:lnTo>
                      <a:lnTo>
                        <a:pt x="232486" y="352615"/>
                      </a:lnTo>
                      <a:lnTo>
                        <a:pt x="231876" y="352615"/>
                      </a:lnTo>
                      <a:lnTo>
                        <a:pt x="229374" y="357695"/>
                      </a:lnTo>
                      <a:lnTo>
                        <a:pt x="226809" y="357695"/>
                      </a:lnTo>
                      <a:lnTo>
                        <a:pt x="228473" y="355155"/>
                      </a:lnTo>
                      <a:lnTo>
                        <a:pt x="230327" y="353885"/>
                      </a:lnTo>
                      <a:lnTo>
                        <a:pt x="230479" y="353885"/>
                      </a:lnTo>
                      <a:lnTo>
                        <a:pt x="230949" y="350075"/>
                      </a:lnTo>
                      <a:lnTo>
                        <a:pt x="230505" y="348805"/>
                      </a:lnTo>
                      <a:lnTo>
                        <a:pt x="230708" y="350075"/>
                      </a:lnTo>
                      <a:lnTo>
                        <a:pt x="228765" y="348805"/>
                      </a:lnTo>
                      <a:lnTo>
                        <a:pt x="228854" y="347535"/>
                      </a:lnTo>
                      <a:lnTo>
                        <a:pt x="227266" y="346265"/>
                      </a:lnTo>
                      <a:lnTo>
                        <a:pt x="225869" y="346265"/>
                      </a:lnTo>
                      <a:lnTo>
                        <a:pt x="224358" y="343725"/>
                      </a:lnTo>
                      <a:lnTo>
                        <a:pt x="224663" y="342455"/>
                      </a:lnTo>
                      <a:lnTo>
                        <a:pt x="227177" y="342455"/>
                      </a:lnTo>
                      <a:lnTo>
                        <a:pt x="228257" y="344995"/>
                      </a:lnTo>
                      <a:lnTo>
                        <a:pt x="231851" y="346265"/>
                      </a:lnTo>
                      <a:lnTo>
                        <a:pt x="236931" y="347535"/>
                      </a:lnTo>
                      <a:lnTo>
                        <a:pt x="238086" y="344995"/>
                      </a:lnTo>
                      <a:lnTo>
                        <a:pt x="238264" y="343725"/>
                      </a:lnTo>
                      <a:lnTo>
                        <a:pt x="237909" y="342455"/>
                      </a:lnTo>
                      <a:lnTo>
                        <a:pt x="236601" y="342455"/>
                      </a:lnTo>
                      <a:lnTo>
                        <a:pt x="237871" y="341185"/>
                      </a:lnTo>
                      <a:lnTo>
                        <a:pt x="239788" y="341185"/>
                      </a:lnTo>
                      <a:lnTo>
                        <a:pt x="241871" y="338645"/>
                      </a:lnTo>
                      <a:lnTo>
                        <a:pt x="241160" y="337375"/>
                      </a:lnTo>
                      <a:lnTo>
                        <a:pt x="243116" y="337375"/>
                      </a:lnTo>
                      <a:lnTo>
                        <a:pt x="242709" y="338645"/>
                      </a:lnTo>
                      <a:lnTo>
                        <a:pt x="244983" y="338645"/>
                      </a:lnTo>
                      <a:lnTo>
                        <a:pt x="245097" y="339915"/>
                      </a:lnTo>
                      <a:lnTo>
                        <a:pt x="245465" y="339915"/>
                      </a:lnTo>
                      <a:lnTo>
                        <a:pt x="246164" y="341185"/>
                      </a:lnTo>
                      <a:lnTo>
                        <a:pt x="248170" y="341185"/>
                      </a:lnTo>
                      <a:lnTo>
                        <a:pt x="249047" y="343725"/>
                      </a:lnTo>
                      <a:lnTo>
                        <a:pt x="250088" y="343725"/>
                      </a:lnTo>
                      <a:lnTo>
                        <a:pt x="250266" y="342455"/>
                      </a:lnTo>
                      <a:lnTo>
                        <a:pt x="251066" y="342455"/>
                      </a:lnTo>
                      <a:lnTo>
                        <a:pt x="252196" y="339915"/>
                      </a:lnTo>
                      <a:lnTo>
                        <a:pt x="252349" y="338645"/>
                      </a:lnTo>
                      <a:lnTo>
                        <a:pt x="253453" y="337375"/>
                      </a:lnTo>
                      <a:lnTo>
                        <a:pt x="253669" y="338645"/>
                      </a:lnTo>
                      <a:lnTo>
                        <a:pt x="252603" y="338645"/>
                      </a:lnTo>
                      <a:lnTo>
                        <a:pt x="253276" y="341185"/>
                      </a:lnTo>
                      <a:lnTo>
                        <a:pt x="254101" y="342455"/>
                      </a:lnTo>
                      <a:lnTo>
                        <a:pt x="257911" y="343725"/>
                      </a:lnTo>
                      <a:lnTo>
                        <a:pt x="263118" y="342455"/>
                      </a:lnTo>
                      <a:close/>
                    </a:path>
                    <a:path w="616585" h="374650">
                      <a:moveTo>
                        <a:pt x="288899" y="107556"/>
                      </a:moveTo>
                      <a:lnTo>
                        <a:pt x="288086" y="107823"/>
                      </a:lnTo>
                      <a:lnTo>
                        <a:pt x="286486" y="106514"/>
                      </a:lnTo>
                      <a:lnTo>
                        <a:pt x="286118" y="106210"/>
                      </a:lnTo>
                      <a:lnTo>
                        <a:pt x="285178" y="105143"/>
                      </a:lnTo>
                      <a:lnTo>
                        <a:pt x="283565" y="104013"/>
                      </a:lnTo>
                      <a:lnTo>
                        <a:pt x="282956" y="103873"/>
                      </a:lnTo>
                      <a:lnTo>
                        <a:pt x="281660" y="103035"/>
                      </a:lnTo>
                      <a:lnTo>
                        <a:pt x="281584" y="101942"/>
                      </a:lnTo>
                      <a:lnTo>
                        <a:pt x="279234" y="100076"/>
                      </a:lnTo>
                      <a:lnTo>
                        <a:pt x="277583" y="101866"/>
                      </a:lnTo>
                      <a:lnTo>
                        <a:pt x="277545" y="100977"/>
                      </a:lnTo>
                      <a:lnTo>
                        <a:pt x="277456" y="98348"/>
                      </a:lnTo>
                      <a:lnTo>
                        <a:pt x="277456" y="98196"/>
                      </a:lnTo>
                      <a:lnTo>
                        <a:pt x="277431" y="97650"/>
                      </a:lnTo>
                      <a:lnTo>
                        <a:pt x="275945" y="96748"/>
                      </a:lnTo>
                      <a:lnTo>
                        <a:pt x="276656" y="95173"/>
                      </a:lnTo>
                      <a:lnTo>
                        <a:pt x="277444" y="94678"/>
                      </a:lnTo>
                      <a:lnTo>
                        <a:pt x="279133" y="93599"/>
                      </a:lnTo>
                      <a:lnTo>
                        <a:pt x="280212" y="92214"/>
                      </a:lnTo>
                      <a:lnTo>
                        <a:pt x="280606" y="91706"/>
                      </a:lnTo>
                      <a:lnTo>
                        <a:pt x="280263" y="91236"/>
                      </a:lnTo>
                      <a:lnTo>
                        <a:pt x="277901" y="91008"/>
                      </a:lnTo>
                      <a:lnTo>
                        <a:pt x="277558" y="90551"/>
                      </a:lnTo>
                      <a:lnTo>
                        <a:pt x="276059" y="90195"/>
                      </a:lnTo>
                      <a:lnTo>
                        <a:pt x="275107" y="90525"/>
                      </a:lnTo>
                      <a:lnTo>
                        <a:pt x="273316" y="89865"/>
                      </a:lnTo>
                      <a:lnTo>
                        <a:pt x="272567" y="89585"/>
                      </a:lnTo>
                      <a:lnTo>
                        <a:pt x="274383" y="89408"/>
                      </a:lnTo>
                      <a:lnTo>
                        <a:pt x="274574" y="89115"/>
                      </a:lnTo>
                      <a:lnTo>
                        <a:pt x="275551" y="87642"/>
                      </a:lnTo>
                      <a:lnTo>
                        <a:pt x="275932" y="87071"/>
                      </a:lnTo>
                      <a:lnTo>
                        <a:pt x="272389" y="86588"/>
                      </a:lnTo>
                      <a:lnTo>
                        <a:pt x="270929" y="85953"/>
                      </a:lnTo>
                      <a:lnTo>
                        <a:pt x="269989" y="85547"/>
                      </a:lnTo>
                      <a:lnTo>
                        <a:pt x="269265" y="83870"/>
                      </a:lnTo>
                      <a:lnTo>
                        <a:pt x="265963" y="84328"/>
                      </a:lnTo>
                      <a:lnTo>
                        <a:pt x="265252" y="84874"/>
                      </a:lnTo>
                      <a:lnTo>
                        <a:pt x="262864" y="84874"/>
                      </a:lnTo>
                      <a:lnTo>
                        <a:pt x="261632" y="85953"/>
                      </a:lnTo>
                      <a:lnTo>
                        <a:pt x="260019" y="85864"/>
                      </a:lnTo>
                      <a:lnTo>
                        <a:pt x="259600" y="85661"/>
                      </a:lnTo>
                      <a:lnTo>
                        <a:pt x="257314" y="84543"/>
                      </a:lnTo>
                      <a:lnTo>
                        <a:pt x="256768" y="84188"/>
                      </a:lnTo>
                      <a:lnTo>
                        <a:pt x="257810" y="83400"/>
                      </a:lnTo>
                      <a:lnTo>
                        <a:pt x="258965" y="81788"/>
                      </a:lnTo>
                      <a:lnTo>
                        <a:pt x="259715" y="80746"/>
                      </a:lnTo>
                      <a:lnTo>
                        <a:pt x="258533" y="79908"/>
                      </a:lnTo>
                      <a:lnTo>
                        <a:pt x="257771" y="79349"/>
                      </a:lnTo>
                      <a:lnTo>
                        <a:pt x="256921" y="79908"/>
                      </a:lnTo>
                      <a:lnTo>
                        <a:pt x="255333" y="79578"/>
                      </a:lnTo>
                      <a:lnTo>
                        <a:pt x="254419" y="78740"/>
                      </a:lnTo>
                      <a:lnTo>
                        <a:pt x="252133" y="77266"/>
                      </a:lnTo>
                      <a:lnTo>
                        <a:pt x="249999" y="75933"/>
                      </a:lnTo>
                      <a:lnTo>
                        <a:pt x="245757" y="75806"/>
                      </a:lnTo>
                      <a:lnTo>
                        <a:pt x="245389" y="76187"/>
                      </a:lnTo>
                      <a:lnTo>
                        <a:pt x="245262" y="77266"/>
                      </a:lnTo>
                      <a:lnTo>
                        <a:pt x="245262" y="76200"/>
                      </a:lnTo>
                      <a:lnTo>
                        <a:pt x="244513" y="76936"/>
                      </a:lnTo>
                      <a:lnTo>
                        <a:pt x="243484" y="77279"/>
                      </a:lnTo>
                      <a:lnTo>
                        <a:pt x="241998" y="77520"/>
                      </a:lnTo>
                      <a:lnTo>
                        <a:pt x="239534" y="77965"/>
                      </a:lnTo>
                      <a:lnTo>
                        <a:pt x="239064" y="78587"/>
                      </a:lnTo>
                      <a:lnTo>
                        <a:pt x="239153" y="78740"/>
                      </a:lnTo>
                      <a:lnTo>
                        <a:pt x="239839" y="79298"/>
                      </a:lnTo>
                      <a:lnTo>
                        <a:pt x="239928" y="79578"/>
                      </a:lnTo>
                      <a:lnTo>
                        <a:pt x="239280" y="81788"/>
                      </a:lnTo>
                      <a:lnTo>
                        <a:pt x="235546" y="80683"/>
                      </a:lnTo>
                      <a:lnTo>
                        <a:pt x="234340" y="79908"/>
                      </a:lnTo>
                      <a:lnTo>
                        <a:pt x="235673" y="79298"/>
                      </a:lnTo>
                      <a:lnTo>
                        <a:pt x="237223" y="78587"/>
                      </a:lnTo>
                      <a:lnTo>
                        <a:pt x="235165" y="76606"/>
                      </a:lnTo>
                      <a:lnTo>
                        <a:pt x="234772" y="76225"/>
                      </a:lnTo>
                      <a:lnTo>
                        <a:pt x="234518" y="75806"/>
                      </a:lnTo>
                      <a:lnTo>
                        <a:pt x="232194" y="71577"/>
                      </a:lnTo>
                      <a:lnTo>
                        <a:pt x="230187" y="69469"/>
                      </a:lnTo>
                      <a:lnTo>
                        <a:pt x="227761" y="69049"/>
                      </a:lnTo>
                      <a:lnTo>
                        <a:pt x="223583" y="68326"/>
                      </a:lnTo>
                      <a:lnTo>
                        <a:pt x="219671" y="66167"/>
                      </a:lnTo>
                      <a:lnTo>
                        <a:pt x="212331" y="67589"/>
                      </a:lnTo>
                      <a:lnTo>
                        <a:pt x="208534" y="67995"/>
                      </a:lnTo>
                      <a:lnTo>
                        <a:pt x="203339" y="68414"/>
                      </a:lnTo>
                      <a:lnTo>
                        <a:pt x="201599" y="69049"/>
                      </a:lnTo>
                      <a:lnTo>
                        <a:pt x="198704" y="68961"/>
                      </a:lnTo>
                      <a:lnTo>
                        <a:pt x="196545" y="67310"/>
                      </a:lnTo>
                      <a:lnTo>
                        <a:pt x="195453" y="68770"/>
                      </a:lnTo>
                      <a:lnTo>
                        <a:pt x="196354" y="69215"/>
                      </a:lnTo>
                      <a:lnTo>
                        <a:pt x="196011" y="70078"/>
                      </a:lnTo>
                      <a:lnTo>
                        <a:pt x="195529" y="70256"/>
                      </a:lnTo>
                      <a:lnTo>
                        <a:pt x="194271" y="71374"/>
                      </a:lnTo>
                      <a:lnTo>
                        <a:pt x="193230" y="72986"/>
                      </a:lnTo>
                      <a:lnTo>
                        <a:pt x="193865" y="75806"/>
                      </a:lnTo>
                      <a:lnTo>
                        <a:pt x="193878" y="76225"/>
                      </a:lnTo>
                      <a:lnTo>
                        <a:pt x="193167" y="77812"/>
                      </a:lnTo>
                      <a:lnTo>
                        <a:pt x="197243" y="78282"/>
                      </a:lnTo>
                      <a:lnTo>
                        <a:pt x="199263" y="77952"/>
                      </a:lnTo>
                      <a:lnTo>
                        <a:pt x="202336" y="77508"/>
                      </a:lnTo>
                      <a:lnTo>
                        <a:pt x="207213" y="76606"/>
                      </a:lnTo>
                      <a:lnTo>
                        <a:pt x="206590" y="79298"/>
                      </a:lnTo>
                      <a:lnTo>
                        <a:pt x="206514" y="79463"/>
                      </a:lnTo>
                      <a:lnTo>
                        <a:pt x="204292" y="81597"/>
                      </a:lnTo>
                      <a:lnTo>
                        <a:pt x="203073" y="83058"/>
                      </a:lnTo>
                      <a:lnTo>
                        <a:pt x="201269" y="83947"/>
                      </a:lnTo>
                      <a:lnTo>
                        <a:pt x="203034" y="85229"/>
                      </a:lnTo>
                      <a:lnTo>
                        <a:pt x="204597" y="84848"/>
                      </a:lnTo>
                      <a:lnTo>
                        <a:pt x="206184" y="84328"/>
                      </a:lnTo>
                      <a:lnTo>
                        <a:pt x="208051" y="83223"/>
                      </a:lnTo>
                      <a:lnTo>
                        <a:pt x="209283" y="81902"/>
                      </a:lnTo>
                      <a:lnTo>
                        <a:pt x="209346" y="80683"/>
                      </a:lnTo>
                      <a:lnTo>
                        <a:pt x="210731" y="79463"/>
                      </a:lnTo>
                      <a:lnTo>
                        <a:pt x="213156" y="79298"/>
                      </a:lnTo>
                      <a:lnTo>
                        <a:pt x="214795" y="79413"/>
                      </a:lnTo>
                      <a:lnTo>
                        <a:pt x="219125" y="80949"/>
                      </a:lnTo>
                      <a:lnTo>
                        <a:pt x="219176" y="82384"/>
                      </a:lnTo>
                      <a:lnTo>
                        <a:pt x="212280" y="85229"/>
                      </a:lnTo>
                      <a:lnTo>
                        <a:pt x="216103" y="86271"/>
                      </a:lnTo>
                      <a:lnTo>
                        <a:pt x="217195" y="85915"/>
                      </a:lnTo>
                      <a:lnTo>
                        <a:pt x="220408" y="87147"/>
                      </a:lnTo>
                      <a:lnTo>
                        <a:pt x="221386" y="85915"/>
                      </a:lnTo>
                      <a:lnTo>
                        <a:pt x="221500" y="85763"/>
                      </a:lnTo>
                      <a:lnTo>
                        <a:pt x="224485" y="85661"/>
                      </a:lnTo>
                      <a:lnTo>
                        <a:pt x="226872" y="86169"/>
                      </a:lnTo>
                      <a:lnTo>
                        <a:pt x="225767" y="87642"/>
                      </a:lnTo>
                      <a:lnTo>
                        <a:pt x="224701" y="87172"/>
                      </a:lnTo>
                      <a:lnTo>
                        <a:pt x="223862" y="87731"/>
                      </a:lnTo>
                      <a:lnTo>
                        <a:pt x="223672" y="88341"/>
                      </a:lnTo>
                      <a:lnTo>
                        <a:pt x="223393" y="88582"/>
                      </a:lnTo>
                      <a:lnTo>
                        <a:pt x="224129" y="89039"/>
                      </a:lnTo>
                      <a:lnTo>
                        <a:pt x="223012" y="89077"/>
                      </a:lnTo>
                      <a:lnTo>
                        <a:pt x="222465" y="89115"/>
                      </a:lnTo>
                      <a:lnTo>
                        <a:pt x="221894" y="89115"/>
                      </a:lnTo>
                      <a:lnTo>
                        <a:pt x="221348" y="89052"/>
                      </a:lnTo>
                      <a:lnTo>
                        <a:pt x="219646" y="88912"/>
                      </a:lnTo>
                      <a:lnTo>
                        <a:pt x="217843" y="89357"/>
                      </a:lnTo>
                      <a:lnTo>
                        <a:pt x="216573" y="90589"/>
                      </a:lnTo>
                      <a:lnTo>
                        <a:pt x="225272" y="89865"/>
                      </a:lnTo>
                      <a:lnTo>
                        <a:pt x="225259" y="92214"/>
                      </a:lnTo>
                      <a:lnTo>
                        <a:pt x="224256" y="91554"/>
                      </a:lnTo>
                      <a:lnTo>
                        <a:pt x="223685" y="92773"/>
                      </a:lnTo>
                      <a:lnTo>
                        <a:pt x="225183" y="93599"/>
                      </a:lnTo>
                      <a:lnTo>
                        <a:pt x="222656" y="94678"/>
                      </a:lnTo>
                      <a:lnTo>
                        <a:pt x="219583" y="93738"/>
                      </a:lnTo>
                      <a:lnTo>
                        <a:pt x="215696" y="93649"/>
                      </a:lnTo>
                      <a:lnTo>
                        <a:pt x="213233" y="92468"/>
                      </a:lnTo>
                      <a:lnTo>
                        <a:pt x="207975" y="91694"/>
                      </a:lnTo>
                      <a:lnTo>
                        <a:pt x="199250" y="92341"/>
                      </a:lnTo>
                      <a:lnTo>
                        <a:pt x="204520" y="98475"/>
                      </a:lnTo>
                      <a:lnTo>
                        <a:pt x="207200" y="100380"/>
                      </a:lnTo>
                      <a:lnTo>
                        <a:pt x="211328" y="102184"/>
                      </a:lnTo>
                      <a:lnTo>
                        <a:pt x="213042" y="101879"/>
                      </a:lnTo>
                      <a:lnTo>
                        <a:pt x="215265" y="102222"/>
                      </a:lnTo>
                      <a:lnTo>
                        <a:pt x="216115" y="102704"/>
                      </a:lnTo>
                      <a:lnTo>
                        <a:pt x="217589" y="102400"/>
                      </a:lnTo>
                      <a:lnTo>
                        <a:pt x="217652" y="101879"/>
                      </a:lnTo>
                      <a:lnTo>
                        <a:pt x="217741" y="101536"/>
                      </a:lnTo>
                      <a:lnTo>
                        <a:pt x="220065" y="100888"/>
                      </a:lnTo>
                      <a:lnTo>
                        <a:pt x="221348" y="100025"/>
                      </a:lnTo>
                      <a:lnTo>
                        <a:pt x="224574" y="99517"/>
                      </a:lnTo>
                      <a:lnTo>
                        <a:pt x="226225" y="99517"/>
                      </a:lnTo>
                      <a:lnTo>
                        <a:pt x="228879" y="98310"/>
                      </a:lnTo>
                      <a:lnTo>
                        <a:pt x="230847" y="98196"/>
                      </a:lnTo>
                      <a:lnTo>
                        <a:pt x="233451" y="98666"/>
                      </a:lnTo>
                      <a:lnTo>
                        <a:pt x="233527" y="99517"/>
                      </a:lnTo>
                      <a:lnTo>
                        <a:pt x="233616" y="100380"/>
                      </a:lnTo>
                      <a:lnTo>
                        <a:pt x="233743" y="101219"/>
                      </a:lnTo>
                      <a:lnTo>
                        <a:pt x="237109" y="102565"/>
                      </a:lnTo>
                      <a:lnTo>
                        <a:pt x="238175" y="102044"/>
                      </a:lnTo>
                      <a:lnTo>
                        <a:pt x="241338" y="101307"/>
                      </a:lnTo>
                      <a:lnTo>
                        <a:pt x="243357" y="101650"/>
                      </a:lnTo>
                      <a:lnTo>
                        <a:pt x="244360" y="101307"/>
                      </a:lnTo>
                      <a:lnTo>
                        <a:pt x="244627" y="101219"/>
                      </a:lnTo>
                      <a:lnTo>
                        <a:pt x="245084" y="101422"/>
                      </a:lnTo>
                      <a:lnTo>
                        <a:pt x="245262" y="101460"/>
                      </a:lnTo>
                      <a:lnTo>
                        <a:pt x="245262" y="101219"/>
                      </a:lnTo>
                      <a:lnTo>
                        <a:pt x="245262" y="100977"/>
                      </a:lnTo>
                      <a:lnTo>
                        <a:pt x="245351" y="101307"/>
                      </a:lnTo>
                      <a:lnTo>
                        <a:pt x="245605" y="101536"/>
                      </a:lnTo>
                      <a:lnTo>
                        <a:pt x="248158" y="101714"/>
                      </a:lnTo>
                      <a:lnTo>
                        <a:pt x="250532" y="102222"/>
                      </a:lnTo>
                      <a:lnTo>
                        <a:pt x="252145" y="102374"/>
                      </a:lnTo>
                      <a:lnTo>
                        <a:pt x="255155" y="103822"/>
                      </a:lnTo>
                      <a:lnTo>
                        <a:pt x="255447" y="103911"/>
                      </a:lnTo>
                      <a:lnTo>
                        <a:pt x="259740" y="103822"/>
                      </a:lnTo>
                      <a:lnTo>
                        <a:pt x="258838" y="104660"/>
                      </a:lnTo>
                      <a:lnTo>
                        <a:pt x="260629" y="106578"/>
                      </a:lnTo>
                      <a:lnTo>
                        <a:pt x="261467" y="106514"/>
                      </a:lnTo>
                      <a:lnTo>
                        <a:pt x="262229" y="108038"/>
                      </a:lnTo>
                      <a:lnTo>
                        <a:pt x="261874" y="109131"/>
                      </a:lnTo>
                      <a:lnTo>
                        <a:pt x="262813" y="111188"/>
                      </a:lnTo>
                      <a:lnTo>
                        <a:pt x="264680" y="111785"/>
                      </a:lnTo>
                      <a:lnTo>
                        <a:pt x="265518" y="115036"/>
                      </a:lnTo>
                      <a:lnTo>
                        <a:pt x="269786" y="115239"/>
                      </a:lnTo>
                      <a:lnTo>
                        <a:pt x="273697" y="115912"/>
                      </a:lnTo>
                      <a:lnTo>
                        <a:pt x="274942" y="116713"/>
                      </a:lnTo>
                      <a:lnTo>
                        <a:pt x="280695" y="115227"/>
                      </a:lnTo>
                      <a:lnTo>
                        <a:pt x="284454" y="114604"/>
                      </a:lnTo>
                      <a:lnTo>
                        <a:pt x="287820" y="113080"/>
                      </a:lnTo>
                      <a:lnTo>
                        <a:pt x="286905" y="112115"/>
                      </a:lnTo>
                      <a:lnTo>
                        <a:pt x="287934" y="110324"/>
                      </a:lnTo>
                      <a:lnTo>
                        <a:pt x="288810" y="107823"/>
                      </a:lnTo>
                      <a:lnTo>
                        <a:pt x="288899" y="107556"/>
                      </a:lnTo>
                      <a:close/>
                    </a:path>
                    <a:path w="616585" h="374650">
                      <a:moveTo>
                        <a:pt x="307479" y="224497"/>
                      </a:moveTo>
                      <a:lnTo>
                        <a:pt x="281940" y="230174"/>
                      </a:lnTo>
                      <a:lnTo>
                        <a:pt x="282117" y="230339"/>
                      </a:lnTo>
                      <a:lnTo>
                        <a:pt x="282397" y="230530"/>
                      </a:lnTo>
                      <a:lnTo>
                        <a:pt x="282524" y="230670"/>
                      </a:lnTo>
                      <a:lnTo>
                        <a:pt x="282829" y="230835"/>
                      </a:lnTo>
                      <a:lnTo>
                        <a:pt x="283603" y="231330"/>
                      </a:lnTo>
                      <a:lnTo>
                        <a:pt x="284594" y="231305"/>
                      </a:lnTo>
                      <a:lnTo>
                        <a:pt x="286283" y="232003"/>
                      </a:lnTo>
                      <a:lnTo>
                        <a:pt x="286854" y="232435"/>
                      </a:lnTo>
                      <a:lnTo>
                        <a:pt x="288175" y="232689"/>
                      </a:lnTo>
                      <a:lnTo>
                        <a:pt x="288594" y="232689"/>
                      </a:lnTo>
                      <a:lnTo>
                        <a:pt x="288886" y="232714"/>
                      </a:lnTo>
                      <a:lnTo>
                        <a:pt x="289483" y="232600"/>
                      </a:lnTo>
                      <a:lnTo>
                        <a:pt x="290715" y="232295"/>
                      </a:lnTo>
                      <a:lnTo>
                        <a:pt x="291134" y="232473"/>
                      </a:lnTo>
                      <a:lnTo>
                        <a:pt x="291604" y="232295"/>
                      </a:lnTo>
                      <a:lnTo>
                        <a:pt x="291769" y="232232"/>
                      </a:lnTo>
                      <a:lnTo>
                        <a:pt x="291871" y="231457"/>
                      </a:lnTo>
                      <a:lnTo>
                        <a:pt x="292430" y="231305"/>
                      </a:lnTo>
                      <a:lnTo>
                        <a:pt x="292709" y="231267"/>
                      </a:lnTo>
                      <a:lnTo>
                        <a:pt x="294030" y="231978"/>
                      </a:lnTo>
                      <a:lnTo>
                        <a:pt x="295300" y="231851"/>
                      </a:lnTo>
                      <a:lnTo>
                        <a:pt x="296672" y="231698"/>
                      </a:lnTo>
                      <a:lnTo>
                        <a:pt x="297764" y="231457"/>
                      </a:lnTo>
                      <a:lnTo>
                        <a:pt x="298310" y="231267"/>
                      </a:lnTo>
                      <a:lnTo>
                        <a:pt x="299872" y="230733"/>
                      </a:lnTo>
                      <a:lnTo>
                        <a:pt x="300977" y="230174"/>
                      </a:lnTo>
                      <a:lnTo>
                        <a:pt x="304571" y="227977"/>
                      </a:lnTo>
                      <a:lnTo>
                        <a:pt x="306235" y="228066"/>
                      </a:lnTo>
                      <a:lnTo>
                        <a:pt x="307479" y="224497"/>
                      </a:lnTo>
                      <a:close/>
                    </a:path>
                    <a:path w="616585" h="374650">
                      <a:moveTo>
                        <a:pt x="334035" y="154393"/>
                      </a:moveTo>
                      <a:lnTo>
                        <a:pt x="332409" y="154317"/>
                      </a:lnTo>
                      <a:lnTo>
                        <a:pt x="334035" y="154393"/>
                      </a:lnTo>
                      <a:close/>
                    </a:path>
                    <a:path w="616585" h="374650">
                      <a:moveTo>
                        <a:pt x="342493" y="363334"/>
                      </a:moveTo>
                      <a:lnTo>
                        <a:pt x="339966" y="361124"/>
                      </a:lnTo>
                      <a:lnTo>
                        <a:pt x="339750" y="363194"/>
                      </a:lnTo>
                      <a:lnTo>
                        <a:pt x="339674" y="363334"/>
                      </a:lnTo>
                      <a:lnTo>
                        <a:pt x="335889" y="364083"/>
                      </a:lnTo>
                      <a:lnTo>
                        <a:pt x="336169" y="363448"/>
                      </a:lnTo>
                      <a:lnTo>
                        <a:pt x="336270" y="363194"/>
                      </a:lnTo>
                      <a:lnTo>
                        <a:pt x="333883" y="362013"/>
                      </a:lnTo>
                      <a:lnTo>
                        <a:pt x="333578" y="363448"/>
                      </a:lnTo>
                      <a:lnTo>
                        <a:pt x="333387" y="361315"/>
                      </a:lnTo>
                      <a:lnTo>
                        <a:pt x="333349" y="360959"/>
                      </a:lnTo>
                      <a:lnTo>
                        <a:pt x="333273" y="360057"/>
                      </a:lnTo>
                      <a:lnTo>
                        <a:pt x="332435" y="359524"/>
                      </a:lnTo>
                      <a:lnTo>
                        <a:pt x="332333" y="358584"/>
                      </a:lnTo>
                      <a:lnTo>
                        <a:pt x="332168" y="357187"/>
                      </a:lnTo>
                      <a:lnTo>
                        <a:pt x="329374" y="351320"/>
                      </a:lnTo>
                      <a:lnTo>
                        <a:pt x="329996" y="357225"/>
                      </a:lnTo>
                      <a:lnTo>
                        <a:pt x="329247" y="358584"/>
                      </a:lnTo>
                      <a:lnTo>
                        <a:pt x="328574" y="357733"/>
                      </a:lnTo>
                      <a:lnTo>
                        <a:pt x="328079" y="356692"/>
                      </a:lnTo>
                      <a:lnTo>
                        <a:pt x="327545" y="355714"/>
                      </a:lnTo>
                      <a:lnTo>
                        <a:pt x="326097" y="356692"/>
                      </a:lnTo>
                      <a:lnTo>
                        <a:pt x="327596" y="355396"/>
                      </a:lnTo>
                      <a:lnTo>
                        <a:pt x="328828" y="353263"/>
                      </a:lnTo>
                      <a:lnTo>
                        <a:pt x="327012" y="351409"/>
                      </a:lnTo>
                      <a:lnTo>
                        <a:pt x="326453" y="350253"/>
                      </a:lnTo>
                      <a:lnTo>
                        <a:pt x="324078" y="349250"/>
                      </a:lnTo>
                      <a:lnTo>
                        <a:pt x="322287" y="348424"/>
                      </a:lnTo>
                      <a:lnTo>
                        <a:pt x="321094" y="347802"/>
                      </a:lnTo>
                      <a:lnTo>
                        <a:pt x="321106" y="347256"/>
                      </a:lnTo>
                      <a:lnTo>
                        <a:pt x="320700" y="346583"/>
                      </a:lnTo>
                      <a:lnTo>
                        <a:pt x="320116" y="346557"/>
                      </a:lnTo>
                      <a:lnTo>
                        <a:pt x="319278" y="345808"/>
                      </a:lnTo>
                      <a:lnTo>
                        <a:pt x="318998" y="346583"/>
                      </a:lnTo>
                      <a:lnTo>
                        <a:pt x="318579" y="345503"/>
                      </a:lnTo>
                      <a:lnTo>
                        <a:pt x="318935" y="345224"/>
                      </a:lnTo>
                      <a:lnTo>
                        <a:pt x="319430" y="344843"/>
                      </a:lnTo>
                      <a:lnTo>
                        <a:pt x="319227" y="343509"/>
                      </a:lnTo>
                      <a:lnTo>
                        <a:pt x="318236" y="343204"/>
                      </a:lnTo>
                      <a:lnTo>
                        <a:pt x="316611" y="341122"/>
                      </a:lnTo>
                      <a:lnTo>
                        <a:pt x="316433" y="340017"/>
                      </a:lnTo>
                      <a:lnTo>
                        <a:pt x="316357" y="335800"/>
                      </a:lnTo>
                      <a:lnTo>
                        <a:pt x="315810" y="335432"/>
                      </a:lnTo>
                      <a:lnTo>
                        <a:pt x="314566" y="332041"/>
                      </a:lnTo>
                      <a:lnTo>
                        <a:pt x="313956" y="330835"/>
                      </a:lnTo>
                      <a:lnTo>
                        <a:pt x="312420" y="328828"/>
                      </a:lnTo>
                      <a:lnTo>
                        <a:pt x="311861" y="328295"/>
                      </a:lnTo>
                      <a:lnTo>
                        <a:pt x="310680" y="325475"/>
                      </a:lnTo>
                      <a:lnTo>
                        <a:pt x="311238" y="324891"/>
                      </a:lnTo>
                      <a:lnTo>
                        <a:pt x="312051" y="324027"/>
                      </a:lnTo>
                      <a:lnTo>
                        <a:pt x="310540" y="323773"/>
                      </a:lnTo>
                      <a:lnTo>
                        <a:pt x="311035" y="322922"/>
                      </a:lnTo>
                      <a:lnTo>
                        <a:pt x="310311" y="320776"/>
                      </a:lnTo>
                      <a:lnTo>
                        <a:pt x="310019" y="320560"/>
                      </a:lnTo>
                      <a:lnTo>
                        <a:pt x="308178" y="318058"/>
                      </a:lnTo>
                      <a:lnTo>
                        <a:pt x="307682" y="316268"/>
                      </a:lnTo>
                      <a:lnTo>
                        <a:pt x="306489" y="313918"/>
                      </a:lnTo>
                      <a:lnTo>
                        <a:pt x="305676" y="313575"/>
                      </a:lnTo>
                      <a:lnTo>
                        <a:pt x="305041" y="312191"/>
                      </a:lnTo>
                      <a:lnTo>
                        <a:pt x="305511" y="311251"/>
                      </a:lnTo>
                      <a:lnTo>
                        <a:pt x="305231" y="310807"/>
                      </a:lnTo>
                      <a:lnTo>
                        <a:pt x="305054" y="310540"/>
                      </a:lnTo>
                      <a:lnTo>
                        <a:pt x="302856" y="310515"/>
                      </a:lnTo>
                      <a:lnTo>
                        <a:pt x="303199" y="310807"/>
                      </a:lnTo>
                      <a:lnTo>
                        <a:pt x="301307" y="309689"/>
                      </a:lnTo>
                      <a:lnTo>
                        <a:pt x="300545" y="308787"/>
                      </a:lnTo>
                      <a:lnTo>
                        <a:pt x="299059" y="308114"/>
                      </a:lnTo>
                      <a:lnTo>
                        <a:pt x="297357" y="307340"/>
                      </a:lnTo>
                      <a:lnTo>
                        <a:pt x="295706" y="308114"/>
                      </a:lnTo>
                      <a:lnTo>
                        <a:pt x="291896" y="307708"/>
                      </a:lnTo>
                      <a:lnTo>
                        <a:pt x="290436" y="306184"/>
                      </a:lnTo>
                      <a:lnTo>
                        <a:pt x="286537" y="310807"/>
                      </a:lnTo>
                      <a:lnTo>
                        <a:pt x="285902" y="316471"/>
                      </a:lnTo>
                      <a:lnTo>
                        <a:pt x="285000" y="319684"/>
                      </a:lnTo>
                      <a:lnTo>
                        <a:pt x="284822" y="319976"/>
                      </a:lnTo>
                      <a:lnTo>
                        <a:pt x="284721" y="320776"/>
                      </a:lnTo>
                      <a:lnTo>
                        <a:pt x="286321" y="320992"/>
                      </a:lnTo>
                      <a:lnTo>
                        <a:pt x="286410" y="322834"/>
                      </a:lnTo>
                      <a:lnTo>
                        <a:pt x="287883" y="323494"/>
                      </a:lnTo>
                      <a:lnTo>
                        <a:pt x="289775" y="323519"/>
                      </a:lnTo>
                      <a:lnTo>
                        <a:pt x="291122" y="323176"/>
                      </a:lnTo>
                      <a:lnTo>
                        <a:pt x="293484" y="322922"/>
                      </a:lnTo>
                      <a:lnTo>
                        <a:pt x="296202" y="323596"/>
                      </a:lnTo>
                      <a:lnTo>
                        <a:pt x="295046" y="324891"/>
                      </a:lnTo>
                      <a:lnTo>
                        <a:pt x="292620" y="324180"/>
                      </a:lnTo>
                      <a:lnTo>
                        <a:pt x="290982" y="328015"/>
                      </a:lnTo>
                      <a:lnTo>
                        <a:pt x="290614" y="329006"/>
                      </a:lnTo>
                      <a:lnTo>
                        <a:pt x="292747" y="331914"/>
                      </a:lnTo>
                      <a:lnTo>
                        <a:pt x="294043" y="332613"/>
                      </a:lnTo>
                      <a:lnTo>
                        <a:pt x="295617" y="335229"/>
                      </a:lnTo>
                      <a:lnTo>
                        <a:pt x="296303" y="336181"/>
                      </a:lnTo>
                      <a:lnTo>
                        <a:pt x="298094" y="338023"/>
                      </a:lnTo>
                      <a:lnTo>
                        <a:pt x="298653" y="338924"/>
                      </a:lnTo>
                      <a:lnTo>
                        <a:pt x="299186" y="339839"/>
                      </a:lnTo>
                      <a:lnTo>
                        <a:pt x="298945" y="340017"/>
                      </a:lnTo>
                      <a:lnTo>
                        <a:pt x="297865" y="341122"/>
                      </a:lnTo>
                      <a:lnTo>
                        <a:pt x="298234" y="341896"/>
                      </a:lnTo>
                      <a:lnTo>
                        <a:pt x="297091" y="345224"/>
                      </a:lnTo>
                      <a:lnTo>
                        <a:pt x="296087" y="343725"/>
                      </a:lnTo>
                      <a:lnTo>
                        <a:pt x="293243" y="346011"/>
                      </a:lnTo>
                      <a:lnTo>
                        <a:pt x="294208" y="346951"/>
                      </a:lnTo>
                      <a:lnTo>
                        <a:pt x="295465" y="347256"/>
                      </a:lnTo>
                      <a:lnTo>
                        <a:pt x="292900" y="347497"/>
                      </a:lnTo>
                      <a:lnTo>
                        <a:pt x="294170" y="348957"/>
                      </a:lnTo>
                      <a:lnTo>
                        <a:pt x="297421" y="351637"/>
                      </a:lnTo>
                      <a:lnTo>
                        <a:pt x="291846" y="352323"/>
                      </a:lnTo>
                      <a:lnTo>
                        <a:pt x="292976" y="354025"/>
                      </a:lnTo>
                      <a:lnTo>
                        <a:pt x="289394" y="356577"/>
                      </a:lnTo>
                      <a:lnTo>
                        <a:pt x="284632" y="354647"/>
                      </a:lnTo>
                      <a:lnTo>
                        <a:pt x="281266" y="356501"/>
                      </a:lnTo>
                      <a:lnTo>
                        <a:pt x="279781" y="357962"/>
                      </a:lnTo>
                      <a:lnTo>
                        <a:pt x="279958" y="359740"/>
                      </a:lnTo>
                      <a:lnTo>
                        <a:pt x="280441" y="359422"/>
                      </a:lnTo>
                      <a:lnTo>
                        <a:pt x="281825" y="361924"/>
                      </a:lnTo>
                      <a:lnTo>
                        <a:pt x="282117" y="362254"/>
                      </a:lnTo>
                      <a:lnTo>
                        <a:pt x="284734" y="363245"/>
                      </a:lnTo>
                      <a:lnTo>
                        <a:pt x="285216" y="364083"/>
                      </a:lnTo>
                      <a:lnTo>
                        <a:pt x="286486" y="363461"/>
                      </a:lnTo>
                      <a:lnTo>
                        <a:pt x="286232" y="362153"/>
                      </a:lnTo>
                      <a:lnTo>
                        <a:pt x="286092" y="362153"/>
                      </a:lnTo>
                      <a:lnTo>
                        <a:pt x="286308" y="361937"/>
                      </a:lnTo>
                      <a:lnTo>
                        <a:pt x="286219" y="362102"/>
                      </a:lnTo>
                      <a:lnTo>
                        <a:pt x="287858" y="361543"/>
                      </a:lnTo>
                      <a:lnTo>
                        <a:pt x="289318" y="361035"/>
                      </a:lnTo>
                      <a:lnTo>
                        <a:pt x="289623" y="361048"/>
                      </a:lnTo>
                      <a:lnTo>
                        <a:pt x="289674" y="361924"/>
                      </a:lnTo>
                      <a:lnTo>
                        <a:pt x="290296" y="364934"/>
                      </a:lnTo>
                      <a:lnTo>
                        <a:pt x="292468" y="364236"/>
                      </a:lnTo>
                      <a:lnTo>
                        <a:pt x="295452" y="365353"/>
                      </a:lnTo>
                      <a:lnTo>
                        <a:pt x="295973" y="367030"/>
                      </a:lnTo>
                      <a:lnTo>
                        <a:pt x="296392" y="364236"/>
                      </a:lnTo>
                      <a:lnTo>
                        <a:pt x="296837" y="361315"/>
                      </a:lnTo>
                      <a:lnTo>
                        <a:pt x="298627" y="366014"/>
                      </a:lnTo>
                      <a:lnTo>
                        <a:pt x="300228" y="367931"/>
                      </a:lnTo>
                      <a:lnTo>
                        <a:pt x="300964" y="367207"/>
                      </a:lnTo>
                      <a:lnTo>
                        <a:pt x="305714" y="367525"/>
                      </a:lnTo>
                      <a:lnTo>
                        <a:pt x="307238" y="370408"/>
                      </a:lnTo>
                      <a:lnTo>
                        <a:pt x="310705" y="371309"/>
                      </a:lnTo>
                      <a:lnTo>
                        <a:pt x="311619" y="371246"/>
                      </a:lnTo>
                      <a:lnTo>
                        <a:pt x="312864" y="371449"/>
                      </a:lnTo>
                      <a:lnTo>
                        <a:pt x="314071" y="371894"/>
                      </a:lnTo>
                      <a:lnTo>
                        <a:pt x="315125" y="371246"/>
                      </a:lnTo>
                      <a:lnTo>
                        <a:pt x="315810" y="370827"/>
                      </a:lnTo>
                      <a:lnTo>
                        <a:pt x="313944" y="369849"/>
                      </a:lnTo>
                      <a:lnTo>
                        <a:pt x="316077" y="370230"/>
                      </a:lnTo>
                      <a:lnTo>
                        <a:pt x="317093" y="371144"/>
                      </a:lnTo>
                      <a:lnTo>
                        <a:pt x="317487" y="371348"/>
                      </a:lnTo>
                      <a:lnTo>
                        <a:pt x="317677" y="372910"/>
                      </a:lnTo>
                      <a:lnTo>
                        <a:pt x="318300" y="374205"/>
                      </a:lnTo>
                      <a:lnTo>
                        <a:pt x="320700" y="374370"/>
                      </a:lnTo>
                      <a:lnTo>
                        <a:pt x="322046" y="374027"/>
                      </a:lnTo>
                      <a:lnTo>
                        <a:pt x="322567" y="373405"/>
                      </a:lnTo>
                      <a:lnTo>
                        <a:pt x="322668" y="373126"/>
                      </a:lnTo>
                      <a:lnTo>
                        <a:pt x="324650" y="373405"/>
                      </a:lnTo>
                      <a:lnTo>
                        <a:pt x="326440" y="373126"/>
                      </a:lnTo>
                      <a:lnTo>
                        <a:pt x="326605" y="373100"/>
                      </a:lnTo>
                      <a:lnTo>
                        <a:pt x="328053" y="371500"/>
                      </a:lnTo>
                      <a:lnTo>
                        <a:pt x="330974" y="369849"/>
                      </a:lnTo>
                      <a:lnTo>
                        <a:pt x="335648" y="367207"/>
                      </a:lnTo>
                      <a:lnTo>
                        <a:pt x="341172" y="364083"/>
                      </a:lnTo>
                      <a:lnTo>
                        <a:pt x="342493" y="363334"/>
                      </a:lnTo>
                      <a:close/>
                    </a:path>
                    <a:path w="616585" h="374650">
                      <a:moveTo>
                        <a:pt x="357111" y="69443"/>
                      </a:moveTo>
                      <a:lnTo>
                        <a:pt x="356666" y="69215"/>
                      </a:lnTo>
                      <a:lnTo>
                        <a:pt x="357111" y="69469"/>
                      </a:lnTo>
                      <a:close/>
                    </a:path>
                    <a:path w="616585" h="374650">
                      <a:moveTo>
                        <a:pt x="372033" y="149987"/>
                      </a:moveTo>
                      <a:lnTo>
                        <a:pt x="371195" y="149098"/>
                      </a:lnTo>
                      <a:lnTo>
                        <a:pt x="370471" y="148336"/>
                      </a:lnTo>
                      <a:lnTo>
                        <a:pt x="368935" y="146685"/>
                      </a:lnTo>
                      <a:lnTo>
                        <a:pt x="366255" y="143637"/>
                      </a:lnTo>
                      <a:lnTo>
                        <a:pt x="365048" y="143256"/>
                      </a:lnTo>
                      <a:lnTo>
                        <a:pt x="361022" y="141986"/>
                      </a:lnTo>
                      <a:lnTo>
                        <a:pt x="359689" y="143256"/>
                      </a:lnTo>
                      <a:lnTo>
                        <a:pt x="355003" y="142367"/>
                      </a:lnTo>
                      <a:lnTo>
                        <a:pt x="352894" y="141351"/>
                      </a:lnTo>
                      <a:lnTo>
                        <a:pt x="352628" y="141224"/>
                      </a:lnTo>
                      <a:lnTo>
                        <a:pt x="347091" y="141097"/>
                      </a:lnTo>
                      <a:lnTo>
                        <a:pt x="344500" y="140081"/>
                      </a:lnTo>
                      <a:lnTo>
                        <a:pt x="339928" y="138811"/>
                      </a:lnTo>
                      <a:lnTo>
                        <a:pt x="339013" y="138557"/>
                      </a:lnTo>
                      <a:lnTo>
                        <a:pt x="335737" y="138176"/>
                      </a:lnTo>
                      <a:lnTo>
                        <a:pt x="330923" y="138811"/>
                      </a:lnTo>
                      <a:lnTo>
                        <a:pt x="327926" y="138684"/>
                      </a:lnTo>
                      <a:lnTo>
                        <a:pt x="326186" y="139573"/>
                      </a:lnTo>
                      <a:lnTo>
                        <a:pt x="329031" y="140462"/>
                      </a:lnTo>
                      <a:lnTo>
                        <a:pt x="326186" y="140970"/>
                      </a:lnTo>
                      <a:lnTo>
                        <a:pt x="323240" y="141351"/>
                      </a:lnTo>
                      <a:lnTo>
                        <a:pt x="321614" y="140843"/>
                      </a:lnTo>
                      <a:lnTo>
                        <a:pt x="320027" y="140970"/>
                      </a:lnTo>
                      <a:lnTo>
                        <a:pt x="321094" y="141605"/>
                      </a:lnTo>
                      <a:lnTo>
                        <a:pt x="321640" y="141859"/>
                      </a:lnTo>
                      <a:lnTo>
                        <a:pt x="321424" y="142113"/>
                      </a:lnTo>
                      <a:lnTo>
                        <a:pt x="318058" y="142494"/>
                      </a:lnTo>
                      <a:lnTo>
                        <a:pt x="320776" y="144907"/>
                      </a:lnTo>
                      <a:lnTo>
                        <a:pt x="324281" y="145161"/>
                      </a:lnTo>
                      <a:lnTo>
                        <a:pt x="326542" y="146304"/>
                      </a:lnTo>
                      <a:lnTo>
                        <a:pt x="325615" y="146685"/>
                      </a:lnTo>
                      <a:lnTo>
                        <a:pt x="324637" y="146304"/>
                      </a:lnTo>
                      <a:lnTo>
                        <a:pt x="323735" y="146304"/>
                      </a:lnTo>
                      <a:lnTo>
                        <a:pt x="324421" y="147066"/>
                      </a:lnTo>
                      <a:lnTo>
                        <a:pt x="325742" y="147193"/>
                      </a:lnTo>
                      <a:lnTo>
                        <a:pt x="326707" y="147701"/>
                      </a:lnTo>
                      <a:lnTo>
                        <a:pt x="323761" y="148336"/>
                      </a:lnTo>
                      <a:lnTo>
                        <a:pt x="320560" y="147828"/>
                      </a:lnTo>
                      <a:lnTo>
                        <a:pt x="317639" y="148590"/>
                      </a:lnTo>
                      <a:lnTo>
                        <a:pt x="317754" y="148717"/>
                      </a:lnTo>
                      <a:lnTo>
                        <a:pt x="317969" y="148844"/>
                      </a:lnTo>
                      <a:lnTo>
                        <a:pt x="318058" y="148971"/>
                      </a:lnTo>
                      <a:lnTo>
                        <a:pt x="319506" y="149733"/>
                      </a:lnTo>
                      <a:lnTo>
                        <a:pt x="320713" y="149098"/>
                      </a:lnTo>
                      <a:lnTo>
                        <a:pt x="324091" y="149479"/>
                      </a:lnTo>
                      <a:lnTo>
                        <a:pt x="324256" y="150368"/>
                      </a:lnTo>
                      <a:lnTo>
                        <a:pt x="326250" y="151511"/>
                      </a:lnTo>
                      <a:lnTo>
                        <a:pt x="326986" y="151130"/>
                      </a:lnTo>
                      <a:lnTo>
                        <a:pt x="328180" y="151765"/>
                      </a:lnTo>
                      <a:lnTo>
                        <a:pt x="328612" y="152654"/>
                      </a:lnTo>
                      <a:lnTo>
                        <a:pt x="332193" y="154393"/>
                      </a:lnTo>
                      <a:lnTo>
                        <a:pt x="332320" y="154317"/>
                      </a:lnTo>
                      <a:lnTo>
                        <a:pt x="333895" y="152654"/>
                      </a:lnTo>
                      <a:lnTo>
                        <a:pt x="337019" y="152400"/>
                      </a:lnTo>
                      <a:lnTo>
                        <a:pt x="334899" y="154393"/>
                      </a:lnTo>
                      <a:lnTo>
                        <a:pt x="368909" y="154393"/>
                      </a:lnTo>
                      <a:lnTo>
                        <a:pt x="369239" y="154051"/>
                      </a:lnTo>
                      <a:lnTo>
                        <a:pt x="370141" y="152400"/>
                      </a:lnTo>
                      <a:lnTo>
                        <a:pt x="370217" y="152273"/>
                      </a:lnTo>
                      <a:lnTo>
                        <a:pt x="371119" y="151130"/>
                      </a:lnTo>
                      <a:lnTo>
                        <a:pt x="372033" y="149987"/>
                      </a:lnTo>
                      <a:close/>
                    </a:path>
                    <a:path w="616585" h="374650">
                      <a:moveTo>
                        <a:pt x="414045" y="231051"/>
                      </a:moveTo>
                      <a:lnTo>
                        <a:pt x="414032" y="230911"/>
                      </a:lnTo>
                      <a:lnTo>
                        <a:pt x="413867" y="229565"/>
                      </a:lnTo>
                      <a:lnTo>
                        <a:pt x="413829" y="229298"/>
                      </a:lnTo>
                      <a:lnTo>
                        <a:pt x="411213" y="229565"/>
                      </a:lnTo>
                      <a:lnTo>
                        <a:pt x="410121" y="229323"/>
                      </a:lnTo>
                      <a:lnTo>
                        <a:pt x="404952" y="228193"/>
                      </a:lnTo>
                      <a:lnTo>
                        <a:pt x="400913" y="226695"/>
                      </a:lnTo>
                      <a:lnTo>
                        <a:pt x="399681" y="226237"/>
                      </a:lnTo>
                      <a:lnTo>
                        <a:pt x="392760" y="226695"/>
                      </a:lnTo>
                      <a:lnTo>
                        <a:pt x="391312" y="226631"/>
                      </a:lnTo>
                      <a:lnTo>
                        <a:pt x="388607" y="227088"/>
                      </a:lnTo>
                      <a:lnTo>
                        <a:pt x="387743" y="228041"/>
                      </a:lnTo>
                      <a:lnTo>
                        <a:pt x="384657" y="229323"/>
                      </a:lnTo>
                      <a:lnTo>
                        <a:pt x="376643" y="224256"/>
                      </a:lnTo>
                      <a:lnTo>
                        <a:pt x="372440" y="224955"/>
                      </a:lnTo>
                      <a:lnTo>
                        <a:pt x="349427" y="224637"/>
                      </a:lnTo>
                      <a:lnTo>
                        <a:pt x="339737" y="225767"/>
                      </a:lnTo>
                      <a:lnTo>
                        <a:pt x="341490" y="232651"/>
                      </a:lnTo>
                      <a:lnTo>
                        <a:pt x="343890" y="230911"/>
                      </a:lnTo>
                      <a:lnTo>
                        <a:pt x="345567" y="231521"/>
                      </a:lnTo>
                      <a:lnTo>
                        <a:pt x="344055" y="232892"/>
                      </a:lnTo>
                      <a:lnTo>
                        <a:pt x="343458" y="232752"/>
                      </a:lnTo>
                      <a:lnTo>
                        <a:pt x="346862" y="235648"/>
                      </a:lnTo>
                      <a:lnTo>
                        <a:pt x="348780" y="236004"/>
                      </a:lnTo>
                      <a:lnTo>
                        <a:pt x="350443" y="237058"/>
                      </a:lnTo>
                      <a:lnTo>
                        <a:pt x="348602" y="236893"/>
                      </a:lnTo>
                      <a:lnTo>
                        <a:pt x="347154" y="236867"/>
                      </a:lnTo>
                      <a:lnTo>
                        <a:pt x="343496" y="236156"/>
                      </a:lnTo>
                      <a:lnTo>
                        <a:pt x="335800" y="235216"/>
                      </a:lnTo>
                      <a:lnTo>
                        <a:pt x="335216" y="237350"/>
                      </a:lnTo>
                      <a:lnTo>
                        <a:pt x="335826" y="237413"/>
                      </a:lnTo>
                      <a:lnTo>
                        <a:pt x="335889" y="238798"/>
                      </a:lnTo>
                      <a:lnTo>
                        <a:pt x="336003" y="239242"/>
                      </a:lnTo>
                      <a:lnTo>
                        <a:pt x="336194" y="240639"/>
                      </a:lnTo>
                      <a:lnTo>
                        <a:pt x="335534" y="242620"/>
                      </a:lnTo>
                      <a:lnTo>
                        <a:pt x="336194" y="243814"/>
                      </a:lnTo>
                      <a:lnTo>
                        <a:pt x="336626" y="245287"/>
                      </a:lnTo>
                      <a:lnTo>
                        <a:pt x="336334" y="245884"/>
                      </a:lnTo>
                      <a:lnTo>
                        <a:pt x="336372" y="246303"/>
                      </a:lnTo>
                      <a:lnTo>
                        <a:pt x="336880" y="246837"/>
                      </a:lnTo>
                      <a:lnTo>
                        <a:pt x="337019" y="247726"/>
                      </a:lnTo>
                      <a:lnTo>
                        <a:pt x="337121" y="249021"/>
                      </a:lnTo>
                      <a:lnTo>
                        <a:pt x="336791" y="251155"/>
                      </a:lnTo>
                      <a:lnTo>
                        <a:pt x="335026" y="253085"/>
                      </a:lnTo>
                      <a:lnTo>
                        <a:pt x="335241" y="255485"/>
                      </a:lnTo>
                      <a:lnTo>
                        <a:pt x="336130" y="256082"/>
                      </a:lnTo>
                      <a:lnTo>
                        <a:pt x="336384" y="257505"/>
                      </a:lnTo>
                      <a:lnTo>
                        <a:pt x="335838" y="258305"/>
                      </a:lnTo>
                      <a:lnTo>
                        <a:pt x="335902" y="261200"/>
                      </a:lnTo>
                      <a:lnTo>
                        <a:pt x="337604" y="260159"/>
                      </a:lnTo>
                      <a:lnTo>
                        <a:pt x="336397" y="263613"/>
                      </a:lnTo>
                      <a:lnTo>
                        <a:pt x="338289" y="263486"/>
                      </a:lnTo>
                      <a:lnTo>
                        <a:pt x="340461" y="264591"/>
                      </a:lnTo>
                      <a:lnTo>
                        <a:pt x="339991" y="265353"/>
                      </a:lnTo>
                      <a:lnTo>
                        <a:pt x="341198" y="267462"/>
                      </a:lnTo>
                      <a:lnTo>
                        <a:pt x="342379" y="267436"/>
                      </a:lnTo>
                      <a:lnTo>
                        <a:pt x="342950" y="269074"/>
                      </a:lnTo>
                      <a:lnTo>
                        <a:pt x="342138" y="269671"/>
                      </a:lnTo>
                      <a:lnTo>
                        <a:pt x="342214" y="270916"/>
                      </a:lnTo>
                      <a:lnTo>
                        <a:pt x="342658" y="271310"/>
                      </a:lnTo>
                      <a:lnTo>
                        <a:pt x="343115" y="273494"/>
                      </a:lnTo>
                      <a:lnTo>
                        <a:pt x="342125" y="275831"/>
                      </a:lnTo>
                      <a:lnTo>
                        <a:pt x="343281" y="278447"/>
                      </a:lnTo>
                      <a:lnTo>
                        <a:pt x="343420" y="278168"/>
                      </a:lnTo>
                      <a:lnTo>
                        <a:pt x="346113" y="278053"/>
                      </a:lnTo>
                      <a:lnTo>
                        <a:pt x="347357" y="277799"/>
                      </a:lnTo>
                      <a:lnTo>
                        <a:pt x="348754" y="277825"/>
                      </a:lnTo>
                      <a:lnTo>
                        <a:pt x="346951" y="277914"/>
                      </a:lnTo>
                      <a:lnTo>
                        <a:pt x="345262" y="279844"/>
                      </a:lnTo>
                      <a:lnTo>
                        <a:pt x="343204" y="281546"/>
                      </a:lnTo>
                      <a:lnTo>
                        <a:pt x="342061" y="283197"/>
                      </a:lnTo>
                      <a:lnTo>
                        <a:pt x="343839" y="282790"/>
                      </a:lnTo>
                      <a:lnTo>
                        <a:pt x="345414" y="282460"/>
                      </a:lnTo>
                      <a:lnTo>
                        <a:pt x="347027" y="282054"/>
                      </a:lnTo>
                      <a:lnTo>
                        <a:pt x="350088" y="281533"/>
                      </a:lnTo>
                      <a:lnTo>
                        <a:pt x="352044" y="281292"/>
                      </a:lnTo>
                      <a:lnTo>
                        <a:pt x="355587" y="281393"/>
                      </a:lnTo>
                      <a:lnTo>
                        <a:pt x="357251" y="282473"/>
                      </a:lnTo>
                      <a:lnTo>
                        <a:pt x="359308" y="281901"/>
                      </a:lnTo>
                      <a:lnTo>
                        <a:pt x="359295" y="281305"/>
                      </a:lnTo>
                      <a:lnTo>
                        <a:pt x="359130" y="280301"/>
                      </a:lnTo>
                      <a:lnTo>
                        <a:pt x="358470" y="281012"/>
                      </a:lnTo>
                      <a:lnTo>
                        <a:pt x="357441" y="281305"/>
                      </a:lnTo>
                      <a:lnTo>
                        <a:pt x="356463" y="281000"/>
                      </a:lnTo>
                      <a:lnTo>
                        <a:pt x="357327" y="279996"/>
                      </a:lnTo>
                      <a:lnTo>
                        <a:pt x="358368" y="280492"/>
                      </a:lnTo>
                      <a:lnTo>
                        <a:pt x="358673" y="279996"/>
                      </a:lnTo>
                      <a:lnTo>
                        <a:pt x="359625" y="278447"/>
                      </a:lnTo>
                      <a:lnTo>
                        <a:pt x="359702" y="277799"/>
                      </a:lnTo>
                      <a:lnTo>
                        <a:pt x="359740" y="277469"/>
                      </a:lnTo>
                      <a:lnTo>
                        <a:pt x="361035" y="275780"/>
                      </a:lnTo>
                      <a:lnTo>
                        <a:pt x="361480" y="274497"/>
                      </a:lnTo>
                      <a:lnTo>
                        <a:pt x="363181" y="273075"/>
                      </a:lnTo>
                      <a:lnTo>
                        <a:pt x="364312" y="273354"/>
                      </a:lnTo>
                      <a:lnTo>
                        <a:pt x="364655" y="273075"/>
                      </a:lnTo>
                      <a:lnTo>
                        <a:pt x="365671" y="272237"/>
                      </a:lnTo>
                      <a:lnTo>
                        <a:pt x="365671" y="271538"/>
                      </a:lnTo>
                      <a:lnTo>
                        <a:pt x="366191" y="270903"/>
                      </a:lnTo>
                      <a:lnTo>
                        <a:pt x="367245" y="270357"/>
                      </a:lnTo>
                      <a:lnTo>
                        <a:pt x="367690" y="269100"/>
                      </a:lnTo>
                      <a:lnTo>
                        <a:pt x="366826" y="267855"/>
                      </a:lnTo>
                      <a:lnTo>
                        <a:pt x="366509" y="267436"/>
                      </a:lnTo>
                      <a:lnTo>
                        <a:pt x="365353" y="265950"/>
                      </a:lnTo>
                      <a:lnTo>
                        <a:pt x="363321" y="265798"/>
                      </a:lnTo>
                      <a:lnTo>
                        <a:pt x="362165" y="264210"/>
                      </a:lnTo>
                      <a:lnTo>
                        <a:pt x="362521" y="263486"/>
                      </a:lnTo>
                      <a:lnTo>
                        <a:pt x="362775" y="262966"/>
                      </a:lnTo>
                      <a:lnTo>
                        <a:pt x="362864" y="262115"/>
                      </a:lnTo>
                      <a:lnTo>
                        <a:pt x="361467" y="262763"/>
                      </a:lnTo>
                      <a:lnTo>
                        <a:pt x="360781" y="262966"/>
                      </a:lnTo>
                      <a:lnTo>
                        <a:pt x="360489" y="262940"/>
                      </a:lnTo>
                      <a:lnTo>
                        <a:pt x="358381" y="262763"/>
                      </a:lnTo>
                      <a:lnTo>
                        <a:pt x="356082" y="262940"/>
                      </a:lnTo>
                      <a:lnTo>
                        <a:pt x="355180" y="262394"/>
                      </a:lnTo>
                      <a:lnTo>
                        <a:pt x="354545" y="261467"/>
                      </a:lnTo>
                      <a:lnTo>
                        <a:pt x="358025" y="260769"/>
                      </a:lnTo>
                      <a:lnTo>
                        <a:pt x="362127" y="260769"/>
                      </a:lnTo>
                      <a:lnTo>
                        <a:pt x="366153" y="261112"/>
                      </a:lnTo>
                      <a:lnTo>
                        <a:pt x="366687" y="260769"/>
                      </a:lnTo>
                      <a:lnTo>
                        <a:pt x="367588" y="260172"/>
                      </a:lnTo>
                      <a:lnTo>
                        <a:pt x="370395" y="260438"/>
                      </a:lnTo>
                      <a:lnTo>
                        <a:pt x="371767" y="260946"/>
                      </a:lnTo>
                      <a:lnTo>
                        <a:pt x="373367" y="261302"/>
                      </a:lnTo>
                      <a:lnTo>
                        <a:pt x="375843" y="261886"/>
                      </a:lnTo>
                      <a:lnTo>
                        <a:pt x="378358" y="261975"/>
                      </a:lnTo>
                      <a:lnTo>
                        <a:pt x="385876" y="263626"/>
                      </a:lnTo>
                      <a:lnTo>
                        <a:pt x="389039" y="260769"/>
                      </a:lnTo>
                      <a:lnTo>
                        <a:pt x="389509" y="260172"/>
                      </a:lnTo>
                      <a:lnTo>
                        <a:pt x="394144" y="254203"/>
                      </a:lnTo>
                      <a:lnTo>
                        <a:pt x="395770" y="252006"/>
                      </a:lnTo>
                      <a:lnTo>
                        <a:pt x="396824" y="250685"/>
                      </a:lnTo>
                      <a:lnTo>
                        <a:pt x="397256" y="249021"/>
                      </a:lnTo>
                      <a:lnTo>
                        <a:pt x="397408" y="248399"/>
                      </a:lnTo>
                      <a:lnTo>
                        <a:pt x="395681" y="249021"/>
                      </a:lnTo>
                      <a:lnTo>
                        <a:pt x="393852" y="248666"/>
                      </a:lnTo>
                      <a:lnTo>
                        <a:pt x="394970" y="248259"/>
                      </a:lnTo>
                      <a:lnTo>
                        <a:pt x="396151" y="248373"/>
                      </a:lnTo>
                      <a:lnTo>
                        <a:pt x="396684" y="248259"/>
                      </a:lnTo>
                      <a:lnTo>
                        <a:pt x="399148" y="247726"/>
                      </a:lnTo>
                      <a:lnTo>
                        <a:pt x="398843" y="247192"/>
                      </a:lnTo>
                      <a:lnTo>
                        <a:pt x="400900" y="244487"/>
                      </a:lnTo>
                      <a:lnTo>
                        <a:pt x="404964" y="241681"/>
                      </a:lnTo>
                      <a:lnTo>
                        <a:pt x="402932" y="240182"/>
                      </a:lnTo>
                      <a:lnTo>
                        <a:pt x="403148" y="240030"/>
                      </a:lnTo>
                      <a:lnTo>
                        <a:pt x="403301" y="240093"/>
                      </a:lnTo>
                      <a:lnTo>
                        <a:pt x="403567" y="240055"/>
                      </a:lnTo>
                      <a:lnTo>
                        <a:pt x="406146" y="240385"/>
                      </a:lnTo>
                      <a:lnTo>
                        <a:pt x="406400" y="240055"/>
                      </a:lnTo>
                      <a:lnTo>
                        <a:pt x="408698" y="237058"/>
                      </a:lnTo>
                      <a:lnTo>
                        <a:pt x="410819" y="234289"/>
                      </a:lnTo>
                      <a:lnTo>
                        <a:pt x="412216" y="232892"/>
                      </a:lnTo>
                      <a:lnTo>
                        <a:pt x="414045" y="231051"/>
                      </a:lnTo>
                      <a:close/>
                    </a:path>
                    <a:path w="616585" h="374650">
                      <a:moveTo>
                        <a:pt x="433260" y="181229"/>
                      </a:moveTo>
                      <a:lnTo>
                        <a:pt x="433120" y="181991"/>
                      </a:lnTo>
                      <a:lnTo>
                        <a:pt x="433260" y="181229"/>
                      </a:lnTo>
                      <a:close/>
                    </a:path>
                    <a:path w="616585" h="374650">
                      <a:moveTo>
                        <a:pt x="459765" y="47752"/>
                      </a:moveTo>
                      <a:lnTo>
                        <a:pt x="459638" y="47625"/>
                      </a:lnTo>
                      <a:lnTo>
                        <a:pt x="459765" y="47752"/>
                      </a:lnTo>
                      <a:close/>
                    </a:path>
                    <a:path w="616585" h="374650">
                      <a:moveTo>
                        <a:pt x="490448" y="69850"/>
                      </a:moveTo>
                      <a:lnTo>
                        <a:pt x="489559" y="68834"/>
                      </a:lnTo>
                      <a:lnTo>
                        <a:pt x="489178" y="68580"/>
                      </a:lnTo>
                      <a:lnTo>
                        <a:pt x="488988" y="68453"/>
                      </a:lnTo>
                      <a:lnTo>
                        <a:pt x="488607" y="68199"/>
                      </a:lnTo>
                      <a:lnTo>
                        <a:pt x="488594" y="68453"/>
                      </a:lnTo>
                      <a:lnTo>
                        <a:pt x="488594" y="68072"/>
                      </a:lnTo>
                      <a:lnTo>
                        <a:pt x="488594" y="66929"/>
                      </a:lnTo>
                      <a:lnTo>
                        <a:pt x="486283" y="66675"/>
                      </a:lnTo>
                      <a:lnTo>
                        <a:pt x="484111" y="65278"/>
                      </a:lnTo>
                      <a:lnTo>
                        <a:pt x="483374" y="64008"/>
                      </a:lnTo>
                      <a:lnTo>
                        <a:pt x="481634" y="61849"/>
                      </a:lnTo>
                      <a:lnTo>
                        <a:pt x="477443" y="55880"/>
                      </a:lnTo>
                      <a:lnTo>
                        <a:pt x="476135" y="60579"/>
                      </a:lnTo>
                      <a:lnTo>
                        <a:pt x="475411" y="64770"/>
                      </a:lnTo>
                      <a:lnTo>
                        <a:pt x="473786" y="64262"/>
                      </a:lnTo>
                      <a:lnTo>
                        <a:pt x="472973" y="64008"/>
                      </a:lnTo>
                      <a:lnTo>
                        <a:pt x="473646" y="61976"/>
                      </a:lnTo>
                      <a:lnTo>
                        <a:pt x="474243" y="60198"/>
                      </a:lnTo>
                      <a:lnTo>
                        <a:pt x="470484" y="58547"/>
                      </a:lnTo>
                      <a:lnTo>
                        <a:pt x="469684" y="57912"/>
                      </a:lnTo>
                      <a:lnTo>
                        <a:pt x="465048" y="57531"/>
                      </a:lnTo>
                      <a:lnTo>
                        <a:pt x="464591" y="58801"/>
                      </a:lnTo>
                      <a:lnTo>
                        <a:pt x="462673" y="61976"/>
                      </a:lnTo>
                      <a:lnTo>
                        <a:pt x="462699" y="59944"/>
                      </a:lnTo>
                      <a:lnTo>
                        <a:pt x="461721" y="59309"/>
                      </a:lnTo>
                      <a:lnTo>
                        <a:pt x="460743" y="59309"/>
                      </a:lnTo>
                      <a:lnTo>
                        <a:pt x="458063" y="59563"/>
                      </a:lnTo>
                      <a:lnTo>
                        <a:pt x="457085" y="61849"/>
                      </a:lnTo>
                      <a:lnTo>
                        <a:pt x="455079" y="61849"/>
                      </a:lnTo>
                      <a:lnTo>
                        <a:pt x="452132" y="61976"/>
                      </a:lnTo>
                      <a:lnTo>
                        <a:pt x="452247" y="61849"/>
                      </a:lnTo>
                      <a:lnTo>
                        <a:pt x="454050" y="59817"/>
                      </a:lnTo>
                      <a:lnTo>
                        <a:pt x="457555" y="58547"/>
                      </a:lnTo>
                      <a:lnTo>
                        <a:pt x="458520" y="57404"/>
                      </a:lnTo>
                      <a:lnTo>
                        <a:pt x="459244" y="54483"/>
                      </a:lnTo>
                      <a:lnTo>
                        <a:pt x="459181" y="54356"/>
                      </a:lnTo>
                      <a:lnTo>
                        <a:pt x="458851" y="53594"/>
                      </a:lnTo>
                      <a:lnTo>
                        <a:pt x="459524" y="51816"/>
                      </a:lnTo>
                      <a:lnTo>
                        <a:pt x="459701" y="51562"/>
                      </a:lnTo>
                      <a:lnTo>
                        <a:pt x="461264" y="49276"/>
                      </a:lnTo>
                      <a:lnTo>
                        <a:pt x="459409" y="49022"/>
                      </a:lnTo>
                      <a:lnTo>
                        <a:pt x="458508" y="50038"/>
                      </a:lnTo>
                      <a:lnTo>
                        <a:pt x="456730" y="51054"/>
                      </a:lnTo>
                      <a:lnTo>
                        <a:pt x="454685" y="51562"/>
                      </a:lnTo>
                      <a:lnTo>
                        <a:pt x="453123" y="51308"/>
                      </a:lnTo>
                      <a:lnTo>
                        <a:pt x="454863" y="50419"/>
                      </a:lnTo>
                      <a:lnTo>
                        <a:pt x="457428" y="50165"/>
                      </a:lnTo>
                      <a:lnTo>
                        <a:pt x="459524" y="47752"/>
                      </a:lnTo>
                      <a:lnTo>
                        <a:pt x="459511" y="47625"/>
                      </a:lnTo>
                      <a:lnTo>
                        <a:pt x="458012" y="46863"/>
                      </a:lnTo>
                      <a:lnTo>
                        <a:pt x="457923" y="46228"/>
                      </a:lnTo>
                      <a:lnTo>
                        <a:pt x="457809" y="46101"/>
                      </a:lnTo>
                      <a:lnTo>
                        <a:pt x="454418" y="42037"/>
                      </a:lnTo>
                      <a:lnTo>
                        <a:pt x="448881" y="46101"/>
                      </a:lnTo>
                      <a:lnTo>
                        <a:pt x="445871" y="43307"/>
                      </a:lnTo>
                      <a:lnTo>
                        <a:pt x="444652" y="42164"/>
                      </a:lnTo>
                      <a:lnTo>
                        <a:pt x="445147" y="42164"/>
                      </a:lnTo>
                      <a:lnTo>
                        <a:pt x="448411" y="41148"/>
                      </a:lnTo>
                      <a:lnTo>
                        <a:pt x="450748" y="40894"/>
                      </a:lnTo>
                      <a:lnTo>
                        <a:pt x="452081" y="38735"/>
                      </a:lnTo>
                      <a:lnTo>
                        <a:pt x="451993" y="37846"/>
                      </a:lnTo>
                      <a:lnTo>
                        <a:pt x="451205" y="34290"/>
                      </a:lnTo>
                      <a:lnTo>
                        <a:pt x="449135" y="31877"/>
                      </a:lnTo>
                      <a:lnTo>
                        <a:pt x="441172" y="31242"/>
                      </a:lnTo>
                      <a:lnTo>
                        <a:pt x="437400" y="32512"/>
                      </a:lnTo>
                      <a:lnTo>
                        <a:pt x="435762" y="33401"/>
                      </a:lnTo>
                      <a:lnTo>
                        <a:pt x="436689" y="37973"/>
                      </a:lnTo>
                      <a:lnTo>
                        <a:pt x="441375" y="40894"/>
                      </a:lnTo>
                      <a:lnTo>
                        <a:pt x="443128" y="43307"/>
                      </a:lnTo>
                      <a:lnTo>
                        <a:pt x="442582" y="43053"/>
                      </a:lnTo>
                      <a:lnTo>
                        <a:pt x="442048" y="42672"/>
                      </a:lnTo>
                      <a:lnTo>
                        <a:pt x="441274" y="42418"/>
                      </a:lnTo>
                      <a:lnTo>
                        <a:pt x="440778" y="42164"/>
                      </a:lnTo>
                      <a:lnTo>
                        <a:pt x="439877" y="42164"/>
                      </a:lnTo>
                      <a:lnTo>
                        <a:pt x="440283" y="42545"/>
                      </a:lnTo>
                      <a:lnTo>
                        <a:pt x="438035" y="43053"/>
                      </a:lnTo>
                      <a:lnTo>
                        <a:pt x="436714" y="42799"/>
                      </a:lnTo>
                      <a:lnTo>
                        <a:pt x="433247" y="41656"/>
                      </a:lnTo>
                      <a:lnTo>
                        <a:pt x="428129" y="39497"/>
                      </a:lnTo>
                      <a:lnTo>
                        <a:pt x="428066" y="38989"/>
                      </a:lnTo>
                      <a:lnTo>
                        <a:pt x="428015" y="38608"/>
                      </a:lnTo>
                      <a:lnTo>
                        <a:pt x="427977" y="38354"/>
                      </a:lnTo>
                      <a:lnTo>
                        <a:pt x="427837" y="37211"/>
                      </a:lnTo>
                      <a:lnTo>
                        <a:pt x="427837" y="36322"/>
                      </a:lnTo>
                      <a:lnTo>
                        <a:pt x="429920" y="35433"/>
                      </a:lnTo>
                      <a:lnTo>
                        <a:pt x="429729" y="35052"/>
                      </a:lnTo>
                      <a:lnTo>
                        <a:pt x="429856" y="32512"/>
                      </a:lnTo>
                      <a:lnTo>
                        <a:pt x="429907" y="32004"/>
                      </a:lnTo>
                      <a:lnTo>
                        <a:pt x="429869" y="30480"/>
                      </a:lnTo>
                      <a:lnTo>
                        <a:pt x="426085" y="28448"/>
                      </a:lnTo>
                      <a:lnTo>
                        <a:pt x="424027" y="28067"/>
                      </a:lnTo>
                      <a:lnTo>
                        <a:pt x="420700" y="29591"/>
                      </a:lnTo>
                      <a:lnTo>
                        <a:pt x="420878" y="32004"/>
                      </a:lnTo>
                      <a:lnTo>
                        <a:pt x="418693" y="29845"/>
                      </a:lnTo>
                      <a:lnTo>
                        <a:pt x="417283" y="28448"/>
                      </a:lnTo>
                      <a:lnTo>
                        <a:pt x="415874" y="27051"/>
                      </a:lnTo>
                      <a:lnTo>
                        <a:pt x="409930" y="28448"/>
                      </a:lnTo>
                      <a:lnTo>
                        <a:pt x="406044" y="27305"/>
                      </a:lnTo>
                      <a:lnTo>
                        <a:pt x="407847" y="25781"/>
                      </a:lnTo>
                      <a:lnTo>
                        <a:pt x="402386" y="22860"/>
                      </a:lnTo>
                      <a:lnTo>
                        <a:pt x="401231" y="21463"/>
                      </a:lnTo>
                      <a:lnTo>
                        <a:pt x="400075" y="20066"/>
                      </a:lnTo>
                      <a:lnTo>
                        <a:pt x="399542" y="19304"/>
                      </a:lnTo>
                      <a:lnTo>
                        <a:pt x="399021" y="18542"/>
                      </a:lnTo>
                      <a:lnTo>
                        <a:pt x="397319" y="17145"/>
                      </a:lnTo>
                      <a:lnTo>
                        <a:pt x="392518" y="13208"/>
                      </a:lnTo>
                      <a:lnTo>
                        <a:pt x="391820" y="11430"/>
                      </a:lnTo>
                      <a:lnTo>
                        <a:pt x="389839" y="6350"/>
                      </a:lnTo>
                      <a:lnTo>
                        <a:pt x="388188" y="5842"/>
                      </a:lnTo>
                      <a:lnTo>
                        <a:pt x="380746" y="3556"/>
                      </a:lnTo>
                      <a:lnTo>
                        <a:pt x="375005" y="2032"/>
                      </a:lnTo>
                      <a:lnTo>
                        <a:pt x="372618" y="1397"/>
                      </a:lnTo>
                      <a:lnTo>
                        <a:pt x="370928" y="889"/>
                      </a:lnTo>
                      <a:lnTo>
                        <a:pt x="364553" y="0"/>
                      </a:lnTo>
                      <a:lnTo>
                        <a:pt x="366839" y="1778"/>
                      </a:lnTo>
                      <a:lnTo>
                        <a:pt x="363740" y="2032"/>
                      </a:lnTo>
                      <a:lnTo>
                        <a:pt x="359130" y="254"/>
                      </a:lnTo>
                      <a:lnTo>
                        <a:pt x="356247" y="1397"/>
                      </a:lnTo>
                      <a:lnTo>
                        <a:pt x="355612" y="2667"/>
                      </a:lnTo>
                      <a:lnTo>
                        <a:pt x="354977" y="3683"/>
                      </a:lnTo>
                      <a:lnTo>
                        <a:pt x="353872" y="3683"/>
                      </a:lnTo>
                      <a:lnTo>
                        <a:pt x="354990" y="5842"/>
                      </a:lnTo>
                      <a:lnTo>
                        <a:pt x="358584" y="6096"/>
                      </a:lnTo>
                      <a:lnTo>
                        <a:pt x="362204" y="6604"/>
                      </a:lnTo>
                      <a:lnTo>
                        <a:pt x="364680" y="5842"/>
                      </a:lnTo>
                      <a:lnTo>
                        <a:pt x="369519" y="5842"/>
                      </a:lnTo>
                      <a:lnTo>
                        <a:pt x="370370" y="6477"/>
                      </a:lnTo>
                      <a:lnTo>
                        <a:pt x="372922" y="7366"/>
                      </a:lnTo>
                      <a:lnTo>
                        <a:pt x="372783" y="8001"/>
                      </a:lnTo>
                      <a:lnTo>
                        <a:pt x="371500" y="8636"/>
                      </a:lnTo>
                      <a:lnTo>
                        <a:pt x="372237" y="9398"/>
                      </a:lnTo>
                      <a:lnTo>
                        <a:pt x="370408" y="11430"/>
                      </a:lnTo>
                      <a:lnTo>
                        <a:pt x="364617" y="10033"/>
                      </a:lnTo>
                      <a:lnTo>
                        <a:pt x="359689" y="9652"/>
                      </a:lnTo>
                      <a:lnTo>
                        <a:pt x="356793" y="9144"/>
                      </a:lnTo>
                      <a:lnTo>
                        <a:pt x="351155" y="10795"/>
                      </a:lnTo>
                      <a:lnTo>
                        <a:pt x="348310" y="11176"/>
                      </a:lnTo>
                      <a:lnTo>
                        <a:pt x="344563" y="12192"/>
                      </a:lnTo>
                      <a:lnTo>
                        <a:pt x="343458" y="12319"/>
                      </a:lnTo>
                      <a:lnTo>
                        <a:pt x="341579" y="13208"/>
                      </a:lnTo>
                      <a:lnTo>
                        <a:pt x="342112" y="13843"/>
                      </a:lnTo>
                      <a:lnTo>
                        <a:pt x="341236" y="14986"/>
                      </a:lnTo>
                      <a:lnTo>
                        <a:pt x="338594" y="16129"/>
                      </a:lnTo>
                      <a:lnTo>
                        <a:pt x="338632" y="17399"/>
                      </a:lnTo>
                      <a:lnTo>
                        <a:pt x="342480" y="17145"/>
                      </a:lnTo>
                      <a:lnTo>
                        <a:pt x="343192" y="17145"/>
                      </a:lnTo>
                      <a:lnTo>
                        <a:pt x="342455" y="17780"/>
                      </a:lnTo>
                      <a:lnTo>
                        <a:pt x="337756" y="18161"/>
                      </a:lnTo>
                      <a:lnTo>
                        <a:pt x="338239" y="21209"/>
                      </a:lnTo>
                      <a:lnTo>
                        <a:pt x="346316" y="19304"/>
                      </a:lnTo>
                      <a:lnTo>
                        <a:pt x="347408" y="19685"/>
                      </a:lnTo>
                      <a:lnTo>
                        <a:pt x="346671" y="20193"/>
                      </a:lnTo>
                      <a:lnTo>
                        <a:pt x="345605" y="20320"/>
                      </a:lnTo>
                      <a:lnTo>
                        <a:pt x="344944" y="20828"/>
                      </a:lnTo>
                      <a:lnTo>
                        <a:pt x="346468" y="20955"/>
                      </a:lnTo>
                      <a:lnTo>
                        <a:pt x="347802" y="22225"/>
                      </a:lnTo>
                      <a:lnTo>
                        <a:pt x="350977" y="22225"/>
                      </a:lnTo>
                      <a:lnTo>
                        <a:pt x="352780" y="21463"/>
                      </a:lnTo>
                      <a:lnTo>
                        <a:pt x="355434" y="21971"/>
                      </a:lnTo>
                      <a:lnTo>
                        <a:pt x="355206" y="22225"/>
                      </a:lnTo>
                      <a:lnTo>
                        <a:pt x="356196" y="22606"/>
                      </a:lnTo>
                      <a:lnTo>
                        <a:pt x="351764" y="24257"/>
                      </a:lnTo>
                      <a:lnTo>
                        <a:pt x="346316" y="24765"/>
                      </a:lnTo>
                      <a:lnTo>
                        <a:pt x="330009" y="27305"/>
                      </a:lnTo>
                      <a:lnTo>
                        <a:pt x="331749" y="28321"/>
                      </a:lnTo>
                      <a:lnTo>
                        <a:pt x="332384" y="28575"/>
                      </a:lnTo>
                      <a:lnTo>
                        <a:pt x="331990" y="29845"/>
                      </a:lnTo>
                      <a:lnTo>
                        <a:pt x="331038" y="29718"/>
                      </a:lnTo>
                      <a:lnTo>
                        <a:pt x="329882" y="30353"/>
                      </a:lnTo>
                      <a:lnTo>
                        <a:pt x="331343" y="30988"/>
                      </a:lnTo>
                      <a:lnTo>
                        <a:pt x="332968" y="31242"/>
                      </a:lnTo>
                      <a:lnTo>
                        <a:pt x="334391" y="32004"/>
                      </a:lnTo>
                      <a:lnTo>
                        <a:pt x="332003" y="32766"/>
                      </a:lnTo>
                      <a:lnTo>
                        <a:pt x="329514" y="33147"/>
                      </a:lnTo>
                      <a:lnTo>
                        <a:pt x="326136" y="33782"/>
                      </a:lnTo>
                      <a:lnTo>
                        <a:pt x="321068" y="35052"/>
                      </a:lnTo>
                      <a:lnTo>
                        <a:pt x="322199" y="35560"/>
                      </a:lnTo>
                      <a:lnTo>
                        <a:pt x="325234" y="35687"/>
                      </a:lnTo>
                      <a:lnTo>
                        <a:pt x="322389" y="37211"/>
                      </a:lnTo>
                      <a:lnTo>
                        <a:pt x="323557" y="37338"/>
                      </a:lnTo>
                      <a:lnTo>
                        <a:pt x="326644" y="37846"/>
                      </a:lnTo>
                      <a:lnTo>
                        <a:pt x="328434" y="38989"/>
                      </a:lnTo>
                      <a:lnTo>
                        <a:pt x="332524" y="39624"/>
                      </a:lnTo>
                      <a:lnTo>
                        <a:pt x="334391" y="38354"/>
                      </a:lnTo>
                      <a:lnTo>
                        <a:pt x="337019" y="38481"/>
                      </a:lnTo>
                      <a:lnTo>
                        <a:pt x="337197" y="39116"/>
                      </a:lnTo>
                      <a:lnTo>
                        <a:pt x="338772" y="39116"/>
                      </a:lnTo>
                      <a:lnTo>
                        <a:pt x="339852" y="38735"/>
                      </a:lnTo>
                      <a:lnTo>
                        <a:pt x="340931" y="38608"/>
                      </a:lnTo>
                      <a:lnTo>
                        <a:pt x="340182" y="38862"/>
                      </a:lnTo>
                      <a:lnTo>
                        <a:pt x="334505" y="40132"/>
                      </a:lnTo>
                      <a:lnTo>
                        <a:pt x="338302" y="41783"/>
                      </a:lnTo>
                      <a:lnTo>
                        <a:pt x="339344" y="42037"/>
                      </a:lnTo>
                      <a:lnTo>
                        <a:pt x="345020" y="40894"/>
                      </a:lnTo>
                      <a:lnTo>
                        <a:pt x="348246" y="39751"/>
                      </a:lnTo>
                      <a:lnTo>
                        <a:pt x="352450" y="38989"/>
                      </a:lnTo>
                      <a:lnTo>
                        <a:pt x="354291" y="40132"/>
                      </a:lnTo>
                      <a:lnTo>
                        <a:pt x="355320" y="40259"/>
                      </a:lnTo>
                      <a:lnTo>
                        <a:pt x="353187" y="41529"/>
                      </a:lnTo>
                      <a:lnTo>
                        <a:pt x="350291" y="41910"/>
                      </a:lnTo>
                      <a:lnTo>
                        <a:pt x="348335" y="43434"/>
                      </a:lnTo>
                      <a:lnTo>
                        <a:pt x="349872" y="44196"/>
                      </a:lnTo>
                      <a:lnTo>
                        <a:pt x="352107" y="45466"/>
                      </a:lnTo>
                      <a:lnTo>
                        <a:pt x="353021" y="46863"/>
                      </a:lnTo>
                      <a:lnTo>
                        <a:pt x="351269" y="46355"/>
                      </a:lnTo>
                      <a:lnTo>
                        <a:pt x="349364" y="45339"/>
                      </a:lnTo>
                      <a:lnTo>
                        <a:pt x="344970" y="45085"/>
                      </a:lnTo>
                      <a:lnTo>
                        <a:pt x="342315" y="45339"/>
                      </a:lnTo>
                      <a:lnTo>
                        <a:pt x="333121" y="44831"/>
                      </a:lnTo>
                      <a:lnTo>
                        <a:pt x="326453" y="43307"/>
                      </a:lnTo>
                      <a:lnTo>
                        <a:pt x="319849" y="43688"/>
                      </a:lnTo>
                      <a:lnTo>
                        <a:pt x="320078" y="43942"/>
                      </a:lnTo>
                      <a:lnTo>
                        <a:pt x="320167" y="44069"/>
                      </a:lnTo>
                      <a:lnTo>
                        <a:pt x="323075" y="46101"/>
                      </a:lnTo>
                      <a:lnTo>
                        <a:pt x="323189" y="46355"/>
                      </a:lnTo>
                      <a:lnTo>
                        <a:pt x="320865" y="51181"/>
                      </a:lnTo>
                      <a:lnTo>
                        <a:pt x="326288" y="52197"/>
                      </a:lnTo>
                      <a:lnTo>
                        <a:pt x="327317" y="53213"/>
                      </a:lnTo>
                      <a:lnTo>
                        <a:pt x="327253" y="54229"/>
                      </a:lnTo>
                      <a:lnTo>
                        <a:pt x="328333" y="55245"/>
                      </a:lnTo>
                      <a:lnTo>
                        <a:pt x="329844" y="55245"/>
                      </a:lnTo>
                      <a:lnTo>
                        <a:pt x="333489" y="58166"/>
                      </a:lnTo>
                      <a:lnTo>
                        <a:pt x="335584" y="58039"/>
                      </a:lnTo>
                      <a:lnTo>
                        <a:pt x="340588" y="58166"/>
                      </a:lnTo>
                      <a:lnTo>
                        <a:pt x="342125" y="58039"/>
                      </a:lnTo>
                      <a:lnTo>
                        <a:pt x="345935" y="57150"/>
                      </a:lnTo>
                      <a:lnTo>
                        <a:pt x="350367" y="54356"/>
                      </a:lnTo>
                      <a:lnTo>
                        <a:pt x="352361" y="55372"/>
                      </a:lnTo>
                      <a:lnTo>
                        <a:pt x="349783" y="59055"/>
                      </a:lnTo>
                      <a:lnTo>
                        <a:pt x="346113" y="59563"/>
                      </a:lnTo>
                      <a:lnTo>
                        <a:pt x="338886" y="60452"/>
                      </a:lnTo>
                      <a:lnTo>
                        <a:pt x="332651" y="60579"/>
                      </a:lnTo>
                      <a:lnTo>
                        <a:pt x="334987" y="66167"/>
                      </a:lnTo>
                      <a:lnTo>
                        <a:pt x="338048" y="66548"/>
                      </a:lnTo>
                      <a:lnTo>
                        <a:pt x="339547" y="66548"/>
                      </a:lnTo>
                      <a:lnTo>
                        <a:pt x="340156" y="65659"/>
                      </a:lnTo>
                      <a:lnTo>
                        <a:pt x="340855" y="67691"/>
                      </a:lnTo>
                      <a:lnTo>
                        <a:pt x="341604" y="68072"/>
                      </a:lnTo>
                      <a:lnTo>
                        <a:pt x="343522" y="72263"/>
                      </a:lnTo>
                      <a:lnTo>
                        <a:pt x="350647" y="67691"/>
                      </a:lnTo>
                      <a:lnTo>
                        <a:pt x="352272" y="65659"/>
                      </a:lnTo>
                      <a:lnTo>
                        <a:pt x="352882" y="64897"/>
                      </a:lnTo>
                      <a:lnTo>
                        <a:pt x="354850" y="65024"/>
                      </a:lnTo>
                      <a:lnTo>
                        <a:pt x="357352" y="66167"/>
                      </a:lnTo>
                      <a:lnTo>
                        <a:pt x="357949" y="66167"/>
                      </a:lnTo>
                      <a:lnTo>
                        <a:pt x="357263" y="68834"/>
                      </a:lnTo>
                      <a:lnTo>
                        <a:pt x="357162" y="69469"/>
                      </a:lnTo>
                      <a:lnTo>
                        <a:pt x="359689" y="70739"/>
                      </a:lnTo>
                      <a:lnTo>
                        <a:pt x="362508" y="70485"/>
                      </a:lnTo>
                      <a:lnTo>
                        <a:pt x="364731" y="68072"/>
                      </a:lnTo>
                      <a:lnTo>
                        <a:pt x="364642" y="67691"/>
                      </a:lnTo>
                      <a:lnTo>
                        <a:pt x="364032" y="66929"/>
                      </a:lnTo>
                      <a:lnTo>
                        <a:pt x="367372" y="67437"/>
                      </a:lnTo>
                      <a:lnTo>
                        <a:pt x="367550" y="66929"/>
                      </a:lnTo>
                      <a:lnTo>
                        <a:pt x="367817" y="66167"/>
                      </a:lnTo>
                      <a:lnTo>
                        <a:pt x="368452" y="65151"/>
                      </a:lnTo>
                      <a:lnTo>
                        <a:pt x="369074" y="66294"/>
                      </a:lnTo>
                      <a:lnTo>
                        <a:pt x="368261" y="67183"/>
                      </a:lnTo>
                      <a:lnTo>
                        <a:pt x="370293" y="67818"/>
                      </a:lnTo>
                      <a:lnTo>
                        <a:pt x="372694" y="66675"/>
                      </a:lnTo>
                      <a:lnTo>
                        <a:pt x="374624" y="65913"/>
                      </a:lnTo>
                      <a:lnTo>
                        <a:pt x="373888" y="65151"/>
                      </a:lnTo>
                      <a:lnTo>
                        <a:pt x="373634" y="64897"/>
                      </a:lnTo>
                      <a:lnTo>
                        <a:pt x="370687" y="61849"/>
                      </a:lnTo>
                      <a:lnTo>
                        <a:pt x="375259" y="64643"/>
                      </a:lnTo>
                      <a:lnTo>
                        <a:pt x="374865" y="65913"/>
                      </a:lnTo>
                      <a:lnTo>
                        <a:pt x="377964" y="65024"/>
                      </a:lnTo>
                      <a:lnTo>
                        <a:pt x="378663" y="64389"/>
                      </a:lnTo>
                      <a:lnTo>
                        <a:pt x="381381" y="64262"/>
                      </a:lnTo>
                      <a:lnTo>
                        <a:pt x="379933" y="64389"/>
                      </a:lnTo>
                      <a:lnTo>
                        <a:pt x="380682" y="66929"/>
                      </a:lnTo>
                      <a:lnTo>
                        <a:pt x="382778" y="66929"/>
                      </a:lnTo>
                      <a:lnTo>
                        <a:pt x="386334" y="67564"/>
                      </a:lnTo>
                      <a:lnTo>
                        <a:pt x="387972" y="67564"/>
                      </a:lnTo>
                      <a:lnTo>
                        <a:pt x="392607" y="67945"/>
                      </a:lnTo>
                      <a:lnTo>
                        <a:pt x="398005" y="64770"/>
                      </a:lnTo>
                      <a:lnTo>
                        <a:pt x="400532" y="67183"/>
                      </a:lnTo>
                      <a:lnTo>
                        <a:pt x="397306" y="68072"/>
                      </a:lnTo>
                      <a:lnTo>
                        <a:pt x="393827" y="67818"/>
                      </a:lnTo>
                      <a:lnTo>
                        <a:pt x="387261" y="69469"/>
                      </a:lnTo>
                      <a:lnTo>
                        <a:pt x="381698" y="67691"/>
                      </a:lnTo>
                      <a:lnTo>
                        <a:pt x="379133" y="70612"/>
                      </a:lnTo>
                      <a:lnTo>
                        <a:pt x="384238" y="71882"/>
                      </a:lnTo>
                      <a:lnTo>
                        <a:pt x="388620" y="72136"/>
                      </a:lnTo>
                      <a:lnTo>
                        <a:pt x="396621" y="71120"/>
                      </a:lnTo>
                      <a:lnTo>
                        <a:pt x="399554" y="70866"/>
                      </a:lnTo>
                      <a:lnTo>
                        <a:pt x="403694" y="70866"/>
                      </a:lnTo>
                      <a:lnTo>
                        <a:pt x="405015" y="70739"/>
                      </a:lnTo>
                      <a:lnTo>
                        <a:pt x="408051" y="71120"/>
                      </a:lnTo>
                      <a:lnTo>
                        <a:pt x="408800" y="70739"/>
                      </a:lnTo>
                      <a:lnTo>
                        <a:pt x="409816" y="70231"/>
                      </a:lnTo>
                      <a:lnTo>
                        <a:pt x="411416" y="70866"/>
                      </a:lnTo>
                      <a:lnTo>
                        <a:pt x="408635" y="72644"/>
                      </a:lnTo>
                      <a:lnTo>
                        <a:pt x="404139" y="71755"/>
                      </a:lnTo>
                      <a:lnTo>
                        <a:pt x="396900" y="72771"/>
                      </a:lnTo>
                      <a:lnTo>
                        <a:pt x="386969" y="73660"/>
                      </a:lnTo>
                      <a:lnTo>
                        <a:pt x="385152" y="74041"/>
                      </a:lnTo>
                      <a:lnTo>
                        <a:pt x="381749" y="73787"/>
                      </a:lnTo>
                      <a:lnTo>
                        <a:pt x="380111" y="73279"/>
                      </a:lnTo>
                      <a:lnTo>
                        <a:pt x="377609" y="73533"/>
                      </a:lnTo>
                      <a:lnTo>
                        <a:pt x="376847" y="74041"/>
                      </a:lnTo>
                      <a:lnTo>
                        <a:pt x="375208" y="74041"/>
                      </a:lnTo>
                      <a:lnTo>
                        <a:pt x="374764" y="73787"/>
                      </a:lnTo>
                      <a:lnTo>
                        <a:pt x="374548" y="73660"/>
                      </a:lnTo>
                      <a:lnTo>
                        <a:pt x="372884" y="73787"/>
                      </a:lnTo>
                      <a:lnTo>
                        <a:pt x="372198" y="73533"/>
                      </a:lnTo>
                      <a:lnTo>
                        <a:pt x="369836" y="73025"/>
                      </a:lnTo>
                      <a:lnTo>
                        <a:pt x="367563" y="75438"/>
                      </a:lnTo>
                      <a:lnTo>
                        <a:pt x="364350" y="77089"/>
                      </a:lnTo>
                      <a:lnTo>
                        <a:pt x="362077" y="77470"/>
                      </a:lnTo>
                      <a:lnTo>
                        <a:pt x="359549" y="78105"/>
                      </a:lnTo>
                      <a:lnTo>
                        <a:pt x="355803" y="78740"/>
                      </a:lnTo>
                      <a:lnTo>
                        <a:pt x="355638" y="79883"/>
                      </a:lnTo>
                      <a:lnTo>
                        <a:pt x="356895" y="80264"/>
                      </a:lnTo>
                      <a:lnTo>
                        <a:pt x="359473" y="82042"/>
                      </a:lnTo>
                      <a:lnTo>
                        <a:pt x="361289" y="83820"/>
                      </a:lnTo>
                      <a:lnTo>
                        <a:pt x="365239" y="83693"/>
                      </a:lnTo>
                      <a:lnTo>
                        <a:pt x="373380" y="84836"/>
                      </a:lnTo>
                      <a:lnTo>
                        <a:pt x="372884" y="87503"/>
                      </a:lnTo>
                      <a:lnTo>
                        <a:pt x="367131" y="85725"/>
                      </a:lnTo>
                      <a:lnTo>
                        <a:pt x="364642" y="85217"/>
                      </a:lnTo>
                      <a:lnTo>
                        <a:pt x="362851" y="86233"/>
                      </a:lnTo>
                      <a:lnTo>
                        <a:pt x="363804" y="86995"/>
                      </a:lnTo>
                      <a:lnTo>
                        <a:pt x="364807" y="87630"/>
                      </a:lnTo>
                      <a:lnTo>
                        <a:pt x="366991" y="89281"/>
                      </a:lnTo>
                      <a:lnTo>
                        <a:pt x="367423" y="89408"/>
                      </a:lnTo>
                      <a:lnTo>
                        <a:pt x="370827" y="92710"/>
                      </a:lnTo>
                      <a:lnTo>
                        <a:pt x="373824" y="91059"/>
                      </a:lnTo>
                      <a:lnTo>
                        <a:pt x="377545" y="89916"/>
                      </a:lnTo>
                      <a:lnTo>
                        <a:pt x="378802" y="90932"/>
                      </a:lnTo>
                      <a:lnTo>
                        <a:pt x="381304" y="91567"/>
                      </a:lnTo>
                      <a:lnTo>
                        <a:pt x="382917" y="91567"/>
                      </a:lnTo>
                      <a:lnTo>
                        <a:pt x="386791" y="92075"/>
                      </a:lnTo>
                      <a:lnTo>
                        <a:pt x="391515" y="91313"/>
                      </a:lnTo>
                      <a:lnTo>
                        <a:pt x="393230" y="93472"/>
                      </a:lnTo>
                      <a:lnTo>
                        <a:pt x="391591" y="93472"/>
                      </a:lnTo>
                      <a:lnTo>
                        <a:pt x="390626" y="93091"/>
                      </a:lnTo>
                      <a:lnTo>
                        <a:pt x="387311" y="93726"/>
                      </a:lnTo>
                      <a:lnTo>
                        <a:pt x="385622" y="93345"/>
                      </a:lnTo>
                      <a:lnTo>
                        <a:pt x="382219" y="93726"/>
                      </a:lnTo>
                      <a:lnTo>
                        <a:pt x="380834" y="94615"/>
                      </a:lnTo>
                      <a:lnTo>
                        <a:pt x="377672" y="94742"/>
                      </a:lnTo>
                      <a:lnTo>
                        <a:pt x="372770" y="93980"/>
                      </a:lnTo>
                      <a:lnTo>
                        <a:pt x="375805" y="97536"/>
                      </a:lnTo>
                      <a:lnTo>
                        <a:pt x="377748" y="98044"/>
                      </a:lnTo>
                      <a:lnTo>
                        <a:pt x="379044" y="98806"/>
                      </a:lnTo>
                      <a:lnTo>
                        <a:pt x="383882" y="101473"/>
                      </a:lnTo>
                      <a:lnTo>
                        <a:pt x="385508" y="101219"/>
                      </a:lnTo>
                      <a:lnTo>
                        <a:pt x="387184" y="103378"/>
                      </a:lnTo>
                      <a:lnTo>
                        <a:pt x="389039" y="103251"/>
                      </a:lnTo>
                      <a:lnTo>
                        <a:pt x="389547" y="102489"/>
                      </a:lnTo>
                      <a:lnTo>
                        <a:pt x="391337" y="102489"/>
                      </a:lnTo>
                      <a:lnTo>
                        <a:pt x="392252" y="103251"/>
                      </a:lnTo>
                      <a:lnTo>
                        <a:pt x="395465" y="104648"/>
                      </a:lnTo>
                      <a:lnTo>
                        <a:pt x="397814" y="104267"/>
                      </a:lnTo>
                      <a:lnTo>
                        <a:pt x="402729" y="105029"/>
                      </a:lnTo>
                      <a:lnTo>
                        <a:pt x="404939" y="105664"/>
                      </a:lnTo>
                      <a:lnTo>
                        <a:pt x="408190" y="105664"/>
                      </a:lnTo>
                      <a:lnTo>
                        <a:pt x="414934" y="105537"/>
                      </a:lnTo>
                      <a:lnTo>
                        <a:pt x="413512" y="104267"/>
                      </a:lnTo>
                      <a:lnTo>
                        <a:pt x="411518" y="102489"/>
                      </a:lnTo>
                      <a:lnTo>
                        <a:pt x="411238" y="102235"/>
                      </a:lnTo>
                      <a:lnTo>
                        <a:pt x="412788" y="101727"/>
                      </a:lnTo>
                      <a:lnTo>
                        <a:pt x="410260" y="101219"/>
                      </a:lnTo>
                      <a:lnTo>
                        <a:pt x="409003" y="100965"/>
                      </a:lnTo>
                      <a:lnTo>
                        <a:pt x="407568" y="100965"/>
                      </a:lnTo>
                      <a:lnTo>
                        <a:pt x="407200" y="100584"/>
                      </a:lnTo>
                      <a:lnTo>
                        <a:pt x="406476" y="99822"/>
                      </a:lnTo>
                      <a:lnTo>
                        <a:pt x="407924" y="99441"/>
                      </a:lnTo>
                      <a:lnTo>
                        <a:pt x="409625" y="99949"/>
                      </a:lnTo>
                      <a:lnTo>
                        <a:pt x="412864" y="99568"/>
                      </a:lnTo>
                      <a:lnTo>
                        <a:pt x="413423" y="99441"/>
                      </a:lnTo>
                      <a:lnTo>
                        <a:pt x="414566" y="99187"/>
                      </a:lnTo>
                      <a:lnTo>
                        <a:pt x="416915" y="101092"/>
                      </a:lnTo>
                      <a:lnTo>
                        <a:pt x="417626" y="102997"/>
                      </a:lnTo>
                      <a:lnTo>
                        <a:pt x="420230" y="103505"/>
                      </a:lnTo>
                      <a:lnTo>
                        <a:pt x="420878" y="103251"/>
                      </a:lnTo>
                      <a:lnTo>
                        <a:pt x="423646" y="105537"/>
                      </a:lnTo>
                      <a:lnTo>
                        <a:pt x="425196" y="104648"/>
                      </a:lnTo>
                      <a:lnTo>
                        <a:pt x="423824" y="103505"/>
                      </a:lnTo>
                      <a:lnTo>
                        <a:pt x="423672" y="103251"/>
                      </a:lnTo>
                      <a:lnTo>
                        <a:pt x="422795" y="101727"/>
                      </a:lnTo>
                      <a:lnTo>
                        <a:pt x="422351" y="100584"/>
                      </a:lnTo>
                      <a:lnTo>
                        <a:pt x="421297" y="99187"/>
                      </a:lnTo>
                      <a:lnTo>
                        <a:pt x="420331" y="97917"/>
                      </a:lnTo>
                      <a:lnTo>
                        <a:pt x="419620" y="97663"/>
                      </a:lnTo>
                      <a:lnTo>
                        <a:pt x="417271" y="95885"/>
                      </a:lnTo>
                      <a:lnTo>
                        <a:pt x="416356" y="94742"/>
                      </a:lnTo>
                      <a:lnTo>
                        <a:pt x="415544" y="93726"/>
                      </a:lnTo>
                      <a:lnTo>
                        <a:pt x="415340" y="93472"/>
                      </a:lnTo>
                      <a:lnTo>
                        <a:pt x="414731" y="92710"/>
                      </a:lnTo>
                      <a:lnTo>
                        <a:pt x="415886" y="91313"/>
                      </a:lnTo>
                      <a:lnTo>
                        <a:pt x="417042" y="89916"/>
                      </a:lnTo>
                      <a:lnTo>
                        <a:pt x="417156" y="89789"/>
                      </a:lnTo>
                      <a:lnTo>
                        <a:pt x="418261" y="92202"/>
                      </a:lnTo>
                      <a:lnTo>
                        <a:pt x="420890" y="94742"/>
                      </a:lnTo>
                      <a:lnTo>
                        <a:pt x="422541" y="97663"/>
                      </a:lnTo>
                      <a:lnTo>
                        <a:pt x="426808" y="99568"/>
                      </a:lnTo>
                      <a:lnTo>
                        <a:pt x="426859" y="101219"/>
                      </a:lnTo>
                      <a:lnTo>
                        <a:pt x="429869" y="103632"/>
                      </a:lnTo>
                      <a:lnTo>
                        <a:pt x="431190" y="104521"/>
                      </a:lnTo>
                      <a:lnTo>
                        <a:pt x="434848" y="105537"/>
                      </a:lnTo>
                      <a:lnTo>
                        <a:pt x="435140" y="102870"/>
                      </a:lnTo>
                      <a:lnTo>
                        <a:pt x="435965" y="100457"/>
                      </a:lnTo>
                      <a:lnTo>
                        <a:pt x="437565" y="99060"/>
                      </a:lnTo>
                      <a:lnTo>
                        <a:pt x="438175" y="96012"/>
                      </a:lnTo>
                      <a:lnTo>
                        <a:pt x="432663" y="91694"/>
                      </a:lnTo>
                      <a:lnTo>
                        <a:pt x="437857" y="89789"/>
                      </a:lnTo>
                      <a:lnTo>
                        <a:pt x="439242" y="89281"/>
                      </a:lnTo>
                      <a:lnTo>
                        <a:pt x="441198" y="98806"/>
                      </a:lnTo>
                      <a:lnTo>
                        <a:pt x="447154" y="93345"/>
                      </a:lnTo>
                      <a:lnTo>
                        <a:pt x="447268" y="91567"/>
                      </a:lnTo>
                      <a:lnTo>
                        <a:pt x="445592" y="89662"/>
                      </a:lnTo>
                      <a:lnTo>
                        <a:pt x="444703" y="88646"/>
                      </a:lnTo>
                      <a:lnTo>
                        <a:pt x="444119" y="88988"/>
                      </a:lnTo>
                      <a:lnTo>
                        <a:pt x="444119" y="89662"/>
                      </a:lnTo>
                      <a:lnTo>
                        <a:pt x="443687" y="89242"/>
                      </a:lnTo>
                      <a:lnTo>
                        <a:pt x="442937" y="89662"/>
                      </a:lnTo>
                      <a:lnTo>
                        <a:pt x="440893" y="89281"/>
                      </a:lnTo>
                      <a:lnTo>
                        <a:pt x="442722" y="88265"/>
                      </a:lnTo>
                      <a:lnTo>
                        <a:pt x="443687" y="89242"/>
                      </a:lnTo>
                      <a:lnTo>
                        <a:pt x="444119" y="89662"/>
                      </a:lnTo>
                      <a:lnTo>
                        <a:pt x="444119" y="88988"/>
                      </a:lnTo>
                      <a:lnTo>
                        <a:pt x="443915" y="89103"/>
                      </a:lnTo>
                      <a:lnTo>
                        <a:pt x="443623" y="88265"/>
                      </a:lnTo>
                      <a:lnTo>
                        <a:pt x="443344" y="87503"/>
                      </a:lnTo>
                      <a:lnTo>
                        <a:pt x="442353" y="84709"/>
                      </a:lnTo>
                      <a:lnTo>
                        <a:pt x="442810" y="84074"/>
                      </a:lnTo>
                      <a:lnTo>
                        <a:pt x="442912" y="83693"/>
                      </a:lnTo>
                      <a:lnTo>
                        <a:pt x="443014" y="80264"/>
                      </a:lnTo>
                      <a:lnTo>
                        <a:pt x="442112" y="78613"/>
                      </a:lnTo>
                      <a:lnTo>
                        <a:pt x="445541" y="78359"/>
                      </a:lnTo>
                      <a:lnTo>
                        <a:pt x="446278" y="78486"/>
                      </a:lnTo>
                      <a:lnTo>
                        <a:pt x="446506" y="78359"/>
                      </a:lnTo>
                      <a:lnTo>
                        <a:pt x="447890" y="77597"/>
                      </a:lnTo>
                      <a:lnTo>
                        <a:pt x="448094" y="76581"/>
                      </a:lnTo>
                      <a:lnTo>
                        <a:pt x="449453" y="76454"/>
                      </a:lnTo>
                      <a:lnTo>
                        <a:pt x="448792" y="76962"/>
                      </a:lnTo>
                      <a:lnTo>
                        <a:pt x="447738" y="79629"/>
                      </a:lnTo>
                      <a:lnTo>
                        <a:pt x="447459" y="79883"/>
                      </a:lnTo>
                      <a:lnTo>
                        <a:pt x="447967" y="82677"/>
                      </a:lnTo>
                      <a:lnTo>
                        <a:pt x="448538" y="84201"/>
                      </a:lnTo>
                      <a:lnTo>
                        <a:pt x="449427" y="86995"/>
                      </a:lnTo>
                      <a:lnTo>
                        <a:pt x="449935" y="90170"/>
                      </a:lnTo>
                      <a:lnTo>
                        <a:pt x="452437" y="89154"/>
                      </a:lnTo>
                      <a:lnTo>
                        <a:pt x="453263" y="87630"/>
                      </a:lnTo>
                      <a:lnTo>
                        <a:pt x="455117" y="85344"/>
                      </a:lnTo>
                      <a:lnTo>
                        <a:pt x="456450" y="84201"/>
                      </a:lnTo>
                      <a:lnTo>
                        <a:pt x="460641" y="82169"/>
                      </a:lnTo>
                      <a:lnTo>
                        <a:pt x="460921" y="80518"/>
                      </a:lnTo>
                      <a:lnTo>
                        <a:pt x="460057" y="79629"/>
                      </a:lnTo>
                      <a:lnTo>
                        <a:pt x="460070" y="78613"/>
                      </a:lnTo>
                      <a:lnTo>
                        <a:pt x="461835" y="79121"/>
                      </a:lnTo>
                      <a:lnTo>
                        <a:pt x="464223" y="81026"/>
                      </a:lnTo>
                      <a:lnTo>
                        <a:pt x="466191" y="78613"/>
                      </a:lnTo>
                      <a:lnTo>
                        <a:pt x="466915" y="77724"/>
                      </a:lnTo>
                      <a:lnTo>
                        <a:pt x="466178" y="76962"/>
                      </a:lnTo>
                      <a:lnTo>
                        <a:pt x="467461" y="76454"/>
                      </a:lnTo>
                      <a:lnTo>
                        <a:pt x="471322" y="74930"/>
                      </a:lnTo>
                      <a:lnTo>
                        <a:pt x="475284" y="74676"/>
                      </a:lnTo>
                      <a:lnTo>
                        <a:pt x="477824" y="74041"/>
                      </a:lnTo>
                      <a:lnTo>
                        <a:pt x="479856" y="73533"/>
                      </a:lnTo>
                      <a:lnTo>
                        <a:pt x="481825" y="72644"/>
                      </a:lnTo>
                      <a:lnTo>
                        <a:pt x="482104" y="72517"/>
                      </a:lnTo>
                      <a:lnTo>
                        <a:pt x="484390" y="72644"/>
                      </a:lnTo>
                      <a:lnTo>
                        <a:pt x="484403" y="72517"/>
                      </a:lnTo>
                      <a:lnTo>
                        <a:pt x="484428" y="72263"/>
                      </a:lnTo>
                      <a:lnTo>
                        <a:pt x="487159" y="70231"/>
                      </a:lnTo>
                      <a:lnTo>
                        <a:pt x="488556" y="71374"/>
                      </a:lnTo>
                      <a:lnTo>
                        <a:pt x="488569" y="70231"/>
                      </a:lnTo>
                      <a:lnTo>
                        <a:pt x="488861" y="70231"/>
                      </a:lnTo>
                      <a:lnTo>
                        <a:pt x="490448" y="69850"/>
                      </a:lnTo>
                      <a:close/>
                    </a:path>
                    <a:path w="616585" h="374650">
                      <a:moveTo>
                        <a:pt x="569709" y="202057"/>
                      </a:moveTo>
                      <a:lnTo>
                        <a:pt x="567588" y="200914"/>
                      </a:lnTo>
                      <a:lnTo>
                        <a:pt x="567575" y="200787"/>
                      </a:lnTo>
                      <a:lnTo>
                        <a:pt x="567563" y="200406"/>
                      </a:lnTo>
                      <a:lnTo>
                        <a:pt x="567499" y="198882"/>
                      </a:lnTo>
                      <a:lnTo>
                        <a:pt x="563676" y="198247"/>
                      </a:lnTo>
                      <a:lnTo>
                        <a:pt x="562927" y="198374"/>
                      </a:lnTo>
                      <a:lnTo>
                        <a:pt x="559828" y="199898"/>
                      </a:lnTo>
                      <a:lnTo>
                        <a:pt x="558774" y="199898"/>
                      </a:lnTo>
                      <a:lnTo>
                        <a:pt x="558584" y="199961"/>
                      </a:lnTo>
                      <a:lnTo>
                        <a:pt x="558584" y="202057"/>
                      </a:lnTo>
                      <a:lnTo>
                        <a:pt x="557390" y="202692"/>
                      </a:lnTo>
                      <a:lnTo>
                        <a:pt x="557987" y="203276"/>
                      </a:lnTo>
                      <a:lnTo>
                        <a:pt x="556183" y="202946"/>
                      </a:lnTo>
                      <a:lnTo>
                        <a:pt x="556018" y="201930"/>
                      </a:lnTo>
                      <a:lnTo>
                        <a:pt x="555879" y="201041"/>
                      </a:lnTo>
                      <a:lnTo>
                        <a:pt x="556882" y="201168"/>
                      </a:lnTo>
                      <a:lnTo>
                        <a:pt x="557022" y="201041"/>
                      </a:lnTo>
                      <a:lnTo>
                        <a:pt x="557314" y="200787"/>
                      </a:lnTo>
                      <a:lnTo>
                        <a:pt x="558584" y="202057"/>
                      </a:lnTo>
                      <a:lnTo>
                        <a:pt x="558584" y="199961"/>
                      </a:lnTo>
                      <a:lnTo>
                        <a:pt x="557034" y="200406"/>
                      </a:lnTo>
                      <a:lnTo>
                        <a:pt x="557123" y="200279"/>
                      </a:lnTo>
                      <a:lnTo>
                        <a:pt x="558076" y="199009"/>
                      </a:lnTo>
                      <a:lnTo>
                        <a:pt x="554939" y="198501"/>
                      </a:lnTo>
                      <a:lnTo>
                        <a:pt x="553872" y="197993"/>
                      </a:lnTo>
                      <a:lnTo>
                        <a:pt x="560489" y="194818"/>
                      </a:lnTo>
                      <a:lnTo>
                        <a:pt x="568159" y="191135"/>
                      </a:lnTo>
                      <a:lnTo>
                        <a:pt x="567156" y="190627"/>
                      </a:lnTo>
                      <a:lnTo>
                        <a:pt x="567372" y="189865"/>
                      </a:lnTo>
                      <a:lnTo>
                        <a:pt x="567448" y="188976"/>
                      </a:lnTo>
                      <a:lnTo>
                        <a:pt x="567499" y="188341"/>
                      </a:lnTo>
                      <a:lnTo>
                        <a:pt x="567550" y="187706"/>
                      </a:lnTo>
                      <a:lnTo>
                        <a:pt x="566953" y="188341"/>
                      </a:lnTo>
                      <a:lnTo>
                        <a:pt x="566407" y="187452"/>
                      </a:lnTo>
                      <a:lnTo>
                        <a:pt x="565696" y="186309"/>
                      </a:lnTo>
                      <a:lnTo>
                        <a:pt x="565683" y="186055"/>
                      </a:lnTo>
                      <a:lnTo>
                        <a:pt x="565810" y="185801"/>
                      </a:lnTo>
                      <a:lnTo>
                        <a:pt x="561187" y="185166"/>
                      </a:lnTo>
                      <a:lnTo>
                        <a:pt x="558139" y="186055"/>
                      </a:lnTo>
                      <a:lnTo>
                        <a:pt x="555421" y="185420"/>
                      </a:lnTo>
                      <a:lnTo>
                        <a:pt x="557034" y="184785"/>
                      </a:lnTo>
                      <a:lnTo>
                        <a:pt x="559104" y="184531"/>
                      </a:lnTo>
                      <a:lnTo>
                        <a:pt x="560247" y="183769"/>
                      </a:lnTo>
                      <a:lnTo>
                        <a:pt x="560628" y="183515"/>
                      </a:lnTo>
                      <a:lnTo>
                        <a:pt x="559460" y="183769"/>
                      </a:lnTo>
                      <a:lnTo>
                        <a:pt x="559092" y="183007"/>
                      </a:lnTo>
                      <a:lnTo>
                        <a:pt x="558596" y="181991"/>
                      </a:lnTo>
                      <a:lnTo>
                        <a:pt x="557009" y="181356"/>
                      </a:lnTo>
                      <a:lnTo>
                        <a:pt x="556069" y="180975"/>
                      </a:lnTo>
                      <a:lnTo>
                        <a:pt x="554393" y="180467"/>
                      </a:lnTo>
                      <a:lnTo>
                        <a:pt x="551586" y="180086"/>
                      </a:lnTo>
                      <a:lnTo>
                        <a:pt x="549808" y="180594"/>
                      </a:lnTo>
                      <a:lnTo>
                        <a:pt x="547674" y="180721"/>
                      </a:lnTo>
                      <a:lnTo>
                        <a:pt x="546684" y="180975"/>
                      </a:lnTo>
                      <a:lnTo>
                        <a:pt x="544245" y="180213"/>
                      </a:lnTo>
                      <a:lnTo>
                        <a:pt x="544576" y="179578"/>
                      </a:lnTo>
                      <a:lnTo>
                        <a:pt x="545299" y="178181"/>
                      </a:lnTo>
                      <a:lnTo>
                        <a:pt x="545147" y="178054"/>
                      </a:lnTo>
                      <a:lnTo>
                        <a:pt x="542975" y="176276"/>
                      </a:lnTo>
                      <a:lnTo>
                        <a:pt x="539673" y="175895"/>
                      </a:lnTo>
                      <a:lnTo>
                        <a:pt x="537794" y="175641"/>
                      </a:lnTo>
                      <a:lnTo>
                        <a:pt x="536867" y="175514"/>
                      </a:lnTo>
                      <a:lnTo>
                        <a:pt x="535355" y="175641"/>
                      </a:lnTo>
                      <a:lnTo>
                        <a:pt x="530847" y="175514"/>
                      </a:lnTo>
                      <a:lnTo>
                        <a:pt x="527939" y="174625"/>
                      </a:lnTo>
                      <a:lnTo>
                        <a:pt x="521893" y="175641"/>
                      </a:lnTo>
                      <a:lnTo>
                        <a:pt x="519315" y="176911"/>
                      </a:lnTo>
                      <a:lnTo>
                        <a:pt x="514324" y="178054"/>
                      </a:lnTo>
                      <a:lnTo>
                        <a:pt x="512470" y="177546"/>
                      </a:lnTo>
                      <a:lnTo>
                        <a:pt x="511594" y="177165"/>
                      </a:lnTo>
                      <a:lnTo>
                        <a:pt x="508114" y="175641"/>
                      </a:lnTo>
                      <a:lnTo>
                        <a:pt x="506120" y="175387"/>
                      </a:lnTo>
                      <a:lnTo>
                        <a:pt x="503466" y="175387"/>
                      </a:lnTo>
                      <a:lnTo>
                        <a:pt x="504736" y="176276"/>
                      </a:lnTo>
                      <a:lnTo>
                        <a:pt x="502297" y="176911"/>
                      </a:lnTo>
                      <a:lnTo>
                        <a:pt x="501002" y="177165"/>
                      </a:lnTo>
                      <a:lnTo>
                        <a:pt x="500481" y="176911"/>
                      </a:lnTo>
                      <a:lnTo>
                        <a:pt x="499440" y="177546"/>
                      </a:lnTo>
                      <a:lnTo>
                        <a:pt x="499300" y="178435"/>
                      </a:lnTo>
                      <a:lnTo>
                        <a:pt x="496963" y="179578"/>
                      </a:lnTo>
                      <a:lnTo>
                        <a:pt x="490855" y="178308"/>
                      </a:lnTo>
                      <a:lnTo>
                        <a:pt x="495630" y="180848"/>
                      </a:lnTo>
                      <a:lnTo>
                        <a:pt x="493420" y="181356"/>
                      </a:lnTo>
                      <a:lnTo>
                        <a:pt x="491832" y="180467"/>
                      </a:lnTo>
                      <a:lnTo>
                        <a:pt x="490931" y="179959"/>
                      </a:lnTo>
                      <a:lnTo>
                        <a:pt x="488607" y="180086"/>
                      </a:lnTo>
                      <a:lnTo>
                        <a:pt x="488607" y="180467"/>
                      </a:lnTo>
                      <a:lnTo>
                        <a:pt x="488492" y="180213"/>
                      </a:lnTo>
                      <a:lnTo>
                        <a:pt x="488302" y="180086"/>
                      </a:lnTo>
                      <a:lnTo>
                        <a:pt x="487959" y="180086"/>
                      </a:lnTo>
                      <a:lnTo>
                        <a:pt x="488784" y="181102"/>
                      </a:lnTo>
                      <a:lnTo>
                        <a:pt x="488696" y="211924"/>
                      </a:lnTo>
                      <a:lnTo>
                        <a:pt x="488683" y="212598"/>
                      </a:lnTo>
                      <a:lnTo>
                        <a:pt x="488619" y="211836"/>
                      </a:lnTo>
                      <a:lnTo>
                        <a:pt x="486587" y="209423"/>
                      </a:lnTo>
                      <a:lnTo>
                        <a:pt x="488607" y="208153"/>
                      </a:lnTo>
                      <a:lnTo>
                        <a:pt x="488607" y="206375"/>
                      </a:lnTo>
                      <a:lnTo>
                        <a:pt x="488696" y="211924"/>
                      </a:lnTo>
                      <a:lnTo>
                        <a:pt x="488696" y="181127"/>
                      </a:lnTo>
                      <a:lnTo>
                        <a:pt x="485317" y="181660"/>
                      </a:lnTo>
                      <a:lnTo>
                        <a:pt x="485317" y="183007"/>
                      </a:lnTo>
                      <a:lnTo>
                        <a:pt x="483755" y="182753"/>
                      </a:lnTo>
                      <a:lnTo>
                        <a:pt x="483146" y="182372"/>
                      </a:lnTo>
                      <a:lnTo>
                        <a:pt x="485317" y="183007"/>
                      </a:lnTo>
                      <a:lnTo>
                        <a:pt x="485317" y="181660"/>
                      </a:lnTo>
                      <a:lnTo>
                        <a:pt x="482663" y="182067"/>
                      </a:lnTo>
                      <a:lnTo>
                        <a:pt x="481952" y="181610"/>
                      </a:lnTo>
                      <a:lnTo>
                        <a:pt x="479386" y="182118"/>
                      </a:lnTo>
                      <a:lnTo>
                        <a:pt x="478536" y="183134"/>
                      </a:lnTo>
                      <a:lnTo>
                        <a:pt x="475640" y="183642"/>
                      </a:lnTo>
                      <a:lnTo>
                        <a:pt x="474052" y="183642"/>
                      </a:lnTo>
                      <a:lnTo>
                        <a:pt x="472313" y="184404"/>
                      </a:lnTo>
                      <a:lnTo>
                        <a:pt x="475157" y="185547"/>
                      </a:lnTo>
                      <a:lnTo>
                        <a:pt x="478167" y="186309"/>
                      </a:lnTo>
                      <a:lnTo>
                        <a:pt x="480999" y="187452"/>
                      </a:lnTo>
                      <a:lnTo>
                        <a:pt x="478218" y="187452"/>
                      </a:lnTo>
                      <a:lnTo>
                        <a:pt x="475462" y="186690"/>
                      </a:lnTo>
                      <a:lnTo>
                        <a:pt x="469785" y="187325"/>
                      </a:lnTo>
                      <a:lnTo>
                        <a:pt x="467283" y="188976"/>
                      </a:lnTo>
                      <a:lnTo>
                        <a:pt x="462749" y="186182"/>
                      </a:lnTo>
                      <a:lnTo>
                        <a:pt x="462343" y="185928"/>
                      </a:lnTo>
                      <a:lnTo>
                        <a:pt x="457936" y="180848"/>
                      </a:lnTo>
                      <a:lnTo>
                        <a:pt x="454266" y="181483"/>
                      </a:lnTo>
                      <a:lnTo>
                        <a:pt x="452450" y="183896"/>
                      </a:lnTo>
                      <a:lnTo>
                        <a:pt x="451472" y="185293"/>
                      </a:lnTo>
                      <a:lnTo>
                        <a:pt x="451434" y="186182"/>
                      </a:lnTo>
                      <a:lnTo>
                        <a:pt x="451053" y="185293"/>
                      </a:lnTo>
                      <a:lnTo>
                        <a:pt x="449846" y="182499"/>
                      </a:lnTo>
                      <a:lnTo>
                        <a:pt x="449427" y="182372"/>
                      </a:lnTo>
                      <a:lnTo>
                        <a:pt x="446659" y="183388"/>
                      </a:lnTo>
                      <a:lnTo>
                        <a:pt x="443534" y="185293"/>
                      </a:lnTo>
                      <a:lnTo>
                        <a:pt x="440651" y="184785"/>
                      </a:lnTo>
                      <a:lnTo>
                        <a:pt x="440016" y="183642"/>
                      </a:lnTo>
                      <a:lnTo>
                        <a:pt x="437426" y="178943"/>
                      </a:lnTo>
                      <a:lnTo>
                        <a:pt x="435356" y="179451"/>
                      </a:lnTo>
                      <a:lnTo>
                        <a:pt x="435279" y="179578"/>
                      </a:lnTo>
                      <a:lnTo>
                        <a:pt x="433781" y="181102"/>
                      </a:lnTo>
                      <a:lnTo>
                        <a:pt x="433171" y="181991"/>
                      </a:lnTo>
                      <a:lnTo>
                        <a:pt x="433158" y="182372"/>
                      </a:lnTo>
                      <a:lnTo>
                        <a:pt x="433844" y="183261"/>
                      </a:lnTo>
                      <a:lnTo>
                        <a:pt x="433971" y="183515"/>
                      </a:lnTo>
                      <a:lnTo>
                        <a:pt x="431647" y="183642"/>
                      </a:lnTo>
                      <a:lnTo>
                        <a:pt x="425208" y="183261"/>
                      </a:lnTo>
                      <a:lnTo>
                        <a:pt x="421982" y="183642"/>
                      </a:lnTo>
                      <a:lnTo>
                        <a:pt x="421284" y="183007"/>
                      </a:lnTo>
                      <a:lnTo>
                        <a:pt x="420598" y="182372"/>
                      </a:lnTo>
                      <a:lnTo>
                        <a:pt x="421055" y="182245"/>
                      </a:lnTo>
                      <a:lnTo>
                        <a:pt x="421678" y="181610"/>
                      </a:lnTo>
                      <a:lnTo>
                        <a:pt x="421970" y="181483"/>
                      </a:lnTo>
                      <a:lnTo>
                        <a:pt x="422579" y="181229"/>
                      </a:lnTo>
                      <a:lnTo>
                        <a:pt x="423062" y="181483"/>
                      </a:lnTo>
                      <a:lnTo>
                        <a:pt x="424510" y="181483"/>
                      </a:lnTo>
                      <a:lnTo>
                        <a:pt x="427177" y="181229"/>
                      </a:lnTo>
                      <a:lnTo>
                        <a:pt x="428421" y="180086"/>
                      </a:lnTo>
                      <a:lnTo>
                        <a:pt x="429387" y="179197"/>
                      </a:lnTo>
                      <a:lnTo>
                        <a:pt x="426300" y="176276"/>
                      </a:lnTo>
                      <a:lnTo>
                        <a:pt x="426046" y="176022"/>
                      </a:lnTo>
                      <a:lnTo>
                        <a:pt x="423456" y="173355"/>
                      </a:lnTo>
                      <a:lnTo>
                        <a:pt x="422135" y="175133"/>
                      </a:lnTo>
                      <a:lnTo>
                        <a:pt x="420382" y="176022"/>
                      </a:lnTo>
                      <a:lnTo>
                        <a:pt x="420039" y="175260"/>
                      </a:lnTo>
                      <a:lnTo>
                        <a:pt x="420839" y="174879"/>
                      </a:lnTo>
                      <a:lnTo>
                        <a:pt x="420801" y="174625"/>
                      </a:lnTo>
                      <a:lnTo>
                        <a:pt x="420585" y="173228"/>
                      </a:lnTo>
                      <a:lnTo>
                        <a:pt x="419481" y="171450"/>
                      </a:lnTo>
                      <a:lnTo>
                        <a:pt x="418541" y="169926"/>
                      </a:lnTo>
                      <a:lnTo>
                        <a:pt x="415772" y="169672"/>
                      </a:lnTo>
                      <a:lnTo>
                        <a:pt x="416610" y="170561"/>
                      </a:lnTo>
                      <a:lnTo>
                        <a:pt x="414807" y="171450"/>
                      </a:lnTo>
                      <a:lnTo>
                        <a:pt x="414083" y="171196"/>
                      </a:lnTo>
                      <a:lnTo>
                        <a:pt x="411416" y="170815"/>
                      </a:lnTo>
                      <a:lnTo>
                        <a:pt x="407009" y="169799"/>
                      </a:lnTo>
                      <a:lnTo>
                        <a:pt x="405333" y="170434"/>
                      </a:lnTo>
                      <a:lnTo>
                        <a:pt x="404749" y="171704"/>
                      </a:lnTo>
                      <a:lnTo>
                        <a:pt x="403402" y="172974"/>
                      </a:lnTo>
                      <a:lnTo>
                        <a:pt x="402005" y="173990"/>
                      </a:lnTo>
                      <a:lnTo>
                        <a:pt x="400812" y="174625"/>
                      </a:lnTo>
                      <a:lnTo>
                        <a:pt x="401015" y="173355"/>
                      </a:lnTo>
                      <a:lnTo>
                        <a:pt x="401053" y="173151"/>
                      </a:lnTo>
                      <a:lnTo>
                        <a:pt x="401256" y="172974"/>
                      </a:lnTo>
                      <a:lnTo>
                        <a:pt x="402539" y="171958"/>
                      </a:lnTo>
                      <a:lnTo>
                        <a:pt x="403390" y="172466"/>
                      </a:lnTo>
                      <a:lnTo>
                        <a:pt x="403364" y="171958"/>
                      </a:lnTo>
                      <a:lnTo>
                        <a:pt x="403313" y="171069"/>
                      </a:lnTo>
                      <a:lnTo>
                        <a:pt x="401066" y="169926"/>
                      </a:lnTo>
                      <a:lnTo>
                        <a:pt x="400646" y="169672"/>
                      </a:lnTo>
                      <a:lnTo>
                        <a:pt x="402005" y="169291"/>
                      </a:lnTo>
                      <a:lnTo>
                        <a:pt x="403606" y="169545"/>
                      </a:lnTo>
                      <a:lnTo>
                        <a:pt x="407809" y="169418"/>
                      </a:lnTo>
                      <a:lnTo>
                        <a:pt x="408889" y="169291"/>
                      </a:lnTo>
                      <a:lnTo>
                        <a:pt x="411060" y="169037"/>
                      </a:lnTo>
                      <a:lnTo>
                        <a:pt x="413588" y="168148"/>
                      </a:lnTo>
                      <a:lnTo>
                        <a:pt x="402297" y="166878"/>
                      </a:lnTo>
                      <a:lnTo>
                        <a:pt x="396938" y="165608"/>
                      </a:lnTo>
                      <a:lnTo>
                        <a:pt x="397332" y="165481"/>
                      </a:lnTo>
                      <a:lnTo>
                        <a:pt x="397598" y="165100"/>
                      </a:lnTo>
                      <a:lnTo>
                        <a:pt x="397967" y="164846"/>
                      </a:lnTo>
                      <a:lnTo>
                        <a:pt x="396913" y="163703"/>
                      </a:lnTo>
                      <a:lnTo>
                        <a:pt x="395338" y="163195"/>
                      </a:lnTo>
                      <a:lnTo>
                        <a:pt x="394081" y="162433"/>
                      </a:lnTo>
                      <a:lnTo>
                        <a:pt x="395732" y="162179"/>
                      </a:lnTo>
                      <a:lnTo>
                        <a:pt x="400418" y="164338"/>
                      </a:lnTo>
                      <a:lnTo>
                        <a:pt x="401840" y="164211"/>
                      </a:lnTo>
                      <a:lnTo>
                        <a:pt x="406031" y="165608"/>
                      </a:lnTo>
                      <a:lnTo>
                        <a:pt x="408889" y="164973"/>
                      </a:lnTo>
                      <a:lnTo>
                        <a:pt x="411518" y="165735"/>
                      </a:lnTo>
                      <a:lnTo>
                        <a:pt x="411149" y="165608"/>
                      </a:lnTo>
                      <a:lnTo>
                        <a:pt x="410895" y="165227"/>
                      </a:lnTo>
                      <a:lnTo>
                        <a:pt x="410616" y="165100"/>
                      </a:lnTo>
                      <a:lnTo>
                        <a:pt x="410845" y="164973"/>
                      </a:lnTo>
                      <a:lnTo>
                        <a:pt x="412267" y="164211"/>
                      </a:lnTo>
                      <a:lnTo>
                        <a:pt x="413219" y="163703"/>
                      </a:lnTo>
                      <a:lnTo>
                        <a:pt x="425919" y="167513"/>
                      </a:lnTo>
                      <a:lnTo>
                        <a:pt x="426808" y="163703"/>
                      </a:lnTo>
                      <a:lnTo>
                        <a:pt x="427177" y="162179"/>
                      </a:lnTo>
                      <a:lnTo>
                        <a:pt x="427443" y="161036"/>
                      </a:lnTo>
                      <a:lnTo>
                        <a:pt x="425665" y="161036"/>
                      </a:lnTo>
                      <a:lnTo>
                        <a:pt x="421995" y="160528"/>
                      </a:lnTo>
                      <a:lnTo>
                        <a:pt x="413435" y="158369"/>
                      </a:lnTo>
                      <a:lnTo>
                        <a:pt x="405574" y="157861"/>
                      </a:lnTo>
                      <a:lnTo>
                        <a:pt x="400037" y="156845"/>
                      </a:lnTo>
                      <a:lnTo>
                        <a:pt x="394957" y="155448"/>
                      </a:lnTo>
                      <a:lnTo>
                        <a:pt x="396811" y="154178"/>
                      </a:lnTo>
                      <a:lnTo>
                        <a:pt x="398805" y="155702"/>
                      </a:lnTo>
                      <a:lnTo>
                        <a:pt x="402221" y="155956"/>
                      </a:lnTo>
                      <a:lnTo>
                        <a:pt x="402894" y="155575"/>
                      </a:lnTo>
                      <a:lnTo>
                        <a:pt x="405409" y="156591"/>
                      </a:lnTo>
                      <a:lnTo>
                        <a:pt x="406501" y="156464"/>
                      </a:lnTo>
                      <a:lnTo>
                        <a:pt x="407593" y="156591"/>
                      </a:lnTo>
                      <a:lnTo>
                        <a:pt x="407543" y="156464"/>
                      </a:lnTo>
                      <a:lnTo>
                        <a:pt x="407162" y="155575"/>
                      </a:lnTo>
                      <a:lnTo>
                        <a:pt x="406577" y="154178"/>
                      </a:lnTo>
                      <a:lnTo>
                        <a:pt x="405942" y="152654"/>
                      </a:lnTo>
                      <a:lnTo>
                        <a:pt x="405828" y="152400"/>
                      </a:lnTo>
                      <a:lnTo>
                        <a:pt x="405460" y="151511"/>
                      </a:lnTo>
                      <a:lnTo>
                        <a:pt x="400456" y="149606"/>
                      </a:lnTo>
                      <a:lnTo>
                        <a:pt x="392061" y="149733"/>
                      </a:lnTo>
                      <a:lnTo>
                        <a:pt x="389737" y="150495"/>
                      </a:lnTo>
                      <a:lnTo>
                        <a:pt x="385216" y="152146"/>
                      </a:lnTo>
                      <a:lnTo>
                        <a:pt x="383374" y="152400"/>
                      </a:lnTo>
                      <a:lnTo>
                        <a:pt x="380034" y="151511"/>
                      </a:lnTo>
                      <a:lnTo>
                        <a:pt x="378891" y="152654"/>
                      </a:lnTo>
                      <a:lnTo>
                        <a:pt x="376059" y="151765"/>
                      </a:lnTo>
                      <a:lnTo>
                        <a:pt x="373799" y="151384"/>
                      </a:lnTo>
                      <a:lnTo>
                        <a:pt x="372491" y="152019"/>
                      </a:lnTo>
                      <a:lnTo>
                        <a:pt x="371373" y="154051"/>
                      </a:lnTo>
                      <a:lnTo>
                        <a:pt x="369620" y="155575"/>
                      </a:lnTo>
                      <a:lnTo>
                        <a:pt x="367042" y="158496"/>
                      </a:lnTo>
                      <a:lnTo>
                        <a:pt x="363042" y="157734"/>
                      </a:lnTo>
                      <a:lnTo>
                        <a:pt x="366509" y="156337"/>
                      </a:lnTo>
                      <a:lnTo>
                        <a:pt x="368122" y="155194"/>
                      </a:lnTo>
                      <a:lnTo>
                        <a:pt x="368858" y="154432"/>
                      </a:lnTo>
                      <a:lnTo>
                        <a:pt x="334860" y="154432"/>
                      </a:lnTo>
                      <a:lnTo>
                        <a:pt x="332295" y="154432"/>
                      </a:lnTo>
                      <a:lnTo>
                        <a:pt x="332130" y="154432"/>
                      </a:lnTo>
                      <a:lnTo>
                        <a:pt x="329869" y="155829"/>
                      </a:lnTo>
                      <a:lnTo>
                        <a:pt x="331749" y="157607"/>
                      </a:lnTo>
                      <a:lnTo>
                        <a:pt x="333286" y="158115"/>
                      </a:lnTo>
                      <a:lnTo>
                        <a:pt x="336283" y="158750"/>
                      </a:lnTo>
                      <a:lnTo>
                        <a:pt x="338188" y="159004"/>
                      </a:lnTo>
                      <a:lnTo>
                        <a:pt x="338670" y="159131"/>
                      </a:lnTo>
                      <a:lnTo>
                        <a:pt x="341998" y="159766"/>
                      </a:lnTo>
                      <a:lnTo>
                        <a:pt x="345135" y="159893"/>
                      </a:lnTo>
                      <a:lnTo>
                        <a:pt x="348119" y="160528"/>
                      </a:lnTo>
                      <a:lnTo>
                        <a:pt x="346265" y="160401"/>
                      </a:lnTo>
                      <a:lnTo>
                        <a:pt x="341795" y="160147"/>
                      </a:lnTo>
                      <a:lnTo>
                        <a:pt x="338988" y="163703"/>
                      </a:lnTo>
                      <a:lnTo>
                        <a:pt x="341896" y="163068"/>
                      </a:lnTo>
                      <a:lnTo>
                        <a:pt x="344792" y="163195"/>
                      </a:lnTo>
                      <a:lnTo>
                        <a:pt x="345452" y="163195"/>
                      </a:lnTo>
                      <a:lnTo>
                        <a:pt x="345719" y="163068"/>
                      </a:lnTo>
                      <a:lnTo>
                        <a:pt x="347560" y="162179"/>
                      </a:lnTo>
                      <a:lnTo>
                        <a:pt x="348449" y="161417"/>
                      </a:lnTo>
                      <a:lnTo>
                        <a:pt x="350164" y="160909"/>
                      </a:lnTo>
                      <a:lnTo>
                        <a:pt x="349326" y="161417"/>
                      </a:lnTo>
                      <a:lnTo>
                        <a:pt x="352818" y="162306"/>
                      </a:lnTo>
                      <a:lnTo>
                        <a:pt x="356120" y="161925"/>
                      </a:lnTo>
                      <a:lnTo>
                        <a:pt x="359740" y="162560"/>
                      </a:lnTo>
                      <a:lnTo>
                        <a:pt x="362000" y="162814"/>
                      </a:lnTo>
                      <a:lnTo>
                        <a:pt x="363181" y="162179"/>
                      </a:lnTo>
                      <a:lnTo>
                        <a:pt x="363258" y="161925"/>
                      </a:lnTo>
                      <a:lnTo>
                        <a:pt x="363562" y="160909"/>
                      </a:lnTo>
                      <a:lnTo>
                        <a:pt x="363689" y="160528"/>
                      </a:lnTo>
                      <a:lnTo>
                        <a:pt x="363842" y="160020"/>
                      </a:lnTo>
                      <a:lnTo>
                        <a:pt x="364947" y="161798"/>
                      </a:lnTo>
                      <a:lnTo>
                        <a:pt x="365556" y="161290"/>
                      </a:lnTo>
                      <a:lnTo>
                        <a:pt x="367525" y="160909"/>
                      </a:lnTo>
                      <a:lnTo>
                        <a:pt x="368363" y="160020"/>
                      </a:lnTo>
                      <a:lnTo>
                        <a:pt x="368604" y="159766"/>
                      </a:lnTo>
                      <a:lnTo>
                        <a:pt x="370484" y="159258"/>
                      </a:lnTo>
                      <a:lnTo>
                        <a:pt x="371563" y="159004"/>
                      </a:lnTo>
                      <a:lnTo>
                        <a:pt x="373227" y="159893"/>
                      </a:lnTo>
                      <a:lnTo>
                        <a:pt x="372503" y="160147"/>
                      </a:lnTo>
                      <a:lnTo>
                        <a:pt x="374637" y="163449"/>
                      </a:lnTo>
                      <a:lnTo>
                        <a:pt x="377532" y="164084"/>
                      </a:lnTo>
                      <a:lnTo>
                        <a:pt x="379196" y="166878"/>
                      </a:lnTo>
                      <a:lnTo>
                        <a:pt x="379298" y="169926"/>
                      </a:lnTo>
                      <a:lnTo>
                        <a:pt x="379945" y="169926"/>
                      </a:lnTo>
                      <a:lnTo>
                        <a:pt x="381533" y="171323"/>
                      </a:lnTo>
                      <a:lnTo>
                        <a:pt x="382587" y="172466"/>
                      </a:lnTo>
                      <a:lnTo>
                        <a:pt x="385635" y="173355"/>
                      </a:lnTo>
                      <a:lnTo>
                        <a:pt x="387235" y="173482"/>
                      </a:lnTo>
                      <a:lnTo>
                        <a:pt x="386651" y="177292"/>
                      </a:lnTo>
                      <a:lnTo>
                        <a:pt x="385330" y="177546"/>
                      </a:lnTo>
                      <a:lnTo>
                        <a:pt x="387616" y="179197"/>
                      </a:lnTo>
                      <a:lnTo>
                        <a:pt x="387883" y="179489"/>
                      </a:lnTo>
                      <a:lnTo>
                        <a:pt x="387921" y="179197"/>
                      </a:lnTo>
                      <a:lnTo>
                        <a:pt x="387946" y="179578"/>
                      </a:lnTo>
                      <a:lnTo>
                        <a:pt x="387489" y="182372"/>
                      </a:lnTo>
                      <a:lnTo>
                        <a:pt x="387769" y="181483"/>
                      </a:lnTo>
                      <a:lnTo>
                        <a:pt x="387654" y="181864"/>
                      </a:lnTo>
                      <a:lnTo>
                        <a:pt x="388378" y="181864"/>
                      </a:lnTo>
                      <a:lnTo>
                        <a:pt x="386892" y="183007"/>
                      </a:lnTo>
                      <a:lnTo>
                        <a:pt x="386130" y="182880"/>
                      </a:lnTo>
                      <a:lnTo>
                        <a:pt x="384314" y="183896"/>
                      </a:lnTo>
                      <a:lnTo>
                        <a:pt x="380644" y="187960"/>
                      </a:lnTo>
                      <a:lnTo>
                        <a:pt x="383603" y="188468"/>
                      </a:lnTo>
                      <a:lnTo>
                        <a:pt x="382803" y="188722"/>
                      </a:lnTo>
                      <a:lnTo>
                        <a:pt x="382460" y="189357"/>
                      </a:lnTo>
                      <a:lnTo>
                        <a:pt x="381063" y="191770"/>
                      </a:lnTo>
                      <a:lnTo>
                        <a:pt x="383400" y="194945"/>
                      </a:lnTo>
                      <a:lnTo>
                        <a:pt x="384911" y="194818"/>
                      </a:lnTo>
                      <a:lnTo>
                        <a:pt x="385381" y="198628"/>
                      </a:lnTo>
                      <a:lnTo>
                        <a:pt x="386651" y="199390"/>
                      </a:lnTo>
                      <a:lnTo>
                        <a:pt x="388061" y="202057"/>
                      </a:lnTo>
                      <a:lnTo>
                        <a:pt x="387845" y="202438"/>
                      </a:lnTo>
                      <a:lnTo>
                        <a:pt x="387400" y="205232"/>
                      </a:lnTo>
                      <a:lnTo>
                        <a:pt x="388239" y="205105"/>
                      </a:lnTo>
                      <a:lnTo>
                        <a:pt x="389140" y="205994"/>
                      </a:lnTo>
                      <a:lnTo>
                        <a:pt x="390334" y="207391"/>
                      </a:lnTo>
                      <a:lnTo>
                        <a:pt x="391185" y="207772"/>
                      </a:lnTo>
                      <a:lnTo>
                        <a:pt x="391109" y="206883"/>
                      </a:lnTo>
                      <a:lnTo>
                        <a:pt x="392874" y="206756"/>
                      </a:lnTo>
                      <a:lnTo>
                        <a:pt x="392925" y="208153"/>
                      </a:lnTo>
                      <a:lnTo>
                        <a:pt x="393788" y="208788"/>
                      </a:lnTo>
                      <a:lnTo>
                        <a:pt x="394906" y="209169"/>
                      </a:lnTo>
                      <a:lnTo>
                        <a:pt x="397560" y="209423"/>
                      </a:lnTo>
                      <a:lnTo>
                        <a:pt x="397637" y="206756"/>
                      </a:lnTo>
                      <a:lnTo>
                        <a:pt x="397662" y="205994"/>
                      </a:lnTo>
                      <a:lnTo>
                        <a:pt x="398767" y="209804"/>
                      </a:lnTo>
                      <a:lnTo>
                        <a:pt x="400227" y="209677"/>
                      </a:lnTo>
                      <a:lnTo>
                        <a:pt x="399453" y="206502"/>
                      </a:lnTo>
                      <a:lnTo>
                        <a:pt x="399757" y="206883"/>
                      </a:lnTo>
                      <a:lnTo>
                        <a:pt x="400291" y="206502"/>
                      </a:lnTo>
                      <a:lnTo>
                        <a:pt x="401002" y="205994"/>
                      </a:lnTo>
                      <a:lnTo>
                        <a:pt x="402259" y="205105"/>
                      </a:lnTo>
                      <a:lnTo>
                        <a:pt x="404355" y="203327"/>
                      </a:lnTo>
                      <a:lnTo>
                        <a:pt x="406120" y="202438"/>
                      </a:lnTo>
                      <a:lnTo>
                        <a:pt x="407123" y="204216"/>
                      </a:lnTo>
                      <a:lnTo>
                        <a:pt x="403313" y="206121"/>
                      </a:lnTo>
                      <a:lnTo>
                        <a:pt x="402704" y="207645"/>
                      </a:lnTo>
                      <a:lnTo>
                        <a:pt x="404545" y="208661"/>
                      </a:lnTo>
                      <a:lnTo>
                        <a:pt x="404520" y="206375"/>
                      </a:lnTo>
                      <a:lnTo>
                        <a:pt x="406527" y="207264"/>
                      </a:lnTo>
                      <a:lnTo>
                        <a:pt x="406425" y="207645"/>
                      </a:lnTo>
                      <a:lnTo>
                        <a:pt x="406361" y="208407"/>
                      </a:lnTo>
                      <a:lnTo>
                        <a:pt x="407060" y="209296"/>
                      </a:lnTo>
                      <a:lnTo>
                        <a:pt x="407847" y="209804"/>
                      </a:lnTo>
                      <a:lnTo>
                        <a:pt x="409143" y="210312"/>
                      </a:lnTo>
                      <a:lnTo>
                        <a:pt x="409790" y="210439"/>
                      </a:lnTo>
                      <a:lnTo>
                        <a:pt x="411086" y="210439"/>
                      </a:lnTo>
                      <a:lnTo>
                        <a:pt x="413791" y="211201"/>
                      </a:lnTo>
                      <a:lnTo>
                        <a:pt x="414629" y="211709"/>
                      </a:lnTo>
                      <a:lnTo>
                        <a:pt x="416128" y="211582"/>
                      </a:lnTo>
                      <a:lnTo>
                        <a:pt x="416356" y="211582"/>
                      </a:lnTo>
                      <a:lnTo>
                        <a:pt x="416306" y="210693"/>
                      </a:lnTo>
                      <a:lnTo>
                        <a:pt x="417347" y="210947"/>
                      </a:lnTo>
                      <a:lnTo>
                        <a:pt x="417220" y="211455"/>
                      </a:lnTo>
                      <a:lnTo>
                        <a:pt x="418058" y="211836"/>
                      </a:lnTo>
                      <a:lnTo>
                        <a:pt x="417957" y="212471"/>
                      </a:lnTo>
                      <a:lnTo>
                        <a:pt x="420471" y="212344"/>
                      </a:lnTo>
                      <a:lnTo>
                        <a:pt x="422071" y="211836"/>
                      </a:lnTo>
                      <a:lnTo>
                        <a:pt x="423875" y="212217"/>
                      </a:lnTo>
                      <a:lnTo>
                        <a:pt x="425170" y="211836"/>
                      </a:lnTo>
                      <a:lnTo>
                        <a:pt x="425602" y="211709"/>
                      </a:lnTo>
                      <a:lnTo>
                        <a:pt x="425475" y="211074"/>
                      </a:lnTo>
                      <a:lnTo>
                        <a:pt x="426262" y="210820"/>
                      </a:lnTo>
                      <a:lnTo>
                        <a:pt x="426643" y="211201"/>
                      </a:lnTo>
                      <a:lnTo>
                        <a:pt x="427951" y="210820"/>
                      </a:lnTo>
                      <a:lnTo>
                        <a:pt x="428383" y="210693"/>
                      </a:lnTo>
                      <a:lnTo>
                        <a:pt x="429628" y="211074"/>
                      </a:lnTo>
                      <a:lnTo>
                        <a:pt x="429590" y="210693"/>
                      </a:lnTo>
                      <a:lnTo>
                        <a:pt x="429298" y="208026"/>
                      </a:lnTo>
                      <a:lnTo>
                        <a:pt x="428078" y="207137"/>
                      </a:lnTo>
                      <a:lnTo>
                        <a:pt x="427926" y="206375"/>
                      </a:lnTo>
                      <a:lnTo>
                        <a:pt x="427875" y="206121"/>
                      </a:lnTo>
                      <a:lnTo>
                        <a:pt x="429158" y="206883"/>
                      </a:lnTo>
                      <a:lnTo>
                        <a:pt x="431330" y="207264"/>
                      </a:lnTo>
                      <a:lnTo>
                        <a:pt x="430796" y="206121"/>
                      </a:lnTo>
                      <a:lnTo>
                        <a:pt x="430149" y="204724"/>
                      </a:lnTo>
                      <a:lnTo>
                        <a:pt x="430110" y="203708"/>
                      </a:lnTo>
                      <a:lnTo>
                        <a:pt x="430911" y="204343"/>
                      </a:lnTo>
                      <a:lnTo>
                        <a:pt x="432435" y="204978"/>
                      </a:lnTo>
                      <a:lnTo>
                        <a:pt x="432498" y="206121"/>
                      </a:lnTo>
                      <a:lnTo>
                        <a:pt x="432625" y="209169"/>
                      </a:lnTo>
                      <a:lnTo>
                        <a:pt x="434454" y="208153"/>
                      </a:lnTo>
                      <a:lnTo>
                        <a:pt x="435610" y="203708"/>
                      </a:lnTo>
                      <a:lnTo>
                        <a:pt x="435940" y="202438"/>
                      </a:lnTo>
                      <a:lnTo>
                        <a:pt x="436168" y="201549"/>
                      </a:lnTo>
                      <a:lnTo>
                        <a:pt x="436880" y="204216"/>
                      </a:lnTo>
                      <a:lnTo>
                        <a:pt x="437464" y="203073"/>
                      </a:lnTo>
                      <a:lnTo>
                        <a:pt x="437794" y="201549"/>
                      </a:lnTo>
                      <a:lnTo>
                        <a:pt x="438073" y="200279"/>
                      </a:lnTo>
                      <a:lnTo>
                        <a:pt x="438785" y="202819"/>
                      </a:lnTo>
                      <a:lnTo>
                        <a:pt x="438873" y="204089"/>
                      </a:lnTo>
                      <a:lnTo>
                        <a:pt x="438797" y="204978"/>
                      </a:lnTo>
                      <a:lnTo>
                        <a:pt x="439191" y="205486"/>
                      </a:lnTo>
                      <a:lnTo>
                        <a:pt x="440740" y="205232"/>
                      </a:lnTo>
                      <a:lnTo>
                        <a:pt x="441388" y="205486"/>
                      </a:lnTo>
                      <a:lnTo>
                        <a:pt x="439547" y="205867"/>
                      </a:lnTo>
                      <a:lnTo>
                        <a:pt x="440842" y="208280"/>
                      </a:lnTo>
                      <a:lnTo>
                        <a:pt x="434759" y="212598"/>
                      </a:lnTo>
                      <a:lnTo>
                        <a:pt x="440283" y="213487"/>
                      </a:lnTo>
                      <a:lnTo>
                        <a:pt x="440994" y="213741"/>
                      </a:lnTo>
                      <a:lnTo>
                        <a:pt x="442226" y="213741"/>
                      </a:lnTo>
                      <a:lnTo>
                        <a:pt x="443141" y="213106"/>
                      </a:lnTo>
                      <a:lnTo>
                        <a:pt x="444474" y="213233"/>
                      </a:lnTo>
                      <a:lnTo>
                        <a:pt x="445719" y="214376"/>
                      </a:lnTo>
                      <a:lnTo>
                        <a:pt x="447763" y="213868"/>
                      </a:lnTo>
                      <a:lnTo>
                        <a:pt x="448513" y="213106"/>
                      </a:lnTo>
                      <a:lnTo>
                        <a:pt x="449021" y="213106"/>
                      </a:lnTo>
                      <a:lnTo>
                        <a:pt x="449884" y="214249"/>
                      </a:lnTo>
                      <a:lnTo>
                        <a:pt x="450811" y="214503"/>
                      </a:lnTo>
                      <a:lnTo>
                        <a:pt x="452005" y="214376"/>
                      </a:lnTo>
                      <a:lnTo>
                        <a:pt x="452907" y="213995"/>
                      </a:lnTo>
                      <a:lnTo>
                        <a:pt x="453478" y="213106"/>
                      </a:lnTo>
                      <a:lnTo>
                        <a:pt x="453644" y="212852"/>
                      </a:lnTo>
                      <a:lnTo>
                        <a:pt x="454774" y="212471"/>
                      </a:lnTo>
                      <a:lnTo>
                        <a:pt x="455447" y="214249"/>
                      </a:lnTo>
                      <a:lnTo>
                        <a:pt x="457949" y="214249"/>
                      </a:lnTo>
                      <a:lnTo>
                        <a:pt x="458546" y="213995"/>
                      </a:lnTo>
                      <a:lnTo>
                        <a:pt x="459409" y="213868"/>
                      </a:lnTo>
                      <a:lnTo>
                        <a:pt x="459295" y="213106"/>
                      </a:lnTo>
                      <a:lnTo>
                        <a:pt x="459968" y="213106"/>
                      </a:lnTo>
                      <a:lnTo>
                        <a:pt x="460235" y="213868"/>
                      </a:lnTo>
                      <a:lnTo>
                        <a:pt x="462026" y="214249"/>
                      </a:lnTo>
                      <a:lnTo>
                        <a:pt x="463829" y="214376"/>
                      </a:lnTo>
                      <a:lnTo>
                        <a:pt x="465620" y="214122"/>
                      </a:lnTo>
                      <a:lnTo>
                        <a:pt x="464096" y="213487"/>
                      </a:lnTo>
                      <a:lnTo>
                        <a:pt x="463880" y="213106"/>
                      </a:lnTo>
                      <a:lnTo>
                        <a:pt x="463511" y="212471"/>
                      </a:lnTo>
                      <a:lnTo>
                        <a:pt x="463207" y="211924"/>
                      </a:lnTo>
                      <a:lnTo>
                        <a:pt x="463080" y="210058"/>
                      </a:lnTo>
                      <a:lnTo>
                        <a:pt x="464146" y="211836"/>
                      </a:lnTo>
                      <a:lnTo>
                        <a:pt x="467563" y="215138"/>
                      </a:lnTo>
                      <a:lnTo>
                        <a:pt x="470992" y="212471"/>
                      </a:lnTo>
                      <a:lnTo>
                        <a:pt x="470916" y="210058"/>
                      </a:lnTo>
                      <a:lnTo>
                        <a:pt x="470865" y="208407"/>
                      </a:lnTo>
                      <a:lnTo>
                        <a:pt x="472541" y="211709"/>
                      </a:lnTo>
                      <a:lnTo>
                        <a:pt x="472643" y="212344"/>
                      </a:lnTo>
                      <a:lnTo>
                        <a:pt x="472097" y="213868"/>
                      </a:lnTo>
                      <a:lnTo>
                        <a:pt x="473964" y="213868"/>
                      </a:lnTo>
                      <a:lnTo>
                        <a:pt x="478104" y="213487"/>
                      </a:lnTo>
                      <a:lnTo>
                        <a:pt x="482612" y="213360"/>
                      </a:lnTo>
                      <a:lnTo>
                        <a:pt x="481279" y="211074"/>
                      </a:lnTo>
                      <a:lnTo>
                        <a:pt x="481164" y="210693"/>
                      </a:lnTo>
                      <a:lnTo>
                        <a:pt x="480847" y="208407"/>
                      </a:lnTo>
                      <a:lnTo>
                        <a:pt x="480568" y="206375"/>
                      </a:lnTo>
                      <a:lnTo>
                        <a:pt x="482676" y="210820"/>
                      </a:lnTo>
                      <a:lnTo>
                        <a:pt x="483514" y="213106"/>
                      </a:lnTo>
                      <a:lnTo>
                        <a:pt x="483730" y="213868"/>
                      </a:lnTo>
                      <a:lnTo>
                        <a:pt x="489394" y="212877"/>
                      </a:lnTo>
                      <a:lnTo>
                        <a:pt x="490677" y="213360"/>
                      </a:lnTo>
                      <a:lnTo>
                        <a:pt x="491604" y="213106"/>
                      </a:lnTo>
                      <a:lnTo>
                        <a:pt x="493039" y="212598"/>
                      </a:lnTo>
                      <a:lnTo>
                        <a:pt x="493115" y="213106"/>
                      </a:lnTo>
                      <a:lnTo>
                        <a:pt x="499224" y="213360"/>
                      </a:lnTo>
                      <a:lnTo>
                        <a:pt x="501497" y="212598"/>
                      </a:lnTo>
                      <a:lnTo>
                        <a:pt x="504164" y="211709"/>
                      </a:lnTo>
                      <a:lnTo>
                        <a:pt x="507098" y="212598"/>
                      </a:lnTo>
                      <a:lnTo>
                        <a:pt x="509117" y="211709"/>
                      </a:lnTo>
                      <a:lnTo>
                        <a:pt x="510844" y="210947"/>
                      </a:lnTo>
                      <a:lnTo>
                        <a:pt x="510959" y="209169"/>
                      </a:lnTo>
                      <a:lnTo>
                        <a:pt x="511530" y="207645"/>
                      </a:lnTo>
                      <a:lnTo>
                        <a:pt x="511987" y="207391"/>
                      </a:lnTo>
                      <a:lnTo>
                        <a:pt x="511746" y="205867"/>
                      </a:lnTo>
                      <a:lnTo>
                        <a:pt x="511644" y="205232"/>
                      </a:lnTo>
                      <a:lnTo>
                        <a:pt x="511568" y="204724"/>
                      </a:lnTo>
                      <a:lnTo>
                        <a:pt x="509879" y="203581"/>
                      </a:lnTo>
                      <a:lnTo>
                        <a:pt x="509676" y="201930"/>
                      </a:lnTo>
                      <a:lnTo>
                        <a:pt x="511403" y="202057"/>
                      </a:lnTo>
                      <a:lnTo>
                        <a:pt x="512432" y="204216"/>
                      </a:lnTo>
                      <a:lnTo>
                        <a:pt x="517525" y="204089"/>
                      </a:lnTo>
                      <a:lnTo>
                        <a:pt x="514934" y="206375"/>
                      </a:lnTo>
                      <a:lnTo>
                        <a:pt x="514845" y="206629"/>
                      </a:lnTo>
                      <a:lnTo>
                        <a:pt x="516737" y="211328"/>
                      </a:lnTo>
                      <a:lnTo>
                        <a:pt x="523367" y="215265"/>
                      </a:lnTo>
                      <a:lnTo>
                        <a:pt x="524929" y="211709"/>
                      </a:lnTo>
                      <a:lnTo>
                        <a:pt x="525005" y="212877"/>
                      </a:lnTo>
                      <a:lnTo>
                        <a:pt x="529729" y="213995"/>
                      </a:lnTo>
                      <a:lnTo>
                        <a:pt x="532930" y="213995"/>
                      </a:lnTo>
                      <a:lnTo>
                        <a:pt x="534327" y="214503"/>
                      </a:lnTo>
                      <a:lnTo>
                        <a:pt x="552208" y="211836"/>
                      </a:lnTo>
                      <a:lnTo>
                        <a:pt x="556475" y="212090"/>
                      </a:lnTo>
                      <a:lnTo>
                        <a:pt x="556641" y="211836"/>
                      </a:lnTo>
                      <a:lnTo>
                        <a:pt x="556717" y="211709"/>
                      </a:lnTo>
                      <a:lnTo>
                        <a:pt x="558025" y="209677"/>
                      </a:lnTo>
                      <a:lnTo>
                        <a:pt x="558279" y="209296"/>
                      </a:lnTo>
                      <a:lnTo>
                        <a:pt x="557352" y="209677"/>
                      </a:lnTo>
                      <a:lnTo>
                        <a:pt x="557453" y="209169"/>
                      </a:lnTo>
                      <a:lnTo>
                        <a:pt x="557618" y="208661"/>
                      </a:lnTo>
                      <a:lnTo>
                        <a:pt x="557885" y="208026"/>
                      </a:lnTo>
                      <a:lnTo>
                        <a:pt x="557796" y="206883"/>
                      </a:lnTo>
                      <a:lnTo>
                        <a:pt x="557606" y="206375"/>
                      </a:lnTo>
                      <a:lnTo>
                        <a:pt x="557504" y="206159"/>
                      </a:lnTo>
                      <a:lnTo>
                        <a:pt x="557707" y="205486"/>
                      </a:lnTo>
                      <a:lnTo>
                        <a:pt x="558812" y="205359"/>
                      </a:lnTo>
                      <a:lnTo>
                        <a:pt x="558482" y="204089"/>
                      </a:lnTo>
                      <a:lnTo>
                        <a:pt x="558368" y="203657"/>
                      </a:lnTo>
                      <a:lnTo>
                        <a:pt x="558292" y="203327"/>
                      </a:lnTo>
                      <a:lnTo>
                        <a:pt x="558355" y="203581"/>
                      </a:lnTo>
                      <a:lnTo>
                        <a:pt x="558431" y="203708"/>
                      </a:lnTo>
                      <a:lnTo>
                        <a:pt x="562610" y="202819"/>
                      </a:lnTo>
                      <a:lnTo>
                        <a:pt x="565569" y="202565"/>
                      </a:lnTo>
                      <a:lnTo>
                        <a:pt x="569709" y="202057"/>
                      </a:lnTo>
                      <a:close/>
                    </a:path>
                    <a:path w="616585" h="374650">
                      <a:moveTo>
                        <a:pt x="601179" y="242544"/>
                      </a:moveTo>
                      <a:lnTo>
                        <a:pt x="600392" y="241427"/>
                      </a:lnTo>
                      <a:lnTo>
                        <a:pt x="600252" y="241223"/>
                      </a:lnTo>
                      <a:lnTo>
                        <a:pt x="599998" y="241427"/>
                      </a:lnTo>
                      <a:lnTo>
                        <a:pt x="596773" y="240055"/>
                      </a:lnTo>
                      <a:lnTo>
                        <a:pt x="595820" y="239509"/>
                      </a:lnTo>
                      <a:lnTo>
                        <a:pt x="593102" y="238798"/>
                      </a:lnTo>
                      <a:lnTo>
                        <a:pt x="591858" y="238544"/>
                      </a:lnTo>
                      <a:lnTo>
                        <a:pt x="589267" y="237540"/>
                      </a:lnTo>
                      <a:lnTo>
                        <a:pt x="587756" y="236956"/>
                      </a:lnTo>
                      <a:lnTo>
                        <a:pt x="587527" y="236905"/>
                      </a:lnTo>
                      <a:lnTo>
                        <a:pt x="585533" y="236461"/>
                      </a:lnTo>
                      <a:lnTo>
                        <a:pt x="580936" y="236728"/>
                      </a:lnTo>
                      <a:lnTo>
                        <a:pt x="579526" y="236905"/>
                      </a:lnTo>
                      <a:lnTo>
                        <a:pt x="576529" y="236880"/>
                      </a:lnTo>
                      <a:lnTo>
                        <a:pt x="575475" y="237515"/>
                      </a:lnTo>
                      <a:lnTo>
                        <a:pt x="570941" y="237490"/>
                      </a:lnTo>
                      <a:lnTo>
                        <a:pt x="568655" y="237540"/>
                      </a:lnTo>
                      <a:lnTo>
                        <a:pt x="564578" y="236156"/>
                      </a:lnTo>
                      <a:lnTo>
                        <a:pt x="563321" y="236143"/>
                      </a:lnTo>
                      <a:lnTo>
                        <a:pt x="562165" y="235813"/>
                      </a:lnTo>
                      <a:lnTo>
                        <a:pt x="561721" y="235686"/>
                      </a:lnTo>
                      <a:lnTo>
                        <a:pt x="560654" y="235115"/>
                      </a:lnTo>
                      <a:lnTo>
                        <a:pt x="559257" y="235102"/>
                      </a:lnTo>
                      <a:lnTo>
                        <a:pt x="559409" y="235750"/>
                      </a:lnTo>
                      <a:lnTo>
                        <a:pt x="556768" y="235813"/>
                      </a:lnTo>
                      <a:lnTo>
                        <a:pt x="555574" y="233934"/>
                      </a:lnTo>
                      <a:lnTo>
                        <a:pt x="552069" y="233718"/>
                      </a:lnTo>
                      <a:lnTo>
                        <a:pt x="549567" y="233883"/>
                      </a:lnTo>
                      <a:lnTo>
                        <a:pt x="548055" y="234594"/>
                      </a:lnTo>
                      <a:lnTo>
                        <a:pt x="550278" y="235940"/>
                      </a:lnTo>
                      <a:lnTo>
                        <a:pt x="546633" y="238264"/>
                      </a:lnTo>
                      <a:lnTo>
                        <a:pt x="548601" y="240868"/>
                      </a:lnTo>
                      <a:lnTo>
                        <a:pt x="550037" y="241096"/>
                      </a:lnTo>
                      <a:lnTo>
                        <a:pt x="549681" y="242544"/>
                      </a:lnTo>
                      <a:lnTo>
                        <a:pt x="601179" y="242544"/>
                      </a:lnTo>
                      <a:close/>
                    </a:path>
                    <a:path w="616585" h="374650">
                      <a:moveTo>
                        <a:pt x="607148" y="246418"/>
                      </a:moveTo>
                      <a:lnTo>
                        <a:pt x="606983" y="246189"/>
                      </a:lnTo>
                      <a:lnTo>
                        <a:pt x="607110" y="246405"/>
                      </a:lnTo>
                      <a:close/>
                    </a:path>
                    <a:path w="616585" h="374650">
                      <a:moveTo>
                        <a:pt x="616585" y="257644"/>
                      </a:moveTo>
                      <a:lnTo>
                        <a:pt x="616496" y="257302"/>
                      </a:lnTo>
                      <a:lnTo>
                        <a:pt x="616038" y="255562"/>
                      </a:lnTo>
                      <a:lnTo>
                        <a:pt x="613702" y="257302"/>
                      </a:lnTo>
                      <a:lnTo>
                        <a:pt x="612330" y="255333"/>
                      </a:lnTo>
                      <a:lnTo>
                        <a:pt x="613765" y="253542"/>
                      </a:lnTo>
                      <a:lnTo>
                        <a:pt x="613765" y="252272"/>
                      </a:lnTo>
                      <a:lnTo>
                        <a:pt x="611708" y="251866"/>
                      </a:lnTo>
                      <a:lnTo>
                        <a:pt x="609409" y="251180"/>
                      </a:lnTo>
                      <a:lnTo>
                        <a:pt x="609180" y="249961"/>
                      </a:lnTo>
                      <a:lnTo>
                        <a:pt x="607999" y="247942"/>
                      </a:lnTo>
                      <a:lnTo>
                        <a:pt x="607110" y="246405"/>
                      </a:lnTo>
                      <a:lnTo>
                        <a:pt x="603237" y="245757"/>
                      </a:lnTo>
                      <a:lnTo>
                        <a:pt x="602475" y="244360"/>
                      </a:lnTo>
                      <a:lnTo>
                        <a:pt x="601256" y="242646"/>
                      </a:lnTo>
                      <a:lnTo>
                        <a:pt x="549668" y="242646"/>
                      </a:lnTo>
                      <a:lnTo>
                        <a:pt x="547700" y="242646"/>
                      </a:lnTo>
                      <a:lnTo>
                        <a:pt x="547382" y="244995"/>
                      </a:lnTo>
                      <a:lnTo>
                        <a:pt x="547725" y="246684"/>
                      </a:lnTo>
                      <a:lnTo>
                        <a:pt x="550113" y="248031"/>
                      </a:lnTo>
                      <a:lnTo>
                        <a:pt x="553313" y="248208"/>
                      </a:lnTo>
                      <a:lnTo>
                        <a:pt x="555625" y="248424"/>
                      </a:lnTo>
                      <a:lnTo>
                        <a:pt x="557263" y="247942"/>
                      </a:lnTo>
                      <a:lnTo>
                        <a:pt x="558114" y="249580"/>
                      </a:lnTo>
                      <a:lnTo>
                        <a:pt x="557796" y="252590"/>
                      </a:lnTo>
                      <a:lnTo>
                        <a:pt x="557657" y="253542"/>
                      </a:lnTo>
                      <a:lnTo>
                        <a:pt x="558063" y="255333"/>
                      </a:lnTo>
                      <a:lnTo>
                        <a:pt x="568985" y="262216"/>
                      </a:lnTo>
                      <a:lnTo>
                        <a:pt x="577850" y="259854"/>
                      </a:lnTo>
                      <a:lnTo>
                        <a:pt x="584098" y="257860"/>
                      </a:lnTo>
                      <a:lnTo>
                        <a:pt x="616585" y="257644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31" name="object 71">
                  <a:extLst>
                    <a:ext uri="{FF2B5EF4-FFF2-40B4-BE49-F238E27FC236}">
                      <a16:creationId xmlns:a16="http://schemas.microsoft.com/office/drawing/2014/main" id="{EBFF4D49-46C8-34E7-FC15-C7B295DE703E}"/>
                    </a:ext>
                  </a:extLst>
                </p:cNvPr>
                <p:cNvSpPr/>
                <p:nvPr/>
              </p:nvSpPr>
              <p:spPr>
                <a:xfrm>
                  <a:off x="1767357" y="1685048"/>
                  <a:ext cx="4445" cy="787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44" h="78739">
                      <a:moveTo>
                        <a:pt x="1104" y="77495"/>
                      </a:moveTo>
                      <a:lnTo>
                        <a:pt x="1092" y="76758"/>
                      </a:lnTo>
                      <a:lnTo>
                        <a:pt x="0" y="77609"/>
                      </a:lnTo>
                      <a:lnTo>
                        <a:pt x="1104" y="77495"/>
                      </a:lnTo>
                      <a:close/>
                    </a:path>
                    <a:path w="4444" h="78739">
                      <a:moveTo>
                        <a:pt x="1206" y="254"/>
                      </a:moveTo>
                      <a:lnTo>
                        <a:pt x="1104" y="0"/>
                      </a:lnTo>
                      <a:lnTo>
                        <a:pt x="1104" y="635"/>
                      </a:lnTo>
                      <a:lnTo>
                        <a:pt x="1117" y="419"/>
                      </a:lnTo>
                      <a:lnTo>
                        <a:pt x="1206" y="254"/>
                      </a:lnTo>
                      <a:close/>
                    </a:path>
                    <a:path w="4444" h="78739">
                      <a:moveTo>
                        <a:pt x="2870" y="77304"/>
                      </a:moveTo>
                      <a:lnTo>
                        <a:pt x="1104" y="77495"/>
                      </a:lnTo>
                      <a:lnTo>
                        <a:pt x="1092" y="78562"/>
                      </a:lnTo>
                      <a:lnTo>
                        <a:pt x="2108" y="78219"/>
                      </a:lnTo>
                      <a:lnTo>
                        <a:pt x="2870" y="77304"/>
                      </a:lnTo>
                      <a:close/>
                    </a:path>
                    <a:path w="4444" h="78739">
                      <a:moveTo>
                        <a:pt x="3784" y="74460"/>
                      </a:moveTo>
                      <a:lnTo>
                        <a:pt x="1016" y="73177"/>
                      </a:lnTo>
                      <a:lnTo>
                        <a:pt x="1092" y="76758"/>
                      </a:lnTo>
                      <a:lnTo>
                        <a:pt x="2908" y="75323"/>
                      </a:lnTo>
                      <a:lnTo>
                        <a:pt x="3784" y="74460"/>
                      </a:lnTo>
                      <a:close/>
                    </a:path>
                    <a:path w="4444" h="78739">
                      <a:moveTo>
                        <a:pt x="3898" y="2641"/>
                      </a:moveTo>
                      <a:lnTo>
                        <a:pt x="3149" y="2057"/>
                      </a:lnTo>
                      <a:lnTo>
                        <a:pt x="2044" y="1866"/>
                      </a:lnTo>
                      <a:lnTo>
                        <a:pt x="1104" y="1612"/>
                      </a:lnTo>
                      <a:lnTo>
                        <a:pt x="1104" y="1841"/>
                      </a:lnTo>
                      <a:lnTo>
                        <a:pt x="1092" y="2082"/>
                      </a:lnTo>
                      <a:lnTo>
                        <a:pt x="1104" y="2298"/>
                      </a:lnTo>
                      <a:lnTo>
                        <a:pt x="1993" y="2641"/>
                      </a:lnTo>
                      <a:lnTo>
                        <a:pt x="2946" y="2806"/>
                      </a:lnTo>
                      <a:lnTo>
                        <a:pt x="3898" y="2641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32" name="object 72">
                  <a:extLst>
                    <a:ext uri="{FF2B5EF4-FFF2-40B4-BE49-F238E27FC236}">
                      <a16:creationId xmlns:a16="http://schemas.microsoft.com/office/drawing/2014/main" id="{7C94E14C-02E9-85E2-0222-E40A0D2EE233}"/>
                    </a:ext>
                  </a:extLst>
                </p:cNvPr>
                <p:cNvSpPr/>
                <p:nvPr/>
              </p:nvSpPr>
              <p:spPr>
                <a:xfrm>
                  <a:off x="1451435" y="1554076"/>
                  <a:ext cx="414020" cy="2959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4019" h="295910">
                      <a:moveTo>
                        <a:pt x="345274" y="287020"/>
                      </a:moveTo>
                      <a:lnTo>
                        <a:pt x="343725" y="288290"/>
                      </a:lnTo>
                      <a:lnTo>
                        <a:pt x="317550" y="288290"/>
                      </a:lnTo>
                      <a:lnTo>
                        <a:pt x="318008" y="289560"/>
                      </a:lnTo>
                      <a:lnTo>
                        <a:pt x="342747" y="295910"/>
                      </a:lnTo>
                      <a:lnTo>
                        <a:pt x="346303" y="295910"/>
                      </a:lnTo>
                      <a:lnTo>
                        <a:pt x="345846" y="294640"/>
                      </a:lnTo>
                      <a:lnTo>
                        <a:pt x="343954" y="293370"/>
                      </a:lnTo>
                      <a:lnTo>
                        <a:pt x="343420" y="292100"/>
                      </a:lnTo>
                      <a:lnTo>
                        <a:pt x="343664" y="291123"/>
                      </a:lnTo>
                      <a:lnTo>
                        <a:pt x="343306" y="290830"/>
                      </a:lnTo>
                      <a:lnTo>
                        <a:pt x="346049" y="290830"/>
                      </a:lnTo>
                      <a:lnTo>
                        <a:pt x="344817" y="289560"/>
                      </a:lnTo>
                      <a:lnTo>
                        <a:pt x="346621" y="288290"/>
                      </a:lnTo>
                      <a:lnTo>
                        <a:pt x="345274" y="287020"/>
                      </a:lnTo>
                      <a:close/>
                    </a:path>
                    <a:path w="414019" h="295910">
                      <a:moveTo>
                        <a:pt x="346049" y="290830"/>
                      </a:moveTo>
                      <a:lnTo>
                        <a:pt x="343738" y="290830"/>
                      </a:lnTo>
                      <a:lnTo>
                        <a:pt x="343664" y="291123"/>
                      </a:lnTo>
                      <a:lnTo>
                        <a:pt x="344855" y="292100"/>
                      </a:lnTo>
                      <a:lnTo>
                        <a:pt x="346049" y="290830"/>
                      </a:lnTo>
                      <a:close/>
                    </a:path>
                    <a:path w="414019" h="295910">
                      <a:moveTo>
                        <a:pt x="343738" y="290830"/>
                      </a:moveTo>
                      <a:lnTo>
                        <a:pt x="343306" y="290830"/>
                      </a:lnTo>
                      <a:lnTo>
                        <a:pt x="343664" y="291123"/>
                      </a:lnTo>
                      <a:lnTo>
                        <a:pt x="343738" y="290830"/>
                      </a:lnTo>
                      <a:close/>
                    </a:path>
                    <a:path w="414019" h="295910">
                      <a:moveTo>
                        <a:pt x="337248" y="279400"/>
                      </a:moveTo>
                      <a:lnTo>
                        <a:pt x="298411" y="279400"/>
                      </a:lnTo>
                      <a:lnTo>
                        <a:pt x="298297" y="281940"/>
                      </a:lnTo>
                      <a:lnTo>
                        <a:pt x="299008" y="283210"/>
                      </a:lnTo>
                      <a:lnTo>
                        <a:pt x="306311" y="287020"/>
                      </a:lnTo>
                      <a:lnTo>
                        <a:pt x="312216" y="288290"/>
                      </a:lnTo>
                      <a:lnTo>
                        <a:pt x="317411" y="289560"/>
                      </a:lnTo>
                      <a:lnTo>
                        <a:pt x="317334" y="288290"/>
                      </a:lnTo>
                      <a:lnTo>
                        <a:pt x="343725" y="288290"/>
                      </a:lnTo>
                      <a:lnTo>
                        <a:pt x="342087" y="287020"/>
                      </a:lnTo>
                      <a:lnTo>
                        <a:pt x="340855" y="287020"/>
                      </a:lnTo>
                      <a:lnTo>
                        <a:pt x="338937" y="285750"/>
                      </a:lnTo>
                      <a:lnTo>
                        <a:pt x="339432" y="285750"/>
                      </a:lnTo>
                      <a:lnTo>
                        <a:pt x="340118" y="284480"/>
                      </a:lnTo>
                      <a:lnTo>
                        <a:pt x="340804" y="284480"/>
                      </a:lnTo>
                      <a:lnTo>
                        <a:pt x="340309" y="283210"/>
                      </a:lnTo>
                      <a:lnTo>
                        <a:pt x="338150" y="283210"/>
                      </a:lnTo>
                      <a:lnTo>
                        <a:pt x="338201" y="281940"/>
                      </a:lnTo>
                      <a:lnTo>
                        <a:pt x="337248" y="279400"/>
                      </a:lnTo>
                      <a:close/>
                    </a:path>
                    <a:path w="414019" h="295910">
                      <a:moveTo>
                        <a:pt x="341071" y="283210"/>
                      </a:moveTo>
                      <a:lnTo>
                        <a:pt x="340855" y="287020"/>
                      </a:lnTo>
                      <a:lnTo>
                        <a:pt x="343204" y="287020"/>
                      </a:lnTo>
                      <a:lnTo>
                        <a:pt x="341071" y="283210"/>
                      </a:lnTo>
                      <a:close/>
                    </a:path>
                    <a:path w="414019" h="295910">
                      <a:moveTo>
                        <a:pt x="328396" y="274320"/>
                      </a:moveTo>
                      <a:lnTo>
                        <a:pt x="327672" y="275590"/>
                      </a:lnTo>
                      <a:lnTo>
                        <a:pt x="296849" y="275590"/>
                      </a:lnTo>
                      <a:lnTo>
                        <a:pt x="296164" y="276860"/>
                      </a:lnTo>
                      <a:lnTo>
                        <a:pt x="295503" y="276860"/>
                      </a:lnTo>
                      <a:lnTo>
                        <a:pt x="295960" y="278130"/>
                      </a:lnTo>
                      <a:lnTo>
                        <a:pt x="294398" y="278130"/>
                      </a:lnTo>
                      <a:lnTo>
                        <a:pt x="295643" y="281940"/>
                      </a:lnTo>
                      <a:lnTo>
                        <a:pt x="296951" y="279400"/>
                      </a:lnTo>
                      <a:lnTo>
                        <a:pt x="331216" y="279400"/>
                      </a:lnTo>
                      <a:lnTo>
                        <a:pt x="330149" y="276860"/>
                      </a:lnTo>
                      <a:lnTo>
                        <a:pt x="329717" y="275590"/>
                      </a:lnTo>
                      <a:lnTo>
                        <a:pt x="328396" y="274320"/>
                      </a:lnTo>
                      <a:close/>
                    </a:path>
                    <a:path w="414019" h="295910">
                      <a:moveTo>
                        <a:pt x="360419" y="278130"/>
                      </a:moveTo>
                      <a:lnTo>
                        <a:pt x="356057" y="278130"/>
                      </a:lnTo>
                      <a:lnTo>
                        <a:pt x="355825" y="278261"/>
                      </a:lnTo>
                      <a:lnTo>
                        <a:pt x="356463" y="280670"/>
                      </a:lnTo>
                      <a:lnTo>
                        <a:pt x="358457" y="280670"/>
                      </a:lnTo>
                      <a:lnTo>
                        <a:pt x="359765" y="279400"/>
                      </a:lnTo>
                      <a:lnTo>
                        <a:pt x="360819" y="279400"/>
                      </a:lnTo>
                      <a:lnTo>
                        <a:pt x="360419" y="278130"/>
                      </a:lnTo>
                      <a:close/>
                    </a:path>
                    <a:path w="414019" h="295910">
                      <a:moveTo>
                        <a:pt x="334289" y="278130"/>
                      </a:moveTo>
                      <a:lnTo>
                        <a:pt x="332536" y="278130"/>
                      </a:lnTo>
                      <a:lnTo>
                        <a:pt x="331216" y="279400"/>
                      </a:lnTo>
                      <a:lnTo>
                        <a:pt x="335381" y="279400"/>
                      </a:lnTo>
                      <a:lnTo>
                        <a:pt x="334289" y="278130"/>
                      </a:lnTo>
                      <a:close/>
                    </a:path>
                    <a:path w="414019" h="295910">
                      <a:moveTo>
                        <a:pt x="358597" y="275590"/>
                      </a:moveTo>
                      <a:lnTo>
                        <a:pt x="356349" y="275590"/>
                      </a:lnTo>
                      <a:lnTo>
                        <a:pt x="356095" y="276860"/>
                      </a:lnTo>
                      <a:lnTo>
                        <a:pt x="353809" y="279400"/>
                      </a:lnTo>
                      <a:lnTo>
                        <a:pt x="355825" y="278261"/>
                      </a:lnTo>
                      <a:lnTo>
                        <a:pt x="355790" y="278130"/>
                      </a:lnTo>
                      <a:lnTo>
                        <a:pt x="360419" y="278130"/>
                      </a:lnTo>
                      <a:lnTo>
                        <a:pt x="360019" y="276860"/>
                      </a:lnTo>
                      <a:lnTo>
                        <a:pt x="358597" y="275590"/>
                      </a:lnTo>
                      <a:close/>
                    </a:path>
                    <a:path w="414019" h="295910">
                      <a:moveTo>
                        <a:pt x="356057" y="278130"/>
                      </a:moveTo>
                      <a:lnTo>
                        <a:pt x="355790" y="278130"/>
                      </a:lnTo>
                      <a:lnTo>
                        <a:pt x="355825" y="278261"/>
                      </a:lnTo>
                      <a:lnTo>
                        <a:pt x="356057" y="278130"/>
                      </a:lnTo>
                      <a:close/>
                    </a:path>
                    <a:path w="414019" h="295910">
                      <a:moveTo>
                        <a:pt x="271945" y="269240"/>
                      </a:moveTo>
                      <a:lnTo>
                        <a:pt x="271653" y="273050"/>
                      </a:lnTo>
                      <a:lnTo>
                        <a:pt x="289979" y="275590"/>
                      </a:lnTo>
                      <a:lnTo>
                        <a:pt x="291731" y="276860"/>
                      </a:lnTo>
                      <a:lnTo>
                        <a:pt x="291122" y="275590"/>
                      </a:lnTo>
                      <a:lnTo>
                        <a:pt x="290258" y="275590"/>
                      </a:lnTo>
                      <a:lnTo>
                        <a:pt x="291998" y="274320"/>
                      </a:lnTo>
                      <a:lnTo>
                        <a:pt x="328460" y="274320"/>
                      </a:lnTo>
                      <a:lnTo>
                        <a:pt x="327088" y="273050"/>
                      </a:lnTo>
                      <a:lnTo>
                        <a:pt x="321729" y="273050"/>
                      </a:lnTo>
                      <a:lnTo>
                        <a:pt x="322287" y="271780"/>
                      </a:lnTo>
                      <a:lnTo>
                        <a:pt x="319963" y="271780"/>
                      </a:lnTo>
                      <a:lnTo>
                        <a:pt x="320657" y="270642"/>
                      </a:lnTo>
                      <a:lnTo>
                        <a:pt x="320675" y="270510"/>
                      </a:lnTo>
                      <a:lnTo>
                        <a:pt x="273177" y="270510"/>
                      </a:lnTo>
                      <a:lnTo>
                        <a:pt x="271945" y="269240"/>
                      </a:lnTo>
                      <a:close/>
                    </a:path>
                    <a:path w="414019" h="295910">
                      <a:moveTo>
                        <a:pt x="349152" y="274102"/>
                      </a:moveTo>
                      <a:lnTo>
                        <a:pt x="349084" y="274320"/>
                      </a:lnTo>
                      <a:lnTo>
                        <a:pt x="353034" y="276860"/>
                      </a:lnTo>
                      <a:lnTo>
                        <a:pt x="354340" y="275304"/>
                      </a:lnTo>
                      <a:lnTo>
                        <a:pt x="354203" y="274320"/>
                      </a:lnTo>
                      <a:lnTo>
                        <a:pt x="349338" y="274320"/>
                      </a:lnTo>
                      <a:lnTo>
                        <a:pt x="349152" y="274102"/>
                      </a:lnTo>
                      <a:close/>
                    </a:path>
                    <a:path w="414019" h="295910">
                      <a:moveTo>
                        <a:pt x="356831" y="271780"/>
                      </a:moveTo>
                      <a:lnTo>
                        <a:pt x="349872" y="271780"/>
                      </a:lnTo>
                      <a:lnTo>
                        <a:pt x="349163" y="274066"/>
                      </a:lnTo>
                      <a:lnTo>
                        <a:pt x="349338" y="274320"/>
                      </a:lnTo>
                      <a:lnTo>
                        <a:pt x="355168" y="274320"/>
                      </a:lnTo>
                      <a:lnTo>
                        <a:pt x="354340" y="275304"/>
                      </a:lnTo>
                      <a:lnTo>
                        <a:pt x="354558" y="276860"/>
                      </a:lnTo>
                      <a:lnTo>
                        <a:pt x="356349" y="275590"/>
                      </a:lnTo>
                      <a:lnTo>
                        <a:pt x="358597" y="275590"/>
                      </a:lnTo>
                      <a:lnTo>
                        <a:pt x="357060" y="273050"/>
                      </a:lnTo>
                      <a:lnTo>
                        <a:pt x="356831" y="271780"/>
                      </a:lnTo>
                      <a:close/>
                    </a:path>
                    <a:path w="414019" h="295910">
                      <a:moveTo>
                        <a:pt x="327634" y="274320"/>
                      </a:moveTo>
                      <a:lnTo>
                        <a:pt x="291998" y="274320"/>
                      </a:lnTo>
                      <a:lnTo>
                        <a:pt x="295630" y="275590"/>
                      </a:lnTo>
                      <a:lnTo>
                        <a:pt x="327672" y="275590"/>
                      </a:lnTo>
                      <a:lnTo>
                        <a:pt x="327634" y="274320"/>
                      </a:lnTo>
                      <a:close/>
                    </a:path>
                    <a:path w="414019" h="295910">
                      <a:moveTo>
                        <a:pt x="355168" y="274320"/>
                      </a:moveTo>
                      <a:lnTo>
                        <a:pt x="354203" y="274320"/>
                      </a:lnTo>
                      <a:lnTo>
                        <a:pt x="354340" y="275304"/>
                      </a:lnTo>
                      <a:lnTo>
                        <a:pt x="355168" y="274320"/>
                      </a:lnTo>
                      <a:close/>
                    </a:path>
                    <a:path w="414019" h="295910">
                      <a:moveTo>
                        <a:pt x="349163" y="274066"/>
                      </a:moveTo>
                      <a:lnTo>
                        <a:pt x="349338" y="274320"/>
                      </a:lnTo>
                      <a:lnTo>
                        <a:pt x="349163" y="274066"/>
                      </a:lnTo>
                      <a:close/>
                    </a:path>
                    <a:path w="414019" h="295910">
                      <a:moveTo>
                        <a:pt x="362178" y="270510"/>
                      </a:moveTo>
                      <a:lnTo>
                        <a:pt x="358165" y="270510"/>
                      </a:lnTo>
                      <a:lnTo>
                        <a:pt x="358609" y="271780"/>
                      </a:lnTo>
                      <a:lnTo>
                        <a:pt x="359918" y="273050"/>
                      </a:lnTo>
                      <a:lnTo>
                        <a:pt x="362966" y="274320"/>
                      </a:lnTo>
                      <a:lnTo>
                        <a:pt x="363728" y="273050"/>
                      </a:lnTo>
                      <a:lnTo>
                        <a:pt x="364642" y="273050"/>
                      </a:lnTo>
                      <a:lnTo>
                        <a:pt x="362496" y="271780"/>
                      </a:lnTo>
                      <a:lnTo>
                        <a:pt x="362178" y="270510"/>
                      </a:lnTo>
                      <a:close/>
                    </a:path>
                    <a:path w="414019" h="295910">
                      <a:moveTo>
                        <a:pt x="349872" y="271780"/>
                      </a:moveTo>
                      <a:lnTo>
                        <a:pt x="347154" y="271780"/>
                      </a:lnTo>
                      <a:lnTo>
                        <a:pt x="349152" y="274102"/>
                      </a:lnTo>
                      <a:lnTo>
                        <a:pt x="348462" y="273050"/>
                      </a:lnTo>
                      <a:lnTo>
                        <a:pt x="349872" y="271780"/>
                      </a:lnTo>
                      <a:close/>
                    </a:path>
                    <a:path w="414019" h="295910">
                      <a:moveTo>
                        <a:pt x="323880" y="270642"/>
                      </a:moveTo>
                      <a:lnTo>
                        <a:pt x="323536" y="270888"/>
                      </a:lnTo>
                      <a:lnTo>
                        <a:pt x="322541" y="273050"/>
                      </a:lnTo>
                      <a:lnTo>
                        <a:pt x="325640" y="273050"/>
                      </a:lnTo>
                      <a:lnTo>
                        <a:pt x="325158" y="271780"/>
                      </a:lnTo>
                      <a:lnTo>
                        <a:pt x="325348" y="271780"/>
                      </a:lnTo>
                      <a:lnTo>
                        <a:pt x="323880" y="270642"/>
                      </a:lnTo>
                      <a:close/>
                    </a:path>
                    <a:path w="414019" h="295910">
                      <a:moveTo>
                        <a:pt x="325945" y="271780"/>
                      </a:moveTo>
                      <a:lnTo>
                        <a:pt x="325640" y="273050"/>
                      </a:lnTo>
                      <a:lnTo>
                        <a:pt x="327088" y="273050"/>
                      </a:lnTo>
                      <a:lnTo>
                        <a:pt x="325945" y="271780"/>
                      </a:lnTo>
                      <a:close/>
                    </a:path>
                    <a:path w="414019" h="295910">
                      <a:moveTo>
                        <a:pt x="343801" y="271780"/>
                      </a:moveTo>
                      <a:lnTo>
                        <a:pt x="343865" y="273050"/>
                      </a:lnTo>
                      <a:lnTo>
                        <a:pt x="343801" y="271780"/>
                      </a:lnTo>
                      <a:close/>
                    </a:path>
                    <a:path w="414019" h="295910">
                      <a:moveTo>
                        <a:pt x="346931" y="271175"/>
                      </a:moveTo>
                      <a:lnTo>
                        <a:pt x="346176" y="271780"/>
                      </a:lnTo>
                      <a:lnTo>
                        <a:pt x="346316" y="273050"/>
                      </a:lnTo>
                      <a:lnTo>
                        <a:pt x="347154" y="271780"/>
                      </a:lnTo>
                      <a:lnTo>
                        <a:pt x="346671" y="271780"/>
                      </a:lnTo>
                      <a:lnTo>
                        <a:pt x="346931" y="271175"/>
                      </a:lnTo>
                      <a:close/>
                    </a:path>
                    <a:path w="414019" h="295910">
                      <a:moveTo>
                        <a:pt x="358089" y="271780"/>
                      </a:moveTo>
                      <a:lnTo>
                        <a:pt x="357555" y="271780"/>
                      </a:lnTo>
                      <a:lnTo>
                        <a:pt x="358165" y="273050"/>
                      </a:lnTo>
                      <a:lnTo>
                        <a:pt x="358089" y="271780"/>
                      </a:lnTo>
                      <a:close/>
                    </a:path>
                    <a:path w="414019" h="295910">
                      <a:moveTo>
                        <a:pt x="323710" y="270510"/>
                      </a:moveTo>
                      <a:lnTo>
                        <a:pt x="320738" y="270510"/>
                      </a:lnTo>
                      <a:lnTo>
                        <a:pt x="320781" y="271175"/>
                      </a:lnTo>
                      <a:lnTo>
                        <a:pt x="320878" y="271780"/>
                      </a:lnTo>
                      <a:lnTo>
                        <a:pt x="322287" y="271780"/>
                      </a:lnTo>
                      <a:lnTo>
                        <a:pt x="323536" y="270888"/>
                      </a:lnTo>
                      <a:lnTo>
                        <a:pt x="323710" y="270510"/>
                      </a:lnTo>
                      <a:close/>
                    </a:path>
                    <a:path w="414019" h="295910">
                      <a:moveTo>
                        <a:pt x="357987" y="264160"/>
                      </a:moveTo>
                      <a:lnTo>
                        <a:pt x="335140" y="264160"/>
                      </a:lnTo>
                      <a:lnTo>
                        <a:pt x="338823" y="265430"/>
                      </a:lnTo>
                      <a:lnTo>
                        <a:pt x="337741" y="267887"/>
                      </a:lnTo>
                      <a:lnTo>
                        <a:pt x="338882" y="269915"/>
                      </a:lnTo>
                      <a:lnTo>
                        <a:pt x="340410" y="270510"/>
                      </a:lnTo>
                      <a:lnTo>
                        <a:pt x="342087" y="271780"/>
                      </a:lnTo>
                      <a:lnTo>
                        <a:pt x="343731" y="271780"/>
                      </a:lnTo>
                      <a:lnTo>
                        <a:pt x="343598" y="270510"/>
                      </a:lnTo>
                      <a:lnTo>
                        <a:pt x="342480" y="269240"/>
                      </a:lnTo>
                      <a:lnTo>
                        <a:pt x="341591" y="267970"/>
                      </a:lnTo>
                      <a:lnTo>
                        <a:pt x="362172" y="267970"/>
                      </a:lnTo>
                      <a:lnTo>
                        <a:pt x="360019" y="266700"/>
                      </a:lnTo>
                      <a:lnTo>
                        <a:pt x="357695" y="266700"/>
                      </a:lnTo>
                      <a:lnTo>
                        <a:pt x="360108" y="265430"/>
                      </a:lnTo>
                      <a:lnTo>
                        <a:pt x="358432" y="265430"/>
                      </a:lnTo>
                      <a:lnTo>
                        <a:pt x="357987" y="264160"/>
                      </a:lnTo>
                      <a:close/>
                    </a:path>
                    <a:path w="414019" h="295910">
                      <a:moveTo>
                        <a:pt x="362172" y="267970"/>
                      </a:moveTo>
                      <a:lnTo>
                        <a:pt x="342925" y="267970"/>
                      </a:lnTo>
                      <a:lnTo>
                        <a:pt x="342861" y="269240"/>
                      </a:lnTo>
                      <a:lnTo>
                        <a:pt x="344817" y="269240"/>
                      </a:lnTo>
                      <a:lnTo>
                        <a:pt x="345465" y="270510"/>
                      </a:lnTo>
                      <a:lnTo>
                        <a:pt x="344690" y="271780"/>
                      </a:lnTo>
                      <a:lnTo>
                        <a:pt x="346176" y="271780"/>
                      </a:lnTo>
                      <a:lnTo>
                        <a:pt x="346931" y="271175"/>
                      </a:lnTo>
                      <a:lnTo>
                        <a:pt x="347218" y="270510"/>
                      </a:lnTo>
                      <a:lnTo>
                        <a:pt x="362178" y="270510"/>
                      </a:lnTo>
                      <a:lnTo>
                        <a:pt x="364324" y="269240"/>
                      </a:lnTo>
                      <a:lnTo>
                        <a:pt x="362172" y="267970"/>
                      </a:lnTo>
                      <a:close/>
                    </a:path>
                    <a:path w="414019" h="295910">
                      <a:moveTo>
                        <a:pt x="358165" y="270510"/>
                      </a:moveTo>
                      <a:lnTo>
                        <a:pt x="347764" y="270510"/>
                      </a:lnTo>
                      <a:lnTo>
                        <a:pt x="346931" y="271175"/>
                      </a:lnTo>
                      <a:lnTo>
                        <a:pt x="346671" y="271780"/>
                      </a:lnTo>
                      <a:lnTo>
                        <a:pt x="358241" y="271780"/>
                      </a:lnTo>
                      <a:lnTo>
                        <a:pt x="358165" y="270510"/>
                      </a:lnTo>
                      <a:close/>
                    </a:path>
                    <a:path w="414019" h="295910">
                      <a:moveTo>
                        <a:pt x="323710" y="270510"/>
                      </a:moveTo>
                      <a:lnTo>
                        <a:pt x="323536" y="270888"/>
                      </a:lnTo>
                      <a:lnTo>
                        <a:pt x="323880" y="270642"/>
                      </a:lnTo>
                      <a:lnTo>
                        <a:pt x="323710" y="270510"/>
                      </a:lnTo>
                      <a:close/>
                    </a:path>
                    <a:path w="414019" h="295910">
                      <a:moveTo>
                        <a:pt x="322541" y="269240"/>
                      </a:moveTo>
                      <a:lnTo>
                        <a:pt x="322097" y="270510"/>
                      </a:lnTo>
                      <a:lnTo>
                        <a:pt x="323710" y="270510"/>
                      </a:lnTo>
                      <a:lnTo>
                        <a:pt x="323880" y="270642"/>
                      </a:lnTo>
                      <a:lnTo>
                        <a:pt x="324065" y="270510"/>
                      </a:lnTo>
                      <a:lnTo>
                        <a:pt x="322541" y="269240"/>
                      </a:lnTo>
                      <a:close/>
                    </a:path>
                    <a:path w="414019" h="295910">
                      <a:moveTo>
                        <a:pt x="319087" y="267970"/>
                      </a:moveTo>
                      <a:lnTo>
                        <a:pt x="317690" y="267970"/>
                      </a:lnTo>
                      <a:lnTo>
                        <a:pt x="317334" y="270510"/>
                      </a:lnTo>
                      <a:lnTo>
                        <a:pt x="320675" y="270510"/>
                      </a:lnTo>
                      <a:lnTo>
                        <a:pt x="321513" y="269240"/>
                      </a:lnTo>
                      <a:lnTo>
                        <a:pt x="322262" y="269240"/>
                      </a:lnTo>
                      <a:lnTo>
                        <a:pt x="319087" y="267970"/>
                      </a:lnTo>
                      <a:close/>
                    </a:path>
                    <a:path w="414019" h="295910">
                      <a:moveTo>
                        <a:pt x="313715" y="266700"/>
                      </a:moveTo>
                      <a:lnTo>
                        <a:pt x="275158" y="266700"/>
                      </a:lnTo>
                      <a:lnTo>
                        <a:pt x="275158" y="267970"/>
                      </a:lnTo>
                      <a:lnTo>
                        <a:pt x="274802" y="269240"/>
                      </a:lnTo>
                      <a:lnTo>
                        <a:pt x="273177" y="270510"/>
                      </a:lnTo>
                      <a:lnTo>
                        <a:pt x="317334" y="270510"/>
                      </a:lnTo>
                      <a:lnTo>
                        <a:pt x="317030" y="267970"/>
                      </a:lnTo>
                      <a:lnTo>
                        <a:pt x="315442" y="267970"/>
                      </a:lnTo>
                      <a:lnTo>
                        <a:pt x="313715" y="266700"/>
                      </a:lnTo>
                      <a:close/>
                    </a:path>
                    <a:path w="414019" h="295910">
                      <a:moveTo>
                        <a:pt x="337073" y="266700"/>
                      </a:moveTo>
                      <a:lnTo>
                        <a:pt x="334708" y="266700"/>
                      </a:lnTo>
                      <a:lnTo>
                        <a:pt x="334581" y="267970"/>
                      </a:lnTo>
                      <a:lnTo>
                        <a:pt x="334429" y="267970"/>
                      </a:lnTo>
                      <a:lnTo>
                        <a:pt x="335876" y="270510"/>
                      </a:lnTo>
                      <a:lnTo>
                        <a:pt x="337185" y="270510"/>
                      </a:lnTo>
                      <a:lnTo>
                        <a:pt x="336514" y="269462"/>
                      </a:lnTo>
                      <a:lnTo>
                        <a:pt x="335940" y="269240"/>
                      </a:lnTo>
                      <a:lnTo>
                        <a:pt x="337146" y="269240"/>
                      </a:lnTo>
                      <a:lnTo>
                        <a:pt x="337741" y="267887"/>
                      </a:lnTo>
                      <a:lnTo>
                        <a:pt x="337073" y="266700"/>
                      </a:lnTo>
                      <a:close/>
                    </a:path>
                    <a:path w="414019" h="295910">
                      <a:moveTo>
                        <a:pt x="337146" y="269240"/>
                      </a:moveTo>
                      <a:lnTo>
                        <a:pt x="336372" y="269240"/>
                      </a:lnTo>
                      <a:lnTo>
                        <a:pt x="336514" y="269462"/>
                      </a:lnTo>
                      <a:lnTo>
                        <a:pt x="339217" y="270510"/>
                      </a:lnTo>
                      <a:lnTo>
                        <a:pt x="338882" y="269915"/>
                      </a:lnTo>
                      <a:lnTo>
                        <a:pt x="337146" y="269240"/>
                      </a:lnTo>
                      <a:close/>
                    </a:path>
                    <a:path w="414019" h="295910">
                      <a:moveTo>
                        <a:pt x="344589" y="269240"/>
                      </a:moveTo>
                      <a:lnTo>
                        <a:pt x="343293" y="269240"/>
                      </a:lnTo>
                      <a:lnTo>
                        <a:pt x="344258" y="270510"/>
                      </a:lnTo>
                      <a:lnTo>
                        <a:pt x="344589" y="269240"/>
                      </a:lnTo>
                      <a:close/>
                    </a:path>
                    <a:path w="414019" h="295910">
                      <a:moveTo>
                        <a:pt x="337741" y="267887"/>
                      </a:moveTo>
                      <a:lnTo>
                        <a:pt x="337146" y="269240"/>
                      </a:lnTo>
                      <a:lnTo>
                        <a:pt x="338882" y="269915"/>
                      </a:lnTo>
                      <a:lnTo>
                        <a:pt x="337741" y="267887"/>
                      </a:lnTo>
                      <a:close/>
                    </a:path>
                    <a:path w="414019" h="295910">
                      <a:moveTo>
                        <a:pt x="336372" y="269240"/>
                      </a:moveTo>
                      <a:lnTo>
                        <a:pt x="335940" y="269240"/>
                      </a:lnTo>
                      <a:lnTo>
                        <a:pt x="336514" y="269462"/>
                      </a:lnTo>
                      <a:lnTo>
                        <a:pt x="336372" y="269240"/>
                      </a:lnTo>
                      <a:close/>
                    </a:path>
                    <a:path w="414019" h="295910">
                      <a:moveTo>
                        <a:pt x="261772" y="260350"/>
                      </a:moveTo>
                      <a:lnTo>
                        <a:pt x="257987" y="260350"/>
                      </a:lnTo>
                      <a:lnTo>
                        <a:pt x="257492" y="261620"/>
                      </a:lnTo>
                      <a:lnTo>
                        <a:pt x="261162" y="262890"/>
                      </a:lnTo>
                      <a:lnTo>
                        <a:pt x="263182" y="265430"/>
                      </a:lnTo>
                      <a:lnTo>
                        <a:pt x="264261" y="266700"/>
                      </a:lnTo>
                      <a:lnTo>
                        <a:pt x="263398" y="267970"/>
                      </a:lnTo>
                      <a:lnTo>
                        <a:pt x="273926" y="267970"/>
                      </a:lnTo>
                      <a:lnTo>
                        <a:pt x="274345" y="266700"/>
                      </a:lnTo>
                      <a:lnTo>
                        <a:pt x="313715" y="266700"/>
                      </a:lnTo>
                      <a:lnTo>
                        <a:pt x="313359" y="265430"/>
                      </a:lnTo>
                      <a:lnTo>
                        <a:pt x="311772" y="262890"/>
                      </a:lnTo>
                      <a:lnTo>
                        <a:pt x="309727" y="261620"/>
                      </a:lnTo>
                      <a:lnTo>
                        <a:pt x="263309" y="261620"/>
                      </a:lnTo>
                      <a:lnTo>
                        <a:pt x="261772" y="260350"/>
                      </a:lnTo>
                      <a:close/>
                    </a:path>
                    <a:path w="414019" h="295910">
                      <a:moveTo>
                        <a:pt x="317030" y="266700"/>
                      </a:moveTo>
                      <a:lnTo>
                        <a:pt x="315442" y="267970"/>
                      </a:lnTo>
                      <a:lnTo>
                        <a:pt x="317030" y="267970"/>
                      </a:lnTo>
                      <a:lnTo>
                        <a:pt x="317030" y="266700"/>
                      </a:lnTo>
                      <a:close/>
                    </a:path>
                    <a:path w="414019" h="295910">
                      <a:moveTo>
                        <a:pt x="335140" y="264160"/>
                      </a:moveTo>
                      <a:lnTo>
                        <a:pt x="332143" y="264160"/>
                      </a:lnTo>
                      <a:lnTo>
                        <a:pt x="331406" y="265430"/>
                      </a:lnTo>
                      <a:lnTo>
                        <a:pt x="331978" y="265430"/>
                      </a:lnTo>
                      <a:lnTo>
                        <a:pt x="332841" y="267970"/>
                      </a:lnTo>
                      <a:lnTo>
                        <a:pt x="333883" y="267970"/>
                      </a:lnTo>
                      <a:lnTo>
                        <a:pt x="334708" y="266700"/>
                      </a:lnTo>
                      <a:lnTo>
                        <a:pt x="337073" y="266700"/>
                      </a:lnTo>
                      <a:lnTo>
                        <a:pt x="336359" y="265430"/>
                      </a:lnTo>
                      <a:lnTo>
                        <a:pt x="335140" y="264160"/>
                      </a:lnTo>
                      <a:close/>
                    </a:path>
                    <a:path w="414019" h="295910">
                      <a:moveTo>
                        <a:pt x="358199" y="255270"/>
                      </a:moveTo>
                      <a:lnTo>
                        <a:pt x="321259" y="255270"/>
                      </a:lnTo>
                      <a:lnTo>
                        <a:pt x="321614" y="256540"/>
                      </a:lnTo>
                      <a:lnTo>
                        <a:pt x="321957" y="256540"/>
                      </a:lnTo>
                      <a:lnTo>
                        <a:pt x="322783" y="257810"/>
                      </a:lnTo>
                      <a:lnTo>
                        <a:pt x="323075" y="259080"/>
                      </a:lnTo>
                      <a:lnTo>
                        <a:pt x="324205" y="260350"/>
                      </a:lnTo>
                      <a:lnTo>
                        <a:pt x="324739" y="261620"/>
                      </a:lnTo>
                      <a:lnTo>
                        <a:pt x="325818" y="261620"/>
                      </a:lnTo>
                      <a:lnTo>
                        <a:pt x="326364" y="262890"/>
                      </a:lnTo>
                      <a:lnTo>
                        <a:pt x="328790" y="264160"/>
                      </a:lnTo>
                      <a:lnTo>
                        <a:pt x="359867" y="264160"/>
                      </a:lnTo>
                      <a:lnTo>
                        <a:pt x="360400" y="265430"/>
                      </a:lnTo>
                      <a:lnTo>
                        <a:pt x="362013" y="266700"/>
                      </a:lnTo>
                      <a:lnTo>
                        <a:pt x="360514" y="264160"/>
                      </a:lnTo>
                      <a:lnTo>
                        <a:pt x="358190" y="261620"/>
                      </a:lnTo>
                      <a:lnTo>
                        <a:pt x="358127" y="260350"/>
                      </a:lnTo>
                      <a:lnTo>
                        <a:pt x="359435" y="260350"/>
                      </a:lnTo>
                      <a:lnTo>
                        <a:pt x="359117" y="259080"/>
                      </a:lnTo>
                      <a:lnTo>
                        <a:pt x="358952" y="259080"/>
                      </a:lnTo>
                      <a:lnTo>
                        <a:pt x="358914" y="257810"/>
                      </a:lnTo>
                      <a:lnTo>
                        <a:pt x="360400" y="257810"/>
                      </a:lnTo>
                      <a:lnTo>
                        <a:pt x="358199" y="255270"/>
                      </a:lnTo>
                      <a:close/>
                    </a:path>
                    <a:path w="414019" h="295910">
                      <a:moveTo>
                        <a:pt x="359867" y="264160"/>
                      </a:moveTo>
                      <a:lnTo>
                        <a:pt x="357987" y="264160"/>
                      </a:lnTo>
                      <a:lnTo>
                        <a:pt x="358851" y="265430"/>
                      </a:lnTo>
                      <a:lnTo>
                        <a:pt x="360045" y="265430"/>
                      </a:lnTo>
                      <a:lnTo>
                        <a:pt x="359867" y="264160"/>
                      </a:lnTo>
                      <a:close/>
                    </a:path>
                    <a:path w="414019" h="295910">
                      <a:moveTo>
                        <a:pt x="360201" y="252730"/>
                      </a:moveTo>
                      <a:lnTo>
                        <a:pt x="358089" y="252730"/>
                      </a:lnTo>
                      <a:lnTo>
                        <a:pt x="358089" y="254000"/>
                      </a:lnTo>
                      <a:lnTo>
                        <a:pt x="359918" y="256540"/>
                      </a:lnTo>
                      <a:lnTo>
                        <a:pt x="360603" y="256540"/>
                      </a:lnTo>
                      <a:lnTo>
                        <a:pt x="361302" y="257810"/>
                      </a:lnTo>
                      <a:lnTo>
                        <a:pt x="361746" y="259080"/>
                      </a:lnTo>
                      <a:lnTo>
                        <a:pt x="362813" y="260350"/>
                      </a:lnTo>
                      <a:lnTo>
                        <a:pt x="363270" y="264160"/>
                      </a:lnTo>
                      <a:lnTo>
                        <a:pt x="365226" y="265430"/>
                      </a:lnTo>
                      <a:lnTo>
                        <a:pt x="366598" y="265430"/>
                      </a:lnTo>
                      <a:lnTo>
                        <a:pt x="367284" y="264160"/>
                      </a:lnTo>
                      <a:lnTo>
                        <a:pt x="367842" y="264160"/>
                      </a:lnTo>
                      <a:lnTo>
                        <a:pt x="366979" y="260350"/>
                      </a:lnTo>
                      <a:lnTo>
                        <a:pt x="366445" y="256540"/>
                      </a:lnTo>
                      <a:lnTo>
                        <a:pt x="367347" y="255270"/>
                      </a:lnTo>
                      <a:lnTo>
                        <a:pt x="364769" y="254000"/>
                      </a:lnTo>
                      <a:lnTo>
                        <a:pt x="359117" y="254000"/>
                      </a:lnTo>
                      <a:lnTo>
                        <a:pt x="360201" y="252730"/>
                      </a:lnTo>
                      <a:close/>
                    </a:path>
                    <a:path w="414019" h="295910">
                      <a:moveTo>
                        <a:pt x="320014" y="257810"/>
                      </a:moveTo>
                      <a:lnTo>
                        <a:pt x="317030" y="257810"/>
                      </a:lnTo>
                      <a:lnTo>
                        <a:pt x="317119" y="259080"/>
                      </a:lnTo>
                      <a:lnTo>
                        <a:pt x="317754" y="260350"/>
                      </a:lnTo>
                      <a:lnTo>
                        <a:pt x="318935" y="261620"/>
                      </a:lnTo>
                      <a:lnTo>
                        <a:pt x="321017" y="262890"/>
                      </a:lnTo>
                      <a:lnTo>
                        <a:pt x="321767" y="262890"/>
                      </a:lnTo>
                      <a:lnTo>
                        <a:pt x="320471" y="259080"/>
                      </a:lnTo>
                      <a:lnTo>
                        <a:pt x="320014" y="257810"/>
                      </a:lnTo>
                      <a:close/>
                    </a:path>
                    <a:path w="414019" h="295910">
                      <a:moveTo>
                        <a:pt x="305181" y="256540"/>
                      </a:moveTo>
                      <a:lnTo>
                        <a:pt x="270497" y="256540"/>
                      </a:lnTo>
                      <a:lnTo>
                        <a:pt x="269900" y="259080"/>
                      </a:lnTo>
                      <a:lnTo>
                        <a:pt x="267868" y="259080"/>
                      </a:lnTo>
                      <a:lnTo>
                        <a:pt x="265595" y="260350"/>
                      </a:lnTo>
                      <a:lnTo>
                        <a:pt x="266268" y="260350"/>
                      </a:lnTo>
                      <a:lnTo>
                        <a:pt x="264477" y="261620"/>
                      </a:lnTo>
                      <a:lnTo>
                        <a:pt x="309727" y="261620"/>
                      </a:lnTo>
                      <a:lnTo>
                        <a:pt x="307111" y="259080"/>
                      </a:lnTo>
                      <a:lnTo>
                        <a:pt x="305181" y="256540"/>
                      </a:lnTo>
                      <a:close/>
                    </a:path>
                    <a:path w="414019" h="295910">
                      <a:moveTo>
                        <a:pt x="362369" y="250190"/>
                      </a:moveTo>
                      <a:lnTo>
                        <a:pt x="312013" y="250190"/>
                      </a:lnTo>
                      <a:lnTo>
                        <a:pt x="313753" y="252730"/>
                      </a:lnTo>
                      <a:lnTo>
                        <a:pt x="313753" y="255270"/>
                      </a:lnTo>
                      <a:lnTo>
                        <a:pt x="313512" y="255270"/>
                      </a:lnTo>
                      <a:lnTo>
                        <a:pt x="313194" y="256540"/>
                      </a:lnTo>
                      <a:lnTo>
                        <a:pt x="314286" y="256540"/>
                      </a:lnTo>
                      <a:lnTo>
                        <a:pt x="315036" y="257810"/>
                      </a:lnTo>
                      <a:lnTo>
                        <a:pt x="315988" y="259080"/>
                      </a:lnTo>
                      <a:lnTo>
                        <a:pt x="317030" y="259080"/>
                      </a:lnTo>
                      <a:lnTo>
                        <a:pt x="317030" y="257810"/>
                      </a:lnTo>
                      <a:lnTo>
                        <a:pt x="320014" y="257810"/>
                      </a:lnTo>
                      <a:lnTo>
                        <a:pt x="319557" y="256540"/>
                      </a:lnTo>
                      <a:lnTo>
                        <a:pt x="318338" y="254000"/>
                      </a:lnTo>
                      <a:lnTo>
                        <a:pt x="357098" y="254000"/>
                      </a:lnTo>
                      <a:lnTo>
                        <a:pt x="355765" y="252730"/>
                      </a:lnTo>
                      <a:lnTo>
                        <a:pt x="360201" y="252730"/>
                      </a:lnTo>
                      <a:lnTo>
                        <a:pt x="362369" y="250190"/>
                      </a:lnTo>
                      <a:close/>
                    </a:path>
                    <a:path w="414019" h="295910">
                      <a:moveTo>
                        <a:pt x="306108" y="252730"/>
                      </a:moveTo>
                      <a:lnTo>
                        <a:pt x="262001" y="252730"/>
                      </a:lnTo>
                      <a:lnTo>
                        <a:pt x="264058" y="254000"/>
                      </a:lnTo>
                      <a:lnTo>
                        <a:pt x="266776" y="255270"/>
                      </a:lnTo>
                      <a:lnTo>
                        <a:pt x="265950" y="256540"/>
                      </a:lnTo>
                      <a:lnTo>
                        <a:pt x="265785" y="257810"/>
                      </a:lnTo>
                      <a:lnTo>
                        <a:pt x="266674" y="257810"/>
                      </a:lnTo>
                      <a:lnTo>
                        <a:pt x="267525" y="256540"/>
                      </a:lnTo>
                      <a:lnTo>
                        <a:pt x="305181" y="256540"/>
                      </a:lnTo>
                      <a:lnTo>
                        <a:pt x="303847" y="255270"/>
                      </a:lnTo>
                      <a:lnTo>
                        <a:pt x="303530" y="254000"/>
                      </a:lnTo>
                      <a:lnTo>
                        <a:pt x="306031" y="254000"/>
                      </a:lnTo>
                      <a:lnTo>
                        <a:pt x="306108" y="252730"/>
                      </a:lnTo>
                      <a:close/>
                    </a:path>
                    <a:path w="414019" h="295910">
                      <a:moveTo>
                        <a:pt x="314286" y="256540"/>
                      </a:moveTo>
                      <a:lnTo>
                        <a:pt x="313969" y="256540"/>
                      </a:lnTo>
                      <a:lnTo>
                        <a:pt x="313613" y="257810"/>
                      </a:lnTo>
                      <a:lnTo>
                        <a:pt x="314286" y="256540"/>
                      </a:lnTo>
                      <a:close/>
                    </a:path>
                    <a:path w="414019" h="295910">
                      <a:moveTo>
                        <a:pt x="357098" y="254000"/>
                      </a:moveTo>
                      <a:lnTo>
                        <a:pt x="319773" y="254000"/>
                      </a:lnTo>
                      <a:lnTo>
                        <a:pt x="319290" y="255270"/>
                      </a:lnTo>
                      <a:lnTo>
                        <a:pt x="320535" y="256540"/>
                      </a:lnTo>
                      <a:lnTo>
                        <a:pt x="321259" y="255270"/>
                      </a:lnTo>
                      <a:lnTo>
                        <a:pt x="358199" y="255270"/>
                      </a:lnTo>
                      <a:lnTo>
                        <a:pt x="357098" y="254000"/>
                      </a:lnTo>
                      <a:close/>
                    </a:path>
                    <a:path w="414019" h="295910">
                      <a:moveTo>
                        <a:pt x="250469" y="248920"/>
                      </a:moveTo>
                      <a:lnTo>
                        <a:pt x="250469" y="251460"/>
                      </a:lnTo>
                      <a:lnTo>
                        <a:pt x="252171" y="255270"/>
                      </a:lnTo>
                      <a:lnTo>
                        <a:pt x="254711" y="250190"/>
                      </a:lnTo>
                      <a:lnTo>
                        <a:pt x="251091" y="250190"/>
                      </a:lnTo>
                      <a:lnTo>
                        <a:pt x="250469" y="248920"/>
                      </a:lnTo>
                      <a:close/>
                    </a:path>
                    <a:path w="414019" h="295910">
                      <a:moveTo>
                        <a:pt x="363740" y="248920"/>
                      </a:moveTo>
                      <a:lnTo>
                        <a:pt x="256184" y="248920"/>
                      </a:lnTo>
                      <a:lnTo>
                        <a:pt x="256298" y="250190"/>
                      </a:lnTo>
                      <a:lnTo>
                        <a:pt x="256438" y="252730"/>
                      </a:lnTo>
                      <a:lnTo>
                        <a:pt x="255816" y="254000"/>
                      </a:lnTo>
                      <a:lnTo>
                        <a:pt x="254596" y="254000"/>
                      </a:lnTo>
                      <a:lnTo>
                        <a:pt x="255181" y="255270"/>
                      </a:lnTo>
                      <a:lnTo>
                        <a:pt x="255612" y="255270"/>
                      </a:lnTo>
                      <a:lnTo>
                        <a:pt x="256476" y="254000"/>
                      </a:lnTo>
                      <a:lnTo>
                        <a:pt x="257581" y="252730"/>
                      </a:lnTo>
                      <a:lnTo>
                        <a:pt x="306108" y="252730"/>
                      </a:lnTo>
                      <a:lnTo>
                        <a:pt x="306184" y="251460"/>
                      </a:lnTo>
                      <a:lnTo>
                        <a:pt x="307822" y="250190"/>
                      </a:lnTo>
                      <a:lnTo>
                        <a:pt x="362369" y="250190"/>
                      </a:lnTo>
                      <a:lnTo>
                        <a:pt x="363740" y="248920"/>
                      </a:lnTo>
                      <a:close/>
                    </a:path>
                    <a:path w="414019" h="295910">
                      <a:moveTo>
                        <a:pt x="260515" y="252730"/>
                      </a:moveTo>
                      <a:lnTo>
                        <a:pt x="257581" y="252730"/>
                      </a:lnTo>
                      <a:lnTo>
                        <a:pt x="259054" y="254000"/>
                      </a:lnTo>
                      <a:lnTo>
                        <a:pt x="262572" y="255270"/>
                      </a:lnTo>
                      <a:lnTo>
                        <a:pt x="260515" y="252730"/>
                      </a:lnTo>
                      <a:close/>
                    </a:path>
                    <a:path w="414019" h="295910">
                      <a:moveTo>
                        <a:pt x="255079" y="252730"/>
                      </a:moveTo>
                      <a:lnTo>
                        <a:pt x="254622" y="254000"/>
                      </a:lnTo>
                      <a:lnTo>
                        <a:pt x="255816" y="254000"/>
                      </a:lnTo>
                      <a:lnTo>
                        <a:pt x="255079" y="252730"/>
                      </a:lnTo>
                      <a:close/>
                    </a:path>
                    <a:path w="414019" h="295910">
                      <a:moveTo>
                        <a:pt x="362191" y="252730"/>
                      </a:moveTo>
                      <a:lnTo>
                        <a:pt x="359117" y="254000"/>
                      </a:lnTo>
                      <a:lnTo>
                        <a:pt x="364769" y="254000"/>
                      </a:lnTo>
                      <a:lnTo>
                        <a:pt x="362191" y="252730"/>
                      </a:lnTo>
                      <a:close/>
                    </a:path>
                    <a:path w="414019" h="295910">
                      <a:moveTo>
                        <a:pt x="250075" y="246380"/>
                      </a:moveTo>
                      <a:lnTo>
                        <a:pt x="246608" y="246380"/>
                      </a:lnTo>
                      <a:lnTo>
                        <a:pt x="249123" y="250190"/>
                      </a:lnTo>
                      <a:lnTo>
                        <a:pt x="249440" y="247650"/>
                      </a:lnTo>
                      <a:lnTo>
                        <a:pt x="250075" y="246380"/>
                      </a:lnTo>
                      <a:close/>
                    </a:path>
                    <a:path w="414019" h="295910">
                      <a:moveTo>
                        <a:pt x="359295" y="247650"/>
                      </a:moveTo>
                      <a:lnTo>
                        <a:pt x="250723" y="247650"/>
                      </a:lnTo>
                      <a:lnTo>
                        <a:pt x="251091" y="250190"/>
                      </a:lnTo>
                      <a:lnTo>
                        <a:pt x="255943" y="250190"/>
                      </a:lnTo>
                      <a:lnTo>
                        <a:pt x="256184" y="248920"/>
                      </a:lnTo>
                      <a:lnTo>
                        <a:pt x="360718" y="248920"/>
                      </a:lnTo>
                      <a:lnTo>
                        <a:pt x="359295" y="247650"/>
                      </a:lnTo>
                      <a:close/>
                    </a:path>
                    <a:path w="414019" h="295910">
                      <a:moveTo>
                        <a:pt x="364134" y="247650"/>
                      </a:moveTo>
                      <a:lnTo>
                        <a:pt x="361530" y="247650"/>
                      </a:lnTo>
                      <a:lnTo>
                        <a:pt x="361543" y="248920"/>
                      </a:lnTo>
                      <a:lnTo>
                        <a:pt x="365201" y="248920"/>
                      </a:lnTo>
                      <a:lnTo>
                        <a:pt x="364134" y="247650"/>
                      </a:lnTo>
                      <a:close/>
                    </a:path>
                    <a:path w="414019" h="295910">
                      <a:moveTo>
                        <a:pt x="359079" y="246380"/>
                      </a:moveTo>
                      <a:lnTo>
                        <a:pt x="250075" y="246380"/>
                      </a:lnTo>
                      <a:lnTo>
                        <a:pt x="250431" y="247650"/>
                      </a:lnTo>
                      <a:lnTo>
                        <a:pt x="358419" y="247650"/>
                      </a:lnTo>
                      <a:lnTo>
                        <a:pt x="359079" y="246380"/>
                      </a:lnTo>
                      <a:close/>
                    </a:path>
                    <a:path w="414019" h="295910">
                      <a:moveTo>
                        <a:pt x="352463" y="240030"/>
                      </a:moveTo>
                      <a:lnTo>
                        <a:pt x="243890" y="240030"/>
                      </a:lnTo>
                      <a:lnTo>
                        <a:pt x="246227" y="243840"/>
                      </a:lnTo>
                      <a:lnTo>
                        <a:pt x="247243" y="246380"/>
                      </a:lnTo>
                      <a:lnTo>
                        <a:pt x="356603" y="246380"/>
                      </a:lnTo>
                      <a:lnTo>
                        <a:pt x="357886" y="245110"/>
                      </a:lnTo>
                      <a:lnTo>
                        <a:pt x="354571" y="245110"/>
                      </a:lnTo>
                      <a:lnTo>
                        <a:pt x="354990" y="243840"/>
                      </a:lnTo>
                      <a:lnTo>
                        <a:pt x="356285" y="243840"/>
                      </a:lnTo>
                      <a:lnTo>
                        <a:pt x="354812" y="242570"/>
                      </a:lnTo>
                      <a:lnTo>
                        <a:pt x="353644" y="242570"/>
                      </a:lnTo>
                      <a:lnTo>
                        <a:pt x="353987" y="241300"/>
                      </a:lnTo>
                      <a:lnTo>
                        <a:pt x="350608" y="241300"/>
                      </a:lnTo>
                      <a:lnTo>
                        <a:pt x="352463" y="240030"/>
                      </a:lnTo>
                      <a:close/>
                    </a:path>
                    <a:path w="414019" h="295910">
                      <a:moveTo>
                        <a:pt x="355815" y="243840"/>
                      </a:moveTo>
                      <a:lnTo>
                        <a:pt x="355168" y="245110"/>
                      </a:lnTo>
                      <a:lnTo>
                        <a:pt x="357886" y="245110"/>
                      </a:lnTo>
                      <a:lnTo>
                        <a:pt x="355815" y="243840"/>
                      </a:lnTo>
                      <a:close/>
                    </a:path>
                    <a:path w="414019" h="295910">
                      <a:moveTo>
                        <a:pt x="192316" y="242570"/>
                      </a:moveTo>
                      <a:lnTo>
                        <a:pt x="191516" y="242570"/>
                      </a:lnTo>
                      <a:lnTo>
                        <a:pt x="193090" y="243840"/>
                      </a:lnTo>
                      <a:lnTo>
                        <a:pt x="192316" y="242570"/>
                      </a:lnTo>
                      <a:close/>
                    </a:path>
                    <a:path w="414019" h="295910">
                      <a:moveTo>
                        <a:pt x="202666" y="238760"/>
                      </a:moveTo>
                      <a:lnTo>
                        <a:pt x="174218" y="238760"/>
                      </a:lnTo>
                      <a:lnTo>
                        <a:pt x="175666" y="240030"/>
                      </a:lnTo>
                      <a:lnTo>
                        <a:pt x="177863" y="241300"/>
                      </a:lnTo>
                      <a:lnTo>
                        <a:pt x="180809" y="242570"/>
                      </a:lnTo>
                      <a:lnTo>
                        <a:pt x="185191" y="242570"/>
                      </a:lnTo>
                      <a:lnTo>
                        <a:pt x="186613" y="241300"/>
                      </a:lnTo>
                      <a:lnTo>
                        <a:pt x="192347" y="241300"/>
                      </a:lnTo>
                      <a:lnTo>
                        <a:pt x="192989" y="240030"/>
                      </a:lnTo>
                      <a:lnTo>
                        <a:pt x="199885" y="240030"/>
                      </a:lnTo>
                      <a:lnTo>
                        <a:pt x="202666" y="238760"/>
                      </a:lnTo>
                      <a:close/>
                    </a:path>
                    <a:path w="414019" h="295910">
                      <a:moveTo>
                        <a:pt x="192347" y="241300"/>
                      </a:moveTo>
                      <a:lnTo>
                        <a:pt x="186613" y="241300"/>
                      </a:lnTo>
                      <a:lnTo>
                        <a:pt x="190017" y="242570"/>
                      </a:lnTo>
                      <a:lnTo>
                        <a:pt x="191706" y="242570"/>
                      </a:lnTo>
                      <a:lnTo>
                        <a:pt x="192347" y="241300"/>
                      </a:lnTo>
                      <a:close/>
                    </a:path>
                    <a:path w="414019" h="295910">
                      <a:moveTo>
                        <a:pt x="243890" y="240030"/>
                      </a:moveTo>
                      <a:lnTo>
                        <a:pt x="239864" y="240030"/>
                      </a:lnTo>
                      <a:lnTo>
                        <a:pt x="239966" y="241300"/>
                      </a:lnTo>
                      <a:lnTo>
                        <a:pt x="239788" y="241300"/>
                      </a:lnTo>
                      <a:lnTo>
                        <a:pt x="240703" y="242570"/>
                      </a:lnTo>
                      <a:lnTo>
                        <a:pt x="240372" y="241300"/>
                      </a:lnTo>
                      <a:lnTo>
                        <a:pt x="243890" y="240030"/>
                      </a:lnTo>
                      <a:close/>
                    </a:path>
                    <a:path w="414019" h="295910">
                      <a:moveTo>
                        <a:pt x="357619" y="240030"/>
                      </a:moveTo>
                      <a:lnTo>
                        <a:pt x="352463" y="240030"/>
                      </a:lnTo>
                      <a:lnTo>
                        <a:pt x="355879" y="242570"/>
                      </a:lnTo>
                      <a:lnTo>
                        <a:pt x="357619" y="240030"/>
                      </a:lnTo>
                      <a:close/>
                    </a:path>
                    <a:path w="414019" h="295910">
                      <a:moveTo>
                        <a:pt x="197815" y="240030"/>
                      </a:moveTo>
                      <a:lnTo>
                        <a:pt x="192989" y="240030"/>
                      </a:lnTo>
                      <a:lnTo>
                        <a:pt x="196265" y="241300"/>
                      </a:lnTo>
                      <a:lnTo>
                        <a:pt x="200812" y="241300"/>
                      </a:lnTo>
                      <a:lnTo>
                        <a:pt x="197815" y="240030"/>
                      </a:lnTo>
                      <a:close/>
                    </a:path>
                    <a:path w="414019" h="295910">
                      <a:moveTo>
                        <a:pt x="206070" y="238760"/>
                      </a:moveTo>
                      <a:lnTo>
                        <a:pt x="202666" y="238760"/>
                      </a:lnTo>
                      <a:lnTo>
                        <a:pt x="204457" y="240030"/>
                      </a:lnTo>
                      <a:lnTo>
                        <a:pt x="206527" y="240030"/>
                      </a:lnTo>
                      <a:lnTo>
                        <a:pt x="206070" y="238760"/>
                      </a:lnTo>
                      <a:close/>
                    </a:path>
                    <a:path w="414019" h="295910">
                      <a:moveTo>
                        <a:pt x="222224" y="233680"/>
                      </a:moveTo>
                      <a:lnTo>
                        <a:pt x="205701" y="233680"/>
                      </a:lnTo>
                      <a:lnTo>
                        <a:pt x="209778" y="234950"/>
                      </a:lnTo>
                      <a:lnTo>
                        <a:pt x="212813" y="236220"/>
                      </a:lnTo>
                      <a:lnTo>
                        <a:pt x="218541" y="238760"/>
                      </a:lnTo>
                      <a:lnTo>
                        <a:pt x="222402" y="240030"/>
                      </a:lnTo>
                      <a:lnTo>
                        <a:pt x="223939" y="237490"/>
                      </a:lnTo>
                      <a:lnTo>
                        <a:pt x="221234" y="236220"/>
                      </a:lnTo>
                      <a:lnTo>
                        <a:pt x="225196" y="236220"/>
                      </a:lnTo>
                      <a:lnTo>
                        <a:pt x="223901" y="234950"/>
                      </a:lnTo>
                      <a:lnTo>
                        <a:pt x="222224" y="233680"/>
                      </a:lnTo>
                      <a:close/>
                    </a:path>
                    <a:path w="414019" h="295910">
                      <a:moveTo>
                        <a:pt x="233121" y="238760"/>
                      </a:moveTo>
                      <a:lnTo>
                        <a:pt x="229984" y="238760"/>
                      </a:lnTo>
                      <a:lnTo>
                        <a:pt x="229692" y="240030"/>
                      </a:lnTo>
                      <a:lnTo>
                        <a:pt x="233121" y="238760"/>
                      </a:lnTo>
                      <a:close/>
                    </a:path>
                    <a:path w="414019" h="295910">
                      <a:moveTo>
                        <a:pt x="357441" y="238760"/>
                      </a:moveTo>
                      <a:lnTo>
                        <a:pt x="238747" y="238760"/>
                      </a:lnTo>
                      <a:lnTo>
                        <a:pt x="239560" y="240030"/>
                      </a:lnTo>
                      <a:lnTo>
                        <a:pt x="357022" y="240030"/>
                      </a:lnTo>
                      <a:lnTo>
                        <a:pt x="357441" y="238760"/>
                      </a:lnTo>
                      <a:close/>
                    </a:path>
                    <a:path w="414019" h="295910">
                      <a:moveTo>
                        <a:pt x="204393" y="237490"/>
                      </a:moveTo>
                      <a:lnTo>
                        <a:pt x="173812" y="237490"/>
                      </a:lnTo>
                      <a:lnTo>
                        <a:pt x="173824" y="238760"/>
                      </a:lnTo>
                      <a:lnTo>
                        <a:pt x="205359" y="238760"/>
                      </a:lnTo>
                      <a:lnTo>
                        <a:pt x="204393" y="237490"/>
                      </a:lnTo>
                      <a:close/>
                    </a:path>
                    <a:path w="414019" h="295910">
                      <a:moveTo>
                        <a:pt x="229603" y="237490"/>
                      </a:moveTo>
                      <a:lnTo>
                        <a:pt x="228701" y="237490"/>
                      </a:lnTo>
                      <a:lnTo>
                        <a:pt x="229933" y="238760"/>
                      </a:lnTo>
                      <a:lnTo>
                        <a:pt x="230416" y="238760"/>
                      </a:lnTo>
                      <a:lnTo>
                        <a:pt x="229603" y="237490"/>
                      </a:lnTo>
                      <a:close/>
                    </a:path>
                    <a:path w="414019" h="295910">
                      <a:moveTo>
                        <a:pt x="232918" y="234950"/>
                      </a:moveTo>
                      <a:lnTo>
                        <a:pt x="227266" y="234950"/>
                      </a:lnTo>
                      <a:lnTo>
                        <a:pt x="229882" y="236220"/>
                      </a:lnTo>
                      <a:lnTo>
                        <a:pt x="229552" y="236220"/>
                      </a:lnTo>
                      <a:lnTo>
                        <a:pt x="230365" y="237490"/>
                      </a:lnTo>
                      <a:lnTo>
                        <a:pt x="230416" y="238760"/>
                      </a:lnTo>
                      <a:lnTo>
                        <a:pt x="230644" y="238760"/>
                      </a:lnTo>
                      <a:lnTo>
                        <a:pt x="231838" y="237490"/>
                      </a:lnTo>
                      <a:lnTo>
                        <a:pt x="232841" y="237490"/>
                      </a:lnTo>
                      <a:lnTo>
                        <a:pt x="233338" y="236308"/>
                      </a:lnTo>
                      <a:lnTo>
                        <a:pt x="232918" y="234950"/>
                      </a:lnTo>
                      <a:close/>
                    </a:path>
                    <a:path w="414019" h="295910">
                      <a:moveTo>
                        <a:pt x="359143" y="236220"/>
                      </a:moveTo>
                      <a:lnTo>
                        <a:pt x="357632" y="237490"/>
                      </a:lnTo>
                      <a:lnTo>
                        <a:pt x="239268" y="237490"/>
                      </a:lnTo>
                      <a:lnTo>
                        <a:pt x="238594" y="238760"/>
                      </a:lnTo>
                      <a:lnTo>
                        <a:pt x="358444" y="238760"/>
                      </a:lnTo>
                      <a:lnTo>
                        <a:pt x="359143" y="236220"/>
                      </a:lnTo>
                      <a:close/>
                    </a:path>
                    <a:path w="414019" h="295910">
                      <a:moveTo>
                        <a:pt x="209943" y="222250"/>
                      </a:moveTo>
                      <a:lnTo>
                        <a:pt x="177101" y="222250"/>
                      </a:lnTo>
                      <a:lnTo>
                        <a:pt x="172935" y="224790"/>
                      </a:lnTo>
                      <a:lnTo>
                        <a:pt x="171437" y="228600"/>
                      </a:lnTo>
                      <a:lnTo>
                        <a:pt x="169773" y="231140"/>
                      </a:lnTo>
                      <a:lnTo>
                        <a:pt x="168922" y="233680"/>
                      </a:lnTo>
                      <a:lnTo>
                        <a:pt x="172135" y="236220"/>
                      </a:lnTo>
                      <a:lnTo>
                        <a:pt x="173215" y="236220"/>
                      </a:lnTo>
                      <a:lnTo>
                        <a:pt x="174002" y="237490"/>
                      </a:lnTo>
                      <a:lnTo>
                        <a:pt x="206921" y="237490"/>
                      </a:lnTo>
                      <a:lnTo>
                        <a:pt x="205155" y="236220"/>
                      </a:lnTo>
                      <a:lnTo>
                        <a:pt x="204901" y="234950"/>
                      </a:lnTo>
                      <a:lnTo>
                        <a:pt x="205600" y="234950"/>
                      </a:lnTo>
                      <a:lnTo>
                        <a:pt x="203746" y="233680"/>
                      </a:lnTo>
                      <a:lnTo>
                        <a:pt x="222224" y="233680"/>
                      </a:lnTo>
                      <a:lnTo>
                        <a:pt x="220548" y="232410"/>
                      </a:lnTo>
                      <a:lnTo>
                        <a:pt x="218808" y="231140"/>
                      </a:lnTo>
                      <a:lnTo>
                        <a:pt x="211645" y="231140"/>
                      </a:lnTo>
                      <a:lnTo>
                        <a:pt x="211026" y="229859"/>
                      </a:lnTo>
                      <a:lnTo>
                        <a:pt x="209905" y="228600"/>
                      </a:lnTo>
                      <a:lnTo>
                        <a:pt x="208521" y="228600"/>
                      </a:lnTo>
                      <a:lnTo>
                        <a:pt x="207543" y="226060"/>
                      </a:lnTo>
                      <a:lnTo>
                        <a:pt x="210172" y="226060"/>
                      </a:lnTo>
                      <a:lnTo>
                        <a:pt x="210997" y="224790"/>
                      </a:lnTo>
                      <a:lnTo>
                        <a:pt x="210794" y="224790"/>
                      </a:lnTo>
                      <a:lnTo>
                        <a:pt x="209943" y="222250"/>
                      </a:lnTo>
                      <a:close/>
                    </a:path>
                    <a:path w="414019" h="295910">
                      <a:moveTo>
                        <a:pt x="233375" y="236220"/>
                      </a:moveTo>
                      <a:lnTo>
                        <a:pt x="234200" y="237490"/>
                      </a:lnTo>
                      <a:lnTo>
                        <a:pt x="233375" y="236220"/>
                      </a:lnTo>
                      <a:close/>
                    </a:path>
                    <a:path w="414019" h="295910">
                      <a:moveTo>
                        <a:pt x="347065" y="227330"/>
                      </a:moveTo>
                      <a:lnTo>
                        <a:pt x="345630" y="228600"/>
                      </a:lnTo>
                      <a:lnTo>
                        <a:pt x="347573" y="232410"/>
                      </a:lnTo>
                      <a:lnTo>
                        <a:pt x="347916" y="233680"/>
                      </a:lnTo>
                      <a:lnTo>
                        <a:pt x="241376" y="233680"/>
                      </a:lnTo>
                      <a:lnTo>
                        <a:pt x="241272" y="234226"/>
                      </a:lnTo>
                      <a:lnTo>
                        <a:pt x="241706" y="234950"/>
                      </a:lnTo>
                      <a:lnTo>
                        <a:pt x="240398" y="237490"/>
                      </a:lnTo>
                      <a:lnTo>
                        <a:pt x="350164" y="237490"/>
                      </a:lnTo>
                      <a:lnTo>
                        <a:pt x="348729" y="236220"/>
                      </a:lnTo>
                      <a:lnTo>
                        <a:pt x="351396" y="233680"/>
                      </a:lnTo>
                      <a:lnTo>
                        <a:pt x="351917" y="232410"/>
                      </a:lnTo>
                      <a:lnTo>
                        <a:pt x="349872" y="232410"/>
                      </a:lnTo>
                      <a:lnTo>
                        <a:pt x="349148" y="231140"/>
                      </a:lnTo>
                      <a:lnTo>
                        <a:pt x="349554" y="231140"/>
                      </a:lnTo>
                      <a:lnTo>
                        <a:pt x="349237" y="229870"/>
                      </a:lnTo>
                      <a:lnTo>
                        <a:pt x="348851" y="229859"/>
                      </a:lnTo>
                      <a:lnTo>
                        <a:pt x="348297" y="228600"/>
                      </a:lnTo>
                      <a:lnTo>
                        <a:pt x="347294" y="228600"/>
                      </a:lnTo>
                      <a:lnTo>
                        <a:pt x="347065" y="227330"/>
                      </a:lnTo>
                      <a:close/>
                    </a:path>
                    <a:path w="414019" h="295910">
                      <a:moveTo>
                        <a:pt x="351802" y="236220"/>
                      </a:moveTo>
                      <a:lnTo>
                        <a:pt x="350735" y="237490"/>
                      </a:lnTo>
                      <a:lnTo>
                        <a:pt x="352450" y="237490"/>
                      </a:lnTo>
                      <a:lnTo>
                        <a:pt x="351802" y="236220"/>
                      </a:lnTo>
                      <a:close/>
                    </a:path>
                    <a:path w="414019" h="295910">
                      <a:moveTo>
                        <a:pt x="356108" y="236220"/>
                      </a:moveTo>
                      <a:lnTo>
                        <a:pt x="356196" y="237490"/>
                      </a:lnTo>
                      <a:lnTo>
                        <a:pt x="357632" y="237490"/>
                      </a:lnTo>
                      <a:lnTo>
                        <a:pt x="356108" y="236220"/>
                      </a:lnTo>
                      <a:close/>
                    </a:path>
                    <a:path w="414019" h="295910">
                      <a:moveTo>
                        <a:pt x="235635" y="233680"/>
                      </a:moveTo>
                      <a:lnTo>
                        <a:pt x="233514" y="233680"/>
                      </a:lnTo>
                      <a:lnTo>
                        <a:pt x="234962" y="236220"/>
                      </a:lnTo>
                      <a:lnTo>
                        <a:pt x="236232" y="234950"/>
                      </a:lnTo>
                      <a:lnTo>
                        <a:pt x="236004" y="234950"/>
                      </a:lnTo>
                      <a:lnTo>
                        <a:pt x="235635" y="233680"/>
                      </a:lnTo>
                      <a:close/>
                    </a:path>
                    <a:path w="414019" h="295910">
                      <a:moveTo>
                        <a:pt x="343992" y="229870"/>
                      </a:moveTo>
                      <a:lnTo>
                        <a:pt x="343725" y="231140"/>
                      </a:lnTo>
                      <a:lnTo>
                        <a:pt x="343662" y="232410"/>
                      </a:lnTo>
                      <a:lnTo>
                        <a:pt x="236245" y="232410"/>
                      </a:lnTo>
                      <a:lnTo>
                        <a:pt x="238937" y="233680"/>
                      </a:lnTo>
                      <a:lnTo>
                        <a:pt x="238988" y="234950"/>
                      </a:lnTo>
                      <a:lnTo>
                        <a:pt x="238404" y="236220"/>
                      </a:lnTo>
                      <a:lnTo>
                        <a:pt x="240893" y="236220"/>
                      </a:lnTo>
                      <a:lnTo>
                        <a:pt x="241272" y="234226"/>
                      </a:lnTo>
                      <a:lnTo>
                        <a:pt x="240944" y="233680"/>
                      </a:lnTo>
                      <a:lnTo>
                        <a:pt x="345782" y="233680"/>
                      </a:lnTo>
                      <a:lnTo>
                        <a:pt x="345008" y="231140"/>
                      </a:lnTo>
                      <a:lnTo>
                        <a:pt x="343992" y="229870"/>
                      </a:lnTo>
                      <a:close/>
                    </a:path>
                    <a:path w="414019" h="295910">
                      <a:moveTo>
                        <a:pt x="229628" y="231140"/>
                      </a:moveTo>
                      <a:lnTo>
                        <a:pt x="220916" y="231140"/>
                      </a:lnTo>
                      <a:lnTo>
                        <a:pt x="224154" y="234950"/>
                      </a:lnTo>
                      <a:lnTo>
                        <a:pt x="225412" y="232410"/>
                      </a:lnTo>
                      <a:lnTo>
                        <a:pt x="229615" y="232410"/>
                      </a:lnTo>
                      <a:lnTo>
                        <a:pt x="229628" y="231140"/>
                      </a:lnTo>
                      <a:close/>
                    </a:path>
                    <a:path w="414019" h="295910">
                      <a:moveTo>
                        <a:pt x="342150" y="231140"/>
                      </a:moveTo>
                      <a:lnTo>
                        <a:pt x="229628" y="231140"/>
                      </a:lnTo>
                      <a:lnTo>
                        <a:pt x="230263" y="232410"/>
                      </a:lnTo>
                      <a:lnTo>
                        <a:pt x="229527" y="233680"/>
                      </a:lnTo>
                      <a:lnTo>
                        <a:pt x="231140" y="234950"/>
                      </a:lnTo>
                      <a:lnTo>
                        <a:pt x="232194" y="234950"/>
                      </a:lnTo>
                      <a:lnTo>
                        <a:pt x="233514" y="233680"/>
                      </a:lnTo>
                      <a:lnTo>
                        <a:pt x="235635" y="233680"/>
                      </a:lnTo>
                      <a:lnTo>
                        <a:pt x="236245" y="232410"/>
                      </a:lnTo>
                      <a:lnTo>
                        <a:pt x="342315" y="232410"/>
                      </a:lnTo>
                      <a:lnTo>
                        <a:pt x="342150" y="231140"/>
                      </a:lnTo>
                      <a:close/>
                    </a:path>
                    <a:path w="414019" h="295910">
                      <a:moveTo>
                        <a:pt x="241376" y="233680"/>
                      </a:moveTo>
                      <a:lnTo>
                        <a:pt x="240944" y="233680"/>
                      </a:lnTo>
                      <a:lnTo>
                        <a:pt x="241272" y="234226"/>
                      </a:lnTo>
                      <a:lnTo>
                        <a:pt x="241376" y="233680"/>
                      </a:lnTo>
                      <a:close/>
                    </a:path>
                    <a:path w="414019" h="295910">
                      <a:moveTo>
                        <a:pt x="229615" y="232410"/>
                      </a:moveTo>
                      <a:lnTo>
                        <a:pt x="225412" y="232410"/>
                      </a:lnTo>
                      <a:lnTo>
                        <a:pt x="228942" y="233680"/>
                      </a:lnTo>
                      <a:lnTo>
                        <a:pt x="229615" y="232410"/>
                      </a:lnTo>
                      <a:close/>
                    </a:path>
                    <a:path w="414019" h="295910">
                      <a:moveTo>
                        <a:pt x="346506" y="231140"/>
                      </a:moveTo>
                      <a:lnTo>
                        <a:pt x="345706" y="231140"/>
                      </a:lnTo>
                      <a:lnTo>
                        <a:pt x="345782" y="233680"/>
                      </a:lnTo>
                      <a:lnTo>
                        <a:pt x="347916" y="233680"/>
                      </a:lnTo>
                      <a:lnTo>
                        <a:pt x="346938" y="232410"/>
                      </a:lnTo>
                      <a:lnTo>
                        <a:pt x="346506" y="231140"/>
                      </a:lnTo>
                      <a:close/>
                    </a:path>
                    <a:path w="414019" h="295910">
                      <a:moveTo>
                        <a:pt x="349237" y="229870"/>
                      </a:moveTo>
                      <a:lnTo>
                        <a:pt x="349872" y="232410"/>
                      </a:lnTo>
                      <a:lnTo>
                        <a:pt x="351917" y="232410"/>
                      </a:lnTo>
                      <a:lnTo>
                        <a:pt x="352437" y="231140"/>
                      </a:lnTo>
                      <a:lnTo>
                        <a:pt x="350266" y="231140"/>
                      </a:lnTo>
                      <a:lnTo>
                        <a:pt x="349983" y="230166"/>
                      </a:lnTo>
                      <a:lnTo>
                        <a:pt x="349237" y="229870"/>
                      </a:lnTo>
                      <a:close/>
                    </a:path>
                    <a:path w="414019" h="295910">
                      <a:moveTo>
                        <a:pt x="217068" y="229870"/>
                      </a:moveTo>
                      <a:lnTo>
                        <a:pt x="212293" y="229870"/>
                      </a:lnTo>
                      <a:lnTo>
                        <a:pt x="212559" y="231140"/>
                      </a:lnTo>
                      <a:lnTo>
                        <a:pt x="218808" y="231140"/>
                      </a:lnTo>
                      <a:lnTo>
                        <a:pt x="217068" y="229870"/>
                      </a:lnTo>
                      <a:close/>
                    </a:path>
                    <a:path w="414019" h="295910">
                      <a:moveTo>
                        <a:pt x="334454" y="220980"/>
                      </a:moveTo>
                      <a:lnTo>
                        <a:pt x="332943" y="222250"/>
                      </a:lnTo>
                      <a:lnTo>
                        <a:pt x="332333" y="224790"/>
                      </a:lnTo>
                      <a:lnTo>
                        <a:pt x="212915" y="224790"/>
                      </a:lnTo>
                      <a:lnTo>
                        <a:pt x="213067" y="226060"/>
                      </a:lnTo>
                      <a:lnTo>
                        <a:pt x="212305" y="227330"/>
                      </a:lnTo>
                      <a:lnTo>
                        <a:pt x="221818" y="227330"/>
                      </a:lnTo>
                      <a:lnTo>
                        <a:pt x="221837" y="227477"/>
                      </a:lnTo>
                      <a:lnTo>
                        <a:pt x="223431" y="228600"/>
                      </a:lnTo>
                      <a:lnTo>
                        <a:pt x="222440" y="228600"/>
                      </a:lnTo>
                      <a:lnTo>
                        <a:pt x="221297" y="231140"/>
                      </a:lnTo>
                      <a:lnTo>
                        <a:pt x="336359" y="231140"/>
                      </a:lnTo>
                      <a:lnTo>
                        <a:pt x="334162" y="228600"/>
                      </a:lnTo>
                      <a:lnTo>
                        <a:pt x="334010" y="226060"/>
                      </a:lnTo>
                      <a:lnTo>
                        <a:pt x="332651" y="223520"/>
                      </a:lnTo>
                      <a:lnTo>
                        <a:pt x="335965" y="222250"/>
                      </a:lnTo>
                      <a:lnTo>
                        <a:pt x="334454" y="220980"/>
                      </a:lnTo>
                      <a:close/>
                    </a:path>
                    <a:path w="414019" h="295910">
                      <a:moveTo>
                        <a:pt x="336600" y="223520"/>
                      </a:moveTo>
                      <a:lnTo>
                        <a:pt x="335711" y="224790"/>
                      </a:lnTo>
                      <a:lnTo>
                        <a:pt x="335927" y="224790"/>
                      </a:lnTo>
                      <a:lnTo>
                        <a:pt x="335845" y="228600"/>
                      </a:lnTo>
                      <a:lnTo>
                        <a:pt x="335762" y="229870"/>
                      </a:lnTo>
                      <a:lnTo>
                        <a:pt x="336359" y="231140"/>
                      </a:lnTo>
                      <a:lnTo>
                        <a:pt x="341033" y="231140"/>
                      </a:lnTo>
                      <a:lnTo>
                        <a:pt x="342138" y="229870"/>
                      </a:lnTo>
                      <a:lnTo>
                        <a:pt x="343687" y="229870"/>
                      </a:lnTo>
                      <a:lnTo>
                        <a:pt x="343374" y="228600"/>
                      </a:lnTo>
                      <a:lnTo>
                        <a:pt x="341337" y="228600"/>
                      </a:lnTo>
                      <a:lnTo>
                        <a:pt x="340829" y="227330"/>
                      </a:lnTo>
                      <a:lnTo>
                        <a:pt x="339217" y="227330"/>
                      </a:lnTo>
                      <a:lnTo>
                        <a:pt x="338353" y="226060"/>
                      </a:lnTo>
                      <a:lnTo>
                        <a:pt x="337769" y="226060"/>
                      </a:lnTo>
                      <a:lnTo>
                        <a:pt x="336600" y="223520"/>
                      </a:lnTo>
                      <a:close/>
                    </a:path>
                    <a:path w="414019" h="295910">
                      <a:moveTo>
                        <a:pt x="349983" y="230166"/>
                      </a:moveTo>
                      <a:lnTo>
                        <a:pt x="350266" y="231140"/>
                      </a:lnTo>
                      <a:lnTo>
                        <a:pt x="352437" y="231140"/>
                      </a:lnTo>
                      <a:lnTo>
                        <a:pt x="349983" y="230166"/>
                      </a:lnTo>
                      <a:close/>
                    </a:path>
                    <a:path w="414019" h="295910">
                      <a:moveTo>
                        <a:pt x="349897" y="229870"/>
                      </a:moveTo>
                      <a:lnTo>
                        <a:pt x="349237" y="229870"/>
                      </a:lnTo>
                      <a:lnTo>
                        <a:pt x="349983" y="230166"/>
                      </a:lnTo>
                      <a:lnTo>
                        <a:pt x="349897" y="229870"/>
                      </a:lnTo>
                      <a:close/>
                    </a:path>
                    <a:path w="414019" h="295910">
                      <a:moveTo>
                        <a:pt x="219722" y="227330"/>
                      </a:moveTo>
                      <a:lnTo>
                        <a:pt x="211912" y="227330"/>
                      </a:lnTo>
                      <a:lnTo>
                        <a:pt x="211035" y="229870"/>
                      </a:lnTo>
                      <a:lnTo>
                        <a:pt x="221348" y="229870"/>
                      </a:lnTo>
                      <a:lnTo>
                        <a:pt x="219722" y="227330"/>
                      </a:lnTo>
                      <a:close/>
                    </a:path>
                    <a:path w="414019" h="295910">
                      <a:moveTo>
                        <a:pt x="210870" y="227330"/>
                      </a:moveTo>
                      <a:lnTo>
                        <a:pt x="210312" y="227330"/>
                      </a:lnTo>
                      <a:lnTo>
                        <a:pt x="209105" y="228600"/>
                      </a:lnTo>
                      <a:lnTo>
                        <a:pt x="210070" y="228600"/>
                      </a:lnTo>
                      <a:lnTo>
                        <a:pt x="210870" y="227330"/>
                      </a:lnTo>
                      <a:close/>
                    </a:path>
                    <a:path w="414019" h="295910">
                      <a:moveTo>
                        <a:pt x="221627" y="227330"/>
                      </a:moveTo>
                      <a:lnTo>
                        <a:pt x="219722" y="227330"/>
                      </a:lnTo>
                      <a:lnTo>
                        <a:pt x="221983" y="228600"/>
                      </a:lnTo>
                      <a:lnTo>
                        <a:pt x="221837" y="227477"/>
                      </a:lnTo>
                      <a:lnTo>
                        <a:pt x="221627" y="227330"/>
                      </a:lnTo>
                      <a:close/>
                    </a:path>
                    <a:path w="414019" h="295910">
                      <a:moveTo>
                        <a:pt x="342747" y="226060"/>
                      </a:moveTo>
                      <a:lnTo>
                        <a:pt x="341337" y="228600"/>
                      </a:lnTo>
                      <a:lnTo>
                        <a:pt x="343374" y="228600"/>
                      </a:lnTo>
                      <a:lnTo>
                        <a:pt x="342747" y="226060"/>
                      </a:lnTo>
                      <a:close/>
                    </a:path>
                    <a:path w="414019" h="295910">
                      <a:moveTo>
                        <a:pt x="347840" y="227330"/>
                      </a:moveTo>
                      <a:lnTo>
                        <a:pt x="347294" y="228600"/>
                      </a:lnTo>
                      <a:lnTo>
                        <a:pt x="348221" y="228600"/>
                      </a:lnTo>
                      <a:lnTo>
                        <a:pt x="347840" y="227330"/>
                      </a:lnTo>
                      <a:close/>
                    </a:path>
                    <a:path w="414019" h="295910">
                      <a:moveTo>
                        <a:pt x="221818" y="227330"/>
                      </a:moveTo>
                      <a:lnTo>
                        <a:pt x="221627" y="227330"/>
                      </a:lnTo>
                      <a:lnTo>
                        <a:pt x="221837" y="227477"/>
                      </a:lnTo>
                      <a:lnTo>
                        <a:pt x="221818" y="227330"/>
                      </a:lnTo>
                      <a:close/>
                    </a:path>
                    <a:path w="414019" h="295910">
                      <a:moveTo>
                        <a:pt x="340220" y="226060"/>
                      </a:moveTo>
                      <a:lnTo>
                        <a:pt x="340550" y="227330"/>
                      </a:lnTo>
                      <a:lnTo>
                        <a:pt x="341223" y="227330"/>
                      </a:lnTo>
                      <a:lnTo>
                        <a:pt x="340220" y="226060"/>
                      </a:lnTo>
                      <a:close/>
                    </a:path>
                    <a:path w="414019" h="295910">
                      <a:moveTo>
                        <a:pt x="381482" y="220980"/>
                      </a:moveTo>
                      <a:lnTo>
                        <a:pt x="372211" y="220980"/>
                      </a:lnTo>
                      <a:lnTo>
                        <a:pt x="370992" y="222250"/>
                      </a:lnTo>
                      <a:lnTo>
                        <a:pt x="371436" y="222250"/>
                      </a:lnTo>
                      <a:lnTo>
                        <a:pt x="371119" y="223520"/>
                      </a:lnTo>
                      <a:lnTo>
                        <a:pt x="376110" y="223520"/>
                      </a:lnTo>
                      <a:lnTo>
                        <a:pt x="376021" y="224790"/>
                      </a:lnTo>
                      <a:lnTo>
                        <a:pt x="376783" y="224790"/>
                      </a:lnTo>
                      <a:lnTo>
                        <a:pt x="376948" y="226060"/>
                      </a:lnTo>
                      <a:lnTo>
                        <a:pt x="379349" y="226060"/>
                      </a:lnTo>
                      <a:lnTo>
                        <a:pt x="379183" y="227330"/>
                      </a:lnTo>
                      <a:lnTo>
                        <a:pt x="380517" y="227330"/>
                      </a:lnTo>
                      <a:lnTo>
                        <a:pt x="381381" y="226060"/>
                      </a:lnTo>
                      <a:lnTo>
                        <a:pt x="383006" y="222250"/>
                      </a:lnTo>
                      <a:lnTo>
                        <a:pt x="381482" y="220980"/>
                      </a:lnTo>
                      <a:close/>
                    </a:path>
                    <a:path w="414019" h="295910">
                      <a:moveTo>
                        <a:pt x="222059" y="214630"/>
                      </a:moveTo>
                      <a:lnTo>
                        <a:pt x="218109" y="215900"/>
                      </a:lnTo>
                      <a:lnTo>
                        <a:pt x="215519" y="215900"/>
                      </a:lnTo>
                      <a:lnTo>
                        <a:pt x="215633" y="218440"/>
                      </a:lnTo>
                      <a:lnTo>
                        <a:pt x="204393" y="218440"/>
                      </a:lnTo>
                      <a:lnTo>
                        <a:pt x="206247" y="220476"/>
                      </a:lnTo>
                      <a:lnTo>
                        <a:pt x="207238" y="220980"/>
                      </a:lnTo>
                      <a:lnTo>
                        <a:pt x="209600" y="222250"/>
                      </a:lnTo>
                      <a:lnTo>
                        <a:pt x="210261" y="222250"/>
                      </a:lnTo>
                      <a:lnTo>
                        <a:pt x="212013" y="224790"/>
                      </a:lnTo>
                      <a:lnTo>
                        <a:pt x="332333" y="224790"/>
                      </a:lnTo>
                      <a:lnTo>
                        <a:pt x="331749" y="223520"/>
                      </a:lnTo>
                      <a:lnTo>
                        <a:pt x="331749" y="220980"/>
                      </a:lnTo>
                      <a:lnTo>
                        <a:pt x="330873" y="220980"/>
                      </a:lnTo>
                      <a:lnTo>
                        <a:pt x="330250" y="219710"/>
                      </a:lnTo>
                      <a:lnTo>
                        <a:pt x="329082" y="219710"/>
                      </a:lnTo>
                      <a:lnTo>
                        <a:pt x="328879" y="218440"/>
                      </a:lnTo>
                      <a:lnTo>
                        <a:pt x="329412" y="217170"/>
                      </a:lnTo>
                      <a:lnTo>
                        <a:pt x="222973" y="217170"/>
                      </a:lnTo>
                      <a:lnTo>
                        <a:pt x="221195" y="215900"/>
                      </a:lnTo>
                      <a:lnTo>
                        <a:pt x="222059" y="214630"/>
                      </a:lnTo>
                      <a:close/>
                    </a:path>
                    <a:path w="414019" h="295910">
                      <a:moveTo>
                        <a:pt x="369277" y="215900"/>
                      </a:moveTo>
                      <a:lnTo>
                        <a:pt x="364223" y="215900"/>
                      </a:lnTo>
                      <a:lnTo>
                        <a:pt x="361664" y="216884"/>
                      </a:lnTo>
                      <a:lnTo>
                        <a:pt x="361264" y="217170"/>
                      </a:lnTo>
                      <a:lnTo>
                        <a:pt x="363778" y="217170"/>
                      </a:lnTo>
                      <a:lnTo>
                        <a:pt x="362724" y="218440"/>
                      </a:lnTo>
                      <a:lnTo>
                        <a:pt x="361797" y="218440"/>
                      </a:lnTo>
                      <a:lnTo>
                        <a:pt x="361213" y="219710"/>
                      </a:lnTo>
                      <a:lnTo>
                        <a:pt x="363651" y="219710"/>
                      </a:lnTo>
                      <a:lnTo>
                        <a:pt x="364578" y="220980"/>
                      </a:lnTo>
                      <a:lnTo>
                        <a:pt x="365582" y="220980"/>
                      </a:lnTo>
                      <a:lnTo>
                        <a:pt x="365163" y="222250"/>
                      </a:lnTo>
                      <a:lnTo>
                        <a:pt x="365747" y="222250"/>
                      </a:lnTo>
                      <a:lnTo>
                        <a:pt x="366268" y="223520"/>
                      </a:lnTo>
                      <a:lnTo>
                        <a:pt x="367106" y="220980"/>
                      </a:lnTo>
                      <a:lnTo>
                        <a:pt x="367042" y="219710"/>
                      </a:lnTo>
                      <a:lnTo>
                        <a:pt x="368185" y="217170"/>
                      </a:lnTo>
                      <a:lnTo>
                        <a:pt x="369277" y="215900"/>
                      </a:lnTo>
                      <a:close/>
                    </a:path>
                    <a:path w="414019" h="295910">
                      <a:moveTo>
                        <a:pt x="206578" y="220980"/>
                      </a:moveTo>
                      <a:lnTo>
                        <a:pt x="181190" y="220980"/>
                      </a:lnTo>
                      <a:lnTo>
                        <a:pt x="178752" y="222250"/>
                      </a:lnTo>
                      <a:lnTo>
                        <a:pt x="208838" y="222250"/>
                      </a:lnTo>
                      <a:lnTo>
                        <a:pt x="206578" y="220980"/>
                      </a:lnTo>
                      <a:close/>
                    </a:path>
                    <a:path w="414019" h="295910">
                      <a:moveTo>
                        <a:pt x="382765" y="219710"/>
                      </a:moveTo>
                      <a:lnTo>
                        <a:pt x="368414" y="219710"/>
                      </a:lnTo>
                      <a:lnTo>
                        <a:pt x="369417" y="222250"/>
                      </a:lnTo>
                      <a:lnTo>
                        <a:pt x="371576" y="220980"/>
                      </a:lnTo>
                      <a:lnTo>
                        <a:pt x="383959" y="220980"/>
                      </a:lnTo>
                      <a:lnTo>
                        <a:pt x="382765" y="219710"/>
                      </a:lnTo>
                      <a:close/>
                    </a:path>
                    <a:path w="414019" h="295910">
                      <a:moveTo>
                        <a:pt x="190411" y="214630"/>
                      </a:moveTo>
                      <a:lnTo>
                        <a:pt x="183464" y="214630"/>
                      </a:lnTo>
                      <a:lnTo>
                        <a:pt x="182854" y="218440"/>
                      </a:lnTo>
                      <a:lnTo>
                        <a:pt x="182689" y="219710"/>
                      </a:lnTo>
                      <a:lnTo>
                        <a:pt x="183603" y="219710"/>
                      </a:lnTo>
                      <a:lnTo>
                        <a:pt x="183349" y="220980"/>
                      </a:lnTo>
                      <a:lnTo>
                        <a:pt x="206705" y="220980"/>
                      </a:lnTo>
                      <a:lnTo>
                        <a:pt x="206247" y="220476"/>
                      </a:lnTo>
                      <a:lnTo>
                        <a:pt x="204736" y="219710"/>
                      </a:lnTo>
                      <a:lnTo>
                        <a:pt x="204209" y="218440"/>
                      </a:lnTo>
                      <a:lnTo>
                        <a:pt x="201942" y="218440"/>
                      </a:lnTo>
                      <a:lnTo>
                        <a:pt x="197358" y="217170"/>
                      </a:lnTo>
                      <a:lnTo>
                        <a:pt x="194919" y="215900"/>
                      </a:lnTo>
                      <a:lnTo>
                        <a:pt x="190411" y="214630"/>
                      </a:lnTo>
                      <a:close/>
                    </a:path>
                    <a:path w="414019" h="295910">
                      <a:moveTo>
                        <a:pt x="331724" y="219710"/>
                      </a:moveTo>
                      <a:lnTo>
                        <a:pt x="330873" y="220980"/>
                      </a:lnTo>
                      <a:lnTo>
                        <a:pt x="331749" y="220980"/>
                      </a:lnTo>
                      <a:lnTo>
                        <a:pt x="331724" y="219710"/>
                      </a:lnTo>
                      <a:close/>
                    </a:path>
                    <a:path w="414019" h="295910">
                      <a:moveTo>
                        <a:pt x="203682" y="217170"/>
                      </a:moveTo>
                      <a:lnTo>
                        <a:pt x="204736" y="219710"/>
                      </a:lnTo>
                      <a:lnTo>
                        <a:pt x="206247" y="220476"/>
                      </a:lnTo>
                      <a:lnTo>
                        <a:pt x="204393" y="218440"/>
                      </a:lnTo>
                      <a:lnTo>
                        <a:pt x="205320" y="218440"/>
                      </a:lnTo>
                      <a:lnTo>
                        <a:pt x="203682" y="217170"/>
                      </a:lnTo>
                      <a:close/>
                    </a:path>
                    <a:path w="414019" h="295910">
                      <a:moveTo>
                        <a:pt x="380504" y="214630"/>
                      </a:moveTo>
                      <a:lnTo>
                        <a:pt x="369163" y="214630"/>
                      </a:lnTo>
                      <a:lnTo>
                        <a:pt x="365112" y="215900"/>
                      </a:lnTo>
                      <a:lnTo>
                        <a:pt x="370027" y="215900"/>
                      </a:lnTo>
                      <a:lnTo>
                        <a:pt x="369684" y="217170"/>
                      </a:lnTo>
                      <a:lnTo>
                        <a:pt x="369443" y="218440"/>
                      </a:lnTo>
                      <a:lnTo>
                        <a:pt x="369036" y="219710"/>
                      </a:lnTo>
                      <a:lnTo>
                        <a:pt x="382574" y="219710"/>
                      </a:lnTo>
                      <a:lnTo>
                        <a:pt x="382308" y="218440"/>
                      </a:lnTo>
                      <a:lnTo>
                        <a:pt x="382244" y="217170"/>
                      </a:lnTo>
                      <a:lnTo>
                        <a:pt x="381977" y="217170"/>
                      </a:lnTo>
                      <a:lnTo>
                        <a:pt x="381546" y="215900"/>
                      </a:lnTo>
                      <a:lnTo>
                        <a:pt x="380504" y="214630"/>
                      </a:lnTo>
                      <a:close/>
                    </a:path>
                    <a:path w="414019" h="295910">
                      <a:moveTo>
                        <a:pt x="208318" y="217170"/>
                      </a:moveTo>
                      <a:lnTo>
                        <a:pt x="207048" y="217170"/>
                      </a:lnTo>
                      <a:lnTo>
                        <a:pt x="205320" y="218440"/>
                      </a:lnTo>
                      <a:lnTo>
                        <a:pt x="208013" y="218440"/>
                      </a:lnTo>
                      <a:lnTo>
                        <a:pt x="208318" y="217170"/>
                      </a:lnTo>
                      <a:close/>
                    </a:path>
                    <a:path w="414019" h="295910">
                      <a:moveTo>
                        <a:pt x="233210" y="212090"/>
                      </a:moveTo>
                      <a:lnTo>
                        <a:pt x="227977" y="213360"/>
                      </a:lnTo>
                      <a:lnTo>
                        <a:pt x="226822" y="214630"/>
                      </a:lnTo>
                      <a:lnTo>
                        <a:pt x="223291" y="217170"/>
                      </a:lnTo>
                      <a:lnTo>
                        <a:pt x="330034" y="217170"/>
                      </a:lnTo>
                      <a:lnTo>
                        <a:pt x="329704" y="214630"/>
                      </a:lnTo>
                      <a:lnTo>
                        <a:pt x="238594" y="214630"/>
                      </a:lnTo>
                      <a:lnTo>
                        <a:pt x="235699" y="213360"/>
                      </a:lnTo>
                      <a:lnTo>
                        <a:pt x="233210" y="212090"/>
                      </a:lnTo>
                      <a:close/>
                    </a:path>
                    <a:path w="414019" h="295910">
                      <a:moveTo>
                        <a:pt x="382511" y="213360"/>
                      </a:moveTo>
                      <a:lnTo>
                        <a:pt x="358013" y="213360"/>
                      </a:lnTo>
                      <a:lnTo>
                        <a:pt x="357441" y="214630"/>
                      </a:lnTo>
                      <a:lnTo>
                        <a:pt x="358571" y="215900"/>
                      </a:lnTo>
                      <a:lnTo>
                        <a:pt x="360921" y="217170"/>
                      </a:lnTo>
                      <a:lnTo>
                        <a:pt x="361664" y="216884"/>
                      </a:lnTo>
                      <a:lnTo>
                        <a:pt x="363042" y="215900"/>
                      </a:lnTo>
                      <a:lnTo>
                        <a:pt x="364223" y="215900"/>
                      </a:lnTo>
                      <a:lnTo>
                        <a:pt x="367411" y="214630"/>
                      </a:lnTo>
                      <a:lnTo>
                        <a:pt x="384289" y="214630"/>
                      </a:lnTo>
                      <a:lnTo>
                        <a:pt x="382511" y="213360"/>
                      </a:lnTo>
                      <a:close/>
                    </a:path>
                    <a:path w="414019" h="295910">
                      <a:moveTo>
                        <a:pt x="364223" y="215900"/>
                      </a:moveTo>
                      <a:lnTo>
                        <a:pt x="363042" y="215900"/>
                      </a:lnTo>
                      <a:lnTo>
                        <a:pt x="361664" y="216884"/>
                      </a:lnTo>
                      <a:lnTo>
                        <a:pt x="364223" y="215900"/>
                      </a:lnTo>
                      <a:close/>
                    </a:path>
                    <a:path w="414019" h="295910">
                      <a:moveTo>
                        <a:pt x="317030" y="207010"/>
                      </a:moveTo>
                      <a:lnTo>
                        <a:pt x="235610" y="207010"/>
                      </a:lnTo>
                      <a:lnTo>
                        <a:pt x="236080" y="208280"/>
                      </a:lnTo>
                      <a:lnTo>
                        <a:pt x="235394" y="208280"/>
                      </a:lnTo>
                      <a:lnTo>
                        <a:pt x="235788" y="209550"/>
                      </a:lnTo>
                      <a:lnTo>
                        <a:pt x="236435" y="209550"/>
                      </a:lnTo>
                      <a:lnTo>
                        <a:pt x="236931" y="210820"/>
                      </a:lnTo>
                      <a:lnTo>
                        <a:pt x="236791" y="210820"/>
                      </a:lnTo>
                      <a:lnTo>
                        <a:pt x="237261" y="212090"/>
                      </a:lnTo>
                      <a:lnTo>
                        <a:pt x="238340" y="213360"/>
                      </a:lnTo>
                      <a:lnTo>
                        <a:pt x="238594" y="214630"/>
                      </a:lnTo>
                      <a:lnTo>
                        <a:pt x="317030" y="214630"/>
                      </a:lnTo>
                      <a:lnTo>
                        <a:pt x="317030" y="213360"/>
                      </a:lnTo>
                      <a:lnTo>
                        <a:pt x="316725" y="213360"/>
                      </a:lnTo>
                      <a:lnTo>
                        <a:pt x="316738" y="212090"/>
                      </a:lnTo>
                      <a:lnTo>
                        <a:pt x="317030" y="209550"/>
                      </a:lnTo>
                      <a:lnTo>
                        <a:pt x="317030" y="207010"/>
                      </a:lnTo>
                      <a:close/>
                    </a:path>
                    <a:path w="414019" h="295910">
                      <a:moveTo>
                        <a:pt x="326732" y="209550"/>
                      </a:moveTo>
                      <a:lnTo>
                        <a:pt x="321525" y="209550"/>
                      </a:lnTo>
                      <a:lnTo>
                        <a:pt x="319786" y="210820"/>
                      </a:lnTo>
                      <a:lnTo>
                        <a:pt x="319163" y="212090"/>
                      </a:lnTo>
                      <a:lnTo>
                        <a:pt x="317804" y="212090"/>
                      </a:lnTo>
                      <a:lnTo>
                        <a:pt x="317207" y="213360"/>
                      </a:lnTo>
                      <a:lnTo>
                        <a:pt x="317030" y="214630"/>
                      </a:lnTo>
                      <a:lnTo>
                        <a:pt x="326326" y="214630"/>
                      </a:lnTo>
                      <a:lnTo>
                        <a:pt x="324789" y="213360"/>
                      </a:lnTo>
                      <a:lnTo>
                        <a:pt x="325031" y="213360"/>
                      </a:lnTo>
                      <a:lnTo>
                        <a:pt x="326034" y="210820"/>
                      </a:lnTo>
                      <a:lnTo>
                        <a:pt x="326732" y="209550"/>
                      </a:lnTo>
                      <a:close/>
                    </a:path>
                    <a:path w="414019" h="295910">
                      <a:moveTo>
                        <a:pt x="379920" y="210820"/>
                      </a:moveTo>
                      <a:lnTo>
                        <a:pt x="356387" y="210820"/>
                      </a:lnTo>
                      <a:lnTo>
                        <a:pt x="353910" y="213360"/>
                      </a:lnTo>
                      <a:lnTo>
                        <a:pt x="360349" y="212090"/>
                      </a:lnTo>
                      <a:lnTo>
                        <a:pt x="379736" y="212090"/>
                      </a:lnTo>
                      <a:lnTo>
                        <a:pt x="379920" y="210820"/>
                      </a:lnTo>
                      <a:close/>
                    </a:path>
                    <a:path w="414019" h="295910">
                      <a:moveTo>
                        <a:pt x="379736" y="212090"/>
                      </a:moveTo>
                      <a:lnTo>
                        <a:pt x="361543" y="212090"/>
                      </a:lnTo>
                      <a:lnTo>
                        <a:pt x="360768" y="213360"/>
                      </a:lnTo>
                      <a:lnTo>
                        <a:pt x="379552" y="213360"/>
                      </a:lnTo>
                      <a:lnTo>
                        <a:pt x="379736" y="212090"/>
                      </a:lnTo>
                      <a:close/>
                    </a:path>
                    <a:path w="414019" h="295910">
                      <a:moveTo>
                        <a:pt x="381127" y="209550"/>
                      </a:moveTo>
                      <a:lnTo>
                        <a:pt x="379209" y="210820"/>
                      </a:lnTo>
                      <a:lnTo>
                        <a:pt x="379920" y="210820"/>
                      </a:lnTo>
                      <a:lnTo>
                        <a:pt x="380885" y="212090"/>
                      </a:lnTo>
                      <a:lnTo>
                        <a:pt x="381368" y="213360"/>
                      </a:lnTo>
                      <a:lnTo>
                        <a:pt x="383997" y="212090"/>
                      </a:lnTo>
                      <a:lnTo>
                        <a:pt x="383146" y="210820"/>
                      </a:lnTo>
                      <a:lnTo>
                        <a:pt x="381127" y="209550"/>
                      </a:lnTo>
                      <a:close/>
                    </a:path>
                    <a:path w="414019" h="295910">
                      <a:moveTo>
                        <a:pt x="389451" y="209550"/>
                      </a:moveTo>
                      <a:lnTo>
                        <a:pt x="387883" y="209550"/>
                      </a:lnTo>
                      <a:lnTo>
                        <a:pt x="388569" y="210820"/>
                      </a:lnTo>
                      <a:lnTo>
                        <a:pt x="388810" y="212090"/>
                      </a:lnTo>
                      <a:lnTo>
                        <a:pt x="389407" y="210820"/>
                      </a:lnTo>
                      <a:lnTo>
                        <a:pt x="389451" y="209550"/>
                      </a:lnTo>
                      <a:close/>
                    </a:path>
                    <a:path w="414019" h="295910">
                      <a:moveTo>
                        <a:pt x="391744" y="208280"/>
                      </a:moveTo>
                      <a:lnTo>
                        <a:pt x="390296" y="208280"/>
                      </a:lnTo>
                      <a:lnTo>
                        <a:pt x="390271" y="209550"/>
                      </a:lnTo>
                      <a:lnTo>
                        <a:pt x="391985" y="212090"/>
                      </a:lnTo>
                      <a:lnTo>
                        <a:pt x="392569" y="210820"/>
                      </a:lnTo>
                      <a:lnTo>
                        <a:pt x="393458" y="210820"/>
                      </a:lnTo>
                      <a:lnTo>
                        <a:pt x="393560" y="209550"/>
                      </a:lnTo>
                      <a:lnTo>
                        <a:pt x="392658" y="209550"/>
                      </a:lnTo>
                      <a:lnTo>
                        <a:pt x="391744" y="208280"/>
                      </a:lnTo>
                      <a:close/>
                    </a:path>
                    <a:path w="414019" h="295910">
                      <a:moveTo>
                        <a:pt x="378218" y="209550"/>
                      </a:moveTo>
                      <a:lnTo>
                        <a:pt x="356209" y="209550"/>
                      </a:lnTo>
                      <a:lnTo>
                        <a:pt x="359905" y="210820"/>
                      </a:lnTo>
                      <a:lnTo>
                        <a:pt x="379209" y="210820"/>
                      </a:lnTo>
                      <a:lnTo>
                        <a:pt x="378218" y="209550"/>
                      </a:lnTo>
                      <a:close/>
                    </a:path>
                    <a:path w="414019" h="295910">
                      <a:moveTo>
                        <a:pt x="395998" y="203200"/>
                      </a:moveTo>
                      <a:lnTo>
                        <a:pt x="381266" y="203200"/>
                      </a:lnTo>
                      <a:lnTo>
                        <a:pt x="382511" y="204470"/>
                      </a:lnTo>
                      <a:lnTo>
                        <a:pt x="383501" y="207010"/>
                      </a:lnTo>
                      <a:lnTo>
                        <a:pt x="385064" y="209550"/>
                      </a:lnTo>
                      <a:lnTo>
                        <a:pt x="385660" y="210820"/>
                      </a:lnTo>
                      <a:lnTo>
                        <a:pt x="387883" y="209550"/>
                      </a:lnTo>
                      <a:lnTo>
                        <a:pt x="389451" y="209550"/>
                      </a:lnTo>
                      <a:lnTo>
                        <a:pt x="389496" y="208280"/>
                      </a:lnTo>
                      <a:lnTo>
                        <a:pt x="391172" y="208280"/>
                      </a:lnTo>
                      <a:lnTo>
                        <a:pt x="390842" y="207010"/>
                      </a:lnTo>
                      <a:lnTo>
                        <a:pt x="394017" y="207010"/>
                      </a:lnTo>
                      <a:lnTo>
                        <a:pt x="393611" y="205740"/>
                      </a:lnTo>
                      <a:lnTo>
                        <a:pt x="391337" y="205740"/>
                      </a:lnTo>
                      <a:lnTo>
                        <a:pt x="390436" y="204470"/>
                      </a:lnTo>
                      <a:lnTo>
                        <a:pt x="396836" y="204470"/>
                      </a:lnTo>
                      <a:lnTo>
                        <a:pt x="395998" y="203200"/>
                      </a:lnTo>
                      <a:close/>
                    </a:path>
                    <a:path w="414019" h="295910">
                      <a:moveTo>
                        <a:pt x="382270" y="207010"/>
                      </a:moveTo>
                      <a:lnTo>
                        <a:pt x="353796" y="207010"/>
                      </a:lnTo>
                      <a:lnTo>
                        <a:pt x="353923" y="208280"/>
                      </a:lnTo>
                      <a:lnTo>
                        <a:pt x="353517" y="209550"/>
                      </a:lnTo>
                      <a:lnTo>
                        <a:pt x="379818" y="209550"/>
                      </a:lnTo>
                      <a:lnTo>
                        <a:pt x="381965" y="208280"/>
                      </a:lnTo>
                      <a:lnTo>
                        <a:pt x="383057" y="208280"/>
                      </a:lnTo>
                      <a:lnTo>
                        <a:pt x="382270" y="207010"/>
                      </a:lnTo>
                      <a:close/>
                    </a:path>
                    <a:path w="414019" h="295910">
                      <a:moveTo>
                        <a:pt x="383057" y="208280"/>
                      </a:moveTo>
                      <a:lnTo>
                        <a:pt x="381965" y="208280"/>
                      </a:lnTo>
                      <a:lnTo>
                        <a:pt x="383514" y="209550"/>
                      </a:lnTo>
                      <a:lnTo>
                        <a:pt x="383057" y="208280"/>
                      </a:lnTo>
                      <a:close/>
                    </a:path>
                    <a:path w="414019" h="295910">
                      <a:moveTo>
                        <a:pt x="392760" y="208280"/>
                      </a:moveTo>
                      <a:lnTo>
                        <a:pt x="392658" y="209550"/>
                      </a:lnTo>
                      <a:lnTo>
                        <a:pt x="393560" y="209550"/>
                      </a:lnTo>
                      <a:lnTo>
                        <a:pt x="392760" y="208280"/>
                      </a:lnTo>
                      <a:close/>
                    </a:path>
                    <a:path w="414019" h="295910">
                      <a:moveTo>
                        <a:pt x="356146" y="201930"/>
                      </a:moveTo>
                      <a:lnTo>
                        <a:pt x="353682" y="205740"/>
                      </a:lnTo>
                      <a:lnTo>
                        <a:pt x="352818" y="207010"/>
                      </a:lnTo>
                      <a:lnTo>
                        <a:pt x="353021" y="208280"/>
                      </a:lnTo>
                      <a:lnTo>
                        <a:pt x="353796" y="207010"/>
                      </a:lnTo>
                      <a:lnTo>
                        <a:pt x="382270" y="207010"/>
                      </a:lnTo>
                      <a:lnTo>
                        <a:pt x="380695" y="204470"/>
                      </a:lnTo>
                      <a:lnTo>
                        <a:pt x="381266" y="203200"/>
                      </a:lnTo>
                      <a:lnTo>
                        <a:pt x="360578" y="203200"/>
                      </a:lnTo>
                      <a:lnTo>
                        <a:pt x="356146" y="201930"/>
                      </a:lnTo>
                      <a:close/>
                    </a:path>
                    <a:path w="414019" h="295910">
                      <a:moveTo>
                        <a:pt x="394017" y="207010"/>
                      </a:moveTo>
                      <a:lnTo>
                        <a:pt x="392023" y="207010"/>
                      </a:lnTo>
                      <a:lnTo>
                        <a:pt x="394423" y="208280"/>
                      </a:lnTo>
                      <a:lnTo>
                        <a:pt x="394017" y="207010"/>
                      </a:lnTo>
                      <a:close/>
                    </a:path>
                    <a:path w="414019" h="295910">
                      <a:moveTo>
                        <a:pt x="244614" y="184150"/>
                      </a:moveTo>
                      <a:lnTo>
                        <a:pt x="224777" y="199390"/>
                      </a:lnTo>
                      <a:lnTo>
                        <a:pt x="226047" y="200660"/>
                      </a:lnTo>
                      <a:lnTo>
                        <a:pt x="227609" y="201930"/>
                      </a:lnTo>
                      <a:lnTo>
                        <a:pt x="230581" y="204470"/>
                      </a:lnTo>
                      <a:lnTo>
                        <a:pt x="232029" y="205740"/>
                      </a:lnTo>
                      <a:lnTo>
                        <a:pt x="234708" y="207010"/>
                      </a:lnTo>
                      <a:lnTo>
                        <a:pt x="314223" y="207010"/>
                      </a:lnTo>
                      <a:lnTo>
                        <a:pt x="314286" y="205740"/>
                      </a:lnTo>
                      <a:lnTo>
                        <a:pt x="314807" y="204470"/>
                      </a:lnTo>
                      <a:lnTo>
                        <a:pt x="312953" y="204470"/>
                      </a:lnTo>
                      <a:lnTo>
                        <a:pt x="312039" y="203200"/>
                      </a:lnTo>
                      <a:lnTo>
                        <a:pt x="271297" y="203200"/>
                      </a:lnTo>
                      <a:lnTo>
                        <a:pt x="271513" y="201930"/>
                      </a:lnTo>
                      <a:lnTo>
                        <a:pt x="272307" y="200660"/>
                      </a:lnTo>
                      <a:lnTo>
                        <a:pt x="270929" y="200660"/>
                      </a:lnTo>
                      <a:lnTo>
                        <a:pt x="269773" y="199390"/>
                      </a:lnTo>
                      <a:lnTo>
                        <a:pt x="271195" y="198120"/>
                      </a:lnTo>
                      <a:lnTo>
                        <a:pt x="271640" y="198120"/>
                      </a:lnTo>
                      <a:lnTo>
                        <a:pt x="272135" y="196850"/>
                      </a:lnTo>
                      <a:lnTo>
                        <a:pt x="271716" y="195580"/>
                      </a:lnTo>
                      <a:lnTo>
                        <a:pt x="272580" y="194310"/>
                      </a:lnTo>
                      <a:lnTo>
                        <a:pt x="272415" y="193040"/>
                      </a:lnTo>
                      <a:lnTo>
                        <a:pt x="271208" y="193040"/>
                      </a:lnTo>
                      <a:lnTo>
                        <a:pt x="271068" y="191770"/>
                      </a:lnTo>
                      <a:lnTo>
                        <a:pt x="270408" y="191770"/>
                      </a:lnTo>
                      <a:lnTo>
                        <a:pt x="270344" y="190500"/>
                      </a:lnTo>
                      <a:lnTo>
                        <a:pt x="268655" y="187960"/>
                      </a:lnTo>
                      <a:lnTo>
                        <a:pt x="264998" y="187960"/>
                      </a:lnTo>
                      <a:lnTo>
                        <a:pt x="258584" y="185420"/>
                      </a:lnTo>
                      <a:lnTo>
                        <a:pt x="245948" y="185420"/>
                      </a:lnTo>
                      <a:lnTo>
                        <a:pt x="244614" y="184150"/>
                      </a:lnTo>
                      <a:close/>
                    </a:path>
                    <a:path w="414019" h="295910">
                      <a:moveTo>
                        <a:pt x="315214" y="205740"/>
                      </a:moveTo>
                      <a:lnTo>
                        <a:pt x="314223" y="207010"/>
                      </a:lnTo>
                      <a:lnTo>
                        <a:pt x="316090" y="207010"/>
                      </a:lnTo>
                      <a:lnTo>
                        <a:pt x="315214" y="205740"/>
                      </a:lnTo>
                      <a:close/>
                    </a:path>
                    <a:path w="414019" h="295910">
                      <a:moveTo>
                        <a:pt x="326910" y="200660"/>
                      </a:moveTo>
                      <a:lnTo>
                        <a:pt x="317068" y="200660"/>
                      </a:lnTo>
                      <a:lnTo>
                        <a:pt x="317042" y="201930"/>
                      </a:lnTo>
                      <a:lnTo>
                        <a:pt x="317474" y="203200"/>
                      </a:lnTo>
                      <a:lnTo>
                        <a:pt x="320281" y="205740"/>
                      </a:lnTo>
                      <a:lnTo>
                        <a:pt x="325386" y="203200"/>
                      </a:lnTo>
                      <a:lnTo>
                        <a:pt x="328168" y="203200"/>
                      </a:lnTo>
                      <a:lnTo>
                        <a:pt x="327126" y="201930"/>
                      </a:lnTo>
                      <a:lnTo>
                        <a:pt x="326910" y="200660"/>
                      </a:lnTo>
                      <a:close/>
                    </a:path>
                    <a:path w="414019" h="295910">
                      <a:moveTo>
                        <a:pt x="397370" y="203200"/>
                      </a:moveTo>
                      <a:lnTo>
                        <a:pt x="396836" y="204470"/>
                      </a:lnTo>
                      <a:lnTo>
                        <a:pt x="392328" y="204470"/>
                      </a:lnTo>
                      <a:lnTo>
                        <a:pt x="392899" y="205740"/>
                      </a:lnTo>
                      <a:lnTo>
                        <a:pt x="398360" y="205740"/>
                      </a:lnTo>
                      <a:lnTo>
                        <a:pt x="397827" y="204470"/>
                      </a:lnTo>
                      <a:lnTo>
                        <a:pt x="397370" y="203200"/>
                      </a:lnTo>
                      <a:close/>
                    </a:path>
                    <a:path w="414019" h="295910">
                      <a:moveTo>
                        <a:pt x="315328" y="203200"/>
                      </a:moveTo>
                      <a:lnTo>
                        <a:pt x="312928" y="203200"/>
                      </a:lnTo>
                      <a:lnTo>
                        <a:pt x="312953" y="204470"/>
                      </a:lnTo>
                      <a:lnTo>
                        <a:pt x="314807" y="204470"/>
                      </a:lnTo>
                      <a:lnTo>
                        <a:pt x="315328" y="203200"/>
                      </a:lnTo>
                      <a:close/>
                    </a:path>
                    <a:path w="414019" h="295910">
                      <a:moveTo>
                        <a:pt x="291299" y="195580"/>
                      </a:moveTo>
                      <a:lnTo>
                        <a:pt x="287616" y="195580"/>
                      </a:lnTo>
                      <a:lnTo>
                        <a:pt x="285165" y="196850"/>
                      </a:lnTo>
                      <a:lnTo>
                        <a:pt x="278142" y="196850"/>
                      </a:lnTo>
                      <a:lnTo>
                        <a:pt x="277266" y="198120"/>
                      </a:lnTo>
                      <a:lnTo>
                        <a:pt x="275234" y="199390"/>
                      </a:lnTo>
                      <a:lnTo>
                        <a:pt x="273862" y="200660"/>
                      </a:lnTo>
                      <a:lnTo>
                        <a:pt x="272923" y="201930"/>
                      </a:lnTo>
                      <a:lnTo>
                        <a:pt x="271297" y="203200"/>
                      </a:lnTo>
                      <a:lnTo>
                        <a:pt x="312039" y="203200"/>
                      </a:lnTo>
                      <a:lnTo>
                        <a:pt x="312216" y="201930"/>
                      </a:lnTo>
                      <a:lnTo>
                        <a:pt x="312089" y="200660"/>
                      </a:lnTo>
                      <a:lnTo>
                        <a:pt x="316039" y="200660"/>
                      </a:lnTo>
                      <a:lnTo>
                        <a:pt x="315544" y="199390"/>
                      </a:lnTo>
                      <a:lnTo>
                        <a:pt x="314629" y="199390"/>
                      </a:lnTo>
                      <a:lnTo>
                        <a:pt x="313918" y="198120"/>
                      </a:lnTo>
                      <a:lnTo>
                        <a:pt x="293814" y="198120"/>
                      </a:lnTo>
                      <a:lnTo>
                        <a:pt x="291299" y="195580"/>
                      </a:lnTo>
                      <a:close/>
                    </a:path>
                    <a:path w="414019" h="295910">
                      <a:moveTo>
                        <a:pt x="390563" y="200660"/>
                      </a:moveTo>
                      <a:lnTo>
                        <a:pt x="361772" y="200660"/>
                      </a:lnTo>
                      <a:lnTo>
                        <a:pt x="363753" y="201930"/>
                      </a:lnTo>
                      <a:lnTo>
                        <a:pt x="360578" y="203200"/>
                      </a:lnTo>
                      <a:lnTo>
                        <a:pt x="396582" y="203200"/>
                      </a:lnTo>
                      <a:lnTo>
                        <a:pt x="395274" y="201930"/>
                      </a:lnTo>
                      <a:lnTo>
                        <a:pt x="392150" y="201930"/>
                      </a:lnTo>
                      <a:lnTo>
                        <a:pt x="390563" y="200660"/>
                      </a:lnTo>
                      <a:close/>
                    </a:path>
                    <a:path w="414019" h="295910">
                      <a:moveTo>
                        <a:pt x="316039" y="200660"/>
                      </a:moveTo>
                      <a:lnTo>
                        <a:pt x="312877" y="200660"/>
                      </a:lnTo>
                      <a:lnTo>
                        <a:pt x="314071" y="201930"/>
                      </a:lnTo>
                      <a:lnTo>
                        <a:pt x="315874" y="201930"/>
                      </a:lnTo>
                      <a:lnTo>
                        <a:pt x="316039" y="200660"/>
                      </a:lnTo>
                      <a:close/>
                    </a:path>
                    <a:path w="414019" h="295910">
                      <a:moveTo>
                        <a:pt x="365607" y="194310"/>
                      </a:moveTo>
                      <a:lnTo>
                        <a:pt x="352018" y="194310"/>
                      </a:lnTo>
                      <a:lnTo>
                        <a:pt x="351814" y="194587"/>
                      </a:lnTo>
                      <a:lnTo>
                        <a:pt x="351358" y="195580"/>
                      </a:lnTo>
                      <a:lnTo>
                        <a:pt x="350769" y="196010"/>
                      </a:lnTo>
                      <a:lnTo>
                        <a:pt x="350151" y="196850"/>
                      </a:lnTo>
                      <a:lnTo>
                        <a:pt x="349851" y="197041"/>
                      </a:lnTo>
                      <a:lnTo>
                        <a:pt x="348818" y="199390"/>
                      </a:lnTo>
                      <a:lnTo>
                        <a:pt x="346481" y="201930"/>
                      </a:lnTo>
                      <a:lnTo>
                        <a:pt x="357606" y="198120"/>
                      </a:lnTo>
                      <a:lnTo>
                        <a:pt x="360921" y="198120"/>
                      </a:lnTo>
                      <a:lnTo>
                        <a:pt x="363448" y="195580"/>
                      </a:lnTo>
                      <a:lnTo>
                        <a:pt x="363931" y="195580"/>
                      </a:lnTo>
                      <a:lnTo>
                        <a:pt x="365607" y="194310"/>
                      </a:lnTo>
                      <a:close/>
                    </a:path>
                    <a:path w="414019" h="295910">
                      <a:moveTo>
                        <a:pt x="393484" y="200660"/>
                      </a:moveTo>
                      <a:lnTo>
                        <a:pt x="392150" y="201930"/>
                      </a:lnTo>
                      <a:lnTo>
                        <a:pt x="395325" y="201930"/>
                      </a:lnTo>
                      <a:lnTo>
                        <a:pt x="393484" y="200660"/>
                      </a:lnTo>
                      <a:close/>
                    </a:path>
                    <a:path w="414019" h="295910">
                      <a:moveTo>
                        <a:pt x="402729" y="200660"/>
                      </a:moveTo>
                      <a:lnTo>
                        <a:pt x="395668" y="200660"/>
                      </a:lnTo>
                      <a:lnTo>
                        <a:pt x="396786" y="201930"/>
                      </a:lnTo>
                      <a:lnTo>
                        <a:pt x="403237" y="201930"/>
                      </a:lnTo>
                      <a:lnTo>
                        <a:pt x="402729" y="200660"/>
                      </a:lnTo>
                      <a:close/>
                    </a:path>
                    <a:path w="414019" h="295910">
                      <a:moveTo>
                        <a:pt x="273100" y="199390"/>
                      </a:moveTo>
                      <a:lnTo>
                        <a:pt x="272453" y="199390"/>
                      </a:lnTo>
                      <a:lnTo>
                        <a:pt x="270929" y="200660"/>
                      </a:lnTo>
                      <a:lnTo>
                        <a:pt x="272307" y="200660"/>
                      </a:lnTo>
                      <a:lnTo>
                        <a:pt x="273100" y="199390"/>
                      </a:lnTo>
                      <a:close/>
                    </a:path>
                    <a:path w="414019" h="295910">
                      <a:moveTo>
                        <a:pt x="327190" y="199390"/>
                      </a:moveTo>
                      <a:lnTo>
                        <a:pt x="317195" y="199390"/>
                      </a:lnTo>
                      <a:lnTo>
                        <a:pt x="317093" y="200660"/>
                      </a:lnTo>
                      <a:lnTo>
                        <a:pt x="327698" y="200660"/>
                      </a:lnTo>
                      <a:lnTo>
                        <a:pt x="327190" y="199390"/>
                      </a:lnTo>
                      <a:close/>
                    </a:path>
                    <a:path w="414019" h="295910">
                      <a:moveTo>
                        <a:pt x="400723" y="198120"/>
                      </a:moveTo>
                      <a:lnTo>
                        <a:pt x="363512" y="198120"/>
                      </a:lnTo>
                      <a:lnTo>
                        <a:pt x="362572" y="200660"/>
                      </a:lnTo>
                      <a:lnTo>
                        <a:pt x="390499" y="200660"/>
                      </a:lnTo>
                      <a:lnTo>
                        <a:pt x="389718" y="199574"/>
                      </a:lnTo>
                      <a:lnTo>
                        <a:pt x="389369" y="199390"/>
                      </a:lnTo>
                      <a:lnTo>
                        <a:pt x="400799" y="199390"/>
                      </a:lnTo>
                      <a:lnTo>
                        <a:pt x="400723" y="198120"/>
                      </a:lnTo>
                      <a:close/>
                    </a:path>
                    <a:path w="414019" h="295910">
                      <a:moveTo>
                        <a:pt x="400799" y="199390"/>
                      </a:moveTo>
                      <a:lnTo>
                        <a:pt x="389585" y="199390"/>
                      </a:lnTo>
                      <a:lnTo>
                        <a:pt x="389718" y="199574"/>
                      </a:lnTo>
                      <a:lnTo>
                        <a:pt x="391769" y="200660"/>
                      </a:lnTo>
                      <a:lnTo>
                        <a:pt x="401878" y="200660"/>
                      </a:lnTo>
                      <a:lnTo>
                        <a:pt x="400799" y="199390"/>
                      </a:lnTo>
                      <a:close/>
                    </a:path>
                    <a:path w="414019" h="295910">
                      <a:moveTo>
                        <a:pt x="389585" y="199390"/>
                      </a:moveTo>
                      <a:lnTo>
                        <a:pt x="389369" y="199390"/>
                      </a:lnTo>
                      <a:lnTo>
                        <a:pt x="389718" y="199574"/>
                      </a:lnTo>
                      <a:lnTo>
                        <a:pt x="389585" y="199390"/>
                      </a:lnTo>
                      <a:close/>
                    </a:path>
                    <a:path w="414019" h="295910">
                      <a:moveTo>
                        <a:pt x="324535" y="198120"/>
                      </a:moveTo>
                      <a:lnTo>
                        <a:pt x="313918" y="198120"/>
                      </a:lnTo>
                      <a:lnTo>
                        <a:pt x="316014" y="199390"/>
                      </a:lnTo>
                      <a:lnTo>
                        <a:pt x="326504" y="199390"/>
                      </a:lnTo>
                      <a:lnTo>
                        <a:pt x="324535" y="198120"/>
                      </a:lnTo>
                      <a:close/>
                    </a:path>
                    <a:path w="414019" h="295910">
                      <a:moveTo>
                        <a:pt x="352399" y="193040"/>
                      </a:moveTo>
                      <a:lnTo>
                        <a:pt x="337185" y="193040"/>
                      </a:lnTo>
                      <a:lnTo>
                        <a:pt x="339763" y="195580"/>
                      </a:lnTo>
                      <a:lnTo>
                        <a:pt x="342455" y="195580"/>
                      </a:lnTo>
                      <a:lnTo>
                        <a:pt x="342011" y="196850"/>
                      </a:lnTo>
                      <a:lnTo>
                        <a:pt x="344779" y="198120"/>
                      </a:lnTo>
                      <a:lnTo>
                        <a:pt x="346163" y="199390"/>
                      </a:lnTo>
                      <a:lnTo>
                        <a:pt x="349851" y="197041"/>
                      </a:lnTo>
                      <a:lnTo>
                        <a:pt x="349935" y="196850"/>
                      </a:lnTo>
                      <a:lnTo>
                        <a:pt x="349618" y="196850"/>
                      </a:lnTo>
                      <a:lnTo>
                        <a:pt x="350769" y="196010"/>
                      </a:lnTo>
                      <a:lnTo>
                        <a:pt x="351814" y="194587"/>
                      </a:lnTo>
                      <a:lnTo>
                        <a:pt x="351942" y="194310"/>
                      </a:lnTo>
                      <a:lnTo>
                        <a:pt x="352107" y="194310"/>
                      </a:lnTo>
                      <a:lnTo>
                        <a:pt x="352264" y="193833"/>
                      </a:lnTo>
                      <a:lnTo>
                        <a:pt x="352399" y="193040"/>
                      </a:lnTo>
                      <a:close/>
                    </a:path>
                    <a:path w="414019" h="295910">
                      <a:moveTo>
                        <a:pt x="406273" y="198120"/>
                      </a:moveTo>
                      <a:lnTo>
                        <a:pt x="401091" y="198120"/>
                      </a:lnTo>
                      <a:lnTo>
                        <a:pt x="403237" y="199390"/>
                      </a:lnTo>
                      <a:lnTo>
                        <a:pt x="403872" y="199390"/>
                      </a:lnTo>
                      <a:lnTo>
                        <a:pt x="406273" y="198120"/>
                      </a:lnTo>
                      <a:close/>
                    </a:path>
                    <a:path w="414019" h="295910">
                      <a:moveTo>
                        <a:pt x="323481" y="196850"/>
                      </a:moveTo>
                      <a:lnTo>
                        <a:pt x="295325" y="196850"/>
                      </a:lnTo>
                      <a:lnTo>
                        <a:pt x="293814" y="198120"/>
                      </a:lnTo>
                      <a:lnTo>
                        <a:pt x="324675" y="198120"/>
                      </a:lnTo>
                      <a:lnTo>
                        <a:pt x="323481" y="196850"/>
                      </a:lnTo>
                      <a:close/>
                    </a:path>
                    <a:path w="414019" h="295910">
                      <a:moveTo>
                        <a:pt x="367512" y="193040"/>
                      </a:moveTo>
                      <a:lnTo>
                        <a:pt x="366445" y="194310"/>
                      </a:lnTo>
                      <a:lnTo>
                        <a:pt x="364629" y="195580"/>
                      </a:lnTo>
                      <a:lnTo>
                        <a:pt x="363397" y="198120"/>
                      </a:lnTo>
                      <a:lnTo>
                        <a:pt x="398983" y="198120"/>
                      </a:lnTo>
                      <a:lnTo>
                        <a:pt x="397014" y="196850"/>
                      </a:lnTo>
                      <a:lnTo>
                        <a:pt x="391223" y="196850"/>
                      </a:lnTo>
                      <a:lnTo>
                        <a:pt x="391410" y="194977"/>
                      </a:lnTo>
                      <a:lnTo>
                        <a:pt x="390296" y="194310"/>
                      </a:lnTo>
                      <a:lnTo>
                        <a:pt x="366712" y="194310"/>
                      </a:lnTo>
                      <a:lnTo>
                        <a:pt x="367512" y="193040"/>
                      </a:lnTo>
                      <a:close/>
                    </a:path>
                    <a:path w="414019" h="295910">
                      <a:moveTo>
                        <a:pt x="404876" y="194310"/>
                      </a:moveTo>
                      <a:lnTo>
                        <a:pt x="401574" y="194310"/>
                      </a:lnTo>
                      <a:lnTo>
                        <a:pt x="401180" y="195580"/>
                      </a:lnTo>
                      <a:lnTo>
                        <a:pt x="399796" y="195580"/>
                      </a:lnTo>
                      <a:lnTo>
                        <a:pt x="399948" y="196850"/>
                      </a:lnTo>
                      <a:lnTo>
                        <a:pt x="400532" y="198120"/>
                      </a:lnTo>
                      <a:lnTo>
                        <a:pt x="408863" y="198120"/>
                      </a:lnTo>
                      <a:lnTo>
                        <a:pt x="408139" y="196850"/>
                      </a:lnTo>
                      <a:lnTo>
                        <a:pt x="406425" y="195580"/>
                      </a:lnTo>
                      <a:lnTo>
                        <a:pt x="404876" y="194310"/>
                      </a:lnTo>
                      <a:close/>
                    </a:path>
                    <a:path w="414019" h="295910">
                      <a:moveTo>
                        <a:pt x="350769" y="196010"/>
                      </a:moveTo>
                      <a:lnTo>
                        <a:pt x="349618" y="196850"/>
                      </a:lnTo>
                      <a:lnTo>
                        <a:pt x="349935" y="196850"/>
                      </a:lnTo>
                      <a:lnTo>
                        <a:pt x="349851" y="197041"/>
                      </a:lnTo>
                      <a:lnTo>
                        <a:pt x="350151" y="196850"/>
                      </a:lnTo>
                      <a:lnTo>
                        <a:pt x="350769" y="196010"/>
                      </a:lnTo>
                      <a:close/>
                    </a:path>
                    <a:path w="414019" h="295910">
                      <a:moveTo>
                        <a:pt x="279831" y="194310"/>
                      </a:moveTo>
                      <a:lnTo>
                        <a:pt x="279222" y="194310"/>
                      </a:lnTo>
                      <a:lnTo>
                        <a:pt x="279031" y="196850"/>
                      </a:lnTo>
                      <a:lnTo>
                        <a:pt x="282473" y="196850"/>
                      </a:lnTo>
                      <a:lnTo>
                        <a:pt x="281520" y="195580"/>
                      </a:lnTo>
                      <a:lnTo>
                        <a:pt x="281673" y="195580"/>
                      </a:lnTo>
                      <a:lnTo>
                        <a:pt x="279831" y="194310"/>
                      </a:lnTo>
                      <a:close/>
                    </a:path>
                    <a:path w="414019" h="295910">
                      <a:moveTo>
                        <a:pt x="321576" y="195580"/>
                      </a:moveTo>
                      <a:lnTo>
                        <a:pt x="295211" y="195580"/>
                      </a:lnTo>
                      <a:lnTo>
                        <a:pt x="295554" y="196850"/>
                      </a:lnTo>
                      <a:lnTo>
                        <a:pt x="322364" y="196850"/>
                      </a:lnTo>
                      <a:lnTo>
                        <a:pt x="321576" y="195580"/>
                      </a:lnTo>
                      <a:close/>
                    </a:path>
                    <a:path w="414019" h="295910">
                      <a:moveTo>
                        <a:pt x="394830" y="191770"/>
                      </a:moveTo>
                      <a:lnTo>
                        <a:pt x="393763" y="193040"/>
                      </a:lnTo>
                      <a:lnTo>
                        <a:pt x="367512" y="193040"/>
                      </a:lnTo>
                      <a:lnTo>
                        <a:pt x="366712" y="194310"/>
                      </a:lnTo>
                      <a:lnTo>
                        <a:pt x="391477" y="194310"/>
                      </a:lnTo>
                      <a:lnTo>
                        <a:pt x="391410" y="194977"/>
                      </a:lnTo>
                      <a:lnTo>
                        <a:pt x="392417" y="195580"/>
                      </a:lnTo>
                      <a:lnTo>
                        <a:pt x="393166" y="196850"/>
                      </a:lnTo>
                      <a:lnTo>
                        <a:pt x="394017" y="195580"/>
                      </a:lnTo>
                      <a:lnTo>
                        <a:pt x="396862" y="193040"/>
                      </a:lnTo>
                      <a:lnTo>
                        <a:pt x="394830" y="191770"/>
                      </a:lnTo>
                      <a:close/>
                    </a:path>
                    <a:path w="414019" h="295910">
                      <a:moveTo>
                        <a:pt x="413702" y="194310"/>
                      </a:moveTo>
                      <a:lnTo>
                        <a:pt x="406717" y="194310"/>
                      </a:lnTo>
                      <a:lnTo>
                        <a:pt x="408749" y="195580"/>
                      </a:lnTo>
                      <a:lnTo>
                        <a:pt x="408406" y="196850"/>
                      </a:lnTo>
                      <a:lnTo>
                        <a:pt x="411238" y="196850"/>
                      </a:lnTo>
                      <a:lnTo>
                        <a:pt x="413169" y="195580"/>
                      </a:lnTo>
                      <a:lnTo>
                        <a:pt x="413702" y="194310"/>
                      </a:lnTo>
                      <a:close/>
                    </a:path>
                    <a:path w="414019" h="295910">
                      <a:moveTo>
                        <a:pt x="321005" y="194310"/>
                      </a:moveTo>
                      <a:lnTo>
                        <a:pt x="295795" y="194310"/>
                      </a:lnTo>
                      <a:lnTo>
                        <a:pt x="295910" y="195580"/>
                      </a:lnTo>
                      <a:lnTo>
                        <a:pt x="321271" y="195580"/>
                      </a:lnTo>
                      <a:lnTo>
                        <a:pt x="321005" y="194310"/>
                      </a:lnTo>
                      <a:close/>
                    </a:path>
                    <a:path w="414019" h="295910">
                      <a:moveTo>
                        <a:pt x="327507" y="189230"/>
                      </a:moveTo>
                      <a:lnTo>
                        <a:pt x="317182" y="189230"/>
                      </a:lnTo>
                      <a:lnTo>
                        <a:pt x="319087" y="190500"/>
                      </a:lnTo>
                      <a:lnTo>
                        <a:pt x="320916" y="191770"/>
                      </a:lnTo>
                      <a:lnTo>
                        <a:pt x="323164" y="193040"/>
                      </a:lnTo>
                      <a:lnTo>
                        <a:pt x="325678" y="195580"/>
                      </a:lnTo>
                      <a:lnTo>
                        <a:pt x="328396" y="194310"/>
                      </a:lnTo>
                      <a:lnTo>
                        <a:pt x="325805" y="191770"/>
                      </a:lnTo>
                      <a:lnTo>
                        <a:pt x="325869" y="190500"/>
                      </a:lnTo>
                      <a:lnTo>
                        <a:pt x="328218" y="190500"/>
                      </a:lnTo>
                      <a:lnTo>
                        <a:pt x="327507" y="189230"/>
                      </a:lnTo>
                      <a:close/>
                    </a:path>
                    <a:path w="414019" h="295910">
                      <a:moveTo>
                        <a:pt x="406222" y="186690"/>
                      </a:moveTo>
                      <a:lnTo>
                        <a:pt x="406069" y="186690"/>
                      </a:lnTo>
                      <a:lnTo>
                        <a:pt x="401078" y="187960"/>
                      </a:lnTo>
                      <a:lnTo>
                        <a:pt x="401294" y="187960"/>
                      </a:lnTo>
                      <a:lnTo>
                        <a:pt x="400761" y="190500"/>
                      </a:lnTo>
                      <a:lnTo>
                        <a:pt x="394157" y="190500"/>
                      </a:lnTo>
                      <a:lnTo>
                        <a:pt x="397090" y="191770"/>
                      </a:lnTo>
                      <a:lnTo>
                        <a:pt x="399796" y="193040"/>
                      </a:lnTo>
                      <a:lnTo>
                        <a:pt x="399821" y="195580"/>
                      </a:lnTo>
                      <a:lnTo>
                        <a:pt x="401180" y="195580"/>
                      </a:lnTo>
                      <a:lnTo>
                        <a:pt x="400392" y="194310"/>
                      </a:lnTo>
                      <a:lnTo>
                        <a:pt x="413702" y="194310"/>
                      </a:lnTo>
                      <a:lnTo>
                        <a:pt x="409143" y="189230"/>
                      </a:lnTo>
                      <a:lnTo>
                        <a:pt x="406222" y="186690"/>
                      </a:lnTo>
                      <a:close/>
                    </a:path>
                    <a:path w="414019" h="295910">
                      <a:moveTo>
                        <a:pt x="391477" y="194310"/>
                      </a:moveTo>
                      <a:lnTo>
                        <a:pt x="390296" y="194310"/>
                      </a:lnTo>
                      <a:lnTo>
                        <a:pt x="391410" y="194977"/>
                      </a:lnTo>
                      <a:lnTo>
                        <a:pt x="391477" y="194310"/>
                      </a:lnTo>
                      <a:close/>
                    </a:path>
                    <a:path w="414019" h="295910">
                      <a:moveTo>
                        <a:pt x="352018" y="194310"/>
                      </a:moveTo>
                      <a:lnTo>
                        <a:pt x="351814" y="194587"/>
                      </a:lnTo>
                      <a:lnTo>
                        <a:pt x="352018" y="194310"/>
                      </a:lnTo>
                      <a:close/>
                    </a:path>
                    <a:path w="414019" h="295910">
                      <a:moveTo>
                        <a:pt x="318566" y="190500"/>
                      </a:moveTo>
                      <a:lnTo>
                        <a:pt x="301371" y="190500"/>
                      </a:lnTo>
                      <a:lnTo>
                        <a:pt x="300393" y="193040"/>
                      </a:lnTo>
                      <a:lnTo>
                        <a:pt x="297218" y="194310"/>
                      </a:lnTo>
                      <a:lnTo>
                        <a:pt x="320789" y="194310"/>
                      </a:lnTo>
                      <a:lnTo>
                        <a:pt x="319582" y="191770"/>
                      </a:lnTo>
                      <a:lnTo>
                        <a:pt x="318566" y="190500"/>
                      </a:lnTo>
                      <a:close/>
                    </a:path>
                    <a:path w="414019" h="295910">
                      <a:moveTo>
                        <a:pt x="352264" y="193833"/>
                      </a:moveTo>
                      <a:lnTo>
                        <a:pt x="352107" y="194310"/>
                      </a:lnTo>
                      <a:lnTo>
                        <a:pt x="352222" y="194079"/>
                      </a:lnTo>
                      <a:lnTo>
                        <a:pt x="352264" y="193833"/>
                      </a:lnTo>
                      <a:close/>
                    </a:path>
                    <a:path w="414019" h="295910">
                      <a:moveTo>
                        <a:pt x="352222" y="194079"/>
                      </a:moveTo>
                      <a:lnTo>
                        <a:pt x="352107" y="194310"/>
                      </a:lnTo>
                      <a:lnTo>
                        <a:pt x="352222" y="194079"/>
                      </a:lnTo>
                      <a:close/>
                    </a:path>
                    <a:path w="414019" h="295910">
                      <a:moveTo>
                        <a:pt x="367512" y="193040"/>
                      </a:moveTo>
                      <a:lnTo>
                        <a:pt x="352742" y="193040"/>
                      </a:lnTo>
                      <a:lnTo>
                        <a:pt x="352183" y="194310"/>
                      </a:lnTo>
                      <a:lnTo>
                        <a:pt x="366445" y="194310"/>
                      </a:lnTo>
                      <a:lnTo>
                        <a:pt x="367512" y="193040"/>
                      </a:lnTo>
                      <a:close/>
                    </a:path>
                    <a:path w="414019" h="295910">
                      <a:moveTo>
                        <a:pt x="352742" y="193040"/>
                      </a:moveTo>
                      <a:lnTo>
                        <a:pt x="352526" y="193040"/>
                      </a:lnTo>
                      <a:lnTo>
                        <a:pt x="352264" y="193833"/>
                      </a:lnTo>
                      <a:lnTo>
                        <a:pt x="352222" y="194079"/>
                      </a:lnTo>
                      <a:lnTo>
                        <a:pt x="352742" y="193040"/>
                      </a:lnTo>
                      <a:close/>
                    </a:path>
                    <a:path w="414019" h="295910">
                      <a:moveTo>
                        <a:pt x="400316" y="189230"/>
                      </a:moveTo>
                      <a:lnTo>
                        <a:pt x="333032" y="189230"/>
                      </a:lnTo>
                      <a:lnTo>
                        <a:pt x="335089" y="193040"/>
                      </a:lnTo>
                      <a:lnTo>
                        <a:pt x="336778" y="191770"/>
                      </a:lnTo>
                      <a:lnTo>
                        <a:pt x="392798" y="191770"/>
                      </a:lnTo>
                      <a:lnTo>
                        <a:pt x="394157" y="190500"/>
                      </a:lnTo>
                      <a:lnTo>
                        <a:pt x="400761" y="190500"/>
                      </a:lnTo>
                      <a:lnTo>
                        <a:pt x="400316" y="189230"/>
                      </a:lnTo>
                      <a:close/>
                    </a:path>
                    <a:path w="414019" h="295910">
                      <a:moveTo>
                        <a:pt x="392798" y="191770"/>
                      </a:moveTo>
                      <a:lnTo>
                        <a:pt x="339140" y="191770"/>
                      </a:lnTo>
                      <a:lnTo>
                        <a:pt x="337299" y="193040"/>
                      </a:lnTo>
                      <a:lnTo>
                        <a:pt x="393763" y="193040"/>
                      </a:lnTo>
                      <a:lnTo>
                        <a:pt x="392798" y="191770"/>
                      </a:lnTo>
                      <a:close/>
                    </a:path>
                    <a:path w="414019" h="295910">
                      <a:moveTo>
                        <a:pt x="323316" y="186690"/>
                      </a:moveTo>
                      <a:lnTo>
                        <a:pt x="293001" y="186690"/>
                      </a:lnTo>
                      <a:lnTo>
                        <a:pt x="295160" y="187960"/>
                      </a:lnTo>
                      <a:lnTo>
                        <a:pt x="299732" y="187960"/>
                      </a:lnTo>
                      <a:lnTo>
                        <a:pt x="297434" y="190500"/>
                      </a:lnTo>
                      <a:lnTo>
                        <a:pt x="297078" y="191770"/>
                      </a:lnTo>
                      <a:lnTo>
                        <a:pt x="301371" y="190500"/>
                      </a:lnTo>
                      <a:lnTo>
                        <a:pt x="318566" y="190500"/>
                      </a:lnTo>
                      <a:lnTo>
                        <a:pt x="317182" y="189230"/>
                      </a:lnTo>
                      <a:lnTo>
                        <a:pt x="320763" y="189230"/>
                      </a:lnTo>
                      <a:lnTo>
                        <a:pt x="320827" y="187960"/>
                      </a:lnTo>
                      <a:lnTo>
                        <a:pt x="323316" y="186690"/>
                      </a:lnTo>
                      <a:close/>
                    </a:path>
                    <a:path w="414019" h="295910">
                      <a:moveTo>
                        <a:pt x="328218" y="190500"/>
                      </a:moveTo>
                      <a:lnTo>
                        <a:pt x="325869" y="190500"/>
                      </a:lnTo>
                      <a:lnTo>
                        <a:pt x="327761" y="191770"/>
                      </a:lnTo>
                      <a:lnTo>
                        <a:pt x="329272" y="191770"/>
                      </a:lnTo>
                      <a:lnTo>
                        <a:pt x="328218" y="190500"/>
                      </a:lnTo>
                      <a:close/>
                    </a:path>
                    <a:path w="414019" h="295910">
                      <a:moveTo>
                        <a:pt x="297776" y="187960"/>
                      </a:moveTo>
                      <a:lnTo>
                        <a:pt x="296964" y="187960"/>
                      </a:lnTo>
                      <a:lnTo>
                        <a:pt x="297014" y="189230"/>
                      </a:lnTo>
                      <a:lnTo>
                        <a:pt x="297586" y="189230"/>
                      </a:lnTo>
                      <a:lnTo>
                        <a:pt x="297776" y="187960"/>
                      </a:lnTo>
                      <a:close/>
                    </a:path>
                    <a:path w="414019" h="295910">
                      <a:moveTo>
                        <a:pt x="330898" y="186690"/>
                      </a:moveTo>
                      <a:lnTo>
                        <a:pt x="324929" y="186690"/>
                      </a:lnTo>
                      <a:lnTo>
                        <a:pt x="327621" y="187960"/>
                      </a:lnTo>
                      <a:lnTo>
                        <a:pt x="330200" y="187960"/>
                      </a:lnTo>
                      <a:lnTo>
                        <a:pt x="333121" y="189230"/>
                      </a:lnTo>
                      <a:lnTo>
                        <a:pt x="332549" y="187960"/>
                      </a:lnTo>
                      <a:lnTo>
                        <a:pt x="330898" y="186690"/>
                      </a:lnTo>
                      <a:close/>
                    </a:path>
                    <a:path w="414019" h="295910">
                      <a:moveTo>
                        <a:pt x="399821" y="186690"/>
                      </a:moveTo>
                      <a:lnTo>
                        <a:pt x="332054" y="186690"/>
                      </a:lnTo>
                      <a:lnTo>
                        <a:pt x="335089" y="187960"/>
                      </a:lnTo>
                      <a:lnTo>
                        <a:pt x="333832" y="189230"/>
                      </a:lnTo>
                      <a:lnTo>
                        <a:pt x="400177" y="189230"/>
                      </a:lnTo>
                      <a:lnTo>
                        <a:pt x="399948" y="187960"/>
                      </a:lnTo>
                      <a:lnTo>
                        <a:pt x="399796" y="187960"/>
                      </a:lnTo>
                      <a:lnTo>
                        <a:pt x="399821" y="186690"/>
                      </a:lnTo>
                      <a:close/>
                    </a:path>
                    <a:path w="414019" h="295910">
                      <a:moveTo>
                        <a:pt x="373075" y="165100"/>
                      </a:moveTo>
                      <a:lnTo>
                        <a:pt x="253568" y="165100"/>
                      </a:lnTo>
                      <a:lnTo>
                        <a:pt x="253377" y="166370"/>
                      </a:lnTo>
                      <a:lnTo>
                        <a:pt x="253707" y="167640"/>
                      </a:lnTo>
                      <a:lnTo>
                        <a:pt x="254088" y="167640"/>
                      </a:lnTo>
                      <a:lnTo>
                        <a:pt x="254558" y="168910"/>
                      </a:lnTo>
                      <a:lnTo>
                        <a:pt x="254469" y="170180"/>
                      </a:lnTo>
                      <a:lnTo>
                        <a:pt x="255701" y="171450"/>
                      </a:lnTo>
                      <a:lnTo>
                        <a:pt x="256908" y="171450"/>
                      </a:lnTo>
                      <a:lnTo>
                        <a:pt x="255943" y="172720"/>
                      </a:lnTo>
                      <a:lnTo>
                        <a:pt x="253403" y="177800"/>
                      </a:lnTo>
                      <a:lnTo>
                        <a:pt x="248754" y="180340"/>
                      </a:lnTo>
                      <a:lnTo>
                        <a:pt x="245808" y="184150"/>
                      </a:lnTo>
                      <a:lnTo>
                        <a:pt x="251561" y="184150"/>
                      </a:lnTo>
                      <a:lnTo>
                        <a:pt x="257886" y="185420"/>
                      </a:lnTo>
                      <a:lnTo>
                        <a:pt x="261010" y="185420"/>
                      </a:lnTo>
                      <a:lnTo>
                        <a:pt x="265125" y="186690"/>
                      </a:lnTo>
                      <a:lnTo>
                        <a:pt x="266763" y="187960"/>
                      </a:lnTo>
                      <a:lnTo>
                        <a:pt x="269748" y="186690"/>
                      </a:lnTo>
                      <a:lnTo>
                        <a:pt x="269417" y="184150"/>
                      </a:lnTo>
                      <a:lnTo>
                        <a:pt x="270675" y="181610"/>
                      </a:lnTo>
                      <a:lnTo>
                        <a:pt x="271043" y="181610"/>
                      </a:lnTo>
                      <a:lnTo>
                        <a:pt x="272008" y="179070"/>
                      </a:lnTo>
                      <a:lnTo>
                        <a:pt x="271576" y="179070"/>
                      </a:lnTo>
                      <a:lnTo>
                        <a:pt x="271030" y="176530"/>
                      </a:lnTo>
                      <a:lnTo>
                        <a:pt x="364426" y="176530"/>
                      </a:lnTo>
                      <a:lnTo>
                        <a:pt x="364147" y="173990"/>
                      </a:lnTo>
                      <a:lnTo>
                        <a:pt x="366763" y="173990"/>
                      </a:lnTo>
                      <a:lnTo>
                        <a:pt x="371221" y="172720"/>
                      </a:lnTo>
                      <a:lnTo>
                        <a:pt x="363080" y="172720"/>
                      </a:lnTo>
                      <a:lnTo>
                        <a:pt x="365353" y="170180"/>
                      </a:lnTo>
                      <a:lnTo>
                        <a:pt x="365556" y="170180"/>
                      </a:lnTo>
                      <a:lnTo>
                        <a:pt x="363220" y="168910"/>
                      </a:lnTo>
                      <a:lnTo>
                        <a:pt x="375151" y="168910"/>
                      </a:lnTo>
                      <a:lnTo>
                        <a:pt x="374611" y="167640"/>
                      </a:lnTo>
                      <a:lnTo>
                        <a:pt x="373659" y="166370"/>
                      </a:lnTo>
                      <a:lnTo>
                        <a:pt x="373075" y="165100"/>
                      </a:lnTo>
                      <a:close/>
                    </a:path>
                    <a:path w="414019" h="295910">
                      <a:moveTo>
                        <a:pt x="383564" y="180232"/>
                      </a:moveTo>
                      <a:lnTo>
                        <a:pt x="383616" y="181610"/>
                      </a:lnTo>
                      <a:lnTo>
                        <a:pt x="383730" y="182880"/>
                      </a:lnTo>
                      <a:lnTo>
                        <a:pt x="383514" y="184150"/>
                      </a:lnTo>
                      <a:lnTo>
                        <a:pt x="383120" y="184150"/>
                      </a:lnTo>
                      <a:lnTo>
                        <a:pt x="382549" y="185420"/>
                      </a:lnTo>
                      <a:lnTo>
                        <a:pt x="288531" y="185420"/>
                      </a:lnTo>
                      <a:lnTo>
                        <a:pt x="292379" y="186690"/>
                      </a:lnTo>
                      <a:lnTo>
                        <a:pt x="390080" y="186690"/>
                      </a:lnTo>
                      <a:lnTo>
                        <a:pt x="390182" y="184150"/>
                      </a:lnTo>
                      <a:lnTo>
                        <a:pt x="391020" y="182880"/>
                      </a:lnTo>
                      <a:lnTo>
                        <a:pt x="391236" y="180340"/>
                      </a:lnTo>
                      <a:lnTo>
                        <a:pt x="383730" y="180340"/>
                      </a:lnTo>
                      <a:lnTo>
                        <a:pt x="383564" y="180232"/>
                      </a:lnTo>
                      <a:close/>
                    </a:path>
                    <a:path w="414019" h="295910">
                      <a:moveTo>
                        <a:pt x="396227" y="179070"/>
                      </a:moveTo>
                      <a:lnTo>
                        <a:pt x="392811" y="179070"/>
                      </a:lnTo>
                      <a:lnTo>
                        <a:pt x="392252" y="180340"/>
                      </a:lnTo>
                      <a:lnTo>
                        <a:pt x="391934" y="181610"/>
                      </a:lnTo>
                      <a:lnTo>
                        <a:pt x="392353" y="182880"/>
                      </a:lnTo>
                      <a:lnTo>
                        <a:pt x="392176" y="182880"/>
                      </a:lnTo>
                      <a:lnTo>
                        <a:pt x="391553" y="184150"/>
                      </a:lnTo>
                      <a:lnTo>
                        <a:pt x="390994" y="185420"/>
                      </a:lnTo>
                      <a:lnTo>
                        <a:pt x="391185" y="185420"/>
                      </a:lnTo>
                      <a:lnTo>
                        <a:pt x="390080" y="186690"/>
                      </a:lnTo>
                      <a:lnTo>
                        <a:pt x="399656" y="186690"/>
                      </a:lnTo>
                      <a:lnTo>
                        <a:pt x="399834" y="185420"/>
                      </a:lnTo>
                      <a:lnTo>
                        <a:pt x="400075" y="184150"/>
                      </a:lnTo>
                      <a:lnTo>
                        <a:pt x="398526" y="184150"/>
                      </a:lnTo>
                      <a:lnTo>
                        <a:pt x="397510" y="182880"/>
                      </a:lnTo>
                      <a:lnTo>
                        <a:pt x="397239" y="182075"/>
                      </a:lnTo>
                      <a:lnTo>
                        <a:pt x="396024" y="181610"/>
                      </a:lnTo>
                      <a:lnTo>
                        <a:pt x="396617" y="180229"/>
                      </a:lnTo>
                      <a:lnTo>
                        <a:pt x="396227" y="179070"/>
                      </a:lnTo>
                      <a:close/>
                    </a:path>
                    <a:path w="414019" h="295910">
                      <a:moveTo>
                        <a:pt x="382447" y="180340"/>
                      </a:moveTo>
                      <a:lnTo>
                        <a:pt x="380326" y="182880"/>
                      </a:lnTo>
                      <a:lnTo>
                        <a:pt x="280301" y="182880"/>
                      </a:lnTo>
                      <a:lnTo>
                        <a:pt x="281051" y="184150"/>
                      </a:lnTo>
                      <a:lnTo>
                        <a:pt x="284162" y="184150"/>
                      </a:lnTo>
                      <a:lnTo>
                        <a:pt x="286397" y="185420"/>
                      </a:lnTo>
                      <a:lnTo>
                        <a:pt x="382549" y="185420"/>
                      </a:lnTo>
                      <a:lnTo>
                        <a:pt x="382270" y="182880"/>
                      </a:lnTo>
                      <a:lnTo>
                        <a:pt x="382676" y="181610"/>
                      </a:lnTo>
                      <a:lnTo>
                        <a:pt x="382447" y="180340"/>
                      </a:lnTo>
                      <a:close/>
                    </a:path>
                    <a:path w="414019" h="295910">
                      <a:moveTo>
                        <a:pt x="402767" y="176530"/>
                      </a:moveTo>
                      <a:lnTo>
                        <a:pt x="399859" y="176530"/>
                      </a:lnTo>
                      <a:lnTo>
                        <a:pt x="398932" y="177800"/>
                      </a:lnTo>
                      <a:lnTo>
                        <a:pt x="399135" y="179070"/>
                      </a:lnTo>
                      <a:lnTo>
                        <a:pt x="397116" y="179070"/>
                      </a:lnTo>
                      <a:lnTo>
                        <a:pt x="396617" y="180229"/>
                      </a:lnTo>
                      <a:lnTo>
                        <a:pt x="397239" y="182075"/>
                      </a:lnTo>
                      <a:lnTo>
                        <a:pt x="399338" y="182880"/>
                      </a:lnTo>
                      <a:lnTo>
                        <a:pt x="398526" y="184150"/>
                      </a:lnTo>
                      <a:lnTo>
                        <a:pt x="400075" y="184150"/>
                      </a:lnTo>
                      <a:lnTo>
                        <a:pt x="400481" y="181610"/>
                      </a:lnTo>
                      <a:lnTo>
                        <a:pt x="401485" y="179070"/>
                      </a:lnTo>
                      <a:lnTo>
                        <a:pt x="402767" y="176530"/>
                      </a:lnTo>
                      <a:close/>
                    </a:path>
                    <a:path w="414019" h="295910">
                      <a:moveTo>
                        <a:pt x="377913" y="181610"/>
                      </a:moveTo>
                      <a:lnTo>
                        <a:pt x="279361" y="181610"/>
                      </a:lnTo>
                      <a:lnTo>
                        <a:pt x="279908" y="182880"/>
                      </a:lnTo>
                      <a:lnTo>
                        <a:pt x="376936" y="182880"/>
                      </a:lnTo>
                      <a:lnTo>
                        <a:pt x="377913" y="181610"/>
                      </a:lnTo>
                      <a:close/>
                    </a:path>
                    <a:path w="414019" h="295910">
                      <a:moveTo>
                        <a:pt x="377901" y="171450"/>
                      </a:moveTo>
                      <a:lnTo>
                        <a:pt x="374650" y="172720"/>
                      </a:lnTo>
                      <a:lnTo>
                        <a:pt x="369468" y="173990"/>
                      </a:lnTo>
                      <a:lnTo>
                        <a:pt x="367512" y="173990"/>
                      </a:lnTo>
                      <a:lnTo>
                        <a:pt x="365328" y="175260"/>
                      </a:lnTo>
                      <a:lnTo>
                        <a:pt x="365810" y="177800"/>
                      </a:lnTo>
                      <a:lnTo>
                        <a:pt x="278663" y="177800"/>
                      </a:lnTo>
                      <a:lnTo>
                        <a:pt x="278307" y="179070"/>
                      </a:lnTo>
                      <a:lnTo>
                        <a:pt x="279298" y="180340"/>
                      </a:lnTo>
                      <a:lnTo>
                        <a:pt x="278980" y="181610"/>
                      </a:lnTo>
                      <a:lnTo>
                        <a:pt x="377913" y="181610"/>
                      </a:lnTo>
                      <a:lnTo>
                        <a:pt x="379717" y="182880"/>
                      </a:lnTo>
                      <a:lnTo>
                        <a:pt x="380987" y="181610"/>
                      </a:lnTo>
                      <a:lnTo>
                        <a:pt x="380263" y="180340"/>
                      </a:lnTo>
                      <a:lnTo>
                        <a:pt x="381762" y="179070"/>
                      </a:lnTo>
                      <a:lnTo>
                        <a:pt x="377545" y="179070"/>
                      </a:lnTo>
                      <a:lnTo>
                        <a:pt x="377202" y="175260"/>
                      </a:lnTo>
                      <a:lnTo>
                        <a:pt x="382206" y="175260"/>
                      </a:lnTo>
                      <a:lnTo>
                        <a:pt x="382308" y="173990"/>
                      </a:lnTo>
                      <a:lnTo>
                        <a:pt x="382143" y="172720"/>
                      </a:lnTo>
                      <a:lnTo>
                        <a:pt x="377901" y="171450"/>
                      </a:lnTo>
                      <a:close/>
                    </a:path>
                    <a:path w="414019" h="295910">
                      <a:moveTo>
                        <a:pt x="396617" y="180229"/>
                      </a:moveTo>
                      <a:lnTo>
                        <a:pt x="396024" y="181610"/>
                      </a:lnTo>
                      <a:lnTo>
                        <a:pt x="397239" y="182075"/>
                      </a:lnTo>
                      <a:lnTo>
                        <a:pt x="396617" y="180229"/>
                      </a:lnTo>
                      <a:close/>
                    </a:path>
                    <a:path w="414019" h="295910">
                      <a:moveTo>
                        <a:pt x="383501" y="171450"/>
                      </a:moveTo>
                      <a:lnTo>
                        <a:pt x="382358" y="173990"/>
                      </a:lnTo>
                      <a:lnTo>
                        <a:pt x="382334" y="174193"/>
                      </a:lnTo>
                      <a:lnTo>
                        <a:pt x="382638" y="176530"/>
                      </a:lnTo>
                      <a:lnTo>
                        <a:pt x="377913" y="176530"/>
                      </a:lnTo>
                      <a:lnTo>
                        <a:pt x="377545" y="179070"/>
                      </a:lnTo>
                      <a:lnTo>
                        <a:pt x="384238" y="179070"/>
                      </a:lnTo>
                      <a:lnTo>
                        <a:pt x="383564" y="180232"/>
                      </a:lnTo>
                      <a:lnTo>
                        <a:pt x="383730" y="180340"/>
                      </a:lnTo>
                      <a:lnTo>
                        <a:pt x="386791" y="176530"/>
                      </a:lnTo>
                      <a:lnTo>
                        <a:pt x="383095" y="175260"/>
                      </a:lnTo>
                      <a:lnTo>
                        <a:pt x="387007" y="173990"/>
                      </a:lnTo>
                      <a:lnTo>
                        <a:pt x="388708" y="173990"/>
                      </a:lnTo>
                      <a:lnTo>
                        <a:pt x="388950" y="172720"/>
                      </a:lnTo>
                      <a:lnTo>
                        <a:pt x="383781" y="172720"/>
                      </a:lnTo>
                      <a:lnTo>
                        <a:pt x="383501" y="171450"/>
                      </a:lnTo>
                      <a:close/>
                    </a:path>
                    <a:path w="414019" h="295910">
                      <a:moveTo>
                        <a:pt x="390867" y="179070"/>
                      </a:moveTo>
                      <a:lnTo>
                        <a:pt x="384750" y="179070"/>
                      </a:lnTo>
                      <a:lnTo>
                        <a:pt x="383730" y="180340"/>
                      </a:lnTo>
                      <a:lnTo>
                        <a:pt x="390817" y="180340"/>
                      </a:lnTo>
                      <a:lnTo>
                        <a:pt x="390867" y="179070"/>
                      </a:lnTo>
                      <a:close/>
                    </a:path>
                    <a:path w="414019" h="295910">
                      <a:moveTo>
                        <a:pt x="384238" y="179070"/>
                      </a:moveTo>
                      <a:lnTo>
                        <a:pt x="381762" y="179070"/>
                      </a:lnTo>
                      <a:lnTo>
                        <a:pt x="383564" y="180232"/>
                      </a:lnTo>
                      <a:lnTo>
                        <a:pt x="384238" y="179070"/>
                      </a:lnTo>
                      <a:close/>
                    </a:path>
                    <a:path w="414019" h="295910">
                      <a:moveTo>
                        <a:pt x="272376" y="176530"/>
                      </a:moveTo>
                      <a:lnTo>
                        <a:pt x="271030" y="176530"/>
                      </a:lnTo>
                      <a:lnTo>
                        <a:pt x="271805" y="177800"/>
                      </a:lnTo>
                      <a:lnTo>
                        <a:pt x="272376" y="176530"/>
                      </a:lnTo>
                      <a:close/>
                    </a:path>
                    <a:path w="414019" h="295910">
                      <a:moveTo>
                        <a:pt x="364426" y="176530"/>
                      </a:moveTo>
                      <a:lnTo>
                        <a:pt x="272376" y="176530"/>
                      </a:lnTo>
                      <a:lnTo>
                        <a:pt x="274167" y="177800"/>
                      </a:lnTo>
                      <a:lnTo>
                        <a:pt x="364566" y="177800"/>
                      </a:lnTo>
                      <a:lnTo>
                        <a:pt x="364426" y="176530"/>
                      </a:lnTo>
                      <a:close/>
                    </a:path>
                    <a:path w="414019" h="295910">
                      <a:moveTo>
                        <a:pt x="380517" y="176034"/>
                      </a:moveTo>
                      <a:lnTo>
                        <a:pt x="379437" y="176530"/>
                      </a:lnTo>
                      <a:lnTo>
                        <a:pt x="382638" y="176530"/>
                      </a:lnTo>
                      <a:lnTo>
                        <a:pt x="380517" y="176034"/>
                      </a:lnTo>
                      <a:close/>
                    </a:path>
                    <a:path w="414019" h="295910">
                      <a:moveTo>
                        <a:pt x="382334" y="174193"/>
                      </a:moveTo>
                      <a:lnTo>
                        <a:pt x="382206" y="175260"/>
                      </a:lnTo>
                      <a:lnTo>
                        <a:pt x="380517" y="176034"/>
                      </a:lnTo>
                      <a:lnTo>
                        <a:pt x="382638" y="176530"/>
                      </a:lnTo>
                      <a:lnTo>
                        <a:pt x="382334" y="174193"/>
                      </a:lnTo>
                      <a:close/>
                    </a:path>
                    <a:path w="414019" h="295910">
                      <a:moveTo>
                        <a:pt x="382206" y="175260"/>
                      </a:moveTo>
                      <a:lnTo>
                        <a:pt x="377202" y="175260"/>
                      </a:lnTo>
                      <a:lnTo>
                        <a:pt x="380517" y="176034"/>
                      </a:lnTo>
                      <a:lnTo>
                        <a:pt x="382206" y="175260"/>
                      </a:lnTo>
                      <a:close/>
                    </a:path>
                    <a:path w="414019" h="295910">
                      <a:moveTo>
                        <a:pt x="370903" y="170180"/>
                      </a:moveTo>
                      <a:lnTo>
                        <a:pt x="365353" y="170180"/>
                      </a:lnTo>
                      <a:lnTo>
                        <a:pt x="368554" y="172720"/>
                      </a:lnTo>
                      <a:lnTo>
                        <a:pt x="370903" y="170180"/>
                      </a:lnTo>
                      <a:close/>
                    </a:path>
                    <a:path w="414019" h="295910">
                      <a:moveTo>
                        <a:pt x="374789" y="171450"/>
                      </a:moveTo>
                      <a:lnTo>
                        <a:pt x="372478" y="171450"/>
                      </a:lnTo>
                      <a:lnTo>
                        <a:pt x="370306" y="172720"/>
                      </a:lnTo>
                      <a:lnTo>
                        <a:pt x="374370" y="172720"/>
                      </a:lnTo>
                      <a:lnTo>
                        <a:pt x="374789" y="171450"/>
                      </a:lnTo>
                      <a:close/>
                    </a:path>
                    <a:path w="414019" h="295910">
                      <a:moveTo>
                        <a:pt x="389432" y="170180"/>
                      </a:moveTo>
                      <a:lnTo>
                        <a:pt x="387146" y="171450"/>
                      </a:lnTo>
                      <a:lnTo>
                        <a:pt x="383781" y="172720"/>
                      </a:lnTo>
                      <a:lnTo>
                        <a:pt x="388950" y="172720"/>
                      </a:lnTo>
                      <a:lnTo>
                        <a:pt x="389432" y="170180"/>
                      </a:lnTo>
                      <a:close/>
                    </a:path>
                    <a:path w="414019" h="295910">
                      <a:moveTo>
                        <a:pt x="375151" y="168910"/>
                      </a:moveTo>
                      <a:lnTo>
                        <a:pt x="366915" y="168910"/>
                      </a:lnTo>
                      <a:lnTo>
                        <a:pt x="370573" y="170180"/>
                      </a:lnTo>
                      <a:lnTo>
                        <a:pt x="375691" y="170180"/>
                      </a:lnTo>
                      <a:lnTo>
                        <a:pt x="375151" y="168910"/>
                      </a:lnTo>
                      <a:close/>
                    </a:path>
                    <a:path w="414019" h="295910">
                      <a:moveTo>
                        <a:pt x="353542" y="153670"/>
                      </a:moveTo>
                      <a:lnTo>
                        <a:pt x="350977" y="153670"/>
                      </a:lnTo>
                      <a:lnTo>
                        <a:pt x="349123" y="154940"/>
                      </a:lnTo>
                      <a:lnTo>
                        <a:pt x="349427" y="154940"/>
                      </a:lnTo>
                      <a:lnTo>
                        <a:pt x="348326" y="156237"/>
                      </a:lnTo>
                      <a:lnTo>
                        <a:pt x="346760" y="157480"/>
                      </a:lnTo>
                      <a:lnTo>
                        <a:pt x="346258" y="158465"/>
                      </a:lnTo>
                      <a:lnTo>
                        <a:pt x="346237" y="159194"/>
                      </a:lnTo>
                      <a:lnTo>
                        <a:pt x="346468" y="160020"/>
                      </a:lnTo>
                      <a:lnTo>
                        <a:pt x="346252" y="161290"/>
                      </a:lnTo>
                      <a:lnTo>
                        <a:pt x="345821" y="161290"/>
                      </a:lnTo>
                      <a:lnTo>
                        <a:pt x="345681" y="162560"/>
                      </a:lnTo>
                      <a:lnTo>
                        <a:pt x="253111" y="162560"/>
                      </a:lnTo>
                      <a:lnTo>
                        <a:pt x="253403" y="165100"/>
                      </a:lnTo>
                      <a:lnTo>
                        <a:pt x="374675" y="165100"/>
                      </a:lnTo>
                      <a:lnTo>
                        <a:pt x="373487" y="163830"/>
                      </a:lnTo>
                      <a:lnTo>
                        <a:pt x="355295" y="163830"/>
                      </a:lnTo>
                      <a:lnTo>
                        <a:pt x="353961" y="162560"/>
                      </a:lnTo>
                      <a:lnTo>
                        <a:pt x="352856" y="160020"/>
                      </a:lnTo>
                      <a:lnTo>
                        <a:pt x="352209" y="160020"/>
                      </a:lnTo>
                      <a:lnTo>
                        <a:pt x="352382" y="159194"/>
                      </a:lnTo>
                      <a:lnTo>
                        <a:pt x="351396" y="157480"/>
                      </a:lnTo>
                      <a:lnTo>
                        <a:pt x="352171" y="157480"/>
                      </a:lnTo>
                      <a:lnTo>
                        <a:pt x="353009" y="156210"/>
                      </a:lnTo>
                      <a:lnTo>
                        <a:pt x="353542" y="153670"/>
                      </a:lnTo>
                      <a:close/>
                    </a:path>
                    <a:path w="414019" h="295910">
                      <a:moveTo>
                        <a:pt x="358216" y="158750"/>
                      </a:moveTo>
                      <a:lnTo>
                        <a:pt x="353453" y="158750"/>
                      </a:lnTo>
                      <a:lnTo>
                        <a:pt x="355015" y="161290"/>
                      </a:lnTo>
                      <a:lnTo>
                        <a:pt x="355269" y="162560"/>
                      </a:lnTo>
                      <a:lnTo>
                        <a:pt x="355295" y="163830"/>
                      </a:lnTo>
                      <a:lnTo>
                        <a:pt x="373487" y="163830"/>
                      </a:lnTo>
                      <a:lnTo>
                        <a:pt x="372300" y="162560"/>
                      </a:lnTo>
                      <a:lnTo>
                        <a:pt x="357568" y="162560"/>
                      </a:lnTo>
                      <a:lnTo>
                        <a:pt x="357606" y="160020"/>
                      </a:lnTo>
                      <a:lnTo>
                        <a:pt x="358216" y="158750"/>
                      </a:lnTo>
                      <a:close/>
                    </a:path>
                    <a:path w="414019" h="295910">
                      <a:moveTo>
                        <a:pt x="251085" y="159502"/>
                      </a:moveTo>
                      <a:lnTo>
                        <a:pt x="249872" y="162560"/>
                      </a:lnTo>
                      <a:lnTo>
                        <a:pt x="345681" y="162560"/>
                      </a:lnTo>
                      <a:lnTo>
                        <a:pt x="345465" y="161290"/>
                      </a:lnTo>
                      <a:lnTo>
                        <a:pt x="345370" y="160020"/>
                      </a:lnTo>
                      <a:lnTo>
                        <a:pt x="251409" y="160020"/>
                      </a:lnTo>
                      <a:lnTo>
                        <a:pt x="251085" y="159502"/>
                      </a:lnTo>
                      <a:close/>
                    </a:path>
                    <a:path w="414019" h="295910">
                      <a:moveTo>
                        <a:pt x="362458" y="160020"/>
                      </a:moveTo>
                      <a:lnTo>
                        <a:pt x="357835" y="160020"/>
                      </a:lnTo>
                      <a:lnTo>
                        <a:pt x="357568" y="162560"/>
                      </a:lnTo>
                      <a:lnTo>
                        <a:pt x="372300" y="162560"/>
                      </a:lnTo>
                      <a:lnTo>
                        <a:pt x="370598" y="161290"/>
                      </a:lnTo>
                      <a:lnTo>
                        <a:pt x="362089" y="161290"/>
                      </a:lnTo>
                      <a:lnTo>
                        <a:pt x="362458" y="160020"/>
                      </a:lnTo>
                      <a:close/>
                    </a:path>
                    <a:path w="414019" h="295910">
                      <a:moveTo>
                        <a:pt x="367106" y="156210"/>
                      </a:moveTo>
                      <a:lnTo>
                        <a:pt x="363461" y="160020"/>
                      </a:lnTo>
                      <a:lnTo>
                        <a:pt x="363296" y="161290"/>
                      </a:lnTo>
                      <a:lnTo>
                        <a:pt x="370598" y="161290"/>
                      </a:lnTo>
                      <a:lnTo>
                        <a:pt x="368896" y="160020"/>
                      </a:lnTo>
                      <a:lnTo>
                        <a:pt x="367106" y="156210"/>
                      </a:lnTo>
                      <a:close/>
                    </a:path>
                    <a:path w="414019" h="295910">
                      <a:moveTo>
                        <a:pt x="251383" y="158750"/>
                      </a:moveTo>
                      <a:lnTo>
                        <a:pt x="251207" y="159194"/>
                      </a:lnTo>
                      <a:lnTo>
                        <a:pt x="251148" y="159603"/>
                      </a:lnTo>
                      <a:lnTo>
                        <a:pt x="251409" y="160020"/>
                      </a:lnTo>
                      <a:lnTo>
                        <a:pt x="251383" y="158750"/>
                      </a:lnTo>
                      <a:close/>
                    </a:path>
                    <a:path w="414019" h="295910">
                      <a:moveTo>
                        <a:pt x="346964" y="149860"/>
                      </a:moveTo>
                      <a:lnTo>
                        <a:pt x="346240" y="152400"/>
                      </a:lnTo>
                      <a:lnTo>
                        <a:pt x="346684" y="152400"/>
                      </a:lnTo>
                      <a:lnTo>
                        <a:pt x="343789" y="153670"/>
                      </a:lnTo>
                      <a:lnTo>
                        <a:pt x="342074" y="153670"/>
                      </a:lnTo>
                      <a:lnTo>
                        <a:pt x="340715" y="156210"/>
                      </a:lnTo>
                      <a:lnTo>
                        <a:pt x="340880" y="157480"/>
                      </a:lnTo>
                      <a:lnTo>
                        <a:pt x="340358" y="158465"/>
                      </a:lnTo>
                      <a:lnTo>
                        <a:pt x="341007" y="158750"/>
                      </a:lnTo>
                      <a:lnTo>
                        <a:pt x="251383" y="158750"/>
                      </a:lnTo>
                      <a:lnTo>
                        <a:pt x="251409" y="160020"/>
                      </a:lnTo>
                      <a:lnTo>
                        <a:pt x="345370" y="160020"/>
                      </a:lnTo>
                      <a:lnTo>
                        <a:pt x="345368" y="158465"/>
                      </a:lnTo>
                      <a:lnTo>
                        <a:pt x="345694" y="157480"/>
                      </a:lnTo>
                      <a:lnTo>
                        <a:pt x="346379" y="157480"/>
                      </a:lnTo>
                      <a:lnTo>
                        <a:pt x="346430" y="156210"/>
                      </a:lnTo>
                      <a:lnTo>
                        <a:pt x="345694" y="156210"/>
                      </a:lnTo>
                      <a:lnTo>
                        <a:pt x="345617" y="153670"/>
                      </a:lnTo>
                      <a:lnTo>
                        <a:pt x="349097" y="151130"/>
                      </a:lnTo>
                      <a:lnTo>
                        <a:pt x="346964" y="149860"/>
                      </a:lnTo>
                      <a:close/>
                    </a:path>
                    <a:path w="414019" h="295910">
                      <a:moveTo>
                        <a:pt x="352382" y="159194"/>
                      </a:moveTo>
                      <a:lnTo>
                        <a:pt x="352209" y="160020"/>
                      </a:lnTo>
                      <a:lnTo>
                        <a:pt x="352617" y="159603"/>
                      </a:lnTo>
                      <a:lnTo>
                        <a:pt x="352382" y="159194"/>
                      </a:lnTo>
                      <a:close/>
                    </a:path>
                    <a:path w="414019" h="295910">
                      <a:moveTo>
                        <a:pt x="352617" y="159603"/>
                      </a:moveTo>
                      <a:lnTo>
                        <a:pt x="352209" y="160020"/>
                      </a:lnTo>
                      <a:lnTo>
                        <a:pt x="352856" y="160020"/>
                      </a:lnTo>
                      <a:lnTo>
                        <a:pt x="352617" y="159603"/>
                      </a:lnTo>
                      <a:close/>
                    </a:path>
                    <a:path w="414019" h="295910">
                      <a:moveTo>
                        <a:pt x="359943" y="158750"/>
                      </a:moveTo>
                      <a:lnTo>
                        <a:pt x="358216" y="158750"/>
                      </a:lnTo>
                      <a:lnTo>
                        <a:pt x="359054" y="160020"/>
                      </a:lnTo>
                      <a:lnTo>
                        <a:pt x="359943" y="158750"/>
                      </a:lnTo>
                      <a:close/>
                    </a:path>
                    <a:path w="414019" h="295910">
                      <a:moveTo>
                        <a:pt x="361251" y="158750"/>
                      </a:moveTo>
                      <a:lnTo>
                        <a:pt x="360667" y="160020"/>
                      </a:lnTo>
                      <a:lnTo>
                        <a:pt x="362318" y="160020"/>
                      </a:lnTo>
                      <a:lnTo>
                        <a:pt x="361251" y="158750"/>
                      </a:lnTo>
                      <a:close/>
                    </a:path>
                    <a:path w="414019" h="295910">
                      <a:moveTo>
                        <a:pt x="364020" y="153670"/>
                      </a:moveTo>
                      <a:lnTo>
                        <a:pt x="353618" y="153670"/>
                      </a:lnTo>
                      <a:lnTo>
                        <a:pt x="353453" y="154940"/>
                      </a:lnTo>
                      <a:lnTo>
                        <a:pt x="353003" y="156237"/>
                      </a:lnTo>
                      <a:lnTo>
                        <a:pt x="352382" y="159194"/>
                      </a:lnTo>
                      <a:lnTo>
                        <a:pt x="352617" y="159603"/>
                      </a:lnTo>
                      <a:lnTo>
                        <a:pt x="353453" y="158750"/>
                      </a:lnTo>
                      <a:lnTo>
                        <a:pt x="359943" y="158750"/>
                      </a:lnTo>
                      <a:lnTo>
                        <a:pt x="359664" y="157480"/>
                      </a:lnTo>
                      <a:lnTo>
                        <a:pt x="361340" y="156210"/>
                      </a:lnTo>
                      <a:lnTo>
                        <a:pt x="360057" y="154940"/>
                      </a:lnTo>
                      <a:lnTo>
                        <a:pt x="362788" y="154940"/>
                      </a:lnTo>
                      <a:lnTo>
                        <a:pt x="364020" y="153670"/>
                      </a:lnTo>
                      <a:close/>
                    </a:path>
                    <a:path w="414019" h="295910">
                      <a:moveTo>
                        <a:pt x="338112" y="157480"/>
                      </a:moveTo>
                      <a:lnTo>
                        <a:pt x="249821" y="157480"/>
                      </a:lnTo>
                      <a:lnTo>
                        <a:pt x="251085" y="159502"/>
                      </a:lnTo>
                      <a:lnTo>
                        <a:pt x="251383" y="158750"/>
                      </a:lnTo>
                      <a:lnTo>
                        <a:pt x="340207" y="158750"/>
                      </a:lnTo>
                      <a:lnTo>
                        <a:pt x="340358" y="158465"/>
                      </a:lnTo>
                      <a:lnTo>
                        <a:pt x="338112" y="157480"/>
                      </a:lnTo>
                      <a:close/>
                    </a:path>
                    <a:path w="414019" h="295910">
                      <a:moveTo>
                        <a:pt x="340358" y="158465"/>
                      </a:moveTo>
                      <a:lnTo>
                        <a:pt x="340207" y="158750"/>
                      </a:lnTo>
                      <a:lnTo>
                        <a:pt x="341007" y="158750"/>
                      </a:lnTo>
                      <a:lnTo>
                        <a:pt x="340358" y="158465"/>
                      </a:lnTo>
                      <a:close/>
                    </a:path>
                    <a:path w="414019" h="295910">
                      <a:moveTo>
                        <a:pt x="325386" y="144780"/>
                      </a:moveTo>
                      <a:lnTo>
                        <a:pt x="323354" y="146050"/>
                      </a:lnTo>
                      <a:lnTo>
                        <a:pt x="323900" y="147320"/>
                      </a:lnTo>
                      <a:lnTo>
                        <a:pt x="245097" y="147320"/>
                      </a:lnTo>
                      <a:lnTo>
                        <a:pt x="245922" y="148590"/>
                      </a:lnTo>
                      <a:lnTo>
                        <a:pt x="245694" y="149860"/>
                      </a:lnTo>
                      <a:lnTo>
                        <a:pt x="246329" y="152400"/>
                      </a:lnTo>
                      <a:lnTo>
                        <a:pt x="247586" y="153670"/>
                      </a:lnTo>
                      <a:lnTo>
                        <a:pt x="246303" y="154940"/>
                      </a:lnTo>
                      <a:lnTo>
                        <a:pt x="247611" y="154940"/>
                      </a:lnTo>
                      <a:lnTo>
                        <a:pt x="246672" y="156210"/>
                      </a:lnTo>
                      <a:lnTo>
                        <a:pt x="247942" y="157480"/>
                      </a:lnTo>
                      <a:lnTo>
                        <a:pt x="248869" y="156210"/>
                      </a:lnTo>
                      <a:lnTo>
                        <a:pt x="340347" y="156210"/>
                      </a:lnTo>
                      <a:lnTo>
                        <a:pt x="340372" y="154940"/>
                      </a:lnTo>
                      <a:lnTo>
                        <a:pt x="342061" y="153670"/>
                      </a:lnTo>
                      <a:lnTo>
                        <a:pt x="335419" y="153670"/>
                      </a:lnTo>
                      <a:lnTo>
                        <a:pt x="335407" y="152400"/>
                      </a:lnTo>
                      <a:lnTo>
                        <a:pt x="331012" y="152400"/>
                      </a:lnTo>
                      <a:lnTo>
                        <a:pt x="332079" y="151130"/>
                      </a:lnTo>
                      <a:lnTo>
                        <a:pt x="325983" y="151130"/>
                      </a:lnTo>
                      <a:lnTo>
                        <a:pt x="324485" y="149860"/>
                      </a:lnTo>
                      <a:lnTo>
                        <a:pt x="319201" y="149860"/>
                      </a:lnTo>
                      <a:lnTo>
                        <a:pt x="319087" y="148590"/>
                      </a:lnTo>
                      <a:lnTo>
                        <a:pt x="326923" y="148590"/>
                      </a:lnTo>
                      <a:lnTo>
                        <a:pt x="326567" y="147320"/>
                      </a:lnTo>
                      <a:lnTo>
                        <a:pt x="328015" y="146050"/>
                      </a:lnTo>
                      <a:lnTo>
                        <a:pt x="329095" y="146050"/>
                      </a:lnTo>
                      <a:lnTo>
                        <a:pt x="325386" y="144780"/>
                      </a:lnTo>
                      <a:close/>
                    </a:path>
                    <a:path w="414019" h="295910">
                      <a:moveTo>
                        <a:pt x="335203" y="156210"/>
                      </a:moveTo>
                      <a:lnTo>
                        <a:pt x="248869" y="156210"/>
                      </a:lnTo>
                      <a:lnTo>
                        <a:pt x="249250" y="157480"/>
                      </a:lnTo>
                      <a:lnTo>
                        <a:pt x="336804" y="157480"/>
                      </a:lnTo>
                      <a:lnTo>
                        <a:pt x="335203" y="156210"/>
                      </a:lnTo>
                      <a:close/>
                    </a:path>
                    <a:path w="414019" h="295910">
                      <a:moveTo>
                        <a:pt x="340347" y="156210"/>
                      </a:moveTo>
                      <a:lnTo>
                        <a:pt x="336600" y="156210"/>
                      </a:lnTo>
                      <a:lnTo>
                        <a:pt x="338480" y="157480"/>
                      </a:lnTo>
                      <a:lnTo>
                        <a:pt x="340347" y="156210"/>
                      </a:lnTo>
                      <a:close/>
                    </a:path>
                    <a:path w="414019" h="295910">
                      <a:moveTo>
                        <a:pt x="353618" y="153670"/>
                      </a:moveTo>
                      <a:lnTo>
                        <a:pt x="353003" y="156237"/>
                      </a:lnTo>
                      <a:lnTo>
                        <a:pt x="353453" y="154940"/>
                      </a:lnTo>
                      <a:lnTo>
                        <a:pt x="353618" y="153670"/>
                      </a:lnTo>
                      <a:close/>
                    </a:path>
                    <a:path w="414019" h="295910">
                      <a:moveTo>
                        <a:pt x="340106" y="151130"/>
                      </a:moveTo>
                      <a:lnTo>
                        <a:pt x="336664" y="152400"/>
                      </a:lnTo>
                      <a:lnTo>
                        <a:pt x="335419" y="153670"/>
                      </a:lnTo>
                      <a:lnTo>
                        <a:pt x="342061" y="153670"/>
                      </a:lnTo>
                      <a:lnTo>
                        <a:pt x="344258" y="152400"/>
                      </a:lnTo>
                      <a:lnTo>
                        <a:pt x="340106" y="151130"/>
                      </a:lnTo>
                      <a:close/>
                    </a:path>
                    <a:path w="414019" h="295910">
                      <a:moveTo>
                        <a:pt x="336054" y="149860"/>
                      </a:moveTo>
                      <a:lnTo>
                        <a:pt x="335051" y="151130"/>
                      </a:lnTo>
                      <a:lnTo>
                        <a:pt x="332651" y="152400"/>
                      </a:lnTo>
                      <a:lnTo>
                        <a:pt x="335407" y="152400"/>
                      </a:lnTo>
                      <a:lnTo>
                        <a:pt x="335889" y="151130"/>
                      </a:lnTo>
                      <a:lnTo>
                        <a:pt x="336054" y="149860"/>
                      </a:lnTo>
                      <a:close/>
                    </a:path>
                    <a:path w="414019" h="295910">
                      <a:moveTo>
                        <a:pt x="335089" y="147320"/>
                      </a:moveTo>
                      <a:lnTo>
                        <a:pt x="328218" y="147320"/>
                      </a:lnTo>
                      <a:lnTo>
                        <a:pt x="325983" y="151130"/>
                      </a:lnTo>
                      <a:lnTo>
                        <a:pt x="332079" y="151130"/>
                      </a:lnTo>
                      <a:lnTo>
                        <a:pt x="333146" y="149860"/>
                      </a:lnTo>
                      <a:lnTo>
                        <a:pt x="333768" y="149860"/>
                      </a:lnTo>
                      <a:lnTo>
                        <a:pt x="335089" y="147320"/>
                      </a:lnTo>
                      <a:close/>
                    </a:path>
                    <a:path w="414019" h="295910">
                      <a:moveTo>
                        <a:pt x="326923" y="148590"/>
                      </a:moveTo>
                      <a:lnTo>
                        <a:pt x="319087" y="148590"/>
                      </a:lnTo>
                      <a:lnTo>
                        <a:pt x="319201" y="149860"/>
                      </a:lnTo>
                      <a:lnTo>
                        <a:pt x="325716" y="149860"/>
                      </a:lnTo>
                      <a:lnTo>
                        <a:pt x="326923" y="148590"/>
                      </a:lnTo>
                      <a:close/>
                    </a:path>
                    <a:path w="414019" h="295910">
                      <a:moveTo>
                        <a:pt x="245097" y="147320"/>
                      </a:moveTo>
                      <a:lnTo>
                        <a:pt x="242976" y="147320"/>
                      </a:lnTo>
                      <a:lnTo>
                        <a:pt x="243992" y="148590"/>
                      </a:lnTo>
                      <a:lnTo>
                        <a:pt x="244817" y="148590"/>
                      </a:lnTo>
                      <a:lnTo>
                        <a:pt x="245097" y="147320"/>
                      </a:lnTo>
                      <a:close/>
                    </a:path>
                    <a:path w="414019" h="295910">
                      <a:moveTo>
                        <a:pt x="314223" y="134620"/>
                      </a:moveTo>
                      <a:lnTo>
                        <a:pt x="225094" y="134620"/>
                      </a:lnTo>
                      <a:lnTo>
                        <a:pt x="233540" y="135890"/>
                      </a:lnTo>
                      <a:lnTo>
                        <a:pt x="235127" y="135890"/>
                      </a:lnTo>
                      <a:lnTo>
                        <a:pt x="234213" y="140970"/>
                      </a:lnTo>
                      <a:lnTo>
                        <a:pt x="231673" y="144780"/>
                      </a:lnTo>
                      <a:lnTo>
                        <a:pt x="235826" y="146050"/>
                      </a:lnTo>
                      <a:lnTo>
                        <a:pt x="237655" y="146050"/>
                      </a:lnTo>
                      <a:lnTo>
                        <a:pt x="236740" y="147320"/>
                      </a:lnTo>
                      <a:lnTo>
                        <a:pt x="239522" y="144780"/>
                      </a:lnTo>
                      <a:lnTo>
                        <a:pt x="240893" y="144780"/>
                      </a:lnTo>
                      <a:lnTo>
                        <a:pt x="241058" y="143510"/>
                      </a:lnTo>
                      <a:lnTo>
                        <a:pt x="317652" y="143510"/>
                      </a:lnTo>
                      <a:lnTo>
                        <a:pt x="317487" y="142240"/>
                      </a:lnTo>
                      <a:lnTo>
                        <a:pt x="317347" y="140970"/>
                      </a:lnTo>
                      <a:lnTo>
                        <a:pt x="316941" y="140970"/>
                      </a:lnTo>
                      <a:lnTo>
                        <a:pt x="316522" y="139700"/>
                      </a:lnTo>
                      <a:lnTo>
                        <a:pt x="306260" y="139700"/>
                      </a:lnTo>
                      <a:lnTo>
                        <a:pt x="306857" y="138430"/>
                      </a:lnTo>
                      <a:lnTo>
                        <a:pt x="307632" y="138430"/>
                      </a:lnTo>
                      <a:lnTo>
                        <a:pt x="307987" y="137160"/>
                      </a:lnTo>
                      <a:lnTo>
                        <a:pt x="315171" y="137160"/>
                      </a:lnTo>
                      <a:lnTo>
                        <a:pt x="314223" y="134620"/>
                      </a:lnTo>
                      <a:close/>
                    </a:path>
                    <a:path w="414019" h="295910">
                      <a:moveTo>
                        <a:pt x="325628" y="143510"/>
                      </a:moveTo>
                      <a:lnTo>
                        <a:pt x="241058" y="143510"/>
                      </a:lnTo>
                      <a:lnTo>
                        <a:pt x="242836" y="144780"/>
                      </a:lnTo>
                      <a:lnTo>
                        <a:pt x="242747" y="147320"/>
                      </a:lnTo>
                      <a:lnTo>
                        <a:pt x="319227" y="147320"/>
                      </a:lnTo>
                      <a:lnTo>
                        <a:pt x="319481" y="144780"/>
                      </a:lnTo>
                      <a:lnTo>
                        <a:pt x="324675" y="144780"/>
                      </a:lnTo>
                      <a:lnTo>
                        <a:pt x="325628" y="143510"/>
                      </a:lnTo>
                      <a:close/>
                    </a:path>
                    <a:path w="414019" h="295910">
                      <a:moveTo>
                        <a:pt x="323723" y="144780"/>
                      </a:moveTo>
                      <a:lnTo>
                        <a:pt x="321856" y="144780"/>
                      </a:lnTo>
                      <a:lnTo>
                        <a:pt x="320052" y="146050"/>
                      </a:lnTo>
                      <a:lnTo>
                        <a:pt x="319227" y="147320"/>
                      </a:lnTo>
                      <a:lnTo>
                        <a:pt x="323202" y="147320"/>
                      </a:lnTo>
                      <a:lnTo>
                        <a:pt x="322643" y="146050"/>
                      </a:lnTo>
                      <a:lnTo>
                        <a:pt x="323723" y="144780"/>
                      </a:lnTo>
                      <a:close/>
                    </a:path>
                    <a:path w="414019" h="295910">
                      <a:moveTo>
                        <a:pt x="332473" y="142240"/>
                      </a:moveTo>
                      <a:lnTo>
                        <a:pt x="326478" y="142240"/>
                      </a:lnTo>
                      <a:lnTo>
                        <a:pt x="322808" y="143510"/>
                      </a:lnTo>
                      <a:lnTo>
                        <a:pt x="328663" y="143510"/>
                      </a:lnTo>
                      <a:lnTo>
                        <a:pt x="330238" y="144780"/>
                      </a:lnTo>
                      <a:lnTo>
                        <a:pt x="332790" y="143510"/>
                      </a:lnTo>
                      <a:lnTo>
                        <a:pt x="332473" y="142240"/>
                      </a:lnTo>
                      <a:close/>
                    </a:path>
                    <a:path w="414019" h="295910">
                      <a:moveTo>
                        <a:pt x="324205" y="139700"/>
                      </a:moveTo>
                      <a:lnTo>
                        <a:pt x="319582" y="142240"/>
                      </a:lnTo>
                      <a:lnTo>
                        <a:pt x="317766" y="143510"/>
                      </a:lnTo>
                      <a:lnTo>
                        <a:pt x="322478" y="143510"/>
                      </a:lnTo>
                      <a:lnTo>
                        <a:pt x="322199" y="142240"/>
                      </a:lnTo>
                      <a:lnTo>
                        <a:pt x="322694" y="140970"/>
                      </a:lnTo>
                      <a:lnTo>
                        <a:pt x="323989" y="140970"/>
                      </a:lnTo>
                      <a:lnTo>
                        <a:pt x="324205" y="139700"/>
                      </a:lnTo>
                      <a:close/>
                    </a:path>
                    <a:path w="414019" h="295910">
                      <a:moveTo>
                        <a:pt x="334225" y="142240"/>
                      </a:moveTo>
                      <a:lnTo>
                        <a:pt x="332473" y="142240"/>
                      </a:lnTo>
                      <a:lnTo>
                        <a:pt x="334187" y="143510"/>
                      </a:lnTo>
                      <a:lnTo>
                        <a:pt x="334225" y="142240"/>
                      </a:lnTo>
                      <a:close/>
                    </a:path>
                    <a:path w="414019" h="295910">
                      <a:moveTo>
                        <a:pt x="336105" y="142240"/>
                      </a:moveTo>
                      <a:lnTo>
                        <a:pt x="334225" y="142240"/>
                      </a:lnTo>
                      <a:lnTo>
                        <a:pt x="335343" y="143510"/>
                      </a:lnTo>
                      <a:lnTo>
                        <a:pt x="336105" y="142240"/>
                      </a:lnTo>
                      <a:close/>
                    </a:path>
                    <a:path w="414019" h="295910">
                      <a:moveTo>
                        <a:pt x="297840" y="132080"/>
                      </a:moveTo>
                      <a:lnTo>
                        <a:pt x="223418" y="132080"/>
                      </a:lnTo>
                      <a:lnTo>
                        <a:pt x="222669" y="134620"/>
                      </a:lnTo>
                      <a:lnTo>
                        <a:pt x="222377" y="135890"/>
                      </a:lnTo>
                      <a:lnTo>
                        <a:pt x="222313" y="137160"/>
                      </a:lnTo>
                      <a:lnTo>
                        <a:pt x="223088" y="137160"/>
                      </a:lnTo>
                      <a:lnTo>
                        <a:pt x="223786" y="138430"/>
                      </a:lnTo>
                      <a:lnTo>
                        <a:pt x="226479" y="139700"/>
                      </a:lnTo>
                      <a:lnTo>
                        <a:pt x="227609" y="140970"/>
                      </a:lnTo>
                      <a:lnTo>
                        <a:pt x="232232" y="140970"/>
                      </a:lnTo>
                      <a:lnTo>
                        <a:pt x="233692" y="138430"/>
                      </a:lnTo>
                      <a:lnTo>
                        <a:pt x="225094" y="134620"/>
                      </a:lnTo>
                      <a:lnTo>
                        <a:pt x="303606" y="134620"/>
                      </a:lnTo>
                      <a:lnTo>
                        <a:pt x="302133" y="133350"/>
                      </a:lnTo>
                      <a:lnTo>
                        <a:pt x="297522" y="133350"/>
                      </a:lnTo>
                      <a:lnTo>
                        <a:pt x="297840" y="132080"/>
                      </a:lnTo>
                      <a:close/>
                    </a:path>
                    <a:path w="414019" h="295910">
                      <a:moveTo>
                        <a:pt x="317030" y="139700"/>
                      </a:moveTo>
                      <a:lnTo>
                        <a:pt x="317030" y="140970"/>
                      </a:lnTo>
                      <a:lnTo>
                        <a:pt x="317182" y="140970"/>
                      </a:lnTo>
                      <a:lnTo>
                        <a:pt x="317030" y="139700"/>
                      </a:lnTo>
                      <a:close/>
                    </a:path>
                    <a:path w="414019" h="295910">
                      <a:moveTo>
                        <a:pt x="312254" y="138430"/>
                      </a:moveTo>
                      <a:lnTo>
                        <a:pt x="309473" y="139700"/>
                      </a:lnTo>
                      <a:lnTo>
                        <a:pt x="313728" y="139700"/>
                      </a:lnTo>
                      <a:lnTo>
                        <a:pt x="312254" y="138430"/>
                      </a:lnTo>
                      <a:close/>
                    </a:path>
                    <a:path w="414019" h="295910">
                      <a:moveTo>
                        <a:pt x="313690" y="137160"/>
                      </a:moveTo>
                      <a:lnTo>
                        <a:pt x="309918" y="137160"/>
                      </a:lnTo>
                      <a:lnTo>
                        <a:pt x="310807" y="138430"/>
                      </a:lnTo>
                      <a:lnTo>
                        <a:pt x="313690" y="137160"/>
                      </a:lnTo>
                      <a:close/>
                    </a:path>
                    <a:path w="414019" h="295910">
                      <a:moveTo>
                        <a:pt x="315171" y="137160"/>
                      </a:moveTo>
                      <a:lnTo>
                        <a:pt x="313855" y="137160"/>
                      </a:lnTo>
                      <a:lnTo>
                        <a:pt x="315645" y="138430"/>
                      </a:lnTo>
                      <a:lnTo>
                        <a:pt x="315171" y="137160"/>
                      </a:lnTo>
                      <a:close/>
                    </a:path>
                    <a:path w="414019" h="295910">
                      <a:moveTo>
                        <a:pt x="209676" y="130810"/>
                      </a:moveTo>
                      <a:lnTo>
                        <a:pt x="195529" y="130810"/>
                      </a:lnTo>
                      <a:lnTo>
                        <a:pt x="190411" y="137160"/>
                      </a:lnTo>
                      <a:lnTo>
                        <a:pt x="197713" y="135890"/>
                      </a:lnTo>
                      <a:lnTo>
                        <a:pt x="201142" y="134620"/>
                      </a:lnTo>
                      <a:lnTo>
                        <a:pt x="202755" y="133350"/>
                      </a:lnTo>
                      <a:lnTo>
                        <a:pt x="205892" y="132080"/>
                      </a:lnTo>
                      <a:lnTo>
                        <a:pt x="207340" y="132080"/>
                      </a:lnTo>
                      <a:lnTo>
                        <a:pt x="209676" y="130810"/>
                      </a:lnTo>
                      <a:close/>
                    </a:path>
                    <a:path w="414019" h="295910">
                      <a:moveTo>
                        <a:pt x="317182" y="128270"/>
                      </a:moveTo>
                      <a:lnTo>
                        <a:pt x="315218" y="128696"/>
                      </a:lnTo>
                      <a:lnTo>
                        <a:pt x="316534" y="129540"/>
                      </a:lnTo>
                      <a:lnTo>
                        <a:pt x="221005" y="129540"/>
                      </a:lnTo>
                      <a:lnTo>
                        <a:pt x="222427" y="132080"/>
                      </a:lnTo>
                      <a:lnTo>
                        <a:pt x="218325" y="133350"/>
                      </a:lnTo>
                      <a:lnTo>
                        <a:pt x="217970" y="133350"/>
                      </a:lnTo>
                      <a:lnTo>
                        <a:pt x="222516" y="134620"/>
                      </a:lnTo>
                      <a:lnTo>
                        <a:pt x="221449" y="133350"/>
                      </a:lnTo>
                      <a:lnTo>
                        <a:pt x="222707" y="132080"/>
                      </a:lnTo>
                      <a:lnTo>
                        <a:pt x="311264" y="132080"/>
                      </a:lnTo>
                      <a:lnTo>
                        <a:pt x="310019" y="130810"/>
                      </a:lnTo>
                      <a:lnTo>
                        <a:pt x="317080" y="130810"/>
                      </a:lnTo>
                      <a:lnTo>
                        <a:pt x="317182" y="128270"/>
                      </a:lnTo>
                      <a:close/>
                    </a:path>
                    <a:path w="414019" h="295910">
                      <a:moveTo>
                        <a:pt x="216471" y="128270"/>
                      </a:moveTo>
                      <a:lnTo>
                        <a:pt x="210540" y="128270"/>
                      </a:lnTo>
                      <a:lnTo>
                        <a:pt x="211899" y="129540"/>
                      </a:lnTo>
                      <a:lnTo>
                        <a:pt x="214528" y="133350"/>
                      </a:lnTo>
                      <a:lnTo>
                        <a:pt x="216471" y="128270"/>
                      </a:lnTo>
                      <a:close/>
                    </a:path>
                    <a:path w="414019" h="295910">
                      <a:moveTo>
                        <a:pt x="317220" y="132080"/>
                      </a:moveTo>
                      <a:lnTo>
                        <a:pt x="300799" y="132080"/>
                      </a:lnTo>
                      <a:lnTo>
                        <a:pt x="304190" y="133350"/>
                      </a:lnTo>
                      <a:lnTo>
                        <a:pt x="317030" y="133350"/>
                      </a:lnTo>
                      <a:lnTo>
                        <a:pt x="317220" y="132080"/>
                      </a:lnTo>
                      <a:close/>
                    </a:path>
                    <a:path w="414019" h="295910">
                      <a:moveTo>
                        <a:pt x="198831" y="127000"/>
                      </a:moveTo>
                      <a:lnTo>
                        <a:pt x="194818" y="127000"/>
                      </a:lnTo>
                      <a:lnTo>
                        <a:pt x="193395" y="128270"/>
                      </a:lnTo>
                      <a:lnTo>
                        <a:pt x="194068" y="132080"/>
                      </a:lnTo>
                      <a:lnTo>
                        <a:pt x="195529" y="130810"/>
                      </a:lnTo>
                      <a:lnTo>
                        <a:pt x="209676" y="130810"/>
                      </a:lnTo>
                      <a:lnTo>
                        <a:pt x="209638" y="129540"/>
                      </a:lnTo>
                      <a:lnTo>
                        <a:pt x="201815" y="129540"/>
                      </a:lnTo>
                      <a:lnTo>
                        <a:pt x="198831" y="127000"/>
                      </a:lnTo>
                      <a:close/>
                    </a:path>
                    <a:path w="414019" h="295910">
                      <a:moveTo>
                        <a:pt x="317080" y="130810"/>
                      </a:moveTo>
                      <a:lnTo>
                        <a:pt x="312521" y="130810"/>
                      </a:lnTo>
                      <a:lnTo>
                        <a:pt x="314617" y="132080"/>
                      </a:lnTo>
                      <a:lnTo>
                        <a:pt x="317030" y="132080"/>
                      </a:lnTo>
                      <a:lnTo>
                        <a:pt x="317080" y="130810"/>
                      </a:lnTo>
                      <a:close/>
                    </a:path>
                    <a:path w="414019" h="295910">
                      <a:moveTo>
                        <a:pt x="217703" y="129540"/>
                      </a:moveTo>
                      <a:lnTo>
                        <a:pt x="217068" y="130810"/>
                      </a:lnTo>
                      <a:lnTo>
                        <a:pt x="217703" y="129540"/>
                      </a:lnTo>
                      <a:close/>
                    </a:path>
                    <a:path w="414019" h="295910">
                      <a:moveTo>
                        <a:pt x="218443" y="130402"/>
                      </a:moveTo>
                      <a:lnTo>
                        <a:pt x="217233" y="130810"/>
                      </a:lnTo>
                      <a:lnTo>
                        <a:pt x="218198" y="130810"/>
                      </a:lnTo>
                      <a:lnTo>
                        <a:pt x="218443" y="130402"/>
                      </a:lnTo>
                      <a:close/>
                    </a:path>
                    <a:path w="414019" h="295910">
                      <a:moveTo>
                        <a:pt x="221005" y="129540"/>
                      </a:moveTo>
                      <a:lnTo>
                        <a:pt x="218960" y="129540"/>
                      </a:lnTo>
                      <a:lnTo>
                        <a:pt x="218443" y="130402"/>
                      </a:lnTo>
                      <a:lnTo>
                        <a:pt x="221005" y="129540"/>
                      </a:lnTo>
                      <a:close/>
                    </a:path>
                    <a:path w="414019" h="295910">
                      <a:moveTo>
                        <a:pt x="314363" y="121920"/>
                      </a:moveTo>
                      <a:lnTo>
                        <a:pt x="208216" y="121920"/>
                      </a:lnTo>
                      <a:lnTo>
                        <a:pt x="206298" y="124460"/>
                      </a:lnTo>
                      <a:lnTo>
                        <a:pt x="205486" y="127000"/>
                      </a:lnTo>
                      <a:lnTo>
                        <a:pt x="201815" y="129540"/>
                      </a:lnTo>
                      <a:lnTo>
                        <a:pt x="209638" y="129540"/>
                      </a:lnTo>
                      <a:lnTo>
                        <a:pt x="210540" y="128270"/>
                      </a:lnTo>
                      <a:lnTo>
                        <a:pt x="216255" y="128270"/>
                      </a:lnTo>
                      <a:lnTo>
                        <a:pt x="219303" y="125730"/>
                      </a:lnTo>
                      <a:lnTo>
                        <a:pt x="305142" y="125730"/>
                      </a:lnTo>
                      <a:lnTo>
                        <a:pt x="307784" y="124460"/>
                      </a:lnTo>
                      <a:lnTo>
                        <a:pt x="305435" y="124460"/>
                      </a:lnTo>
                      <a:lnTo>
                        <a:pt x="303466" y="123190"/>
                      </a:lnTo>
                      <a:lnTo>
                        <a:pt x="315156" y="123190"/>
                      </a:lnTo>
                      <a:lnTo>
                        <a:pt x="314363" y="121920"/>
                      </a:lnTo>
                      <a:close/>
                    </a:path>
                    <a:path w="414019" h="295910">
                      <a:moveTo>
                        <a:pt x="310629" y="128270"/>
                      </a:moveTo>
                      <a:lnTo>
                        <a:pt x="217944" y="128270"/>
                      </a:lnTo>
                      <a:lnTo>
                        <a:pt x="216725" y="129540"/>
                      </a:lnTo>
                      <a:lnTo>
                        <a:pt x="309092" y="129540"/>
                      </a:lnTo>
                      <a:lnTo>
                        <a:pt x="310629" y="128270"/>
                      </a:lnTo>
                      <a:close/>
                    </a:path>
                    <a:path w="414019" h="295910">
                      <a:moveTo>
                        <a:pt x="315218" y="128696"/>
                      </a:moveTo>
                      <a:lnTo>
                        <a:pt x="311327" y="129540"/>
                      </a:lnTo>
                      <a:lnTo>
                        <a:pt x="316534" y="129540"/>
                      </a:lnTo>
                      <a:lnTo>
                        <a:pt x="315218" y="128696"/>
                      </a:lnTo>
                      <a:close/>
                    </a:path>
                    <a:path w="414019" h="295910">
                      <a:moveTo>
                        <a:pt x="319849" y="128270"/>
                      </a:moveTo>
                      <a:lnTo>
                        <a:pt x="317182" y="128270"/>
                      </a:lnTo>
                      <a:lnTo>
                        <a:pt x="317131" y="129540"/>
                      </a:lnTo>
                      <a:lnTo>
                        <a:pt x="317525" y="129540"/>
                      </a:lnTo>
                      <a:lnTo>
                        <a:pt x="319849" y="128270"/>
                      </a:lnTo>
                      <a:close/>
                    </a:path>
                    <a:path w="414019" h="295910">
                      <a:moveTo>
                        <a:pt x="317182" y="128270"/>
                      </a:moveTo>
                      <a:lnTo>
                        <a:pt x="314553" y="128270"/>
                      </a:lnTo>
                      <a:lnTo>
                        <a:pt x="315218" y="128696"/>
                      </a:lnTo>
                      <a:lnTo>
                        <a:pt x="317182" y="128270"/>
                      </a:lnTo>
                      <a:close/>
                    </a:path>
                    <a:path w="414019" h="295910">
                      <a:moveTo>
                        <a:pt x="320217" y="127000"/>
                      </a:moveTo>
                      <a:lnTo>
                        <a:pt x="221500" y="127000"/>
                      </a:lnTo>
                      <a:lnTo>
                        <a:pt x="220052" y="128270"/>
                      </a:lnTo>
                      <a:lnTo>
                        <a:pt x="320814" y="128270"/>
                      </a:lnTo>
                      <a:lnTo>
                        <a:pt x="320217" y="127000"/>
                      </a:lnTo>
                      <a:close/>
                    </a:path>
                    <a:path w="414019" h="295910">
                      <a:moveTo>
                        <a:pt x="304038" y="125730"/>
                      </a:moveTo>
                      <a:lnTo>
                        <a:pt x="219303" y="125730"/>
                      </a:lnTo>
                      <a:lnTo>
                        <a:pt x="219786" y="127000"/>
                      </a:lnTo>
                      <a:lnTo>
                        <a:pt x="303618" y="127000"/>
                      </a:lnTo>
                      <a:lnTo>
                        <a:pt x="304038" y="125730"/>
                      </a:lnTo>
                      <a:close/>
                    </a:path>
                    <a:path w="414019" h="295910">
                      <a:moveTo>
                        <a:pt x="309071" y="124175"/>
                      </a:moveTo>
                      <a:lnTo>
                        <a:pt x="307035" y="125730"/>
                      </a:lnTo>
                      <a:lnTo>
                        <a:pt x="303618" y="127000"/>
                      </a:lnTo>
                      <a:lnTo>
                        <a:pt x="317030" y="127000"/>
                      </a:lnTo>
                      <a:lnTo>
                        <a:pt x="316738" y="125730"/>
                      </a:lnTo>
                      <a:lnTo>
                        <a:pt x="316014" y="125730"/>
                      </a:lnTo>
                      <a:lnTo>
                        <a:pt x="314744" y="124460"/>
                      </a:lnTo>
                      <a:lnTo>
                        <a:pt x="309511" y="124460"/>
                      </a:lnTo>
                      <a:lnTo>
                        <a:pt x="309071" y="124175"/>
                      </a:lnTo>
                      <a:close/>
                    </a:path>
                    <a:path w="414019" h="295910">
                      <a:moveTo>
                        <a:pt x="317030" y="125730"/>
                      </a:moveTo>
                      <a:lnTo>
                        <a:pt x="317030" y="127000"/>
                      </a:lnTo>
                      <a:lnTo>
                        <a:pt x="318287" y="127000"/>
                      </a:lnTo>
                      <a:lnTo>
                        <a:pt x="317030" y="125730"/>
                      </a:lnTo>
                      <a:close/>
                    </a:path>
                    <a:path w="414019" h="295910">
                      <a:moveTo>
                        <a:pt x="330873" y="123190"/>
                      </a:moveTo>
                      <a:lnTo>
                        <a:pt x="319582" y="123190"/>
                      </a:lnTo>
                      <a:lnTo>
                        <a:pt x="321919" y="124460"/>
                      </a:lnTo>
                      <a:lnTo>
                        <a:pt x="328218" y="124460"/>
                      </a:lnTo>
                      <a:lnTo>
                        <a:pt x="328142" y="125730"/>
                      </a:lnTo>
                      <a:lnTo>
                        <a:pt x="330873" y="123190"/>
                      </a:lnTo>
                      <a:close/>
                    </a:path>
                    <a:path w="414019" h="295910">
                      <a:moveTo>
                        <a:pt x="334869" y="120650"/>
                      </a:moveTo>
                      <a:lnTo>
                        <a:pt x="317030" y="120650"/>
                      </a:lnTo>
                      <a:lnTo>
                        <a:pt x="317042" y="121920"/>
                      </a:lnTo>
                      <a:lnTo>
                        <a:pt x="317182" y="121920"/>
                      </a:lnTo>
                      <a:lnTo>
                        <a:pt x="318465" y="123190"/>
                      </a:lnTo>
                      <a:lnTo>
                        <a:pt x="330873" y="123190"/>
                      </a:lnTo>
                      <a:lnTo>
                        <a:pt x="331990" y="124460"/>
                      </a:lnTo>
                      <a:lnTo>
                        <a:pt x="335978" y="125730"/>
                      </a:lnTo>
                      <a:lnTo>
                        <a:pt x="336130" y="123190"/>
                      </a:lnTo>
                      <a:lnTo>
                        <a:pt x="334869" y="120650"/>
                      </a:lnTo>
                      <a:close/>
                    </a:path>
                    <a:path w="414019" h="295910">
                      <a:moveTo>
                        <a:pt x="307543" y="123190"/>
                      </a:moveTo>
                      <a:lnTo>
                        <a:pt x="305435" y="124460"/>
                      </a:lnTo>
                      <a:lnTo>
                        <a:pt x="308698" y="124460"/>
                      </a:lnTo>
                      <a:lnTo>
                        <a:pt x="309071" y="124175"/>
                      </a:lnTo>
                      <a:lnTo>
                        <a:pt x="307543" y="123190"/>
                      </a:lnTo>
                      <a:close/>
                    </a:path>
                    <a:path w="414019" h="295910">
                      <a:moveTo>
                        <a:pt x="310362" y="123190"/>
                      </a:moveTo>
                      <a:lnTo>
                        <a:pt x="309071" y="124175"/>
                      </a:lnTo>
                      <a:lnTo>
                        <a:pt x="309511" y="124460"/>
                      </a:lnTo>
                      <a:lnTo>
                        <a:pt x="314744" y="124460"/>
                      </a:lnTo>
                      <a:lnTo>
                        <a:pt x="310362" y="123190"/>
                      </a:lnTo>
                      <a:close/>
                    </a:path>
                    <a:path w="414019" h="295910">
                      <a:moveTo>
                        <a:pt x="315156" y="123190"/>
                      </a:moveTo>
                      <a:lnTo>
                        <a:pt x="314794" y="123190"/>
                      </a:lnTo>
                      <a:lnTo>
                        <a:pt x="315950" y="124460"/>
                      </a:lnTo>
                      <a:lnTo>
                        <a:pt x="315156" y="123190"/>
                      </a:lnTo>
                      <a:close/>
                    </a:path>
                    <a:path w="414019" h="295910">
                      <a:moveTo>
                        <a:pt x="301650" y="118110"/>
                      </a:moveTo>
                      <a:lnTo>
                        <a:pt x="200012" y="118110"/>
                      </a:lnTo>
                      <a:lnTo>
                        <a:pt x="201663" y="119380"/>
                      </a:lnTo>
                      <a:lnTo>
                        <a:pt x="205994" y="120650"/>
                      </a:lnTo>
                      <a:lnTo>
                        <a:pt x="207810" y="121920"/>
                      </a:lnTo>
                      <a:lnTo>
                        <a:pt x="299110" y="121920"/>
                      </a:lnTo>
                      <a:lnTo>
                        <a:pt x="301650" y="118110"/>
                      </a:lnTo>
                      <a:close/>
                    </a:path>
                    <a:path w="414019" h="295910">
                      <a:moveTo>
                        <a:pt x="306730" y="120650"/>
                      </a:moveTo>
                      <a:lnTo>
                        <a:pt x="301459" y="120650"/>
                      </a:lnTo>
                      <a:lnTo>
                        <a:pt x="300266" y="121920"/>
                      </a:lnTo>
                      <a:lnTo>
                        <a:pt x="309270" y="121920"/>
                      </a:lnTo>
                      <a:lnTo>
                        <a:pt x="308306" y="120983"/>
                      </a:lnTo>
                      <a:lnTo>
                        <a:pt x="306730" y="120650"/>
                      </a:lnTo>
                      <a:close/>
                    </a:path>
                    <a:path w="414019" h="295910">
                      <a:moveTo>
                        <a:pt x="314490" y="120650"/>
                      </a:moveTo>
                      <a:lnTo>
                        <a:pt x="307962" y="120650"/>
                      </a:lnTo>
                      <a:lnTo>
                        <a:pt x="308306" y="120983"/>
                      </a:lnTo>
                      <a:lnTo>
                        <a:pt x="312724" y="121920"/>
                      </a:lnTo>
                      <a:lnTo>
                        <a:pt x="314490" y="120650"/>
                      </a:lnTo>
                      <a:close/>
                    </a:path>
                    <a:path w="414019" h="295910">
                      <a:moveTo>
                        <a:pt x="317030" y="120650"/>
                      </a:moveTo>
                      <a:lnTo>
                        <a:pt x="314490" y="120650"/>
                      </a:lnTo>
                      <a:lnTo>
                        <a:pt x="317030" y="121920"/>
                      </a:lnTo>
                      <a:lnTo>
                        <a:pt x="317030" y="120650"/>
                      </a:lnTo>
                      <a:close/>
                    </a:path>
                    <a:path w="414019" h="295910">
                      <a:moveTo>
                        <a:pt x="328307" y="116840"/>
                      </a:moveTo>
                      <a:lnTo>
                        <a:pt x="320878" y="116840"/>
                      </a:lnTo>
                      <a:lnTo>
                        <a:pt x="318770" y="118110"/>
                      </a:lnTo>
                      <a:lnTo>
                        <a:pt x="301650" y="118110"/>
                      </a:lnTo>
                      <a:lnTo>
                        <a:pt x="306730" y="120650"/>
                      </a:lnTo>
                      <a:lnTo>
                        <a:pt x="308306" y="120983"/>
                      </a:lnTo>
                      <a:lnTo>
                        <a:pt x="307962" y="120650"/>
                      </a:lnTo>
                      <a:lnTo>
                        <a:pt x="334869" y="120650"/>
                      </a:lnTo>
                      <a:lnTo>
                        <a:pt x="334238" y="119380"/>
                      </a:lnTo>
                      <a:lnTo>
                        <a:pt x="332714" y="119380"/>
                      </a:lnTo>
                      <a:lnTo>
                        <a:pt x="328307" y="116840"/>
                      </a:lnTo>
                      <a:close/>
                    </a:path>
                    <a:path w="414019" h="295910">
                      <a:moveTo>
                        <a:pt x="192937" y="114057"/>
                      </a:moveTo>
                      <a:lnTo>
                        <a:pt x="192633" y="114300"/>
                      </a:lnTo>
                      <a:lnTo>
                        <a:pt x="194284" y="115570"/>
                      </a:lnTo>
                      <a:lnTo>
                        <a:pt x="196900" y="118110"/>
                      </a:lnTo>
                      <a:lnTo>
                        <a:pt x="317030" y="118110"/>
                      </a:lnTo>
                      <a:lnTo>
                        <a:pt x="317030" y="116840"/>
                      </a:lnTo>
                      <a:lnTo>
                        <a:pt x="288950" y="116840"/>
                      </a:lnTo>
                      <a:lnTo>
                        <a:pt x="287947" y="115570"/>
                      </a:lnTo>
                      <a:lnTo>
                        <a:pt x="290080" y="114300"/>
                      </a:lnTo>
                      <a:lnTo>
                        <a:pt x="192798" y="114300"/>
                      </a:lnTo>
                      <a:lnTo>
                        <a:pt x="192937" y="114057"/>
                      </a:lnTo>
                      <a:close/>
                    </a:path>
                    <a:path w="414019" h="295910">
                      <a:moveTo>
                        <a:pt x="317030" y="116840"/>
                      </a:moveTo>
                      <a:lnTo>
                        <a:pt x="317030" y="118110"/>
                      </a:lnTo>
                      <a:lnTo>
                        <a:pt x="318770" y="118110"/>
                      </a:lnTo>
                      <a:lnTo>
                        <a:pt x="317030" y="116840"/>
                      </a:lnTo>
                      <a:close/>
                    </a:path>
                    <a:path w="414019" h="295910">
                      <a:moveTo>
                        <a:pt x="292887" y="114300"/>
                      </a:moveTo>
                      <a:lnTo>
                        <a:pt x="290347" y="115570"/>
                      </a:lnTo>
                      <a:lnTo>
                        <a:pt x="288950" y="116840"/>
                      </a:lnTo>
                      <a:lnTo>
                        <a:pt x="316560" y="116840"/>
                      </a:lnTo>
                      <a:lnTo>
                        <a:pt x="314121" y="115570"/>
                      </a:lnTo>
                      <a:lnTo>
                        <a:pt x="294347" y="115570"/>
                      </a:lnTo>
                      <a:lnTo>
                        <a:pt x="292887" y="114300"/>
                      </a:lnTo>
                      <a:close/>
                    </a:path>
                    <a:path w="414019" h="295910">
                      <a:moveTo>
                        <a:pt x="305142" y="111760"/>
                      </a:moveTo>
                      <a:lnTo>
                        <a:pt x="199542" y="111760"/>
                      </a:lnTo>
                      <a:lnTo>
                        <a:pt x="198628" y="113030"/>
                      </a:lnTo>
                      <a:lnTo>
                        <a:pt x="194221" y="113030"/>
                      </a:lnTo>
                      <a:lnTo>
                        <a:pt x="192937" y="114057"/>
                      </a:lnTo>
                      <a:lnTo>
                        <a:pt x="192798" y="114300"/>
                      </a:lnTo>
                      <a:lnTo>
                        <a:pt x="296037" y="114300"/>
                      </a:lnTo>
                      <a:lnTo>
                        <a:pt x="297510" y="115570"/>
                      </a:lnTo>
                      <a:lnTo>
                        <a:pt x="300761" y="115570"/>
                      </a:lnTo>
                      <a:lnTo>
                        <a:pt x="303232" y="114476"/>
                      </a:lnTo>
                      <a:lnTo>
                        <a:pt x="305142" y="111760"/>
                      </a:lnTo>
                      <a:close/>
                    </a:path>
                    <a:path w="414019" h="295910">
                      <a:moveTo>
                        <a:pt x="303232" y="114476"/>
                      </a:moveTo>
                      <a:lnTo>
                        <a:pt x="300761" y="115570"/>
                      </a:lnTo>
                      <a:lnTo>
                        <a:pt x="302463" y="115570"/>
                      </a:lnTo>
                      <a:lnTo>
                        <a:pt x="303232" y="114476"/>
                      </a:lnTo>
                      <a:close/>
                    </a:path>
                    <a:path w="414019" h="295910">
                      <a:moveTo>
                        <a:pt x="306501" y="113030"/>
                      </a:moveTo>
                      <a:lnTo>
                        <a:pt x="303232" y="114476"/>
                      </a:lnTo>
                      <a:lnTo>
                        <a:pt x="302463" y="115570"/>
                      </a:lnTo>
                      <a:lnTo>
                        <a:pt x="312635" y="115570"/>
                      </a:lnTo>
                      <a:lnTo>
                        <a:pt x="308648" y="114300"/>
                      </a:lnTo>
                      <a:lnTo>
                        <a:pt x="306501" y="113030"/>
                      </a:lnTo>
                      <a:close/>
                    </a:path>
                    <a:path w="414019" h="295910">
                      <a:moveTo>
                        <a:pt x="193522" y="113030"/>
                      </a:moveTo>
                      <a:lnTo>
                        <a:pt x="190119" y="113030"/>
                      </a:lnTo>
                      <a:lnTo>
                        <a:pt x="191147" y="114300"/>
                      </a:lnTo>
                      <a:lnTo>
                        <a:pt x="192633" y="114300"/>
                      </a:lnTo>
                      <a:lnTo>
                        <a:pt x="192937" y="114057"/>
                      </a:lnTo>
                      <a:lnTo>
                        <a:pt x="193522" y="113030"/>
                      </a:lnTo>
                      <a:close/>
                    </a:path>
                    <a:path w="414019" h="295910">
                      <a:moveTo>
                        <a:pt x="195808" y="111760"/>
                      </a:moveTo>
                      <a:lnTo>
                        <a:pt x="184708" y="111760"/>
                      </a:lnTo>
                      <a:lnTo>
                        <a:pt x="187820" y="113030"/>
                      </a:lnTo>
                      <a:lnTo>
                        <a:pt x="194221" y="113030"/>
                      </a:lnTo>
                      <a:lnTo>
                        <a:pt x="195808" y="111760"/>
                      </a:lnTo>
                      <a:close/>
                    </a:path>
                    <a:path w="414019" h="295910">
                      <a:moveTo>
                        <a:pt x="195808" y="111760"/>
                      </a:moveTo>
                      <a:lnTo>
                        <a:pt x="194221" y="113030"/>
                      </a:lnTo>
                      <a:lnTo>
                        <a:pt x="195766" y="112010"/>
                      </a:lnTo>
                      <a:lnTo>
                        <a:pt x="195808" y="111760"/>
                      </a:lnTo>
                      <a:close/>
                    </a:path>
                    <a:path w="414019" h="295910">
                      <a:moveTo>
                        <a:pt x="195766" y="112010"/>
                      </a:moveTo>
                      <a:lnTo>
                        <a:pt x="194246" y="113030"/>
                      </a:lnTo>
                      <a:lnTo>
                        <a:pt x="195592" y="113030"/>
                      </a:lnTo>
                      <a:lnTo>
                        <a:pt x="195766" y="112010"/>
                      </a:lnTo>
                      <a:close/>
                    </a:path>
                    <a:path w="414019" h="295910">
                      <a:moveTo>
                        <a:pt x="197827" y="111760"/>
                      </a:moveTo>
                      <a:lnTo>
                        <a:pt x="195592" y="113030"/>
                      </a:lnTo>
                      <a:lnTo>
                        <a:pt x="198628" y="113030"/>
                      </a:lnTo>
                      <a:lnTo>
                        <a:pt x="197827" y="111760"/>
                      </a:lnTo>
                      <a:close/>
                    </a:path>
                    <a:path w="414019" h="295910">
                      <a:moveTo>
                        <a:pt x="314833" y="110490"/>
                      </a:moveTo>
                      <a:lnTo>
                        <a:pt x="195313" y="110490"/>
                      </a:lnTo>
                      <a:lnTo>
                        <a:pt x="197612" y="111760"/>
                      </a:lnTo>
                      <a:lnTo>
                        <a:pt x="305142" y="111760"/>
                      </a:lnTo>
                      <a:lnTo>
                        <a:pt x="311264" y="113030"/>
                      </a:lnTo>
                      <a:lnTo>
                        <a:pt x="312280" y="113030"/>
                      </a:lnTo>
                      <a:lnTo>
                        <a:pt x="314833" y="110490"/>
                      </a:lnTo>
                      <a:close/>
                    </a:path>
                    <a:path w="414019" h="295910">
                      <a:moveTo>
                        <a:pt x="196138" y="111760"/>
                      </a:moveTo>
                      <a:lnTo>
                        <a:pt x="195808" y="111760"/>
                      </a:lnTo>
                      <a:lnTo>
                        <a:pt x="195766" y="112010"/>
                      </a:lnTo>
                      <a:lnTo>
                        <a:pt x="196138" y="111760"/>
                      </a:lnTo>
                      <a:close/>
                    </a:path>
                    <a:path w="414019" h="295910">
                      <a:moveTo>
                        <a:pt x="271360" y="91440"/>
                      </a:moveTo>
                      <a:lnTo>
                        <a:pt x="162737" y="91440"/>
                      </a:lnTo>
                      <a:lnTo>
                        <a:pt x="163423" y="92710"/>
                      </a:lnTo>
                      <a:lnTo>
                        <a:pt x="164896" y="93980"/>
                      </a:lnTo>
                      <a:lnTo>
                        <a:pt x="168262" y="93980"/>
                      </a:lnTo>
                      <a:lnTo>
                        <a:pt x="168198" y="95250"/>
                      </a:lnTo>
                      <a:lnTo>
                        <a:pt x="176085" y="95250"/>
                      </a:lnTo>
                      <a:lnTo>
                        <a:pt x="179451" y="100330"/>
                      </a:lnTo>
                      <a:lnTo>
                        <a:pt x="179003" y="104140"/>
                      </a:lnTo>
                      <a:lnTo>
                        <a:pt x="178897" y="105748"/>
                      </a:lnTo>
                      <a:lnTo>
                        <a:pt x="179666" y="111760"/>
                      </a:lnTo>
                      <a:lnTo>
                        <a:pt x="180047" y="107950"/>
                      </a:lnTo>
                      <a:lnTo>
                        <a:pt x="179387" y="107950"/>
                      </a:lnTo>
                      <a:lnTo>
                        <a:pt x="181978" y="106680"/>
                      </a:lnTo>
                      <a:lnTo>
                        <a:pt x="185267" y="105410"/>
                      </a:lnTo>
                      <a:lnTo>
                        <a:pt x="282721" y="105410"/>
                      </a:lnTo>
                      <a:lnTo>
                        <a:pt x="283692" y="104140"/>
                      </a:lnTo>
                      <a:lnTo>
                        <a:pt x="290830" y="104140"/>
                      </a:lnTo>
                      <a:lnTo>
                        <a:pt x="290504" y="102870"/>
                      </a:lnTo>
                      <a:lnTo>
                        <a:pt x="285775" y="102870"/>
                      </a:lnTo>
                      <a:lnTo>
                        <a:pt x="286753" y="101600"/>
                      </a:lnTo>
                      <a:lnTo>
                        <a:pt x="287718" y="101600"/>
                      </a:lnTo>
                      <a:lnTo>
                        <a:pt x="289852" y="100330"/>
                      </a:lnTo>
                      <a:lnTo>
                        <a:pt x="290461" y="100330"/>
                      </a:lnTo>
                      <a:lnTo>
                        <a:pt x="291020" y="99060"/>
                      </a:lnTo>
                      <a:lnTo>
                        <a:pt x="269417" y="99060"/>
                      </a:lnTo>
                      <a:lnTo>
                        <a:pt x="269557" y="96520"/>
                      </a:lnTo>
                      <a:lnTo>
                        <a:pt x="270066" y="95003"/>
                      </a:lnTo>
                      <a:lnTo>
                        <a:pt x="271360" y="91440"/>
                      </a:lnTo>
                      <a:close/>
                    </a:path>
                    <a:path w="414019" h="295910">
                      <a:moveTo>
                        <a:pt x="189268" y="110490"/>
                      </a:moveTo>
                      <a:lnTo>
                        <a:pt x="185902" y="111760"/>
                      </a:lnTo>
                      <a:lnTo>
                        <a:pt x="190385" y="111760"/>
                      </a:lnTo>
                      <a:lnTo>
                        <a:pt x="189268" y="110490"/>
                      </a:lnTo>
                      <a:close/>
                    </a:path>
                    <a:path w="414019" h="295910">
                      <a:moveTo>
                        <a:pt x="303060" y="104140"/>
                      </a:moveTo>
                      <a:lnTo>
                        <a:pt x="299085" y="106680"/>
                      </a:lnTo>
                      <a:lnTo>
                        <a:pt x="297624" y="109220"/>
                      </a:lnTo>
                      <a:lnTo>
                        <a:pt x="191541" y="109220"/>
                      </a:lnTo>
                      <a:lnTo>
                        <a:pt x="190385" y="111760"/>
                      </a:lnTo>
                      <a:lnTo>
                        <a:pt x="193662" y="111760"/>
                      </a:lnTo>
                      <a:lnTo>
                        <a:pt x="195313" y="110490"/>
                      </a:lnTo>
                      <a:lnTo>
                        <a:pt x="315937" y="110490"/>
                      </a:lnTo>
                      <a:lnTo>
                        <a:pt x="316852" y="109220"/>
                      </a:lnTo>
                      <a:lnTo>
                        <a:pt x="316979" y="107950"/>
                      </a:lnTo>
                      <a:lnTo>
                        <a:pt x="328561" y="107950"/>
                      </a:lnTo>
                      <a:lnTo>
                        <a:pt x="328091" y="105410"/>
                      </a:lnTo>
                      <a:lnTo>
                        <a:pt x="305104" y="105410"/>
                      </a:lnTo>
                      <a:lnTo>
                        <a:pt x="303060" y="104140"/>
                      </a:lnTo>
                      <a:close/>
                    </a:path>
                    <a:path w="414019" h="295910">
                      <a:moveTo>
                        <a:pt x="126123" y="101600"/>
                      </a:moveTo>
                      <a:lnTo>
                        <a:pt x="126047" y="102870"/>
                      </a:lnTo>
                      <a:lnTo>
                        <a:pt x="117017" y="102870"/>
                      </a:lnTo>
                      <a:lnTo>
                        <a:pt x="121119" y="104140"/>
                      </a:lnTo>
                      <a:lnTo>
                        <a:pt x="122351" y="104140"/>
                      </a:lnTo>
                      <a:lnTo>
                        <a:pt x="125285" y="105410"/>
                      </a:lnTo>
                      <a:lnTo>
                        <a:pt x="126847" y="106680"/>
                      </a:lnTo>
                      <a:lnTo>
                        <a:pt x="129514" y="107950"/>
                      </a:lnTo>
                      <a:lnTo>
                        <a:pt x="131013" y="110490"/>
                      </a:lnTo>
                      <a:lnTo>
                        <a:pt x="135940" y="109220"/>
                      </a:lnTo>
                      <a:lnTo>
                        <a:pt x="132702" y="107950"/>
                      </a:lnTo>
                      <a:lnTo>
                        <a:pt x="129959" y="105410"/>
                      </a:lnTo>
                      <a:lnTo>
                        <a:pt x="129120" y="104140"/>
                      </a:lnTo>
                      <a:lnTo>
                        <a:pt x="126123" y="101600"/>
                      </a:lnTo>
                      <a:close/>
                    </a:path>
                    <a:path w="414019" h="295910">
                      <a:moveTo>
                        <a:pt x="329171" y="107950"/>
                      </a:moveTo>
                      <a:lnTo>
                        <a:pt x="317030" y="107950"/>
                      </a:lnTo>
                      <a:lnTo>
                        <a:pt x="317030" y="109220"/>
                      </a:lnTo>
                      <a:lnTo>
                        <a:pt x="322402" y="109220"/>
                      </a:lnTo>
                      <a:lnTo>
                        <a:pt x="324002" y="110490"/>
                      </a:lnTo>
                      <a:lnTo>
                        <a:pt x="329768" y="110490"/>
                      </a:lnTo>
                      <a:lnTo>
                        <a:pt x="329171" y="107950"/>
                      </a:lnTo>
                      <a:close/>
                    </a:path>
                    <a:path w="414019" h="295910">
                      <a:moveTo>
                        <a:pt x="181063" y="107950"/>
                      </a:moveTo>
                      <a:lnTo>
                        <a:pt x="180047" y="107950"/>
                      </a:lnTo>
                      <a:lnTo>
                        <a:pt x="181622" y="109220"/>
                      </a:lnTo>
                      <a:lnTo>
                        <a:pt x="181063" y="107950"/>
                      </a:lnTo>
                      <a:close/>
                    </a:path>
                    <a:path w="414019" h="295910">
                      <a:moveTo>
                        <a:pt x="290677" y="107950"/>
                      </a:moveTo>
                      <a:lnTo>
                        <a:pt x="191262" y="107950"/>
                      </a:lnTo>
                      <a:lnTo>
                        <a:pt x="188645" y="109220"/>
                      </a:lnTo>
                      <a:lnTo>
                        <a:pt x="290144" y="109220"/>
                      </a:lnTo>
                      <a:lnTo>
                        <a:pt x="290677" y="107950"/>
                      </a:lnTo>
                      <a:close/>
                    </a:path>
                    <a:path w="414019" h="295910">
                      <a:moveTo>
                        <a:pt x="294005" y="107950"/>
                      </a:moveTo>
                      <a:lnTo>
                        <a:pt x="292023" y="107950"/>
                      </a:lnTo>
                      <a:lnTo>
                        <a:pt x="291236" y="109220"/>
                      </a:lnTo>
                      <a:lnTo>
                        <a:pt x="294525" y="109220"/>
                      </a:lnTo>
                      <a:lnTo>
                        <a:pt x="294005" y="107950"/>
                      </a:lnTo>
                      <a:close/>
                    </a:path>
                    <a:path w="414019" h="295910">
                      <a:moveTo>
                        <a:pt x="115227" y="106680"/>
                      </a:moveTo>
                      <a:lnTo>
                        <a:pt x="112407" y="106680"/>
                      </a:lnTo>
                      <a:lnTo>
                        <a:pt x="113233" y="107950"/>
                      </a:lnTo>
                      <a:lnTo>
                        <a:pt x="114706" y="107950"/>
                      </a:lnTo>
                      <a:lnTo>
                        <a:pt x="115227" y="106680"/>
                      </a:lnTo>
                      <a:close/>
                    </a:path>
                    <a:path w="414019" h="295910">
                      <a:moveTo>
                        <a:pt x="164360" y="102870"/>
                      </a:moveTo>
                      <a:lnTo>
                        <a:pt x="143471" y="102870"/>
                      </a:lnTo>
                      <a:lnTo>
                        <a:pt x="144894" y="104140"/>
                      </a:lnTo>
                      <a:lnTo>
                        <a:pt x="147154" y="104140"/>
                      </a:lnTo>
                      <a:lnTo>
                        <a:pt x="148475" y="105410"/>
                      </a:lnTo>
                      <a:lnTo>
                        <a:pt x="148996" y="106680"/>
                      </a:lnTo>
                      <a:lnTo>
                        <a:pt x="151231" y="107950"/>
                      </a:lnTo>
                      <a:lnTo>
                        <a:pt x="153060" y="106680"/>
                      </a:lnTo>
                      <a:lnTo>
                        <a:pt x="164528" y="106680"/>
                      </a:lnTo>
                      <a:lnTo>
                        <a:pt x="164360" y="102870"/>
                      </a:lnTo>
                      <a:close/>
                    </a:path>
                    <a:path w="414019" h="295910">
                      <a:moveTo>
                        <a:pt x="282721" y="105410"/>
                      </a:moveTo>
                      <a:lnTo>
                        <a:pt x="185953" y="105410"/>
                      </a:lnTo>
                      <a:lnTo>
                        <a:pt x="183515" y="106680"/>
                      </a:lnTo>
                      <a:lnTo>
                        <a:pt x="184302" y="107950"/>
                      </a:lnTo>
                      <a:lnTo>
                        <a:pt x="186575" y="107950"/>
                      </a:lnTo>
                      <a:lnTo>
                        <a:pt x="186842" y="106680"/>
                      </a:lnTo>
                      <a:lnTo>
                        <a:pt x="281749" y="106680"/>
                      </a:lnTo>
                      <a:lnTo>
                        <a:pt x="282721" y="105410"/>
                      </a:lnTo>
                      <a:close/>
                    </a:path>
                    <a:path w="414019" h="295910">
                      <a:moveTo>
                        <a:pt x="281749" y="106680"/>
                      </a:moveTo>
                      <a:lnTo>
                        <a:pt x="188506" y="106680"/>
                      </a:lnTo>
                      <a:lnTo>
                        <a:pt x="187921" y="107950"/>
                      </a:lnTo>
                      <a:lnTo>
                        <a:pt x="283984" y="107950"/>
                      </a:lnTo>
                      <a:lnTo>
                        <a:pt x="281749" y="106680"/>
                      </a:lnTo>
                      <a:close/>
                    </a:path>
                    <a:path w="414019" h="295910">
                      <a:moveTo>
                        <a:pt x="306870" y="97790"/>
                      </a:moveTo>
                      <a:lnTo>
                        <a:pt x="305689" y="99060"/>
                      </a:lnTo>
                      <a:lnTo>
                        <a:pt x="295757" y="99060"/>
                      </a:lnTo>
                      <a:lnTo>
                        <a:pt x="293128" y="100330"/>
                      </a:lnTo>
                      <a:lnTo>
                        <a:pt x="292036" y="104140"/>
                      </a:lnTo>
                      <a:lnTo>
                        <a:pt x="286473" y="104140"/>
                      </a:lnTo>
                      <a:lnTo>
                        <a:pt x="283984" y="107950"/>
                      </a:lnTo>
                      <a:lnTo>
                        <a:pt x="297218" y="107950"/>
                      </a:lnTo>
                      <a:lnTo>
                        <a:pt x="297180" y="106680"/>
                      </a:lnTo>
                      <a:lnTo>
                        <a:pt x="299186" y="105410"/>
                      </a:lnTo>
                      <a:lnTo>
                        <a:pt x="300761" y="104140"/>
                      </a:lnTo>
                      <a:lnTo>
                        <a:pt x="306133" y="102870"/>
                      </a:lnTo>
                      <a:lnTo>
                        <a:pt x="306870" y="97790"/>
                      </a:lnTo>
                      <a:close/>
                    </a:path>
                    <a:path w="414019" h="295910">
                      <a:moveTo>
                        <a:pt x="120218" y="105410"/>
                      </a:moveTo>
                      <a:lnTo>
                        <a:pt x="105829" y="105410"/>
                      </a:lnTo>
                      <a:lnTo>
                        <a:pt x="108267" y="106680"/>
                      </a:lnTo>
                      <a:lnTo>
                        <a:pt x="117906" y="106680"/>
                      </a:lnTo>
                      <a:lnTo>
                        <a:pt x="120218" y="105410"/>
                      </a:lnTo>
                      <a:close/>
                    </a:path>
                    <a:path w="414019" h="295910">
                      <a:moveTo>
                        <a:pt x="120126" y="105748"/>
                      </a:moveTo>
                      <a:lnTo>
                        <a:pt x="119735" y="106680"/>
                      </a:lnTo>
                      <a:lnTo>
                        <a:pt x="120073" y="105944"/>
                      </a:lnTo>
                      <a:lnTo>
                        <a:pt x="120126" y="105748"/>
                      </a:lnTo>
                      <a:close/>
                    </a:path>
                    <a:path w="414019" h="295910">
                      <a:moveTo>
                        <a:pt x="120319" y="105410"/>
                      </a:moveTo>
                      <a:lnTo>
                        <a:pt x="120073" y="105944"/>
                      </a:lnTo>
                      <a:lnTo>
                        <a:pt x="119875" y="106680"/>
                      </a:lnTo>
                      <a:lnTo>
                        <a:pt x="120319" y="105410"/>
                      </a:lnTo>
                      <a:close/>
                    </a:path>
                    <a:path w="414019" h="295910">
                      <a:moveTo>
                        <a:pt x="120269" y="105410"/>
                      </a:moveTo>
                      <a:lnTo>
                        <a:pt x="120126" y="105748"/>
                      </a:lnTo>
                      <a:lnTo>
                        <a:pt x="120269" y="105410"/>
                      </a:lnTo>
                      <a:close/>
                    </a:path>
                    <a:path w="414019" h="295910">
                      <a:moveTo>
                        <a:pt x="119748" y="104140"/>
                      </a:moveTo>
                      <a:lnTo>
                        <a:pt x="104317" y="104140"/>
                      </a:lnTo>
                      <a:lnTo>
                        <a:pt x="105003" y="105410"/>
                      </a:lnTo>
                      <a:lnTo>
                        <a:pt x="120713" y="105410"/>
                      </a:lnTo>
                      <a:lnTo>
                        <a:pt x="119748" y="104140"/>
                      </a:lnTo>
                      <a:close/>
                    </a:path>
                    <a:path w="414019" h="295910">
                      <a:moveTo>
                        <a:pt x="315074" y="93980"/>
                      </a:moveTo>
                      <a:lnTo>
                        <a:pt x="314083" y="96520"/>
                      </a:lnTo>
                      <a:lnTo>
                        <a:pt x="313817" y="100330"/>
                      </a:lnTo>
                      <a:lnTo>
                        <a:pt x="314629" y="100330"/>
                      </a:lnTo>
                      <a:lnTo>
                        <a:pt x="310197" y="101600"/>
                      </a:lnTo>
                      <a:lnTo>
                        <a:pt x="308864" y="102870"/>
                      </a:lnTo>
                      <a:lnTo>
                        <a:pt x="305104" y="105410"/>
                      </a:lnTo>
                      <a:lnTo>
                        <a:pt x="328472" y="105410"/>
                      </a:lnTo>
                      <a:lnTo>
                        <a:pt x="319862" y="96520"/>
                      </a:lnTo>
                      <a:lnTo>
                        <a:pt x="316903" y="96520"/>
                      </a:lnTo>
                      <a:lnTo>
                        <a:pt x="316738" y="95250"/>
                      </a:lnTo>
                      <a:lnTo>
                        <a:pt x="315074" y="93980"/>
                      </a:lnTo>
                      <a:close/>
                    </a:path>
                    <a:path w="414019" h="295910">
                      <a:moveTo>
                        <a:pt x="54745" y="90837"/>
                      </a:moveTo>
                      <a:lnTo>
                        <a:pt x="51244" y="92710"/>
                      </a:lnTo>
                      <a:lnTo>
                        <a:pt x="50584" y="97790"/>
                      </a:lnTo>
                      <a:lnTo>
                        <a:pt x="60045" y="102870"/>
                      </a:lnTo>
                      <a:lnTo>
                        <a:pt x="66217" y="102870"/>
                      </a:lnTo>
                      <a:lnTo>
                        <a:pt x="68224" y="104140"/>
                      </a:lnTo>
                      <a:lnTo>
                        <a:pt x="70231" y="104140"/>
                      </a:lnTo>
                      <a:lnTo>
                        <a:pt x="67983" y="101600"/>
                      </a:lnTo>
                      <a:lnTo>
                        <a:pt x="61861" y="101600"/>
                      </a:lnTo>
                      <a:lnTo>
                        <a:pt x="63296" y="99060"/>
                      </a:lnTo>
                      <a:lnTo>
                        <a:pt x="107784" y="99060"/>
                      </a:lnTo>
                      <a:lnTo>
                        <a:pt x="104559" y="97790"/>
                      </a:lnTo>
                      <a:lnTo>
                        <a:pt x="103327" y="96520"/>
                      </a:lnTo>
                      <a:lnTo>
                        <a:pt x="101815" y="95250"/>
                      </a:lnTo>
                      <a:lnTo>
                        <a:pt x="155943" y="95250"/>
                      </a:lnTo>
                      <a:lnTo>
                        <a:pt x="155689" y="93980"/>
                      </a:lnTo>
                      <a:lnTo>
                        <a:pt x="153250" y="93980"/>
                      </a:lnTo>
                      <a:lnTo>
                        <a:pt x="151511" y="92710"/>
                      </a:lnTo>
                      <a:lnTo>
                        <a:pt x="150926" y="91440"/>
                      </a:lnTo>
                      <a:lnTo>
                        <a:pt x="55359" y="91440"/>
                      </a:lnTo>
                      <a:lnTo>
                        <a:pt x="54745" y="90837"/>
                      </a:lnTo>
                      <a:close/>
                    </a:path>
                    <a:path w="414019" h="295910">
                      <a:moveTo>
                        <a:pt x="97523" y="102870"/>
                      </a:moveTo>
                      <a:lnTo>
                        <a:pt x="80492" y="102870"/>
                      </a:lnTo>
                      <a:lnTo>
                        <a:pt x="82003" y="104140"/>
                      </a:lnTo>
                      <a:lnTo>
                        <a:pt x="95326" y="104140"/>
                      </a:lnTo>
                      <a:lnTo>
                        <a:pt x="97523" y="102870"/>
                      </a:lnTo>
                      <a:close/>
                    </a:path>
                    <a:path w="414019" h="295910">
                      <a:moveTo>
                        <a:pt x="116827" y="102870"/>
                      </a:moveTo>
                      <a:lnTo>
                        <a:pt x="101307" y="102870"/>
                      </a:lnTo>
                      <a:lnTo>
                        <a:pt x="102400" y="104140"/>
                      </a:lnTo>
                      <a:lnTo>
                        <a:pt x="118605" y="104140"/>
                      </a:lnTo>
                      <a:lnTo>
                        <a:pt x="117129" y="102959"/>
                      </a:lnTo>
                      <a:lnTo>
                        <a:pt x="116827" y="102870"/>
                      </a:lnTo>
                      <a:close/>
                    </a:path>
                    <a:path w="414019" h="295910">
                      <a:moveTo>
                        <a:pt x="164249" y="100330"/>
                      </a:moveTo>
                      <a:lnTo>
                        <a:pt x="128104" y="100330"/>
                      </a:lnTo>
                      <a:lnTo>
                        <a:pt x="131152" y="101600"/>
                      </a:lnTo>
                      <a:lnTo>
                        <a:pt x="137261" y="101600"/>
                      </a:lnTo>
                      <a:lnTo>
                        <a:pt x="140550" y="104140"/>
                      </a:lnTo>
                      <a:lnTo>
                        <a:pt x="140500" y="102870"/>
                      </a:lnTo>
                      <a:lnTo>
                        <a:pt x="164360" y="102870"/>
                      </a:lnTo>
                      <a:lnTo>
                        <a:pt x="164249" y="100330"/>
                      </a:lnTo>
                      <a:close/>
                    </a:path>
                    <a:path w="414019" h="295910">
                      <a:moveTo>
                        <a:pt x="158496" y="93980"/>
                      </a:moveTo>
                      <a:lnTo>
                        <a:pt x="158407" y="95250"/>
                      </a:lnTo>
                      <a:lnTo>
                        <a:pt x="101815" y="95250"/>
                      </a:lnTo>
                      <a:lnTo>
                        <a:pt x="105321" y="96520"/>
                      </a:lnTo>
                      <a:lnTo>
                        <a:pt x="114820" y="100330"/>
                      </a:lnTo>
                      <a:lnTo>
                        <a:pt x="116827" y="102870"/>
                      </a:lnTo>
                      <a:lnTo>
                        <a:pt x="117129" y="102959"/>
                      </a:lnTo>
                      <a:lnTo>
                        <a:pt x="124358" y="102870"/>
                      </a:lnTo>
                      <a:lnTo>
                        <a:pt x="123621" y="101600"/>
                      </a:lnTo>
                      <a:lnTo>
                        <a:pt x="121335" y="101600"/>
                      </a:lnTo>
                      <a:lnTo>
                        <a:pt x="118935" y="99060"/>
                      </a:lnTo>
                      <a:lnTo>
                        <a:pt x="163584" y="99060"/>
                      </a:lnTo>
                      <a:lnTo>
                        <a:pt x="162255" y="96520"/>
                      </a:lnTo>
                      <a:lnTo>
                        <a:pt x="158496" y="93980"/>
                      </a:lnTo>
                      <a:close/>
                    </a:path>
                    <a:path w="414019" h="295910">
                      <a:moveTo>
                        <a:pt x="112788" y="100330"/>
                      </a:moveTo>
                      <a:lnTo>
                        <a:pt x="77508" y="100330"/>
                      </a:lnTo>
                      <a:lnTo>
                        <a:pt x="78016" y="102870"/>
                      </a:lnTo>
                      <a:lnTo>
                        <a:pt x="116636" y="102870"/>
                      </a:lnTo>
                      <a:lnTo>
                        <a:pt x="114541" y="101600"/>
                      </a:lnTo>
                      <a:lnTo>
                        <a:pt x="112788" y="100330"/>
                      </a:lnTo>
                      <a:close/>
                    </a:path>
                    <a:path w="414019" h="295910">
                      <a:moveTo>
                        <a:pt x="137261" y="101600"/>
                      </a:moveTo>
                      <a:lnTo>
                        <a:pt x="132689" y="101600"/>
                      </a:lnTo>
                      <a:lnTo>
                        <a:pt x="136232" y="102870"/>
                      </a:lnTo>
                      <a:lnTo>
                        <a:pt x="137261" y="101600"/>
                      </a:lnTo>
                      <a:close/>
                    </a:path>
                    <a:path w="414019" h="295910">
                      <a:moveTo>
                        <a:pt x="289852" y="100330"/>
                      </a:moveTo>
                      <a:lnTo>
                        <a:pt x="287718" y="101600"/>
                      </a:lnTo>
                      <a:lnTo>
                        <a:pt x="285775" y="102870"/>
                      </a:lnTo>
                      <a:lnTo>
                        <a:pt x="290504" y="102870"/>
                      </a:lnTo>
                      <a:lnTo>
                        <a:pt x="290178" y="101600"/>
                      </a:lnTo>
                      <a:lnTo>
                        <a:pt x="288353" y="101600"/>
                      </a:lnTo>
                      <a:lnTo>
                        <a:pt x="289933" y="100648"/>
                      </a:lnTo>
                      <a:lnTo>
                        <a:pt x="289852" y="100330"/>
                      </a:lnTo>
                      <a:close/>
                    </a:path>
                    <a:path w="414019" h="295910">
                      <a:moveTo>
                        <a:pt x="64452" y="100330"/>
                      </a:moveTo>
                      <a:lnTo>
                        <a:pt x="61861" y="101600"/>
                      </a:lnTo>
                      <a:lnTo>
                        <a:pt x="67983" y="101600"/>
                      </a:lnTo>
                      <a:lnTo>
                        <a:pt x="64452" y="100330"/>
                      </a:lnTo>
                      <a:close/>
                    </a:path>
                    <a:path w="414019" h="295910">
                      <a:moveTo>
                        <a:pt x="107784" y="99060"/>
                      </a:moveTo>
                      <a:lnTo>
                        <a:pt x="63296" y="99060"/>
                      </a:lnTo>
                      <a:lnTo>
                        <a:pt x="71107" y="100330"/>
                      </a:lnTo>
                      <a:lnTo>
                        <a:pt x="73685" y="101600"/>
                      </a:lnTo>
                      <a:lnTo>
                        <a:pt x="74891" y="101600"/>
                      </a:lnTo>
                      <a:lnTo>
                        <a:pt x="75158" y="100330"/>
                      </a:lnTo>
                      <a:lnTo>
                        <a:pt x="112788" y="100330"/>
                      </a:lnTo>
                      <a:lnTo>
                        <a:pt x="107784" y="99060"/>
                      </a:lnTo>
                      <a:close/>
                    </a:path>
                    <a:path w="414019" h="295910">
                      <a:moveTo>
                        <a:pt x="163584" y="99060"/>
                      </a:moveTo>
                      <a:lnTo>
                        <a:pt x="118935" y="99060"/>
                      </a:lnTo>
                      <a:lnTo>
                        <a:pt x="124091" y="100330"/>
                      </a:lnTo>
                      <a:lnTo>
                        <a:pt x="126314" y="101600"/>
                      </a:lnTo>
                      <a:lnTo>
                        <a:pt x="128104" y="100330"/>
                      </a:lnTo>
                      <a:lnTo>
                        <a:pt x="164249" y="100330"/>
                      </a:lnTo>
                      <a:lnTo>
                        <a:pt x="163584" y="99060"/>
                      </a:lnTo>
                      <a:close/>
                    </a:path>
                    <a:path w="414019" h="295910">
                      <a:moveTo>
                        <a:pt x="289933" y="100648"/>
                      </a:moveTo>
                      <a:lnTo>
                        <a:pt x="288353" y="101600"/>
                      </a:lnTo>
                      <a:lnTo>
                        <a:pt x="290178" y="101600"/>
                      </a:lnTo>
                      <a:lnTo>
                        <a:pt x="289933" y="100648"/>
                      </a:lnTo>
                      <a:close/>
                    </a:path>
                    <a:path w="414019" h="295910">
                      <a:moveTo>
                        <a:pt x="290461" y="100330"/>
                      </a:moveTo>
                      <a:lnTo>
                        <a:pt x="289852" y="100330"/>
                      </a:lnTo>
                      <a:lnTo>
                        <a:pt x="289933" y="100648"/>
                      </a:lnTo>
                      <a:lnTo>
                        <a:pt x="290461" y="100330"/>
                      </a:lnTo>
                      <a:close/>
                    </a:path>
                    <a:path w="414019" h="295910">
                      <a:moveTo>
                        <a:pt x="172085" y="97790"/>
                      </a:moveTo>
                      <a:lnTo>
                        <a:pt x="170662" y="97790"/>
                      </a:lnTo>
                      <a:lnTo>
                        <a:pt x="170954" y="99060"/>
                      </a:lnTo>
                      <a:lnTo>
                        <a:pt x="172085" y="97790"/>
                      </a:lnTo>
                      <a:close/>
                    </a:path>
                    <a:path w="414019" h="295910">
                      <a:moveTo>
                        <a:pt x="282600" y="86360"/>
                      </a:moveTo>
                      <a:lnTo>
                        <a:pt x="274713" y="86360"/>
                      </a:lnTo>
                      <a:lnTo>
                        <a:pt x="272643" y="90170"/>
                      </a:lnTo>
                      <a:lnTo>
                        <a:pt x="272084" y="93980"/>
                      </a:lnTo>
                      <a:lnTo>
                        <a:pt x="270649" y="97790"/>
                      </a:lnTo>
                      <a:lnTo>
                        <a:pt x="269748" y="99060"/>
                      </a:lnTo>
                      <a:lnTo>
                        <a:pt x="291020" y="99060"/>
                      </a:lnTo>
                      <a:lnTo>
                        <a:pt x="292950" y="97790"/>
                      </a:lnTo>
                      <a:lnTo>
                        <a:pt x="294474" y="97790"/>
                      </a:lnTo>
                      <a:lnTo>
                        <a:pt x="298577" y="96520"/>
                      </a:lnTo>
                      <a:lnTo>
                        <a:pt x="301269" y="96520"/>
                      </a:lnTo>
                      <a:lnTo>
                        <a:pt x="304825" y="95250"/>
                      </a:lnTo>
                      <a:lnTo>
                        <a:pt x="307086" y="95250"/>
                      </a:lnTo>
                      <a:lnTo>
                        <a:pt x="307886" y="93980"/>
                      </a:lnTo>
                      <a:lnTo>
                        <a:pt x="310134" y="93980"/>
                      </a:lnTo>
                      <a:lnTo>
                        <a:pt x="310984" y="92710"/>
                      </a:lnTo>
                      <a:lnTo>
                        <a:pt x="312094" y="90170"/>
                      </a:lnTo>
                      <a:lnTo>
                        <a:pt x="282943" y="90170"/>
                      </a:lnTo>
                      <a:lnTo>
                        <a:pt x="280962" y="87630"/>
                      </a:lnTo>
                      <a:lnTo>
                        <a:pt x="282600" y="86360"/>
                      </a:lnTo>
                      <a:close/>
                    </a:path>
                    <a:path w="414019" h="295910">
                      <a:moveTo>
                        <a:pt x="302450" y="97790"/>
                      </a:moveTo>
                      <a:lnTo>
                        <a:pt x="300278" y="97790"/>
                      </a:lnTo>
                      <a:lnTo>
                        <a:pt x="299427" y="99060"/>
                      </a:lnTo>
                      <a:lnTo>
                        <a:pt x="305689" y="99060"/>
                      </a:lnTo>
                      <a:lnTo>
                        <a:pt x="302450" y="97790"/>
                      </a:lnTo>
                      <a:close/>
                    </a:path>
                    <a:path w="414019" h="295910">
                      <a:moveTo>
                        <a:pt x="28575" y="93980"/>
                      </a:moveTo>
                      <a:lnTo>
                        <a:pt x="27114" y="95250"/>
                      </a:lnTo>
                      <a:lnTo>
                        <a:pt x="28956" y="96520"/>
                      </a:lnTo>
                      <a:lnTo>
                        <a:pt x="32702" y="97790"/>
                      </a:lnTo>
                      <a:lnTo>
                        <a:pt x="35191" y="96520"/>
                      </a:lnTo>
                      <a:lnTo>
                        <a:pt x="35737" y="96520"/>
                      </a:lnTo>
                      <a:lnTo>
                        <a:pt x="36258" y="95250"/>
                      </a:lnTo>
                      <a:lnTo>
                        <a:pt x="30378" y="95250"/>
                      </a:lnTo>
                      <a:lnTo>
                        <a:pt x="28575" y="93980"/>
                      </a:lnTo>
                      <a:close/>
                    </a:path>
                    <a:path w="414019" h="295910">
                      <a:moveTo>
                        <a:pt x="176085" y="95250"/>
                      </a:moveTo>
                      <a:lnTo>
                        <a:pt x="166789" y="95250"/>
                      </a:lnTo>
                      <a:lnTo>
                        <a:pt x="167500" y="96520"/>
                      </a:lnTo>
                      <a:lnTo>
                        <a:pt x="168960" y="97790"/>
                      </a:lnTo>
                      <a:lnTo>
                        <a:pt x="171970" y="97790"/>
                      </a:lnTo>
                      <a:lnTo>
                        <a:pt x="171716" y="96520"/>
                      </a:lnTo>
                      <a:lnTo>
                        <a:pt x="175031" y="96520"/>
                      </a:lnTo>
                      <a:lnTo>
                        <a:pt x="176085" y="95250"/>
                      </a:lnTo>
                      <a:close/>
                    </a:path>
                    <a:path w="414019" h="295910">
                      <a:moveTo>
                        <a:pt x="175031" y="96520"/>
                      </a:moveTo>
                      <a:lnTo>
                        <a:pt x="171716" y="96520"/>
                      </a:lnTo>
                      <a:lnTo>
                        <a:pt x="173977" y="97790"/>
                      </a:lnTo>
                      <a:lnTo>
                        <a:pt x="175031" y="96520"/>
                      </a:lnTo>
                      <a:close/>
                    </a:path>
                    <a:path w="414019" h="295910">
                      <a:moveTo>
                        <a:pt x="46546" y="95003"/>
                      </a:moveTo>
                      <a:lnTo>
                        <a:pt x="46532" y="95250"/>
                      </a:lnTo>
                      <a:lnTo>
                        <a:pt x="40043" y="95250"/>
                      </a:lnTo>
                      <a:lnTo>
                        <a:pt x="43865" y="96520"/>
                      </a:lnTo>
                      <a:lnTo>
                        <a:pt x="47371" y="95250"/>
                      </a:lnTo>
                      <a:lnTo>
                        <a:pt x="46546" y="95003"/>
                      </a:lnTo>
                      <a:close/>
                    </a:path>
                    <a:path w="414019" h="295910">
                      <a:moveTo>
                        <a:pt x="165811" y="93980"/>
                      </a:moveTo>
                      <a:lnTo>
                        <a:pt x="164846" y="93980"/>
                      </a:lnTo>
                      <a:lnTo>
                        <a:pt x="165315" y="96520"/>
                      </a:lnTo>
                      <a:lnTo>
                        <a:pt x="165811" y="93980"/>
                      </a:lnTo>
                      <a:close/>
                    </a:path>
                    <a:path w="414019" h="295910">
                      <a:moveTo>
                        <a:pt x="317030" y="95250"/>
                      </a:moveTo>
                      <a:lnTo>
                        <a:pt x="317030" y="96520"/>
                      </a:lnTo>
                      <a:lnTo>
                        <a:pt x="319862" y="96520"/>
                      </a:lnTo>
                      <a:lnTo>
                        <a:pt x="317030" y="95250"/>
                      </a:lnTo>
                      <a:close/>
                    </a:path>
                    <a:path w="414019" h="295910">
                      <a:moveTo>
                        <a:pt x="43129" y="93980"/>
                      </a:moveTo>
                      <a:lnTo>
                        <a:pt x="30467" y="93980"/>
                      </a:lnTo>
                      <a:lnTo>
                        <a:pt x="31953" y="95250"/>
                      </a:lnTo>
                      <a:lnTo>
                        <a:pt x="46532" y="95250"/>
                      </a:lnTo>
                      <a:lnTo>
                        <a:pt x="46546" y="95003"/>
                      </a:lnTo>
                      <a:lnTo>
                        <a:pt x="43129" y="93980"/>
                      </a:lnTo>
                      <a:close/>
                    </a:path>
                    <a:path w="414019" h="295910">
                      <a:moveTo>
                        <a:pt x="46672" y="92710"/>
                      </a:moveTo>
                      <a:lnTo>
                        <a:pt x="46546" y="95003"/>
                      </a:lnTo>
                      <a:lnTo>
                        <a:pt x="47371" y="95250"/>
                      </a:lnTo>
                      <a:lnTo>
                        <a:pt x="50038" y="95250"/>
                      </a:lnTo>
                      <a:lnTo>
                        <a:pt x="50076" y="93980"/>
                      </a:lnTo>
                      <a:lnTo>
                        <a:pt x="49796" y="93980"/>
                      </a:lnTo>
                      <a:lnTo>
                        <a:pt x="46672" y="92710"/>
                      </a:lnTo>
                      <a:close/>
                    </a:path>
                    <a:path w="414019" h="295910">
                      <a:moveTo>
                        <a:pt x="12585" y="74930"/>
                      </a:moveTo>
                      <a:lnTo>
                        <a:pt x="8610" y="74930"/>
                      </a:lnTo>
                      <a:lnTo>
                        <a:pt x="9347" y="76200"/>
                      </a:lnTo>
                      <a:lnTo>
                        <a:pt x="10680" y="77470"/>
                      </a:lnTo>
                      <a:lnTo>
                        <a:pt x="11150" y="78740"/>
                      </a:lnTo>
                      <a:lnTo>
                        <a:pt x="8496" y="80010"/>
                      </a:lnTo>
                      <a:lnTo>
                        <a:pt x="12192" y="82550"/>
                      </a:lnTo>
                      <a:lnTo>
                        <a:pt x="16167" y="86360"/>
                      </a:lnTo>
                      <a:lnTo>
                        <a:pt x="19494" y="88900"/>
                      </a:lnTo>
                      <a:lnTo>
                        <a:pt x="24257" y="91440"/>
                      </a:lnTo>
                      <a:lnTo>
                        <a:pt x="25895" y="92710"/>
                      </a:lnTo>
                      <a:lnTo>
                        <a:pt x="29070" y="93980"/>
                      </a:lnTo>
                      <a:lnTo>
                        <a:pt x="41871" y="93980"/>
                      </a:lnTo>
                      <a:lnTo>
                        <a:pt x="42799" y="91440"/>
                      </a:lnTo>
                      <a:lnTo>
                        <a:pt x="53619" y="91440"/>
                      </a:lnTo>
                      <a:lnTo>
                        <a:pt x="54745" y="90837"/>
                      </a:lnTo>
                      <a:lnTo>
                        <a:pt x="54063" y="90170"/>
                      </a:lnTo>
                      <a:lnTo>
                        <a:pt x="157530" y="90170"/>
                      </a:lnTo>
                      <a:lnTo>
                        <a:pt x="157581" y="88900"/>
                      </a:lnTo>
                      <a:lnTo>
                        <a:pt x="159029" y="88900"/>
                      </a:lnTo>
                      <a:lnTo>
                        <a:pt x="159512" y="87630"/>
                      </a:lnTo>
                      <a:lnTo>
                        <a:pt x="157454" y="87630"/>
                      </a:lnTo>
                      <a:lnTo>
                        <a:pt x="158737" y="85090"/>
                      </a:lnTo>
                      <a:lnTo>
                        <a:pt x="254977" y="85090"/>
                      </a:lnTo>
                      <a:lnTo>
                        <a:pt x="255150" y="84920"/>
                      </a:lnTo>
                      <a:lnTo>
                        <a:pt x="254546" y="82550"/>
                      </a:lnTo>
                      <a:lnTo>
                        <a:pt x="248704" y="82550"/>
                      </a:lnTo>
                      <a:lnTo>
                        <a:pt x="250418" y="81280"/>
                      </a:lnTo>
                      <a:lnTo>
                        <a:pt x="252564" y="81280"/>
                      </a:lnTo>
                      <a:lnTo>
                        <a:pt x="253495" y="80892"/>
                      </a:lnTo>
                      <a:lnTo>
                        <a:pt x="254876" y="80010"/>
                      </a:lnTo>
                      <a:lnTo>
                        <a:pt x="29514" y="80010"/>
                      </a:lnTo>
                      <a:lnTo>
                        <a:pt x="24726" y="77470"/>
                      </a:lnTo>
                      <a:lnTo>
                        <a:pt x="14325" y="77470"/>
                      </a:lnTo>
                      <a:lnTo>
                        <a:pt x="12585" y="74930"/>
                      </a:lnTo>
                      <a:close/>
                    </a:path>
                    <a:path w="414019" h="295910">
                      <a:moveTo>
                        <a:pt x="52057" y="91440"/>
                      </a:moveTo>
                      <a:lnTo>
                        <a:pt x="44716" y="91440"/>
                      </a:lnTo>
                      <a:lnTo>
                        <a:pt x="49796" y="93980"/>
                      </a:lnTo>
                      <a:lnTo>
                        <a:pt x="50063" y="93980"/>
                      </a:lnTo>
                      <a:lnTo>
                        <a:pt x="50203" y="92710"/>
                      </a:lnTo>
                      <a:lnTo>
                        <a:pt x="50749" y="92710"/>
                      </a:lnTo>
                      <a:lnTo>
                        <a:pt x="52057" y="91440"/>
                      </a:lnTo>
                      <a:close/>
                    </a:path>
                    <a:path w="414019" h="295910">
                      <a:moveTo>
                        <a:pt x="153962" y="91440"/>
                      </a:moveTo>
                      <a:lnTo>
                        <a:pt x="150926" y="91440"/>
                      </a:lnTo>
                      <a:lnTo>
                        <a:pt x="152895" y="92710"/>
                      </a:lnTo>
                      <a:lnTo>
                        <a:pt x="153962" y="91440"/>
                      </a:lnTo>
                      <a:close/>
                    </a:path>
                    <a:path w="414019" h="295910">
                      <a:moveTo>
                        <a:pt x="157530" y="90170"/>
                      </a:moveTo>
                      <a:lnTo>
                        <a:pt x="55994" y="90170"/>
                      </a:lnTo>
                      <a:lnTo>
                        <a:pt x="54745" y="90837"/>
                      </a:lnTo>
                      <a:lnTo>
                        <a:pt x="55359" y="91440"/>
                      </a:lnTo>
                      <a:lnTo>
                        <a:pt x="155194" y="91440"/>
                      </a:lnTo>
                      <a:lnTo>
                        <a:pt x="155663" y="92710"/>
                      </a:lnTo>
                      <a:lnTo>
                        <a:pt x="157429" y="92710"/>
                      </a:lnTo>
                      <a:lnTo>
                        <a:pt x="157530" y="90170"/>
                      </a:lnTo>
                      <a:close/>
                    </a:path>
                    <a:path w="414019" h="295910">
                      <a:moveTo>
                        <a:pt x="265506" y="88900"/>
                      </a:moveTo>
                      <a:lnTo>
                        <a:pt x="157810" y="88900"/>
                      </a:lnTo>
                      <a:lnTo>
                        <a:pt x="158902" y="91440"/>
                      </a:lnTo>
                      <a:lnTo>
                        <a:pt x="160705" y="92710"/>
                      </a:lnTo>
                      <a:lnTo>
                        <a:pt x="161328" y="92710"/>
                      </a:lnTo>
                      <a:lnTo>
                        <a:pt x="161522" y="91567"/>
                      </a:lnTo>
                      <a:lnTo>
                        <a:pt x="161480" y="91440"/>
                      </a:lnTo>
                      <a:lnTo>
                        <a:pt x="271360" y="91440"/>
                      </a:lnTo>
                      <a:lnTo>
                        <a:pt x="271894" y="90170"/>
                      </a:lnTo>
                      <a:lnTo>
                        <a:pt x="264947" y="90170"/>
                      </a:lnTo>
                      <a:lnTo>
                        <a:pt x="265506" y="88900"/>
                      </a:lnTo>
                      <a:close/>
                    </a:path>
                    <a:path w="414019" h="295910">
                      <a:moveTo>
                        <a:pt x="162737" y="91440"/>
                      </a:moveTo>
                      <a:lnTo>
                        <a:pt x="161544" y="91440"/>
                      </a:lnTo>
                      <a:lnTo>
                        <a:pt x="161522" y="91567"/>
                      </a:lnTo>
                      <a:lnTo>
                        <a:pt x="161899" y="92710"/>
                      </a:lnTo>
                      <a:lnTo>
                        <a:pt x="162737" y="91440"/>
                      </a:lnTo>
                      <a:close/>
                    </a:path>
                    <a:path w="414019" h="295910">
                      <a:moveTo>
                        <a:pt x="161544" y="91440"/>
                      </a:moveTo>
                      <a:lnTo>
                        <a:pt x="161522" y="91567"/>
                      </a:lnTo>
                      <a:lnTo>
                        <a:pt x="161544" y="91440"/>
                      </a:lnTo>
                      <a:close/>
                    </a:path>
                    <a:path w="414019" h="295910">
                      <a:moveTo>
                        <a:pt x="266242" y="88854"/>
                      </a:moveTo>
                      <a:lnTo>
                        <a:pt x="264947" y="90170"/>
                      </a:lnTo>
                      <a:lnTo>
                        <a:pt x="271894" y="90170"/>
                      </a:lnTo>
                      <a:lnTo>
                        <a:pt x="270814" y="88900"/>
                      </a:lnTo>
                      <a:lnTo>
                        <a:pt x="266293" y="88900"/>
                      </a:lnTo>
                      <a:close/>
                    </a:path>
                    <a:path w="414019" h="295910">
                      <a:moveTo>
                        <a:pt x="311531" y="87630"/>
                      </a:moveTo>
                      <a:lnTo>
                        <a:pt x="282714" y="87630"/>
                      </a:lnTo>
                      <a:lnTo>
                        <a:pt x="283756" y="88900"/>
                      </a:lnTo>
                      <a:lnTo>
                        <a:pt x="283921" y="90170"/>
                      </a:lnTo>
                      <a:lnTo>
                        <a:pt x="312094" y="90170"/>
                      </a:lnTo>
                      <a:lnTo>
                        <a:pt x="312648" y="88900"/>
                      </a:lnTo>
                      <a:lnTo>
                        <a:pt x="311531" y="87630"/>
                      </a:lnTo>
                      <a:close/>
                    </a:path>
                    <a:path w="414019" h="295910">
                      <a:moveTo>
                        <a:pt x="161772" y="87630"/>
                      </a:moveTo>
                      <a:lnTo>
                        <a:pt x="159867" y="88900"/>
                      </a:lnTo>
                      <a:lnTo>
                        <a:pt x="162864" y="88900"/>
                      </a:lnTo>
                      <a:lnTo>
                        <a:pt x="162676" y="88430"/>
                      </a:lnTo>
                      <a:lnTo>
                        <a:pt x="161772" y="87630"/>
                      </a:lnTo>
                      <a:close/>
                    </a:path>
                    <a:path w="414019" h="295910">
                      <a:moveTo>
                        <a:pt x="162676" y="88430"/>
                      </a:moveTo>
                      <a:lnTo>
                        <a:pt x="162864" y="88900"/>
                      </a:lnTo>
                      <a:lnTo>
                        <a:pt x="163207" y="88900"/>
                      </a:lnTo>
                      <a:lnTo>
                        <a:pt x="162676" y="88430"/>
                      </a:lnTo>
                      <a:close/>
                    </a:path>
                    <a:path w="414019" h="295910">
                      <a:moveTo>
                        <a:pt x="272694" y="86360"/>
                      </a:moveTo>
                      <a:lnTo>
                        <a:pt x="161467" y="86360"/>
                      </a:lnTo>
                      <a:lnTo>
                        <a:pt x="162356" y="87630"/>
                      </a:lnTo>
                      <a:lnTo>
                        <a:pt x="162676" y="88430"/>
                      </a:lnTo>
                      <a:lnTo>
                        <a:pt x="163207" y="88900"/>
                      </a:lnTo>
                      <a:lnTo>
                        <a:pt x="266153" y="88900"/>
                      </a:lnTo>
                      <a:lnTo>
                        <a:pt x="264845" y="87630"/>
                      </a:lnTo>
                      <a:lnTo>
                        <a:pt x="272465" y="87630"/>
                      </a:lnTo>
                      <a:lnTo>
                        <a:pt x="272694" y="86360"/>
                      </a:lnTo>
                      <a:close/>
                    </a:path>
                    <a:path w="414019" h="295910">
                      <a:moveTo>
                        <a:pt x="268643" y="87630"/>
                      </a:moveTo>
                      <a:lnTo>
                        <a:pt x="266242" y="88854"/>
                      </a:lnTo>
                      <a:lnTo>
                        <a:pt x="267893" y="88900"/>
                      </a:lnTo>
                      <a:lnTo>
                        <a:pt x="268643" y="87630"/>
                      </a:lnTo>
                      <a:close/>
                    </a:path>
                    <a:path w="414019" h="295910">
                      <a:moveTo>
                        <a:pt x="272465" y="87630"/>
                      </a:moveTo>
                      <a:lnTo>
                        <a:pt x="268871" y="87630"/>
                      </a:lnTo>
                      <a:lnTo>
                        <a:pt x="272237" y="88900"/>
                      </a:lnTo>
                      <a:lnTo>
                        <a:pt x="272465" y="87630"/>
                      </a:lnTo>
                      <a:close/>
                    </a:path>
                    <a:path w="414019" h="295910">
                      <a:moveTo>
                        <a:pt x="276669" y="83820"/>
                      </a:moveTo>
                      <a:lnTo>
                        <a:pt x="256273" y="83820"/>
                      </a:lnTo>
                      <a:lnTo>
                        <a:pt x="255150" y="84920"/>
                      </a:lnTo>
                      <a:lnTo>
                        <a:pt x="255193" y="85090"/>
                      </a:lnTo>
                      <a:lnTo>
                        <a:pt x="158737" y="85090"/>
                      </a:lnTo>
                      <a:lnTo>
                        <a:pt x="159232" y="86360"/>
                      </a:lnTo>
                      <a:lnTo>
                        <a:pt x="161340" y="87630"/>
                      </a:lnTo>
                      <a:lnTo>
                        <a:pt x="161467" y="86360"/>
                      </a:lnTo>
                      <a:lnTo>
                        <a:pt x="272694" y="86360"/>
                      </a:lnTo>
                      <a:lnTo>
                        <a:pt x="276669" y="83820"/>
                      </a:lnTo>
                      <a:close/>
                    </a:path>
                    <a:path w="414019" h="295910">
                      <a:moveTo>
                        <a:pt x="295376" y="82550"/>
                      </a:moveTo>
                      <a:lnTo>
                        <a:pt x="294017" y="83820"/>
                      </a:lnTo>
                      <a:lnTo>
                        <a:pt x="289687" y="86360"/>
                      </a:lnTo>
                      <a:lnTo>
                        <a:pt x="287883" y="87630"/>
                      </a:lnTo>
                      <a:lnTo>
                        <a:pt x="308241" y="87630"/>
                      </a:lnTo>
                      <a:lnTo>
                        <a:pt x="305625" y="86360"/>
                      </a:lnTo>
                      <a:lnTo>
                        <a:pt x="304165" y="86360"/>
                      </a:lnTo>
                      <a:lnTo>
                        <a:pt x="300786" y="83820"/>
                      </a:lnTo>
                      <a:lnTo>
                        <a:pt x="299859" y="83820"/>
                      </a:lnTo>
                      <a:lnTo>
                        <a:pt x="295376" y="82550"/>
                      </a:lnTo>
                      <a:close/>
                    </a:path>
                    <a:path w="414019" h="295910">
                      <a:moveTo>
                        <a:pt x="290474" y="80010"/>
                      </a:moveTo>
                      <a:lnTo>
                        <a:pt x="285800" y="82550"/>
                      </a:lnTo>
                      <a:lnTo>
                        <a:pt x="282803" y="82550"/>
                      </a:lnTo>
                      <a:lnTo>
                        <a:pt x="278930" y="85090"/>
                      </a:lnTo>
                      <a:lnTo>
                        <a:pt x="278015" y="85090"/>
                      </a:lnTo>
                      <a:lnTo>
                        <a:pt x="276313" y="86360"/>
                      </a:lnTo>
                      <a:lnTo>
                        <a:pt x="286791" y="86360"/>
                      </a:lnTo>
                      <a:lnTo>
                        <a:pt x="288505" y="85090"/>
                      </a:lnTo>
                      <a:lnTo>
                        <a:pt x="289928" y="83820"/>
                      </a:lnTo>
                      <a:lnTo>
                        <a:pt x="291947" y="81280"/>
                      </a:lnTo>
                      <a:lnTo>
                        <a:pt x="290474" y="80010"/>
                      </a:lnTo>
                      <a:close/>
                    </a:path>
                    <a:path w="414019" h="295910">
                      <a:moveTo>
                        <a:pt x="255150" y="84920"/>
                      </a:moveTo>
                      <a:lnTo>
                        <a:pt x="254977" y="85090"/>
                      </a:lnTo>
                      <a:lnTo>
                        <a:pt x="255193" y="85090"/>
                      </a:lnTo>
                      <a:lnTo>
                        <a:pt x="255150" y="84920"/>
                      </a:lnTo>
                      <a:close/>
                    </a:path>
                    <a:path w="414019" h="295910">
                      <a:moveTo>
                        <a:pt x="276161" y="73660"/>
                      </a:moveTo>
                      <a:lnTo>
                        <a:pt x="272453" y="76200"/>
                      </a:lnTo>
                      <a:lnTo>
                        <a:pt x="272084" y="76200"/>
                      </a:lnTo>
                      <a:lnTo>
                        <a:pt x="271640" y="77470"/>
                      </a:lnTo>
                      <a:lnTo>
                        <a:pt x="272072" y="81280"/>
                      </a:lnTo>
                      <a:lnTo>
                        <a:pt x="264820" y="81280"/>
                      </a:lnTo>
                      <a:lnTo>
                        <a:pt x="262343" y="82550"/>
                      </a:lnTo>
                      <a:lnTo>
                        <a:pt x="257619" y="83820"/>
                      </a:lnTo>
                      <a:lnTo>
                        <a:pt x="277596" y="83820"/>
                      </a:lnTo>
                      <a:lnTo>
                        <a:pt x="280377" y="80010"/>
                      </a:lnTo>
                      <a:lnTo>
                        <a:pt x="281089" y="80010"/>
                      </a:lnTo>
                      <a:lnTo>
                        <a:pt x="279641" y="76200"/>
                      </a:lnTo>
                      <a:lnTo>
                        <a:pt x="278777" y="74930"/>
                      </a:lnTo>
                      <a:lnTo>
                        <a:pt x="276161" y="73660"/>
                      </a:lnTo>
                      <a:close/>
                    </a:path>
                    <a:path w="414019" h="295910">
                      <a:moveTo>
                        <a:pt x="255154" y="80201"/>
                      </a:moveTo>
                      <a:lnTo>
                        <a:pt x="253495" y="80892"/>
                      </a:lnTo>
                      <a:lnTo>
                        <a:pt x="250901" y="82550"/>
                      </a:lnTo>
                      <a:lnTo>
                        <a:pt x="258572" y="82550"/>
                      </a:lnTo>
                      <a:lnTo>
                        <a:pt x="255154" y="80201"/>
                      </a:lnTo>
                      <a:close/>
                    </a:path>
                    <a:path w="414019" h="295910">
                      <a:moveTo>
                        <a:pt x="269443" y="80010"/>
                      </a:moveTo>
                      <a:lnTo>
                        <a:pt x="268998" y="81280"/>
                      </a:lnTo>
                      <a:lnTo>
                        <a:pt x="272072" y="81280"/>
                      </a:lnTo>
                      <a:lnTo>
                        <a:pt x="269443" y="80010"/>
                      </a:lnTo>
                      <a:close/>
                    </a:path>
                    <a:path w="414019" h="295910">
                      <a:moveTo>
                        <a:pt x="254876" y="80010"/>
                      </a:moveTo>
                      <a:lnTo>
                        <a:pt x="253495" y="80892"/>
                      </a:lnTo>
                      <a:lnTo>
                        <a:pt x="255154" y="80201"/>
                      </a:lnTo>
                      <a:lnTo>
                        <a:pt x="254876" y="80010"/>
                      </a:lnTo>
                      <a:close/>
                    </a:path>
                    <a:path w="414019" h="295910">
                      <a:moveTo>
                        <a:pt x="217754" y="63500"/>
                      </a:moveTo>
                      <a:lnTo>
                        <a:pt x="2057" y="63500"/>
                      </a:lnTo>
                      <a:lnTo>
                        <a:pt x="2793" y="67310"/>
                      </a:lnTo>
                      <a:lnTo>
                        <a:pt x="3187" y="67310"/>
                      </a:lnTo>
                      <a:lnTo>
                        <a:pt x="8369" y="69850"/>
                      </a:lnTo>
                      <a:lnTo>
                        <a:pt x="32435" y="69850"/>
                      </a:lnTo>
                      <a:lnTo>
                        <a:pt x="36842" y="73660"/>
                      </a:lnTo>
                      <a:lnTo>
                        <a:pt x="38493" y="74930"/>
                      </a:lnTo>
                      <a:lnTo>
                        <a:pt x="42062" y="77470"/>
                      </a:lnTo>
                      <a:lnTo>
                        <a:pt x="48920" y="77470"/>
                      </a:lnTo>
                      <a:lnTo>
                        <a:pt x="49491" y="78740"/>
                      </a:lnTo>
                      <a:lnTo>
                        <a:pt x="32397" y="78740"/>
                      </a:lnTo>
                      <a:lnTo>
                        <a:pt x="29514" y="80010"/>
                      </a:lnTo>
                      <a:lnTo>
                        <a:pt x="254876" y="80010"/>
                      </a:lnTo>
                      <a:lnTo>
                        <a:pt x="255154" y="80201"/>
                      </a:lnTo>
                      <a:lnTo>
                        <a:pt x="255612" y="80010"/>
                      </a:lnTo>
                      <a:lnTo>
                        <a:pt x="256794" y="78740"/>
                      </a:lnTo>
                      <a:lnTo>
                        <a:pt x="258832" y="76200"/>
                      </a:lnTo>
                      <a:lnTo>
                        <a:pt x="232689" y="76200"/>
                      </a:lnTo>
                      <a:lnTo>
                        <a:pt x="234657" y="74930"/>
                      </a:lnTo>
                      <a:lnTo>
                        <a:pt x="73685" y="74930"/>
                      </a:lnTo>
                      <a:lnTo>
                        <a:pt x="73799" y="73660"/>
                      </a:lnTo>
                      <a:lnTo>
                        <a:pt x="235394" y="73660"/>
                      </a:lnTo>
                      <a:lnTo>
                        <a:pt x="235673" y="72390"/>
                      </a:lnTo>
                      <a:lnTo>
                        <a:pt x="215569" y="72390"/>
                      </a:lnTo>
                      <a:lnTo>
                        <a:pt x="216433" y="71120"/>
                      </a:lnTo>
                      <a:lnTo>
                        <a:pt x="219689" y="69523"/>
                      </a:lnTo>
                      <a:lnTo>
                        <a:pt x="220383" y="68580"/>
                      </a:lnTo>
                      <a:lnTo>
                        <a:pt x="221202" y="67959"/>
                      </a:lnTo>
                      <a:lnTo>
                        <a:pt x="219925" y="66040"/>
                      </a:lnTo>
                      <a:lnTo>
                        <a:pt x="71462" y="66040"/>
                      </a:lnTo>
                      <a:lnTo>
                        <a:pt x="70015" y="64770"/>
                      </a:lnTo>
                      <a:lnTo>
                        <a:pt x="218389" y="64770"/>
                      </a:lnTo>
                      <a:lnTo>
                        <a:pt x="217754" y="63500"/>
                      </a:lnTo>
                      <a:close/>
                    </a:path>
                    <a:path w="414019" h="295910">
                      <a:moveTo>
                        <a:pt x="48920" y="77470"/>
                      </a:moveTo>
                      <a:lnTo>
                        <a:pt x="40386" y="77470"/>
                      </a:lnTo>
                      <a:lnTo>
                        <a:pt x="40678" y="78740"/>
                      </a:lnTo>
                      <a:lnTo>
                        <a:pt x="49491" y="78740"/>
                      </a:lnTo>
                      <a:lnTo>
                        <a:pt x="48920" y="77470"/>
                      </a:lnTo>
                      <a:close/>
                    </a:path>
                    <a:path w="414019" h="295910">
                      <a:moveTo>
                        <a:pt x="23901" y="76200"/>
                      </a:moveTo>
                      <a:lnTo>
                        <a:pt x="15608" y="76200"/>
                      </a:lnTo>
                      <a:lnTo>
                        <a:pt x="14325" y="77470"/>
                      </a:lnTo>
                      <a:lnTo>
                        <a:pt x="24726" y="77470"/>
                      </a:lnTo>
                      <a:lnTo>
                        <a:pt x="23901" y="76200"/>
                      </a:lnTo>
                      <a:close/>
                    </a:path>
                    <a:path w="414019" h="295910">
                      <a:moveTo>
                        <a:pt x="240080" y="67310"/>
                      </a:moveTo>
                      <a:lnTo>
                        <a:pt x="236854" y="72390"/>
                      </a:lnTo>
                      <a:lnTo>
                        <a:pt x="234823" y="76200"/>
                      </a:lnTo>
                      <a:lnTo>
                        <a:pt x="258832" y="76200"/>
                      </a:lnTo>
                      <a:lnTo>
                        <a:pt x="260870" y="73660"/>
                      </a:lnTo>
                      <a:lnTo>
                        <a:pt x="269170" y="73660"/>
                      </a:lnTo>
                      <a:lnTo>
                        <a:pt x="269557" y="72390"/>
                      </a:lnTo>
                      <a:lnTo>
                        <a:pt x="271106" y="71120"/>
                      </a:lnTo>
                      <a:lnTo>
                        <a:pt x="243738" y="71120"/>
                      </a:lnTo>
                      <a:lnTo>
                        <a:pt x="243862" y="70346"/>
                      </a:lnTo>
                      <a:lnTo>
                        <a:pt x="243484" y="69850"/>
                      </a:lnTo>
                      <a:lnTo>
                        <a:pt x="243601" y="69674"/>
                      </a:lnTo>
                      <a:lnTo>
                        <a:pt x="241477" y="68580"/>
                      </a:lnTo>
                      <a:lnTo>
                        <a:pt x="240080" y="67310"/>
                      </a:lnTo>
                      <a:close/>
                    </a:path>
                    <a:path w="414019" h="295910">
                      <a:moveTo>
                        <a:pt x="269170" y="73660"/>
                      </a:moveTo>
                      <a:lnTo>
                        <a:pt x="260870" y="73660"/>
                      </a:lnTo>
                      <a:lnTo>
                        <a:pt x="264845" y="74930"/>
                      </a:lnTo>
                      <a:lnTo>
                        <a:pt x="266522" y="76200"/>
                      </a:lnTo>
                      <a:lnTo>
                        <a:pt x="268782" y="74930"/>
                      </a:lnTo>
                      <a:lnTo>
                        <a:pt x="269170" y="73660"/>
                      </a:lnTo>
                      <a:close/>
                    </a:path>
                    <a:path w="414019" h="295910">
                      <a:moveTo>
                        <a:pt x="235394" y="73660"/>
                      </a:moveTo>
                      <a:lnTo>
                        <a:pt x="73799" y="73660"/>
                      </a:lnTo>
                      <a:lnTo>
                        <a:pt x="73685" y="74930"/>
                      </a:lnTo>
                      <a:lnTo>
                        <a:pt x="235115" y="74930"/>
                      </a:lnTo>
                      <a:lnTo>
                        <a:pt x="235394" y="73660"/>
                      </a:lnTo>
                      <a:close/>
                    </a:path>
                    <a:path w="414019" h="295910">
                      <a:moveTo>
                        <a:pt x="32435" y="69850"/>
                      </a:moveTo>
                      <a:lnTo>
                        <a:pt x="16078" y="69850"/>
                      </a:lnTo>
                      <a:lnTo>
                        <a:pt x="19380" y="71120"/>
                      </a:lnTo>
                      <a:lnTo>
                        <a:pt x="24726" y="71120"/>
                      </a:lnTo>
                      <a:lnTo>
                        <a:pt x="28409" y="72390"/>
                      </a:lnTo>
                      <a:lnTo>
                        <a:pt x="32613" y="71120"/>
                      </a:lnTo>
                      <a:lnTo>
                        <a:pt x="32435" y="69850"/>
                      </a:lnTo>
                      <a:close/>
                    </a:path>
                    <a:path w="414019" h="295910">
                      <a:moveTo>
                        <a:pt x="231015" y="57210"/>
                      </a:moveTo>
                      <a:lnTo>
                        <a:pt x="225501" y="58420"/>
                      </a:lnTo>
                      <a:lnTo>
                        <a:pt x="223212" y="60685"/>
                      </a:lnTo>
                      <a:lnTo>
                        <a:pt x="223481" y="60960"/>
                      </a:lnTo>
                      <a:lnTo>
                        <a:pt x="222653" y="61211"/>
                      </a:lnTo>
                      <a:lnTo>
                        <a:pt x="220090" y="63500"/>
                      </a:lnTo>
                      <a:lnTo>
                        <a:pt x="222110" y="66040"/>
                      </a:lnTo>
                      <a:lnTo>
                        <a:pt x="222059" y="67310"/>
                      </a:lnTo>
                      <a:lnTo>
                        <a:pt x="221202" y="67959"/>
                      </a:lnTo>
                      <a:lnTo>
                        <a:pt x="221615" y="68580"/>
                      </a:lnTo>
                      <a:lnTo>
                        <a:pt x="219689" y="69523"/>
                      </a:lnTo>
                      <a:lnTo>
                        <a:pt x="218516" y="71120"/>
                      </a:lnTo>
                      <a:lnTo>
                        <a:pt x="217081" y="72390"/>
                      </a:lnTo>
                      <a:lnTo>
                        <a:pt x="227761" y="72390"/>
                      </a:lnTo>
                      <a:lnTo>
                        <a:pt x="228092" y="71120"/>
                      </a:lnTo>
                      <a:lnTo>
                        <a:pt x="229870" y="67310"/>
                      </a:lnTo>
                      <a:lnTo>
                        <a:pt x="229095" y="66040"/>
                      </a:lnTo>
                      <a:lnTo>
                        <a:pt x="228688" y="66040"/>
                      </a:lnTo>
                      <a:lnTo>
                        <a:pt x="231140" y="64950"/>
                      </a:lnTo>
                      <a:lnTo>
                        <a:pt x="232029" y="62230"/>
                      </a:lnTo>
                      <a:lnTo>
                        <a:pt x="227660" y="62230"/>
                      </a:lnTo>
                      <a:lnTo>
                        <a:pt x="227063" y="60960"/>
                      </a:lnTo>
                      <a:lnTo>
                        <a:pt x="229010" y="59206"/>
                      </a:lnTo>
                      <a:lnTo>
                        <a:pt x="231015" y="57210"/>
                      </a:lnTo>
                      <a:close/>
                    </a:path>
                    <a:path w="414019" h="295910">
                      <a:moveTo>
                        <a:pt x="236893" y="60960"/>
                      </a:moveTo>
                      <a:lnTo>
                        <a:pt x="235178" y="62230"/>
                      </a:lnTo>
                      <a:lnTo>
                        <a:pt x="234530" y="62230"/>
                      </a:lnTo>
                      <a:lnTo>
                        <a:pt x="232384" y="64770"/>
                      </a:lnTo>
                      <a:lnTo>
                        <a:pt x="231190" y="71120"/>
                      </a:lnTo>
                      <a:lnTo>
                        <a:pt x="227761" y="72390"/>
                      </a:lnTo>
                      <a:lnTo>
                        <a:pt x="235673" y="72390"/>
                      </a:lnTo>
                      <a:lnTo>
                        <a:pt x="236232" y="69850"/>
                      </a:lnTo>
                      <a:lnTo>
                        <a:pt x="236994" y="69850"/>
                      </a:lnTo>
                      <a:lnTo>
                        <a:pt x="238455" y="67310"/>
                      </a:lnTo>
                      <a:lnTo>
                        <a:pt x="236575" y="67310"/>
                      </a:lnTo>
                      <a:lnTo>
                        <a:pt x="236474" y="64770"/>
                      </a:lnTo>
                      <a:lnTo>
                        <a:pt x="237439" y="63500"/>
                      </a:lnTo>
                      <a:lnTo>
                        <a:pt x="236893" y="60960"/>
                      </a:lnTo>
                      <a:close/>
                    </a:path>
                    <a:path w="414019" h="295910">
                      <a:moveTo>
                        <a:pt x="247548" y="66040"/>
                      </a:moveTo>
                      <a:lnTo>
                        <a:pt x="246062" y="66040"/>
                      </a:lnTo>
                      <a:lnTo>
                        <a:pt x="245173" y="67310"/>
                      </a:lnTo>
                      <a:lnTo>
                        <a:pt x="243601" y="69674"/>
                      </a:lnTo>
                      <a:lnTo>
                        <a:pt x="243941" y="69850"/>
                      </a:lnTo>
                      <a:lnTo>
                        <a:pt x="243862" y="70346"/>
                      </a:lnTo>
                      <a:lnTo>
                        <a:pt x="244449" y="71120"/>
                      </a:lnTo>
                      <a:lnTo>
                        <a:pt x="271995" y="71120"/>
                      </a:lnTo>
                      <a:lnTo>
                        <a:pt x="272211" y="69850"/>
                      </a:lnTo>
                      <a:lnTo>
                        <a:pt x="269773" y="67310"/>
                      </a:lnTo>
                      <a:lnTo>
                        <a:pt x="248818" y="67310"/>
                      </a:lnTo>
                      <a:lnTo>
                        <a:pt x="247548" y="66040"/>
                      </a:lnTo>
                      <a:close/>
                    </a:path>
                    <a:path w="414019" h="295910">
                      <a:moveTo>
                        <a:pt x="243601" y="69674"/>
                      </a:moveTo>
                      <a:lnTo>
                        <a:pt x="243484" y="69850"/>
                      </a:lnTo>
                      <a:lnTo>
                        <a:pt x="243862" y="70346"/>
                      </a:lnTo>
                      <a:lnTo>
                        <a:pt x="243941" y="69850"/>
                      </a:lnTo>
                      <a:lnTo>
                        <a:pt x="243601" y="69674"/>
                      </a:lnTo>
                      <a:close/>
                    </a:path>
                    <a:path w="414019" h="295910">
                      <a:moveTo>
                        <a:pt x="221202" y="67959"/>
                      </a:moveTo>
                      <a:lnTo>
                        <a:pt x="220383" y="68580"/>
                      </a:lnTo>
                      <a:lnTo>
                        <a:pt x="219689" y="69523"/>
                      </a:lnTo>
                      <a:lnTo>
                        <a:pt x="221615" y="68580"/>
                      </a:lnTo>
                      <a:lnTo>
                        <a:pt x="221202" y="67959"/>
                      </a:lnTo>
                      <a:close/>
                    </a:path>
                    <a:path w="414019" h="295910">
                      <a:moveTo>
                        <a:pt x="240360" y="64770"/>
                      </a:moveTo>
                      <a:lnTo>
                        <a:pt x="237058" y="66040"/>
                      </a:lnTo>
                      <a:lnTo>
                        <a:pt x="236575" y="67310"/>
                      </a:lnTo>
                      <a:lnTo>
                        <a:pt x="238455" y="67310"/>
                      </a:lnTo>
                      <a:lnTo>
                        <a:pt x="240360" y="64770"/>
                      </a:lnTo>
                      <a:close/>
                    </a:path>
                    <a:path w="414019" h="295910">
                      <a:moveTo>
                        <a:pt x="252260" y="59690"/>
                      </a:moveTo>
                      <a:lnTo>
                        <a:pt x="250621" y="60960"/>
                      </a:lnTo>
                      <a:lnTo>
                        <a:pt x="248310" y="63500"/>
                      </a:lnTo>
                      <a:lnTo>
                        <a:pt x="248818" y="67310"/>
                      </a:lnTo>
                      <a:lnTo>
                        <a:pt x="269773" y="67310"/>
                      </a:lnTo>
                      <a:lnTo>
                        <a:pt x="268554" y="66040"/>
                      </a:lnTo>
                      <a:lnTo>
                        <a:pt x="266725" y="63500"/>
                      </a:lnTo>
                      <a:lnTo>
                        <a:pt x="261962" y="63500"/>
                      </a:lnTo>
                      <a:lnTo>
                        <a:pt x="260756" y="62230"/>
                      </a:lnTo>
                      <a:lnTo>
                        <a:pt x="257378" y="62230"/>
                      </a:lnTo>
                      <a:lnTo>
                        <a:pt x="255904" y="60960"/>
                      </a:lnTo>
                      <a:lnTo>
                        <a:pt x="253631" y="60960"/>
                      </a:lnTo>
                      <a:lnTo>
                        <a:pt x="252260" y="59690"/>
                      </a:lnTo>
                      <a:close/>
                    </a:path>
                    <a:path w="414019" h="295910">
                      <a:moveTo>
                        <a:pt x="217639" y="64770"/>
                      </a:moveTo>
                      <a:lnTo>
                        <a:pt x="70015" y="64770"/>
                      </a:lnTo>
                      <a:lnTo>
                        <a:pt x="71462" y="66040"/>
                      </a:lnTo>
                      <a:lnTo>
                        <a:pt x="219494" y="66040"/>
                      </a:lnTo>
                      <a:lnTo>
                        <a:pt x="217639" y="64770"/>
                      </a:lnTo>
                      <a:close/>
                    </a:path>
                    <a:path w="414019" h="295910">
                      <a:moveTo>
                        <a:pt x="231546" y="64770"/>
                      </a:moveTo>
                      <a:lnTo>
                        <a:pt x="231140" y="64950"/>
                      </a:lnTo>
                      <a:lnTo>
                        <a:pt x="230784" y="66040"/>
                      </a:lnTo>
                      <a:lnTo>
                        <a:pt x="231546" y="64770"/>
                      </a:lnTo>
                      <a:close/>
                    </a:path>
                    <a:path w="414019" h="295910">
                      <a:moveTo>
                        <a:pt x="217639" y="59690"/>
                      </a:moveTo>
                      <a:lnTo>
                        <a:pt x="2616" y="59690"/>
                      </a:lnTo>
                      <a:lnTo>
                        <a:pt x="1549" y="60960"/>
                      </a:lnTo>
                      <a:lnTo>
                        <a:pt x="2552" y="63500"/>
                      </a:lnTo>
                      <a:lnTo>
                        <a:pt x="211645" y="63500"/>
                      </a:lnTo>
                      <a:lnTo>
                        <a:pt x="214601" y="62230"/>
                      </a:lnTo>
                      <a:lnTo>
                        <a:pt x="217625" y="60427"/>
                      </a:lnTo>
                      <a:lnTo>
                        <a:pt x="217639" y="59690"/>
                      </a:lnTo>
                      <a:close/>
                    </a:path>
                    <a:path w="414019" h="295910">
                      <a:moveTo>
                        <a:pt x="220992" y="58420"/>
                      </a:moveTo>
                      <a:lnTo>
                        <a:pt x="217625" y="60427"/>
                      </a:lnTo>
                      <a:lnTo>
                        <a:pt x="217614" y="60960"/>
                      </a:lnTo>
                      <a:lnTo>
                        <a:pt x="214530" y="62272"/>
                      </a:lnTo>
                      <a:lnTo>
                        <a:pt x="212471" y="63500"/>
                      </a:lnTo>
                      <a:lnTo>
                        <a:pt x="216738" y="63500"/>
                      </a:lnTo>
                      <a:lnTo>
                        <a:pt x="219303" y="62230"/>
                      </a:lnTo>
                      <a:lnTo>
                        <a:pt x="222653" y="61211"/>
                      </a:lnTo>
                      <a:lnTo>
                        <a:pt x="223212" y="60685"/>
                      </a:lnTo>
                      <a:lnTo>
                        <a:pt x="220992" y="58420"/>
                      </a:lnTo>
                      <a:close/>
                    </a:path>
                    <a:path w="414019" h="295910">
                      <a:moveTo>
                        <a:pt x="217625" y="60427"/>
                      </a:moveTo>
                      <a:lnTo>
                        <a:pt x="214530" y="62272"/>
                      </a:lnTo>
                      <a:lnTo>
                        <a:pt x="217614" y="60960"/>
                      </a:lnTo>
                      <a:lnTo>
                        <a:pt x="217625" y="60427"/>
                      </a:lnTo>
                      <a:close/>
                    </a:path>
                    <a:path w="414019" h="295910">
                      <a:moveTo>
                        <a:pt x="237731" y="57150"/>
                      </a:moveTo>
                      <a:lnTo>
                        <a:pt x="231292" y="57150"/>
                      </a:lnTo>
                      <a:lnTo>
                        <a:pt x="229010" y="59206"/>
                      </a:lnTo>
                      <a:lnTo>
                        <a:pt x="228523" y="59690"/>
                      </a:lnTo>
                      <a:lnTo>
                        <a:pt x="227660" y="62230"/>
                      </a:lnTo>
                      <a:lnTo>
                        <a:pt x="232511" y="62230"/>
                      </a:lnTo>
                      <a:lnTo>
                        <a:pt x="233959" y="59690"/>
                      </a:lnTo>
                      <a:lnTo>
                        <a:pt x="235858" y="59680"/>
                      </a:lnTo>
                      <a:lnTo>
                        <a:pt x="237731" y="57150"/>
                      </a:lnTo>
                      <a:close/>
                    </a:path>
                    <a:path w="414019" h="295910">
                      <a:moveTo>
                        <a:pt x="223212" y="60685"/>
                      </a:moveTo>
                      <a:lnTo>
                        <a:pt x="222653" y="61211"/>
                      </a:lnTo>
                      <a:lnTo>
                        <a:pt x="223481" y="60960"/>
                      </a:lnTo>
                      <a:lnTo>
                        <a:pt x="223212" y="60685"/>
                      </a:lnTo>
                      <a:close/>
                    </a:path>
                    <a:path w="414019" h="295910">
                      <a:moveTo>
                        <a:pt x="0" y="52070"/>
                      </a:moveTo>
                      <a:lnTo>
                        <a:pt x="2044" y="55880"/>
                      </a:lnTo>
                      <a:lnTo>
                        <a:pt x="3060" y="57150"/>
                      </a:lnTo>
                      <a:lnTo>
                        <a:pt x="4013" y="59690"/>
                      </a:lnTo>
                      <a:lnTo>
                        <a:pt x="201367" y="59680"/>
                      </a:lnTo>
                      <a:lnTo>
                        <a:pt x="202653" y="58420"/>
                      </a:lnTo>
                      <a:lnTo>
                        <a:pt x="204228" y="58420"/>
                      </a:lnTo>
                      <a:lnTo>
                        <a:pt x="205390" y="57150"/>
                      </a:lnTo>
                      <a:lnTo>
                        <a:pt x="172758" y="57150"/>
                      </a:lnTo>
                      <a:lnTo>
                        <a:pt x="170510" y="55880"/>
                      </a:lnTo>
                      <a:lnTo>
                        <a:pt x="169672" y="54610"/>
                      </a:lnTo>
                      <a:lnTo>
                        <a:pt x="131546" y="54610"/>
                      </a:lnTo>
                      <a:lnTo>
                        <a:pt x="132283" y="53340"/>
                      </a:lnTo>
                      <a:lnTo>
                        <a:pt x="1536" y="53340"/>
                      </a:lnTo>
                      <a:lnTo>
                        <a:pt x="0" y="52070"/>
                      </a:lnTo>
                      <a:close/>
                    </a:path>
                    <a:path w="414019" h="295910">
                      <a:moveTo>
                        <a:pt x="202653" y="58420"/>
                      </a:moveTo>
                      <a:lnTo>
                        <a:pt x="201358" y="59690"/>
                      </a:lnTo>
                      <a:lnTo>
                        <a:pt x="202919" y="58649"/>
                      </a:lnTo>
                      <a:lnTo>
                        <a:pt x="202653" y="58420"/>
                      </a:lnTo>
                      <a:close/>
                    </a:path>
                    <a:path w="414019" h="295910">
                      <a:moveTo>
                        <a:pt x="202919" y="58649"/>
                      </a:moveTo>
                      <a:lnTo>
                        <a:pt x="201358" y="59690"/>
                      </a:lnTo>
                      <a:lnTo>
                        <a:pt x="204127" y="59690"/>
                      </a:lnTo>
                      <a:lnTo>
                        <a:pt x="202919" y="58649"/>
                      </a:lnTo>
                      <a:close/>
                    </a:path>
                    <a:path w="414019" h="295910">
                      <a:moveTo>
                        <a:pt x="209854" y="50800"/>
                      </a:moveTo>
                      <a:lnTo>
                        <a:pt x="207657" y="54610"/>
                      </a:lnTo>
                      <a:lnTo>
                        <a:pt x="206857" y="57150"/>
                      </a:lnTo>
                      <a:lnTo>
                        <a:pt x="204127" y="59690"/>
                      </a:lnTo>
                      <a:lnTo>
                        <a:pt x="211272" y="59680"/>
                      </a:lnTo>
                      <a:lnTo>
                        <a:pt x="213588" y="57150"/>
                      </a:lnTo>
                      <a:lnTo>
                        <a:pt x="221234" y="57150"/>
                      </a:lnTo>
                      <a:lnTo>
                        <a:pt x="222808" y="55880"/>
                      </a:lnTo>
                      <a:lnTo>
                        <a:pt x="226174" y="55880"/>
                      </a:lnTo>
                      <a:lnTo>
                        <a:pt x="229158" y="54610"/>
                      </a:lnTo>
                      <a:lnTo>
                        <a:pt x="229463" y="52070"/>
                      </a:lnTo>
                      <a:lnTo>
                        <a:pt x="210235" y="52070"/>
                      </a:lnTo>
                      <a:lnTo>
                        <a:pt x="209854" y="50800"/>
                      </a:lnTo>
                      <a:close/>
                    </a:path>
                    <a:path w="414019" h="295910">
                      <a:moveTo>
                        <a:pt x="216161" y="58768"/>
                      </a:moveTo>
                      <a:lnTo>
                        <a:pt x="212178" y="59690"/>
                      </a:lnTo>
                      <a:lnTo>
                        <a:pt x="217627" y="59690"/>
                      </a:lnTo>
                      <a:lnTo>
                        <a:pt x="216161" y="58768"/>
                      </a:lnTo>
                      <a:close/>
                    </a:path>
                    <a:path w="414019" h="295910">
                      <a:moveTo>
                        <a:pt x="217665" y="58420"/>
                      </a:moveTo>
                      <a:lnTo>
                        <a:pt x="216161" y="58768"/>
                      </a:lnTo>
                      <a:lnTo>
                        <a:pt x="217627" y="59690"/>
                      </a:lnTo>
                      <a:lnTo>
                        <a:pt x="217665" y="58420"/>
                      </a:lnTo>
                      <a:close/>
                    </a:path>
                    <a:path w="414019" h="295910">
                      <a:moveTo>
                        <a:pt x="219430" y="58420"/>
                      </a:moveTo>
                      <a:lnTo>
                        <a:pt x="217665" y="58420"/>
                      </a:lnTo>
                      <a:lnTo>
                        <a:pt x="217640" y="59680"/>
                      </a:lnTo>
                      <a:lnTo>
                        <a:pt x="219430" y="58420"/>
                      </a:lnTo>
                      <a:close/>
                    </a:path>
                    <a:path w="414019" h="295910">
                      <a:moveTo>
                        <a:pt x="231292" y="57150"/>
                      </a:moveTo>
                      <a:lnTo>
                        <a:pt x="231015" y="57210"/>
                      </a:lnTo>
                      <a:lnTo>
                        <a:pt x="229010" y="59206"/>
                      </a:lnTo>
                      <a:lnTo>
                        <a:pt x="231292" y="57150"/>
                      </a:lnTo>
                      <a:close/>
                    </a:path>
                    <a:path w="414019" h="295910">
                      <a:moveTo>
                        <a:pt x="221234" y="57150"/>
                      </a:moveTo>
                      <a:lnTo>
                        <a:pt x="213588" y="57150"/>
                      </a:lnTo>
                      <a:lnTo>
                        <a:pt x="216161" y="58768"/>
                      </a:lnTo>
                      <a:lnTo>
                        <a:pt x="217665" y="58420"/>
                      </a:lnTo>
                      <a:lnTo>
                        <a:pt x="219430" y="58420"/>
                      </a:lnTo>
                      <a:lnTo>
                        <a:pt x="221234" y="57150"/>
                      </a:lnTo>
                      <a:close/>
                    </a:path>
                    <a:path w="414019" h="295910">
                      <a:moveTo>
                        <a:pt x="203263" y="58420"/>
                      </a:moveTo>
                      <a:lnTo>
                        <a:pt x="202653" y="58420"/>
                      </a:lnTo>
                      <a:lnTo>
                        <a:pt x="202919" y="58649"/>
                      </a:lnTo>
                      <a:lnTo>
                        <a:pt x="203263" y="58420"/>
                      </a:lnTo>
                      <a:close/>
                    </a:path>
                    <a:path w="414019" h="295910">
                      <a:moveTo>
                        <a:pt x="231292" y="57150"/>
                      </a:moveTo>
                      <a:lnTo>
                        <a:pt x="231076" y="57150"/>
                      </a:lnTo>
                      <a:lnTo>
                        <a:pt x="231292" y="57150"/>
                      </a:lnTo>
                      <a:close/>
                    </a:path>
                    <a:path w="414019" h="295910">
                      <a:moveTo>
                        <a:pt x="174210" y="56292"/>
                      </a:moveTo>
                      <a:lnTo>
                        <a:pt x="174320" y="57150"/>
                      </a:lnTo>
                      <a:lnTo>
                        <a:pt x="174914" y="56937"/>
                      </a:lnTo>
                      <a:lnTo>
                        <a:pt x="174210" y="56292"/>
                      </a:lnTo>
                      <a:close/>
                    </a:path>
                    <a:path w="414019" h="295910">
                      <a:moveTo>
                        <a:pt x="208711" y="46990"/>
                      </a:moveTo>
                      <a:lnTo>
                        <a:pt x="205701" y="48260"/>
                      </a:lnTo>
                      <a:lnTo>
                        <a:pt x="201612" y="49530"/>
                      </a:lnTo>
                      <a:lnTo>
                        <a:pt x="199885" y="52070"/>
                      </a:lnTo>
                      <a:lnTo>
                        <a:pt x="198079" y="53347"/>
                      </a:lnTo>
                      <a:lnTo>
                        <a:pt x="197751" y="54610"/>
                      </a:lnTo>
                      <a:lnTo>
                        <a:pt x="196329" y="55880"/>
                      </a:lnTo>
                      <a:lnTo>
                        <a:pt x="177876" y="55880"/>
                      </a:lnTo>
                      <a:lnTo>
                        <a:pt x="174914" y="56937"/>
                      </a:lnTo>
                      <a:lnTo>
                        <a:pt x="175145" y="57150"/>
                      </a:lnTo>
                      <a:lnTo>
                        <a:pt x="205390" y="57150"/>
                      </a:lnTo>
                      <a:lnTo>
                        <a:pt x="206552" y="55880"/>
                      </a:lnTo>
                      <a:lnTo>
                        <a:pt x="207492" y="54610"/>
                      </a:lnTo>
                      <a:lnTo>
                        <a:pt x="208229" y="50800"/>
                      </a:lnTo>
                      <a:lnTo>
                        <a:pt x="209143" y="50800"/>
                      </a:lnTo>
                      <a:lnTo>
                        <a:pt x="214236" y="49530"/>
                      </a:lnTo>
                      <a:lnTo>
                        <a:pt x="213194" y="48260"/>
                      </a:lnTo>
                      <a:lnTo>
                        <a:pt x="211251" y="48260"/>
                      </a:lnTo>
                      <a:lnTo>
                        <a:pt x="208711" y="46990"/>
                      </a:lnTo>
                      <a:close/>
                    </a:path>
                    <a:path w="414019" h="295910">
                      <a:moveTo>
                        <a:pt x="172783" y="52070"/>
                      </a:moveTo>
                      <a:lnTo>
                        <a:pt x="168567" y="52070"/>
                      </a:lnTo>
                      <a:lnTo>
                        <a:pt x="170199" y="53347"/>
                      </a:lnTo>
                      <a:lnTo>
                        <a:pt x="172351" y="55880"/>
                      </a:lnTo>
                      <a:lnTo>
                        <a:pt x="173761" y="55880"/>
                      </a:lnTo>
                      <a:lnTo>
                        <a:pt x="174210" y="56292"/>
                      </a:lnTo>
                      <a:lnTo>
                        <a:pt x="173824" y="53340"/>
                      </a:lnTo>
                      <a:lnTo>
                        <a:pt x="172783" y="52070"/>
                      </a:lnTo>
                      <a:close/>
                    </a:path>
                    <a:path w="414019" h="295910">
                      <a:moveTo>
                        <a:pt x="198399" y="52070"/>
                      </a:moveTo>
                      <a:lnTo>
                        <a:pt x="173672" y="52070"/>
                      </a:lnTo>
                      <a:lnTo>
                        <a:pt x="173835" y="53347"/>
                      </a:lnTo>
                      <a:lnTo>
                        <a:pt x="175577" y="54610"/>
                      </a:lnTo>
                      <a:lnTo>
                        <a:pt x="176339" y="55880"/>
                      </a:lnTo>
                      <a:lnTo>
                        <a:pt x="196329" y="55880"/>
                      </a:lnTo>
                      <a:lnTo>
                        <a:pt x="198399" y="52070"/>
                      </a:lnTo>
                      <a:close/>
                    </a:path>
                    <a:path w="414019" h="295910">
                      <a:moveTo>
                        <a:pt x="141097" y="41910"/>
                      </a:moveTo>
                      <a:lnTo>
                        <a:pt x="140881" y="44450"/>
                      </a:lnTo>
                      <a:lnTo>
                        <a:pt x="141084" y="45720"/>
                      </a:lnTo>
                      <a:lnTo>
                        <a:pt x="140169" y="46990"/>
                      </a:lnTo>
                      <a:lnTo>
                        <a:pt x="137960" y="46990"/>
                      </a:lnTo>
                      <a:lnTo>
                        <a:pt x="141109" y="48260"/>
                      </a:lnTo>
                      <a:lnTo>
                        <a:pt x="138417" y="50800"/>
                      </a:lnTo>
                      <a:lnTo>
                        <a:pt x="134035" y="50800"/>
                      </a:lnTo>
                      <a:lnTo>
                        <a:pt x="134052" y="51616"/>
                      </a:lnTo>
                      <a:lnTo>
                        <a:pt x="134251" y="52070"/>
                      </a:lnTo>
                      <a:lnTo>
                        <a:pt x="134063" y="52191"/>
                      </a:lnTo>
                      <a:lnTo>
                        <a:pt x="134112" y="54610"/>
                      </a:lnTo>
                      <a:lnTo>
                        <a:pt x="165277" y="54610"/>
                      </a:lnTo>
                      <a:lnTo>
                        <a:pt x="163207" y="53340"/>
                      </a:lnTo>
                      <a:lnTo>
                        <a:pt x="160058" y="52070"/>
                      </a:lnTo>
                      <a:lnTo>
                        <a:pt x="155282" y="52070"/>
                      </a:lnTo>
                      <a:lnTo>
                        <a:pt x="158762" y="49530"/>
                      </a:lnTo>
                      <a:lnTo>
                        <a:pt x="159639" y="48260"/>
                      </a:lnTo>
                      <a:lnTo>
                        <a:pt x="146621" y="48260"/>
                      </a:lnTo>
                      <a:lnTo>
                        <a:pt x="145973" y="46990"/>
                      </a:lnTo>
                      <a:lnTo>
                        <a:pt x="140169" y="46990"/>
                      </a:lnTo>
                      <a:lnTo>
                        <a:pt x="139280" y="45720"/>
                      </a:lnTo>
                      <a:lnTo>
                        <a:pt x="145326" y="45720"/>
                      </a:lnTo>
                      <a:lnTo>
                        <a:pt x="142697" y="44450"/>
                      </a:lnTo>
                      <a:lnTo>
                        <a:pt x="142788" y="43532"/>
                      </a:lnTo>
                      <a:lnTo>
                        <a:pt x="142379" y="43180"/>
                      </a:lnTo>
                      <a:lnTo>
                        <a:pt x="141097" y="41910"/>
                      </a:lnTo>
                      <a:close/>
                    </a:path>
                    <a:path w="414019" h="295910">
                      <a:moveTo>
                        <a:pt x="163449" y="46990"/>
                      </a:moveTo>
                      <a:lnTo>
                        <a:pt x="161544" y="46990"/>
                      </a:lnTo>
                      <a:lnTo>
                        <a:pt x="160693" y="50800"/>
                      </a:lnTo>
                      <a:lnTo>
                        <a:pt x="161950" y="52070"/>
                      </a:lnTo>
                      <a:lnTo>
                        <a:pt x="164757" y="52070"/>
                      </a:lnTo>
                      <a:lnTo>
                        <a:pt x="165862" y="53340"/>
                      </a:lnTo>
                      <a:lnTo>
                        <a:pt x="165544" y="53340"/>
                      </a:lnTo>
                      <a:lnTo>
                        <a:pt x="166433" y="54610"/>
                      </a:lnTo>
                      <a:lnTo>
                        <a:pt x="169672" y="54610"/>
                      </a:lnTo>
                      <a:lnTo>
                        <a:pt x="168075" y="52191"/>
                      </a:lnTo>
                      <a:lnTo>
                        <a:pt x="168135" y="49530"/>
                      </a:lnTo>
                      <a:lnTo>
                        <a:pt x="165646" y="48260"/>
                      </a:lnTo>
                      <a:lnTo>
                        <a:pt x="163449" y="46990"/>
                      </a:lnTo>
                      <a:close/>
                    </a:path>
                    <a:path w="414019" h="295910">
                      <a:moveTo>
                        <a:pt x="199872" y="50800"/>
                      </a:moveTo>
                      <a:lnTo>
                        <a:pt x="171081" y="50800"/>
                      </a:lnTo>
                      <a:lnTo>
                        <a:pt x="172783" y="52070"/>
                      </a:lnTo>
                      <a:lnTo>
                        <a:pt x="173835" y="53347"/>
                      </a:lnTo>
                      <a:lnTo>
                        <a:pt x="173672" y="52070"/>
                      </a:lnTo>
                      <a:lnTo>
                        <a:pt x="198399" y="52070"/>
                      </a:lnTo>
                      <a:lnTo>
                        <a:pt x="199872" y="50800"/>
                      </a:lnTo>
                      <a:close/>
                    </a:path>
                    <a:path w="414019" h="295910">
                      <a:moveTo>
                        <a:pt x="133134" y="49530"/>
                      </a:moveTo>
                      <a:lnTo>
                        <a:pt x="2438" y="49530"/>
                      </a:lnTo>
                      <a:lnTo>
                        <a:pt x="1536" y="53340"/>
                      </a:lnTo>
                      <a:lnTo>
                        <a:pt x="132283" y="53340"/>
                      </a:lnTo>
                      <a:lnTo>
                        <a:pt x="134063" y="52191"/>
                      </a:lnTo>
                      <a:lnTo>
                        <a:pt x="134052" y="51616"/>
                      </a:lnTo>
                      <a:lnTo>
                        <a:pt x="133134" y="49530"/>
                      </a:lnTo>
                      <a:close/>
                    </a:path>
                    <a:path w="414019" h="295910">
                      <a:moveTo>
                        <a:pt x="134052" y="51616"/>
                      </a:moveTo>
                      <a:lnTo>
                        <a:pt x="134063" y="52191"/>
                      </a:lnTo>
                      <a:lnTo>
                        <a:pt x="134251" y="52070"/>
                      </a:lnTo>
                      <a:lnTo>
                        <a:pt x="134052" y="51616"/>
                      </a:lnTo>
                      <a:close/>
                    </a:path>
                    <a:path w="414019" h="295910">
                      <a:moveTo>
                        <a:pt x="166687" y="41910"/>
                      </a:moveTo>
                      <a:lnTo>
                        <a:pt x="162382" y="41910"/>
                      </a:lnTo>
                      <a:lnTo>
                        <a:pt x="160578" y="43180"/>
                      </a:lnTo>
                      <a:lnTo>
                        <a:pt x="162090" y="45720"/>
                      </a:lnTo>
                      <a:lnTo>
                        <a:pt x="164642" y="46990"/>
                      </a:lnTo>
                      <a:lnTo>
                        <a:pt x="166471" y="46990"/>
                      </a:lnTo>
                      <a:lnTo>
                        <a:pt x="168579" y="48260"/>
                      </a:lnTo>
                      <a:lnTo>
                        <a:pt x="169392" y="52070"/>
                      </a:lnTo>
                      <a:lnTo>
                        <a:pt x="171081" y="50800"/>
                      </a:lnTo>
                      <a:lnTo>
                        <a:pt x="200406" y="50800"/>
                      </a:lnTo>
                      <a:lnTo>
                        <a:pt x="202412" y="48260"/>
                      </a:lnTo>
                      <a:lnTo>
                        <a:pt x="178816" y="48260"/>
                      </a:lnTo>
                      <a:lnTo>
                        <a:pt x="178638" y="45720"/>
                      </a:lnTo>
                      <a:lnTo>
                        <a:pt x="178816" y="45720"/>
                      </a:lnTo>
                      <a:lnTo>
                        <a:pt x="176225" y="44450"/>
                      </a:lnTo>
                      <a:lnTo>
                        <a:pt x="166458" y="44450"/>
                      </a:lnTo>
                      <a:lnTo>
                        <a:pt x="165989" y="43180"/>
                      </a:lnTo>
                      <a:lnTo>
                        <a:pt x="166687" y="41910"/>
                      </a:lnTo>
                      <a:close/>
                    </a:path>
                    <a:path w="414019" h="295910">
                      <a:moveTo>
                        <a:pt x="217944" y="46990"/>
                      </a:moveTo>
                      <a:lnTo>
                        <a:pt x="214718" y="48260"/>
                      </a:lnTo>
                      <a:lnTo>
                        <a:pt x="214020" y="50800"/>
                      </a:lnTo>
                      <a:lnTo>
                        <a:pt x="210235" y="52070"/>
                      </a:lnTo>
                      <a:lnTo>
                        <a:pt x="229463" y="52070"/>
                      </a:lnTo>
                      <a:lnTo>
                        <a:pt x="227863" y="48260"/>
                      </a:lnTo>
                      <a:lnTo>
                        <a:pt x="219786" y="48260"/>
                      </a:lnTo>
                      <a:lnTo>
                        <a:pt x="217944" y="46990"/>
                      </a:lnTo>
                      <a:close/>
                    </a:path>
                    <a:path w="414019" h="295910">
                      <a:moveTo>
                        <a:pt x="130556" y="48260"/>
                      </a:moveTo>
                      <a:lnTo>
                        <a:pt x="4025" y="48260"/>
                      </a:lnTo>
                      <a:lnTo>
                        <a:pt x="1612" y="49530"/>
                      </a:lnTo>
                      <a:lnTo>
                        <a:pt x="129743" y="49530"/>
                      </a:lnTo>
                      <a:lnTo>
                        <a:pt x="130556" y="48260"/>
                      </a:lnTo>
                      <a:close/>
                    </a:path>
                    <a:path w="414019" h="295910">
                      <a:moveTo>
                        <a:pt x="131533" y="45720"/>
                      </a:moveTo>
                      <a:lnTo>
                        <a:pt x="8509" y="45720"/>
                      </a:lnTo>
                      <a:lnTo>
                        <a:pt x="6705" y="48260"/>
                      </a:lnTo>
                      <a:lnTo>
                        <a:pt x="134683" y="48260"/>
                      </a:lnTo>
                      <a:lnTo>
                        <a:pt x="134569" y="49530"/>
                      </a:lnTo>
                      <a:lnTo>
                        <a:pt x="138264" y="49530"/>
                      </a:lnTo>
                      <a:lnTo>
                        <a:pt x="136131" y="48260"/>
                      </a:lnTo>
                      <a:lnTo>
                        <a:pt x="133883" y="46990"/>
                      </a:lnTo>
                      <a:lnTo>
                        <a:pt x="132702" y="46990"/>
                      </a:lnTo>
                      <a:lnTo>
                        <a:pt x="131533" y="45720"/>
                      </a:lnTo>
                      <a:close/>
                    </a:path>
                    <a:path w="414019" h="295910">
                      <a:moveTo>
                        <a:pt x="148882" y="39370"/>
                      </a:moveTo>
                      <a:lnTo>
                        <a:pt x="149098" y="40640"/>
                      </a:lnTo>
                      <a:lnTo>
                        <a:pt x="143078" y="40640"/>
                      </a:lnTo>
                      <a:lnTo>
                        <a:pt x="142788" y="43532"/>
                      </a:lnTo>
                      <a:lnTo>
                        <a:pt x="145242" y="45647"/>
                      </a:lnTo>
                      <a:lnTo>
                        <a:pt x="148094" y="46990"/>
                      </a:lnTo>
                      <a:lnTo>
                        <a:pt x="149745" y="46990"/>
                      </a:lnTo>
                      <a:lnTo>
                        <a:pt x="146621" y="48260"/>
                      </a:lnTo>
                      <a:lnTo>
                        <a:pt x="159639" y="48260"/>
                      </a:lnTo>
                      <a:lnTo>
                        <a:pt x="160401" y="45720"/>
                      </a:lnTo>
                      <a:lnTo>
                        <a:pt x="149250" y="45720"/>
                      </a:lnTo>
                      <a:lnTo>
                        <a:pt x="148361" y="44450"/>
                      </a:lnTo>
                      <a:lnTo>
                        <a:pt x="149098" y="44450"/>
                      </a:lnTo>
                      <a:lnTo>
                        <a:pt x="150825" y="41910"/>
                      </a:lnTo>
                      <a:lnTo>
                        <a:pt x="151130" y="41910"/>
                      </a:lnTo>
                      <a:lnTo>
                        <a:pt x="148882" y="39370"/>
                      </a:lnTo>
                      <a:close/>
                    </a:path>
                    <a:path w="414019" h="295910">
                      <a:moveTo>
                        <a:pt x="207175" y="46990"/>
                      </a:moveTo>
                      <a:lnTo>
                        <a:pt x="179603" y="46990"/>
                      </a:lnTo>
                      <a:lnTo>
                        <a:pt x="178816" y="48260"/>
                      </a:lnTo>
                      <a:lnTo>
                        <a:pt x="204355" y="48260"/>
                      </a:lnTo>
                      <a:lnTo>
                        <a:pt x="207175" y="46990"/>
                      </a:lnTo>
                      <a:close/>
                    </a:path>
                    <a:path w="414019" h="295910">
                      <a:moveTo>
                        <a:pt x="215531" y="45720"/>
                      </a:moveTo>
                      <a:lnTo>
                        <a:pt x="185216" y="45720"/>
                      </a:lnTo>
                      <a:lnTo>
                        <a:pt x="186817" y="46990"/>
                      </a:lnTo>
                      <a:lnTo>
                        <a:pt x="211962" y="46990"/>
                      </a:lnTo>
                      <a:lnTo>
                        <a:pt x="212509" y="48260"/>
                      </a:lnTo>
                      <a:lnTo>
                        <a:pt x="215531" y="45720"/>
                      </a:lnTo>
                      <a:close/>
                    </a:path>
                    <a:path w="414019" h="295910">
                      <a:moveTo>
                        <a:pt x="6972" y="33020"/>
                      </a:moveTo>
                      <a:lnTo>
                        <a:pt x="4825" y="35560"/>
                      </a:lnTo>
                      <a:lnTo>
                        <a:pt x="5753" y="36830"/>
                      </a:lnTo>
                      <a:lnTo>
                        <a:pt x="4737" y="39370"/>
                      </a:lnTo>
                      <a:lnTo>
                        <a:pt x="3225" y="39370"/>
                      </a:lnTo>
                      <a:lnTo>
                        <a:pt x="3746" y="40640"/>
                      </a:lnTo>
                      <a:lnTo>
                        <a:pt x="3403" y="41910"/>
                      </a:lnTo>
                      <a:lnTo>
                        <a:pt x="2387" y="43180"/>
                      </a:lnTo>
                      <a:lnTo>
                        <a:pt x="3733" y="46990"/>
                      </a:lnTo>
                      <a:lnTo>
                        <a:pt x="8509" y="45720"/>
                      </a:lnTo>
                      <a:lnTo>
                        <a:pt x="132715" y="45720"/>
                      </a:lnTo>
                      <a:lnTo>
                        <a:pt x="133343" y="44450"/>
                      </a:lnTo>
                      <a:lnTo>
                        <a:pt x="126453" y="44450"/>
                      </a:lnTo>
                      <a:lnTo>
                        <a:pt x="127495" y="43180"/>
                      </a:lnTo>
                      <a:lnTo>
                        <a:pt x="128422" y="43180"/>
                      </a:lnTo>
                      <a:lnTo>
                        <a:pt x="128092" y="41910"/>
                      </a:lnTo>
                      <a:lnTo>
                        <a:pt x="128892" y="41910"/>
                      </a:lnTo>
                      <a:lnTo>
                        <a:pt x="129705" y="40640"/>
                      </a:lnTo>
                      <a:lnTo>
                        <a:pt x="131203" y="39370"/>
                      </a:lnTo>
                      <a:lnTo>
                        <a:pt x="4737" y="39370"/>
                      </a:lnTo>
                      <a:lnTo>
                        <a:pt x="3911" y="38100"/>
                      </a:lnTo>
                      <a:lnTo>
                        <a:pt x="132702" y="38100"/>
                      </a:lnTo>
                      <a:lnTo>
                        <a:pt x="134962" y="36830"/>
                      </a:lnTo>
                      <a:lnTo>
                        <a:pt x="135610" y="35560"/>
                      </a:lnTo>
                      <a:lnTo>
                        <a:pt x="8229" y="35560"/>
                      </a:lnTo>
                      <a:lnTo>
                        <a:pt x="6972" y="33020"/>
                      </a:lnTo>
                      <a:close/>
                    </a:path>
                    <a:path w="414019" h="295910">
                      <a:moveTo>
                        <a:pt x="184543" y="45720"/>
                      </a:moveTo>
                      <a:lnTo>
                        <a:pt x="180987" y="45720"/>
                      </a:lnTo>
                      <a:lnTo>
                        <a:pt x="179044" y="46990"/>
                      </a:lnTo>
                      <a:lnTo>
                        <a:pt x="186194" y="46990"/>
                      </a:lnTo>
                      <a:lnTo>
                        <a:pt x="184543" y="45720"/>
                      </a:lnTo>
                      <a:close/>
                    </a:path>
                    <a:path w="414019" h="295910">
                      <a:moveTo>
                        <a:pt x="156933" y="40640"/>
                      </a:moveTo>
                      <a:lnTo>
                        <a:pt x="153619" y="40640"/>
                      </a:lnTo>
                      <a:lnTo>
                        <a:pt x="152958" y="41910"/>
                      </a:lnTo>
                      <a:lnTo>
                        <a:pt x="151104" y="44450"/>
                      </a:lnTo>
                      <a:lnTo>
                        <a:pt x="149275" y="44450"/>
                      </a:lnTo>
                      <a:lnTo>
                        <a:pt x="149250" y="45720"/>
                      </a:lnTo>
                      <a:lnTo>
                        <a:pt x="160401" y="45720"/>
                      </a:lnTo>
                      <a:lnTo>
                        <a:pt x="160020" y="43180"/>
                      </a:lnTo>
                      <a:lnTo>
                        <a:pt x="156933" y="40640"/>
                      </a:lnTo>
                      <a:close/>
                    </a:path>
                    <a:path w="414019" h="295910">
                      <a:moveTo>
                        <a:pt x="192620" y="33020"/>
                      </a:moveTo>
                      <a:lnTo>
                        <a:pt x="172173" y="33020"/>
                      </a:lnTo>
                      <a:lnTo>
                        <a:pt x="167868" y="35560"/>
                      </a:lnTo>
                      <a:lnTo>
                        <a:pt x="165176" y="36830"/>
                      </a:lnTo>
                      <a:lnTo>
                        <a:pt x="167119" y="40640"/>
                      </a:lnTo>
                      <a:lnTo>
                        <a:pt x="169646" y="41910"/>
                      </a:lnTo>
                      <a:lnTo>
                        <a:pt x="174117" y="43180"/>
                      </a:lnTo>
                      <a:lnTo>
                        <a:pt x="176758" y="44450"/>
                      </a:lnTo>
                      <a:lnTo>
                        <a:pt x="181140" y="45720"/>
                      </a:lnTo>
                      <a:lnTo>
                        <a:pt x="217462" y="45720"/>
                      </a:lnTo>
                      <a:lnTo>
                        <a:pt x="217093" y="41910"/>
                      </a:lnTo>
                      <a:lnTo>
                        <a:pt x="214871" y="40640"/>
                      </a:lnTo>
                      <a:lnTo>
                        <a:pt x="213474" y="38100"/>
                      </a:lnTo>
                      <a:lnTo>
                        <a:pt x="213410" y="36830"/>
                      </a:lnTo>
                      <a:lnTo>
                        <a:pt x="199377" y="36830"/>
                      </a:lnTo>
                      <a:lnTo>
                        <a:pt x="200914" y="35560"/>
                      </a:lnTo>
                      <a:lnTo>
                        <a:pt x="199339" y="34290"/>
                      </a:lnTo>
                      <a:lnTo>
                        <a:pt x="193611" y="34290"/>
                      </a:lnTo>
                      <a:lnTo>
                        <a:pt x="192620" y="33020"/>
                      </a:lnTo>
                      <a:close/>
                    </a:path>
                    <a:path w="414019" h="295910">
                      <a:moveTo>
                        <a:pt x="142788" y="43532"/>
                      </a:moveTo>
                      <a:lnTo>
                        <a:pt x="142697" y="44450"/>
                      </a:lnTo>
                      <a:lnTo>
                        <a:pt x="145242" y="45647"/>
                      </a:lnTo>
                      <a:lnTo>
                        <a:pt x="142788" y="43532"/>
                      </a:lnTo>
                      <a:close/>
                    </a:path>
                    <a:path w="414019" h="295910">
                      <a:moveTo>
                        <a:pt x="135953" y="36830"/>
                      </a:moveTo>
                      <a:lnTo>
                        <a:pt x="129616" y="41910"/>
                      </a:lnTo>
                      <a:lnTo>
                        <a:pt x="127863" y="44450"/>
                      </a:lnTo>
                      <a:lnTo>
                        <a:pt x="133343" y="44450"/>
                      </a:lnTo>
                      <a:lnTo>
                        <a:pt x="133972" y="43180"/>
                      </a:lnTo>
                      <a:lnTo>
                        <a:pt x="134823" y="41910"/>
                      </a:lnTo>
                      <a:lnTo>
                        <a:pt x="137045" y="40640"/>
                      </a:lnTo>
                      <a:lnTo>
                        <a:pt x="137636" y="40640"/>
                      </a:lnTo>
                      <a:lnTo>
                        <a:pt x="138061" y="39370"/>
                      </a:lnTo>
                      <a:lnTo>
                        <a:pt x="138595" y="38100"/>
                      </a:lnTo>
                      <a:lnTo>
                        <a:pt x="135953" y="36830"/>
                      </a:lnTo>
                      <a:close/>
                    </a:path>
                    <a:path w="414019" h="295910">
                      <a:moveTo>
                        <a:pt x="166992" y="41910"/>
                      </a:moveTo>
                      <a:lnTo>
                        <a:pt x="167741" y="43180"/>
                      </a:lnTo>
                      <a:lnTo>
                        <a:pt x="166458" y="44450"/>
                      </a:lnTo>
                      <a:lnTo>
                        <a:pt x="173431" y="44450"/>
                      </a:lnTo>
                      <a:lnTo>
                        <a:pt x="173799" y="43180"/>
                      </a:lnTo>
                      <a:lnTo>
                        <a:pt x="170903" y="43180"/>
                      </a:lnTo>
                      <a:lnTo>
                        <a:pt x="166992" y="41910"/>
                      </a:lnTo>
                      <a:close/>
                    </a:path>
                    <a:path w="414019" h="295910">
                      <a:moveTo>
                        <a:pt x="137636" y="40640"/>
                      </a:moveTo>
                      <a:lnTo>
                        <a:pt x="137045" y="40640"/>
                      </a:lnTo>
                      <a:lnTo>
                        <a:pt x="137210" y="41910"/>
                      </a:lnTo>
                      <a:lnTo>
                        <a:pt x="137636" y="40640"/>
                      </a:lnTo>
                      <a:close/>
                    </a:path>
                    <a:path w="414019" h="295910">
                      <a:moveTo>
                        <a:pt x="148424" y="36830"/>
                      </a:moveTo>
                      <a:lnTo>
                        <a:pt x="146138" y="39370"/>
                      </a:lnTo>
                      <a:lnTo>
                        <a:pt x="145046" y="40640"/>
                      </a:lnTo>
                      <a:lnTo>
                        <a:pt x="149098" y="40640"/>
                      </a:lnTo>
                      <a:lnTo>
                        <a:pt x="148780" y="39370"/>
                      </a:lnTo>
                      <a:lnTo>
                        <a:pt x="150253" y="38100"/>
                      </a:lnTo>
                      <a:lnTo>
                        <a:pt x="148412" y="38100"/>
                      </a:lnTo>
                      <a:lnTo>
                        <a:pt x="148424" y="36830"/>
                      </a:lnTo>
                      <a:close/>
                    </a:path>
                    <a:path w="414019" h="295910">
                      <a:moveTo>
                        <a:pt x="205968" y="35560"/>
                      </a:moveTo>
                      <a:lnTo>
                        <a:pt x="202336" y="35560"/>
                      </a:lnTo>
                      <a:lnTo>
                        <a:pt x="201676" y="36830"/>
                      </a:lnTo>
                      <a:lnTo>
                        <a:pt x="208711" y="36830"/>
                      </a:lnTo>
                      <a:lnTo>
                        <a:pt x="205968" y="35560"/>
                      </a:lnTo>
                      <a:close/>
                    </a:path>
                    <a:path w="414019" h="295910">
                      <a:moveTo>
                        <a:pt x="10515" y="30480"/>
                      </a:moveTo>
                      <a:lnTo>
                        <a:pt x="8674" y="30480"/>
                      </a:lnTo>
                      <a:lnTo>
                        <a:pt x="8229" y="35560"/>
                      </a:lnTo>
                      <a:lnTo>
                        <a:pt x="136817" y="35560"/>
                      </a:lnTo>
                      <a:lnTo>
                        <a:pt x="137795" y="34290"/>
                      </a:lnTo>
                      <a:lnTo>
                        <a:pt x="140233" y="31750"/>
                      </a:lnTo>
                      <a:lnTo>
                        <a:pt x="10439" y="31750"/>
                      </a:lnTo>
                      <a:lnTo>
                        <a:pt x="10515" y="30480"/>
                      </a:lnTo>
                      <a:close/>
                    </a:path>
                    <a:path w="414019" h="295910">
                      <a:moveTo>
                        <a:pt x="189738" y="29210"/>
                      </a:moveTo>
                      <a:lnTo>
                        <a:pt x="181521" y="30480"/>
                      </a:lnTo>
                      <a:lnTo>
                        <a:pt x="174790" y="33020"/>
                      </a:lnTo>
                      <a:lnTo>
                        <a:pt x="193433" y="33020"/>
                      </a:lnTo>
                      <a:lnTo>
                        <a:pt x="189738" y="29210"/>
                      </a:lnTo>
                      <a:close/>
                    </a:path>
                    <a:path w="414019" h="295910">
                      <a:moveTo>
                        <a:pt x="77330" y="13970"/>
                      </a:moveTo>
                      <a:lnTo>
                        <a:pt x="73914" y="13970"/>
                      </a:lnTo>
                      <a:lnTo>
                        <a:pt x="73736" y="15240"/>
                      </a:lnTo>
                      <a:lnTo>
                        <a:pt x="20612" y="15240"/>
                      </a:lnTo>
                      <a:lnTo>
                        <a:pt x="21132" y="16510"/>
                      </a:lnTo>
                      <a:lnTo>
                        <a:pt x="15748" y="16510"/>
                      </a:lnTo>
                      <a:lnTo>
                        <a:pt x="15684" y="17780"/>
                      </a:lnTo>
                      <a:lnTo>
                        <a:pt x="14833" y="19050"/>
                      </a:lnTo>
                      <a:lnTo>
                        <a:pt x="14338" y="19050"/>
                      </a:lnTo>
                      <a:lnTo>
                        <a:pt x="12966" y="20320"/>
                      </a:lnTo>
                      <a:lnTo>
                        <a:pt x="12192" y="22860"/>
                      </a:lnTo>
                      <a:lnTo>
                        <a:pt x="11709" y="24130"/>
                      </a:lnTo>
                      <a:lnTo>
                        <a:pt x="11569" y="24130"/>
                      </a:lnTo>
                      <a:lnTo>
                        <a:pt x="11493" y="25400"/>
                      </a:lnTo>
                      <a:lnTo>
                        <a:pt x="11976" y="26670"/>
                      </a:lnTo>
                      <a:lnTo>
                        <a:pt x="11785" y="26670"/>
                      </a:lnTo>
                      <a:lnTo>
                        <a:pt x="11277" y="27940"/>
                      </a:lnTo>
                      <a:lnTo>
                        <a:pt x="10642" y="27940"/>
                      </a:lnTo>
                      <a:lnTo>
                        <a:pt x="10515" y="29210"/>
                      </a:lnTo>
                      <a:lnTo>
                        <a:pt x="11277" y="29210"/>
                      </a:lnTo>
                      <a:lnTo>
                        <a:pt x="10439" y="31750"/>
                      </a:lnTo>
                      <a:lnTo>
                        <a:pt x="140233" y="31750"/>
                      </a:lnTo>
                      <a:lnTo>
                        <a:pt x="141452" y="30480"/>
                      </a:lnTo>
                      <a:lnTo>
                        <a:pt x="140208" y="29210"/>
                      </a:lnTo>
                      <a:lnTo>
                        <a:pt x="136334" y="27940"/>
                      </a:lnTo>
                      <a:lnTo>
                        <a:pt x="135940" y="22860"/>
                      </a:lnTo>
                      <a:lnTo>
                        <a:pt x="139103" y="20320"/>
                      </a:lnTo>
                      <a:lnTo>
                        <a:pt x="132308" y="17780"/>
                      </a:lnTo>
                      <a:lnTo>
                        <a:pt x="81813" y="17780"/>
                      </a:lnTo>
                      <a:lnTo>
                        <a:pt x="79527" y="16510"/>
                      </a:lnTo>
                      <a:lnTo>
                        <a:pt x="19519" y="16510"/>
                      </a:lnTo>
                      <a:lnTo>
                        <a:pt x="17614" y="15240"/>
                      </a:lnTo>
                      <a:lnTo>
                        <a:pt x="78428" y="15240"/>
                      </a:lnTo>
                      <a:lnTo>
                        <a:pt x="77330" y="13970"/>
                      </a:lnTo>
                      <a:close/>
                    </a:path>
                    <a:path w="414019" h="295910">
                      <a:moveTo>
                        <a:pt x="89626" y="10830"/>
                      </a:moveTo>
                      <a:lnTo>
                        <a:pt x="90627" y="11430"/>
                      </a:lnTo>
                      <a:lnTo>
                        <a:pt x="81965" y="11430"/>
                      </a:lnTo>
                      <a:lnTo>
                        <a:pt x="79502" y="12700"/>
                      </a:lnTo>
                      <a:lnTo>
                        <a:pt x="79311" y="12700"/>
                      </a:lnTo>
                      <a:lnTo>
                        <a:pt x="80124" y="15240"/>
                      </a:lnTo>
                      <a:lnTo>
                        <a:pt x="82016" y="16510"/>
                      </a:lnTo>
                      <a:lnTo>
                        <a:pt x="82842" y="17780"/>
                      </a:lnTo>
                      <a:lnTo>
                        <a:pt x="128003" y="17780"/>
                      </a:lnTo>
                      <a:lnTo>
                        <a:pt x="127893" y="15240"/>
                      </a:lnTo>
                      <a:lnTo>
                        <a:pt x="92316" y="15240"/>
                      </a:lnTo>
                      <a:lnTo>
                        <a:pt x="91262" y="11430"/>
                      </a:lnTo>
                      <a:lnTo>
                        <a:pt x="89626" y="10830"/>
                      </a:lnTo>
                      <a:close/>
                    </a:path>
                    <a:path w="414019" h="295910">
                      <a:moveTo>
                        <a:pt x="54140" y="0"/>
                      </a:moveTo>
                      <a:lnTo>
                        <a:pt x="19926" y="13970"/>
                      </a:lnTo>
                      <a:lnTo>
                        <a:pt x="18542" y="15240"/>
                      </a:lnTo>
                      <a:lnTo>
                        <a:pt x="72542" y="15240"/>
                      </a:lnTo>
                      <a:lnTo>
                        <a:pt x="73177" y="13970"/>
                      </a:lnTo>
                      <a:lnTo>
                        <a:pt x="73685" y="13970"/>
                      </a:lnTo>
                      <a:lnTo>
                        <a:pt x="73786" y="10160"/>
                      </a:lnTo>
                      <a:lnTo>
                        <a:pt x="74091" y="6350"/>
                      </a:lnTo>
                      <a:lnTo>
                        <a:pt x="73063" y="6350"/>
                      </a:lnTo>
                      <a:lnTo>
                        <a:pt x="73456" y="5080"/>
                      </a:lnTo>
                      <a:lnTo>
                        <a:pt x="76390" y="5080"/>
                      </a:lnTo>
                      <a:lnTo>
                        <a:pt x="75717" y="3810"/>
                      </a:lnTo>
                      <a:lnTo>
                        <a:pt x="73685" y="2540"/>
                      </a:lnTo>
                      <a:lnTo>
                        <a:pt x="73101" y="2540"/>
                      </a:lnTo>
                      <a:lnTo>
                        <a:pt x="70053" y="1270"/>
                      </a:lnTo>
                      <a:lnTo>
                        <a:pt x="67348" y="1270"/>
                      </a:lnTo>
                      <a:lnTo>
                        <a:pt x="54140" y="0"/>
                      </a:lnTo>
                      <a:close/>
                    </a:path>
                    <a:path w="414019" h="295910">
                      <a:moveTo>
                        <a:pt x="73596" y="13970"/>
                      </a:moveTo>
                      <a:lnTo>
                        <a:pt x="73177" y="13970"/>
                      </a:lnTo>
                      <a:lnTo>
                        <a:pt x="72542" y="15240"/>
                      </a:lnTo>
                      <a:lnTo>
                        <a:pt x="73605" y="14097"/>
                      </a:lnTo>
                      <a:close/>
                    </a:path>
                    <a:path w="414019" h="295910">
                      <a:moveTo>
                        <a:pt x="73605" y="14097"/>
                      </a:moveTo>
                      <a:lnTo>
                        <a:pt x="72542" y="15240"/>
                      </a:lnTo>
                      <a:lnTo>
                        <a:pt x="73685" y="15240"/>
                      </a:lnTo>
                      <a:lnTo>
                        <a:pt x="73605" y="14097"/>
                      </a:lnTo>
                      <a:close/>
                    </a:path>
                    <a:path w="414019" h="295910">
                      <a:moveTo>
                        <a:pt x="122453" y="3810"/>
                      </a:moveTo>
                      <a:lnTo>
                        <a:pt x="103225" y="3810"/>
                      </a:lnTo>
                      <a:lnTo>
                        <a:pt x="102260" y="6350"/>
                      </a:lnTo>
                      <a:lnTo>
                        <a:pt x="98323" y="6350"/>
                      </a:lnTo>
                      <a:lnTo>
                        <a:pt x="94526" y="7620"/>
                      </a:lnTo>
                      <a:lnTo>
                        <a:pt x="92036" y="7620"/>
                      </a:lnTo>
                      <a:lnTo>
                        <a:pt x="89674" y="8890"/>
                      </a:lnTo>
                      <a:lnTo>
                        <a:pt x="88595" y="8890"/>
                      </a:lnTo>
                      <a:lnTo>
                        <a:pt x="88506" y="10160"/>
                      </a:lnTo>
                      <a:lnTo>
                        <a:pt x="89626" y="10830"/>
                      </a:lnTo>
                      <a:lnTo>
                        <a:pt x="91262" y="11430"/>
                      </a:lnTo>
                      <a:lnTo>
                        <a:pt x="93192" y="11430"/>
                      </a:lnTo>
                      <a:lnTo>
                        <a:pt x="93687" y="12700"/>
                      </a:lnTo>
                      <a:lnTo>
                        <a:pt x="92316" y="15240"/>
                      </a:lnTo>
                      <a:lnTo>
                        <a:pt x="127893" y="15240"/>
                      </a:lnTo>
                      <a:lnTo>
                        <a:pt x="127838" y="13970"/>
                      </a:lnTo>
                      <a:lnTo>
                        <a:pt x="128244" y="12700"/>
                      </a:lnTo>
                      <a:lnTo>
                        <a:pt x="127863" y="10160"/>
                      </a:lnTo>
                      <a:lnTo>
                        <a:pt x="127635" y="8890"/>
                      </a:lnTo>
                      <a:lnTo>
                        <a:pt x="125933" y="7620"/>
                      </a:lnTo>
                      <a:lnTo>
                        <a:pt x="125171" y="6350"/>
                      </a:lnTo>
                      <a:lnTo>
                        <a:pt x="123977" y="5080"/>
                      </a:lnTo>
                      <a:lnTo>
                        <a:pt x="124510" y="5080"/>
                      </a:lnTo>
                      <a:lnTo>
                        <a:pt x="122453" y="3810"/>
                      </a:lnTo>
                      <a:close/>
                    </a:path>
                    <a:path w="414019" h="295910">
                      <a:moveTo>
                        <a:pt x="73723" y="13970"/>
                      </a:moveTo>
                      <a:close/>
                    </a:path>
                    <a:path w="414019" h="295910">
                      <a:moveTo>
                        <a:pt x="87795" y="10160"/>
                      </a:moveTo>
                      <a:lnTo>
                        <a:pt x="83375" y="11430"/>
                      </a:lnTo>
                      <a:lnTo>
                        <a:pt x="90627" y="11430"/>
                      </a:lnTo>
                      <a:lnTo>
                        <a:pt x="89626" y="10830"/>
                      </a:lnTo>
                      <a:lnTo>
                        <a:pt x="87795" y="10160"/>
                      </a:lnTo>
                      <a:close/>
                    </a:path>
                    <a:path w="414019" h="295910">
                      <a:moveTo>
                        <a:pt x="76390" y="5080"/>
                      </a:moveTo>
                      <a:lnTo>
                        <a:pt x="73698" y="5080"/>
                      </a:lnTo>
                      <a:lnTo>
                        <a:pt x="73748" y="6350"/>
                      </a:lnTo>
                      <a:lnTo>
                        <a:pt x="76390" y="5080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33" name="object 73">
                  <a:extLst>
                    <a:ext uri="{FF2B5EF4-FFF2-40B4-BE49-F238E27FC236}">
                      <a16:creationId xmlns:a16="http://schemas.microsoft.com/office/drawing/2014/main" id="{38FBBAB0-3CAE-DE8B-7429-90FCF94083DC}"/>
                    </a:ext>
                  </a:extLst>
                </p:cNvPr>
                <p:cNvSpPr/>
                <p:nvPr/>
              </p:nvSpPr>
              <p:spPr>
                <a:xfrm>
                  <a:off x="1767881" y="1753355"/>
                  <a:ext cx="635" cy="25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" h="2539">
                      <a:moveTo>
                        <a:pt x="584" y="0"/>
                      </a:moveTo>
                      <a:lnTo>
                        <a:pt x="266" y="609"/>
                      </a:lnTo>
                      <a:lnTo>
                        <a:pt x="0" y="1574"/>
                      </a:lnTo>
                      <a:lnTo>
                        <a:pt x="584" y="2070"/>
                      </a:lnTo>
                      <a:lnTo>
                        <a:pt x="596" y="1841"/>
                      </a:lnTo>
                      <a:lnTo>
                        <a:pt x="622" y="1397"/>
                      </a:lnTo>
                      <a:lnTo>
                        <a:pt x="622" y="1079"/>
                      </a:lnTo>
                      <a:lnTo>
                        <a:pt x="596" y="774"/>
                      </a:lnTo>
                      <a:lnTo>
                        <a:pt x="596" y="584"/>
                      </a:lnTo>
                      <a:lnTo>
                        <a:pt x="584" y="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34" name="object 74">
                  <a:extLst>
                    <a:ext uri="{FF2B5EF4-FFF2-40B4-BE49-F238E27FC236}">
                      <a16:creationId xmlns:a16="http://schemas.microsoft.com/office/drawing/2014/main" id="{B39C83CE-BD93-65D7-B767-A222F9090EB5}"/>
                    </a:ext>
                  </a:extLst>
                </p:cNvPr>
                <p:cNvSpPr/>
                <p:nvPr/>
              </p:nvSpPr>
              <p:spPr>
                <a:xfrm>
                  <a:off x="1306423" y="1678546"/>
                  <a:ext cx="266700" cy="5010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6700" h="501014">
                      <a:moveTo>
                        <a:pt x="3949" y="2870"/>
                      </a:moveTo>
                      <a:lnTo>
                        <a:pt x="3810" y="2438"/>
                      </a:lnTo>
                      <a:lnTo>
                        <a:pt x="3683" y="1676"/>
                      </a:lnTo>
                      <a:lnTo>
                        <a:pt x="3429" y="965"/>
                      </a:lnTo>
                      <a:lnTo>
                        <a:pt x="2921" y="571"/>
                      </a:lnTo>
                      <a:lnTo>
                        <a:pt x="2667" y="241"/>
                      </a:lnTo>
                      <a:lnTo>
                        <a:pt x="2400" y="0"/>
                      </a:lnTo>
                      <a:lnTo>
                        <a:pt x="0" y="2832"/>
                      </a:lnTo>
                      <a:lnTo>
                        <a:pt x="3175" y="4483"/>
                      </a:lnTo>
                      <a:lnTo>
                        <a:pt x="3873" y="5029"/>
                      </a:lnTo>
                      <a:lnTo>
                        <a:pt x="3886" y="4826"/>
                      </a:lnTo>
                      <a:lnTo>
                        <a:pt x="3886" y="4635"/>
                      </a:lnTo>
                      <a:lnTo>
                        <a:pt x="3898" y="4432"/>
                      </a:lnTo>
                      <a:lnTo>
                        <a:pt x="3911" y="3911"/>
                      </a:lnTo>
                      <a:lnTo>
                        <a:pt x="3937" y="3403"/>
                      </a:lnTo>
                      <a:lnTo>
                        <a:pt x="3949" y="2870"/>
                      </a:lnTo>
                      <a:close/>
                    </a:path>
                    <a:path w="266700" h="501014">
                      <a:moveTo>
                        <a:pt x="249669" y="492099"/>
                      </a:moveTo>
                      <a:lnTo>
                        <a:pt x="248208" y="492277"/>
                      </a:lnTo>
                      <a:lnTo>
                        <a:pt x="249669" y="492099"/>
                      </a:lnTo>
                      <a:close/>
                    </a:path>
                    <a:path w="266700" h="501014">
                      <a:moveTo>
                        <a:pt x="261086" y="492188"/>
                      </a:moveTo>
                      <a:lnTo>
                        <a:pt x="260870" y="492163"/>
                      </a:lnTo>
                      <a:lnTo>
                        <a:pt x="261086" y="492188"/>
                      </a:lnTo>
                      <a:close/>
                    </a:path>
                    <a:path w="266700" h="501014">
                      <a:moveTo>
                        <a:pt x="266547" y="495338"/>
                      </a:moveTo>
                      <a:lnTo>
                        <a:pt x="265150" y="495376"/>
                      </a:lnTo>
                      <a:lnTo>
                        <a:pt x="266382" y="493204"/>
                      </a:lnTo>
                      <a:lnTo>
                        <a:pt x="264096" y="494423"/>
                      </a:lnTo>
                      <a:lnTo>
                        <a:pt x="263817" y="495338"/>
                      </a:lnTo>
                      <a:lnTo>
                        <a:pt x="263766" y="496163"/>
                      </a:lnTo>
                      <a:lnTo>
                        <a:pt x="263829" y="496443"/>
                      </a:lnTo>
                      <a:lnTo>
                        <a:pt x="263677" y="496163"/>
                      </a:lnTo>
                      <a:lnTo>
                        <a:pt x="262953" y="494245"/>
                      </a:lnTo>
                      <a:lnTo>
                        <a:pt x="262534" y="492823"/>
                      </a:lnTo>
                      <a:lnTo>
                        <a:pt x="262394" y="492340"/>
                      </a:lnTo>
                      <a:lnTo>
                        <a:pt x="261518" y="492239"/>
                      </a:lnTo>
                      <a:lnTo>
                        <a:pt x="260667" y="492239"/>
                      </a:lnTo>
                      <a:lnTo>
                        <a:pt x="259969" y="492239"/>
                      </a:lnTo>
                      <a:lnTo>
                        <a:pt x="259359" y="492823"/>
                      </a:lnTo>
                      <a:lnTo>
                        <a:pt x="258356" y="492772"/>
                      </a:lnTo>
                      <a:lnTo>
                        <a:pt x="257352" y="492493"/>
                      </a:lnTo>
                      <a:lnTo>
                        <a:pt x="256540" y="492125"/>
                      </a:lnTo>
                      <a:lnTo>
                        <a:pt x="255066" y="492290"/>
                      </a:lnTo>
                      <a:lnTo>
                        <a:pt x="253276" y="493014"/>
                      </a:lnTo>
                      <a:lnTo>
                        <a:pt x="252945" y="493356"/>
                      </a:lnTo>
                      <a:lnTo>
                        <a:pt x="251040" y="494169"/>
                      </a:lnTo>
                      <a:lnTo>
                        <a:pt x="250507" y="494245"/>
                      </a:lnTo>
                      <a:lnTo>
                        <a:pt x="250278" y="494195"/>
                      </a:lnTo>
                      <a:lnTo>
                        <a:pt x="249796" y="493991"/>
                      </a:lnTo>
                      <a:lnTo>
                        <a:pt x="248132" y="492328"/>
                      </a:lnTo>
                      <a:lnTo>
                        <a:pt x="246748" y="492531"/>
                      </a:lnTo>
                      <a:lnTo>
                        <a:pt x="245440" y="492785"/>
                      </a:lnTo>
                      <a:lnTo>
                        <a:pt x="243052" y="493293"/>
                      </a:lnTo>
                      <a:lnTo>
                        <a:pt x="243128" y="493839"/>
                      </a:lnTo>
                      <a:lnTo>
                        <a:pt x="243319" y="493991"/>
                      </a:lnTo>
                      <a:lnTo>
                        <a:pt x="243611" y="494093"/>
                      </a:lnTo>
                      <a:lnTo>
                        <a:pt x="244055" y="494195"/>
                      </a:lnTo>
                      <a:lnTo>
                        <a:pt x="245313" y="494550"/>
                      </a:lnTo>
                      <a:lnTo>
                        <a:pt x="246443" y="494792"/>
                      </a:lnTo>
                      <a:lnTo>
                        <a:pt x="247548" y="494982"/>
                      </a:lnTo>
                      <a:lnTo>
                        <a:pt x="249593" y="495604"/>
                      </a:lnTo>
                      <a:lnTo>
                        <a:pt x="251599" y="496316"/>
                      </a:lnTo>
                      <a:lnTo>
                        <a:pt x="255651" y="497598"/>
                      </a:lnTo>
                      <a:lnTo>
                        <a:pt x="256603" y="497852"/>
                      </a:lnTo>
                      <a:lnTo>
                        <a:pt x="259549" y="499732"/>
                      </a:lnTo>
                      <a:lnTo>
                        <a:pt x="260375" y="499452"/>
                      </a:lnTo>
                      <a:lnTo>
                        <a:pt x="262089" y="498411"/>
                      </a:lnTo>
                      <a:lnTo>
                        <a:pt x="262953" y="497700"/>
                      </a:lnTo>
                      <a:lnTo>
                        <a:pt x="264325" y="497446"/>
                      </a:lnTo>
                      <a:lnTo>
                        <a:pt x="263486" y="498436"/>
                      </a:lnTo>
                      <a:lnTo>
                        <a:pt x="262013" y="498868"/>
                      </a:lnTo>
                      <a:lnTo>
                        <a:pt x="261010" y="499846"/>
                      </a:lnTo>
                      <a:lnTo>
                        <a:pt x="261251" y="499808"/>
                      </a:lnTo>
                      <a:lnTo>
                        <a:pt x="261975" y="499960"/>
                      </a:lnTo>
                      <a:lnTo>
                        <a:pt x="262178" y="500087"/>
                      </a:lnTo>
                      <a:lnTo>
                        <a:pt x="262369" y="500151"/>
                      </a:lnTo>
                      <a:lnTo>
                        <a:pt x="262534" y="500240"/>
                      </a:lnTo>
                      <a:lnTo>
                        <a:pt x="262686" y="500291"/>
                      </a:lnTo>
                      <a:lnTo>
                        <a:pt x="262826" y="500430"/>
                      </a:lnTo>
                      <a:lnTo>
                        <a:pt x="263296" y="499808"/>
                      </a:lnTo>
                      <a:lnTo>
                        <a:pt x="264414" y="498411"/>
                      </a:lnTo>
                      <a:lnTo>
                        <a:pt x="265137" y="497446"/>
                      </a:lnTo>
                      <a:lnTo>
                        <a:pt x="265899" y="496443"/>
                      </a:lnTo>
                      <a:lnTo>
                        <a:pt x="266115" y="496163"/>
                      </a:lnTo>
                      <a:lnTo>
                        <a:pt x="266522" y="495376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35" name="object 75">
                  <a:extLst>
                    <a:ext uri="{FF2B5EF4-FFF2-40B4-BE49-F238E27FC236}">
                      <a16:creationId xmlns:a16="http://schemas.microsoft.com/office/drawing/2014/main" id="{789CB75A-EC1A-42CD-D51F-75769DD3CDA2}"/>
                    </a:ext>
                  </a:extLst>
                </p:cNvPr>
                <p:cNvSpPr/>
                <p:nvPr/>
              </p:nvSpPr>
              <p:spPr>
                <a:xfrm>
                  <a:off x="1813323" y="1880164"/>
                  <a:ext cx="6350" cy="38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0" h="3810">
                      <a:moveTo>
                        <a:pt x="0" y="0"/>
                      </a:moveTo>
                      <a:lnTo>
                        <a:pt x="165" y="469"/>
                      </a:lnTo>
                      <a:lnTo>
                        <a:pt x="444" y="800"/>
                      </a:lnTo>
                      <a:lnTo>
                        <a:pt x="876" y="1219"/>
                      </a:lnTo>
                      <a:lnTo>
                        <a:pt x="1282" y="1524"/>
                      </a:lnTo>
                      <a:lnTo>
                        <a:pt x="1676" y="1816"/>
                      </a:lnTo>
                      <a:lnTo>
                        <a:pt x="1904" y="1879"/>
                      </a:lnTo>
                      <a:lnTo>
                        <a:pt x="2895" y="2349"/>
                      </a:lnTo>
                      <a:lnTo>
                        <a:pt x="4025" y="2641"/>
                      </a:lnTo>
                      <a:lnTo>
                        <a:pt x="4927" y="3187"/>
                      </a:lnTo>
                      <a:lnTo>
                        <a:pt x="6273" y="1854"/>
                      </a:lnTo>
                      <a:lnTo>
                        <a:pt x="4851" y="1384"/>
                      </a:lnTo>
                      <a:lnTo>
                        <a:pt x="3365" y="685"/>
                      </a:lnTo>
                      <a:lnTo>
                        <a:pt x="1460" y="215"/>
                      </a:lnTo>
                      <a:lnTo>
                        <a:pt x="1054" y="139"/>
                      </a:lnTo>
                      <a:lnTo>
                        <a:pt x="419" y="6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36" name="object 76">
                  <a:extLst>
                    <a:ext uri="{FF2B5EF4-FFF2-40B4-BE49-F238E27FC236}">
                      <a16:creationId xmlns:a16="http://schemas.microsoft.com/office/drawing/2014/main" id="{CE98D3D6-3945-4AB9-3259-468A612B9317}"/>
                    </a:ext>
                  </a:extLst>
                </p:cNvPr>
                <p:cNvSpPr/>
                <p:nvPr/>
              </p:nvSpPr>
              <p:spPr>
                <a:xfrm>
                  <a:off x="1300311" y="1639192"/>
                  <a:ext cx="7620" cy="6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19" h="6350">
                      <a:moveTo>
                        <a:pt x="254" y="0"/>
                      </a:moveTo>
                      <a:lnTo>
                        <a:pt x="0" y="812"/>
                      </a:lnTo>
                      <a:lnTo>
                        <a:pt x="0" y="1473"/>
                      </a:lnTo>
                      <a:lnTo>
                        <a:pt x="152" y="2019"/>
                      </a:lnTo>
                      <a:lnTo>
                        <a:pt x="292" y="2730"/>
                      </a:lnTo>
                      <a:lnTo>
                        <a:pt x="622" y="3365"/>
                      </a:lnTo>
                      <a:lnTo>
                        <a:pt x="1257" y="3619"/>
                      </a:lnTo>
                      <a:lnTo>
                        <a:pt x="1587" y="3784"/>
                      </a:lnTo>
                      <a:lnTo>
                        <a:pt x="2260" y="4216"/>
                      </a:lnTo>
                      <a:lnTo>
                        <a:pt x="3073" y="4533"/>
                      </a:lnTo>
                      <a:lnTo>
                        <a:pt x="3898" y="4838"/>
                      </a:lnTo>
                      <a:lnTo>
                        <a:pt x="5232" y="5422"/>
                      </a:lnTo>
                      <a:lnTo>
                        <a:pt x="6578" y="5930"/>
                      </a:lnTo>
                      <a:lnTo>
                        <a:pt x="7480" y="4533"/>
                      </a:lnTo>
                      <a:lnTo>
                        <a:pt x="7353" y="3606"/>
                      </a:lnTo>
                      <a:lnTo>
                        <a:pt x="6807" y="2857"/>
                      </a:lnTo>
                      <a:lnTo>
                        <a:pt x="6248" y="1841"/>
                      </a:lnTo>
                      <a:lnTo>
                        <a:pt x="4927" y="1320"/>
                      </a:lnTo>
                      <a:lnTo>
                        <a:pt x="3492" y="508"/>
                      </a:lnTo>
                      <a:lnTo>
                        <a:pt x="2679" y="444"/>
                      </a:lnTo>
                      <a:lnTo>
                        <a:pt x="1905" y="520"/>
                      </a:lnTo>
                      <a:lnTo>
                        <a:pt x="838" y="279"/>
                      </a:lnTo>
                      <a:lnTo>
                        <a:pt x="546" y="177"/>
                      </a:lnTo>
                      <a:lnTo>
                        <a:pt x="254" y="0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37" name="object 77">
                  <a:extLst>
                    <a:ext uri="{FF2B5EF4-FFF2-40B4-BE49-F238E27FC236}">
                      <a16:creationId xmlns:a16="http://schemas.microsoft.com/office/drawing/2014/main" id="{848AEDD4-BE94-E4F7-9F43-85DA72F06353}"/>
                    </a:ext>
                  </a:extLst>
                </p:cNvPr>
                <p:cNvSpPr/>
                <p:nvPr/>
              </p:nvSpPr>
              <p:spPr>
                <a:xfrm>
                  <a:off x="1193800" y="1714835"/>
                  <a:ext cx="3175" cy="50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75" h="5080">
                      <a:moveTo>
                        <a:pt x="1064" y="0"/>
                      </a:moveTo>
                      <a:lnTo>
                        <a:pt x="455" y="495"/>
                      </a:lnTo>
                      <a:lnTo>
                        <a:pt x="366" y="622"/>
                      </a:lnTo>
                      <a:lnTo>
                        <a:pt x="0" y="1371"/>
                      </a:lnTo>
                      <a:lnTo>
                        <a:pt x="10" y="2349"/>
                      </a:lnTo>
                      <a:lnTo>
                        <a:pt x="169" y="3416"/>
                      </a:lnTo>
                      <a:lnTo>
                        <a:pt x="256" y="4470"/>
                      </a:lnTo>
                      <a:lnTo>
                        <a:pt x="353" y="4838"/>
                      </a:lnTo>
                      <a:lnTo>
                        <a:pt x="950" y="4622"/>
                      </a:lnTo>
                      <a:lnTo>
                        <a:pt x="1128" y="4533"/>
                      </a:lnTo>
                      <a:lnTo>
                        <a:pt x="2715" y="4470"/>
                      </a:lnTo>
                      <a:lnTo>
                        <a:pt x="2220" y="685"/>
                      </a:lnTo>
                      <a:lnTo>
                        <a:pt x="1801" y="12"/>
                      </a:lnTo>
                      <a:lnTo>
                        <a:pt x="1064" y="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38" name="object 78">
                  <a:extLst>
                    <a:ext uri="{FF2B5EF4-FFF2-40B4-BE49-F238E27FC236}">
                      <a16:creationId xmlns:a16="http://schemas.microsoft.com/office/drawing/2014/main" id="{B9E24DFD-F6CA-53A0-EFB1-072C15F75159}"/>
                    </a:ext>
                  </a:extLst>
                </p:cNvPr>
                <p:cNvSpPr/>
                <p:nvPr/>
              </p:nvSpPr>
              <p:spPr>
                <a:xfrm>
                  <a:off x="1274013" y="1435595"/>
                  <a:ext cx="348615" cy="7092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8615" h="709294">
                      <a:moveTo>
                        <a:pt x="13804" y="431"/>
                      </a:moveTo>
                      <a:lnTo>
                        <a:pt x="13182" y="254"/>
                      </a:lnTo>
                      <a:lnTo>
                        <a:pt x="12458" y="0"/>
                      </a:lnTo>
                      <a:lnTo>
                        <a:pt x="9829" y="431"/>
                      </a:lnTo>
                      <a:lnTo>
                        <a:pt x="13804" y="431"/>
                      </a:lnTo>
                      <a:close/>
                    </a:path>
                    <a:path w="348615" h="709294">
                      <a:moveTo>
                        <a:pt x="22961" y="4445"/>
                      </a:moveTo>
                      <a:lnTo>
                        <a:pt x="22821" y="4318"/>
                      </a:lnTo>
                      <a:lnTo>
                        <a:pt x="22555" y="4064"/>
                      </a:lnTo>
                      <a:lnTo>
                        <a:pt x="21374" y="3200"/>
                      </a:lnTo>
                      <a:lnTo>
                        <a:pt x="20523" y="2705"/>
                      </a:lnTo>
                      <a:lnTo>
                        <a:pt x="19227" y="1993"/>
                      </a:lnTo>
                      <a:lnTo>
                        <a:pt x="17830" y="1473"/>
                      </a:lnTo>
                      <a:lnTo>
                        <a:pt x="15773" y="990"/>
                      </a:lnTo>
                      <a:lnTo>
                        <a:pt x="13893" y="457"/>
                      </a:lnTo>
                      <a:lnTo>
                        <a:pt x="9677" y="457"/>
                      </a:lnTo>
                      <a:lnTo>
                        <a:pt x="8864" y="457"/>
                      </a:lnTo>
                      <a:lnTo>
                        <a:pt x="8432" y="660"/>
                      </a:lnTo>
                      <a:lnTo>
                        <a:pt x="6083" y="1054"/>
                      </a:lnTo>
                      <a:lnTo>
                        <a:pt x="3975" y="1092"/>
                      </a:lnTo>
                      <a:lnTo>
                        <a:pt x="2298" y="1739"/>
                      </a:lnTo>
                      <a:lnTo>
                        <a:pt x="1803" y="1866"/>
                      </a:lnTo>
                      <a:lnTo>
                        <a:pt x="1384" y="2032"/>
                      </a:lnTo>
                      <a:lnTo>
                        <a:pt x="1117" y="2273"/>
                      </a:lnTo>
                      <a:lnTo>
                        <a:pt x="0" y="2819"/>
                      </a:lnTo>
                      <a:lnTo>
                        <a:pt x="457" y="3594"/>
                      </a:lnTo>
                      <a:lnTo>
                        <a:pt x="1346" y="4267"/>
                      </a:lnTo>
                      <a:lnTo>
                        <a:pt x="2400" y="5562"/>
                      </a:lnTo>
                      <a:lnTo>
                        <a:pt x="5156" y="6197"/>
                      </a:lnTo>
                      <a:lnTo>
                        <a:pt x="8724" y="6769"/>
                      </a:lnTo>
                      <a:lnTo>
                        <a:pt x="11480" y="6845"/>
                      </a:lnTo>
                      <a:lnTo>
                        <a:pt x="16027" y="4318"/>
                      </a:lnTo>
                      <a:lnTo>
                        <a:pt x="19862" y="5664"/>
                      </a:lnTo>
                      <a:lnTo>
                        <a:pt x="22961" y="4445"/>
                      </a:lnTo>
                      <a:close/>
                    </a:path>
                    <a:path w="348615" h="709294">
                      <a:moveTo>
                        <a:pt x="85585" y="140169"/>
                      </a:moveTo>
                      <a:lnTo>
                        <a:pt x="85026" y="139623"/>
                      </a:lnTo>
                      <a:lnTo>
                        <a:pt x="84353" y="138874"/>
                      </a:lnTo>
                      <a:lnTo>
                        <a:pt x="83820" y="138176"/>
                      </a:lnTo>
                      <a:lnTo>
                        <a:pt x="83172" y="137502"/>
                      </a:lnTo>
                      <a:lnTo>
                        <a:pt x="82600" y="136842"/>
                      </a:lnTo>
                      <a:lnTo>
                        <a:pt x="82130" y="136804"/>
                      </a:lnTo>
                      <a:lnTo>
                        <a:pt x="81622" y="136829"/>
                      </a:lnTo>
                      <a:lnTo>
                        <a:pt x="81114" y="136893"/>
                      </a:lnTo>
                      <a:lnTo>
                        <a:pt x="80441" y="136867"/>
                      </a:lnTo>
                      <a:lnTo>
                        <a:pt x="79705" y="137083"/>
                      </a:lnTo>
                      <a:lnTo>
                        <a:pt x="78828" y="137706"/>
                      </a:lnTo>
                      <a:lnTo>
                        <a:pt x="78549" y="137934"/>
                      </a:lnTo>
                      <a:lnTo>
                        <a:pt x="78232" y="138341"/>
                      </a:lnTo>
                      <a:lnTo>
                        <a:pt x="78066" y="138518"/>
                      </a:lnTo>
                      <a:lnTo>
                        <a:pt x="77889" y="138658"/>
                      </a:lnTo>
                      <a:lnTo>
                        <a:pt x="77774" y="138887"/>
                      </a:lnTo>
                      <a:lnTo>
                        <a:pt x="77368" y="139763"/>
                      </a:lnTo>
                      <a:lnTo>
                        <a:pt x="77368" y="140563"/>
                      </a:lnTo>
                      <a:lnTo>
                        <a:pt x="77711" y="141414"/>
                      </a:lnTo>
                      <a:lnTo>
                        <a:pt x="78041" y="142430"/>
                      </a:lnTo>
                      <a:lnTo>
                        <a:pt x="78701" y="143383"/>
                      </a:lnTo>
                      <a:lnTo>
                        <a:pt x="80619" y="144233"/>
                      </a:lnTo>
                      <a:lnTo>
                        <a:pt x="82715" y="143992"/>
                      </a:lnTo>
                      <a:lnTo>
                        <a:pt x="84632" y="142760"/>
                      </a:lnTo>
                      <a:lnTo>
                        <a:pt x="85077" y="142125"/>
                      </a:lnTo>
                      <a:lnTo>
                        <a:pt x="85229" y="141490"/>
                      </a:lnTo>
                      <a:lnTo>
                        <a:pt x="85585" y="140843"/>
                      </a:lnTo>
                      <a:lnTo>
                        <a:pt x="85585" y="140169"/>
                      </a:lnTo>
                      <a:close/>
                    </a:path>
                    <a:path w="348615" h="709294">
                      <a:moveTo>
                        <a:pt x="212077" y="701522"/>
                      </a:moveTo>
                      <a:lnTo>
                        <a:pt x="209270" y="699516"/>
                      </a:lnTo>
                      <a:lnTo>
                        <a:pt x="205384" y="700151"/>
                      </a:lnTo>
                      <a:lnTo>
                        <a:pt x="200190" y="703364"/>
                      </a:lnTo>
                      <a:lnTo>
                        <a:pt x="197548" y="706437"/>
                      </a:lnTo>
                      <a:lnTo>
                        <a:pt x="202120" y="707085"/>
                      </a:lnTo>
                      <a:lnTo>
                        <a:pt x="201028" y="707542"/>
                      </a:lnTo>
                      <a:lnTo>
                        <a:pt x="201244" y="708406"/>
                      </a:lnTo>
                      <a:lnTo>
                        <a:pt x="202044" y="709104"/>
                      </a:lnTo>
                      <a:lnTo>
                        <a:pt x="204368" y="707250"/>
                      </a:lnTo>
                      <a:lnTo>
                        <a:pt x="206413" y="704989"/>
                      </a:lnTo>
                      <a:lnTo>
                        <a:pt x="208534" y="702919"/>
                      </a:lnTo>
                      <a:lnTo>
                        <a:pt x="209905" y="700976"/>
                      </a:lnTo>
                      <a:lnTo>
                        <a:pt x="210540" y="702398"/>
                      </a:lnTo>
                      <a:lnTo>
                        <a:pt x="212077" y="701522"/>
                      </a:lnTo>
                      <a:close/>
                    </a:path>
                    <a:path w="348615" h="709294">
                      <a:moveTo>
                        <a:pt x="231267" y="273113"/>
                      </a:moveTo>
                      <a:lnTo>
                        <a:pt x="229349" y="264909"/>
                      </a:lnTo>
                      <a:lnTo>
                        <a:pt x="228841" y="264261"/>
                      </a:lnTo>
                      <a:lnTo>
                        <a:pt x="228193" y="263779"/>
                      </a:lnTo>
                      <a:lnTo>
                        <a:pt x="226199" y="263855"/>
                      </a:lnTo>
                      <a:lnTo>
                        <a:pt x="225488" y="265061"/>
                      </a:lnTo>
                      <a:lnTo>
                        <a:pt x="224345" y="266509"/>
                      </a:lnTo>
                      <a:lnTo>
                        <a:pt x="223507" y="267436"/>
                      </a:lnTo>
                      <a:lnTo>
                        <a:pt x="222872" y="268541"/>
                      </a:lnTo>
                      <a:lnTo>
                        <a:pt x="222732" y="268820"/>
                      </a:lnTo>
                      <a:lnTo>
                        <a:pt x="222719" y="269684"/>
                      </a:lnTo>
                      <a:lnTo>
                        <a:pt x="223710" y="270560"/>
                      </a:lnTo>
                      <a:lnTo>
                        <a:pt x="224218" y="271056"/>
                      </a:lnTo>
                      <a:lnTo>
                        <a:pt x="224739" y="271526"/>
                      </a:lnTo>
                      <a:lnTo>
                        <a:pt x="224624" y="272313"/>
                      </a:lnTo>
                      <a:lnTo>
                        <a:pt x="224104" y="272516"/>
                      </a:lnTo>
                      <a:lnTo>
                        <a:pt x="223824" y="272808"/>
                      </a:lnTo>
                      <a:lnTo>
                        <a:pt x="223634" y="273113"/>
                      </a:lnTo>
                      <a:lnTo>
                        <a:pt x="223494" y="273227"/>
                      </a:lnTo>
                      <a:lnTo>
                        <a:pt x="223367" y="273367"/>
                      </a:lnTo>
                      <a:lnTo>
                        <a:pt x="223367" y="274027"/>
                      </a:lnTo>
                      <a:lnTo>
                        <a:pt x="223710" y="275082"/>
                      </a:lnTo>
                      <a:lnTo>
                        <a:pt x="224002" y="275717"/>
                      </a:lnTo>
                      <a:lnTo>
                        <a:pt x="224396" y="276148"/>
                      </a:lnTo>
                      <a:lnTo>
                        <a:pt x="225285" y="276796"/>
                      </a:lnTo>
                      <a:lnTo>
                        <a:pt x="225831" y="277241"/>
                      </a:lnTo>
                      <a:lnTo>
                        <a:pt x="226377" y="277571"/>
                      </a:lnTo>
                      <a:lnTo>
                        <a:pt x="229044" y="278396"/>
                      </a:lnTo>
                      <a:lnTo>
                        <a:pt x="230111" y="277215"/>
                      </a:lnTo>
                      <a:lnTo>
                        <a:pt x="230682" y="275082"/>
                      </a:lnTo>
                      <a:lnTo>
                        <a:pt x="231267" y="273113"/>
                      </a:lnTo>
                      <a:close/>
                    </a:path>
                    <a:path w="348615" h="709294">
                      <a:moveTo>
                        <a:pt x="348056" y="437019"/>
                      </a:moveTo>
                      <a:lnTo>
                        <a:pt x="347459" y="437197"/>
                      </a:lnTo>
                      <a:lnTo>
                        <a:pt x="344817" y="437857"/>
                      </a:lnTo>
                      <a:lnTo>
                        <a:pt x="343433" y="438251"/>
                      </a:lnTo>
                      <a:lnTo>
                        <a:pt x="342125" y="438797"/>
                      </a:lnTo>
                      <a:lnTo>
                        <a:pt x="341426" y="439089"/>
                      </a:lnTo>
                      <a:lnTo>
                        <a:pt x="343281" y="439966"/>
                      </a:lnTo>
                      <a:lnTo>
                        <a:pt x="346468" y="437705"/>
                      </a:lnTo>
                      <a:lnTo>
                        <a:pt x="348056" y="437019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39" name="object 79">
                  <a:extLst>
                    <a:ext uri="{FF2B5EF4-FFF2-40B4-BE49-F238E27FC236}">
                      <a16:creationId xmlns:a16="http://schemas.microsoft.com/office/drawing/2014/main" id="{67D20DDA-7C7A-4F1D-FD04-668A8D00D38B}"/>
                    </a:ext>
                  </a:extLst>
                </p:cNvPr>
                <p:cNvSpPr/>
                <p:nvPr/>
              </p:nvSpPr>
              <p:spPr>
                <a:xfrm>
                  <a:off x="1045159" y="2337142"/>
                  <a:ext cx="616585" cy="482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16585" h="48260">
                      <a:moveTo>
                        <a:pt x="2527" y="47167"/>
                      </a:moveTo>
                      <a:lnTo>
                        <a:pt x="1790" y="46202"/>
                      </a:lnTo>
                      <a:lnTo>
                        <a:pt x="863" y="45389"/>
                      </a:lnTo>
                      <a:lnTo>
                        <a:pt x="0" y="44538"/>
                      </a:lnTo>
                      <a:lnTo>
                        <a:pt x="215" y="45961"/>
                      </a:lnTo>
                      <a:lnTo>
                        <a:pt x="800" y="47752"/>
                      </a:lnTo>
                      <a:lnTo>
                        <a:pt x="2527" y="47167"/>
                      </a:lnTo>
                      <a:close/>
                    </a:path>
                    <a:path w="616585" h="48260">
                      <a:moveTo>
                        <a:pt x="605574" y="13614"/>
                      </a:moveTo>
                      <a:lnTo>
                        <a:pt x="605180" y="13931"/>
                      </a:lnTo>
                      <a:lnTo>
                        <a:pt x="604774" y="14224"/>
                      </a:lnTo>
                      <a:lnTo>
                        <a:pt x="604253" y="14681"/>
                      </a:lnTo>
                      <a:lnTo>
                        <a:pt x="604151" y="14846"/>
                      </a:lnTo>
                      <a:lnTo>
                        <a:pt x="603618" y="15354"/>
                      </a:lnTo>
                      <a:lnTo>
                        <a:pt x="603237" y="15748"/>
                      </a:lnTo>
                      <a:lnTo>
                        <a:pt x="602894" y="16167"/>
                      </a:lnTo>
                      <a:lnTo>
                        <a:pt x="602703" y="16395"/>
                      </a:lnTo>
                      <a:lnTo>
                        <a:pt x="602348" y="16891"/>
                      </a:lnTo>
                      <a:lnTo>
                        <a:pt x="601916" y="17526"/>
                      </a:lnTo>
                      <a:lnTo>
                        <a:pt x="601510" y="18173"/>
                      </a:lnTo>
                      <a:lnTo>
                        <a:pt x="601243" y="18846"/>
                      </a:lnTo>
                      <a:lnTo>
                        <a:pt x="602602" y="17043"/>
                      </a:lnTo>
                      <a:lnTo>
                        <a:pt x="604113" y="15341"/>
                      </a:lnTo>
                      <a:lnTo>
                        <a:pt x="605574" y="13614"/>
                      </a:lnTo>
                      <a:close/>
                    </a:path>
                    <a:path w="616585" h="48260">
                      <a:moveTo>
                        <a:pt x="616038" y="8839"/>
                      </a:moveTo>
                      <a:lnTo>
                        <a:pt x="615594" y="6692"/>
                      </a:lnTo>
                      <a:lnTo>
                        <a:pt x="614629" y="7594"/>
                      </a:lnTo>
                      <a:lnTo>
                        <a:pt x="613562" y="8356"/>
                      </a:lnTo>
                      <a:lnTo>
                        <a:pt x="612609" y="9258"/>
                      </a:lnTo>
                      <a:lnTo>
                        <a:pt x="614108" y="8686"/>
                      </a:lnTo>
                      <a:lnTo>
                        <a:pt x="616038" y="8839"/>
                      </a:lnTo>
                      <a:close/>
                    </a:path>
                    <a:path w="616585" h="48260">
                      <a:moveTo>
                        <a:pt x="616419" y="2540"/>
                      </a:moveTo>
                      <a:lnTo>
                        <a:pt x="616369" y="2260"/>
                      </a:lnTo>
                      <a:lnTo>
                        <a:pt x="616254" y="2019"/>
                      </a:lnTo>
                      <a:lnTo>
                        <a:pt x="616038" y="1155"/>
                      </a:lnTo>
                      <a:lnTo>
                        <a:pt x="615911" y="558"/>
                      </a:lnTo>
                      <a:lnTo>
                        <a:pt x="615657" y="0"/>
                      </a:lnTo>
                      <a:lnTo>
                        <a:pt x="615784" y="2222"/>
                      </a:lnTo>
                      <a:lnTo>
                        <a:pt x="615632" y="4457"/>
                      </a:lnTo>
                      <a:lnTo>
                        <a:pt x="615594" y="6692"/>
                      </a:lnTo>
                      <a:lnTo>
                        <a:pt x="615810" y="6388"/>
                      </a:lnTo>
                      <a:lnTo>
                        <a:pt x="616051" y="5626"/>
                      </a:lnTo>
                      <a:lnTo>
                        <a:pt x="616305" y="4838"/>
                      </a:lnTo>
                      <a:lnTo>
                        <a:pt x="616407" y="3962"/>
                      </a:lnTo>
                      <a:lnTo>
                        <a:pt x="616343" y="3048"/>
                      </a:lnTo>
                      <a:lnTo>
                        <a:pt x="616369" y="2882"/>
                      </a:lnTo>
                      <a:lnTo>
                        <a:pt x="616381" y="2705"/>
                      </a:lnTo>
                      <a:lnTo>
                        <a:pt x="616419" y="254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40" name="object 80">
                  <a:extLst>
                    <a:ext uri="{FF2B5EF4-FFF2-40B4-BE49-F238E27FC236}">
                      <a16:creationId xmlns:a16="http://schemas.microsoft.com/office/drawing/2014/main" id="{E4E5CF93-F334-BD3E-B6BE-5723DEC0EC0A}"/>
                    </a:ext>
                  </a:extLst>
                </p:cNvPr>
                <p:cNvSpPr/>
                <p:nvPr/>
              </p:nvSpPr>
              <p:spPr>
                <a:xfrm>
                  <a:off x="1024115" y="1288186"/>
                  <a:ext cx="608965" cy="5232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08964" h="523239">
                      <a:moveTo>
                        <a:pt x="469" y="1422"/>
                      </a:moveTo>
                      <a:lnTo>
                        <a:pt x="0" y="0"/>
                      </a:lnTo>
                      <a:lnTo>
                        <a:pt x="0" y="4305"/>
                      </a:lnTo>
                      <a:lnTo>
                        <a:pt x="469" y="1422"/>
                      </a:lnTo>
                      <a:close/>
                    </a:path>
                    <a:path w="608964" h="523239">
                      <a:moveTo>
                        <a:pt x="319786" y="337413"/>
                      </a:moveTo>
                      <a:lnTo>
                        <a:pt x="317931" y="337527"/>
                      </a:lnTo>
                      <a:lnTo>
                        <a:pt x="317855" y="338455"/>
                      </a:lnTo>
                      <a:lnTo>
                        <a:pt x="316953" y="338836"/>
                      </a:lnTo>
                      <a:lnTo>
                        <a:pt x="316712" y="338150"/>
                      </a:lnTo>
                      <a:lnTo>
                        <a:pt x="315747" y="338569"/>
                      </a:lnTo>
                      <a:lnTo>
                        <a:pt x="315277" y="339064"/>
                      </a:lnTo>
                      <a:lnTo>
                        <a:pt x="313855" y="340309"/>
                      </a:lnTo>
                      <a:lnTo>
                        <a:pt x="310794" y="339471"/>
                      </a:lnTo>
                      <a:lnTo>
                        <a:pt x="312394" y="338861"/>
                      </a:lnTo>
                      <a:lnTo>
                        <a:pt x="312483" y="338455"/>
                      </a:lnTo>
                      <a:lnTo>
                        <a:pt x="312483" y="337413"/>
                      </a:lnTo>
                      <a:lnTo>
                        <a:pt x="312318" y="336727"/>
                      </a:lnTo>
                      <a:lnTo>
                        <a:pt x="313359" y="334441"/>
                      </a:lnTo>
                      <a:lnTo>
                        <a:pt x="316471" y="334899"/>
                      </a:lnTo>
                      <a:lnTo>
                        <a:pt x="316788" y="334441"/>
                      </a:lnTo>
                      <a:lnTo>
                        <a:pt x="317677" y="333184"/>
                      </a:lnTo>
                      <a:lnTo>
                        <a:pt x="317804" y="333019"/>
                      </a:lnTo>
                      <a:lnTo>
                        <a:pt x="317398" y="332816"/>
                      </a:lnTo>
                      <a:lnTo>
                        <a:pt x="316204" y="333184"/>
                      </a:lnTo>
                      <a:lnTo>
                        <a:pt x="315582" y="332689"/>
                      </a:lnTo>
                      <a:lnTo>
                        <a:pt x="316242" y="331927"/>
                      </a:lnTo>
                      <a:lnTo>
                        <a:pt x="314655" y="330949"/>
                      </a:lnTo>
                      <a:lnTo>
                        <a:pt x="313372" y="333502"/>
                      </a:lnTo>
                      <a:lnTo>
                        <a:pt x="311924" y="336016"/>
                      </a:lnTo>
                      <a:lnTo>
                        <a:pt x="310819" y="338645"/>
                      </a:lnTo>
                      <a:lnTo>
                        <a:pt x="309308" y="340855"/>
                      </a:lnTo>
                      <a:lnTo>
                        <a:pt x="312432" y="341299"/>
                      </a:lnTo>
                      <a:lnTo>
                        <a:pt x="314960" y="343268"/>
                      </a:lnTo>
                      <a:lnTo>
                        <a:pt x="314426" y="343979"/>
                      </a:lnTo>
                      <a:lnTo>
                        <a:pt x="316877" y="343992"/>
                      </a:lnTo>
                      <a:lnTo>
                        <a:pt x="316598" y="343446"/>
                      </a:lnTo>
                      <a:lnTo>
                        <a:pt x="316166" y="342226"/>
                      </a:lnTo>
                      <a:lnTo>
                        <a:pt x="315671" y="341782"/>
                      </a:lnTo>
                      <a:lnTo>
                        <a:pt x="315607" y="341642"/>
                      </a:lnTo>
                      <a:lnTo>
                        <a:pt x="315683" y="341299"/>
                      </a:lnTo>
                      <a:lnTo>
                        <a:pt x="315683" y="340309"/>
                      </a:lnTo>
                      <a:lnTo>
                        <a:pt x="315633" y="339928"/>
                      </a:lnTo>
                      <a:lnTo>
                        <a:pt x="316445" y="339471"/>
                      </a:lnTo>
                      <a:lnTo>
                        <a:pt x="317500" y="338836"/>
                      </a:lnTo>
                      <a:lnTo>
                        <a:pt x="319786" y="337413"/>
                      </a:lnTo>
                      <a:close/>
                    </a:path>
                    <a:path w="608964" h="523239">
                      <a:moveTo>
                        <a:pt x="608558" y="522097"/>
                      </a:moveTo>
                      <a:lnTo>
                        <a:pt x="607136" y="522630"/>
                      </a:lnTo>
                      <a:lnTo>
                        <a:pt x="607199" y="522770"/>
                      </a:lnTo>
                      <a:lnTo>
                        <a:pt x="607377" y="522719"/>
                      </a:lnTo>
                      <a:lnTo>
                        <a:pt x="607644" y="522605"/>
                      </a:lnTo>
                      <a:lnTo>
                        <a:pt x="608228" y="522262"/>
                      </a:lnTo>
                      <a:lnTo>
                        <a:pt x="608444" y="522147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41" name="object 81">
                  <a:extLst>
                    <a:ext uri="{FF2B5EF4-FFF2-40B4-BE49-F238E27FC236}">
                      <a16:creationId xmlns:a16="http://schemas.microsoft.com/office/drawing/2014/main" id="{064B2FCA-2A6A-04C4-927C-E840801F2140}"/>
                    </a:ext>
                  </a:extLst>
                </p:cNvPr>
                <p:cNvSpPr/>
                <p:nvPr/>
              </p:nvSpPr>
              <p:spPr>
                <a:xfrm>
                  <a:off x="1724745" y="1732609"/>
                  <a:ext cx="1270" cy="6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9" h="635">
                      <a:moveTo>
                        <a:pt x="685" y="0"/>
                      </a:moveTo>
                      <a:lnTo>
                        <a:pt x="177" y="0"/>
                      </a:lnTo>
                      <a:lnTo>
                        <a:pt x="0" y="101"/>
                      </a:lnTo>
                      <a:lnTo>
                        <a:pt x="330" y="139"/>
                      </a:lnTo>
                      <a:lnTo>
                        <a:pt x="546" y="63"/>
                      </a:lnTo>
                      <a:lnTo>
                        <a:pt x="787" y="12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42" name="object 82">
                  <a:extLst>
                    <a:ext uri="{FF2B5EF4-FFF2-40B4-BE49-F238E27FC236}">
                      <a16:creationId xmlns:a16="http://schemas.microsoft.com/office/drawing/2014/main" id="{D5C89ECB-EF90-A517-3989-E88EA0027390}"/>
                    </a:ext>
                  </a:extLst>
                </p:cNvPr>
                <p:cNvSpPr/>
                <p:nvPr/>
              </p:nvSpPr>
              <p:spPr>
                <a:xfrm>
                  <a:off x="950972" y="1345111"/>
                  <a:ext cx="109855" cy="533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9855" h="53340">
                      <a:moveTo>
                        <a:pt x="51976" y="48259"/>
                      </a:moveTo>
                      <a:lnTo>
                        <a:pt x="51087" y="51180"/>
                      </a:lnTo>
                      <a:lnTo>
                        <a:pt x="53932" y="51942"/>
                      </a:lnTo>
                      <a:lnTo>
                        <a:pt x="56764" y="52958"/>
                      </a:lnTo>
                      <a:lnTo>
                        <a:pt x="61751" y="48894"/>
                      </a:lnTo>
                      <a:lnTo>
                        <a:pt x="54618" y="48894"/>
                      </a:lnTo>
                      <a:lnTo>
                        <a:pt x="53767" y="48386"/>
                      </a:lnTo>
                      <a:lnTo>
                        <a:pt x="51976" y="48259"/>
                      </a:lnTo>
                      <a:close/>
                    </a:path>
                    <a:path w="109855" h="53340">
                      <a:moveTo>
                        <a:pt x="46612" y="47497"/>
                      </a:moveTo>
                      <a:lnTo>
                        <a:pt x="39746" y="47497"/>
                      </a:lnTo>
                      <a:lnTo>
                        <a:pt x="43556" y="49021"/>
                      </a:lnTo>
                      <a:lnTo>
                        <a:pt x="43810" y="49402"/>
                      </a:lnTo>
                      <a:lnTo>
                        <a:pt x="46612" y="47497"/>
                      </a:lnTo>
                      <a:close/>
                    </a:path>
                    <a:path w="109855" h="53340">
                      <a:moveTo>
                        <a:pt x="54580" y="47878"/>
                      </a:moveTo>
                      <a:lnTo>
                        <a:pt x="54618" y="48894"/>
                      </a:lnTo>
                      <a:lnTo>
                        <a:pt x="61751" y="48894"/>
                      </a:lnTo>
                      <a:lnTo>
                        <a:pt x="62374" y="48386"/>
                      </a:lnTo>
                      <a:lnTo>
                        <a:pt x="57031" y="48386"/>
                      </a:lnTo>
                      <a:lnTo>
                        <a:pt x="54580" y="47878"/>
                      </a:lnTo>
                      <a:close/>
                    </a:path>
                    <a:path w="109855" h="53340">
                      <a:moveTo>
                        <a:pt x="72531" y="33527"/>
                      </a:moveTo>
                      <a:lnTo>
                        <a:pt x="67229" y="33527"/>
                      </a:lnTo>
                      <a:lnTo>
                        <a:pt x="67877" y="36321"/>
                      </a:lnTo>
                      <a:lnTo>
                        <a:pt x="67918" y="36575"/>
                      </a:lnTo>
                      <a:lnTo>
                        <a:pt x="68044" y="37845"/>
                      </a:lnTo>
                      <a:lnTo>
                        <a:pt x="67127" y="39750"/>
                      </a:lnTo>
                      <a:lnTo>
                        <a:pt x="65756" y="41020"/>
                      </a:lnTo>
                      <a:lnTo>
                        <a:pt x="65146" y="41782"/>
                      </a:lnTo>
                      <a:lnTo>
                        <a:pt x="64245" y="42671"/>
                      </a:lnTo>
                      <a:lnTo>
                        <a:pt x="63089" y="43179"/>
                      </a:lnTo>
                      <a:lnTo>
                        <a:pt x="61298" y="44195"/>
                      </a:lnTo>
                      <a:lnTo>
                        <a:pt x="59215" y="44830"/>
                      </a:lnTo>
                      <a:lnTo>
                        <a:pt x="58237" y="46735"/>
                      </a:lnTo>
                      <a:lnTo>
                        <a:pt x="59990" y="46989"/>
                      </a:lnTo>
                      <a:lnTo>
                        <a:pt x="57031" y="48386"/>
                      </a:lnTo>
                      <a:lnTo>
                        <a:pt x="62374" y="48386"/>
                      </a:lnTo>
                      <a:lnTo>
                        <a:pt x="62530" y="48259"/>
                      </a:lnTo>
                      <a:lnTo>
                        <a:pt x="73147" y="41909"/>
                      </a:lnTo>
                      <a:lnTo>
                        <a:pt x="73147" y="40512"/>
                      </a:lnTo>
                      <a:lnTo>
                        <a:pt x="75560" y="40131"/>
                      </a:lnTo>
                      <a:lnTo>
                        <a:pt x="77732" y="40004"/>
                      </a:lnTo>
                      <a:lnTo>
                        <a:pt x="80226" y="40004"/>
                      </a:lnTo>
                      <a:lnTo>
                        <a:pt x="79967" y="38988"/>
                      </a:lnTo>
                      <a:lnTo>
                        <a:pt x="78913" y="37337"/>
                      </a:lnTo>
                      <a:lnTo>
                        <a:pt x="77230" y="36702"/>
                      </a:lnTo>
                      <a:lnTo>
                        <a:pt x="76183" y="36702"/>
                      </a:lnTo>
                      <a:lnTo>
                        <a:pt x="74227" y="35559"/>
                      </a:lnTo>
                      <a:lnTo>
                        <a:pt x="73223" y="34162"/>
                      </a:lnTo>
                      <a:lnTo>
                        <a:pt x="71890" y="33654"/>
                      </a:lnTo>
                      <a:lnTo>
                        <a:pt x="72531" y="33527"/>
                      </a:lnTo>
                      <a:close/>
                    </a:path>
                    <a:path w="109855" h="53340">
                      <a:moveTo>
                        <a:pt x="23020" y="42544"/>
                      </a:moveTo>
                      <a:lnTo>
                        <a:pt x="23274" y="46481"/>
                      </a:lnTo>
                      <a:lnTo>
                        <a:pt x="38451" y="47751"/>
                      </a:lnTo>
                      <a:lnTo>
                        <a:pt x="39746" y="47497"/>
                      </a:lnTo>
                      <a:lnTo>
                        <a:pt x="46612" y="47497"/>
                      </a:lnTo>
                      <a:lnTo>
                        <a:pt x="48293" y="46354"/>
                      </a:lnTo>
                      <a:lnTo>
                        <a:pt x="49982" y="45338"/>
                      </a:lnTo>
                      <a:lnTo>
                        <a:pt x="50417" y="42925"/>
                      </a:lnTo>
                      <a:lnTo>
                        <a:pt x="29332" y="42925"/>
                      </a:lnTo>
                      <a:lnTo>
                        <a:pt x="23020" y="42544"/>
                      </a:lnTo>
                      <a:close/>
                    </a:path>
                    <a:path w="109855" h="53340">
                      <a:moveTo>
                        <a:pt x="31199" y="36448"/>
                      </a:moveTo>
                      <a:lnTo>
                        <a:pt x="32266" y="38226"/>
                      </a:lnTo>
                      <a:lnTo>
                        <a:pt x="34806" y="38988"/>
                      </a:lnTo>
                      <a:lnTo>
                        <a:pt x="32634" y="41655"/>
                      </a:lnTo>
                      <a:lnTo>
                        <a:pt x="31110" y="42544"/>
                      </a:lnTo>
                      <a:lnTo>
                        <a:pt x="29332" y="42925"/>
                      </a:lnTo>
                      <a:lnTo>
                        <a:pt x="50417" y="42925"/>
                      </a:lnTo>
                      <a:lnTo>
                        <a:pt x="49894" y="42544"/>
                      </a:lnTo>
                      <a:lnTo>
                        <a:pt x="50173" y="41528"/>
                      </a:lnTo>
                      <a:lnTo>
                        <a:pt x="51037" y="41274"/>
                      </a:lnTo>
                      <a:lnTo>
                        <a:pt x="51449" y="39623"/>
                      </a:lnTo>
                      <a:lnTo>
                        <a:pt x="50249" y="39623"/>
                      </a:lnTo>
                      <a:lnTo>
                        <a:pt x="53450" y="37845"/>
                      </a:lnTo>
                      <a:lnTo>
                        <a:pt x="54897" y="37464"/>
                      </a:lnTo>
                      <a:lnTo>
                        <a:pt x="55526" y="37083"/>
                      </a:lnTo>
                      <a:lnTo>
                        <a:pt x="33180" y="37083"/>
                      </a:lnTo>
                      <a:lnTo>
                        <a:pt x="31199" y="36448"/>
                      </a:lnTo>
                      <a:close/>
                    </a:path>
                    <a:path w="109855" h="53340">
                      <a:moveTo>
                        <a:pt x="80226" y="40004"/>
                      </a:moveTo>
                      <a:lnTo>
                        <a:pt x="77732" y="40004"/>
                      </a:lnTo>
                      <a:lnTo>
                        <a:pt x="78913" y="40258"/>
                      </a:lnTo>
                      <a:lnTo>
                        <a:pt x="80323" y="40385"/>
                      </a:lnTo>
                      <a:lnTo>
                        <a:pt x="80226" y="40004"/>
                      </a:lnTo>
                      <a:close/>
                    </a:path>
                    <a:path w="109855" h="53340">
                      <a:moveTo>
                        <a:pt x="51545" y="39242"/>
                      </a:moveTo>
                      <a:lnTo>
                        <a:pt x="50249" y="39623"/>
                      </a:lnTo>
                      <a:lnTo>
                        <a:pt x="51449" y="39623"/>
                      </a:lnTo>
                      <a:lnTo>
                        <a:pt x="51545" y="39242"/>
                      </a:lnTo>
                      <a:close/>
                    </a:path>
                    <a:path w="109855" h="53340">
                      <a:moveTo>
                        <a:pt x="38667" y="24002"/>
                      </a:moveTo>
                      <a:lnTo>
                        <a:pt x="36165" y="25018"/>
                      </a:lnTo>
                      <a:lnTo>
                        <a:pt x="33472" y="25272"/>
                      </a:lnTo>
                      <a:lnTo>
                        <a:pt x="34869" y="26669"/>
                      </a:lnTo>
                      <a:lnTo>
                        <a:pt x="41016" y="29971"/>
                      </a:lnTo>
                      <a:lnTo>
                        <a:pt x="40508" y="32892"/>
                      </a:lnTo>
                      <a:lnTo>
                        <a:pt x="38451" y="33400"/>
                      </a:lnTo>
                      <a:lnTo>
                        <a:pt x="36571" y="34289"/>
                      </a:lnTo>
                      <a:lnTo>
                        <a:pt x="34806" y="34289"/>
                      </a:lnTo>
                      <a:lnTo>
                        <a:pt x="32583" y="35559"/>
                      </a:lnTo>
                      <a:lnTo>
                        <a:pt x="33180" y="37083"/>
                      </a:lnTo>
                      <a:lnTo>
                        <a:pt x="55526" y="37083"/>
                      </a:lnTo>
                      <a:lnTo>
                        <a:pt x="57831" y="35686"/>
                      </a:lnTo>
                      <a:lnTo>
                        <a:pt x="60600" y="33654"/>
                      </a:lnTo>
                      <a:lnTo>
                        <a:pt x="66327" y="33654"/>
                      </a:lnTo>
                      <a:lnTo>
                        <a:pt x="67229" y="33527"/>
                      </a:lnTo>
                      <a:lnTo>
                        <a:pt x="72531" y="33527"/>
                      </a:lnTo>
                      <a:lnTo>
                        <a:pt x="73173" y="33400"/>
                      </a:lnTo>
                      <a:lnTo>
                        <a:pt x="74844" y="33400"/>
                      </a:lnTo>
                      <a:lnTo>
                        <a:pt x="75941" y="31876"/>
                      </a:lnTo>
                      <a:lnTo>
                        <a:pt x="77910" y="31876"/>
                      </a:lnTo>
                      <a:lnTo>
                        <a:pt x="78824" y="31495"/>
                      </a:lnTo>
                      <a:lnTo>
                        <a:pt x="77173" y="31114"/>
                      </a:lnTo>
                      <a:lnTo>
                        <a:pt x="75929" y="30098"/>
                      </a:lnTo>
                      <a:lnTo>
                        <a:pt x="79383" y="29209"/>
                      </a:lnTo>
                      <a:lnTo>
                        <a:pt x="84918" y="29209"/>
                      </a:lnTo>
                      <a:lnTo>
                        <a:pt x="86228" y="28828"/>
                      </a:lnTo>
                      <a:lnTo>
                        <a:pt x="99034" y="28828"/>
                      </a:lnTo>
                      <a:lnTo>
                        <a:pt x="98014" y="28447"/>
                      </a:lnTo>
                      <a:lnTo>
                        <a:pt x="98585" y="28193"/>
                      </a:lnTo>
                      <a:lnTo>
                        <a:pt x="99030" y="26796"/>
                      </a:lnTo>
                      <a:lnTo>
                        <a:pt x="99525" y="26669"/>
                      </a:lnTo>
                      <a:lnTo>
                        <a:pt x="99652" y="26415"/>
                      </a:lnTo>
                      <a:lnTo>
                        <a:pt x="46477" y="26415"/>
                      </a:lnTo>
                      <a:lnTo>
                        <a:pt x="44191" y="24891"/>
                      </a:lnTo>
                      <a:lnTo>
                        <a:pt x="38667" y="24002"/>
                      </a:lnTo>
                      <a:close/>
                    </a:path>
                    <a:path w="109855" h="53340">
                      <a:moveTo>
                        <a:pt x="76894" y="36575"/>
                      </a:moveTo>
                      <a:lnTo>
                        <a:pt x="76183" y="36702"/>
                      </a:lnTo>
                      <a:lnTo>
                        <a:pt x="77230" y="36702"/>
                      </a:lnTo>
                      <a:lnTo>
                        <a:pt x="76894" y="36575"/>
                      </a:lnTo>
                      <a:close/>
                    </a:path>
                    <a:path w="109855" h="53340">
                      <a:moveTo>
                        <a:pt x="66327" y="33654"/>
                      </a:moveTo>
                      <a:lnTo>
                        <a:pt x="60600" y="33654"/>
                      </a:lnTo>
                      <a:lnTo>
                        <a:pt x="64524" y="33908"/>
                      </a:lnTo>
                      <a:lnTo>
                        <a:pt x="66327" y="33654"/>
                      </a:lnTo>
                      <a:close/>
                    </a:path>
                    <a:path w="109855" h="53340">
                      <a:moveTo>
                        <a:pt x="74844" y="33400"/>
                      </a:moveTo>
                      <a:lnTo>
                        <a:pt x="73173" y="33400"/>
                      </a:lnTo>
                      <a:lnTo>
                        <a:pt x="74570" y="33781"/>
                      </a:lnTo>
                      <a:lnTo>
                        <a:pt x="74844" y="33400"/>
                      </a:lnTo>
                      <a:close/>
                    </a:path>
                    <a:path w="109855" h="53340">
                      <a:moveTo>
                        <a:pt x="99034" y="28828"/>
                      </a:moveTo>
                      <a:lnTo>
                        <a:pt x="86228" y="28828"/>
                      </a:lnTo>
                      <a:lnTo>
                        <a:pt x="89746" y="29717"/>
                      </a:lnTo>
                      <a:lnTo>
                        <a:pt x="92388" y="32511"/>
                      </a:lnTo>
                      <a:lnTo>
                        <a:pt x="93505" y="33273"/>
                      </a:lnTo>
                      <a:lnTo>
                        <a:pt x="95067" y="33146"/>
                      </a:lnTo>
                      <a:lnTo>
                        <a:pt x="94191" y="32384"/>
                      </a:lnTo>
                      <a:lnTo>
                        <a:pt x="95677" y="31876"/>
                      </a:lnTo>
                      <a:lnTo>
                        <a:pt x="101248" y="31876"/>
                      </a:lnTo>
                      <a:lnTo>
                        <a:pt x="101671" y="31749"/>
                      </a:lnTo>
                      <a:lnTo>
                        <a:pt x="101773" y="31114"/>
                      </a:lnTo>
                      <a:lnTo>
                        <a:pt x="102459" y="30860"/>
                      </a:lnTo>
                      <a:lnTo>
                        <a:pt x="104347" y="30860"/>
                      </a:lnTo>
                      <a:lnTo>
                        <a:pt x="104542" y="30733"/>
                      </a:lnTo>
                      <a:lnTo>
                        <a:pt x="104984" y="29590"/>
                      </a:lnTo>
                      <a:lnTo>
                        <a:pt x="101075" y="29590"/>
                      </a:lnTo>
                      <a:lnTo>
                        <a:pt x="99034" y="28828"/>
                      </a:lnTo>
                      <a:close/>
                    </a:path>
                    <a:path w="109855" h="53340">
                      <a:moveTo>
                        <a:pt x="100097" y="31876"/>
                      </a:moveTo>
                      <a:lnTo>
                        <a:pt x="95677" y="31876"/>
                      </a:lnTo>
                      <a:lnTo>
                        <a:pt x="95931" y="32003"/>
                      </a:lnTo>
                      <a:lnTo>
                        <a:pt x="96718" y="32003"/>
                      </a:lnTo>
                      <a:lnTo>
                        <a:pt x="97366" y="32257"/>
                      </a:lnTo>
                      <a:lnTo>
                        <a:pt x="98420" y="32257"/>
                      </a:lnTo>
                      <a:lnTo>
                        <a:pt x="98827" y="32003"/>
                      </a:lnTo>
                      <a:lnTo>
                        <a:pt x="100097" y="31876"/>
                      </a:lnTo>
                      <a:close/>
                    </a:path>
                    <a:path w="109855" h="53340">
                      <a:moveTo>
                        <a:pt x="101248" y="31876"/>
                      </a:moveTo>
                      <a:lnTo>
                        <a:pt x="100097" y="31876"/>
                      </a:lnTo>
                      <a:lnTo>
                        <a:pt x="100401" y="32130"/>
                      </a:lnTo>
                      <a:lnTo>
                        <a:pt x="101248" y="31876"/>
                      </a:lnTo>
                      <a:close/>
                    </a:path>
                    <a:path w="109855" h="53340">
                      <a:moveTo>
                        <a:pt x="104347" y="30860"/>
                      </a:moveTo>
                      <a:lnTo>
                        <a:pt x="102459" y="30860"/>
                      </a:lnTo>
                      <a:lnTo>
                        <a:pt x="103957" y="31114"/>
                      </a:lnTo>
                      <a:lnTo>
                        <a:pt x="104347" y="30860"/>
                      </a:lnTo>
                      <a:close/>
                    </a:path>
                    <a:path w="109855" h="53340">
                      <a:moveTo>
                        <a:pt x="103322" y="27685"/>
                      </a:moveTo>
                      <a:lnTo>
                        <a:pt x="101075" y="29590"/>
                      </a:lnTo>
                      <a:lnTo>
                        <a:pt x="104984" y="29590"/>
                      </a:lnTo>
                      <a:lnTo>
                        <a:pt x="105278" y="28828"/>
                      </a:lnTo>
                      <a:lnTo>
                        <a:pt x="103322" y="27685"/>
                      </a:lnTo>
                      <a:close/>
                    </a:path>
                    <a:path w="109855" h="53340">
                      <a:moveTo>
                        <a:pt x="84918" y="29209"/>
                      </a:moveTo>
                      <a:lnTo>
                        <a:pt x="79383" y="29209"/>
                      </a:lnTo>
                      <a:lnTo>
                        <a:pt x="80818" y="29463"/>
                      </a:lnTo>
                      <a:lnTo>
                        <a:pt x="84044" y="29463"/>
                      </a:lnTo>
                      <a:lnTo>
                        <a:pt x="84918" y="29209"/>
                      </a:lnTo>
                      <a:close/>
                    </a:path>
                    <a:path w="109855" h="53340">
                      <a:moveTo>
                        <a:pt x="2332" y="17271"/>
                      </a:moveTo>
                      <a:lnTo>
                        <a:pt x="1214" y="17271"/>
                      </a:lnTo>
                      <a:lnTo>
                        <a:pt x="114" y="18922"/>
                      </a:lnTo>
                      <a:lnTo>
                        <a:pt x="0" y="21970"/>
                      </a:lnTo>
                      <a:lnTo>
                        <a:pt x="1303" y="23367"/>
                      </a:lnTo>
                      <a:lnTo>
                        <a:pt x="2459" y="24764"/>
                      </a:lnTo>
                      <a:lnTo>
                        <a:pt x="3208" y="25907"/>
                      </a:lnTo>
                      <a:lnTo>
                        <a:pt x="4745" y="26669"/>
                      </a:lnTo>
                      <a:lnTo>
                        <a:pt x="3907" y="25907"/>
                      </a:lnTo>
                      <a:lnTo>
                        <a:pt x="5102" y="23875"/>
                      </a:lnTo>
                      <a:lnTo>
                        <a:pt x="6993" y="22732"/>
                      </a:lnTo>
                      <a:lnTo>
                        <a:pt x="7726" y="22732"/>
                      </a:lnTo>
                      <a:lnTo>
                        <a:pt x="7986" y="21970"/>
                      </a:lnTo>
                      <a:lnTo>
                        <a:pt x="6637" y="21970"/>
                      </a:lnTo>
                      <a:lnTo>
                        <a:pt x="7615" y="20573"/>
                      </a:lnTo>
                      <a:lnTo>
                        <a:pt x="10155" y="20573"/>
                      </a:lnTo>
                      <a:lnTo>
                        <a:pt x="12479" y="20192"/>
                      </a:lnTo>
                      <a:lnTo>
                        <a:pt x="31051" y="20192"/>
                      </a:lnTo>
                      <a:lnTo>
                        <a:pt x="30976" y="19176"/>
                      </a:lnTo>
                      <a:lnTo>
                        <a:pt x="28075" y="19176"/>
                      </a:lnTo>
                      <a:lnTo>
                        <a:pt x="29374" y="18795"/>
                      </a:lnTo>
                      <a:lnTo>
                        <a:pt x="8161" y="18795"/>
                      </a:lnTo>
                      <a:lnTo>
                        <a:pt x="7839" y="18414"/>
                      </a:lnTo>
                      <a:lnTo>
                        <a:pt x="4275" y="18414"/>
                      </a:lnTo>
                      <a:lnTo>
                        <a:pt x="3107" y="18287"/>
                      </a:lnTo>
                      <a:lnTo>
                        <a:pt x="2332" y="17271"/>
                      </a:lnTo>
                      <a:close/>
                    </a:path>
                    <a:path w="109855" h="53340">
                      <a:moveTo>
                        <a:pt x="104505" y="12953"/>
                      </a:moveTo>
                      <a:lnTo>
                        <a:pt x="99398" y="12953"/>
                      </a:lnTo>
                      <a:lnTo>
                        <a:pt x="98306" y="14858"/>
                      </a:lnTo>
                      <a:lnTo>
                        <a:pt x="93315" y="16509"/>
                      </a:lnTo>
                      <a:lnTo>
                        <a:pt x="91550" y="17017"/>
                      </a:lnTo>
                      <a:lnTo>
                        <a:pt x="86647" y="17652"/>
                      </a:lnTo>
                      <a:lnTo>
                        <a:pt x="33269" y="17652"/>
                      </a:lnTo>
                      <a:lnTo>
                        <a:pt x="37003" y="18287"/>
                      </a:lnTo>
                      <a:lnTo>
                        <a:pt x="44852" y="18287"/>
                      </a:lnTo>
                      <a:lnTo>
                        <a:pt x="49005" y="19557"/>
                      </a:lnTo>
                      <a:lnTo>
                        <a:pt x="58352" y="24129"/>
                      </a:lnTo>
                      <a:lnTo>
                        <a:pt x="51824" y="26161"/>
                      </a:lnTo>
                      <a:lnTo>
                        <a:pt x="46477" y="26415"/>
                      </a:lnTo>
                      <a:lnTo>
                        <a:pt x="99652" y="26415"/>
                      </a:lnTo>
                      <a:lnTo>
                        <a:pt x="99716" y="26288"/>
                      </a:lnTo>
                      <a:lnTo>
                        <a:pt x="99322" y="26034"/>
                      </a:lnTo>
                      <a:lnTo>
                        <a:pt x="100071" y="24510"/>
                      </a:lnTo>
                      <a:lnTo>
                        <a:pt x="100274" y="23875"/>
                      </a:lnTo>
                      <a:lnTo>
                        <a:pt x="103475" y="22986"/>
                      </a:lnTo>
                      <a:lnTo>
                        <a:pt x="105069" y="22986"/>
                      </a:lnTo>
                      <a:lnTo>
                        <a:pt x="105215" y="20827"/>
                      </a:lnTo>
                      <a:lnTo>
                        <a:pt x="106370" y="19811"/>
                      </a:lnTo>
                      <a:lnTo>
                        <a:pt x="107712" y="16763"/>
                      </a:lnTo>
                      <a:lnTo>
                        <a:pt x="107609" y="14858"/>
                      </a:lnTo>
                      <a:lnTo>
                        <a:pt x="103564" y="14858"/>
                      </a:lnTo>
                      <a:lnTo>
                        <a:pt x="103399" y="13461"/>
                      </a:lnTo>
                      <a:lnTo>
                        <a:pt x="104351" y="13207"/>
                      </a:lnTo>
                      <a:lnTo>
                        <a:pt x="104505" y="12953"/>
                      </a:lnTo>
                      <a:close/>
                    </a:path>
                    <a:path w="109855" h="53340">
                      <a:moveTo>
                        <a:pt x="105069" y="22986"/>
                      </a:moveTo>
                      <a:lnTo>
                        <a:pt x="103475" y="22986"/>
                      </a:lnTo>
                      <a:lnTo>
                        <a:pt x="104948" y="24764"/>
                      </a:lnTo>
                      <a:lnTo>
                        <a:pt x="105069" y="22986"/>
                      </a:lnTo>
                      <a:close/>
                    </a:path>
                    <a:path w="109855" h="53340">
                      <a:moveTo>
                        <a:pt x="7726" y="22732"/>
                      </a:moveTo>
                      <a:lnTo>
                        <a:pt x="6993" y="22732"/>
                      </a:lnTo>
                      <a:lnTo>
                        <a:pt x="7336" y="23875"/>
                      </a:lnTo>
                      <a:lnTo>
                        <a:pt x="7726" y="22732"/>
                      </a:lnTo>
                      <a:close/>
                    </a:path>
                    <a:path w="109855" h="53340">
                      <a:moveTo>
                        <a:pt x="31069" y="20446"/>
                      </a:moveTo>
                      <a:lnTo>
                        <a:pt x="26437" y="20446"/>
                      </a:lnTo>
                      <a:lnTo>
                        <a:pt x="31199" y="22224"/>
                      </a:lnTo>
                      <a:lnTo>
                        <a:pt x="31069" y="20446"/>
                      </a:lnTo>
                      <a:close/>
                    </a:path>
                    <a:path w="109855" h="53340">
                      <a:moveTo>
                        <a:pt x="8072" y="21716"/>
                      </a:moveTo>
                      <a:lnTo>
                        <a:pt x="6637" y="21970"/>
                      </a:lnTo>
                      <a:lnTo>
                        <a:pt x="7986" y="21970"/>
                      </a:lnTo>
                      <a:lnTo>
                        <a:pt x="8072" y="21716"/>
                      </a:lnTo>
                      <a:close/>
                    </a:path>
                    <a:path w="109855" h="53340">
                      <a:moveTo>
                        <a:pt x="31051" y="20192"/>
                      </a:moveTo>
                      <a:lnTo>
                        <a:pt x="12479" y="20192"/>
                      </a:lnTo>
                      <a:lnTo>
                        <a:pt x="16772" y="21081"/>
                      </a:lnTo>
                      <a:lnTo>
                        <a:pt x="18956" y="21716"/>
                      </a:lnTo>
                      <a:lnTo>
                        <a:pt x="22766" y="20954"/>
                      </a:lnTo>
                      <a:lnTo>
                        <a:pt x="24113" y="20446"/>
                      </a:lnTo>
                      <a:lnTo>
                        <a:pt x="31069" y="20446"/>
                      </a:lnTo>
                      <a:lnTo>
                        <a:pt x="31051" y="20192"/>
                      </a:lnTo>
                      <a:close/>
                    </a:path>
                    <a:path w="109855" h="53340">
                      <a:moveTo>
                        <a:pt x="10155" y="20573"/>
                      </a:moveTo>
                      <a:lnTo>
                        <a:pt x="7615" y="20573"/>
                      </a:lnTo>
                      <a:lnTo>
                        <a:pt x="8606" y="20827"/>
                      </a:lnTo>
                      <a:lnTo>
                        <a:pt x="10155" y="20573"/>
                      </a:lnTo>
                      <a:close/>
                    </a:path>
                    <a:path w="109855" h="53340">
                      <a:moveTo>
                        <a:pt x="30958" y="18922"/>
                      </a:moveTo>
                      <a:lnTo>
                        <a:pt x="28075" y="19176"/>
                      </a:lnTo>
                      <a:lnTo>
                        <a:pt x="30976" y="19176"/>
                      </a:lnTo>
                      <a:lnTo>
                        <a:pt x="30958" y="18922"/>
                      </a:lnTo>
                      <a:close/>
                    </a:path>
                    <a:path w="109855" h="53340">
                      <a:moveTo>
                        <a:pt x="13610" y="15747"/>
                      </a:moveTo>
                      <a:lnTo>
                        <a:pt x="10574" y="16001"/>
                      </a:lnTo>
                      <a:lnTo>
                        <a:pt x="10511" y="17652"/>
                      </a:lnTo>
                      <a:lnTo>
                        <a:pt x="8161" y="18795"/>
                      </a:lnTo>
                      <a:lnTo>
                        <a:pt x="29374" y="18795"/>
                      </a:lnTo>
                      <a:lnTo>
                        <a:pt x="33269" y="17652"/>
                      </a:lnTo>
                      <a:lnTo>
                        <a:pt x="86647" y="17652"/>
                      </a:lnTo>
                      <a:lnTo>
                        <a:pt x="86297" y="17525"/>
                      </a:lnTo>
                      <a:lnTo>
                        <a:pt x="79053" y="17525"/>
                      </a:lnTo>
                      <a:lnTo>
                        <a:pt x="77541" y="17271"/>
                      </a:lnTo>
                      <a:lnTo>
                        <a:pt x="14676" y="17271"/>
                      </a:lnTo>
                      <a:lnTo>
                        <a:pt x="13610" y="15747"/>
                      </a:lnTo>
                      <a:close/>
                    </a:path>
                    <a:path w="109855" h="53340">
                      <a:moveTo>
                        <a:pt x="6980" y="17398"/>
                      </a:moveTo>
                      <a:lnTo>
                        <a:pt x="5024" y="17525"/>
                      </a:lnTo>
                      <a:lnTo>
                        <a:pt x="4275" y="18414"/>
                      </a:lnTo>
                      <a:lnTo>
                        <a:pt x="7839" y="18414"/>
                      </a:lnTo>
                      <a:lnTo>
                        <a:pt x="6980" y="17398"/>
                      </a:lnTo>
                      <a:close/>
                    </a:path>
                    <a:path w="109855" h="53340">
                      <a:moveTo>
                        <a:pt x="83142" y="16382"/>
                      </a:moveTo>
                      <a:lnTo>
                        <a:pt x="79840" y="16636"/>
                      </a:lnTo>
                      <a:lnTo>
                        <a:pt x="80196" y="17144"/>
                      </a:lnTo>
                      <a:lnTo>
                        <a:pt x="79053" y="17525"/>
                      </a:lnTo>
                      <a:lnTo>
                        <a:pt x="86297" y="17525"/>
                      </a:lnTo>
                      <a:lnTo>
                        <a:pt x="83142" y="16382"/>
                      </a:lnTo>
                      <a:close/>
                    </a:path>
                    <a:path w="109855" h="53340">
                      <a:moveTo>
                        <a:pt x="19731" y="14858"/>
                      </a:moveTo>
                      <a:lnTo>
                        <a:pt x="17978" y="15620"/>
                      </a:lnTo>
                      <a:lnTo>
                        <a:pt x="17115" y="16763"/>
                      </a:lnTo>
                      <a:lnTo>
                        <a:pt x="14676" y="17271"/>
                      </a:lnTo>
                      <a:lnTo>
                        <a:pt x="77541" y="17271"/>
                      </a:lnTo>
                      <a:lnTo>
                        <a:pt x="76424" y="17017"/>
                      </a:lnTo>
                      <a:lnTo>
                        <a:pt x="76735" y="16763"/>
                      </a:lnTo>
                      <a:lnTo>
                        <a:pt x="74252" y="16763"/>
                      </a:lnTo>
                      <a:lnTo>
                        <a:pt x="73820" y="16128"/>
                      </a:lnTo>
                      <a:lnTo>
                        <a:pt x="72442" y="15493"/>
                      </a:lnTo>
                      <a:lnTo>
                        <a:pt x="67013" y="15493"/>
                      </a:lnTo>
                      <a:lnTo>
                        <a:pt x="67302" y="15112"/>
                      </a:lnTo>
                      <a:lnTo>
                        <a:pt x="21014" y="15112"/>
                      </a:lnTo>
                      <a:lnTo>
                        <a:pt x="19731" y="14858"/>
                      </a:lnTo>
                      <a:close/>
                    </a:path>
                    <a:path w="109855" h="53340">
                      <a:moveTo>
                        <a:pt x="77148" y="15239"/>
                      </a:moveTo>
                      <a:lnTo>
                        <a:pt x="76906" y="16382"/>
                      </a:lnTo>
                      <a:lnTo>
                        <a:pt x="74252" y="16763"/>
                      </a:lnTo>
                      <a:lnTo>
                        <a:pt x="76735" y="16763"/>
                      </a:lnTo>
                      <a:lnTo>
                        <a:pt x="77046" y="16509"/>
                      </a:lnTo>
                      <a:lnTo>
                        <a:pt x="77846" y="16255"/>
                      </a:lnTo>
                      <a:lnTo>
                        <a:pt x="78326" y="16255"/>
                      </a:lnTo>
                      <a:lnTo>
                        <a:pt x="77148" y="15239"/>
                      </a:lnTo>
                      <a:close/>
                    </a:path>
                    <a:path w="109855" h="53340">
                      <a:moveTo>
                        <a:pt x="78326" y="16255"/>
                      </a:moveTo>
                      <a:lnTo>
                        <a:pt x="77846" y="16255"/>
                      </a:lnTo>
                      <a:lnTo>
                        <a:pt x="78621" y="16509"/>
                      </a:lnTo>
                      <a:lnTo>
                        <a:pt x="78326" y="16255"/>
                      </a:lnTo>
                      <a:close/>
                    </a:path>
                    <a:path w="109855" h="53340">
                      <a:moveTo>
                        <a:pt x="67902" y="15239"/>
                      </a:moveTo>
                      <a:lnTo>
                        <a:pt x="67013" y="15493"/>
                      </a:lnTo>
                      <a:lnTo>
                        <a:pt x="69032" y="15493"/>
                      </a:lnTo>
                      <a:lnTo>
                        <a:pt x="67902" y="15239"/>
                      </a:lnTo>
                      <a:close/>
                    </a:path>
                    <a:path w="109855" h="53340">
                      <a:moveTo>
                        <a:pt x="71064" y="14858"/>
                      </a:moveTo>
                      <a:lnTo>
                        <a:pt x="71115" y="15366"/>
                      </a:lnTo>
                      <a:lnTo>
                        <a:pt x="69032" y="15493"/>
                      </a:lnTo>
                      <a:lnTo>
                        <a:pt x="72442" y="15493"/>
                      </a:lnTo>
                      <a:lnTo>
                        <a:pt x="71064" y="14858"/>
                      </a:lnTo>
                      <a:close/>
                    </a:path>
                    <a:path w="109855" h="53340">
                      <a:moveTo>
                        <a:pt x="27694" y="12064"/>
                      </a:moveTo>
                      <a:lnTo>
                        <a:pt x="26932" y="13969"/>
                      </a:lnTo>
                      <a:lnTo>
                        <a:pt x="23681" y="14096"/>
                      </a:lnTo>
                      <a:lnTo>
                        <a:pt x="21014" y="15112"/>
                      </a:lnTo>
                      <a:lnTo>
                        <a:pt x="67302" y="15112"/>
                      </a:lnTo>
                      <a:lnTo>
                        <a:pt x="67686" y="14604"/>
                      </a:lnTo>
                      <a:lnTo>
                        <a:pt x="68664" y="14096"/>
                      </a:lnTo>
                      <a:lnTo>
                        <a:pt x="69164" y="13588"/>
                      </a:lnTo>
                      <a:lnTo>
                        <a:pt x="27834" y="13588"/>
                      </a:lnTo>
                      <a:lnTo>
                        <a:pt x="27694" y="12064"/>
                      </a:lnTo>
                      <a:close/>
                    </a:path>
                    <a:path w="109855" h="53340">
                      <a:moveTo>
                        <a:pt x="107513" y="13842"/>
                      </a:moveTo>
                      <a:lnTo>
                        <a:pt x="105418" y="14350"/>
                      </a:lnTo>
                      <a:lnTo>
                        <a:pt x="103564" y="14858"/>
                      </a:lnTo>
                      <a:lnTo>
                        <a:pt x="107609" y="14858"/>
                      </a:lnTo>
                      <a:lnTo>
                        <a:pt x="107564" y="14350"/>
                      </a:lnTo>
                      <a:lnTo>
                        <a:pt x="109431" y="13969"/>
                      </a:lnTo>
                      <a:lnTo>
                        <a:pt x="107513" y="13842"/>
                      </a:lnTo>
                      <a:close/>
                    </a:path>
                    <a:path w="109855" h="53340">
                      <a:moveTo>
                        <a:pt x="107196" y="8635"/>
                      </a:moveTo>
                      <a:lnTo>
                        <a:pt x="102903" y="9524"/>
                      </a:lnTo>
                      <a:lnTo>
                        <a:pt x="100198" y="10540"/>
                      </a:lnTo>
                      <a:lnTo>
                        <a:pt x="97849" y="13969"/>
                      </a:lnTo>
                      <a:lnTo>
                        <a:pt x="98382" y="13715"/>
                      </a:lnTo>
                      <a:lnTo>
                        <a:pt x="98916" y="13334"/>
                      </a:lnTo>
                      <a:lnTo>
                        <a:pt x="99398" y="12953"/>
                      </a:lnTo>
                      <a:lnTo>
                        <a:pt x="104505" y="12953"/>
                      </a:lnTo>
                      <a:lnTo>
                        <a:pt x="105582" y="11175"/>
                      </a:lnTo>
                      <a:lnTo>
                        <a:pt x="106790" y="9778"/>
                      </a:lnTo>
                      <a:lnTo>
                        <a:pt x="107463" y="9778"/>
                      </a:lnTo>
                      <a:lnTo>
                        <a:pt x="107196" y="8635"/>
                      </a:lnTo>
                      <a:close/>
                    </a:path>
                    <a:path w="109855" h="53340">
                      <a:moveTo>
                        <a:pt x="30145" y="12953"/>
                      </a:moveTo>
                      <a:lnTo>
                        <a:pt x="27834" y="13588"/>
                      </a:lnTo>
                      <a:lnTo>
                        <a:pt x="69164" y="13588"/>
                      </a:lnTo>
                      <a:lnTo>
                        <a:pt x="30145" y="13461"/>
                      </a:lnTo>
                      <a:lnTo>
                        <a:pt x="30145" y="12953"/>
                      </a:lnTo>
                      <a:close/>
                    </a:path>
                    <a:path w="109855" h="53340">
                      <a:moveTo>
                        <a:pt x="33345" y="10413"/>
                      </a:moveTo>
                      <a:lnTo>
                        <a:pt x="30907" y="11810"/>
                      </a:lnTo>
                      <a:lnTo>
                        <a:pt x="31085" y="12699"/>
                      </a:lnTo>
                      <a:lnTo>
                        <a:pt x="30729" y="13080"/>
                      </a:lnTo>
                      <a:lnTo>
                        <a:pt x="30145" y="13461"/>
                      </a:lnTo>
                      <a:lnTo>
                        <a:pt x="66429" y="13461"/>
                      </a:lnTo>
                      <a:lnTo>
                        <a:pt x="67191" y="12953"/>
                      </a:lnTo>
                      <a:lnTo>
                        <a:pt x="35847" y="12953"/>
                      </a:lnTo>
                      <a:lnTo>
                        <a:pt x="33345" y="10413"/>
                      </a:lnTo>
                      <a:close/>
                    </a:path>
                    <a:path w="109855" h="53340">
                      <a:moveTo>
                        <a:pt x="69413" y="13334"/>
                      </a:moveTo>
                      <a:lnTo>
                        <a:pt x="66429" y="13461"/>
                      </a:lnTo>
                      <a:lnTo>
                        <a:pt x="69289" y="13461"/>
                      </a:lnTo>
                      <a:lnTo>
                        <a:pt x="69413" y="13334"/>
                      </a:lnTo>
                      <a:close/>
                    </a:path>
                    <a:path w="109855" h="53340">
                      <a:moveTo>
                        <a:pt x="37067" y="10286"/>
                      </a:moveTo>
                      <a:lnTo>
                        <a:pt x="35847" y="12953"/>
                      </a:lnTo>
                      <a:lnTo>
                        <a:pt x="67191" y="12953"/>
                      </a:lnTo>
                      <a:lnTo>
                        <a:pt x="68715" y="11937"/>
                      </a:lnTo>
                      <a:lnTo>
                        <a:pt x="70599" y="11302"/>
                      </a:lnTo>
                      <a:lnTo>
                        <a:pt x="37702" y="11302"/>
                      </a:lnTo>
                      <a:lnTo>
                        <a:pt x="37067" y="10286"/>
                      </a:lnTo>
                      <a:close/>
                    </a:path>
                    <a:path w="109855" h="53340">
                      <a:moveTo>
                        <a:pt x="37790" y="10159"/>
                      </a:moveTo>
                      <a:lnTo>
                        <a:pt x="37702" y="11302"/>
                      </a:lnTo>
                      <a:lnTo>
                        <a:pt x="70599" y="11302"/>
                      </a:lnTo>
                      <a:lnTo>
                        <a:pt x="70976" y="11175"/>
                      </a:lnTo>
                      <a:lnTo>
                        <a:pt x="39022" y="11048"/>
                      </a:lnTo>
                      <a:lnTo>
                        <a:pt x="39200" y="10667"/>
                      </a:lnTo>
                      <a:lnTo>
                        <a:pt x="37790" y="10159"/>
                      </a:lnTo>
                      <a:close/>
                    </a:path>
                    <a:path w="109855" h="53340">
                      <a:moveTo>
                        <a:pt x="42439" y="10032"/>
                      </a:moveTo>
                      <a:lnTo>
                        <a:pt x="41346" y="10286"/>
                      </a:lnTo>
                      <a:lnTo>
                        <a:pt x="40267" y="11048"/>
                      </a:lnTo>
                      <a:lnTo>
                        <a:pt x="71043" y="11048"/>
                      </a:lnTo>
                      <a:lnTo>
                        <a:pt x="71514" y="10159"/>
                      </a:lnTo>
                      <a:lnTo>
                        <a:pt x="43251" y="10159"/>
                      </a:lnTo>
                      <a:lnTo>
                        <a:pt x="42439" y="10032"/>
                      </a:lnTo>
                      <a:close/>
                    </a:path>
                    <a:path w="109855" h="53340">
                      <a:moveTo>
                        <a:pt x="105735" y="10921"/>
                      </a:moveTo>
                      <a:lnTo>
                        <a:pt x="105608" y="11048"/>
                      </a:lnTo>
                      <a:lnTo>
                        <a:pt x="105735" y="10921"/>
                      </a:lnTo>
                      <a:close/>
                    </a:path>
                    <a:path w="109855" h="53340">
                      <a:moveTo>
                        <a:pt x="48852" y="7873"/>
                      </a:moveTo>
                      <a:lnTo>
                        <a:pt x="47519" y="8254"/>
                      </a:lnTo>
                      <a:lnTo>
                        <a:pt x="46325" y="8762"/>
                      </a:lnTo>
                      <a:lnTo>
                        <a:pt x="45233" y="9651"/>
                      </a:lnTo>
                      <a:lnTo>
                        <a:pt x="43251" y="10159"/>
                      </a:lnTo>
                      <a:lnTo>
                        <a:pt x="71514" y="10159"/>
                      </a:lnTo>
                      <a:lnTo>
                        <a:pt x="71649" y="9905"/>
                      </a:lnTo>
                      <a:lnTo>
                        <a:pt x="74011" y="8635"/>
                      </a:lnTo>
                      <a:lnTo>
                        <a:pt x="75865" y="8127"/>
                      </a:lnTo>
                      <a:lnTo>
                        <a:pt x="76033" y="8000"/>
                      </a:lnTo>
                      <a:lnTo>
                        <a:pt x="50427" y="8000"/>
                      </a:lnTo>
                      <a:lnTo>
                        <a:pt x="48852" y="7873"/>
                      </a:lnTo>
                      <a:close/>
                    </a:path>
                    <a:path w="109855" h="53340">
                      <a:moveTo>
                        <a:pt x="107463" y="9778"/>
                      </a:moveTo>
                      <a:lnTo>
                        <a:pt x="106790" y="9778"/>
                      </a:lnTo>
                      <a:lnTo>
                        <a:pt x="107552" y="10159"/>
                      </a:lnTo>
                      <a:lnTo>
                        <a:pt x="107463" y="9778"/>
                      </a:lnTo>
                      <a:close/>
                    </a:path>
                    <a:path w="109855" h="53340">
                      <a:moveTo>
                        <a:pt x="52535" y="6095"/>
                      </a:moveTo>
                      <a:lnTo>
                        <a:pt x="51786" y="6476"/>
                      </a:lnTo>
                      <a:lnTo>
                        <a:pt x="52014" y="7238"/>
                      </a:lnTo>
                      <a:lnTo>
                        <a:pt x="50427" y="8000"/>
                      </a:lnTo>
                      <a:lnTo>
                        <a:pt x="76033" y="8000"/>
                      </a:lnTo>
                      <a:lnTo>
                        <a:pt x="76538" y="7619"/>
                      </a:lnTo>
                      <a:lnTo>
                        <a:pt x="77910" y="7111"/>
                      </a:lnTo>
                      <a:lnTo>
                        <a:pt x="79866" y="7111"/>
                      </a:lnTo>
                      <a:lnTo>
                        <a:pt x="80907" y="6603"/>
                      </a:lnTo>
                      <a:lnTo>
                        <a:pt x="81203" y="6349"/>
                      </a:lnTo>
                      <a:lnTo>
                        <a:pt x="52967" y="6349"/>
                      </a:lnTo>
                      <a:lnTo>
                        <a:pt x="52535" y="6095"/>
                      </a:lnTo>
                      <a:close/>
                    </a:path>
                    <a:path w="109855" h="53340">
                      <a:moveTo>
                        <a:pt x="79866" y="7111"/>
                      </a:moveTo>
                      <a:lnTo>
                        <a:pt x="77910" y="7111"/>
                      </a:lnTo>
                      <a:lnTo>
                        <a:pt x="79345" y="7365"/>
                      </a:lnTo>
                      <a:lnTo>
                        <a:pt x="79866" y="7111"/>
                      </a:lnTo>
                      <a:close/>
                    </a:path>
                    <a:path w="109855" h="53340">
                      <a:moveTo>
                        <a:pt x="72944" y="0"/>
                      </a:moveTo>
                      <a:lnTo>
                        <a:pt x="69198" y="1396"/>
                      </a:lnTo>
                      <a:lnTo>
                        <a:pt x="68220" y="1650"/>
                      </a:lnTo>
                      <a:lnTo>
                        <a:pt x="64016" y="2285"/>
                      </a:lnTo>
                      <a:lnTo>
                        <a:pt x="61400" y="4063"/>
                      </a:lnTo>
                      <a:lnTo>
                        <a:pt x="56459" y="4190"/>
                      </a:lnTo>
                      <a:lnTo>
                        <a:pt x="54453" y="5587"/>
                      </a:lnTo>
                      <a:lnTo>
                        <a:pt x="53856" y="5841"/>
                      </a:lnTo>
                      <a:lnTo>
                        <a:pt x="52967" y="6349"/>
                      </a:lnTo>
                      <a:lnTo>
                        <a:pt x="81203" y="6349"/>
                      </a:lnTo>
                      <a:lnTo>
                        <a:pt x="81796" y="5841"/>
                      </a:lnTo>
                      <a:lnTo>
                        <a:pt x="84361" y="4444"/>
                      </a:lnTo>
                      <a:lnTo>
                        <a:pt x="86470" y="4444"/>
                      </a:lnTo>
                      <a:lnTo>
                        <a:pt x="88146" y="3555"/>
                      </a:lnTo>
                      <a:lnTo>
                        <a:pt x="86114" y="3174"/>
                      </a:lnTo>
                      <a:lnTo>
                        <a:pt x="73147" y="1142"/>
                      </a:lnTo>
                      <a:lnTo>
                        <a:pt x="73147" y="126"/>
                      </a:lnTo>
                      <a:lnTo>
                        <a:pt x="72944" y="0"/>
                      </a:lnTo>
                      <a:close/>
                    </a:path>
                    <a:path w="109855" h="53340">
                      <a:moveTo>
                        <a:pt x="56726" y="3936"/>
                      </a:moveTo>
                      <a:lnTo>
                        <a:pt x="56376" y="4190"/>
                      </a:lnTo>
                      <a:lnTo>
                        <a:pt x="56726" y="3936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43" name="object 83">
                  <a:extLst>
                    <a:ext uri="{FF2B5EF4-FFF2-40B4-BE49-F238E27FC236}">
                      <a16:creationId xmlns:a16="http://schemas.microsoft.com/office/drawing/2014/main" id="{92C9DD10-B4B8-1E23-4EB9-458DB7FDD445}"/>
                    </a:ext>
                  </a:extLst>
                </p:cNvPr>
                <p:cNvSpPr/>
                <p:nvPr/>
              </p:nvSpPr>
              <p:spPr>
                <a:xfrm>
                  <a:off x="1591513" y="2203399"/>
                  <a:ext cx="50800" cy="7226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00" h="722630">
                      <a:moveTo>
                        <a:pt x="8318" y="716153"/>
                      </a:moveTo>
                      <a:lnTo>
                        <a:pt x="5168" y="714095"/>
                      </a:lnTo>
                      <a:lnTo>
                        <a:pt x="3314" y="714260"/>
                      </a:lnTo>
                      <a:lnTo>
                        <a:pt x="1841" y="714870"/>
                      </a:lnTo>
                      <a:lnTo>
                        <a:pt x="0" y="722426"/>
                      </a:lnTo>
                      <a:lnTo>
                        <a:pt x="8318" y="716153"/>
                      </a:lnTo>
                      <a:close/>
                    </a:path>
                    <a:path w="50800" h="722630">
                      <a:moveTo>
                        <a:pt x="50203" y="203"/>
                      </a:moveTo>
                      <a:lnTo>
                        <a:pt x="49923" y="330"/>
                      </a:lnTo>
                      <a:lnTo>
                        <a:pt x="48437" y="1155"/>
                      </a:lnTo>
                      <a:lnTo>
                        <a:pt x="46634" y="1333"/>
                      </a:lnTo>
                      <a:lnTo>
                        <a:pt x="46418" y="1409"/>
                      </a:lnTo>
                      <a:lnTo>
                        <a:pt x="46456" y="1143"/>
                      </a:lnTo>
                      <a:lnTo>
                        <a:pt x="46558" y="876"/>
                      </a:lnTo>
                      <a:lnTo>
                        <a:pt x="46926" y="635"/>
                      </a:lnTo>
                      <a:lnTo>
                        <a:pt x="46990" y="0"/>
                      </a:lnTo>
                      <a:lnTo>
                        <a:pt x="45681" y="25"/>
                      </a:lnTo>
                      <a:lnTo>
                        <a:pt x="45072" y="63"/>
                      </a:lnTo>
                      <a:lnTo>
                        <a:pt x="43865" y="88"/>
                      </a:lnTo>
                      <a:lnTo>
                        <a:pt x="43688" y="177"/>
                      </a:lnTo>
                      <a:lnTo>
                        <a:pt x="43510" y="88"/>
                      </a:lnTo>
                      <a:lnTo>
                        <a:pt x="41160" y="165"/>
                      </a:lnTo>
                      <a:lnTo>
                        <a:pt x="40246" y="673"/>
                      </a:lnTo>
                      <a:lnTo>
                        <a:pt x="40005" y="787"/>
                      </a:lnTo>
                      <a:lnTo>
                        <a:pt x="39230" y="2070"/>
                      </a:lnTo>
                      <a:lnTo>
                        <a:pt x="39687" y="1968"/>
                      </a:lnTo>
                      <a:lnTo>
                        <a:pt x="40106" y="1930"/>
                      </a:lnTo>
                      <a:lnTo>
                        <a:pt x="40360" y="1930"/>
                      </a:lnTo>
                      <a:lnTo>
                        <a:pt x="40360" y="2133"/>
                      </a:lnTo>
                      <a:lnTo>
                        <a:pt x="40055" y="2298"/>
                      </a:lnTo>
                      <a:lnTo>
                        <a:pt x="40055" y="2501"/>
                      </a:lnTo>
                      <a:lnTo>
                        <a:pt x="40208" y="2578"/>
                      </a:lnTo>
                      <a:lnTo>
                        <a:pt x="40690" y="2933"/>
                      </a:lnTo>
                      <a:lnTo>
                        <a:pt x="40957" y="2984"/>
                      </a:lnTo>
                      <a:lnTo>
                        <a:pt x="41071" y="3200"/>
                      </a:lnTo>
                      <a:lnTo>
                        <a:pt x="41275" y="3276"/>
                      </a:lnTo>
                      <a:lnTo>
                        <a:pt x="42037" y="3200"/>
                      </a:lnTo>
                      <a:lnTo>
                        <a:pt x="43383" y="2730"/>
                      </a:lnTo>
                      <a:lnTo>
                        <a:pt x="44107" y="3022"/>
                      </a:lnTo>
                      <a:lnTo>
                        <a:pt x="44386" y="2997"/>
                      </a:lnTo>
                      <a:lnTo>
                        <a:pt x="44411" y="3124"/>
                      </a:lnTo>
                      <a:lnTo>
                        <a:pt x="44170" y="3276"/>
                      </a:lnTo>
                      <a:lnTo>
                        <a:pt x="43840" y="3403"/>
                      </a:lnTo>
                      <a:lnTo>
                        <a:pt x="43865" y="3632"/>
                      </a:lnTo>
                      <a:lnTo>
                        <a:pt x="43980" y="3771"/>
                      </a:lnTo>
                      <a:lnTo>
                        <a:pt x="44170" y="3822"/>
                      </a:lnTo>
                      <a:lnTo>
                        <a:pt x="45072" y="3683"/>
                      </a:lnTo>
                      <a:lnTo>
                        <a:pt x="45186" y="3822"/>
                      </a:lnTo>
                      <a:lnTo>
                        <a:pt x="44818" y="4267"/>
                      </a:lnTo>
                      <a:lnTo>
                        <a:pt x="44831" y="4432"/>
                      </a:lnTo>
                      <a:lnTo>
                        <a:pt x="44958" y="4521"/>
                      </a:lnTo>
                      <a:lnTo>
                        <a:pt x="45199" y="4572"/>
                      </a:lnTo>
                      <a:lnTo>
                        <a:pt x="45326" y="4559"/>
                      </a:lnTo>
                      <a:lnTo>
                        <a:pt x="45669" y="4572"/>
                      </a:lnTo>
                      <a:lnTo>
                        <a:pt x="45783" y="4724"/>
                      </a:lnTo>
                      <a:lnTo>
                        <a:pt x="45974" y="4800"/>
                      </a:lnTo>
                      <a:lnTo>
                        <a:pt x="46253" y="4559"/>
                      </a:lnTo>
                      <a:lnTo>
                        <a:pt x="47167" y="3683"/>
                      </a:lnTo>
                      <a:lnTo>
                        <a:pt x="47802" y="2997"/>
                      </a:lnTo>
                      <a:lnTo>
                        <a:pt x="48044" y="2730"/>
                      </a:lnTo>
                      <a:lnTo>
                        <a:pt x="48628" y="2095"/>
                      </a:lnTo>
                      <a:lnTo>
                        <a:pt x="49466" y="1143"/>
                      </a:lnTo>
                      <a:lnTo>
                        <a:pt x="48488" y="1155"/>
                      </a:lnTo>
                      <a:lnTo>
                        <a:pt x="47307" y="1778"/>
                      </a:lnTo>
                      <a:lnTo>
                        <a:pt x="48488" y="1143"/>
                      </a:lnTo>
                      <a:lnTo>
                        <a:pt x="49466" y="1143"/>
                      </a:lnTo>
                      <a:lnTo>
                        <a:pt x="50203" y="203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44" name="object 84">
                  <a:extLst>
                    <a:ext uri="{FF2B5EF4-FFF2-40B4-BE49-F238E27FC236}">
                      <a16:creationId xmlns:a16="http://schemas.microsoft.com/office/drawing/2014/main" id="{00347E3F-3F73-3622-B770-C24721B01178}"/>
                    </a:ext>
                  </a:extLst>
                </p:cNvPr>
                <p:cNvSpPr/>
                <p:nvPr/>
              </p:nvSpPr>
              <p:spPr>
                <a:xfrm>
                  <a:off x="1683379" y="2252435"/>
                  <a:ext cx="635" cy="25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" h="2539">
                      <a:moveTo>
                        <a:pt x="165" y="1943"/>
                      </a:moveTo>
                      <a:lnTo>
                        <a:pt x="25" y="647"/>
                      </a:lnTo>
                      <a:lnTo>
                        <a:pt x="0" y="0"/>
                      </a:lnTo>
                      <a:lnTo>
                        <a:pt x="25" y="647"/>
                      </a:lnTo>
                      <a:lnTo>
                        <a:pt x="165" y="1943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45" name="object 85">
                  <a:extLst>
                    <a:ext uri="{FF2B5EF4-FFF2-40B4-BE49-F238E27FC236}">
                      <a16:creationId xmlns:a16="http://schemas.microsoft.com/office/drawing/2014/main" id="{E5EA29E5-9FB1-6FF8-ACEB-024CBF925DF7}"/>
                    </a:ext>
                  </a:extLst>
                </p:cNvPr>
                <p:cNvSpPr/>
                <p:nvPr/>
              </p:nvSpPr>
              <p:spPr>
                <a:xfrm>
                  <a:off x="2634030" y="1359788"/>
                  <a:ext cx="2766060" cy="16884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66060" h="1688464">
                      <a:moveTo>
                        <a:pt x="1955" y="601103"/>
                      </a:moveTo>
                      <a:lnTo>
                        <a:pt x="1498" y="600862"/>
                      </a:lnTo>
                      <a:lnTo>
                        <a:pt x="952" y="600532"/>
                      </a:lnTo>
                      <a:lnTo>
                        <a:pt x="431" y="600417"/>
                      </a:lnTo>
                      <a:lnTo>
                        <a:pt x="330" y="600837"/>
                      </a:lnTo>
                      <a:lnTo>
                        <a:pt x="431" y="601370"/>
                      </a:lnTo>
                      <a:lnTo>
                        <a:pt x="431" y="601802"/>
                      </a:lnTo>
                      <a:lnTo>
                        <a:pt x="927" y="601713"/>
                      </a:lnTo>
                      <a:lnTo>
                        <a:pt x="1612" y="601383"/>
                      </a:lnTo>
                      <a:lnTo>
                        <a:pt x="1955" y="601103"/>
                      </a:lnTo>
                      <a:close/>
                    </a:path>
                    <a:path w="2766060" h="1688464">
                      <a:moveTo>
                        <a:pt x="5880" y="593890"/>
                      </a:moveTo>
                      <a:lnTo>
                        <a:pt x="3810" y="594804"/>
                      </a:lnTo>
                      <a:lnTo>
                        <a:pt x="2032" y="592975"/>
                      </a:lnTo>
                      <a:lnTo>
                        <a:pt x="2794" y="593255"/>
                      </a:lnTo>
                      <a:lnTo>
                        <a:pt x="3568" y="593725"/>
                      </a:lnTo>
                      <a:lnTo>
                        <a:pt x="4330" y="593826"/>
                      </a:lnTo>
                      <a:lnTo>
                        <a:pt x="3492" y="592975"/>
                      </a:lnTo>
                      <a:lnTo>
                        <a:pt x="3111" y="592582"/>
                      </a:lnTo>
                      <a:lnTo>
                        <a:pt x="1765" y="591515"/>
                      </a:lnTo>
                      <a:lnTo>
                        <a:pt x="990" y="596976"/>
                      </a:lnTo>
                      <a:lnTo>
                        <a:pt x="1460" y="598170"/>
                      </a:lnTo>
                      <a:lnTo>
                        <a:pt x="4305" y="598754"/>
                      </a:lnTo>
                      <a:lnTo>
                        <a:pt x="3416" y="598131"/>
                      </a:lnTo>
                      <a:lnTo>
                        <a:pt x="2857" y="597738"/>
                      </a:lnTo>
                      <a:lnTo>
                        <a:pt x="2908" y="597611"/>
                      </a:lnTo>
                      <a:lnTo>
                        <a:pt x="3479" y="596099"/>
                      </a:lnTo>
                      <a:lnTo>
                        <a:pt x="2628" y="595922"/>
                      </a:lnTo>
                      <a:lnTo>
                        <a:pt x="4419" y="594804"/>
                      </a:lnTo>
                      <a:lnTo>
                        <a:pt x="5880" y="593890"/>
                      </a:lnTo>
                      <a:close/>
                    </a:path>
                    <a:path w="2766060" h="1688464">
                      <a:moveTo>
                        <a:pt x="6540" y="587781"/>
                      </a:moveTo>
                      <a:lnTo>
                        <a:pt x="4521" y="587540"/>
                      </a:lnTo>
                      <a:lnTo>
                        <a:pt x="2463" y="587641"/>
                      </a:lnTo>
                      <a:lnTo>
                        <a:pt x="431" y="587616"/>
                      </a:lnTo>
                      <a:lnTo>
                        <a:pt x="0" y="589089"/>
                      </a:lnTo>
                      <a:lnTo>
                        <a:pt x="1981" y="589292"/>
                      </a:lnTo>
                      <a:lnTo>
                        <a:pt x="2971" y="589686"/>
                      </a:lnTo>
                      <a:lnTo>
                        <a:pt x="3454" y="589876"/>
                      </a:lnTo>
                      <a:lnTo>
                        <a:pt x="3441" y="590473"/>
                      </a:lnTo>
                      <a:lnTo>
                        <a:pt x="2895" y="590232"/>
                      </a:lnTo>
                      <a:lnTo>
                        <a:pt x="1866" y="591058"/>
                      </a:lnTo>
                      <a:lnTo>
                        <a:pt x="2324" y="591654"/>
                      </a:lnTo>
                      <a:lnTo>
                        <a:pt x="2946" y="592074"/>
                      </a:lnTo>
                      <a:lnTo>
                        <a:pt x="3530" y="592543"/>
                      </a:lnTo>
                      <a:lnTo>
                        <a:pt x="5156" y="591185"/>
                      </a:lnTo>
                      <a:lnTo>
                        <a:pt x="3568" y="590524"/>
                      </a:lnTo>
                      <a:lnTo>
                        <a:pt x="5956" y="589991"/>
                      </a:lnTo>
                      <a:lnTo>
                        <a:pt x="5715" y="588911"/>
                      </a:lnTo>
                      <a:lnTo>
                        <a:pt x="6540" y="587781"/>
                      </a:lnTo>
                      <a:close/>
                    </a:path>
                    <a:path w="2766060" h="1688464">
                      <a:moveTo>
                        <a:pt x="10083" y="611428"/>
                      </a:moveTo>
                      <a:lnTo>
                        <a:pt x="9131" y="612140"/>
                      </a:lnTo>
                      <a:lnTo>
                        <a:pt x="10083" y="611466"/>
                      </a:lnTo>
                      <a:close/>
                    </a:path>
                    <a:path w="2766060" h="1688464">
                      <a:moveTo>
                        <a:pt x="11404" y="610514"/>
                      </a:moveTo>
                      <a:lnTo>
                        <a:pt x="10160" y="610412"/>
                      </a:lnTo>
                      <a:lnTo>
                        <a:pt x="10083" y="611428"/>
                      </a:lnTo>
                      <a:lnTo>
                        <a:pt x="10617" y="611009"/>
                      </a:lnTo>
                      <a:lnTo>
                        <a:pt x="11404" y="610514"/>
                      </a:lnTo>
                      <a:close/>
                    </a:path>
                    <a:path w="2766060" h="1688464">
                      <a:moveTo>
                        <a:pt x="12052" y="583628"/>
                      </a:moveTo>
                      <a:lnTo>
                        <a:pt x="10287" y="582244"/>
                      </a:lnTo>
                      <a:lnTo>
                        <a:pt x="8382" y="581609"/>
                      </a:lnTo>
                      <a:lnTo>
                        <a:pt x="7810" y="582980"/>
                      </a:lnTo>
                      <a:lnTo>
                        <a:pt x="6540" y="584009"/>
                      </a:lnTo>
                      <a:lnTo>
                        <a:pt x="6362" y="583819"/>
                      </a:lnTo>
                      <a:lnTo>
                        <a:pt x="5956" y="583615"/>
                      </a:lnTo>
                      <a:lnTo>
                        <a:pt x="6045" y="583946"/>
                      </a:lnTo>
                      <a:lnTo>
                        <a:pt x="7264" y="585609"/>
                      </a:lnTo>
                      <a:lnTo>
                        <a:pt x="9347" y="586003"/>
                      </a:lnTo>
                      <a:lnTo>
                        <a:pt x="12052" y="583628"/>
                      </a:lnTo>
                      <a:close/>
                    </a:path>
                    <a:path w="2766060" h="1688464">
                      <a:moveTo>
                        <a:pt x="13550" y="578269"/>
                      </a:moveTo>
                      <a:lnTo>
                        <a:pt x="13360" y="578370"/>
                      </a:lnTo>
                      <a:lnTo>
                        <a:pt x="13538" y="578383"/>
                      </a:lnTo>
                      <a:close/>
                    </a:path>
                    <a:path w="2766060" h="1688464">
                      <a:moveTo>
                        <a:pt x="15392" y="607250"/>
                      </a:moveTo>
                      <a:lnTo>
                        <a:pt x="14249" y="607961"/>
                      </a:lnTo>
                      <a:lnTo>
                        <a:pt x="13246" y="608901"/>
                      </a:lnTo>
                      <a:lnTo>
                        <a:pt x="12204" y="609765"/>
                      </a:lnTo>
                      <a:lnTo>
                        <a:pt x="13487" y="609447"/>
                      </a:lnTo>
                      <a:lnTo>
                        <a:pt x="14897" y="608418"/>
                      </a:lnTo>
                      <a:lnTo>
                        <a:pt x="15392" y="607250"/>
                      </a:lnTo>
                      <a:close/>
                    </a:path>
                    <a:path w="2766060" h="1688464">
                      <a:moveTo>
                        <a:pt x="16738" y="579501"/>
                      </a:moveTo>
                      <a:lnTo>
                        <a:pt x="15697" y="578866"/>
                      </a:lnTo>
                      <a:lnTo>
                        <a:pt x="14401" y="578218"/>
                      </a:lnTo>
                      <a:lnTo>
                        <a:pt x="13538" y="578383"/>
                      </a:lnTo>
                      <a:lnTo>
                        <a:pt x="13462" y="578866"/>
                      </a:lnTo>
                      <a:lnTo>
                        <a:pt x="13398" y="581063"/>
                      </a:lnTo>
                      <a:lnTo>
                        <a:pt x="13512" y="582498"/>
                      </a:lnTo>
                      <a:lnTo>
                        <a:pt x="16408" y="579767"/>
                      </a:lnTo>
                      <a:lnTo>
                        <a:pt x="16738" y="579501"/>
                      </a:lnTo>
                      <a:close/>
                    </a:path>
                    <a:path w="2766060" h="1688464">
                      <a:moveTo>
                        <a:pt x="20167" y="574827"/>
                      </a:moveTo>
                      <a:lnTo>
                        <a:pt x="19291" y="573087"/>
                      </a:lnTo>
                      <a:lnTo>
                        <a:pt x="19024" y="570992"/>
                      </a:lnTo>
                      <a:lnTo>
                        <a:pt x="19621" y="569722"/>
                      </a:lnTo>
                      <a:lnTo>
                        <a:pt x="15684" y="570699"/>
                      </a:lnTo>
                      <a:lnTo>
                        <a:pt x="14401" y="572249"/>
                      </a:lnTo>
                      <a:lnTo>
                        <a:pt x="12547" y="573087"/>
                      </a:lnTo>
                      <a:lnTo>
                        <a:pt x="12217" y="572935"/>
                      </a:lnTo>
                      <a:lnTo>
                        <a:pt x="10325" y="573976"/>
                      </a:lnTo>
                      <a:lnTo>
                        <a:pt x="9525" y="576033"/>
                      </a:lnTo>
                      <a:lnTo>
                        <a:pt x="8458" y="576135"/>
                      </a:lnTo>
                      <a:lnTo>
                        <a:pt x="8775" y="576097"/>
                      </a:lnTo>
                      <a:lnTo>
                        <a:pt x="7772" y="574941"/>
                      </a:lnTo>
                      <a:lnTo>
                        <a:pt x="5372" y="575830"/>
                      </a:lnTo>
                      <a:lnTo>
                        <a:pt x="5295" y="576135"/>
                      </a:lnTo>
                      <a:lnTo>
                        <a:pt x="6934" y="579208"/>
                      </a:lnTo>
                      <a:lnTo>
                        <a:pt x="5994" y="580339"/>
                      </a:lnTo>
                      <a:lnTo>
                        <a:pt x="7340" y="581063"/>
                      </a:lnTo>
                      <a:lnTo>
                        <a:pt x="8813" y="581583"/>
                      </a:lnTo>
                      <a:lnTo>
                        <a:pt x="10236" y="582168"/>
                      </a:lnTo>
                      <a:lnTo>
                        <a:pt x="11620" y="582536"/>
                      </a:lnTo>
                      <a:lnTo>
                        <a:pt x="12331" y="582574"/>
                      </a:lnTo>
                      <a:lnTo>
                        <a:pt x="11696" y="580771"/>
                      </a:lnTo>
                      <a:lnTo>
                        <a:pt x="10477" y="580542"/>
                      </a:lnTo>
                      <a:lnTo>
                        <a:pt x="13246" y="578459"/>
                      </a:lnTo>
                      <a:lnTo>
                        <a:pt x="13563" y="578218"/>
                      </a:lnTo>
                      <a:lnTo>
                        <a:pt x="14516" y="577786"/>
                      </a:lnTo>
                      <a:lnTo>
                        <a:pt x="17399" y="577938"/>
                      </a:lnTo>
                      <a:lnTo>
                        <a:pt x="17322" y="577786"/>
                      </a:lnTo>
                      <a:lnTo>
                        <a:pt x="16522" y="576135"/>
                      </a:lnTo>
                      <a:lnTo>
                        <a:pt x="16370" y="575830"/>
                      </a:lnTo>
                      <a:lnTo>
                        <a:pt x="17335" y="576135"/>
                      </a:lnTo>
                      <a:lnTo>
                        <a:pt x="18808" y="576643"/>
                      </a:lnTo>
                      <a:lnTo>
                        <a:pt x="19418" y="575830"/>
                      </a:lnTo>
                      <a:lnTo>
                        <a:pt x="20167" y="574827"/>
                      </a:lnTo>
                      <a:close/>
                    </a:path>
                    <a:path w="2766060" h="1688464">
                      <a:moveTo>
                        <a:pt x="20307" y="599274"/>
                      </a:moveTo>
                      <a:lnTo>
                        <a:pt x="13068" y="598665"/>
                      </a:lnTo>
                      <a:lnTo>
                        <a:pt x="17360" y="602043"/>
                      </a:lnTo>
                      <a:lnTo>
                        <a:pt x="20307" y="599274"/>
                      </a:lnTo>
                      <a:close/>
                    </a:path>
                    <a:path w="2766060" h="1688464">
                      <a:moveTo>
                        <a:pt x="21501" y="625322"/>
                      </a:moveTo>
                      <a:lnTo>
                        <a:pt x="20040" y="624078"/>
                      </a:lnTo>
                      <a:lnTo>
                        <a:pt x="20142" y="622452"/>
                      </a:lnTo>
                      <a:lnTo>
                        <a:pt x="19037" y="622782"/>
                      </a:lnTo>
                      <a:lnTo>
                        <a:pt x="17602" y="623430"/>
                      </a:lnTo>
                      <a:lnTo>
                        <a:pt x="17157" y="624497"/>
                      </a:lnTo>
                      <a:lnTo>
                        <a:pt x="17208" y="624154"/>
                      </a:lnTo>
                      <a:lnTo>
                        <a:pt x="17094" y="623684"/>
                      </a:lnTo>
                      <a:lnTo>
                        <a:pt x="17106" y="623354"/>
                      </a:lnTo>
                      <a:lnTo>
                        <a:pt x="16522" y="623722"/>
                      </a:lnTo>
                      <a:lnTo>
                        <a:pt x="14706" y="624141"/>
                      </a:lnTo>
                      <a:lnTo>
                        <a:pt x="15748" y="625868"/>
                      </a:lnTo>
                      <a:lnTo>
                        <a:pt x="17348" y="624992"/>
                      </a:lnTo>
                      <a:lnTo>
                        <a:pt x="18630" y="626160"/>
                      </a:lnTo>
                      <a:lnTo>
                        <a:pt x="18034" y="628573"/>
                      </a:lnTo>
                      <a:lnTo>
                        <a:pt x="17970" y="629602"/>
                      </a:lnTo>
                      <a:lnTo>
                        <a:pt x="19113" y="628332"/>
                      </a:lnTo>
                      <a:lnTo>
                        <a:pt x="21361" y="628599"/>
                      </a:lnTo>
                      <a:lnTo>
                        <a:pt x="21437" y="626808"/>
                      </a:lnTo>
                      <a:lnTo>
                        <a:pt x="21501" y="625322"/>
                      </a:lnTo>
                      <a:close/>
                    </a:path>
                    <a:path w="2766060" h="1688464">
                      <a:moveTo>
                        <a:pt x="26606" y="618871"/>
                      </a:moveTo>
                      <a:lnTo>
                        <a:pt x="26123" y="617880"/>
                      </a:lnTo>
                      <a:lnTo>
                        <a:pt x="23660" y="619518"/>
                      </a:lnTo>
                      <a:lnTo>
                        <a:pt x="20878" y="621906"/>
                      </a:lnTo>
                      <a:lnTo>
                        <a:pt x="20739" y="622795"/>
                      </a:lnTo>
                      <a:lnTo>
                        <a:pt x="22301" y="625284"/>
                      </a:lnTo>
                      <a:lnTo>
                        <a:pt x="23456" y="623468"/>
                      </a:lnTo>
                      <a:lnTo>
                        <a:pt x="24828" y="621487"/>
                      </a:lnTo>
                      <a:lnTo>
                        <a:pt x="25717" y="619506"/>
                      </a:lnTo>
                      <a:lnTo>
                        <a:pt x="25882" y="619150"/>
                      </a:lnTo>
                      <a:lnTo>
                        <a:pt x="26606" y="618871"/>
                      </a:lnTo>
                      <a:close/>
                    </a:path>
                    <a:path w="2766060" h="1688464">
                      <a:moveTo>
                        <a:pt x="63093" y="642937"/>
                      </a:moveTo>
                      <a:lnTo>
                        <a:pt x="60286" y="641667"/>
                      </a:lnTo>
                      <a:lnTo>
                        <a:pt x="60261" y="642937"/>
                      </a:lnTo>
                      <a:lnTo>
                        <a:pt x="63093" y="642937"/>
                      </a:lnTo>
                      <a:close/>
                    </a:path>
                    <a:path w="2766060" h="1688464">
                      <a:moveTo>
                        <a:pt x="64630" y="566737"/>
                      </a:moveTo>
                      <a:lnTo>
                        <a:pt x="58737" y="566737"/>
                      </a:lnTo>
                      <a:lnTo>
                        <a:pt x="58458" y="568007"/>
                      </a:lnTo>
                      <a:lnTo>
                        <a:pt x="54876" y="568007"/>
                      </a:lnTo>
                      <a:lnTo>
                        <a:pt x="50711" y="570547"/>
                      </a:lnTo>
                      <a:lnTo>
                        <a:pt x="50190" y="568007"/>
                      </a:lnTo>
                      <a:lnTo>
                        <a:pt x="48564" y="570547"/>
                      </a:lnTo>
                      <a:lnTo>
                        <a:pt x="45504" y="569277"/>
                      </a:lnTo>
                      <a:lnTo>
                        <a:pt x="43497" y="571817"/>
                      </a:lnTo>
                      <a:lnTo>
                        <a:pt x="44030" y="570547"/>
                      </a:lnTo>
                      <a:lnTo>
                        <a:pt x="44742" y="569277"/>
                      </a:lnTo>
                      <a:lnTo>
                        <a:pt x="41656" y="568007"/>
                      </a:lnTo>
                      <a:lnTo>
                        <a:pt x="41046" y="570547"/>
                      </a:lnTo>
                      <a:lnTo>
                        <a:pt x="39636" y="571817"/>
                      </a:lnTo>
                      <a:lnTo>
                        <a:pt x="40055" y="570547"/>
                      </a:lnTo>
                      <a:lnTo>
                        <a:pt x="40995" y="569277"/>
                      </a:lnTo>
                      <a:lnTo>
                        <a:pt x="40436" y="568007"/>
                      </a:lnTo>
                      <a:lnTo>
                        <a:pt x="39243" y="568007"/>
                      </a:lnTo>
                      <a:lnTo>
                        <a:pt x="38823" y="569277"/>
                      </a:lnTo>
                      <a:lnTo>
                        <a:pt x="38633" y="568007"/>
                      </a:lnTo>
                      <a:lnTo>
                        <a:pt x="35509" y="568007"/>
                      </a:lnTo>
                      <a:lnTo>
                        <a:pt x="34810" y="570547"/>
                      </a:lnTo>
                      <a:lnTo>
                        <a:pt x="33591" y="574357"/>
                      </a:lnTo>
                      <a:lnTo>
                        <a:pt x="34975" y="575627"/>
                      </a:lnTo>
                      <a:lnTo>
                        <a:pt x="31013" y="575627"/>
                      </a:lnTo>
                      <a:lnTo>
                        <a:pt x="31661" y="576897"/>
                      </a:lnTo>
                      <a:lnTo>
                        <a:pt x="32613" y="578167"/>
                      </a:lnTo>
                      <a:lnTo>
                        <a:pt x="55105" y="578167"/>
                      </a:lnTo>
                      <a:lnTo>
                        <a:pt x="57759" y="576897"/>
                      </a:lnTo>
                      <a:lnTo>
                        <a:pt x="59182" y="575627"/>
                      </a:lnTo>
                      <a:lnTo>
                        <a:pt x="63385" y="573087"/>
                      </a:lnTo>
                      <a:lnTo>
                        <a:pt x="63538" y="571817"/>
                      </a:lnTo>
                      <a:lnTo>
                        <a:pt x="63690" y="570547"/>
                      </a:lnTo>
                      <a:lnTo>
                        <a:pt x="64630" y="566737"/>
                      </a:lnTo>
                      <a:close/>
                    </a:path>
                    <a:path w="2766060" h="1688464">
                      <a:moveTo>
                        <a:pt x="71386" y="560070"/>
                      </a:moveTo>
                      <a:lnTo>
                        <a:pt x="66903" y="560285"/>
                      </a:lnTo>
                      <a:lnTo>
                        <a:pt x="66548" y="559409"/>
                      </a:lnTo>
                      <a:lnTo>
                        <a:pt x="65455" y="558584"/>
                      </a:lnTo>
                      <a:lnTo>
                        <a:pt x="64135" y="559879"/>
                      </a:lnTo>
                      <a:lnTo>
                        <a:pt x="62953" y="559181"/>
                      </a:lnTo>
                      <a:lnTo>
                        <a:pt x="64554" y="558177"/>
                      </a:lnTo>
                      <a:lnTo>
                        <a:pt x="65468" y="557999"/>
                      </a:lnTo>
                      <a:lnTo>
                        <a:pt x="63512" y="556526"/>
                      </a:lnTo>
                      <a:lnTo>
                        <a:pt x="62001" y="556044"/>
                      </a:lnTo>
                      <a:lnTo>
                        <a:pt x="60121" y="556209"/>
                      </a:lnTo>
                      <a:lnTo>
                        <a:pt x="59118" y="557784"/>
                      </a:lnTo>
                      <a:lnTo>
                        <a:pt x="60363" y="561073"/>
                      </a:lnTo>
                      <a:lnTo>
                        <a:pt x="59893" y="560870"/>
                      </a:lnTo>
                      <a:lnTo>
                        <a:pt x="59677" y="560565"/>
                      </a:lnTo>
                      <a:lnTo>
                        <a:pt x="58966" y="561073"/>
                      </a:lnTo>
                      <a:lnTo>
                        <a:pt x="59639" y="562140"/>
                      </a:lnTo>
                      <a:lnTo>
                        <a:pt x="60655" y="562991"/>
                      </a:lnTo>
                      <a:lnTo>
                        <a:pt x="61544" y="563905"/>
                      </a:lnTo>
                      <a:lnTo>
                        <a:pt x="61785" y="562140"/>
                      </a:lnTo>
                      <a:lnTo>
                        <a:pt x="61937" y="561746"/>
                      </a:lnTo>
                      <a:lnTo>
                        <a:pt x="60756" y="561251"/>
                      </a:lnTo>
                      <a:lnTo>
                        <a:pt x="65532" y="561340"/>
                      </a:lnTo>
                      <a:lnTo>
                        <a:pt x="67360" y="561733"/>
                      </a:lnTo>
                      <a:lnTo>
                        <a:pt x="71386" y="560070"/>
                      </a:lnTo>
                      <a:close/>
                    </a:path>
                    <a:path w="2766060" h="1688464">
                      <a:moveTo>
                        <a:pt x="88074" y="642937"/>
                      </a:moveTo>
                      <a:lnTo>
                        <a:pt x="87464" y="641667"/>
                      </a:lnTo>
                      <a:lnTo>
                        <a:pt x="86855" y="640397"/>
                      </a:lnTo>
                      <a:lnTo>
                        <a:pt x="85890" y="636587"/>
                      </a:lnTo>
                      <a:lnTo>
                        <a:pt x="84378" y="628967"/>
                      </a:lnTo>
                      <a:lnTo>
                        <a:pt x="80327" y="626427"/>
                      </a:lnTo>
                      <a:lnTo>
                        <a:pt x="76136" y="623887"/>
                      </a:lnTo>
                      <a:lnTo>
                        <a:pt x="69850" y="620077"/>
                      </a:lnTo>
                      <a:lnTo>
                        <a:pt x="61264" y="623887"/>
                      </a:lnTo>
                      <a:lnTo>
                        <a:pt x="54229" y="620077"/>
                      </a:lnTo>
                      <a:lnTo>
                        <a:pt x="55994" y="620077"/>
                      </a:lnTo>
                      <a:lnTo>
                        <a:pt x="58000" y="621347"/>
                      </a:lnTo>
                      <a:lnTo>
                        <a:pt x="61899" y="621347"/>
                      </a:lnTo>
                      <a:lnTo>
                        <a:pt x="62712" y="620077"/>
                      </a:lnTo>
                      <a:lnTo>
                        <a:pt x="65862" y="617537"/>
                      </a:lnTo>
                      <a:lnTo>
                        <a:pt x="71120" y="617537"/>
                      </a:lnTo>
                      <a:lnTo>
                        <a:pt x="68605" y="613727"/>
                      </a:lnTo>
                      <a:lnTo>
                        <a:pt x="66979" y="612457"/>
                      </a:lnTo>
                      <a:lnTo>
                        <a:pt x="69761" y="612457"/>
                      </a:lnTo>
                      <a:lnTo>
                        <a:pt x="71031" y="608647"/>
                      </a:lnTo>
                      <a:lnTo>
                        <a:pt x="73342" y="606107"/>
                      </a:lnTo>
                      <a:lnTo>
                        <a:pt x="74460" y="606107"/>
                      </a:lnTo>
                      <a:lnTo>
                        <a:pt x="75374" y="604837"/>
                      </a:lnTo>
                      <a:lnTo>
                        <a:pt x="76288" y="603567"/>
                      </a:lnTo>
                      <a:lnTo>
                        <a:pt x="75933" y="603567"/>
                      </a:lnTo>
                      <a:lnTo>
                        <a:pt x="76441" y="602297"/>
                      </a:lnTo>
                      <a:lnTo>
                        <a:pt x="76949" y="601027"/>
                      </a:lnTo>
                      <a:lnTo>
                        <a:pt x="78092" y="599757"/>
                      </a:lnTo>
                      <a:lnTo>
                        <a:pt x="78371" y="598487"/>
                      </a:lnTo>
                      <a:lnTo>
                        <a:pt x="78663" y="597217"/>
                      </a:lnTo>
                      <a:lnTo>
                        <a:pt x="78371" y="595947"/>
                      </a:lnTo>
                      <a:lnTo>
                        <a:pt x="80187" y="594677"/>
                      </a:lnTo>
                      <a:lnTo>
                        <a:pt x="81330" y="593407"/>
                      </a:lnTo>
                      <a:lnTo>
                        <a:pt x="82296" y="592137"/>
                      </a:lnTo>
                      <a:lnTo>
                        <a:pt x="82346" y="590867"/>
                      </a:lnTo>
                      <a:lnTo>
                        <a:pt x="82397" y="589597"/>
                      </a:lnTo>
                      <a:lnTo>
                        <a:pt x="70840" y="587057"/>
                      </a:lnTo>
                      <a:lnTo>
                        <a:pt x="59499" y="587057"/>
                      </a:lnTo>
                      <a:lnTo>
                        <a:pt x="53848" y="588327"/>
                      </a:lnTo>
                      <a:lnTo>
                        <a:pt x="51727" y="588327"/>
                      </a:lnTo>
                      <a:lnTo>
                        <a:pt x="49301" y="589597"/>
                      </a:lnTo>
                      <a:lnTo>
                        <a:pt x="48526" y="590867"/>
                      </a:lnTo>
                      <a:lnTo>
                        <a:pt x="46380" y="590867"/>
                      </a:lnTo>
                      <a:lnTo>
                        <a:pt x="47345" y="588327"/>
                      </a:lnTo>
                      <a:lnTo>
                        <a:pt x="48704" y="587057"/>
                      </a:lnTo>
                      <a:lnTo>
                        <a:pt x="49453" y="587057"/>
                      </a:lnTo>
                      <a:lnTo>
                        <a:pt x="50304" y="585787"/>
                      </a:lnTo>
                      <a:lnTo>
                        <a:pt x="49936" y="587057"/>
                      </a:lnTo>
                      <a:lnTo>
                        <a:pt x="51028" y="587057"/>
                      </a:lnTo>
                      <a:lnTo>
                        <a:pt x="51930" y="585787"/>
                      </a:lnTo>
                      <a:lnTo>
                        <a:pt x="52057" y="584517"/>
                      </a:lnTo>
                      <a:lnTo>
                        <a:pt x="52197" y="583247"/>
                      </a:lnTo>
                      <a:lnTo>
                        <a:pt x="50533" y="583590"/>
                      </a:lnTo>
                      <a:lnTo>
                        <a:pt x="50253" y="583247"/>
                      </a:lnTo>
                      <a:lnTo>
                        <a:pt x="49225" y="581977"/>
                      </a:lnTo>
                      <a:lnTo>
                        <a:pt x="53136" y="579437"/>
                      </a:lnTo>
                      <a:lnTo>
                        <a:pt x="49034" y="579437"/>
                      </a:lnTo>
                      <a:lnTo>
                        <a:pt x="49034" y="583907"/>
                      </a:lnTo>
                      <a:lnTo>
                        <a:pt x="46126" y="584517"/>
                      </a:lnTo>
                      <a:lnTo>
                        <a:pt x="45021" y="583247"/>
                      </a:lnTo>
                      <a:lnTo>
                        <a:pt x="46583" y="583247"/>
                      </a:lnTo>
                      <a:lnTo>
                        <a:pt x="49034" y="583907"/>
                      </a:lnTo>
                      <a:lnTo>
                        <a:pt x="49034" y="579437"/>
                      </a:lnTo>
                      <a:lnTo>
                        <a:pt x="43522" y="579437"/>
                      </a:lnTo>
                      <a:lnTo>
                        <a:pt x="43522" y="622617"/>
                      </a:lnTo>
                      <a:lnTo>
                        <a:pt x="42227" y="623887"/>
                      </a:lnTo>
                      <a:lnTo>
                        <a:pt x="40170" y="622617"/>
                      </a:lnTo>
                      <a:lnTo>
                        <a:pt x="37350" y="622617"/>
                      </a:lnTo>
                      <a:lnTo>
                        <a:pt x="37960" y="621347"/>
                      </a:lnTo>
                      <a:lnTo>
                        <a:pt x="37706" y="620242"/>
                      </a:lnTo>
                      <a:lnTo>
                        <a:pt x="37693" y="617537"/>
                      </a:lnTo>
                      <a:lnTo>
                        <a:pt x="37769" y="618807"/>
                      </a:lnTo>
                      <a:lnTo>
                        <a:pt x="38303" y="618807"/>
                      </a:lnTo>
                      <a:lnTo>
                        <a:pt x="39103" y="617537"/>
                      </a:lnTo>
                      <a:lnTo>
                        <a:pt x="39674" y="617537"/>
                      </a:lnTo>
                      <a:lnTo>
                        <a:pt x="40233" y="618807"/>
                      </a:lnTo>
                      <a:lnTo>
                        <a:pt x="39827" y="621347"/>
                      </a:lnTo>
                      <a:lnTo>
                        <a:pt x="41884" y="622617"/>
                      </a:lnTo>
                      <a:lnTo>
                        <a:pt x="43522" y="622617"/>
                      </a:lnTo>
                      <a:lnTo>
                        <a:pt x="43522" y="579437"/>
                      </a:lnTo>
                      <a:lnTo>
                        <a:pt x="36550" y="579437"/>
                      </a:lnTo>
                      <a:lnTo>
                        <a:pt x="36550" y="616267"/>
                      </a:lnTo>
                      <a:lnTo>
                        <a:pt x="35572" y="617537"/>
                      </a:lnTo>
                      <a:lnTo>
                        <a:pt x="34340" y="618807"/>
                      </a:lnTo>
                      <a:lnTo>
                        <a:pt x="33680" y="618807"/>
                      </a:lnTo>
                      <a:lnTo>
                        <a:pt x="33070" y="619201"/>
                      </a:lnTo>
                      <a:lnTo>
                        <a:pt x="34302" y="617537"/>
                      </a:lnTo>
                      <a:lnTo>
                        <a:pt x="35534" y="616267"/>
                      </a:lnTo>
                      <a:lnTo>
                        <a:pt x="36550" y="616267"/>
                      </a:lnTo>
                      <a:lnTo>
                        <a:pt x="36550" y="579437"/>
                      </a:lnTo>
                      <a:lnTo>
                        <a:pt x="31051" y="579437"/>
                      </a:lnTo>
                      <a:lnTo>
                        <a:pt x="30797" y="579437"/>
                      </a:lnTo>
                      <a:lnTo>
                        <a:pt x="30035" y="579437"/>
                      </a:lnTo>
                      <a:lnTo>
                        <a:pt x="33159" y="581977"/>
                      </a:lnTo>
                      <a:lnTo>
                        <a:pt x="34569" y="583247"/>
                      </a:lnTo>
                      <a:lnTo>
                        <a:pt x="35115" y="584517"/>
                      </a:lnTo>
                      <a:lnTo>
                        <a:pt x="33489" y="583247"/>
                      </a:lnTo>
                      <a:lnTo>
                        <a:pt x="32181" y="581977"/>
                      </a:lnTo>
                      <a:lnTo>
                        <a:pt x="30619" y="581977"/>
                      </a:lnTo>
                      <a:lnTo>
                        <a:pt x="31292" y="583247"/>
                      </a:lnTo>
                      <a:lnTo>
                        <a:pt x="30378" y="583247"/>
                      </a:lnTo>
                      <a:lnTo>
                        <a:pt x="30378" y="598487"/>
                      </a:lnTo>
                      <a:lnTo>
                        <a:pt x="28549" y="599732"/>
                      </a:lnTo>
                      <a:lnTo>
                        <a:pt x="28549" y="601027"/>
                      </a:lnTo>
                      <a:lnTo>
                        <a:pt x="26606" y="602297"/>
                      </a:lnTo>
                      <a:lnTo>
                        <a:pt x="26187" y="600798"/>
                      </a:lnTo>
                      <a:lnTo>
                        <a:pt x="26784" y="601027"/>
                      </a:lnTo>
                      <a:lnTo>
                        <a:pt x="28549" y="601027"/>
                      </a:lnTo>
                      <a:lnTo>
                        <a:pt x="28549" y="599732"/>
                      </a:lnTo>
                      <a:lnTo>
                        <a:pt x="28206" y="598906"/>
                      </a:lnTo>
                      <a:lnTo>
                        <a:pt x="28943" y="598487"/>
                      </a:lnTo>
                      <a:lnTo>
                        <a:pt x="30378" y="598487"/>
                      </a:lnTo>
                      <a:lnTo>
                        <a:pt x="30378" y="583247"/>
                      </a:lnTo>
                      <a:lnTo>
                        <a:pt x="29768" y="583247"/>
                      </a:lnTo>
                      <a:lnTo>
                        <a:pt x="29768" y="594677"/>
                      </a:lnTo>
                      <a:lnTo>
                        <a:pt x="28765" y="595947"/>
                      </a:lnTo>
                      <a:lnTo>
                        <a:pt x="28257" y="595947"/>
                      </a:lnTo>
                      <a:lnTo>
                        <a:pt x="29768" y="594677"/>
                      </a:lnTo>
                      <a:lnTo>
                        <a:pt x="29768" y="583247"/>
                      </a:lnTo>
                      <a:lnTo>
                        <a:pt x="28105" y="583247"/>
                      </a:lnTo>
                      <a:lnTo>
                        <a:pt x="28409" y="581977"/>
                      </a:lnTo>
                      <a:lnTo>
                        <a:pt x="26708" y="581977"/>
                      </a:lnTo>
                      <a:lnTo>
                        <a:pt x="26797" y="583590"/>
                      </a:lnTo>
                      <a:lnTo>
                        <a:pt x="26695" y="584517"/>
                      </a:lnTo>
                      <a:lnTo>
                        <a:pt x="26695" y="583247"/>
                      </a:lnTo>
                      <a:lnTo>
                        <a:pt x="25577" y="583247"/>
                      </a:lnTo>
                      <a:lnTo>
                        <a:pt x="23787" y="584517"/>
                      </a:lnTo>
                      <a:lnTo>
                        <a:pt x="27508" y="589597"/>
                      </a:lnTo>
                      <a:lnTo>
                        <a:pt x="28854" y="589597"/>
                      </a:lnTo>
                      <a:lnTo>
                        <a:pt x="27152" y="590867"/>
                      </a:lnTo>
                      <a:lnTo>
                        <a:pt x="27000" y="590867"/>
                      </a:lnTo>
                      <a:lnTo>
                        <a:pt x="24892" y="589597"/>
                      </a:lnTo>
                      <a:lnTo>
                        <a:pt x="23761" y="588327"/>
                      </a:lnTo>
                      <a:lnTo>
                        <a:pt x="24066" y="593407"/>
                      </a:lnTo>
                      <a:lnTo>
                        <a:pt x="27266" y="592137"/>
                      </a:lnTo>
                      <a:lnTo>
                        <a:pt x="27724" y="593407"/>
                      </a:lnTo>
                      <a:lnTo>
                        <a:pt x="28257" y="593407"/>
                      </a:lnTo>
                      <a:lnTo>
                        <a:pt x="27228" y="594677"/>
                      </a:lnTo>
                      <a:lnTo>
                        <a:pt x="25831" y="594677"/>
                      </a:lnTo>
                      <a:lnTo>
                        <a:pt x="27800" y="595947"/>
                      </a:lnTo>
                      <a:lnTo>
                        <a:pt x="26873" y="595947"/>
                      </a:lnTo>
                      <a:lnTo>
                        <a:pt x="26898" y="595579"/>
                      </a:lnTo>
                      <a:lnTo>
                        <a:pt x="25514" y="595325"/>
                      </a:lnTo>
                      <a:lnTo>
                        <a:pt x="23850" y="595363"/>
                      </a:lnTo>
                      <a:lnTo>
                        <a:pt x="21958" y="595160"/>
                      </a:lnTo>
                      <a:lnTo>
                        <a:pt x="21602" y="594829"/>
                      </a:lnTo>
                      <a:lnTo>
                        <a:pt x="20828" y="595083"/>
                      </a:lnTo>
                      <a:lnTo>
                        <a:pt x="20993" y="594880"/>
                      </a:lnTo>
                      <a:lnTo>
                        <a:pt x="21094" y="594537"/>
                      </a:lnTo>
                      <a:lnTo>
                        <a:pt x="21234" y="594334"/>
                      </a:lnTo>
                      <a:lnTo>
                        <a:pt x="20713" y="594423"/>
                      </a:lnTo>
                      <a:lnTo>
                        <a:pt x="20320" y="594321"/>
                      </a:lnTo>
                      <a:lnTo>
                        <a:pt x="19799" y="594563"/>
                      </a:lnTo>
                      <a:lnTo>
                        <a:pt x="20180" y="593813"/>
                      </a:lnTo>
                      <a:lnTo>
                        <a:pt x="20535" y="592162"/>
                      </a:lnTo>
                      <a:lnTo>
                        <a:pt x="19227" y="592556"/>
                      </a:lnTo>
                      <a:lnTo>
                        <a:pt x="20320" y="591591"/>
                      </a:lnTo>
                      <a:lnTo>
                        <a:pt x="20078" y="589343"/>
                      </a:lnTo>
                      <a:lnTo>
                        <a:pt x="19405" y="588187"/>
                      </a:lnTo>
                      <a:lnTo>
                        <a:pt x="19253" y="587921"/>
                      </a:lnTo>
                      <a:lnTo>
                        <a:pt x="18186" y="586892"/>
                      </a:lnTo>
                      <a:lnTo>
                        <a:pt x="16535" y="586447"/>
                      </a:lnTo>
                      <a:lnTo>
                        <a:pt x="16027" y="588530"/>
                      </a:lnTo>
                      <a:lnTo>
                        <a:pt x="16433" y="590130"/>
                      </a:lnTo>
                      <a:lnTo>
                        <a:pt x="15278" y="591477"/>
                      </a:lnTo>
                      <a:lnTo>
                        <a:pt x="14325" y="588975"/>
                      </a:lnTo>
                      <a:lnTo>
                        <a:pt x="12890" y="588251"/>
                      </a:lnTo>
                      <a:lnTo>
                        <a:pt x="12801" y="589381"/>
                      </a:lnTo>
                      <a:lnTo>
                        <a:pt x="13055" y="590499"/>
                      </a:lnTo>
                      <a:lnTo>
                        <a:pt x="13030" y="591629"/>
                      </a:lnTo>
                      <a:lnTo>
                        <a:pt x="12446" y="591070"/>
                      </a:lnTo>
                      <a:lnTo>
                        <a:pt x="12039" y="590359"/>
                      </a:lnTo>
                      <a:lnTo>
                        <a:pt x="10007" y="590651"/>
                      </a:lnTo>
                      <a:lnTo>
                        <a:pt x="12077" y="591921"/>
                      </a:lnTo>
                      <a:lnTo>
                        <a:pt x="13957" y="592556"/>
                      </a:lnTo>
                      <a:lnTo>
                        <a:pt x="15316" y="593102"/>
                      </a:lnTo>
                      <a:lnTo>
                        <a:pt x="16637" y="594233"/>
                      </a:lnTo>
                      <a:lnTo>
                        <a:pt x="16154" y="594182"/>
                      </a:lnTo>
                      <a:lnTo>
                        <a:pt x="15532" y="594410"/>
                      </a:lnTo>
                      <a:lnTo>
                        <a:pt x="15062" y="594410"/>
                      </a:lnTo>
                      <a:lnTo>
                        <a:pt x="15570" y="595731"/>
                      </a:lnTo>
                      <a:lnTo>
                        <a:pt x="22453" y="598512"/>
                      </a:lnTo>
                      <a:lnTo>
                        <a:pt x="21310" y="596112"/>
                      </a:lnTo>
                      <a:lnTo>
                        <a:pt x="22301" y="596646"/>
                      </a:lnTo>
                      <a:lnTo>
                        <a:pt x="22872" y="597522"/>
                      </a:lnTo>
                      <a:lnTo>
                        <a:pt x="23964" y="596963"/>
                      </a:lnTo>
                      <a:lnTo>
                        <a:pt x="23406" y="598157"/>
                      </a:lnTo>
                      <a:lnTo>
                        <a:pt x="22504" y="599173"/>
                      </a:lnTo>
                      <a:lnTo>
                        <a:pt x="21742" y="600240"/>
                      </a:lnTo>
                      <a:lnTo>
                        <a:pt x="22872" y="599706"/>
                      </a:lnTo>
                      <a:lnTo>
                        <a:pt x="23279" y="599465"/>
                      </a:lnTo>
                      <a:lnTo>
                        <a:pt x="24155" y="598500"/>
                      </a:lnTo>
                      <a:lnTo>
                        <a:pt x="24853" y="597484"/>
                      </a:lnTo>
                      <a:lnTo>
                        <a:pt x="25641" y="596849"/>
                      </a:lnTo>
                      <a:lnTo>
                        <a:pt x="26733" y="597014"/>
                      </a:lnTo>
                      <a:lnTo>
                        <a:pt x="26758" y="598843"/>
                      </a:lnTo>
                      <a:lnTo>
                        <a:pt x="23406" y="599757"/>
                      </a:lnTo>
                      <a:lnTo>
                        <a:pt x="25158" y="600405"/>
                      </a:lnTo>
                      <a:lnTo>
                        <a:pt x="23012" y="602297"/>
                      </a:lnTo>
                      <a:lnTo>
                        <a:pt x="23647" y="604837"/>
                      </a:lnTo>
                      <a:lnTo>
                        <a:pt x="23888" y="606107"/>
                      </a:lnTo>
                      <a:lnTo>
                        <a:pt x="19608" y="606107"/>
                      </a:lnTo>
                      <a:lnTo>
                        <a:pt x="18656" y="607377"/>
                      </a:lnTo>
                      <a:lnTo>
                        <a:pt x="19202" y="607885"/>
                      </a:lnTo>
                      <a:lnTo>
                        <a:pt x="17767" y="608418"/>
                      </a:lnTo>
                      <a:lnTo>
                        <a:pt x="16827" y="609904"/>
                      </a:lnTo>
                      <a:lnTo>
                        <a:pt x="17792" y="609777"/>
                      </a:lnTo>
                      <a:lnTo>
                        <a:pt x="19659" y="611276"/>
                      </a:lnTo>
                      <a:lnTo>
                        <a:pt x="20459" y="611378"/>
                      </a:lnTo>
                      <a:lnTo>
                        <a:pt x="21767" y="610997"/>
                      </a:lnTo>
                      <a:lnTo>
                        <a:pt x="21856" y="612495"/>
                      </a:lnTo>
                      <a:lnTo>
                        <a:pt x="21869" y="613460"/>
                      </a:lnTo>
                      <a:lnTo>
                        <a:pt x="20218" y="613702"/>
                      </a:lnTo>
                      <a:lnTo>
                        <a:pt x="18643" y="613943"/>
                      </a:lnTo>
                      <a:lnTo>
                        <a:pt x="15836" y="613803"/>
                      </a:lnTo>
                      <a:lnTo>
                        <a:pt x="18110" y="615784"/>
                      </a:lnTo>
                      <a:lnTo>
                        <a:pt x="19710" y="615378"/>
                      </a:lnTo>
                      <a:lnTo>
                        <a:pt x="21424" y="614578"/>
                      </a:lnTo>
                      <a:lnTo>
                        <a:pt x="23291" y="614299"/>
                      </a:lnTo>
                      <a:lnTo>
                        <a:pt x="23418" y="613930"/>
                      </a:lnTo>
                      <a:lnTo>
                        <a:pt x="24218" y="613854"/>
                      </a:lnTo>
                      <a:lnTo>
                        <a:pt x="23977" y="614692"/>
                      </a:lnTo>
                      <a:lnTo>
                        <a:pt x="25095" y="614514"/>
                      </a:lnTo>
                      <a:lnTo>
                        <a:pt x="25882" y="613994"/>
                      </a:lnTo>
                      <a:lnTo>
                        <a:pt x="28181" y="611619"/>
                      </a:lnTo>
                      <a:lnTo>
                        <a:pt x="25006" y="611187"/>
                      </a:lnTo>
                      <a:lnTo>
                        <a:pt x="26454" y="611187"/>
                      </a:lnTo>
                      <a:lnTo>
                        <a:pt x="29184" y="609917"/>
                      </a:lnTo>
                      <a:lnTo>
                        <a:pt x="31762" y="607377"/>
                      </a:lnTo>
                      <a:lnTo>
                        <a:pt x="34391" y="604837"/>
                      </a:lnTo>
                      <a:lnTo>
                        <a:pt x="34810" y="606107"/>
                      </a:lnTo>
                      <a:lnTo>
                        <a:pt x="34620" y="607377"/>
                      </a:lnTo>
                      <a:lnTo>
                        <a:pt x="34836" y="607377"/>
                      </a:lnTo>
                      <a:lnTo>
                        <a:pt x="34429" y="607733"/>
                      </a:lnTo>
                      <a:lnTo>
                        <a:pt x="34429" y="611187"/>
                      </a:lnTo>
                      <a:lnTo>
                        <a:pt x="32943" y="613727"/>
                      </a:lnTo>
                      <a:lnTo>
                        <a:pt x="32270" y="612457"/>
                      </a:lnTo>
                      <a:lnTo>
                        <a:pt x="32766" y="612457"/>
                      </a:lnTo>
                      <a:lnTo>
                        <a:pt x="34429" y="611187"/>
                      </a:lnTo>
                      <a:lnTo>
                        <a:pt x="34429" y="607733"/>
                      </a:lnTo>
                      <a:lnTo>
                        <a:pt x="33362" y="608647"/>
                      </a:lnTo>
                      <a:lnTo>
                        <a:pt x="31927" y="608647"/>
                      </a:lnTo>
                      <a:lnTo>
                        <a:pt x="31445" y="609917"/>
                      </a:lnTo>
                      <a:lnTo>
                        <a:pt x="32537" y="609917"/>
                      </a:lnTo>
                      <a:lnTo>
                        <a:pt x="31419" y="611187"/>
                      </a:lnTo>
                      <a:lnTo>
                        <a:pt x="29921" y="609917"/>
                      </a:lnTo>
                      <a:lnTo>
                        <a:pt x="29616" y="612457"/>
                      </a:lnTo>
                      <a:lnTo>
                        <a:pt x="30187" y="612457"/>
                      </a:lnTo>
                      <a:lnTo>
                        <a:pt x="28765" y="613727"/>
                      </a:lnTo>
                      <a:lnTo>
                        <a:pt x="26924" y="616267"/>
                      </a:lnTo>
                      <a:lnTo>
                        <a:pt x="28473" y="616267"/>
                      </a:lnTo>
                      <a:lnTo>
                        <a:pt x="28206" y="617537"/>
                      </a:lnTo>
                      <a:lnTo>
                        <a:pt x="27546" y="618807"/>
                      </a:lnTo>
                      <a:lnTo>
                        <a:pt x="28397" y="618807"/>
                      </a:lnTo>
                      <a:lnTo>
                        <a:pt x="28308" y="620077"/>
                      </a:lnTo>
                      <a:lnTo>
                        <a:pt x="27889" y="620344"/>
                      </a:lnTo>
                      <a:lnTo>
                        <a:pt x="27889" y="621347"/>
                      </a:lnTo>
                      <a:lnTo>
                        <a:pt x="27470" y="622617"/>
                      </a:lnTo>
                      <a:lnTo>
                        <a:pt x="26835" y="622617"/>
                      </a:lnTo>
                      <a:lnTo>
                        <a:pt x="27228" y="621347"/>
                      </a:lnTo>
                      <a:lnTo>
                        <a:pt x="27889" y="621347"/>
                      </a:lnTo>
                      <a:lnTo>
                        <a:pt x="27889" y="620344"/>
                      </a:lnTo>
                      <a:lnTo>
                        <a:pt x="26289" y="621347"/>
                      </a:lnTo>
                      <a:lnTo>
                        <a:pt x="26174" y="622617"/>
                      </a:lnTo>
                      <a:lnTo>
                        <a:pt x="26403" y="622617"/>
                      </a:lnTo>
                      <a:lnTo>
                        <a:pt x="26301" y="623887"/>
                      </a:lnTo>
                      <a:lnTo>
                        <a:pt x="27101" y="623887"/>
                      </a:lnTo>
                      <a:lnTo>
                        <a:pt x="25514" y="626427"/>
                      </a:lnTo>
                      <a:lnTo>
                        <a:pt x="28727" y="625157"/>
                      </a:lnTo>
                      <a:lnTo>
                        <a:pt x="29616" y="625157"/>
                      </a:lnTo>
                      <a:lnTo>
                        <a:pt x="28448" y="626427"/>
                      </a:lnTo>
                      <a:lnTo>
                        <a:pt x="26911" y="627697"/>
                      </a:lnTo>
                      <a:lnTo>
                        <a:pt x="26022" y="630237"/>
                      </a:lnTo>
                      <a:lnTo>
                        <a:pt x="26123" y="631507"/>
                      </a:lnTo>
                      <a:lnTo>
                        <a:pt x="25730" y="632777"/>
                      </a:lnTo>
                      <a:lnTo>
                        <a:pt x="24892" y="634047"/>
                      </a:lnTo>
                      <a:lnTo>
                        <a:pt x="24701" y="635317"/>
                      </a:lnTo>
                      <a:lnTo>
                        <a:pt x="27965" y="635317"/>
                      </a:lnTo>
                      <a:lnTo>
                        <a:pt x="29108" y="634047"/>
                      </a:lnTo>
                      <a:lnTo>
                        <a:pt x="28028" y="634047"/>
                      </a:lnTo>
                      <a:lnTo>
                        <a:pt x="28181" y="632777"/>
                      </a:lnTo>
                      <a:lnTo>
                        <a:pt x="29502" y="631507"/>
                      </a:lnTo>
                      <a:lnTo>
                        <a:pt x="29730" y="630237"/>
                      </a:lnTo>
                      <a:lnTo>
                        <a:pt x="29298" y="628967"/>
                      </a:lnTo>
                      <a:lnTo>
                        <a:pt x="29641" y="627697"/>
                      </a:lnTo>
                      <a:lnTo>
                        <a:pt x="30035" y="627697"/>
                      </a:lnTo>
                      <a:lnTo>
                        <a:pt x="33185" y="631520"/>
                      </a:lnTo>
                      <a:lnTo>
                        <a:pt x="33756" y="632472"/>
                      </a:lnTo>
                      <a:lnTo>
                        <a:pt x="35433" y="632167"/>
                      </a:lnTo>
                      <a:lnTo>
                        <a:pt x="34823" y="629704"/>
                      </a:lnTo>
                      <a:lnTo>
                        <a:pt x="30848" y="626643"/>
                      </a:lnTo>
                      <a:lnTo>
                        <a:pt x="31013" y="626427"/>
                      </a:lnTo>
                      <a:lnTo>
                        <a:pt x="31597" y="626427"/>
                      </a:lnTo>
                      <a:lnTo>
                        <a:pt x="31584" y="625157"/>
                      </a:lnTo>
                      <a:lnTo>
                        <a:pt x="30695" y="623887"/>
                      </a:lnTo>
                      <a:lnTo>
                        <a:pt x="30378" y="623887"/>
                      </a:lnTo>
                      <a:lnTo>
                        <a:pt x="29743" y="622617"/>
                      </a:lnTo>
                      <a:lnTo>
                        <a:pt x="29692" y="621347"/>
                      </a:lnTo>
                      <a:lnTo>
                        <a:pt x="30213" y="622617"/>
                      </a:lnTo>
                      <a:lnTo>
                        <a:pt x="31000" y="621347"/>
                      </a:lnTo>
                      <a:lnTo>
                        <a:pt x="31699" y="620242"/>
                      </a:lnTo>
                      <a:lnTo>
                        <a:pt x="30759" y="622617"/>
                      </a:lnTo>
                      <a:lnTo>
                        <a:pt x="32727" y="623887"/>
                      </a:lnTo>
                      <a:lnTo>
                        <a:pt x="33134" y="623887"/>
                      </a:lnTo>
                      <a:lnTo>
                        <a:pt x="33413" y="622617"/>
                      </a:lnTo>
                      <a:lnTo>
                        <a:pt x="33566" y="622617"/>
                      </a:lnTo>
                      <a:lnTo>
                        <a:pt x="33947" y="623887"/>
                      </a:lnTo>
                      <a:lnTo>
                        <a:pt x="35674" y="623887"/>
                      </a:lnTo>
                      <a:lnTo>
                        <a:pt x="34963" y="622617"/>
                      </a:lnTo>
                      <a:lnTo>
                        <a:pt x="36029" y="623887"/>
                      </a:lnTo>
                      <a:lnTo>
                        <a:pt x="36156" y="625157"/>
                      </a:lnTo>
                      <a:lnTo>
                        <a:pt x="37223" y="622896"/>
                      </a:lnTo>
                      <a:lnTo>
                        <a:pt x="38366" y="626427"/>
                      </a:lnTo>
                      <a:lnTo>
                        <a:pt x="39039" y="630237"/>
                      </a:lnTo>
                      <a:lnTo>
                        <a:pt x="39420" y="628967"/>
                      </a:lnTo>
                      <a:lnTo>
                        <a:pt x="43307" y="632777"/>
                      </a:lnTo>
                      <a:lnTo>
                        <a:pt x="39077" y="636587"/>
                      </a:lnTo>
                      <a:lnTo>
                        <a:pt x="35420" y="641667"/>
                      </a:lnTo>
                      <a:lnTo>
                        <a:pt x="33705" y="642937"/>
                      </a:lnTo>
                      <a:lnTo>
                        <a:pt x="33401" y="644207"/>
                      </a:lnTo>
                      <a:lnTo>
                        <a:pt x="34493" y="644207"/>
                      </a:lnTo>
                      <a:lnTo>
                        <a:pt x="35280" y="645477"/>
                      </a:lnTo>
                      <a:lnTo>
                        <a:pt x="35852" y="645477"/>
                      </a:lnTo>
                      <a:lnTo>
                        <a:pt x="36804" y="646747"/>
                      </a:lnTo>
                      <a:lnTo>
                        <a:pt x="36614" y="649287"/>
                      </a:lnTo>
                      <a:lnTo>
                        <a:pt x="37998" y="649287"/>
                      </a:lnTo>
                      <a:lnTo>
                        <a:pt x="37769" y="648017"/>
                      </a:lnTo>
                      <a:lnTo>
                        <a:pt x="36131" y="645477"/>
                      </a:lnTo>
                      <a:lnTo>
                        <a:pt x="39585" y="642937"/>
                      </a:lnTo>
                      <a:lnTo>
                        <a:pt x="41668" y="646747"/>
                      </a:lnTo>
                      <a:lnTo>
                        <a:pt x="43992" y="648017"/>
                      </a:lnTo>
                      <a:lnTo>
                        <a:pt x="44551" y="648017"/>
                      </a:lnTo>
                      <a:lnTo>
                        <a:pt x="46926" y="645477"/>
                      </a:lnTo>
                      <a:lnTo>
                        <a:pt x="44767" y="645477"/>
                      </a:lnTo>
                      <a:lnTo>
                        <a:pt x="44335" y="642937"/>
                      </a:lnTo>
                      <a:lnTo>
                        <a:pt x="44119" y="641667"/>
                      </a:lnTo>
                      <a:lnTo>
                        <a:pt x="47371" y="645477"/>
                      </a:lnTo>
                      <a:lnTo>
                        <a:pt x="51295" y="646747"/>
                      </a:lnTo>
                      <a:lnTo>
                        <a:pt x="53555" y="644207"/>
                      </a:lnTo>
                      <a:lnTo>
                        <a:pt x="56451" y="642937"/>
                      </a:lnTo>
                      <a:lnTo>
                        <a:pt x="56603" y="641667"/>
                      </a:lnTo>
                      <a:lnTo>
                        <a:pt x="60286" y="641667"/>
                      </a:lnTo>
                      <a:lnTo>
                        <a:pt x="64122" y="641667"/>
                      </a:lnTo>
                      <a:lnTo>
                        <a:pt x="63093" y="642937"/>
                      </a:lnTo>
                      <a:lnTo>
                        <a:pt x="88074" y="642937"/>
                      </a:lnTo>
                      <a:close/>
                    </a:path>
                    <a:path w="2766060" h="1688464">
                      <a:moveTo>
                        <a:pt x="92506" y="724585"/>
                      </a:moveTo>
                      <a:lnTo>
                        <a:pt x="90322" y="722845"/>
                      </a:lnTo>
                      <a:lnTo>
                        <a:pt x="87172" y="722553"/>
                      </a:lnTo>
                      <a:lnTo>
                        <a:pt x="85432" y="724928"/>
                      </a:lnTo>
                      <a:lnTo>
                        <a:pt x="86690" y="725614"/>
                      </a:lnTo>
                      <a:lnTo>
                        <a:pt x="88087" y="726033"/>
                      </a:lnTo>
                      <a:lnTo>
                        <a:pt x="89433" y="726554"/>
                      </a:lnTo>
                      <a:lnTo>
                        <a:pt x="91401" y="726541"/>
                      </a:lnTo>
                      <a:lnTo>
                        <a:pt x="90830" y="724966"/>
                      </a:lnTo>
                      <a:lnTo>
                        <a:pt x="92506" y="724585"/>
                      </a:lnTo>
                      <a:close/>
                    </a:path>
                    <a:path w="2766060" h="1688464">
                      <a:moveTo>
                        <a:pt x="92773" y="528370"/>
                      </a:moveTo>
                      <a:lnTo>
                        <a:pt x="92087" y="528802"/>
                      </a:lnTo>
                      <a:lnTo>
                        <a:pt x="91376" y="529590"/>
                      </a:lnTo>
                      <a:lnTo>
                        <a:pt x="91351" y="528078"/>
                      </a:lnTo>
                      <a:lnTo>
                        <a:pt x="91084" y="527659"/>
                      </a:lnTo>
                      <a:lnTo>
                        <a:pt x="90741" y="527113"/>
                      </a:lnTo>
                      <a:lnTo>
                        <a:pt x="90131" y="526148"/>
                      </a:lnTo>
                      <a:lnTo>
                        <a:pt x="89077" y="524395"/>
                      </a:lnTo>
                      <a:lnTo>
                        <a:pt x="87922" y="524395"/>
                      </a:lnTo>
                      <a:lnTo>
                        <a:pt x="87274" y="525449"/>
                      </a:lnTo>
                      <a:lnTo>
                        <a:pt x="87769" y="526605"/>
                      </a:lnTo>
                      <a:lnTo>
                        <a:pt x="87833" y="527113"/>
                      </a:lnTo>
                      <a:lnTo>
                        <a:pt x="87312" y="526935"/>
                      </a:lnTo>
                      <a:lnTo>
                        <a:pt x="83883" y="525919"/>
                      </a:lnTo>
                      <a:lnTo>
                        <a:pt x="84861" y="527748"/>
                      </a:lnTo>
                      <a:lnTo>
                        <a:pt x="87147" y="527659"/>
                      </a:lnTo>
                      <a:lnTo>
                        <a:pt x="86995" y="529501"/>
                      </a:lnTo>
                      <a:lnTo>
                        <a:pt x="88366" y="529564"/>
                      </a:lnTo>
                      <a:lnTo>
                        <a:pt x="89636" y="530440"/>
                      </a:lnTo>
                      <a:lnTo>
                        <a:pt x="88773" y="530250"/>
                      </a:lnTo>
                      <a:lnTo>
                        <a:pt x="89204" y="530542"/>
                      </a:lnTo>
                      <a:lnTo>
                        <a:pt x="88874" y="530745"/>
                      </a:lnTo>
                      <a:lnTo>
                        <a:pt x="88582" y="531393"/>
                      </a:lnTo>
                      <a:lnTo>
                        <a:pt x="87845" y="531406"/>
                      </a:lnTo>
                      <a:lnTo>
                        <a:pt x="85991" y="531406"/>
                      </a:lnTo>
                      <a:lnTo>
                        <a:pt x="85064" y="531698"/>
                      </a:lnTo>
                      <a:lnTo>
                        <a:pt x="83578" y="531926"/>
                      </a:lnTo>
                      <a:lnTo>
                        <a:pt x="83781" y="533603"/>
                      </a:lnTo>
                      <a:lnTo>
                        <a:pt x="85178" y="533476"/>
                      </a:lnTo>
                      <a:lnTo>
                        <a:pt x="86410" y="532803"/>
                      </a:lnTo>
                      <a:lnTo>
                        <a:pt x="85953" y="533476"/>
                      </a:lnTo>
                      <a:lnTo>
                        <a:pt x="85737" y="534276"/>
                      </a:lnTo>
                      <a:lnTo>
                        <a:pt x="88366" y="533107"/>
                      </a:lnTo>
                      <a:lnTo>
                        <a:pt x="87922" y="532803"/>
                      </a:lnTo>
                      <a:lnTo>
                        <a:pt x="87426" y="532460"/>
                      </a:lnTo>
                      <a:lnTo>
                        <a:pt x="89585" y="532777"/>
                      </a:lnTo>
                      <a:lnTo>
                        <a:pt x="88773" y="533908"/>
                      </a:lnTo>
                      <a:lnTo>
                        <a:pt x="89750" y="534860"/>
                      </a:lnTo>
                      <a:lnTo>
                        <a:pt x="89115" y="538264"/>
                      </a:lnTo>
                      <a:lnTo>
                        <a:pt x="86918" y="539927"/>
                      </a:lnTo>
                      <a:lnTo>
                        <a:pt x="89636" y="541134"/>
                      </a:lnTo>
                      <a:lnTo>
                        <a:pt x="90716" y="536892"/>
                      </a:lnTo>
                      <a:lnTo>
                        <a:pt x="91948" y="532777"/>
                      </a:lnTo>
                      <a:lnTo>
                        <a:pt x="92011" y="532460"/>
                      </a:lnTo>
                      <a:lnTo>
                        <a:pt x="92392" y="530440"/>
                      </a:lnTo>
                      <a:lnTo>
                        <a:pt x="92544" y="529590"/>
                      </a:lnTo>
                      <a:lnTo>
                        <a:pt x="92773" y="528370"/>
                      </a:lnTo>
                      <a:close/>
                    </a:path>
                    <a:path w="2766060" h="1688464">
                      <a:moveTo>
                        <a:pt x="93383" y="522351"/>
                      </a:moveTo>
                      <a:lnTo>
                        <a:pt x="91770" y="521703"/>
                      </a:lnTo>
                      <a:lnTo>
                        <a:pt x="91960" y="522909"/>
                      </a:lnTo>
                      <a:lnTo>
                        <a:pt x="90944" y="525462"/>
                      </a:lnTo>
                      <a:lnTo>
                        <a:pt x="90652" y="525360"/>
                      </a:lnTo>
                      <a:lnTo>
                        <a:pt x="91986" y="527519"/>
                      </a:lnTo>
                      <a:lnTo>
                        <a:pt x="92481" y="525830"/>
                      </a:lnTo>
                      <a:lnTo>
                        <a:pt x="93179" y="524116"/>
                      </a:lnTo>
                      <a:lnTo>
                        <a:pt x="93383" y="522351"/>
                      </a:lnTo>
                      <a:close/>
                    </a:path>
                    <a:path w="2766060" h="1688464">
                      <a:moveTo>
                        <a:pt x="97485" y="520319"/>
                      </a:moveTo>
                      <a:lnTo>
                        <a:pt x="96012" y="519976"/>
                      </a:lnTo>
                      <a:lnTo>
                        <a:pt x="95161" y="519785"/>
                      </a:lnTo>
                      <a:lnTo>
                        <a:pt x="93370" y="522274"/>
                      </a:lnTo>
                      <a:lnTo>
                        <a:pt x="93954" y="523811"/>
                      </a:lnTo>
                      <a:lnTo>
                        <a:pt x="95846" y="523468"/>
                      </a:lnTo>
                      <a:lnTo>
                        <a:pt x="96113" y="522655"/>
                      </a:lnTo>
                      <a:lnTo>
                        <a:pt x="97485" y="520319"/>
                      </a:lnTo>
                      <a:close/>
                    </a:path>
                    <a:path w="2766060" h="1688464">
                      <a:moveTo>
                        <a:pt x="114427" y="677227"/>
                      </a:moveTo>
                      <a:lnTo>
                        <a:pt x="108077" y="670877"/>
                      </a:lnTo>
                      <a:lnTo>
                        <a:pt x="104635" y="668337"/>
                      </a:lnTo>
                      <a:lnTo>
                        <a:pt x="104101" y="667067"/>
                      </a:lnTo>
                      <a:lnTo>
                        <a:pt x="101549" y="667067"/>
                      </a:lnTo>
                      <a:lnTo>
                        <a:pt x="100304" y="668337"/>
                      </a:lnTo>
                      <a:lnTo>
                        <a:pt x="99301" y="667067"/>
                      </a:lnTo>
                      <a:lnTo>
                        <a:pt x="101015" y="667067"/>
                      </a:lnTo>
                      <a:lnTo>
                        <a:pt x="103251" y="665797"/>
                      </a:lnTo>
                      <a:lnTo>
                        <a:pt x="105448" y="667067"/>
                      </a:lnTo>
                      <a:lnTo>
                        <a:pt x="105714" y="668337"/>
                      </a:lnTo>
                      <a:lnTo>
                        <a:pt x="107670" y="669607"/>
                      </a:lnTo>
                      <a:lnTo>
                        <a:pt x="108305" y="668337"/>
                      </a:lnTo>
                      <a:lnTo>
                        <a:pt x="109372" y="668337"/>
                      </a:lnTo>
                      <a:lnTo>
                        <a:pt x="108204" y="665797"/>
                      </a:lnTo>
                      <a:lnTo>
                        <a:pt x="106934" y="660717"/>
                      </a:lnTo>
                      <a:lnTo>
                        <a:pt x="103809" y="656907"/>
                      </a:lnTo>
                      <a:lnTo>
                        <a:pt x="101892" y="655637"/>
                      </a:lnTo>
                      <a:lnTo>
                        <a:pt x="99364" y="653097"/>
                      </a:lnTo>
                      <a:lnTo>
                        <a:pt x="98679" y="651827"/>
                      </a:lnTo>
                      <a:lnTo>
                        <a:pt x="97993" y="650557"/>
                      </a:lnTo>
                      <a:lnTo>
                        <a:pt x="89128" y="646747"/>
                      </a:lnTo>
                      <a:lnTo>
                        <a:pt x="88684" y="644207"/>
                      </a:lnTo>
                      <a:lnTo>
                        <a:pt x="60248" y="644207"/>
                      </a:lnTo>
                      <a:lnTo>
                        <a:pt x="58978" y="644207"/>
                      </a:lnTo>
                      <a:lnTo>
                        <a:pt x="58610" y="645477"/>
                      </a:lnTo>
                      <a:lnTo>
                        <a:pt x="57213" y="648017"/>
                      </a:lnTo>
                      <a:lnTo>
                        <a:pt x="56438" y="649287"/>
                      </a:lnTo>
                      <a:lnTo>
                        <a:pt x="56324" y="651827"/>
                      </a:lnTo>
                      <a:lnTo>
                        <a:pt x="55994" y="650557"/>
                      </a:lnTo>
                      <a:lnTo>
                        <a:pt x="56299" y="653097"/>
                      </a:lnTo>
                      <a:lnTo>
                        <a:pt x="58280" y="654367"/>
                      </a:lnTo>
                      <a:lnTo>
                        <a:pt x="59270" y="655637"/>
                      </a:lnTo>
                      <a:lnTo>
                        <a:pt x="59474" y="656907"/>
                      </a:lnTo>
                      <a:lnTo>
                        <a:pt x="60325" y="658177"/>
                      </a:lnTo>
                      <a:lnTo>
                        <a:pt x="61264" y="659447"/>
                      </a:lnTo>
                      <a:lnTo>
                        <a:pt x="62661" y="659447"/>
                      </a:lnTo>
                      <a:lnTo>
                        <a:pt x="64465" y="656907"/>
                      </a:lnTo>
                      <a:lnTo>
                        <a:pt x="64935" y="656907"/>
                      </a:lnTo>
                      <a:lnTo>
                        <a:pt x="66992" y="658177"/>
                      </a:lnTo>
                      <a:lnTo>
                        <a:pt x="66344" y="659447"/>
                      </a:lnTo>
                      <a:lnTo>
                        <a:pt x="65798" y="660717"/>
                      </a:lnTo>
                      <a:lnTo>
                        <a:pt x="64871" y="661987"/>
                      </a:lnTo>
                      <a:lnTo>
                        <a:pt x="64198" y="663257"/>
                      </a:lnTo>
                      <a:lnTo>
                        <a:pt x="64008" y="664527"/>
                      </a:lnTo>
                      <a:lnTo>
                        <a:pt x="65036" y="665797"/>
                      </a:lnTo>
                      <a:lnTo>
                        <a:pt x="65786" y="667067"/>
                      </a:lnTo>
                      <a:lnTo>
                        <a:pt x="64808" y="668337"/>
                      </a:lnTo>
                      <a:lnTo>
                        <a:pt x="64058" y="669607"/>
                      </a:lnTo>
                      <a:lnTo>
                        <a:pt x="63474" y="669607"/>
                      </a:lnTo>
                      <a:lnTo>
                        <a:pt x="63309" y="670877"/>
                      </a:lnTo>
                      <a:lnTo>
                        <a:pt x="66649" y="673417"/>
                      </a:lnTo>
                      <a:lnTo>
                        <a:pt x="67564" y="674687"/>
                      </a:lnTo>
                      <a:lnTo>
                        <a:pt x="64922" y="675957"/>
                      </a:lnTo>
                      <a:lnTo>
                        <a:pt x="65900" y="673417"/>
                      </a:lnTo>
                      <a:lnTo>
                        <a:pt x="63969" y="672147"/>
                      </a:lnTo>
                      <a:lnTo>
                        <a:pt x="62357" y="673417"/>
                      </a:lnTo>
                      <a:lnTo>
                        <a:pt x="61963" y="673417"/>
                      </a:lnTo>
                      <a:lnTo>
                        <a:pt x="63233" y="675894"/>
                      </a:lnTo>
                      <a:lnTo>
                        <a:pt x="56667" y="674687"/>
                      </a:lnTo>
                      <a:lnTo>
                        <a:pt x="52273" y="674687"/>
                      </a:lnTo>
                      <a:lnTo>
                        <a:pt x="51828" y="675957"/>
                      </a:lnTo>
                      <a:lnTo>
                        <a:pt x="49530" y="675957"/>
                      </a:lnTo>
                      <a:lnTo>
                        <a:pt x="49822" y="674687"/>
                      </a:lnTo>
                      <a:lnTo>
                        <a:pt x="47866" y="674687"/>
                      </a:lnTo>
                      <a:lnTo>
                        <a:pt x="46621" y="673417"/>
                      </a:lnTo>
                      <a:lnTo>
                        <a:pt x="46812" y="673417"/>
                      </a:lnTo>
                      <a:lnTo>
                        <a:pt x="45427" y="672147"/>
                      </a:lnTo>
                      <a:lnTo>
                        <a:pt x="43675" y="673417"/>
                      </a:lnTo>
                      <a:lnTo>
                        <a:pt x="42722" y="673417"/>
                      </a:lnTo>
                      <a:lnTo>
                        <a:pt x="43294" y="674687"/>
                      </a:lnTo>
                      <a:lnTo>
                        <a:pt x="44551" y="677227"/>
                      </a:lnTo>
                      <a:lnTo>
                        <a:pt x="45504" y="678497"/>
                      </a:lnTo>
                      <a:lnTo>
                        <a:pt x="46126" y="678497"/>
                      </a:lnTo>
                      <a:lnTo>
                        <a:pt x="46875" y="677227"/>
                      </a:lnTo>
                      <a:lnTo>
                        <a:pt x="48336" y="677227"/>
                      </a:lnTo>
                      <a:lnTo>
                        <a:pt x="48958" y="675957"/>
                      </a:lnTo>
                      <a:lnTo>
                        <a:pt x="49225" y="675957"/>
                      </a:lnTo>
                      <a:lnTo>
                        <a:pt x="48336" y="677227"/>
                      </a:lnTo>
                      <a:lnTo>
                        <a:pt x="114427" y="677227"/>
                      </a:lnTo>
                      <a:close/>
                    </a:path>
                    <a:path w="2766060" h="1688464">
                      <a:moveTo>
                        <a:pt x="128079" y="715327"/>
                      </a:moveTo>
                      <a:lnTo>
                        <a:pt x="63309" y="715327"/>
                      </a:lnTo>
                      <a:lnTo>
                        <a:pt x="58343" y="715327"/>
                      </a:lnTo>
                      <a:lnTo>
                        <a:pt x="46075" y="715327"/>
                      </a:lnTo>
                      <a:lnTo>
                        <a:pt x="42710" y="719137"/>
                      </a:lnTo>
                      <a:lnTo>
                        <a:pt x="42608" y="725487"/>
                      </a:lnTo>
                      <a:lnTo>
                        <a:pt x="38811" y="725487"/>
                      </a:lnTo>
                      <a:lnTo>
                        <a:pt x="38417" y="728027"/>
                      </a:lnTo>
                      <a:lnTo>
                        <a:pt x="34061" y="726757"/>
                      </a:lnTo>
                      <a:lnTo>
                        <a:pt x="28841" y="734377"/>
                      </a:lnTo>
                      <a:lnTo>
                        <a:pt x="25946" y="736917"/>
                      </a:lnTo>
                      <a:lnTo>
                        <a:pt x="28321" y="736917"/>
                      </a:lnTo>
                      <a:lnTo>
                        <a:pt x="30835" y="735647"/>
                      </a:lnTo>
                      <a:lnTo>
                        <a:pt x="32766" y="738187"/>
                      </a:lnTo>
                      <a:lnTo>
                        <a:pt x="33337" y="738187"/>
                      </a:lnTo>
                      <a:lnTo>
                        <a:pt x="35572" y="735647"/>
                      </a:lnTo>
                      <a:lnTo>
                        <a:pt x="35407" y="734377"/>
                      </a:lnTo>
                      <a:lnTo>
                        <a:pt x="37998" y="734377"/>
                      </a:lnTo>
                      <a:lnTo>
                        <a:pt x="40652" y="733107"/>
                      </a:lnTo>
                      <a:lnTo>
                        <a:pt x="44564" y="731837"/>
                      </a:lnTo>
                      <a:lnTo>
                        <a:pt x="47726" y="731837"/>
                      </a:lnTo>
                      <a:lnTo>
                        <a:pt x="47688" y="729297"/>
                      </a:lnTo>
                      <a:lnTo>
                        <a:pt x="48742" y="731837"/>
                      </a:lnTo>
                      <a:lnTo>
                        <a:pt x="49885" y="733107"/>
                      </a:lnTo>
                      <a:lnTo>
                        <a:pt x="50190" y="731837"/>
                      </a:lnTo>
                      <a:lnTo>
                        <a:pt x="52108" y="733107"/>
                      </a:lnTo>
                      <a:lnTo>
                        <a:pt x="52616" y="734377"/>
                      </a:lnTo>
                      <a:lnTo>
                        <a:pt x="56070" y="734377"/>
                      </a:lnTo>
                      <a:lnTo>
                        <a:pt x="56553" y="731837"/>
                      </a:lnTo>
                      <a:lnTo>
                        <a:pt x="56807" y="730567"/>
                      </a:lnTo>
                      <a:lnTo>
                        <a:pt x="57404" y="729297"/>
                      </a:lnTo>
                      <a:lnTo>
                        <a:pt x="58013" y="728027"/>
                      </a:lnTo>
                      <a:lnTo>
                        <a:pt x="58851" y="726757"/>
                      </a:lnTo>
                      <a:lnTo>
                        <a:pt x="58204" y="725487"/>
                      </a:lnTo>
                      <a:lnTo>
                        <a:pt x="62306" y="724217"/>
                      </a:lnTo>
                      <a:lnTo>
                        <a:pt x="67716" y="724217"/>
                      </a:lnTo>
                      <a:lnTo>
                        <a:pt x="72047" y="726757"/>
                      </a:lnTo>
                      <a:lnTo>
                        <a:pt x="72580" y="726757"/>
                      </a:lnTo>
                      <a:lnTo>
                        <a:pt x="72618" y="728027"/>
                      </a:lnTo>
                      <a:lnTo>
                        <a:pt x="73914" y="728027"/>
                      </a:lnTo>
                      <a:lnTo>
                        <a:pt x="74434" y="726757"/>
                      </a:lnTo>
                      <a:lnTo>
                        <a:pt x="79057" y="726757"/>
                      </a:lnTo>
                      <a:lnTo>
                        <a:pt x="79794" y="725487"/>
                      </a:lnTo>
                      <a:lnTo>
                        <a:pt x="78714" y="724217"/>
                      </a:lnTo>
                      <a:lnTo>
                        <a:pt x="78054" y="725487"/>
                      </a:lnTo>
                      <a:lnTo>
                        <a:pt x="78498" y="724217"/>
                      </a:lnTo>
                      <a:lnTo>
                        <a:pt x="78714" y="724217"/>
                      </a:lnTo>
                      <a:lnTo>
                        <a:pt x="83985" y="724217"/>
                      </a:lnTo>
                      <a:lnTo>
                        <a:pt x="85648" y="722947"/>
                      </a:lnTo>
                      <a:lnTo>
                        <a:pt x="87680" y="721677"/>
                      </a:lnTo>
                      <a:lnTo>
                        <a:pt x="87414" y="721677"/>
                      </a:lnTo>
                      <a:lnTo>
                        <a:pt x="87172" y="720623"/>
                      </a:lnTo>
                      <a:lnTo>
                        <a:pt x="88709" y="721677"/>
                      </a:lnTo>
                      <a:lnTo>
                        <a:pt x="94488" y="721677"/>
                      </a:lnTo>
                      <a:lnTo>
                        <a:pt x="94703" y="722947"/>
                      </a:lnTo>
                      <a:lnTo>
                        <a:pt x="97205" y="725487"/>
                      </a:lnTo>
                      <a:lnTo>
                        <a:pt x="103962" y="722947"/>
                      </a:lnTo>
                      <a:lnTo>
                        <a:pt x="108102" y="722947"/>
                      </a:lnTo>
                      <a:lnTo>
                        <a:pt x="110147" y="724217"/>
                      </a:lnTo>
                      <a:lnTo>
                        <a:pt x="115354" y="722947"/>
                      </a:lnTo>
                      <a:lnTo>
                        <a:pt x="118960" y="721677"/>
                      </a:lnTo>
                      <a:lnTo>
                        <a:pt x="121043" y="720407"/>
                      </a:lnTo>
                      <a:lnTo>
                        <a:pt x="123126" y="719137"/>
                      </a:lnTo>
                      <a:lnTo>
                        <a:pt x="126834" y="717867"/>
                      </a:lnTo>
                      <a:lnTo>
                        <a:pt x="128079" y="715327"/>
                      </a:lnTo>
                      <a:close/>
                    </a:path>
                    <a:path w="2766060" h="1688464">
                      <a:moveTo>
                        <a:pt x="133184" y="686117"/>
                      </a:moveTo>
                      <a:lnTo>
                        <a:pt x="130911" y="684847"/>
                      </a:lnTo>
                      <a:lnTo>
                        <a:pt x="125526" y="682307"/>
                      </a:lnTo>
                      <a:lnTo>
                        <a:pt x="121056" y="681037"/>
                      </a:lnTo>
                      <a:lnTo>
                        <a:pt x="116890" y="681037"/>
                      </a:lnTo>
                      <a:lnTo>
                        <a:pt x="116052" y="682307"/>
                      </a:lnTo>
                      <a:lnTo>
                        <a:pt x="111467" y="684847"/>
                      </a:lnTo>
                      <a:lnTo>
                        <a:pt x="110388" y="683577"/>
                      </a:lnTo>
                      <a:lnTo>
                        <a:pt x="109181" y="683577"/>
                      </a:lnTo>
                      <a:lnTo>
                        <a:pt x="108788" y="682307"/>
                      </a:lnTo>
                      <a:lnTo>
                        <a:pt x="107962" y="683577"/>
                      </a:lnTo>
                      <a:lnTo>
                        <a:pt x="108394" y="682307"/>
                      </a:lnTo>
                      <a:lnTo>
                        <a:pt x="110299" y="681037"/>
                      </a:lnTo>
                      <a:lnTo>
                        <a:pt x="111442" y="679767"/>
                      </a:lnTo>
                      <a:lnTo>
                        <a:pt x="112928" y="678497"/>
                      </a:lnTo>
                      <a:lnTo>
                        <a:pt x="46367" y="678497"/>
                      </a:lnTo>
                      <a:lnTo>
                        <a:pt x="46126" y="678497"/>
                      </a:lnTo>
                      <a:lnTo>
                        <a:pt x="45491" y="679767"/>
                      </a:lnTo>
                      <a:lnTo>
                        <a:pt x="44500" y="682307"/>
                      </a:lnTo>
                      <a:lnTo>
                        <a:pt x="40855" y="682307"/>
                      </a:lnTo>
                      <a:lnTo>
                        <a:pt x="39763" y="684847"/>
                      </a:lnTo>
                      <a:lnTo>
                        <a:pt x="42278" y="684847"/>
                      </a:lnTo>
                      <a:lnTo>
                        <a:pt x="43421" y="683577"/>
                      </a:lnTo>
                      <a:lnTo>
                        <a:pt x="46596" y="682307"/>
                      </a:lnTo>
                      <a:lnTo>
                        <a:pt x="49377" y="682307"/>
                      </a:lnTo>
                      <a:lnTo>
                        <a:pt x="48768" y="684847"/>
                      </a:lnTo>
                      <a:lnTo>
                        <a:pt x="48336" y="684847"/>
                      </a:lnTo>
                      <a:lnTo>
                        <a:pt x="49364" y="688657"/>
                      </a:lnTo>
                      <a:lnTo>
                        <a:pt x="48882" y="688657"/>
                      </a:lnTo>
                      <a:lnTo>
                        <a:pt x="51308" y="689927"/>
                      </a:lnTo>
                      <a:lnTo>
                        <a:pt x="50228" y="691197"/>
                      </a:lnTo>
                      <a:lnTo>
                        <a:pt x="49136" y="693737"/>
                      </a:lnTo>
                      <a:lnTo>
                        <a:pt x="46024" y="696277"/>
                      </a:lnTo>
                      <a:lnTo>
                        <a:pt x="43738" y="697547"/>
                      </a:lnTo>
                      <a:lnTo>
                        <a:pt x="31978" y="701357"/>
                      </a:lnTo>
                      <a:lnTo>
                        <a:pt x="32854" y="702627"/>
                      </a:lnTo>
                      <a:lnTo>
                        <a:pt x="33807" y="703897"/>
                      </a:lnTo>
                      <a:lnTo>
                        <a:pt x="34518" y="705167"/>
                      </a:lnTo>
                      <a:lnTo>
                        <a:pt x="32969" y="705167"/>
                      </a:lnTo>
                      <a:lnTo>
                        <a:pt x="33591" y="706437"/>
                      </a:lnTo>
                      <a:lnTo>
                        <a:pt x="35306" y="705167"/>
                      </a:lnTo>
                      <a:lnTo>
                        <a:pt x="36880" y="705167"/>
                      </a:lnTo>
                      <a:lnTo>
                        <a:pt x="38557" y="703897"/>
                      </a:lnTo>
                      <a:lnTo>
                        <a:pt x="37909" y="706437"/>
                      </a:lnTo>
                      <a:lnTo>
                        <a:pt x="36029" y="706437"/>
                      </a:lnTo>
                      <a:lnTo>
                        <a:pt x="35229" y="707707"/>
                      </a:lnTo>
                      <a:lnTo>
                        <a:pt x="38544" y="706437"/>
                      </a:lnTo>
                      <a:lnTo>
                        <a:pt x="39738" y="706437"/>
                      </a:lnTo>
                      <a:lnTo>
                        <a:pt x="42189" y="705167"/>
                      </a:lnTo>
                      <a:lnTo>
                        <a:pt x="44310" y="705167"/>
                      </a:lnTo>
                      <a:lnTo>
                        <a:pt x="43649" y="703897"/>
                      </a:lnTo>
                      <a:lnTo>
                        <a:pt x="49530" y="706437"/>
                      </a:lnTo>
                      <a:lnTo>
                        <a:pt x="48234" y="706437"/>
                      </a:lnTo>
                      <a:lnTo>
                        <a:pt x="46215" y="707707"/>
                      </a:lnTo>
                      <a:lnTo>
                        <a:pt x="46329" y="708977"/>
                      </a:lnTo>
                      <a:lnTo>
                        <a:pt x="54597" y="708977"/>
                      </a:lnTo>
                      <a:lnTo>
                        <a:pt x="55435" y="710247"/>
                      </a:lnTo>
                      <a:lnTo>
                        <a:pt x="56908" y="711517"/>
                      </a:lnTo>
                      <a:lnTo>
                        <a:pt x="57518" y="711517"/>
                      </a:lnTo>
                      <a:lnTo>
                        <a:pt x="63030" y="710247"/>
                      </a:lnTo>
                      <a:lnTo>
                        <a:pt x="67487" y="708977"/>
                      </a:lnTo>
                      <a:lnTo>
                        <a:pt x="71551" y="706437"/>
                      </a:lnTo>
                      <a:lnTo>
                        <a:pt x="64477" y="714057"/>
                      </a:lnTo>
                      <a:lnTo>
                        <a:pt x="127660" y="714057"/>
                      </a:lnTo>
                      <a:lnTo>
                        <a:pt x="128193" y="712787"/>
                      </a:lnTo>
                      <a:lnTo>
                        <a:pt x="128143" y="711517"/>
                      </a:lnTo>
                      <a:lnTo>
                        <a:pt x="128485" y="711517"/>
                      </a:lnTo>
                      <a:lnTo>
                        <a:pt x="113411" y="710247"/>
                      </a:lnTo>
                      <a:lnTo>
                        <a:pt x="114909" y="710247"/>
                      </a:lnTo>
                      <a:lnTo>
                        <a:pt x="116395" y="708977"/>
                      </a:lnTo>
                      <a:lnTo>
                        <a:pt x="120446" y="708977"/>
                      </a:lnTo>
                      <a:lnTo>
                        <a:pt x="121602" y="706437"/>
                      </a:lnTo>
                      <a:lnTo>
                        <a:pt x="120865" y="706437"/>
                      </a:lnTo>
                      <a:lnTo>
                        <a:pt x="118922" y="705167"/>
                      </a:lnTo>
                      <a:lnTo>
                        <a:pt x="118732" y="706437"/>
                      </a:lnTo>
                      <a:lnTo>
                        <a:pt x="117868" y="705167"/>
                      </a:lnTo>
                      <a:lnTo>
                        <a:pt x="118922" y="705167"/>
                      </a:lnTo>
                      <a:lnTo>
                        <a:pt x="119341" y="705167"/>
                      </a:lnTo>
                      <a:lnTo>
                        <a:pt x="121285" y="703897"/>
                      </a:lnTo>
                      <a:lnTo>
                        <a:pt x="122758" y="703897"/>
                      </a:lnTo>
                      <a:lnTo>
                        <a:pt x="123355" y="705167"/>
                      </a:lnTo>
                      <a:lnTo>
                        <a:pt x="126606" y="703897"/>
                      </a:lnTo>
                      <a:lnTo>
                        <a:pt x="124802" y="702627"/>
                      </a:lnTo>
                      <a:lnTo>
                        <a:pt x="123139" y="701357"/>
                      </a:lnTo>
                      <a:lnTo>
                        <a:pt x="125831" y="701357"/>
                      </a:lnTo>
                      <a:lnTo>
                        <a:pt x="124434" y="700087"/>
                      </a:lnTo>
                      <a:lnTo>
                        <a:pt x="125310" y="700087"/>
                      </a:lnTo>
                      <a:lnTo>
                        <a:pt x="126060" y="701357"/>
                      </a:lnTo>
                      <a:lnTo>
                        <a:pt x="127368" y="701357"/>
                      </a:lnTo>
                      <a:lnTo>
                        <a:pt x="127622" y="700087"/>
                      </a:lnTo>
                      <a:lnTo>
                        <a:pt x="128752" y="700087"/>
                      </a:lnTo>
                      <a:lnTo>
                        <a:pt x="129997" y="698817"/>
                      </a:lnTo>
                      <a:lnTo>
                        <a:pt x="131648" y="697547"/>
                      </a:lnTo>
                      <a:lnTo>
                        <a:pt x="132613" y="692467"/>
                      </a:lnTo>
                      <a:lnTo>
                        <a:pt x="133184" y="686117"/>
                      </a:lnTo>
                      <a:close/>
                    </a:path>
                    <a:path w="2766060" h="1688464">
                      <a:moveTo>
                        <a:pt x="169379" y="713625"/>
                      </a:moveTo>
                      <a:lnTo>
                        <a:pt x="169278" y="713308"/>
                      </a:lnTo>
                      <a:lnTo>
                        <a:pt x="169164" y="712990"/>
                      </a:lnTo>
                      <a:lnTo>
                        <a:pt x="169062" y="712673"/>
                      </a:lnTo>
                      <a:lnTo>
                        <a:pt x="168922" y="712660"/>
                      </a:lnTo>
                      <a:lnTo>
                        <a:pt x="169024" y="712978"/>
                      </a:lnTo>
                      <a:lnTo>
                        <a:pt x="169202" y="713308"/>
                      </a:lnTo>
                      <a:lnTo>
                        <a:pt x="169379" y="713625"/>
                      </a:lnTo>
                      <a:close/>
                    </a:path>
                    <a:path w="2766060" h="1688464">
                      <a:moveTo>
                        <a:pt x="269354" y="1001877"/>
                      </a:moveTo>
                      <a:lnTo>
                        <a:pt x="269189" y="1000823"/>
                      </a:lnTo>
                      <a:lnTo>
                        <a:pt x="268490" y="1001445"/>
                      </a:lnTo>
                      <a:lnTo>
                        <a:pt x="267792" y="1002055"/>
                      </a:lnTo>
                      <a:lnTo>
                        <a:pt x="267081" y="1002665"/>
                      </a:lnTo>
                      <a:lnTo>
                        <a:pt x="267893" y="1002068"/>
                      </a:lnTo>
                      <a:lnTo>
                        <a:pt x="269354" y="1001877"/>
                      </a:lnTo>
                      <a:close/>
                    </a:path>
                    <a:path w="2766060" h="1688464">
                      <a:moveTo>
                        <a:pt x="277075" y="579094"/>
                      </a:moveTo>
                      <a:lnTo>
                        <a:pt x="276631" y="578231"/>
                      </a:lnTo>
                      <a:lnTo>
                        <a:pt x="274408" y="578904"/>
                      </a:lnTo>
                      <a:lnTo>
                        <a:pt x="272313" y="578777"/>
                      </a:lnTo>
                      <a:lnTo>
                        <a:pt x="273418" y="582142"/>
                      </a:lnTo>
                      <a:lnTo>
                        <a:pt x="275336" y="580542"/>
                      </a:lnTo>
                      <a:lnTo>
                        <a:pt x="277075" y="579094"/>
                      </a:lnTo>
                      <a:close/>
                    </a:path>
                    <a:path w="2766060" h="1688464">
                      <a:moveTo>
                        <a:pt x="278879" y="578535"/>
                      </a:moveTo>
                      <a:lnTo>
                        <a:pt x="277571" y="575487"/>
                      </a:lnTo>
                      <a:lnTo>
                        <a:pt x="276771" y="573633"/>
                      </a:lnTo>
                      <a:lnTo>
                        <a:pt x="274421" y="575297"/>
                      </a:lnTo>
                      <a:lnTo>
                        <a:pt x="272757" y="575843"/>
                      </a:lnTo>
                      <a:lnTo>
                        <a:pt x="272326" y="576199"/>
                      </a:lnTo>
                      <a:lnTo>
                        <a:pt x="271932" y="576656"/>
                      </a:lnTo>
                      <a:lnTo>
                        <a:pt x="271526" y="577049"/>
                      </a:lnTo>
                      <a:lnTo>
                        <a:pt x="272884" y="577126"/>
                      </a:lnTo>
                      <a:lnTo>
                        <a:pt x="278879" y="578535"/>
                      </a:lnTo>
                      <a:close/>
                    </a:path>
                    <a:path w="2766060" h="1688464">
                      <a:moveTo>
                        <a:pt x="328485" y="29425"/>
                      </a:moveTo>
                      <a:lnTo>
                        <a:pt x="328231" y="29044"/>
                      </a:lnTo>
                      <a:lnTo>
                        <a:pt x="327253" y="28790"/>
                      </a:lnTo>
                      <a:lnTo>
                        <a:pt x="324078" y="26631"/>
                      </a:lnTo>
                      <a:lnTo>
                        <a:pt x="322961" y="24091"/>
                      </a:lnTo>
                      <a:lnTo>
                        <a:pt x="316915" y="22821"/>
                      </a:lnTo>
                      <a:lnTo>
                        <a:pt x="316115" y="24726"/>
                      </a:lnTo>
                      <a:lnTo>
                        <a:pt x="313448" y="27266"/>
                      </a:lnTo>
                      <a:lnTo>
                        <a:pt x="310819" y="28536"/>
                      </a:lnTo>
                      <a:lnTo>
                        <a:pt x="313016" y="29298"/>
                      </a:lnTo>
                      <a:lnTo>
                        <a:pt x="312369" y="29425"/>
                      </a:lnTo>
                      <a:lnTo>
                        <a:pt x="328485" y="29425"/>
                      </a:lnTo>
                      <a:close/>
                    </a:path>
                    <a:path w="2766060" h="1688464">
                      <a:moveTo>
                        <a:pt x="336105" y="42252"/>
                      </a:moveTo>
                      <a:lnTo>
                        <a:pt x="335876" y="41744"/>
                      </a:lnTo>
                      <a:lnTo>
                        <a:pt x="336105" y="42252"/>
                      </a:lnTo>
                      <a:close/>
                    </a:path>
                    <a:path w="2766060" h="1688464">
                      <a:moveTo>
                        <a:pt x="338035" y="16459"/>
                      </a:moveTo>
                      <a:lnTo>
                        <a:pt x="335661" y="16725"/>
                      </a:lnTo>
                      <a:lnTo>
                        <a:pt x="336969" y="16725"/>
                      </a:lnTo>
                      <a:lnTo>
                        <a:pt x="338035" y="16459"/>
                      </a:lnTo>
                      <a:close/>
                    </a:path>
                    <a:path w="2766060" h="1688464">
                      <a:moveTo>
                        <a:pt x="339572" y="16281"/>
                      </a:moveTo>
                      <a:lnTo>
                        <a:pt x="339534" y="16090"/>
                      </a:lnTo>
                      <a:lnTo>
                        <a:pt x="338035" y="16459"/>
                      </a:lnTo>
                      <a:lnTo>
                        <a:pt x="339572" y="16281"/>
                      </a:lnTo>
                      <a:close/>
                    </a:path>
                    <a:path w="2766060" h="1688464">
                      <a:moveTo>
                        <a:pt x="353479" y="593839"/>
                      </a:moveTo>
                      <a:lnTo>
                        <a:pt x="351447" y="592937"/>
                      </a:lnTo>
                      <a:lnTo>
                        <a:pt x="350951" y="594969"/>
                      </a:lnTo>
                      <a:lnTo>
                        <a:pt x="350050" y="597179"/>
                      </a:lnTo>
                      <a:lnTo>
                        <a:pt x="345071" y="604799"/>
                      </a:lnTo>
                      <a:lnTo>
                        <a:pt x="343446" y="608037"/>
                      </a:lnTo>
                      <a:lnTo>
                        <a:pt x="342925" y="609650"/>
                      </a:lnTo>
                      <a:lnTo>
                        <a:pt x="342671" y="612063"/>
                      </a:lnTo>
                      <a:lnTo>
                        <a:pt x="343319" y="614184"/>
                      </a:lnTo>
                      <a:lnTo>
                        <a:pt x="343611" y="617105"/>
                      </a:lnTo>
                      <a:lnTo>
                        <a:pt x="345084" y="613956"/>
                      </a:lnTo>
                      <a:lnTo>
                        <a:pt x="345376" y="613321"/>
                      </a:lnTo>
                      <a:lnTo>
                        <a:pt x="346951" y="608761"/>
                      </a:lnTo>
                      <a:lnTo>
                        <a:pt x="348640" y="605904"/>
                      </a:lnTo>
                      <a:lnTo>
                        <a:pt x="350113" y="601662"/>
                      </a:lnTo>
                      <a:lnTo>
                        <a:pt x="353479" y="593839"/>
                      </a:lnTo>
                      <a:close/>
                    </a:path>
                    <a:path w="2766060" h="1688464">
                      <a:moveTo>
                        <a:pt x="361416" y="865835"/>
                      </a:moveTo>
                      <a:lnTo>
                        <a:pt x="361086" y="865644"/>
                      </a:lnTo>
                      <a:lnTo>
                        <a:pt x="360768" y="865428"/>
                      </a:lnTo>
                      <a:lnTo>
                        <a:pt x="360476" y="865212"/>
                      </a:lnTo>
                      <a:lnTo>
                        <a:pt x="360311" y="865289"/>
                      </a:lnTo>
                      <a:lnTo>
                        <a:pt x="360184" y="865352"/>
                      </a:lnTo>
                      <a:lnTo>
                        <a:pt x="360045" y="865403"/>
                      </a:lnTo>
                      <a:lnTo>
                        <a:pt x="360502" y="865555"/>
                      </a:lnTo>
                      <a:lnTo>
                        <a:pt x="360959" y="865670"/>
                      </a:lnTo>
                      <a:lnTo>
                        <a:pt x="361416" y="865835"/>
                      </a:lnTo>
                      <a:close/>
                    </a:path>
                    <a:path w="2766060" h="1688464">
                      <a:moveTo>
                        <a:pt x="370878" y="870318"/>
                      </a:moveTo>
                      <a:close/>
                    </a:path>
                    <a:path w="2766060" h="1688464">
                      <a:moveTo>
                        <a:pt x="381050" y="79717"/>
                      </a:moveTo>
                      <a:lnTo>
                        <a:pt x="380733" y="78320"/>
                      </a:lnTo>
                      <a:lnTo>
                        <a:pt x="379768" y="74002"/>
                      </a:lnTo>
                      <a:lnTo>
                        <a:pt x="378879" y="71843"/>
                      </a:lnTo>
                      <a:lnTo>
                        <a:pt x="378828" y="71335"/>
                      </a:lnTo>
                      <a:lnTo>
                        <a:pt x="379196" y="69684"/>
                      </a:lnTo>
                      <a:lnTo>
                        <a:pt x="335356" y="69684"/>
                      </a:lnTo>
                      <a:lnTo>
                        <a:pt x="332778" y="69684"/>
                      </a:lnTo>
                      <a:lnTo>
                        <a:pt x="330517" y="72224"/>
                      </a:lnTo>
                      <a:lnTo>
                        <a:pt x="332486" y="73240"/>
                      </a:lnTo>
                      <a:lnTo>
                        <a:pt x="308521" y="80606"/>
                      </a:lnTo>
                      <a:lnTo>
                        <a:pt x="305574" y="78066"/>
                      </a:lnTo>
                      <a:lnTo>
                        <a:pt x="303669" y="77558"/>
                      </a:lnTo>
                      <a:lnTo>
                        <a:pt x="303009" y="77939"/>
                      </a:lnTo>
                      <a:lnTo>
                        <a:pt x="299669" y="78701"/>
                      </a:lnTo>
                      <a:lnTo>
                        <a:pt x="300189" y="78701"/>
                      </a:lnTo>
                      <a:lnTo>
                        <a:pt x="300583" y="82384"/>
                      </a:lnTo>
                      <a:lnTo>
                        <a:pt x="300685" y="84924"/>
                      </a:lnTo>
                      <a:lnTo>
                        <a:pt x="301345" y="87591"/>
                      </a:lnTo>
                      <a:lnTo>
                        <a:pt x="302006" y="88480"/>
                      </a:lnTo>
                      <a:lnTo>
                        <a:pt x="305523" y="88734"/>
                      </a:lnTo>
                      <a:lnTo>
                        <a:pt x="305638" y="88226"/>
                      </a:lnTo>
                      <a:lnTo>
                        <a:pt x="307949" y="87464"/>
                      </a:lnTo>
                      <a:lnTo>
                        <a:pt x="315087" y="88480"/>
                      </a:lnTo>
                      <a:lnTo>
                        <a:pt x="314756" y="87464"/>
                      </a:lnTo>
                      <a:lnTo>
                        <a:pt x="314667" y="87210"/>
                      </a:lnTo>
                      <a:lnTo>
                        <a:pt x="314871" y="87337"/>
                      </a:lnTo>
                      <a:lnTo>
                        <a:pt x="315747" y="87591"/>
                      </a:lnTo>
                      <a:lnTo>
                        <a:pt x="317563" y="87210"/>
                      </a:lnTo>
                      <a:lnTo>
                        <a:pt x="319074" y="87210"/>
                      </a:lnTo>
                      <a:lnTo>
                        <a:pt x="322503" y="86702"/>
                      </a:lnTo>
                      <a:lnTo>
                        <a:pt x="323380" y="85813"/>
                      </a:lnTo>
                      <a:lnTo>
                        <a:pt x="325907" y="84670"/>
                      </a:lnTo>
                      <a:lnTo>
                        <a:pt x="328066" y="83908"/>
                      </a:lnTo>
                      <a:lnTo>
                        <a:pt x="330377" y="84289"/>
                      </a:lnTo>
                      <a:lnTo>
                        <a:pt x="331368" y="85432"/>
                      </a:lnTo>
                      <a:lnTo>
                        <a:pt x="335597" y="85940"/>
                      </a:lnTo>
                      <a:lnTo>
                        <a:pt x="339051" y="85178"/>
                      </a:lnTo>
                      <a:lnTo>
                        <a:pt x="342684" y="84924"/>
                      </a:lnTo>
                      <a:lnTo>
                        <a:pt x="343522" y="84797"/>
                      </a:lnTo>
                      <a:lnTo>
                        <a:pt x="345732" y="84670"/>
                      </a:lnTo>
                      <a:lnTo>
                        <a:pt x="345236" y="84035"/>
                      </a:lnTo>
                      <a:lnTo>
                        <a:pt x="345427" y="83908"/>
                      </a:lnTo>
                      <a:lnTo>
                        <a:pt x="347091" y="82765"/>
                      </a:lnTo>
                      <a:lnTo>
                        <a:pt x="348691" y="82511"/>
                      </a:lnTo>
                      <a:lnTo>
                        <a:pt x="349923" y="82384"/>
                      </a:lnTo>
                      <a:lnTo>
                        <a:pt x="349250" y="83273"/>
                      </a:lnTo>
                      <a:lnTo>
                        <a:pt x="348348" y="83908"/>
                      </a:lnTo>
                      <a:lnTo>
                        <a:pt x="347281" y="83908"/>
                      </a:lnTo>
                      <a:lnTo>
                        <a:pt x="347459" y="86194"/>
                      </a:lnTo>
                      <a:lnTo>
                        <a:pt x="350037" y="86194"/>
                      </a:lnTo>
                      <a:lnTo>
                        <a:pt x="351561" y="87083"/>
                      </a:lnTo>
                      <a:lnTo>
                        <a:pt x="350037" y="86956"/>
                      </a:lnTo>
                      <a:lnTo>
                        <a:pt x="348640" y="86321"/>
                      </a:lnTo>
                      <a:lnTo>
                        <a:pt x="345605" y="86321"/>
                      </a:lnTo>
                      <a:lnTo>
                        <a:pt x="344055" y="86829"/>
                      </a:lnTo>
                      <a:lnTo>
                        <a:pt x="339712" y="86829"/>
                      </a:lnTo>
                      <a:lnTo>
                        <a:pt x="337019" y="87845"/>
                      </a:lnTo>
                      <a:lnTo>
                        <a:pt x="331101" y="87845"/>
                      </a:lnTo>
                      <a:lnTo>
                        <a:pt x="328104" y="88607"/>
                      </a:lnTo>
                      <a:lnTo>
                        <a:pt x="319671" y="89877"/>
                      </a:lnTo>
                      <a:lnTo>
                        <a:pt x="317233" y="90766"/>
                      </a:lnTo>
                      <a:lnTo>
                        <a:pt x="319620" y="93179"/>
                      </a:lnTo>
                      <a:lnTo>
                        <a:pt x="326174" y="92544"/>
                      </a:lnTo>
                      <a:lnTo>
                        <a:pt x="331685" y="93560"/>
                      </a:lnTo>
                      <a:lnTo>
                        <a:pt x="333146" y="93433"/>
                      </a:lnTo>
                      <a:lnTo>
                        <a:pt x="336511" y="95719"/>
                      </a:lnTo>
                      <a:lnTo>
                        <a:pt x="337769" y="95973"/>
                      </a:lnTo>
                      <a:lnTo>
                        <a:pt x="339471" y="96481"/>
                      </a:lnTo>
                      <a:lnTo>
                        <a:pt x="338937" y="96608"/>
                      </a:lnTo>
                      <a:lnTo>
                        <a:pt x="338201" y="97624"/>
                      </a:lnTo>
                      <a:lnTo>
                        <a:pt x="336448" y="97624"/>
                      </a:lnTo>
                      <a:lnTo>
                        <a:pt x="335826" y="96735"/>
                      </a:lnTo>
                      <a:lnTo>
                        <a:pt x="335191" y="95846"/>
                      </a:lnTo>
                      <a:lnTo>
                        <a:pt x="333019" y="94957"/>
                      </a:lnTo>
                      <a:lnTo>
                        <a:pt x="332397" y="94703"/>
                      </a:lnTo>
                      <a:lnTo>
                        <a:pt x="330949" y="94703"/>
                      </a:lnTo>
                      <a:lnTo>
                        <a:pt x="327685" y="94957"/>
                      </a:lnTo>
                      <a:lnTo>
                        <a:pt x="323443" y="94449"/>
                      </a:lnTo>
                      <a:lnTo>
                        <a:pt x="321868" y="93687"/>
                      </a:lnTo>
                      <a:lnTo>
                        <a:pt x="319951" y="93687"/>
                      </a:lnTo>
                      <a:lnTo>
                        <a:pt x="319112" y="94322"/>
                      </a:lnTo>
                      <a:lnTo>
                        <a:pt x="317017" y="94449"/>
                      </a:lnTo>
                      <a:lnTo>
                        <a:pt x="317360" y="94703"/>
                      </a:lnTo>
                      <a:lnTo>
                        <a:pt x="316293" y="96735"/>
                      </a:lnTo>
                      <a:lnTo>
                        <a:pt x="313563" y="96354"/>
                      </a:lnTo>
                      <a:lnTo>
                        <a:pt x="314096" y="92290"/>
                      </a:lnTo>
                      <a:lnTo>
                        <a:pt x="307695" y="93306"/>
                      </a:lnTo>
                      <a:lnTo>
                        <a:pt x="304850" y="94957"/>
                      </a:lnTo>
                      <a:lnTo>
                        <a:pt x="305993" y="98132"/>
                      </a:lnTo>
                      <a:lnTo>
                        <a:pt x="306908" y="100037"/>
                      </a:lnTo>
                      <a:lnTo>
                        <a:pt x="309803" y="104736"/>
                      </a:lnTo>
                      <a:lnTo>
                        <a:pt x="312928" y="105117"/>
                      </a:lnTo>
                      <a:lnTo>
                        <a:pt x="318414" y="106387"/>
                      </a:lnTo>
                      <a:lnTo>
                        <a:pt x="320459" y="106641"/>
                      </a:lnTo>
                      <a:lnTo>
                        <a:pt x="324700" y="109054"/>
                      </a:lnTo>
                      <a:lnTo>
                        <a:pt x="326783" y="110705"/>
                      </a:lnTo>
                      <a:lnTo>
                        <a:pt x="330835" y="110959"/>
                      </a:lnTo>
                      <a:lnTo>
                        <a:pt x="331825" y="110578"/>
                      </a:lnTo>
                      <a:lnTo>
                        <a:pt x="334606" y="110451"/>
                      </a:lnTo>
                      <a:lnTo>
                        <a:pt x="332879" y="109689"/>
                      </a:lnTo>
                      <a:lnTo>
                        <a:pt x="333387" y="108927"/>
                      </a:lnTo>
                      <a:lnTo>
                        <a:pt x="333159" y="109308"/>
                      </a:lnTo>
                      <a:lnTo>
                        <a:pt x="334581" y="108927"/>
                      </a:lnTo>
                      <a:lnTo>
                        <a:pt x="335534" y="108673"/>
                      </a:lnTo>
                      <a:lnTo>
                        <a:pt x="335038" y="108546"/>
                      </a:lnTo>
                      <a:lnTo>
                        <a:pt x="336804" y="108800"/>
                      </a:lnTo>
                      <a:lnTo>
                        <a:pt x="337731" y="110832"/>
                      </a:lnTo>
                      <a:lnTo>
                        <a:pt x="340144" y="111340"/>
                      </a:lnTo>
                      <a:lnTo>
                        <a:pt x="341833" y="110832"/>
                      </a:lnTo>
                      <a:lnTo>
                        <a:pt x="342861" y="110832"/>
                      </a:lnTo>
                      <a:lnTo>
                        <a:pt x="342011" y="111340"/>
                      </a:lnTo>
                      <a:lnTo>
                        <a:pt x="340906" y="111213"/>
                      </a:lnTo>
                      <a:lnTo>
                        <a:pt x="339750" y="111848"/>
                      </a:lnTo>
                      <a:lnTo>
                        <a:pt x="338785" y="113753"/>
                      </a:lnTo>
                      <a:lnTo>
                        <a:pt x="338556" y="111213"/>
                      </a:lnTo>
                      <a:lnTo>
                        <a:pt x="336270" y="111594"/>
                      </a:lnTo>
                      <a:lnTo>
                        <a:pt x="333692" y="112229"/>
                      </a:lnTo>
                      <a:lnTo>
                        <a:pt x="329438" y="112737"/>
                      </a:lnTo>
                      <a:lnTo>
                        <a:pt x="328231" y="114134"/>
                      </a:lnTo>
                      <a:lnTo>
                        <a:pt x="330593" y="115912"/>
                      </a:lnTo>
                      <a:lnTo>
                        <a:pt x="333425" y="116928"/>
                      </a:lnTo>
                      <a:lnTo>
                        <a:pt x="339001" y="119468"/>
                      </a:lnTo>
                      <a:lnTo>
                        <a:pt x="340004" y="121119"/>
                      </a:lnTo>
                      <a:lnTo>
                        <a:pt x="339788" y="122262"/>
                      </a:lnTo>
                      <a:lnTo>
                        <a:pt x="339788" y="123024"/>
                      </a:lnTo>
                      <a:lnTo>
                        <a:pt x="340067" y="123786"/>
                      </a:lnTo>
                      <a:lnTo>
                        <a:pt x="343128" y="121246"/>
                      </a:lnTo>
                      <a:lnTo>
                        <a:pt x="343789" y="124167"/>
                      </a:lnTo>
                      <a:lnTo>
                        <a:pt x="352958" y="118579"/>
                      </a:lnTo>
                      <a:lnTo>
                        <a:pt x="350989" y="118579"/>
                      </a:lnTo>
                      <a:lnTo>
                        <a:pt x="349745" y="117436"/>
                      </a:lnTo>
                      <a:lnTo>
                        <a:pt x="349465" y="117182"/>
                      </a:lnTo>
                      <a:lnTo>
                        <a:pt x="348411" y="117436"/>
                      </a:lnTo>
                      <a:lnTo>
                        <a:pt x="350735" y="116039"/>
                      </a:lnTo>
                      <a:lnTo>
                        <a:pt x="350532" y="115658"/>
                      </a:lnTo>
                      <a:lnTo>
                        <a:pt x="351891" y="114134"/>
                      </a:lnTo>
                      <a:lnTo>
                        <a:pt x="353009" y="113753"/>
                      </a:lnTo>
                      <a:lnTo>
                        <a:pt x="353758" y="113499"/>
                      </a:lnTo>
                      <a:lnTo>
                        <a:pt x="354647" y="111340"/>
                      </a:lnTo>
                      <a:lnTo>
                        <a:pt x="354749" y="111086"/>
                      </a:lnTo>
                      <a:lnTo>
                        <a:pt x="353999" y="110832"/>
                      </a:lnTo>
                      <a:lnTo>
                        <a:pt x="352869" y="110451"/>
                      </a:lnTo>
                      <a:lnTo>
                        <a:pt x="351751" y="109689"/>
                      </a:lnTo>
                      <a:lnTo>
                        <a:pt x="354380" y="108800"/>
                      </a:lnTo>
                      <a:lnTo>
                        <a:pt x="354482" y="110070"/>
                      </a:lnTo>
                      <a:lnTo>
                        <a:pt x="355003" y="108800"/>
                      </a:lnTo>
                      <a:lnTo>
                        <a:pt x="355117" y="108546"/>
                      </a:lnTo>
                      <a:lnTo>
                        <a:pt x="356425" y="105371"/>
                      </a:lnTo>
                      <a:lnTo>
                        <a:pt x="357454" y="101688"/>
                      </a:lnTo>
                      <a:lnTo>
                        <a:pt x="358432" y="99656"/>
                      </a:lnTo>
                      <a:lnTo>
                        <a:pt x="359752" y="97624"/>
                      </a:lnTo>
                      <a:lnTo>
                        <a:pt x="361657" y="95973"/>
                      </a:lnTo>
                      <a:lnTo>
                        <a:pt x="362712" y="95592"/>
                      </a:lnTo>
                      <a:lnTo>
                        <a:pt x="365239" y="95592"/>
                      </a:lnTo>
                      <a:lnTo>
                        <a:pt x="366687" y="96100"/>
                      </a:lnTo>
                      <a:lnTo>
                        <a:pt x="369277" y="95846"/>
                      </a:lnTo>
                      <a:lnTo>
                        <a:pt x="369303" y="95592"/>
                      </a:lnTo>
                      <a:lnTo>
                        <a:pt x="369455" y="93433"/>
                      </a:lnTo>
                      <a:lnTo>
                        <a:pt x="369544" y="92544"/>
                      </a:lnTo>
                      <a:lnTo>
                        <a:pt x="370370" y="89369"/>
                      </a:lnTo>
                      <a:lnTo>
                        <a:pt x="371132" y="87591"/>
                      </a:lnTo>
                      <a:lnTo>
                        <a:pt x="371195" y="87083"/>
                      </a:lnTo>
                      <a:lnTo>
                        <a:pt x="371309" y="82384"/>
                      </a:lnTo>
                      <a:lnTo>
                        <a:pt x="371348" y="80606"/>
                      </a:lnTo>
                      <a:lnTo>
                        <a:pt x="371398" y="78320"/>
                      </a:lnTo>
                      <a:lnTo>
                        <a:pt x="375907" y="79209"/>
                      </a:lnTo>
                      <a:lnTo>
                        <a:pt x="381050" y="79717"/>
                      </a:lnTo>
                      <a:close/>
                    </a:path>
                    <a:path w="2766060" h="1688464">
                      <a:moveTo>
                        <a:pt x="381266" y="583755"/>
                      </a:moveTo>
                      <a:lnTo>
                        <a:pt x="381101" y="582803"/>
                      </a:lnTo>
                      <a:lnTo>
                        <a:pt x="380809" y="581266"/>
                      </a:lnTo>
                      <a:lnTo>
                        <a:pt x="377825" y="581075"/>
                      </a:lnTo>
                      <a:lnTo>
                        <a:pt x="376707" y="583031"/>
                      </a:lnTo>
                      <a:lnTo>
                        <a:pt x="376885" y="580821"/>
                      </a:lnTo>
                      <a:lnTo>
                        <a:pt x="375285" y="582028"/>
                      </a:lnTo>
                      <a:lnTo>
                        <a:pt x="373799" y="582942"/>
                      </a:lnTo>
                      <a:lnTo>
                        <a:pt x="372592" y="583450"/>
                      </a:lnTo>
                      <a:lnTo>
                        <a:pt x="371284" y="584606"/>
                      </a:lnTo>
                      <a:lnTo>
                        <a:pt x="370916" y="586155"/>
                      </a:lnTo>
                      <a:lnTo>
                        <a:pt x="369392" y="587819"/>
                      </a:lnTo>
                      <a:lnTo>
                        <a:pt x="368376" y="588175"/>
                      </a:lnTo>
                      <a:lnTo>
                        <a:pt x="366852" y="590080"/>
                      </a:lnTo>
                      <a:lnTo>
                        <a:pt x="366725" y="593712"/>
                      </a:lnTo>
                      <a:lnTo>
                        <a:pt x="367677" y="598576"/>
                      </a:lnTo>
                      <a:lnTo>
                        <a:pt x="369138" y="599770"/>
                      </a:lnTo>
                      <a:lnTo>
                        <a:pt x="367347" y="602335"/>
                      </a:lnTo>
                      <a:lnTo>
                        <a:pt x="368554" y="601916"/>
                      </a:lnTo>
                      <a:lnTo>
                        <a:pt x="369646" y="601179"/>
                      </a:lnTo>
                      <a:lnTo>
                        <a:pt x="370751" y="600557"/>
                      </a:lnTo>
                      <a:lnTo>
                        <a:pt x="371259" y="598792"/>
                      </a:lnTo>
                      <a:lnTo>
                        <a:pt x="373468" y="596404"/>
                      </a:lnTo>
                      <a:lnTo>
                        <a:pt x="375119" y="596620"/>
                      </a:lnTo>
                      <a:lnTo>
                        <a:pt x="375323" y="596404"/>
                      </a:lnTo>
                      <a:lnTo>
                        <a:pt x="376237" y="595363"/>
                      </a:lnTo>
                      <a:lnTo>
                        <a:pt x="375386" y="594588"/>
                      </a:lnTo>
                      <a:lnTo>
                        <a:pt x="376732" y="593166"/>
                      </a:lnTo>
                      <a:lnTo>
                        <a:pt x="377774" y="592747"/>
                      </a:lnTo>
                      <a:lnTo>
                        <a:pt x="378358" y="592937"/>
                      </a:lnTo>
                      <a:lnTo>
                        <a:pt x="378561" y="592747"/>
                      </a:lnTo>
                      <a:lnTo>
                        <a:pt x="379488" y="591858"/>
                      </a:lnTo>
                      <a:lnTo>
                        <a:pt x="376643" y="591578"/>
                      </a:lnTo>
                      <a:lnTo>
                        <a:pt x="376478" y="589749"/>
                      </a:lnTo>
                      <a:lnTo>
                        <a:pt x="377063" y="589622"/>
                      </a:lnTo>
                      <a:lnTo>
                        <a:pt x="377113" y="588276"/>
                      </a:lnTo>
                      <a:lnTo>
                        <a:pt x="376732" y="587971"/>
                      </a:lnTo>
                      <a:lnTo>
                        <a:pt x="376732" y="587260"/>
                      </a:lnTo>
                      <a:lnTo>
                        <a:pt x="377177" y="586282"/>
                      </a:lnTo>
                      <a:lnTo>
                        <a:pt x="377444" y="585838"/>
                      </a:lnTo>
                      <a:lnTo>
                        <a:pt x="377672" y="585825"/>
                      </a:lnTo>
                      <a:lnTo>
                        <a:pt x="377875" y="585736"/>
                      </a:lnTo>
                      <a:lnTo>
                        <a:pt x="378739" y="585343"/>
                      </a:lnTo>
                      <a:lnTo>
                        <a:pt x="379704" y="586155"/>
                      </a:lnTo>
                      <a:lnTo>
                        <a:pt x="379476" y="585343"/>
                      </a:lnTo>
                      <a:lnTo>
                        <a:pt x="379222" y="584504"/>
                      </a:lnTo>
                      <a:lnTo>
                        <a:pt x="380365" y="584949"/>
                      </a:lnTo>
                      <a:lnTo>
                        <a:pt x="380238" y="584504"/>
                      </a:lnTo>
                      <a:lnTo>
                        <a:pt x="379831" y="583031"/>
                      </a:lnTo>
                      <a:lnTo>
                        <a:pt x="379755" y="582803"/>
                      </a:lnTo>
                      <a:lnTo>
                        <a:pt x="381266" y="583755"/>
                      </a:lnTo>
                      <a:close/>
                    </a:path>
                    <a:path w="2766060" h="1688464">
                      <a:moveTo>
                        <a:pt x="383400" y="183286"/>
                      </a:moveTo>
                      <a:lnTo>
                        <a:pt x="378993" y="183388"/>
                      </a:lnTo>
                      <a:lnTo>
                        <a:pt x="378117" y="183337"/>
                      </a:lnTo>
                      <a:lnTo>
                        <a:pt x="375031" y="183908"/>
                      </a:lnTo>
                      <a:lnTo>
                        <a:pt x="379577" y="187528"/>
                      </a:lnTo>
                      <a:lnTo>
                        <a:pt x="380161" y="188112"/>
                      </a:lnTo>
                      <a:lnTo>
                        <a:pt x="381304" y="187947"/>
                      </a:lnTo>
                      <a:lnTo>
                        <a:pt x="383095" y="186588"/>
                      </a:lnTo>
                      <a:lnTo>
                        <a:pt x="383400" y="183286"/>
                      </a:lnTo>
                      <a:close/>
                    </a:path>
                    <a:path w="2766060" h="1688464">
                      <a:moveTo>
                        <a:pt x="415963" y="55206"/>
                      </a:moveTo>
                      <a:lnTo>
                        <a:pt x="409130" y="53428"/>
                      </a:lnTo>
                      <a:lnTo>
                        <a:pt x="408152" y="53174"/>
                      </a:lnTo>
                      <a:lnTo>
                        <a:pt x="405218" y="52412"/>
                      </a:lnTo>
                      <a:lnTo>
                        <a:pt x="401688" y="51269"/>
                      </a:lnTo>
                      <a:lnTo>
                        <a:pt x="401294" y="51142"/>
                      </a:lnTo>
                      <a:lnTo>
                        <a:pt x="399046" y="49999"/>
                      </a:lnTo>
                      <a:lnTo>
                        <a:pt x="395732" y="48983"/>
                      </a:lnTo>
                      <a:lnTo>
                        <a:pt x="393496" y="48983"/>
                      </a:lnTo>
                      <a:lnTo>
                        <a:pt x="391388" y="47205"/>
                      </a:lnTo>
                      <a:lnTo>
                        <a:pt x="391236" y="44792"/>
                      </a:lnTo>
                      <a:lnTo>
                        <a:pt x="389585" y="44411"/>
                      </a:lnTo>
                      <a:lnTo>
                        <a:pt x="387388" y="43903"/>
                      </a:lnTo>
                      <a:lnTo>
                        <a:pt x="385038" y="42887"/>
                      </a:lnTo>
                      <a:lnTo>
                        <a:pt x="382422" y="43649"/>
                      </a:lnTo>
                      <a:lnTo>
                        <a:pt x="382384" y="44411"/>
                      </a:lnTo>
                      <a:lnTo>
                        <a:pt x="380669" y="44284"/>
                      </a:lnTo>
                      <a:lnTo>
                        <a:pt x="379463" y="44284"/>
                      </a:lnTo>
                      <a:lnTo>
                        <a:pt x="377405" y="43268"/>
                      </a:lnTo>
                      <a:lnTo>
                        <a:pt x="376770" y="39458"/>
                      </a:lnTo>
                      <a:lnTo>
                        <a:pt x="376847" y="37807"/>
                      </a:lnTo>
                      <a:lnTo>
                        <a:pt x="376936" y="36283"/>
                      </a:lnTo>
                      <a:lnTo>
                        <a:pt x="377583" y="36918"/>
                      </a:lnTo>
                      <a:lnTo>
                        <a:pt x="377405" y="36283"/>
                      </a:lnTo>
                      <a:lnTo>
                        <a:pt x="370687" y="31330"/>
                      </a:lnTo>
                      <a:lnTo>
                        <a:pt x="366712" y="30314"/>
                      </a:lnTo>
                      <a:lnTo>
                        <a:pt x="364718" y="31711"/>
                      </a:lnTo>
                      <a:lnTo>
                        <a:pt x="364985" y="33997"/>
                      </a:lnTo>
                      <a:lnTo>
                        <a:pt x="363842" y="35521"/>
                      </a:lnTo>
                      <a:lnTo>
                        <a:pt x="360464" y="37807"/>
                      </a:lnTo>
                      <a:lnTo>
                        <a:pt x="359486" y="36791"/>
                      </a:lnTo>
                      <a:lnTo>
                        <a:pt x="361569" y="35775"/>
                      </a:lnTo>
                      <a:lnTo>
                        <a:pt x="361111" y="34632"/>
                      </a:lnTo>
                      <a:lnTo>
                        <a:pt x="361213" y="33362"/>
                      </a:lnTo>
                      <a:lnTo>
                        <a:pt x="361124" y="29933"/>
                      </a:lnTo>
                      <a:lnTo>
                        <a:pt x="360946" y="28917"/>
                      </a:lnTo>
                      <a:lnTo>
                        <a:pt x="363169" y="27901"/>
                      </a:lnTo>
                      <a:lnTo>
                        <a:pt x="367271" y="26123"/>
                      </a:lnTo>
                      <a:lnTo>
                        <a:pt x="351294" y="22059"/>
                      </a:lnTo>
                      <a:lnTo>
                        <a:pt x="350291" y="21805"/>
                      </a:lnTo>
                      <a:lnTo>
                        <a:pt x="347764" y="21551"/>
                      </a:lnTo>
                      <a:lnTo>
                        <a:pt x="343662" y="15836"/>
                      </a:lnTo>
                      <a:lnTo>
                        <a:pt x="339572" y="16281"/>
                      </a:lnTo>
                      <a:lnTo>
                        <a:pt x="340080" y="18630"/>
                      </a:lnTo>
                      <a:lnTo>
                        <a:pt x="340144" y="19773"/>
                      </a:lnTo>
                      <a:lnTo>
                        <a:pt x="340969" y="20662"/>
                      </a:lnTo>
                      <a:lnTo>
                        <a:pt x="339966" y="22059"/>
                      </a:lnTo>
                      <a:lnTo>
                        <a:pt x="336270" y="20027"/>
                      </a:lnTo>
                      <a:lnTo>
                        <a:pt x="333489" y="21805"/>
                      </a:lnTo>
                      <a:lnTo>
                        <a:pt x="334403" y="25615"/>
                      </a:lnTo>
                      <a:lnTo>
                        <a:pt x="335470" y="28155"/>
                      </a:lnTo>
                      <a:lnTo>
                        <a:pt x="336626" y="29552"/>
                      </a:lnTo>
                      <a:lnTo>
                        <a:pt x="337477" y="31711"/>
                      </a:lnTo>
                      <a:lnTo>
                        <a:pt x="337604" y="32219"/>
                      </a:lnTo>
                      <a:lnTo>
                        <a:pt x="337718" y="33743"/>
                      </a:lnTo>
                      <a:lnTo>
                        <a:pt x="338518" y="37299"/>
                      </a:lnTo>
                      <a:lnTo>
                        <a:pt x="338620" y="38569"/>
                      </a:lnTo>
                      <a:lnTo>
                        <a:pt x="340233" y="40474"/>
                      </a:lnTo>
                      <a:lnTo>
                        <a:pt x="340969" y="40728"/>
                      </a:lnTo>
                      <a:lnTo>
                        <a:pt x="341693" y="42252"/>
                      </a:lnTo>
                      <a:lnTo>
                        <a:pt x="341503" y="43268"/>
                      </a:lnTo>
                      <a:lnTo>
                        <a:pt x="342455" y="45554"/>
                      </a:lnTo>
                      <a:lnTo>
                        <a:pt x="343700" y="46697"/>
                      </a:lnTo>
                      <a:lnTo>
                        <a:pt x="345033" y="49237"/>
                      </a:lnTo>
                      <a:lnTo>
                        <a:pt x="346011" y="49999"/>
                      </a:lnTo>
                      <a:lnTo>
                        <a:pt x="346456" y="51142"/>
                      </a:lnTo>
                      <a:lnTo>
                        <a:pt x="345147" y="51269"/>
                      </a:lnTo>
                      <a:lnTo>
                        <a:pt x="341909" y="50380"/>
                      </a:lnTo>
                      <a:lnTo>
                        <a:pt x="341147" y="48983"/>
                      </a:lnTo>
                      <a:lnTo>
                        <a:pt x="340944" y="48602"/>
                      </a:lnTo>
                      <a:lnTo>
                        <a:pt x="341350" y="47840"/>
                      </a:lnTo>
                      <a:lnTo>
                        <a:pt x="340779" y="46697"/>
                      </a:lnTo>
                      <a:lnTo>
                        <a:pt x="340372" y="46570"/>
                      </a:lnTo>
                      <a:lnTo>
                        <a:pt x="339864" y="46062"/>
                      </a:lnTo>
                      <a:lnTo>
                        <a:pt x="338963" y="45173"/>
                      </a:lnTo>
                      <a:lnTo>
                        <a:pt x="338112" y="43776"/>
                      </a:lnTo>
                      <a:lnTo>
                        <a:pt x="335127" y="43649"/>
                      </a:lnTo>
                      <a:lnTo>
                        <a:pt x="333197" y="46062"/>
                      </a:lnTo>
                      <a:lnTo>
                        <a:pt x="335826" y="41821"/>
                      </a:lnTo>
                      <a:lnTo>
                        <a:pt x="335127" y="40728"/>
                      </a:lnTo>
                      <a:lnTo>
                        <a:pt x="334987" y="40601"/>
                      </a:lnTo>
                      <a:lnTo>
                        <a:pt x="334022" y="39712"/>
                      </a:lnTo>
                      <a:lnTo>
                        <a:pt x="332447" y="38569"/>
                      </a:lnTo>
                      <a:lnTo>
                        <a:pt x="331660" y="38188"/>
                      </a:lnTo>
                      <a:lnTo>
                        <a:pt x="330657" y="35521"/>
                      </a:lnTo>
                      <a:lnTo>
                        <a:pt x="330263" y="34886"/>
                      </a:lnTo>
                      <a:lnTo>
                        <a:pt x="329577" y="33362"/>
                      </a:lnTo>
                      <a:lnTo>
                        <a:pt x="329120" y="32600"/>
                      </a:lnTo>
                      <a:lnTo>
                        <a:pt x="328625" y="31330"/>
                      </a:lnTo>
                      <a:lnTo>
                        <a:pt x="328815" y="29933"/>
                      </a:lnTo>
                      <a:lnTo>
                        <a:pt x="328561" y="29552"/>
                      </a:lnTo>
                      <a:lnTo>
                        <a:pt x="311734" y="29552"/>
                      </a:lnTo>
                      <a:lnTo>
                        <a:pt x="309346" y="29552"/>
                      </a:lnTo>
                      <a:lnTo>
                        <a:pt x="307721" y="32219"/>
                      </a:lnTo>
                      <a:lnTo>
                        <a:pt x="309943" y="35013"/>
                      </a:lnTo>
                      <a:lnTo>
                        <a:pt x="311302" y="37934"/>
                      </a:lnTo>
                      <a:lnTo>
                        <a:pt x="311861" y="37934"/>
                      </a:lnTo>
                      <a:lnTo>
                        <a:pt x="309905" y="40601"/>
                      </a:lnTo>
                      <a:lnTo>
                        <a:pt x="309854" y="40220"/>
                      </a:lnTo>
                      <a:lnTo>
                        <a:pt x="309803" y="39839"/>
                      </a:lnTo>
                      <a:lnTo>
                        <a:pt x="307174" y="40220"/>
                      </a:lnTo>
                      <a:lnTo>
                        <a:pt x="307454" y="39458"/>
                      </a:lnTo>
                      <a:lnTo>
                        <a:pt x="308190" y="37426"/>
                      </a:lnTo>
                      <a:lnTo>
                        <a:pt x="308381" y="36918"/>
                      </a:lnTo>
                      <a:lnTo>
                        <a:pt x="305739" y="35394"/>
                      </a:lnTo>
                      <a:lnTo>
                        <a:pt x="305638" y="35267"/>
                      </a:lnTo>
                      <a:lnTo>
                        <a:pt x="304469" y="33870"/>
                      </a:lnTo>
                      <a:lnTo>
                        <a:pt x="301917" y="32981"/>
                      </a:lnTo>
                      <a:lnTo>
                        <a:pt x="299758" y="35267"/>
                      </a:lnTo>
                      <a:lnTo>
                        <a:pt x="297484" y="32600"/>
                      </a:lnTo>
                      <a:lnTo>
                        <a:pt x="297154" y="32219"/>
                      </a:lnTo>
                      <a:lnTo>
                        <a:pt x="302336" y="32600"/>
                      </a:lnTo>
                      <a:lnTo>
                        <a:pt x="302145" y="32219"/>
                      </a:lnTo>
                      <a:lnTo>
                        <a:pt x="300710" y="29298"/>
                      </a:lnTo>
                      <a:lnTo>
                        <a:pt x="296799" y="30060"/>
                      </a:lnTo>
                      <a:lnTo>
                        <a:pt x="293509" y="30314"/>
                      </a:lnTo>
                      <a:lnTo>
                        <a:pt x="287959" y="32600"/>
                      </a:lnTo>
                      <a:lnTo>
                        <a:pt x="286727" y="31203"/>
                      </a:lnTo>
                      <a:lnTo>
                        <a:pt x="286385" y="30822"/>
                      </a:lnTo>
                      <a:lnTo>
                        <a:pt x="287997" y="30060"/>
                      </a:lnTo>
                      <a:lnTo>
                        <a:pt x="289687" y="29933"/>
                      </a:lnTo>
                      <a:lnTo>
                        <a:pt x="291693" y="28790"/>
                      </a:lnTo>
                      <a:lnTo>
                        <a:pt x="292354" y="28409"/>
                      </a:lnTo>
                      <a:lnTo>
                        <a:pt x="293281" y="27774"/>
                      </a:lnTo>
                      <a:lnTo>
                        <a:pt x="293839" y="27393"/>
                      </a:lnTo>
                      <a:lnTo>
                        <a:pt x="296202" y="26631"/>
                      </a:lnTo>
                      <a:lnTo>
                        <a:pt x="298056" y="26631"/>
                      </a:lnTo>
                      <a:lnTo>
                        <a:pt x="302044" y="26504"/>
                      </a:lnTo>
                      <a:lnTo>
                        <a:pt x="307174" y="27266"/>
                      </a:lnTo>
                      <a:lnTo>
                        <a:pt x="307619" y="26504"/>
                      </a:lnTo>
                      <a:lnTo>
                        <a:pt x="308483" y="24980"/>
                      </a:lnTo>
                      <a:lnTo>
                        <a:pt x="311327" y="20027"/>
                      </a:lnTo>
                      <a:lnTo>
                        <a:pt x="298678" y="21805"/>
                      </a:lnTo>
                      <a:lnTo>
                        <a:pt x="297332" y="22186"/>
                      </a:lnTo>
                      <a:lnTo>
                        <a:pt x="294132" y="22567"/>
                      </a:lnTo>
                      <a:lnTo>
                        <a:pt x="293128" y="23710"/>
                      </a:lnTo>
                      <a:lnTo>
                        <a:pt x="291160" y="24218"/>
                      </a:lnTo>
                      <a:lnTo>
                        <a:pt x="287235" y="24980"/>
                      </a:lnTo>
                      <a:lnTo>
                        <a:pt x="286473" y="24091"/>
                      </a:lnTo>
                      <a:lnTo>
                        <a:pt x="287070" y="23456"/>
                      </a:lnTo>
                      <a:lnTo>
                        <a:pt x="285419" y="22313"/>
                      </a:lnTo>
                      <a:lnTo>
                        <a:pt x="284759" y="22186"/>
                      </a:lnTo>
                      <a:lnTo>
                        <a:pt x="282803" y="22186"/>
                      </a:lnTo>
                      <a:lnTo>
                        <a:pt x="282473" y="22313"/>
                      </a:lnTo>
                      <a:lnTo>
                        <a:pt x="281686" y="23710"/>
                      </a:lnTo>
                      <a:lnTo>
                        <a:pt x="281419" y="27774"/>
                      </a:lnTo>
                      <a:lnTo>
                        <a:pt x="280466" y="27012"/>
                      </a:lnTo>
                      <a:lnTo>
                        <a:pt x="278726" y="24091"/>
                      </a:lnTo>
                      <a:lnTo>
                        <a:pt x="278879" y="22313"/>
                      </a:lnTo>
                      <a:lnTo>
                        <a:pt x="275894" y="21805"/>
                      </a:lnTo>
                      <a:lnTo>
                        <a:pt x="273316" y="22948"/>
                      </a:lnTo>
                      <a:lnTo>
                        <a:pt x="272326" y="23837"/>
                      </a:lnTo>
                      <a:lnTo>
                        <a:pt x="270230" y="24091"/>
                      </a:lnTo>
                      <a:lnTo>
                        <a:pt x="268782" y="23456"/>
                      </a:lnTo>
                      <a:lnTo>
                        <a:pt x="267957" y="24980"/>
                      </a:lnTo>
                      <a:lnTo>
                        <a:pt x="267868" y="25615"/>
                      </a:lnTo>
                      <a:lnTo>
                        <a:pt x="268782" y="27774"/>
                      </a:lnTo>
                      <a:lnTo>
                        <a:pt x="267030" y="28790"/>
                      </a:lnTo>
                      <a:lnTo>
                        <a:pt x="265785" y="28155"/>
                      </a:lnTo>
                      <a:lnTo>
                        <a:pt x="264617" y="28409"/>
                      </a:lnTo>
                      <a:lnTo>
                        <a:pt x="264045" y="29171"/>
                      </a:lnTo>
                      <a:lnTo>
                        <a:pt x="263525" y="29425"/>
                      </a:lnTo>
                      <a:lnTo>
                        <a:pt x="264401" y="30187"/>
                      </a:lnTo>
                      <a:lnTo>
                        <a:pt x="265607" y="30314"/>
                      </a:lnTo>
                      <a:lnTo>
                        <a:pt x="266496" y="30949"/>
                      </a:lnTo>
                      <a:lnTo>
                        <a:pt x="265607" y="31203"/>
                      </a:lnTo>
                      <a:lnTo>
                        <a:pt x="261861" y="30441"/>
                      </a:lnTo>
                      <a:lnTo>
                        <a:pt x="260464" y="31965"/>
                      </a:lnTo>
                      <a:lnTo>
                        <a:pt x="260413" y="32219"/>
                      </a:lnTo>
                      <a:lnTo>
                        <a:pt x="262750" y="36918"/>
                      </a:lnTo>
                      <a:lnTo>
                        <a:pt x="264502" y="39585"/>
                      </a:lnTo>
                      <a:lnTo>
                        <a:pt x="266674" y="40728"/>
                      </a:lnTo>
                      <a:lnTo>
                        <a:pt x="267728" y="42887"/>
                      </a:lnTo>
                      <a:lnTo>
                        <a:pt x="268363" y="44284"/>
                      </a:lnTo>
                      <a:lnTo>
                        <a:pt x="267322" y="44919"/>
                      </a:lnTo>
                      <a:lnTo>
                        <a:pt x="270802" y="45808"/>
                      </a:lnTo>
                      <a:lnTo>
                        <a:pt x="275704" y="44411"/>
                      </a:lnTo>
                      <a:lnTo>
                        <a:pt x="275183" y="41617"/>
                      </a:lnTo>
                      <a:lnTo>
                        <a:pt x="273342" y="40601"/>
                      </a:lnTo>
                      <a:lnTo>
                        <a:pt x="274637" y="37426"/>
                      </a:lnTo>
                      <a:lnTo>
                        <a:pt x="277241" y="40728"/>
                      </a:lnTo>
                      <a:lnTo>
                        <a:pt x="278218" y="41236"/>
                      </a:lnTo>
                      <a:lnTo>
                        <a:pt x="276656" y="39458"/>
                      </a:lnTo>
                      <a:lnTo>
                        <a:pt x="277609" y="40093"/>
                      </a:lnTo>
                      <a:lnTo>
                        <a:pt x="280543" y="39585"/>
                      </a:lnTo>
                      <a:lnTo>
                        <a:pt x="281546" y="39458"/>
                      </a:lnTo>
                      <a:lnTo>
                        <a:pt x="279323" y="42633"/>
                      </a:lnTo>
                      <a:lnTo>
                        <a:pt x="278333" y="43268"/>
                      </a:lnTo>
                      <a:lnTo>
                        <a:pt x="276999" y="45046"/>
                      </a:lnTo>
                      <a:lnTo>
                        <a:pt x="276504" y="46316"/>
                      </a:lnTo>
                      <a:lnTo>
                        <a:pt x="275463" y="46697"/>
                      </a:lnTo>
                      <a:lnTo>
                        <a:pt x="276745" y="47840"/>
                      </a:lnTo>
                      <a:lnTo>
                        <a:pt x="278993" y="48602"/>
                      </a:lnTo>
                      <a:lnTo>
                        <a:pt x="281990" y="49110"/>
                      </a:lnTo>
                      <a:lnTo>
                        <a:pt x="285330" y="48983"/>
                      </a:lnTo>
                      <a:lnTo>
                        <a:pt x="282346" y="53174"/>
                      </a:lnTo>
                      <a:lnTo>
                        <a:pt x="278434" y="51523"/>
                      </a:lnTo>
                      <a:lnTo>
                        <a:pt x="274027" y="49999"/>
                      </a:lnTo>
                      <a:lnTo>
                        <a:pt x="270675" y="48475"/>
                      </a:lnTo>
                      <a:lnTo>
                        <a:pt x="266573" y="49593"/>
                      </a:lnTo>
                      <a:lnTo>
                        <a:pt x="268935" y="52412"/>
                      </a:lnTo>
                      <a:lnTo>
                        <a:pt x="270433" y="53555"/>
                      </a:lnTo>
                      <a:lnTo>
                        <a:pt x="271627" y="55587"/>
                      </a:lnTo>
                      <a:lnTo>
                        <a:pt x="270560" y="56603"/>
                      </a:lnTo>
                      <a:lnTo>
                        <a:pt x="285991" y="63080"/>
                      </a:lnTo>
                      <a:lnTo>
                        <a:pt x="287909" y="64350"/>
                      </a:lnTo>
                      <a:lnTo>
                        <a:pt x="290080" y="63969"/>
                      </a:lnTo>
                      <a:lnTo>
                        <a:pt x="292011" y="63207"/>
                      </a:lnTo>
                      <a:lnTo>
                        <a:pt x="293103" y="63588"/>
                      </a:lnTo>
                      <a:lnTo>
                        <a:pt x="289864" y="66001"/>
                      </a:lnTo>
                      <a:lnTo>
                        <a:pt x="285242" y="64731"/>
                      </a:lnTo>
                      <a:lnTo>
                        <a:pt x="281546" y="65366"/>
                      </a:lnTo>
                      <a:lnTo>
                        <a:pt x="283044" y="67906"/>
                      </a:lnTo>
                      <a:lnTo>
                        <a:pt x="285838" y="69938"/>
                      </a:lnTo>
                      <a:lnTo>
                        <a:pt x="290144" y="73875"/>
                      </a:lnTo>
                      <a:lnTo>
                        <a:pt x="290614" y="74383"/>
                      </a:lnTo>
                      <a:lnTo>
                        <a:pt x="296011" y="74383"/>
                      </a:lnTo>
                      <a:lnTo>
                        <a:pt x="299999" y="75145"/>
                      </a:lnTo>
                      <a:lnTo>
                        <a:pt x="304126" y="73621"/>
                      </a:lnTo>
                      <a:lnTo>
                        <a:pt x="303085" y="73494"/>
                      </a:lnTo>
                      <a:lnTo>
                        <a:pt x="301993" y="72351"/>
                      </a:lnTo>
                      <a:lnTo>
                        <a:pt x="302958" y="72097"/>
                      </a:lnTo>
                      <a:lnTo>
                        <a:pt x="303580" y="72859"/>
                      </a:lnTo>
                      <a:lnTo>
                        <a:pt x="305015" y="72859"/>
                      </a:lnTo>
                      <a:lnTo>
                        <a:pt x="304914" y="72097"/>
                      </a:lnTo>
                      <a:lnTo>
                        <a:pt x="304876" y="71843"/>
                      </a:lnTo>
                      <a:lnTo>
                        <a:pt x="307098" y="71335"/>
                      </a:lnTo>
                      <a:lnTo>
                        <a:pt x="308013" y="72478"/>
                      </a:lnTo>
                      <a:lnTo>
                        <a:pt x="309600" y="71335"/>
                      </a:lnTo>
                      <a:lnTo>
                        <a:pt x="311353" y="70065"/>
                      </a:lnTo>
                      <a:lnTo>
                        <a:pt x="308686" y="69938"/>
                      </a:lnTo>
                      <a:lnTo>
                        <a:pt x="310184" y="68033"/>
                      </a:lnTo>
                      <a:lnTo>
                        <a:pt x="312762" y="68668"/>
                      </a:lnTo>
                      <a:lnTo>
                        <a:pt x="314756" y="68668"/>
                      </a:lnTo>
                      <a:lnTo>
                        <a:pt x="316636" y="69303"/>
                      </a:lnTo>
                      <a:lnTo>
                        <a:pt x="316344" y="68033"/>
                      </a:lnTo>
                      <a:lnTo>
                        <a:pt x="316052" y="66763"/>
                      </a:lnTo>
                      <a:lnTo>
                        <a:pt x="315823" y="65747"/>
                      </a:lnTo>
                      <a:lnTo>
                        <a:pt x="312966" y="66763"/>
                      </a:lnTo>
                      <a:lnTo>
                        <a:pt x="312267" y="66001"/>
                      </a:lnTo>
                      <a:lnTo>
                        <a:pt x="310388" y="63969"/>
                      </a:lnTo>
                      <a:lnTo>
                        <a:pt x="314706" y="64096"/>
                      </a:lnTo>
                      <a:lnTo>
                        <a:pt x="314667" y="63969"/>
                      </a:lnTo>
                      <a:lnTo>
                        <a:pt x="314401" y="63207"/>
                      </a:lnTo>
                      <a:lnTo>
                        <a:pt x="314045" y="62191"/>
                      </a:lnTo>
                      <a:lnTo>
                        <a:pt x="313982" y="60032"/>
                      </a:lnTo>
                      <a:lnTo>
                        <a:pt x="312978" y="59524"/>
                      </a:lnTo>
                      <a:lnTo>
                        <a:pt x="313931" y="59016"/>
                      </a:lnTo>
                      <a:lnTo>
                        <a:pt x="315239" y="57873"/>
                      </a:lnTo>
                      <a:lnTo>
                        <a:pt x="318630" y="57492"/>
                      </a:lnTo>
                      <a:lnTo>
                        <a:pt x="317817" y="61048"/>
                      </a:lnTo>
                      <a:lnTo>
                        <a:pt x="321271" y="62191"/>
                      </a:lnTo>
                      <a:lnTo>
                        <a:pt x="320865" y="60794"/>
                      </a:lnTo>
                      <a:lnTo>
                        <a:pt x="322656" y="60159"/>
                      </a:lnTo>
                      <a:lnTo>
                        <a:pt x="323189" y="60032"/>
                      </a:lnTo>
                      <a:lnTo>
                        <a:pt x="324688" y="59905"/>
                      </a:lnTo>
                      <a:lnTo>
                        <a:pt x="323875" y="59270"/>
                      </a:lnTo>
                      <a:lnTo>
                        <a:pt x="324053" y="57492"/>
                      </a:lnTo>
                      <a:lnTo>
                        <a:pt x="324040" y="57238"/>
                      </a:lnTo>
                      <a:lnTo>
                        <a:pt x="323557" y="55079"/>
                      </a:lnTo>
                      <a:lnTo>
                        <a:pt x="328180" y="53428"/>
                      </a:lnTo>
                      <a:lnTo>
                        <a:pt x="327977" y="57238"/>
                      </a:lnTo>
                      <a:lnTo>
                        <a:pt x="327850" y="58889"/>
                      </a:lnTo>
                      <a:lnTo>
                        <a:pt x="326491" y="62572"/>
                      </a:lnTo>
                      <a:lnTo>
                        <a:pt x="323418" y="64477"/>
                      </a:lnTo>
                      <a:lnTo>
                        <a:pt x="328091" y="66636"/>
                      </a:lnTo>
                      <a:lnTo>
                        <a:pt x="329514" y="66255"/>
                      </a:lnTo>
                      <a:lnTo>
                        <a:pt x="332359" y="65874"/>
                      </a:lnTo>
                      <a:lnTo>
                        <a:pt x="334416" y="66001"/>
                      </a:lnTo>
                      <a:lnTo>
                        <a:pt x="334708" y="65874"/>
                      </a:lnTo>
                      <a:lnTo>
                        <a:pt x="336423" y="65112"/>
                      </a:lnTo>
                      <a:lnTo>
                        <a:pt x="336969" y="64096"/>
                      </a:lnTo>
                      <a:lnTo>
                        <a:pt x="338366" y="63334"/>
                      </a:lnTo>
                      <a:lnTo>
                        <a:pt x="339013" y="63334"/>
                      </a:lnTo>
                      <a:lnTo>
                        <a:pt x="340461" y="62572"/>
                      </a:lnTo>
                      <a:lnTo>
                        <a:pt x="340398" y="61556"/>
                      </a:lnTo>
                      <a:lnTo>
                        <a:pt x="341147" y="60286"/>
                      </a:lnTo>
                      <a:lnTo>
                        <a:pt x="341426" y="60159"/>
                      </a:lnTo>
                      <a:lnTo>
                        <a:pt x="342468" y="58889"/>
                      </a:lnTo>
                      <a:lnTo>
                        <a:pt x="342531" y="57746"/>
                      </a:lnTo>
                      <a:lnTo>
                        <a:pt x="344906" y="58889"/>
                      </a:lnTo>
                      <a:lnTo>
                        <a:pt x="345655" y="59651"/>
                      </a:lnTo>
                      <a:lnTo>
                        <a:pt x="346913" y="59397"/>
                      </a:lnTo>
                      <a:lnTo>
                        <a:pt x="345567" y="62191"/>
                      </a:lnTo>
                      <a:lnTo>
                        <a:pt x="342684" y="64096"/>
                      </a:lnTo>
                      <a:lnTo>
                        <a:pt x="341172" y="66890"/>
                      </a:lnTo>
                      <a:lnTo>
                        <a:pt x="342252" y="67017"/>
                      </a:lnTo>
                      <a:lnTo>
                        <a:pt x="343128" y="67017"/>
                      </a:lnTo>
                      <a:lnTo>
                        <a:pt x="344855" y="67525"/>
                      </a:lnTo>
                      <a:lnTo>
                        <a:pt x="345998" y="68033"/>
                      </a:lnTo>
                      <a:lnTo>
                        <a:pt x="347141" y="68287"/>
                      </a:lnTo>
                      <a:lnTo>
                        <a:pt x="336423" y="69557"/>
                      </a:lnTo>
                      <a:lnTo>
                        <a:pt x="379958" y="69557"/>
                      </a:lnTo>
                      <a:lnTo>
                        <a:pt x="380314" y="66382"/>
                      </a:lnTo>
                      <a:lnTo>
                        <a:pt x="377939" y="66128"/>
                      </a:lnTo>
                      <a:lnTo>
                        <a:pt x="382727" y="65493"/>
                      </a:lnTo>
                      <a:lnTo>
                        <a:pt x="384060" y="65112"/>
                      </a:lnTo>
                      <a:lnTo>
                        <a:pt x="387019" y="64604"/>
                      </a:lnTo>
                      <a:lnTo>
                        <a:pt x="389369" y="64604"/>
                      </a:lnTo>
                      <a:lnTo>
                        <a:pt x="389153" y="63334"/>
                      </a:lnTo>
                      <a:lnTo>
                        <a:pt x="389128" y="62572"/>
                      </a:lnTo>
                      <a:lnTo>
                        <a:pt x="390639" y="60032"/>
                      </a:lnTo>
                      <a:lnTo>
                        <a:pt x="392366" y="61810"/>
                      </a:lnTo>
                      <a:lnTo>
                        <a:pt x="394042" y="61556"/>
                      </a:lnTo>
                      <a:lnTo>
                        <a:pt x="394931" y="60667"/>
                      </a:lnTo>
                      <a:lnTo>
                        <a:pt x="395833" y="60413"/>
                      </a:lnTo>
                      <a:lnTo>
                        <a:pt x="397294" y="60286"/>
                      </a:lnTo>
                      <a:lnTo>
                        <a:pt x="399224" y="60159"/>
                      </a:lnTo>
                      <a:lnTo>
                        <a:pt x="400888" y="61175"/>
                      </a:lnTo>
                      <a:lnTo>
                        <a:pt x="402894" y="60413"/>
                      </a:lnTo>
                      <a:lnTo>
                        <a:pt x="402818" y="60159"/>
                      </a:lnTo>
                      <a:lnTo>
                        <a:pt x="402780" y="60032"/>
                      </a:lnTo>
                      <a:lnTo>
                        <a:pt x="402602" y="59397"/>
                      </a:lnTo>
                      <a:lnTo>
                        <a:pt x="404037" y="58635"/>
                      </a:lnTo>
                      <a:lnTo>
                        <a:pt x="404431" y="59016"/>
                      </a:lnTo>
                      <a:lnTo>
                        <a:pt x="406260" y="59270"/>
                      </a:lnTo>
                      <a:lnTo>
                        <a:pt x="407974" y="60540"/>
                      </a:lnTo>
                      <a:lnTo>
                        <a:pt x="409994" y="60413"/>
                      </a:lnTo>
                      <a:lnTo>
                        <a:pt x="410311" y="59651"/>
                      </a:lnTo>
                      <a:lnTo>
                        <a:pt x="411543" y="59397"/>
                      </a:lnTo>
                      <a:lnTo>
                        <a:pt x="412419" y="60032"/>
                      </a:lnTo>
                      <a:lnTo>
                        <a:pt x="414058" y="59524"/>
                      </a:lnTo>
                      <a:lnTo>
                        <a:pt x="413829" y="59397"/>
                      </a:lnTo>
                      <a:lnTo>
                        <a:pt x="413385" y="59143"/>
                      </a:lnTo>
                      <a:lnTo>
                        <a:pt x="413702" y="58635"/>
                      </a:lnTo>
                      <a:lnTo>
                        <a:pt x="414248" y="57746"/>
                      </a:lnTo>
                      <a:lnTo>
                        <a:pt x="414401" y="57492"/>
                      </a:lnTo>
                      <a:lnTo>
                        <a:pt x="415810" y="57238"/>
                      </a:lnTo>
                      <a:lnTo>
                        <a:pt x="415963" y="55206"/>
                      </a:lnTo>
                      <a:close/>
                    </a:path>
                    <a:path w="2766060" h="1688464">
                      <a:moveTo>
                        <a:pt x="464032" y="87642"/>
                      </a:moveTo>
                      <a:lnTo>
                        <a:pt x="461391" y="86334"/>
                      </a:lnTo>
                      <a:lnTo>
                        <a:pt x="458978" y="84988"/>
                      </a:lnTo>
                      <a:lnTo>
                        <a:pt x="455841" y="83908"/>
                      </a:lnTo>
                      <a:lnTo>
                        <a:pt x="455930" y="83286"/>
                      </a:lnTo>
                      <a:lnTo>
                        <a:pt x="455053" y="83134"/>
                      </a:lnTo>
                      <a:lnTo>
                        <a:pt x="454761" y="83578"/>
                      </a:lnTo>
                      <a:lnTo>
                        <a:pt x="452843" y="83667"/>
                      </a:lnTo>
                      <a:lnTo>
                        <a:pt x="450850" y="84264"/>
                      </a:lnTo>
                      <a:lnTo>
                        <a:pt x="450291" y="84912"/>
                      </a:lnTo>
                      <a:lnTo>
                        <a:pt x="446747" y="84658"/>
                      </a:lnTo>
                      <a:lnTo>
                        <a:pt x="445795" y="83566"/>
                      </a:lnTo>
                      <a:lnTo>
                        <a:pt x="444068" y="83146"/>
                      </a:lnTo>
                      <a:lnTo>
                        <a:pt x="440690" y="81546"/>
                      </a:lnTo>
                      <a:lnTo>
                        <a:pt x="439877" y="80492"/>
                      </a:lnTo>
                      <a:lnTo>
                        <a:pt x="441921" y="78016"/>
                      </a:lnTo>
                      <a:lnTo>
                        <a:pt x="443318" y="75806"/>
                      </a:lnTo>
                      <a:lnTo>
                        <a:pt x="441261" y="73494"/>
                      </a:lnTo>
                      <a:lnTo>
                        <a:pt x="435279" y="72682"/>
                      </a:lnTo>
                      <a:lnTo>
                        <a:pt x="432523" y="72428"/>
                      </a:lnTo>
                      <a:lnTo>
                        <a:pt x="428828" y="73634"/>
                      </a:lnTo>
                      <a:lnTo>
                        <a:pt x="428752" y="74422"/>
                      </a:lnTo>
                      <a:lnTo>
                        <a:pt x="426872" y="73977"/>
                      </a:lnTo>
                      <a:lnTo>
                        <a:pt x="423633" y="74015"/>
                      </a:lnTo>
                      <a:lnTo>
                        <a:pt x="422084" y="73736"/>
                      </a:lnTo>
                      <a:lnTo>
                        <a:pt x="417741" y="73799"/>
                      </a:lnTo>
                      <a:lnTo>
                        <a:pt x="410184" y="75704"/>
                      </a:lnTo>
                      <a:lnTo>
                        <a:pt x="403504" y="76809"/>
                      </a:lnTo>
                      <a:lnTo>
                        <a:pt x="409295" y="79463"/>
                      </a:lnTo>
                      <a:lnTo>
                        <a:pt x="410502" y="79870"/>
                      </a:lnTo>
                      <a:lnTo>
                        <a:pt x="413219" y="81318"/>
                      </a:lnTo>
                      <a:lnTo>
                        <a:pt x="416344" y="81622"/>
                      </a:lnTo>
                      <a:lnTo>
                        <a:pt x="417296" y="82918"/>
                      </a:lnTo>
                      <a:lnTo>
                        <a:pt x="416077" y="83070"/>
                      </a:lnTo>
                      <a:lnTo>
                        <a:pt x="416661" y="83781"/>
                      </a:lnTo>
                      <a:lnTo>
                        <a:pt x="412115" y="88303"/>
                      </a:lnTo>
                      <a:lnTo>
                        <a:pt x="411213" y="91948"/>
                      </a:lnTo>
                      <a:lnTo>
                        <a:pt x="411149" y="92608"/>
                      </a:lnTo>
                      <a:lnTo>
                        <a:pt x="406400" y="93268"/>
                      </a:lnTo>
                      <a:lnTo>
                        <a:pt x="406019" y="96723"/>
                      </a:lnTo>
                      <a:lnTo>
                        <a:pt x="434936" y="93840"/>
                      </a:lnTo>
                      <a:lnTo>
                        <a:pt x="428117" y="97955"/>
                      </a:lnTo>
                      <a:lnTo>
                        <a:pt x="431190" y="101333"/>
                      </a:lnTo>
                      <a:lnTo>
                        <a:pt x="432536" y="103098"/>
                      </a:lnTo>
                      <a:lnTo>
                        <a:pt x="435432" y="102031"/>
                      </a:lnTo>
                      <a:lnTo>
                        <a:pt x="434924" y="101231"/>
                      </a:lnTo>
                      <a:lnTo>
                        <a:pt x="436803" y="99910"/>
                      </a:lnTo>
                      <a:lnTo>
                        <a:pt x="439356" y="99987"/>
                      </a:lnTo>
                      <a:lnTo>
                        <a:pt x="442315" y="99402"/>
                      </a:lnTo>
                      <a:lnTo>
                        <a:pt x="442925" y="98818"/>
                      </a:lnTo>
                      <a:lnTo>
                        <a:pt x="445439" y="97599"/>
                      </a:lnTo>
                      <a:lnTo>
                        <a:pt x="446760" y="97320"/>
                      </a:lnTo>
                      <a:lnTo>
                        <a:pt x="450126" y="95427"/>
                      </a:lnTo>
                      <a:lnTo>
                        <a:pt x="450519" y="93586"/>
                      </a:lnTo>
                      <a:lnTo>
                        <a:pt x="456539" y="90868"/>
                      </a:lnTo>
                      <a:lnTo>
                        <a:pt x="460527" y="89700"/>
                      </a:lnTo>
                      <a:lnTo>
                        <a:pt x="464032" y="87642"/>
                      </a:lnTo>
                      <a:close/>
                    </a:path>
                    <a:path w="2766060" h="1688464">
                      <a:moveTo>
                        <a:pt x="470979" y="122339"/>
                      </a:moveTo>
                      <a:lnTo>
                        <a:pt x="468845" y="123342"/>
                      </a:lnTo>
                      <a:lnTo>
                        <a:pt x="466750" y="125603"/>
                      </a:lnTo>
                      <a:lnTo>
                        <a:pt x="465429" y="127584"/>
                      </a:lnTo>
                      <a:lnTo>
                        <a:pt x="467283" y="125844"/>
                      </a:lnTo>
                      <a:lnTo>
                        <a:pt x="470979" y="122339"/>
                      </a:lnTo>
                      <a:close/>
                    </a:path>
                    <a:path w="2766060" h="1688464">
                      <a:moveTo>
                        <a:pt x="480136" y="912101"/>
                      </a:moveTo>
                      <a:lnTo>
                        <a:pt x="478485" y="912037"/>
                      </a:lnTo>
                      <a:lnTo>
                        <a:pt x="476796" y="912342"/>
                      </a:lnTo>
                      <a:lnTo>
                        <a:pt x="475157" y="912507"/>
                      </a:lnTo>
                      <a:lnTo>
                        <a:pt x="476453" y="913193"/>
                      </a:lnTo>
                      <a:lnTo>
                        <a:pt x="479056" y="913028"/>
                      </a:lnTo>
                      <a:lnTo>
                        <a:pt x="480136" y="912101"/>
                      </a:lnTo>
                      <a:close/>
                    </a:path>
                    <a:path w="2766060" h="1688464">
                      <a:moveTo>
                        <a:pt x="494296" y="58750"/>
                      </a:moveTo>
                      <a:lnTo>
                        <a:pt x="492950" y="57886"/>
                      </a:lnTo>
                      <a:lnTo>
                        <a:pt x="491261" y="57581"/>
                      </a:lnTo>
                      <a:lnTo>
                        <a:pt x="489254" y="55994"/>
                      </a:lnTo>
                      <a:lnTo>
                        <a:pt x="488823" y="55029"/>
                      </a:lnTo>
                      <a:lnTo>
                        <a:pt x="487883" y="54889"/>
                      </a:lnTo>
                      <a:lnTo>
                        <a:pt x="482955" y="54178"/>
                      </a:lnTo>
                      <a:lnTo>
                        <a:pt x="489597" y="59956"/>
                      </a:lnTo>
                      <a:lnTo>
                        <a:pt x="490448" y="60782"/>
                      </a:lnTo>
                      <a:lnTo>
                        <a:pt x="491274" y="60515"/>
                      </a:lnTo>
                      <a:lnTo>
                        <a:pt x="492569" y="60477"/>
                      </a:lnTo>
                      <a:lnTo>
                        <a:pt x="493826" y="59613"/>
                      </a:lnTo>
                      <a:lnTo>
                        <a:pt x="493610" y="59067"/>
                      </a:lnTo>
                      <a:lnTo>
                        <a:pt x="494296" y="58750"/>
                      </a:lnTo>
                      <a:close/>
                    </a:path>
                    <a:path w="2766060" h="1688464">
                      <a:moveTo>
                        <a:pt x="497967" y="20916"/>
                      </a:moveTo>
                      <a:lnTo>
                        <a:pt x="497446" y="18681"/>
                      </a:lnTo>
                      <a:lnTo>
                        <a:pt x="495935" y="18567"/>
                      </a:lnTo>
                      <a:lnTo>
                        <a:pt x="495782" y="16687"/>
                      </a:lnTo>
                      <a:lnTo>
                        <a:pt x="497306" y="14363"/>
                      </a:lnTo>
                      <a:lnTo>
                        <a:pt x="497624" y="13576"/>
                      </a:lnTo>
                      <a:lnTo>
                        <a:pt x="455155" y="4508"/>
                      </a:lnTo>
                      <a:lnTo>
                        <a:pt x="453313" y="4686"/>
                      </a:lnTo>
                      <a:lnTo>
                        <a:pt x="453707" y="6096"/>
                      </a:lnTo>
                      <a:lnTo>
                        <a:pt x="456171" y="6070"/>
                      </a:lnTo>
                      <a:lnTo>
                        <a:pt x="456615" y="6261"/>
                      </a:lnTo>
                      <a:lnTo>
                        <a:pt x="454202" y="6819"/>
                      </a:lnTo>
                      <a:lnTo>
                        <a:pt x="451586" y="6565"/>
                      </a:lnTo>
                      <a:lnTo>
                        <a:pt x="447814" y="6769"/>
                      </a:lnTo>
                      <a:lnTo>
                        <a:pt x="446493" y="8089"/>
                      </a:lnTo>
                      <a:lnTo>
                        <a:pt x="448106" y="8775"/>
                      </a:lnTo>
                      <a:lnTo>
                        <a:pt x="441096" y="13423"/>
                      </a:lnTo>
                      <a:lnTo>
                        <a:pt x="436422" y="12306"/>
                      </a:lnTo>
                      <a:lnTo>
                        <a:pt x="436765" y="8763"/>
                      </a:lnTo>
                      <a:lnTo>
                        <a:pt x="439940" y="8204"/>
                      </a:lnTo>
                      <a:lnTo>
                        <a:pt x="441032" y="7607"/>
                      </a:lnTo>
                      <a:lnTo>
                        <a:pt x="441566" y="6032"/>
                      </a:lnTo>
                      <a:lnTo>
                        <a:pt x="441223" y="5359"/>
                      </a:lnTo>
                      <a:lnTo>
                        <a:pt x="437896" y="3352"/>
                      </a:lnTo>
                      <a:lnTo>
                        <a:pt x="436384" y="2197"/>
                      </a:lnTo>
                      <a:lnTo>
                        <a:pt x="435140" y="774"/>
                      </a:lnTo>
                      <a:lnTo>
                        <a:pt x="433387" y="0"/>
                      </a:lnTo>
                      <a:lnTo>
                        <a:pt x="435229" y="3848"/>
                      </a:lnTo>
                      <a:lnTo>
                        <a:pt x="430060" y="1308"/>
                      </a:lnTo>
                      <a:lnTo>
                        <a:pt x="427202" y="3619"/>
                      </a:lnTo>
                      <a:lnTo>
                        <a:pt x="427164" y="4800"/>
                      </a:lnTo>
                      <a:lnTo>
                        <a:pt x="428485" y="6261"/>
                      </a:lnTo>
                      <a:lnTo>
                        <a:pt x="429577" y="5816"/>
                      </a:lnTo>
                      <a:lnTo>
                        <a:pt x="431406" y="7594"/>
                      </a:lnTo>
                      <a:lnTo>
                        <a:pt x="429514" y="7251"/>
                      </a:lnTo>
                      <a:lnTo>
                        <a:pt x="428802" y="8623"/>
                      </a:lnTo>
                      <a:lnTo>
                        <a:pt x="429361" y="9182"/>
                      </a:lnTo>
                      <a:lnTo>
                        <a:pt x="429082" y="10058"/>
                      </a:lnTo>
                      <a:lnTo>
                        <a:pt x="428561" y="10985"/>
                      </a:lnTo>
                      <a:lnTo>
                        <a:pt x="427774" y="13385"/>
                      </a:lnTo>
                      <a:lnTo>
                        <a:pt x="428345" y="15595"/>
                      </a:lnTo>
                      <a:lnTo>
                        <a:pt x="425361" y="17132"/>
                      </a:lnTo>
                      <a:lnTo>
                        <a:pt x="425119" y="15938"/>
                      </a:lnTo>
                      <a:lnTo>
                        <a:pt x="425627" y="15938"/>
                      </a:lnTo>
                      <a:lnTo>
                        <a:pt x="423037" y="12966"/>
                      </a:lnTo>
                      <a:lnTo>
                        <a:pt x="419239" y="13601"/>
                      </a:lnTo>
                      <a:lnTo>
                        <a:pt x="416801" y="12839"/>
                      </a:lnTo>
                      <a:lnTo>
                        <a:pt x="417474" y="11963"/>
                      </a:lnTo>
                      <a:lnTo>
                        <a:pt x="417957" y="11684"/>
                      </a:lnTo>
                      <a:lnTo>
                        <a:pt x="414655" y="10604"/>
                      </a:lnTo>
                      <a:lnTo>
                        <a:pt x="411010" y="10502"/>
                      </a:lnTo>
                      <a:lnTo>
                        <a:pt x="405218" y="9601"/>
                      </a:lnTo>
                      <a:lnTo>
                        <a:pt x="404837" y="8293"/>
                      </a:lnTo>
                      <a:lnTo>
                        <a:pt x="401142" y="6057"/>
                      </a:lnTo>
                      <a:lnTo>
                        <a:pt x="399783" y="5016"/>
                      </a:lnTo>
                      <a:lnTo>
                        <a:pt x="394220" y="3378"/>
                      </a:lnTo>
                      <a:lnTo>
                        <a:pt x="391490" y="1612"/>
                      </a:lnTo>
                      <a:lnTo>
                        <a:pt x="388366" y="508"/>
                      </a:lnTo>
                      <a:lnTo>
                        <a:pt x="388340" y="927"/>
                      </a:lnTo>
                      <a:lnTo>
                        <a:pt x="384251" y="2413"/>
                      </a:lnTo>
                      <a:lnTo>
                        <a:pt x="387807" y="4178"/>
                      </a:lnTo>
                      <a:lnTo>
                        <a:pt x="390359" y="3784"/>
                      </a:lnTo>
                      <a:lnTo>
                        <a:pt x="392239" y="4419"/>
                      </a:lnTo>
                      <a:lnTo>
                        <a:pt x="390537" y="5435"/>
                      </a:lnTo>
                      <a:lnTo>
                        <a:pt x="391414" y="5778"/>
                      </a:lnTo>
                      <a:lnTo>
                        <a:pt x="389712" y="6273"/>
                      </a:lnTo>
                      <a:lnTo>
                        <a:pt x="389902" y="8648"/>
                      </a:lnTo>
                      <a:lnTo>
                        <a:pt x="387438" y="9804"/>
                      </a:lnTo>
                      <a:lnTo>
                        <a:pt x="382714" y="6654"/>
                      </a:lnTo>
                      <a:lnTo>
                        <a:pt x="379018" y="4965"/>
                      </a:lnTo>
                      <a:lnTo>
                        <a:pt x="378942" y="6184"/>
                      </a:lnTo>
                      <a:lnTo>
                        <a:pt x="380034" y="6350"/>
                      </a:lnTo>
                      <a:lnTo>
                        <a:pt x="380695" y="7696"/>
                      </a:lnTo>
                      <a:lnTo>
                        <a:pt x="380657" y="8623"/>
                      </a:lnTo>
                      <a:lnTo>
                        <a:pt x="381673" y="9385"/>
                      </a:lnTo>
                      <a:lnTo>
                        <a:pt x="361454" y="12560"/>
                      </a:lnTo>
                      <a:lnTo>
                        <a:pt x="378129" y="15125"/>
                      </a:lnTo>
                      <a:lnTo>
                        <a:pt x="377863" y="15735"/>
                      </a:lnTo>
                      <a:lnTo>
                        <a:pt x="375767" y="16408"/>
                      </a:lnTo>
                      <a:lnTo>
                        <a:pt x="376682" y="16979"/>
                      </a:lnTo>
                      <a:lnTo>
                        <a:pt x="375780" y="17399"/>
                      </a:lnTo>
                      <a:lnTo>
                        <a:pt x="375920" y="17754"/>
                      </a:lnTo>
                      <a:lnTo>
                        <a:pt x="374434" y="16497"/>
                      </a:lnTo>
                      <a:lnTo>
                        <a:pt x="373570" y="16344"/>
                      </a:lnTo>
                      <a:lnTo>
                        <a:pt x="374980" y="18351"/>
                      </a:lnTo>
                      <a:lnTo>
                        <a:pt x="373265" y="17856"/>
                      </a:lnTo>
                      <a:lnTo>
                        <a:pt x="372783" y="18859"/>
                      </a:lnTo>
                      <a:lnTo>
                        <a:pt x="372465" y="18719"/>
                      </a:lnTo>
                      <a:lnTo>
                        <a:pt x="373087" y="20726"/>
                      </a:lnTo>
                      <a:lnTo>
                        <a:pt x="374281" y="22733"/>
                      </a:lnTo>
                      <a:lnTo>
                        <a:pt x="375843" y="26085"/>
                      </a:lnTo>
                      <a:lnTo>
                        <a:pt x="377647" y="25565"/>
                      </a:lnTo>
                      <a:lnTo>
                        <a:pt x="386549" y="26212"/>
                      </a:lnTo>
                      <a:lnTo>
                        <a:pt x="392671" y="24955"/>
                      </a:lnTo>
                      <a:lnTo>
                        <a:pt x="395046" y="24206"/>
                      </a:lnTo>
                      <a:lnTo>
                        <a:pt x="401701" y="22860"/>
                      </a:lnTo>
                      <a:lnTo>
                        <a:pt x="428739" y="23355"/>
                      </a:lnTo>
                      <a:lnTo>
                        <a:pt x="421462" y="24815"/>
                      </a:lnTo>
                      <a:lnTo>
                        <a:pt x="420268" y="25514"/>
                      </a:lnTo>
                      <a:lnTo>
                        <a:pt x="420547" y="26111"/>
                      </a:lnTo>
                      <a:lnTo>
                        <a:pt x="419709" y="26530"/>
                      </a:lnTo>
                      <a:lnTo>
                        <a:pt x="412076" y="25857"/>
                      </a:lnTo>
                      <a:lnTo>
                        <a:pt x="404850" y="26530"/>
                      </a:lnTo>
                      <a:lnTo>
                        <a:pt x="405892" y="28448"/>
                      </a:lnTo>
                      <a:lnTo>
                        <a:pt x="408597" y="29273"/>
                      </a:lnTo>
                      <a:lnTo>
                        <a:pt x="410184" y="30746"/>
                      </a:lnTo>
                      <a:lnTo>
                        <a:pt x="408813" y="31572"/>
                      </a:lnTo>
                      <a:lnTo>
                        <a:pt x="404863" y="30162"/>
                      </a:lnTo>
                      <a:lnTo>
                        <a:pt x="399745" y="30111"/>
                      </a:lnTo>
                      <a:lnTo>
                        <a:pt x="397040" y="28003"/>
                      </a:lnTo>
                      <a:lnTo>
                        <a:pt x="393661" y="28600"/>
                      </a:lnTo>
                      <a:lnTo>
                        <a:pt x="395808" y="33959"/>
                      </a:lnTo>
                      <a:lnTo>
                        <a:pt x="401307" y="36766"/>
                      </a:lnTo>
                      <a:lnTo>
                        <a:pt x="409257" y="37363"/>
                      </a:lnTo>
                      <a:lnTo>
                        <a:pt x="411441" y="36347"/>
                      </a:lnTo>
                      <a:lnTo>
                        <a:pt x="415671" y="36322"/>
                      </a:lnTo>
                      <a:lnTo>
                        <a:pt x="417499" y="37604"/>
                      </a:lnTo>
                      <a:lnTo>
                        <a:pt x="426897" y="35420"/>
                      </a:lnTo>
                      <a:lnTo>
                        <a:pt x="431380" y="36931"/>
                      </a:lnTo>
                      <a:lnTo>
                        <a:pt x="441413" y="38658"/>
                      </a:lnTo>
                      <a:lnTo>
                        <a:pt x="446366" y="44856"/>
                      </a:lnTo>
                      <a:lnTo>
                        <a:pt x="454139" y="42240"/>
                      </a:lnTo>
                      <a:lnTo>
                        <a:pt x="454291" y="41402"/>
                      </a:lnTo>
                      <a:lnTo>
                        <a:pt x="455574" y="39395"/>
                      </a:lnTo>
                      <a:lnTo>
                        <a:pt x="455142" y="39141"/>
                      </a:lnTo>
                      <a:lnTo>
                        <a:pt x="458736" y="38684"/>
                      </a:lnTo>
                      <a:lnTo>
                        <a:pt x="461899" y="37820"/>
                      </a:lnTo>
                      <a:lnTo>
                        <a:pt x="465455" y="38976"/>
                      </a:lnTo>
                      <a:lnTo>
                        <a:pt x="469874" y="37973"/>
                      </a:lnTo>
                      <a:lnTo>
                        <a:pt x="470903" y="37185"/>
                      </a:lnTo>
                      <a:lnTo>
                        <a:pt x="474814" y="36436"/>
                      </a:lnTo>
                      <a:lnTo>
                        <a:pt x="477558" y="34988"/>
                      </a:lnTo>
                      <a:lnTo>
                        <a:pt x="477202" y="33985"/>
                      </a:lnTo>
                      <a:lnTo>
                        <a:pt x="480910" y="32080"/>
                      </a:lnTo>
                      <a:lnTo>
                        <a:pt x="477659" y="30886"/>
                      </a:lnTo>
                      <a:lnTo>
                        <a:pt x="477240" y="28702"/>
                      </a:lnTo>
                      <a:lnTo>
                        <a:pt x="479094" y="28613"/>
                      </a:lnTo>
                      <a:lnTo>
                        <a:pt x="485355" y="26720"/>
                      </a:lnTo>
                      <a:lnTo>
                        <a:pt x="489673" y="24117"/>
                      </a:lnTo>
                      <a:lnTo>
                        <a:pt x="491553" y="22377"/>
                      </a:lnTo>
                      <a:lnTo>
                        <a:pt x="495757" y="21869"/>
                      </a:lnTo>
                      <a:lnTo>
                        <a:pt x="497967" y="20916"/>
                      </a:lnTo>
                      <a:close/>
                    </a:path>
                    <a:path w="2766060" h="1688464">
                      <a:moveTo>
                        <a:pt x="532472" y="52400"/>
                      </a:moveTo>
                      <a:lnTo>
                        <a:pt x="528116" y="51079"/>
                      </a:lnTo>
                      <a:lnTo>
                        <a:pt x="514019" y="49809"/>
                      </a:lnTo>
                      <a:lnTo>
                        <a:pt x="511035" y="52438"/>
                      </a:lnTo>
                      <a:lnTo>
                        <a:pt x="506818" y="53746"/>
                      </a:lnTo>
                      <a:lnTo>
                        <a:pt x="507492" y="54483"/>
                      </a:lnTo>
                      <a:lnTo>
                        <a:pt x="508952" y="54584"/>
                      </a:lnTo>
                      <a:lnTo>
                        <a:pt x="509930" y="54864"/>
                      </a:lnTo>
                      <a:lnTo>
                        <a:pt x="511302" y="53936"/>
                      </a:lnTo>
                      <a:lnTo>
                        <a:pt x="514007" y="52298"/>
                      </a:lnTo>
                      <a:lnTo>
                        <a:pt x="515785" y="52514"/>
                      </a:lnTo>
                      <a:lnTo>
                        <a:pt x="517728" y="52755"/>
                      </a:lnTo>
                      <a:lnTo>
                        <a:pt x="519455" y="51625"/>
                      </a:lnTo>
                      <a:lnTo>
                        <a:pt x="523265" y="52476"/>
                      </a:lnTo>
                      <a:lnTo>
                        <a:pt x="524865" y="53936"/>
                      </a:lnTo>
                      <a:lnTo>
                        <a:pt x="528726" y="53670"/>
                      </a:lnTo>
                      <a:lnTo>
                        <a:pt x="530656" y="52679"/>
                      </a:lnTo>
                      <a:lnTo>
                        <a:pt x="532472" y="52400"/>
                      </a:lnTo>
                      <a:close/>
                    </a:path>
                    <a:path w="2766060" h="1688464">
                      <a:moveTo>
                        <a:pt x="566788" y="807300"/>
                      </a:moveTo>
                      <a:lnTo>
                        <a:pt x="564172" y="806196"/>
                      </a:lnTo>
                      <a:lnTo>
                        <a:pt x="561492" y="805192"/>
                      </a:lnTo>
                      <a:lnTo>
                        <a:pt x="558952" y="803922"/>
                      </a:lnTo>
                      <a:lnTo>
                        <a:pt x="559333" y="806869"/>
                      </a:lnTo>
                      <a:lnTo>
                        <a:pt x="564413" y="806919"/>
                      </a:lnTo>
                      <a:lnTo>
                        <a:pt x="566788" y="807300"/>
                      </a:lnTo>
                      <a:close/>
                    </a:path>
                    <a:path w="2766060" h="1688464">
                      <a:moveTo>
                        <a:pt x="589280" y="9728"/>
                      </a:moveTo>
                      <a:lnTo>
                        <a:pt x="561771" y="14135"/>
                      </a:lnTo>
                      <a:lnTo>
                        <a:pt x="566674" y="13855"/>
                      </a:lnTo>
                      <a:lnTo>
                        <a:pt x="571334" y="13449"/>
                      </a:lnTo>
                      <a:lnTo>
                        <a:pt x="578434" y="12255"/>
                      </a:lnTo>
                      <a:lnTo>
                        <a:pt x="580555" y="11620"/>
                      </a:lnTo>
                      <a:lnTo>
                        <a:pt x="582803" y="11239"/>
                      </a:lnTo>
                      <a:lnTo>
                        <a:pt x="584746" y="10909"/>
                      </a:lnTo>
                      <a:lnTo>
                        <a:pt x="587654" y="10782"/>
                      </a:lnTo>
                      <a:lnTo>
                        <a:pt x="589280" y="9728"/>
                      </a:lnTo>
                      <a:close/>
                    </a:path>
                    <a:path w="2766060" h="1688464">
                      <a:moveTo>
                        <a:pt x="808939" y="797166"/>
                      </a:moveTo>
                      <a:close/>
                    </a:path>
                    <a:path w="2766060" h="1688464">
                      <a:moveTo>
                        <a:pt x="838923" y="1369098"/>
                      </a:moveTo>
                      <a:lnTo>
                        <a:pt x="838492" y="1369263"/>
                      </a:lnTo>
                      <a:lnTo>
                        <a:pt x="838225" y="1369148"/>
                      </a:lnTo>
                      <a:lnTo>
                        <a:pt x="837958" y="1369644"/>
                      </a:lnTo>
                      <a:lnTo>
                        <a:pt x="838301" y="1369479"/>
                      </a:lnTo>
                      <a:lnTo>
                        <a:pt x="838606" y="1369275"/>
                      </a:lnTo>
                      <a:lnTo>
                        <a:pt x="838923" y="1369098"/>
                      </a:lnTo>
                      <a:close/>
                    </a:path>
                    <a:path w="2766060" h="1688464">
                      <a:moveTo>
                        <a:pt x="839381" y="1368844"/>
                      </a:moveTo>
                      <a:lnTo>
                        <a:pt x="838923" y="1369098"/>
                      </a:lnTo>
                      <a:lnTo>
                        <a:pt x="839381" y="1368844"/>
                      </a:lnTo>
                      <a:close/>
                    </a:path>
                    <a:path w="2766060" h="1688464">
                      <a:moveTo>
                        <a:pt x="867879" y="935596"/>
                      </a:moveTo>
                      <a:lnTo>
                        <a:pt x="867727" y="933805"/>
                      </a:lnTo>
                      <a:lnTo>
                        <a:pt x="867422" y="931951"/>
                      </a:lnTo>
                      <a:lnTo>
                        <a:pt x="867537" y="930148"/>
                      </a:lnTo>
                      <a:lnTo>
                        <a:pt x="866686" y="931227"/>
                      </a:lnTo>
                      <a:lnTo>
                        <a:pt x="867689" y="934389"/>
                      </a:lnTo>
                      <a:lnTo>
                        <a:pt x="867879" y="935596"/>
                      </a:lnTo>
                      <a:close/>
                    </a:path>
                    <a:path w="2766060" h="1688464">
                      <a:moveTo>
                        <a:pt x="952182" y="811911"/>
                      </a:moveTo>
                      <a:lnTo>
                        <a:pt x="952004" y="811847"/>
                      </a:lnTo>
                      <a:lnTo>
                        <a:pt x="951750" y="812507"/>
                      </a:lnTo>
                      <a:lnTo>
                        <a:pt x="952157" y="811999"/>
                      </a:lnTo>
                      <a:close/>
                    </a:path>
                    <a:path w="2766060" h="1688464">
                      <a:moveTo>
                        <a:pt x="1135151" y="1339710"/>
                      </a:moveTo>
                      <a:lnTo>
                        <a:pt x="1131265" y="1339710"/>
                      </a:lnTo>
                      <a:lnTo>
                        <a:pt x="1131265" y="1343596"/>
                      </a:lnTo>
                      <a:lnTo>
                        <a:pt x="1135151" y="1339710"/>
                      </a:lnTo>
                      <a:close/>
                    </a:path>
                    <a:path w="2766060" h="1688464">
                      <a:moveTo>
                        <a:pt x="1247559" y="1371460"/>
                      </a:moveTo>
                      <a:close/>
                    </a:path>
                    <a:path w="2766060" h="1688464">
                      <a:moveTo>
                        <a:pt x="1439316" y="1232077"/>
                      </a:moveTo>
                      <a:lnTo>
                        <a:pt x="1437932" y="1228191"/>
                      </a:lnTo>
                      <a:lnTo>
                        <a:pt x="1438084" y="1228953"/>
                      </a:lnTo>
                      <a:lnTo>
                        <a:pt x="1438363" y="1229702"/>
                      </a:lnTo>
                      <a:lnTo>
                        <a:pt x="1438884" y="1230985"/>
                      </a:lnTo>
                      <a:lnTo>
                        <a:pt x="1439113" y="1231531"/>
                      </a:lnTo>
                      <a:lnTo>
                        <a:pt x="1439316" y="1232077"/>
                      </a:lnTo>
                      <a:close/>
                    </a:path>
                    <a:path w="2766060" h="1688464">
                      <a:moveTo>
                        <a:pt x="1514652" y="1365415"/>
                      </a:moveTo>
                      <a:lnTo>
                        <a:pt x="1514614" y="1365135"/>
                      </a:lnTo>
                      <a:lnTo>
                        <a:pt x="1514030" y="1362481"/>
                      </a:lnTo>
                      <a:lnTo>
                        <a:pt x="1513611" y="1362202"/>
                      </a:lnTo>
                      <a:lnTo>
                        <a:pt x="1513319" y="1362024"/>
                      </a:lnTo>
                      <a:lnTo>
                        <a:pt x="1513154" y="1361770"/>
                      </a:lnTo>
                      <a:lnTo>
                        <a:pt x="1512773" y="1361821"/>
                      </a:lnTo>
                      <a:lnTo>
                        <a:pt x="1512227" y="1361948"/>
                      </a:lnTo>
                      <a:lnTo>
                        <a:pt x="1512074" y="1362214"/>
                      </a:lnTo>
                      <a:lnTo>
                        <a:pt x="1512100" y="1362532"/>
                      </a:lnTo>
                      <a:lnTo>
                        <a:pt x="1512150" y="1363560"/>
                      </a:lnTo>
                      <a:lnTo>
                        <a:pt x="1514373" y="1365199"/>
                      </a:lnTo>
                      <a:lnTo>
                        <a:pt x="1514652" y="1365415"/>
                      </a:lnTo>
                      <a:close/>
                    </a:path>
                    <a:path w="2766060" h="1688464">
                      <a:moveTo>
                        <a:pt x="2112111" y="984008"/>
                      </a:moveTo>
                      <a:lnTo>
                        <a:pt x="2110371" y="982268"/>
                      </a:lnTo>
                      <a:lnTo>
                        <a:pt x="2106091" y="982268"/>
                      </a:lnTo>
                      <a:lnTo>
                        <a:pt x="2104351" y="984008"/>
                      </a:lnTo>
                      <a:lnTo>
                        <a:pt x="2104351" y="987920"/>
                      </a:lnTo>
                      <a:lnTo>
                        <a:pt x="2105545" y="989342"/>
                      </a:lnTo>
                      <a:lnTo>
                        <a:pt x="2107133" y="989825"/>
                      </a:lnTo>
                      <a:lnTo>
                        <a:pt x="2107476" y="989939"/>
                      </a:lnTo>
                      <a:lnTo>
                        <a:pt x="2107831" y="990041"/>
                      </a:lnTo>
                      <a:lnTo>
                        <a:pt x="2109813" y="990041"/>
                      </a:lnTo>
                      <a:lnTo>
                        <a:pt x="2111171" y="989088"/>
                      </a:lnTo>
                      <a:lnTo>
                        <a:pt x="2111768" y="987717"/>
                      </a:lnTo>
                      <a:lnTo>
                        <a:pt x="2111984" y="987247"/>
                      </a:lnTo>
                      <a:lnTo>
                        <a:pt x="2112111" y="986713"/>
                      </a:lnTo>
                      <a:lnTo>
                        <a:pt x="2112111" y="984008"/>
                      </a:lnTo>
                      <a:close/>
                    </a:path>
                    <a:path w="2766060" h="1688464">
                      <a:moveTo>
                        <a:pt x="2164626" y="1666049"/>
                      </a:moveTo>
                      <a:lnTo>
                        <a:pt x="2164550" y="1665478"/>
                      </a:lnTo>
                      <a:lnTo>
                        <a:pt x="2164626" y="1666138"/>
                      </a:lnTo>
                      <a:close/>
                    </a:path>
                    <a:path w="2766060" h="1688464">
                      <a:moveTo>
                        <a:pt x="2166632" y="1675066"/>
                      </a:moveTo>
                      <a:lnTo>
                        <a:pt x="2166328" y="1675396"/>
                      </a:lnTo>
                      <a:lnTo>
                        <a:pt x="2166632" y="1675066"/>
                      </a:lnTo>
                      <a:close/>
                    </a:path>
                    <a:path w="2766060" h="1688464">
                      <a:moveTo>
                        <a:pt x="2259825" y="1393672"/>
                      </a:moveTo>
                      <a:lnTo>
                        <a:pt x="2259444" y="1393926"/>
                      </a:lnTo>
                      <a:lnTo>
                        <a:pt x="2259825" y="1393672"/>
                      </a:lnTo>
                      <a:close/>
                    </a:path>
                    <a:path w="2766060" h="1688464">
                      <a:moveTo>
                        <a:pt x="2276792" y="1412849"/>
                      </a:moveTo>
                      <a:lnTo>
                        <a:pt x="2276716" y="1413649"/>
                      </a:lnTo>
                      <a:lnTo>
                        <a:pt x="2276792" y="1413052"/>
                      </a:lnTo>
                      <a:lnTo>
                        <a:pt x="2276792" y="1412849"/>
                      </a:lnTo>
                      <a:close/>
                    </a:path>
                    <a:path w="2766060" h="1688464">
                      <a:moveTo>
                        <a:pt x="2278875" y="1414132"/>
                      </a:moveTo>
                      <a:lnTo>
                        <a:pt x="2278646" y="1414132"/>
                      </a:lnTo>
                      <a:lnTo>
                        <a:pt x="2278456" y="1414145"/>
                      </a:lnTo>
                      <a:lnTo>
                        <a:pt x="2278875" y="1414132"/>
                      </a:lnTo>
                      <a:close/>
                    </a:path>
                    <a:path w="2766060" h="1688464">
                      <a:moveTo>
                        <a:pt x="2486088" y="1672983"/>
                      </a:moveTo>
                      <a:lnTo>
                        <a:pt x="2484856" y="1672767"/>
                      </a:lnTo>
                      <a:lnTo>
                        <a:pt x="2484043" y="1672590"/>
                      </a:lnTo>
                      <a:lnTo>
                        <a:pt x="2482481" y="1672678"/>
                      </a:lnTo>
                      <a:lnTo>
                        <a:pt x="2482062" y="1673275"/>
                      </a:lnTo>
                      <a:lnTo>
                        <a:pt x="2481427" y="1675206"/>
                      </a:lnTo>
                      <a:lnTo>
                        <a:pt x="2482888" y="1675155"/>
                      </a:lnTo>
                      <a:lnTo>
                        <a:pt x="2482926" y="1673707"/>
                      </a:lnTo>
                      <a:lnTo>
                        <a:pt x="2483891" y="1674406"/>
                      </a:lnTo>
                      <a:lnTo>
                        <a:pt x="2484005" y="1674279"/>
                      </a:lnTo>
                      <a:lnTo>
                        <a:pt x="2483891" y="1674037"/>
                      </a:lnTo>
                      <a:lnTo>
                        <a:pt x="2484056" y="1673923"/>
                      </a:lnTo>
                      <a:lnTo>
                        <a:pt x="2484551" y="1674723"/>
                      </a:lnTo>
                      <a:lnTo>
                        <a:pt x="2485225" y="1674393"/>
                      </a:lnTo>
                      <a:lnTo>
                        <a:pt x="2485860" y="1673567"/>
                      </a:lnTo>
                      <a:lnTo>
                        <a:pt x="2486025" y="1673263"/>
                      </a:lnTo>
                      <a:lnTo>
                        <a:pt x="2486088" y="1672983"/>
                      </a:lnTo>
                      <a:close/>
                    </a:path>
                    <a:path w="2766060" h="1688464">
                      <a:moveTo>
                        <a:pt x="2498077" y="1687830"/>
                      </a:moveTo>
                      <a:lnTo>
                        <a:pt x="2496985" y="1686115"/>
                      </a:lnTo>
                      <a:lnTo>
                        <a:pt x="2495893" y="1686217"/>
                      </a:lnTo>
                      <a:lnTo>
                        <a:pt x="2495766" y="1686217"/>
                      </a:lnTo>
                      <a:lnTo>
                        <a:pt x="2495931" y="1686877"/>
                      </a:lnTo>
                      <a:lnTo>
                        <a:pt x="2496045" y="1687461"/>
                      </a:lnTo>
                      <a:lnTo>
                        <a:pt x="2496261" y="1687957"/>
                      </a:lnTo>
                      <a:lnTo>
                        <a:pt x="2496845" y="1688071"/>
                      </a:lnTo>
                      <a:lnTo>
                        <a:pt x="2497544" y="1687982"/>
                      </a:lnTo>
                      <a:lnTo>
                        <a:pt x="2498077" y="1687830"/>
                      </a:lnTo>
                      <a:close/>
                    </a:path>
                    <a:path w="2766060" h="1688464">
                      <a:moveTo>
                        <a:pt x="2590495" y="682117"/>
                      </a:moveTo>
                      <a:lnTo>
                        <a:pt x="2587104" y="681380"/>
                      </a:lnTo>
                      <a:lnTo>
                        <a:pt x="2586329" y="681634"/>
                      </a:lnTo>
                      <a:lnTo>
                        <a:pt x="2587879" y="680262"/>
                      </a:lnTo>
                      <a:lnTo>
                        <a:pt x="2582875" y="680389"/>
                      </a:lnTo>
                      <a:lnTo>
                        <a:pt x="2582405" y="680339"/>
                      </a:lnTo>
                      <a:lnTo>
                        <a:pt x="2580246" y="680097"/>
                      </a:lnTo>
                      <a:lnTo>
                        <a:pt x="2578544" y="680275"/>
                      </a:lnTo>
                      <a:lnTo>
                        <a:pt x="2576728" y="681748"/>
                      </a:lnTo>
                      <a:lnTo>
                        <a:pt x="2578747" y="683120"/>
                      </a:lnTo>
                      <a:lnTo>
                        <a:pt x="2580983" y="684136"/>
                      </a:lnTo>
                      <a:lnTo>
                        <a:pt x="2583129" y="685279"/>
                      </a:lnTo>
                      <a:lnTo>
                        <a:pt x="2583561" y="684834"/>
                      </a:lnTo>
                      <a:lnTo>
                        <a:pt x="2584412" y="683831"/>
                      </a:lnTo>
                      <a:lnTo>
                        <a:pt x="2585643" y="683641"/>
                      </a:lnTo>
                      <a:lnTo>
                        <a:pt x="2585796" y="684682"/>
                      </a:lnTo>
                      <a:lnTo>
                        <a:pt x="2587066" y="684339"/>
                      </a:lnTo>
                      <a:lnTo>
                        <a:pt x="2587256" y="683691"/>
                      </a:lnTo>
                      <a:lnTo>
                        <a:pt x="2588183" y="683501"/>
                      </a:lnTo>
                      <a:lnTo>
                        <a:pt x="2590266" y="684288"/>
                      </a:lnTo>
                      <a:lnTo>
                        <a:pt x="2590381" y="683412"/>
                      </a:lnTo>
                      <a:lnTo>
                        <a:pt x="2590495" y="682117"/>
                      </a:lnTo>
                      <a:close/>
                    </a:path>
                    <a:path w="2766060" h="1688464">
                      <a:moveTo>
                        <a:pt x="2595372" y="690041"/>
                      </a:moveTo>
                      <a:lnTo>
                        <a:pt x="2593175" y="689749"/>
                      </a:lnTo>
                      <a:lnTo>
                        <a:pt x="2593365" y="690435"/>
                      </a:lnTo>
                      <a:lnTo>
                        <a:pt x="2591816" y="691121"/>
                      </a:lnTo>
                      <a:lnTo>
                        <a:pt x="2591016" y="691464"/>
                      </a:lnTo>
                      <a:lnTo>
                        <a:pt x="2590393" y="690765"/>
                      </a:lnTo>
                      <a:lnTo>
                        <a:pt x="2589669" y="691705"/>
                      </a:lnTo>
                      <a:lnTo>
                        <a:pt x="2590850" y="692340"/>
                      </a:lnTo>
                      <a:lnTo>
                        <a:pt x="2592286" y="692543"/>
                      </a:lnTo>
                      <a:lnTo>
                        <a:pt x="2593594" y="692899"/>
                      </a:lnTo>
                      <a:lnTo>
                        <a:pt x="2594089" y="691845"/>
                      </a:lnTo>
                      <a:lnTo>
                        <a:pt x="2594178" y="690549"/>
                      </a:lnTo>
                      <a:lnTo>
                        <a:pt x="2595372" y="690041"/>
                      </a:lnTo>
                      <a:close/>
                    </a:path>
                    <a:path w="2766060" h="1688464">
                      <a:moveTo>
                        <a:pt x="2651163" y="697738"/>
                      </a:moveTo>
                      <a:lnTo>
                        <a:pt x="2649575" y="698474"/>
                      </a:lnTo>
                      <a:lnTo>
                        <a:pt x="2643251" y="701268"/>
                      </a:lnTo>
                      <a:lnTo>
                        <a:pt x="2645956" y="703008"/>
                      </a:lnTo>
                      <a:lnTo>
                        <a:pt x="2647378" y="699592"/>
                      </a:lnTo>
                      <a:lnTo>
                        <a:pt x="2648077" y="702259"/>
                      </a:lnTo>
                      <a:lnTo>
                        <a:pt x="2650426" y="700608"/>
                      </a:lnTo>
                      <a:lnTo>
                        <a:pt x="2649931" y="699998"/>
                      </a:lnTo>
                      <a:lnTo>
                        <a:pt x="2650350" y="698690"/>
                      </a:lnTo>
                      <a:lnTo>
                        <a:pt x="2651010" y="698207"/>
                      </a:lnTo>
                      <a:lnTo>
                        <a:pt x="2651163" y="697738"/>
                      </a:lnTo>
                      <a:close/>
                    </a:path>
                    <a:path w="2766060" h="1688464">
                      <a:moveTo>
                        <a:pt x="2676715" y="711657"/>
                      </a:moveTo>
                      <a:lnTo>
                        <a:pt x="2674975" y="710730"/>
                      </a:lnTo>
                      <a:lnTo>
                        <a:pt x="2672854" y="710336"/>
                      </a:lnTo>
                      <a:lnTo>
                        <a:pt x="2670505" y="708660"/>
                      </a:lnTo>
                      <a:lnTo>
                        <a:pt x="2669971" y="708025"/>
                      </a:lnTo>
                      <a:lnTo>
                        <a:pt x="2668003" y="706869"/>
                      </a:lnTo>
                      <a:lnTo>
                        <a:pt x="2666339" y="706056"/>
                      </a:lnTo>
                      <a:lnTo>
                        <a:pt x="2664993" y="706437"/>
                      </a:lnTo>
                      <a:lnTo>
                        <a:pt x="2667736" y="708507"/>
                      </a:lnTo>
                      <a:lnTo>
                        <a:pt x="2670733" y="710196"/>
                      </a:lnTo>
                      <a:lnTo>
                        <a:pt x="2673629" y="712025"/>
                      </a:lnTo>
                      <a:lnTo>
                        <a:pt x="2674861" y="711771"/>
                      </a:lnTo>
                      <a:lnTo>
                        <a:pt x="2675598" y="711542"/>
                      </a:lnTo>
                      <a:lnTo>
                        <a:pt x="2676715" y="711657"/>
                      </a:lnTo>
                      <a:close/>
                    </a:path>
                    <a:path w="2766060" h="1688464">
                      <a:moveTo>
                        <a:pt x="2681579" y="700430"/>
                      </a:moveTo>
                      <a:lnTo>
                        <a:pt x="2678849" y="698931"/>
                      </a:lnTo>
                      <a:lnTo>
                        <a:pt x="2678569" y="699566"/>
                      </a:lnTo>
                      <a:lnTo>
                        <a:pt x="2677299" y="700036"/>
                      </a:lnTo>
                      <a:lnTo>
                        <a:pt x="2677807" y="700862"/>
                      </a:lnTo>
                      <a:lnTo>
                        <a:pt x="2678607" y="701459"/>
                      </a:lnTo>
                      <a:lnTo>
                        <a:pt x="2679344" y="702119"/>
                      </a:lnTo>
                      <a:lnTo>
                        <a:pt x="2680893" y="701560"/>
                      </a:lnTo>
                      <a:lnTo>
                        <a:pt x="2681579" y="700430"/>
                      </a:lnTo>
                      <a:close/>
                    </a:path>
                    <a:path w="2766060" h="1688464">
                      <a:moveTo>
                        <a:pt x="2718435" y="702602"/>
                      </a:moveTo>
                      <a:lnTo>
                        <a:pt x="2717165" y="702335"/>
                      </a:lnTo>
                      <a:lnTo>
                        <a:pt x="2715971" y="702843"/>
                      </a:lnTo>
                      <a:lnTo>
                        <a:pt x="2715120" y="702449"/>
                      </a:lnTo>
                      <a:lnTo>
                        <a:pt x="2714383" y="702094"/>
                      </a:lnTo>
                      <a:lnTo>
                        <a:pt x="2714345" y="701484"/>
                      </a:lnTo>
                      <a:lnTo>
                        <a:pt x="2713469" y="701154"/>
                      </a:lnTo>
                      <a:lnTo>
                        <a:pt x="2713075" y="701027"/>
                      </a:lnTo>
                      <a:lnTo>
                        <a:pt x="2710916" y="701103"/>
                      </a:lnTo>
                      <a:lnTo>
                        <a:pt x="2709494" y="702538"/>
                      </a:lnTo>
                      <a:lnTo>
                        <a:pt x="2713469" y="706335"/>
                      </a:lnTo>
                      <a:lnTo>
                        <a:pt x="2714307" y="707377"/>
                      </a:lnTo>
                      <a:lnTo>
                        <a:pt x="2714777" y="706564"/>
                      </a:lnTo>
                      <a:lnTo>
                        <a:pt x="2715349" y="705764"/>
                      </a:lnTo>
                      <a:lnTo>
                        <a:pt x="2715653" y="705053"/>
                      </a:lnTo>
                      <a:lnTo>
                        <a:pt x="2715818" y="704761"/>
                      </a:lnTo>
                      <a:lnTo>
                        <a:pt x="2715882" y="703884"/>
                      </a:lnTo>
                      <a:lnTo>
                        <a:pt x="2715971" y="703757"/>
                      </a:lnTo>
                      <a:lnTo>
                        <a:pt x="2716619" y="703008"/>
                      </a:lnTo>
                      <a:lnTo>
                        <a:pt x="2717901" y="703503"/>
                      </a:lnTo>
                      <a:lnTo>
                        <a:pt x="2718435" y="702602"/>
                      </a:lnTo>
                      <a:close/>
                    </a:path>
                    <a:path w="2766060" h="1688464">
                      <a:moveTo>
                        <a:pt x="2726613" y="701700"/>
                      </a:moveTo>
                      <a:lnTo>
                        <a:pt x="2724264" y="702716"/>
                      </a:lnTo>
                      <a:lnTo>
                        <a:pt x="2722067" y="704088"/>
                      </a:lnTo>
                      <a:lnTo>
                        <a:pt x="2719794" y="705332"/>
                      </a:lnTo>
                      <a:lnTo>
                        <a:pt x="2720606" y="705154"/>
                      </a:lnTo>
                      <a:lnTo>
                        <a:pt x="2721254" y="704824"/>
                      </a:lnTo>
                      <a:lnTo>
                        <a:pt x="2722105" y="704951"/>
                      </a:lnTo>
                      <a:lnTo>
                        <a:pt x="2723146" y="705104"/>
                      </a:lnTo>
                      <a:lnTo>
                        <a:pt x="2722880" y="705700"/>
                      </a:lnTo>
                      <a:lnTo>
                        <a:pt x="2724073" y="705485"/>
                      </a:lnTo>
                      <a:lnTo>
                        <a:pt x="2725343" y="705218"/>
                      </a:lnTo>
                      <a:lnTo>
                        <a:pt x="2724962" y="705078"/>
                      </a:lnTo>
                      <a:lnTo>
                        <a:pt x="2726004" y="702945"/>
                      </a:lnTo>
                      <a:lnTo>
                        <a:pt x="2725763" y="702614"/>
                      </a:lnTo>
                      <a:lnTo>
                        <a:pt x="2726613" y="701700"/>
                      </a:lnTo>
                      <a:close/>
                    </a:path>
                    <a:path w="2766060" h="1688464">
                      <a:moveTo>
                        <a:pt x="2738069" y="703389"/>
                      </a:moveTo>
                      <a:lnTo>
                        <a:pt x="2737142" y="702754"/>
                      </a:lnTo>
                      <a:lnTo>
                        <a:pt x="2737383" y="702602"/>
                      </a:lnTo>
                      <a:lnTo>
                        <a:pt x="2737650" y="702335"/>
                      </a:lnTo>
                      <a:lnTo>
                        <a:pt x="2735148" y="701408"/>
                      </a:lnTo>
                      <a:lnTo>
                        <a:pt x="2735796" y="702716"/>
                      </a:lnTo>
                      <a:lnTo>
                        <a:pt x="2733586" y="702551"/>
                      </a:lnTo>
                      <a:lnTo>
                        <a:pt x="2732468" y="702297"/>
                      </a:lnTo>
                      <a:lnTo>
                        <a:pt x="2733090" y="701103"/>
                      </a:lnTo>
                      <a:lnTo>
                        <a:pt x="2734551" y="700252"/>
                      </a:lnTo>
                      <a:lnTo>
                        <a:pt x="2732951" y="699947"/>
                      </a:lnTo>
                      <a:lnTo>
                        <a:pt x="2730855" y="700532"/>
                      </a:lnTo>
                      <a:lnTo>
                        <a:pt x="2730500" y="701078"/>
                      </a:lnTo>
                      <a:lnTo>
                        <a:pt x="2731198" y="702551"/>
                      </a:lnTo>
                      <a:lnTo>
                        <a:pt x="2731300" y="703605"/>
                      </a:lnTo>
                      <a:lnTo>
                        <a:pt x="2730766" y="703681"/>
                      </a:lnTo>
                      <a:lnTo>
                        <a:pt x="2729344" y="702957"/>
                      </a:lnTo>
                      <a:lnTo>
                        <a:pt x="2728137" y="703592"/>
                      </a:lnTo>
                      <a:lnTo>
                        <a:pt x="2728150" y="707517"/>
                      </a:lnTo>
                      <a:lnTo>
                        <a:pt x="2728772" y="706780"/>
                      </a:lnTo>
                      <a:lnTo>
                        <a:pt x="2729192" y="705916"/>
                      </a:lnTo>
                      <a:lnTo>
                        <a:pt x="2729738" y="705142"/>
                      </a:lnTo>
                      <a:lnTo>
                        <a:pt x="2730119" y="705916"/>
                      </a:lnTo>
                      <a:lnTo>
                        <a:pt x="2730309" y="706602"/>
                      </a:lnTo>
                      <a:lnTo>
                        <a:pt x="2732125" y="706729"/>
                      </a:lnTo>
                      <a:lnTo>
                        <a:pt x="2730804" y="706056"/>
                      </a:lnTo>
                      <a:lnTo>
                        <a:pt x="2732240" y="705396"/>
                      </a:lnTo>
                      <a:lnTo>
                        <a:pt x="2733090" y="705523"/>
                      </a:lnTo>
                      <a:lnTo>
                        <a:pt x="2733383" y="705396"/>
                      </a:lnTo>
                      <a:lnTo>
                        <a:pt x="2734005" y="705142"/>
                      </a:lnTo>
                      <a:lnTo>
                        <a:pt x="2734005" y="704494"/>
                      </a:lnTo>
                      <a:lnTo>
                        <a:pt x="2734741" y="704113"/>
                      </a:lnTo>
                      <a:lnTo>
                        <a:pt x="2734894" y="705269"/>
                      </a:lnTo>
                      <a:lnTo>
                        <a:pt x="2735897" y="704113"/>
                      </a:lnTo>
                      <a:lnTo>
                        <a:pt x="2736265" y="703681"/>
                      </a:lnTo>
                      <a:lnTo>
                        <a:pt x="2736799" y="704900"/>
                      </a:lnTo>
                      <a:lnTo>
                        <a:pt x="2737447" y="704100"/>
                      </a:lnTo>
                      <a:lnTo>
                        <a:pt x="2738069" y="703389"/>
                      </a:lnTo>
                      <a:close/>
                    </a:path>
                    <a:path w="2766060" h="1688464">
                      <a:moveTo>
                        <a:pt x="2741155" y="703021"/>
                      </a:moveTo>
                      <a:lnTo>
                        <a:pt x="2740418" y="702589"/>
                      </a:lnTo>
                      <a:lnTo>
                        <a:pt x="2739720" y="702081"/>
                      </a:lnTo>
                      <a:lnTo>
                        <a:pt x="2738907" y="701865"/>
                      </a:lnTo>
                      <a:lnTo>
                        <a:pt x="2738907" y="702576"/>
                      </a:lnTo>
                      <a:lnTo>
                        <a:pt x="2739263" y="703262"/>
                      </a:lnTo>
                      <a:lnTo>
                        <a:pt x="2739606" y="703897"/>
                      </a:lnTo>
                      <a:lnTo>
                        <a:pt x="2740152" y="703567"/>
                      </a:lnTo>
                      <a:lnTo>
                        <a:pt x="2740609" y="703199"/>
                      </a:lnTo>
                      <a:lnTo>
                        <a:pt x="2741155" y="703021"/>
                      </a:lnTo>
                      <a:close/>
                    </a:path>
                    <a:path w="2766060" h="1688464">
                      <a:moveTo>
                        <a:pt x="2742234" y="702500"/>
                      </a:moveTo>
                      <a:lnTo>
                        <a:pt x="2741701" y="701751"/>
                      </a:lnTo>
                      <a:lnTo>
                        <a:pt x="2741041" y="701205"/>
                      </a:lnTo>
                      <a:lnTo>
                        <a:pt x="2740266" y="701763"/>
                      </a:lnTo>
                      <a:lnTo>
                        <a:pt x="2740888" y="702094"/>
                      </a:lnTo>
                      <a:lnTo>
                        <a:pt x="2741536" y="702310"/>
                      </a:lnTo>
                      <a:lnTo>
                        <a:pt x="2742234" y="702500"/>
                      </a:lnTo>
                      <a:close/>
                    </a:path>
                    <a:path w="2766060" h="1688464">
                      <a:moveTo>
                        <a:pt x="2742920" y="699236"/>
                      </a:moveTo>
                      <a:lnTo>
                        <a:pt x="2741345" y="697293"/>
                      </a:lnTo>
                      <a:lnTo>
                        <a:pt x="2739644" y="697522"/>
                      </a:lnTo>
                      <a:lnTo>
                        <a:pt x="2739809" y="698525"/>
                      </a:lnTo>
                      <a:lnTo>
                        <a:pt x="2740380" y="699401"/>
                      </a:lnTo>
                      <a:lnTo>
                        <a:pt x="2740812" y="700316"/>
                      </a:lnTo>
                      <a:lnTo>
                        <a:pt x="2742920" y="699236"/>
                      </a:lnTo>
                      <a:close/>
                    </a:path>
                    <a:path w="2766060" h="1688464">
                      <a:moveTo>
                        <a:pt x="2765958" y="695490"/>
                      </a:moveTo>
                      <a:lnTo>
                        <a:pt x="2765514" y="695998"/>
                      </a:lnTo>
                      <a:lnTo>
                        <a:pt x="2763596" y="696480"/>
                      </a:lnTo>
                      <a:lnTo>
                        <a:pt x="2762389" y="697039"/>
                      </a:lnTo>
                      <a:lnTo>
                        <a:pt x="2761589" y="697522"/>
                      </a:lnTo>
                      <a:lnTo>
                        <a:pt x="2760929" y="697407"/>
                      </a:lnTo>
                      <a:lnTo>
                        <a:pt x="2759887" y="697585"/>
                      </a:lnTo>
                      <a:lnTo>
                        <a:pt x="2759532" y="697928"/>
                      </a:lnTo>
                      <a:lnTo>
                        <a:pt x="2758694" y="697992"/>
                      </a:lnTo>
                      <a:lnTo>
                        <a:pt x="2758148" y="697496"/>
                      </a:lnTo>
                      <a:lnTo>
                        <a:pt x="2757462" y="697979"/>
                      </a:lnTo>
                      <a:lnTo>
                        <a:pt x="2757182" y="697522"/>
                      </a:lnTo>
                      <a:lnTo>
                        <a:pt x="2756611" y="698754"/>
                      </a:lnTo>
                      <a:lnTo>
                        <a:pt x="2755684" y="697750"/>
                      </a:lnTo>
                      <a:lnTo>
                        <a:pt x="2755531" y="699008"/>
                      </a:lnTo>
                      <a:lnTo>
                        <a:pt x="2754172" y="699109"/>
                      </a:lnTo>
                      <a:lnTo>
                        <a:pt x="2753169" y="698830"/>
                      </a:lnTo>
                      <a:lnTo>
                        <a:pt x="2751632" y="699236"/>
                      </a:lnTo>
                      <a:lnTo>
                        <a:pt x="2754871" y="699452"/>
                      </a:lnTo>
                      <a:lnTo>
                        <a:pt x="2758198" y="699554"/>
                      </a:lnTo>
                      <a:lnTo>
                        <a:pt x="2763507" y="698855"/>
                      </a:lnTo>
                      <a:lnTo>
                        <a:pt x="2764472" y="698030"/>
                      </a:lnTo>
                      <a:lnTo>
                        <a:pt x="2765958" y="697484"/>
                      </a:lnTo>
                      <a:lnTo>
                        <a:pt x="2765958" y="69549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46" name="object 86">
                  <a:extLst>
                    <a:ext uri="{FF2B5EF4-FFF2-40B4-BE49-F238E27FC236}">
                      <a16:creationId xmlns:a16="http://schemas.microsoft.com/office/drawing/2014/main" id="{A4005D8D-8853-27D6-DF54-0357CECE8405}"/>
                    </a:ext>
                  </a:extLst>
                </p:cNvPr>
                <p:cNvSpPr/>
                <p:nvPr/>
              </p:nvSpPr>
              <p:spPr>
                <a:xfrm>
                  <a:off x="2507983" y="1420698"/>
                  <a:ext cx="2161540" cy="15278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1540" h="1527810">
                      <a:moveTo>
                        <a:pt x="520" y="967155"/>
                      </a:moveTo>
                      <a:lnTo>
                        <a:pt x="0" y="967689"/>
                      </a:lnTo>
                      <a:lnTo>
                        <a:pt x="482" y="967193"/>
                      </a:lnTo>
                      <a:close/>
                    </a:path>
                    <a:path w="2161540" h="1527810">
                      <a:moveTo>
                        <a:pt x="257251" y="870648"/>
                      </a:moveTo>
                      <a:lnTo>
                        <a:pt x="256819" y="869454"/>
                      </a:lnTo>
                      <a:lnTo>
                        <a:pt x="256438" y="868362"/>
                      </a:lnTo>
                      <a:lnTo>
                        <a:pt x="254330" y="868870"/>
                      </a:lnTo>
                      <a:lnTo>
                        <a:pt x="253415" y="869340"/>
                      </a:lnTo>
                      <a:lnTo>
                        <a:pt x="250837" y="870661"/>
                      </a:lnTo>
                      <a:lnTo>
                        <a:pt x="251599" y="871524"/>
                      </a:lnTo>
                      <a:lnTo>
                        <a:pt x="253466" y="873353"/>
                      </a:lnTo>
                      <a:lnTo>
                        <a:pt x="254177" y="872413"/>
                      </a:lnTo>
                      <a:lnTo>
                        <a:pt x="257251" y="870648"/>
                      </a:lnTo>
                      <a:close/>
                    </a:path>
                    <a:path w="2161540" h="1527810">
                      <a:moveTo>
                        <a:pt x="283984" y="859586"/>
                      </a:moveTo>
                      <a:lnTo>
                        <a:pt x="283095" y="856830"/>
                      </a:lnTo>
                      <a:lnTo>
                        <a:pt x="276072" y="858939"/>
                      </a:lnTo>
                      <a:lnTo>
                        <a:pt x="279793" y="855535"/>
                      </a:lnTo>
                      <a:lnTo>
                        <a:pt x="277393" y="856627"/>
                      </a:lnTo>
                      <a:lnTo>
                        <a:pt x="278460" y="855141"/>
                      </a:lnTo>
                      <a:lnTo>
                        <a:pt x="279946" y="854468"/>
                      </a:lnTo>
                      <a:lnTo>
                        <a:pt x="275488" y="854011"/>
                      </a:lnTo>
                      <a:lnTo>
                        <a:pt x="271272" y="858266"/>
                      </a:lnTo>
                      <a:lnTo>
                        <a:pt x="267550" y="860552"/>
                      </a:lnTo>
                      <a:lnTo>
                        <a:pt x="268414" y="861339"/>
                      </a:lnTo>
                      <a:lnTo>
                        <a:pt x="269379" y="862012"/>
                      </a:lnTo>
                      <a:lnTo>
                        <a:pt x="271462" y="861288"/>
                      </a:lnTo>
                      <a:lnTo>
                        <a:pt x="271805" y="861072"/>
                      </a:lnTo>
                      <a:lnTo>
                        <a:pt x="272808" y="862672"/>
                      </a:lnTo>
                      <a:lnTo>
                        <a:pt x="272973" y="863727"/>
                      </a:lnTo>
                      <a:lnTo>
                        <a:pt x="274180" y="864730"/>
                      </a:lnTo>
                      <a:lnTo>
                        <a:pt x="276377" y="865505"/>
                      </a:lnTo>
                      <a:lnTo>
                        <a:pt x="278485" y="865733"/>
                      </a:lnTo>
                      <a:lnTo>
                        <a:pt x="279361" y="864679"/>
                      </a:lnTo>
                      <a:lnTo>
                        <a:pt x="280860" y="863511"/>
                      </a:lnTo>
                      <a:lnTo>
                        <a:pt x="281203" y="861999"/>
                      </a:lnTo>
                      <a:lnTo>
                        <a:pt x="283984" y="859586"/>
                      </a:lnTo>
                      <a:close/>
                    </a:path>
                    <a:path w="2161540" h="1527810">
                      <a:moveTo>
                        <a:pt x="295605" y="854913"/>
                      </a:moveTo>
                      <a:lnTo>
                        <a:pt x="294805" y="853287"/>
                      </a:lnTo>
                      <a:lnTo>
                        <a:pt x="293319" y="852601"/>
                      </a:lnTo>
                      <a:lnTo>
                        <a:pt x="292900" y="852411"/>
                      </a:lnTo>
                      <a:lnTo>
                        <a:pt x="289280" y="852436"/>
                      </a:lnTo>
                      <a:lnTo>
                        <a:pt x="288429" y="853160"/>
                      </a:lnTo>
                      <a:lnTo>
                        <a:pt x="290106" y="854951"/>
                      </a:lnTo>
                      <a:lnTo>
                        <a:pt x="292925" y="855865"/>
                      </a:lnTo>
                      <a:lnTo>
                        <a:pt x="295059" y="856996"/>
                      </a:lnTo>
                      <a:lnTo>
                        <a:pt x="295605" y="854913"/>
                      </a:lnTo>
                      <a:close/>
                    </a:path>
                    <a:path w="2161540" h="1527810">
                      <a:moveTo>
                        <a:pt x="311124" y="492658"/>
                      </a:moveTo>
                      <a:lnTo>
                        <a:pt x="309791" y="490791"/>
                      </a:lnTo>
                      <a:lnTo>
                        <a:pt x="309016" y="489648"/>
                      </a:lnTo>
                      <a:lnTo>
                        <a:pt x="308825" y="490512"/>
                      </a:lnTo>
                      <a:lnTo>
                        <a:pt x="307670" y="493318"/>
                      </a:lnTo>
                      <a:lnTo>
                        <a:pt x="308305" y="494169"/>
                      </a:lnTo>
                      <a:lnTo>
                        <a:pt x="309130" y="495261"/>
                      </a:lnTo>
                      <a:lnTo>
                        <a:pt x="309740" y="494855"/>
                      </a:lnTo>
                      <a:lnTo>
                        <a:pt x="310172" y="494182"/>
                      </a:lnTo>
                      <a:lnTo>
                        <a:pt x="311124" y="492658"/>
                      </a:lnTo>
                      <a:close/>
                    </a:path>
                    <a:path w="2161540" h="1527810">
                      <a:moveTo>
                        <a:pt x="313613" y="481380"/>
                      </a:moveTo>
                      <a:lnTo>
                        <a:pt x="313258" y="479234"/>
                      </a:lnTo>
                      <a:lnTo>
                        <a:pt x="312280" y="478231"/>
                      </a:lnTo>
                      <a:lnTo>
                        <a:pt x="310045" y="477964"/>
                      </a:lnTo>
                      <a:lnTo>
                        <a:pt x="310349" y="478853"/>
                      </a:lnTo>
                      <a:lnTo>
                        <a:pt x="310324" y="479780"/>
                      </a:lnTo>
                      <a:lnTo>
                        <a:pt x="310375" y="480707"/>
                      </a:lnTo>
                      <a:lnTo>
                        <a:pt x="311429" y="480974"/>
                      </a:lnTo>
                      <a:lnTo>
                        <a:pt x="312521" y="481406"/>
                      </a:lnTo>
                      <a:lnTo>
                        <a:pt x="313613" y="481380"/>
                      </a:lnTo>
                      <a:close/>
                    </a:path>
                    <a:path w="2161540" h="1527810">
                      <a:moveTo>
                        <a:pt x="316623" y="476783"/>
                      </a:moveTo>
                      <a:lnTo>
                        <a:pt x="315671" y="475678"/>
                      </a:lnTo>
                      <a:lnTo>
                        <a:pt x="314185" y="473951"/>
                      </a:lnTo>
                      <a:lnTo>
                        <a:pt x="312407" y="476872"/>
                      </a:lnTo>
                      <a:lnTo>
                        <a:pt x="311429" y="477202"/>
                      </a:lnTo>
                      <a:lnTo>
                        <a:pt x="312064" y="478028"/>
                      </a:lnTo>
                      <a:lnTo>
                        <a:pt x="312978" y="478586"/>
                      </a:lnTo>
                      <a:lnTo>
                        <a:pt x="313817" y="479221"/>
                      </a:lnTo>
                      <a:lnTo>
                        <a:pt x="315099" y="479399"/>
                      </a:lnTo>
                      <a:lnTo>
                        <a:pt x="316623" y="476783"/>
                      </a:lnTo>
                      <a:close/>
                    </a:path>
                    <a:path w="2161540" h="1527810">
                      <a:moveTo>
                        <a:pt x="317639" y="427024"/>
                      </a:moveTo>
                      <a:lnTo>
                        <a:pt x="317271" y="427151"/>
                      </a:lnTo>
                      <a:lnTo>
                        <a:pt x="312635" y="428332"/>
                      </a:lnTo>
                      <a:lnTo>
                        <a:pt x="316014" y="429628"/>
                      </a:lnTo>
                      <a:lnTo>
                        <a:pt x="317131" y="427888"/>
                      </a:lnTo>
                      <a:lnTo>
                        <a:pt x="317639" y="427024"/>
                      </a:lnTo>
                      <a:close/>
                    </a:path>
                    <a:path w="2161540" h="1527810">
                      <a:moveTo>
                        <a:pt x="320865" y="424954"/>
                      </a:moveTo>
                      <a:lnTo>
                        <a:pt x="319900" y="424738"/>
                      </a:lnTo>
                      <a:lnTo>
                        <a:pt x="318693" y="424091"/>
                      </a:lnTo>
                      <a:lnTo>
                        <a:pt x="317728" y="425373"/>
                      </a:lnTo>
                      <a:lnTo>
                        <a:pt x="317906" y="427393"/>
                      </a:lnTo>
                      <a:lnTo>
                        <a:pt x="318211" y="427685"/>
                      </a:lnTo>
                      <a:lnTo>
                        <a:pt x="319443" y="428955"/>
                      </a:lnTo>
                      <a:lnTo>
                        <a:pt x="320344" y="425996"/>
                      </a:lnTo>
                      <a:lnTo>
                        <a:pt x="320865" y="424954"/>
                      </a:lnTo>
                      <a:close/>
                    </a:path>
                    <a:path w="2161540" h="1527810">
                      <a:moveTo>
                        <a:pt x="351510" y="407657"/>
                      </a:moveTo>
                      <a:lnTo>
                        <a:pt x="350583" y="407162"/>
                      </a:lnTo>
                      <a:lnTo>
                        <a:pt x="349326" y="406869"/>
                      </a:lnTo>
                      <a:lnTo>
                        <a:pt x="348259" y="407022"/>
                      </a:lnTo>
                      <a:lnTo>
                        <a:pt x="348742" y="407339"/>
                      </a:lnTo>
                      <a:lnTo>
                        <a:pt x="349377" y="407644"/>
                      </a:lnTo>
                      <a:lnTo>
                        <a:pt x="349973" y="407822"/>
                      </a:lnTo>
                      <a:lnTo>
                        <a:pt x="350481" y="407835"/>
                      </a:lnTo>
                      <a:lnTo>
                        <a:pt x="351015" y="407733"/>
                      </a:lnTo>
                      <a:lnTo>
                        <a:pt x="351510" y="407657"/>
                      </a:lnTo>
                      <a:close/>
                    </a:path>
                    <a:path w="2161540" h="1527810">
                      <a:moveTo>
                        <a:pt x="351663" y="403110"/>
                      </a:moveTo>
                      <a:lnTo>
                        <a:pt x="350672" y="400900"/>
                      </a:lnTo>
                      <a:lnTo>
                        <a:pt x="350723" y="400494"/>
                      </a:lnTo>
                      <a:lnTo>
                        <a:pt x="348653" y="401027"/>
                      </a:lnTo>
                      <a:lnTo>
                        <a:pt x="346938" y="401459"/>
                      </a:lnTo>
                      <a:lnTo>
                        <a:pt x="346125" y="401916"/>
                      </a:lnTo>
                      <a:lnTo>
                        <a:pt x="347814" y="402678"/>
                      </a:lnTo>
                      <a:lnTo>
                        <a:pt x="349859" y="402767"/>
                      </a:lnTo>
                      <a:lnTo>
                        <a:pt x="351663" y="403110"/>
                      </a:lnTo>
                      <a:close/>
                    </a:path>
                    <a:path w="2161540" h="1527810">
                      <a:moveTo>
                        <a:pt x="360997" y="394385"/>
                      </a:moveTo>
                      <a:lnTo>
                        <a:pt x="358406" y="394957"/>
                      </a:lnTo>
                      <a:lnTo>
                        <a:pt x="355549" y="395262"/>
                      </a:lnTo>
                      <a:lnTo>
                        <a:pt x="353098" y="396303"/>
                      </a:lnTo>
                      <a:lnTo>
                        <a:pt x="355625" y="396405"/>
                      </a:lnTo>
                      <a:lnTo>
                        <a:pt x="359105" y="396468"/>
                      </a:lnTo>
                      <a:lnTo>
                        <a:pt x="360997" y="394385"/>
                      </a:lnTo>
                      <a:close/>
                    </a:path>
                    <a:path w="2161540" h="1527810">
                      <a:moveTo>
                        <a:pt x="367296" y="398665"/>
                      </a:moveTo>
                      <a:lnTo>
                        <a:pt x="361175" y="395706"/>
                      </a:lnTo>
                      <a:lnTo>
                        <a:pt x="356184" y="399351"/>
                      </a:lnTo>
                      <a:lnTo>
                        <a:pt x="353491" y="400570"/>
                      </a:lnTo>
                      <a:lnTo>
                        <a:pt x="355828" y="402501"/>
                      </a:lnTo>
                      <a:lnTo>
                        <a:pt x="359943" y="400735"/>
                      </a:lnTo>
                      <a:lnTo>
                        <a:pt x="362712" y="400011"/>
                      </a:lnTo>
                      <a:lnTo>
                        <a:pt x="364782" y="399465"/>
                      </a:lnTo>
                      <a:lnTo>
                        <a:pt x="367296" y="398665"/>
                      </a:lnTo>
                      <a:close/>
                    </a:path>
                    <a:path w="2161540" h="1527810">
                      <a:moveTo>
                        <a:pt x="423532" y="293979"/>
                      </a:moveTo>
                      <a:lnTo>
                        <a:pt x="421703" y="293941"/>
                      </a:lnTo>
                      <a:lnTo>
                        <a:pt x="422122" y="292430"/>
                      </a:lnTo>
                      <a:lnTo>
                        <a:pt x="422821" y="291655"/>
                      </a:lnTo>
                      <a:lnTo>
                        <a:pt x="422541" y="291236"/>
                      </a:lnTo>
                      <a:lnTo>
                        <a:pt x="421767" y="290042"/>
                      </a:lnTo>
                      <a:lnTo>
                        <a:pt x="420611" y="292709"/>
                      </a:lnTo>
                      <a:lnTo>
                        <a:pt x="420370" y="293116"/>
                      </a:lnTo>
                      <a:lnTo>
                        <a:pt x="419608" y="294551"/>
                      </a:lnTo>
                      <a:lnTo>
                        <a:pt x="418160" y="296278"/>
                      </a:lnTo>
                      <a:lnTo>
                        <a:pt x="418223" y="297967"/>
                      </a:lnTo>
                      <a:lnTo>
                        <a:pt x="419582" y="297827"/>
                      </a:lnTo>
                      <a:lnTo>
                        <a:pt x="421462" y="296138"/>
                      </a:lnTo>
                      <a:lnTo>
                        <a:pt x="423532" y="293979"/>
                      </a:lnTo>
                      <a:close/>
                    </a:path>
                    <a:path w="2161540" h="1527810">
                      <a:moveTo>
                        <a:pt x="434784" y="285191"/>
                      </a:moveTo>
                      <a:lnTo>
                        <a:pt x="434022" y="285432"/>
                      </a:lnTo>
                      <a:lnTo>
                        <a:pt x="434784" y="285191"/>
                      </a:lnTo>
                      <a:close/>
                    </a:path>
                    <a:path w="2161540" h="1527810">
                      <a:moveTo>
                        <a:pt x="437121" y="287261"/>
                      </a:moveTo>
                      <a:lnTo>
                        <a:pt x="436956" y="287083"/>
                      </a:lnTo>
                      <a:lnTo>
                        <a:pt x="436105" y="286727"/>
                      </a:lnTo>
                      <a:lnTo>
                        <a:pt x="436460" y="287235"/>
                      </a:lnTo>
                      <a:lnTo>
                        <a:pt x="435038" y="285953"/>
                      </a:lnTo>
                      <a:lnTo>
                        <a:pt x="434047" y="285445"/>
                      </a:lnTo>
                      <a:lnTo>
                        <a:pt x="433031" y="285800"/>
                      </a:lnTo>
                      <a:lnTo>
                        <a:pt x="432803" y="286410"/>
                      </a:lnTo>
                      <a:lnTo>
                        <a:pt x="431342" y="287045"/>
                      </a:lnTo>
                      <a:lnTo>
                        <a:pt x="429971" y="287083"/>
                      </a:lnTo>
                      <a:lnTo>
                        <a:pt x="428955" y="287604"/>
                      </a:lnTo>
                      <a:lnTo>
                        <a:pt x="429272" y="287769"/>
                      </a:lnTo>
                      <a:lnTo>
                        <a:pt x="429590" y="287985"/>
                      </a:lnTo>
                      <a:lnTo>
                        <a:pt x="429920" y="288099"/>
                      </a:lnTo>
                      <a:lnTo>
                        <a:pt x="427647" y="288747"/>
                      </a:lnTo>
                      <a:lnTo>
                        <a:pt x="426897" y="289826"/>
                      </a:lnTo>
                      <a:lnTo>
                        <a:pt x="428536" y="291947"/>
                      </a:lnTo>
                      <a:lnTo>
                        <a:pt x="428498" y="290271"/>
                      </a:lnTo>
                      <a:lnTo>
                        <a:pt x="430733" y="291528"/>
                      </a:lnTo>
                      <a:lnTo>
                        <a:pt x="433882" y="290410"/>
                      </a:lnTo>
                      <a:lnTo>
                        <a:pt x="434035" y="290271"/>
                      </a:lnTo>
                      <a:lnTo>
                        <a:pt x="435775" y="288696"/>
                      </a:lnTo>
                      <a:lnTo>
                        <a:pt x="437121" y="287261"/>
                      </a:lnTo>
                      <a:close/>
                    </a:path>
                    <a:path w="2161540" h="1527810">
                      <a:moveTo>
                        <a:pt x="454914" y="276606"/>
                      </a:moveTo>
                      <a:lnTo>
                        <a:pt x="454456" y="274586"/>
                      </a:lnTo>
                      <a:lnTo>
                        <a:pt x="454850" y="273443"/>
                      </a:lnTo>
                      <a:lnTo>
                        <a:pt x="454037" y="272618"/>
                      </a:lnTo>
                      <a:lnTo>
                        <a:pt x="452996" y="273304"/>
                      </a:lnTo>
                      <a:lnTo>
                        <a:pt x="452323" y="271818"/>
                      </a:lnTo>
                      <a:lnTo>
                        <a:pt x="450138" y="266395"/>
                      </a:lnTo>
                      <a:lnTo>
                        <a:pt x="449072" y="270459"/>
                      </a:lnTo>
                      <a:lnTo>
                        <a:pt x="450151" y="270827"/>
                      </a:lnTo>
                      <a:lnTo>
                        <a:pt x="448233" y="272338"/>
                      </a:lnTo>
                      <a:lnTo>
                        <a:pt x="445541" y="274574"/>
                      </a:lnTo>
                      <a:lnTo>
                        <a:pt x="444461" y="275082"/>
                      </a:lnTo>
                      <a:lnTo>
                        <a:pt x="439724" y="276364"/>
                      </a:lnTo>
                      <a:lnTo>
                        <a:pt x="441261" y="279120"/>
                      </a:lnTo>
                      <a:lnTo>
                        <a:pt x="443903" y="278104"/>
                      </a:lnTo>
                      <a:lnTo>
                        <a:pt x="443687" y="277609"/>
                      </a:lnTo>
                      <a:lnTo>
                        <a:pt x="445909" y="276021"/>
                      </a:lnTo>
                      <a:lnTo>
                        <a:pt x="447484" y="276606"/>
                      </a:lnTo>
                      <a:lnTo>
                        <a:pt x="449516" y="276974"/>
                      </a:lnTo>
                      <a:lnTo>
                        <a:pt x="448437" y="277952"/>
                      </a:lnTo>
                      <a:lnTo>
                        <a:pt x="446506" y="279006"/>
                      </a:lnTo>
                      <a:lnTo>
                        <a:pt x="450138" y="279476"/>
                      </a:lnTo>
                      <a:lnTo>
                        <a:pt x="451904" y="278282"/>
                      </a:lnTo>
                      <a:lnTo>
                        <a:pt x="454469" y="276720"/>
                      </a:lnTo>
                      <a:lnTo>
                        <a:pt x="454914" y="276606"/>
                      </a:lnTo>
                      <a:close/>
                    </a:path>
                    <a:path w="2161540" h="1527810">
                      <a:moveTo>
                        <a:pt x="465772" y="262394"/>
                      </a:moveTo>
                      <a:lnTo>
                        <a:pt x="461162" y="264591"/>
                      </a:lnTo>
                      <a:lnTo>
                        <a:pt x="455930" y="265811"/>
                      </a:lnTo>
                      <a:lnTo>
                        <a:pt x="455574" y="272465"/>
                      </a:lnTo>
                      <a:lnTo>
                        <a:pt x="457212" y="271335"/>
                      </a:lnTo>
                      <a:lnTo>
                        <a:pt x="456666" y="267817"/>
                      </a:lnTo>
                      <a:lnTo>
                        <a:pt x="457860" y="269722"/>
                      </a:lnTo>
                      <a:lnTo>
                        <a:pt x="458470" y="269671"/>
                      </a:lnTo>
                      <a:lnTo>
                        <a:pt x="460082" y="269557"/>
                      </a:lnTo>
                      <a:lnTo>
                        <a:pt x="461403" y="268224"/>
                      </a:lnTo>
                      <a:lnTo>
                        <a:pt x="462927" y="266623"/>
                      </a:lnTo>
                      <a:lnTo>
                        <a:pt x="463816" y="266192"/>
                      </a:lnTo>
                      <a:lnTo>
                        <a:pt x="464997" y="264731"/>
                      </a:lnTo>
                      <a:lnTo>
                        <a:pt x="465175" y="263486"/>
                      </a:lnTo>
                      <a:lnTo>
                        <a:pt x="465772" y="262394"/>
                      </a:lnTo>
                      <a:close/>
                    </a:path>
                    <a:path w="2161540" h="1527810">
                      <a:moveTo>
                        <a:pt x="471893" y="273100"/>
                      </a:moveTo>
                      <a:lnTo>
                        <a:pt x="470293" y="273329"/>
                      </a:lnTo>
                      <a:lnTo>
                        <a:pt x="468134" y="271081"/>
                      </a:lnTo>
                      <a:lnTo>
                        <a:pt x="465201" y="273481"/>
                      </a:lnTo>
                      <a:lnTo>
                        <a:pt x="464883" y="273621"/>
                      </a:lnTo>
                      <a:lnTo>
                        <a:pt x="466407" y="275780"/>
                      </a:lnTo>
                      <a:lnTo>
                        <a:pt x="464921" y="276821"/>
                      </a:lnTo>
                      <a:lnTo>
                        <a:pt x="463029" y="278688"/>
                      </a:lnTo>
                      <a:lnTo>
                        <a:pt x="461149" y="279730"/>
                      </a:lnTo>
                      <a:lnTo>
                        <a:pt x="459460" y="280441"/>
                      </a:lnTo>
                      <a:lnTo>
                        <a:pt x="460425" y="279882"/>
                      </a:lnTo>
                      <a:lnTo>
                        <a:pt x="460260" y="278688"/>
                      </a:lnTo>
                      <a:lnTo>
                        <a:pt x="461035" y="277596"/>
                      </a:lnTo>
                      <a:lnTo>
                        <a:pt x="462216" y="277850"/>
                      </a:lnTo>
                      <a:lnTo>
                        <a:pt x="462356" y="276390"/>
                      </a:lnTo>
                      <a:lnTo>
                        <a:pt x="460933" y="275869"/>
                      </a:lnTo>
                      <a:lnTo>
                        <a:pt x="460527" y="275374"/>
                      </a:lnTo>
                      <a:lnTo>
                        <a:pt x="462407" y="273812"/>
                      </a:lnTo>
                      <a:lnTo>
                        <a:pt x="462165" y="272300"/>
                      </a:lnTo>
                      <a:lnTo>
                        <a:pt x="461949" y="269913"/>
                      </a:lnTo>
                      <a:lnTo>
                        <a:pt x="458406" y="270116"/>
                      </a:lnTo>
                      <a:lnTo>
                        <a:pt x="458241" y="269951"/>
                      </a:lnTo>
                      <a:lnTo>
                        <a:pt x="458673" y="273608"/>
                      </a:lnTo>
                      <a:lnTo>
                        <a:pt x="455307" y="273926"/>
                      </a:lnTo>
                      <a:lnTo>
                        <a:pt x="457415" y="275793"/>
                      </a:lnTo>
                      <a:lnTo>
                        <a:pt x="458609" y="275666"/>
                      </a:lnTo>
                      <a:lnTo>
                        <a:pt x="459193" y="276326"/>
                      </a:lnTo>
                      <a:lnTo>
                        <a:pt x="458571" y="276301"/>
                      </a:lnTo>
                      <a:lnTo>
                        <a:pt x="456057" y="275399"/>
                      </a:lnTo>
                      <a:lnTo>
                        <a:pt x="455193" y="276593"/>
                      </a:lnTo>
                      <a:lnTo>
                        <a:pt x="457377" y="277761"/>
                      </a:lnTo>
                      <a:lnTo>
                        <a:pt x="455637" y="278650"/>
                      </a:lnTo>
                      <a:lnTo>
                        <a:pt x="453821" y="279196"/>
                      </a:lnTo>
                      <a:lnTo>
                        <a:pt x="453783" y="280555"/>
                      </a:lnTo>
                      <a:lnTo>
                        <a:pt x="453948" y="281584"/>
                      </a:lnTo>
                      <a:lnTo>
                        <a:pt x="453148" y="283425"/>
                      </a:lnTo>
                      <a:lnTo>
                        <a:pt x="450646" y="284530"/>
                      </a:lnTo>
                      <a:lnTo>
                        <a:pt x="449605" y="285280"/>
                      </a:lnTo>
                      <a:lnTo>
                        <a:pt x="452348" y="284683"/>
                      </a:lnTo>
                      <a:lnTo>
                        <a:pt x="454431" y="285597"/>
                      </a:lnTo>
                      <a:lnTo>
                        <a:pt x="457149" y="285813"/>
                      </a:lnTo>
                      <a:lnTo>
                        <a:pt x="458203" y="285902"/>
                      </a:lnTo>
                      <a:lnTo>
                        <a:pt x="457479" y="286410"/>
                      </a:lnTo>
                      <a:lnTo>
                        <a:pt x="459828" y="285343"/>
                      </a:lnTo>
                      <a:lnTo>
                        <a:pt x="460768" y="284060"/>
                      </a:lnTo>
                      <a:lnTo>
                        <a:pt x="462153" y="282740"/>
                      </a:lnTo>
                      <a:lnTo>
                        <a:pt x="463854" y="280454"/>
                      </a:lnTo>
                      <a:lnTo>
                        <a:pt x="471347" y="279742"/>
                      </a:lnTo>
                      <a:lnTo>
                        <a:pt x="471881" y="274510"/>
                      </a:lnTo>
                      <a:lnTo>
                        <a:pt x="471893" y="273100"/>
                      </a:lnTo>
                      <a:close/>
                    </a:path>
                    <a:path w="2161540" h="1527810">
                      <a:moveTo>
                        <a:pt x="493458" y="256374"/>
                      </a:moveTo>
                      <a:lnTo>
                        <a:pt x="491909" y="258660"/>
                      </a:lnTo>
                      <a:lnTo>
                        <a:pt x="491159" y="257860"/>
                      </a:lnTo>
                      <a:lnTo>
                        <a:pt x="492340" y="257454"/>
                      </a:lnTo>
                      <a:lnTo>
                        <a:pt x="492671" y="256590"/>
                      </a:lnTo>
                      <a:lnTo>
                        <a:pt x="491007" y="256146"/>
                      </a:lnTo>
                      <a:lnTo>
                        <a:pt x="490816" y="254711"/>
                      </a:lnTo>
                      <a:lnTo>
                        <a:pt x="488988" y="254622"/>
                      </a:lnTo>
                      <a:lnTo>
                        <a:pt x="489204" y="255587"/>
                      </a:lnTo>
                      <a:lnTo>
                        <a:pt x="488454" y="255473"/>
                      </a:lnTo>
                      <a:lnTo>
                        <a:pt x="488188" y="254393"/>
                      </a:lnTo>
                      <a:lnTo>
                        <a:pt x="486994" y="254254"/>
                      </a:lnTo>
                      <a:lnTo>
                        <a:pt x="486791" y="254076"/>
                      </a:lnTo>
                      <a:lnTo>
                        <a:pt x="487070" y="255612"/>
                      </a:lnTo>
                      <a:lnTo>
                        <a:pt x="484873" y="253949"/>
                      </a:lnTo>
                      <a:lnTo>
                        <a:pt x="485584" y="254977"/>
                      </a:lnTo>
                      <a:lnTo>
                        <a:pt x="486714" y="256082"/>
                      </a:lnTo>
                      <a:lnTo>
                        <a:pt x="486943" y="257340"/>
                      </a:lnTo>
                      <a:lnTo>
                        <a:pt x="485825" y="257657"/>
                      </a:lnTo>
                      <a:lnTo>
                        <a:pt x="485724" y="256641"/>
                      </a:lnTo>
                      <a:lnTo>
                        <a:pt x="483489" y="256654"/>
                      </a:lnTo>
                      <a:lnTo>
                        <a:pt x="481926" y="256425"/>
                      </a:lnTo>
                      <a:lnTo>
                        <a:pt x="480568" y="256870"/>
                      </a:lnTo>
                      <a:lnTo>
                        <a:pt x="481177" y="258229"/>
                      </a:lnTo>
                      <a:lnTo>
                        <a:pt x="483260" y="258114"/>
                      </a:lnTo>
                      <a:lnTo>
                        <a:pt x="484466" y="258394"/>
                      </a:lnTo>
                      <a:lnTo>
                        <a:pt x="483476" y="258406"/>
                      </a:lnTo>
                      <a:lnTo>
                        <a:pt x="482688" y="258800"/>
                      </a:lnTo>
                      <a:lnTo>
                        <a:pt x="483006" y="259803"/>
                      </a:lnTo>
                      <a:lnTo>
                        <a:pt x="481584" y="258635"/>
                      </a:lnTo>
                      <a:lnTo>
                        <a:pt x="476580" y="258292"/>
                      </a:lnTo>
                      <a:lnTo>
                        <a:pt x="476034" y="261874"/>
                      </a:lnTo>
                      <a:lnTo>
                        <a:pt x="478345" y="262470"/>
                      </a:lnTo>
                      <a:lnTo>
                        <a:pt x="479336" y="263207"/>
                      </a:lnTo>
                      <a:lnTo>
                        <a:pt x="476859" y="263601"/>
                      </a:lnTo>
                      <a:lnTo>
                        <a:pt x="474700" y="263715"/>
                      </a:lnTo>
                      <a:lnTo>
                        <a:pt x="478396" y="264477"/>
                      </a:lnTo>
                      <a:lnTo>
                        <a:pt x="472770" y="267728"/>
                      </a:lnTo>
                      <a:lnTo>
                        <a:pt x="476885" y="267665"/>
                      </a:lnTo>
                      <a:lnTo>
                        <a:pt x="477596" y="266725"/>
                      </a:lnTo>
                      <a:lnTo>
                        <a:pt x="478942" y="267589"/>
                      </a:lnTo>
                      <a:lnTo>
                        <a:pt x="478307" y="268719"/>
                      </a:lnTo>
                      <a:lnTo>
                        <a:pt x="478751" y="268757"/>
                      </a:lnTo>
                      <a:lnTo>
                        <a:pt x="479691" y="268693"/>
                      </a:lnTo>
                      <a:lnTo>
                        <a:pt x="480771" y="268617"/>
                      </a:lnTo>
                      <a:lnTo>
                        <a:pt x="480390" y="268097"/>
                      </a:lnTo>
                      <a:lnTo>
                        <a:pt x="482015" y="266903"/>
                      </a:lnTo>
                      <a:lnTo>
                        <a:pt x="489000" y="265163"/>
                      </a:lnTo>
                      <a:lnTo>
                        <a:pt x="490042" y="264731"/>
                      </a:lnTo>
                      <a:lnTo>
                        <a:pt x="492226" y="263550"/>
                      </a:lnTo>
                      <a:lnTo>
                        <a:pt x="491909" y="262166"/>
                      </a:lnTo>
                      <a:lnTo>
                        <a:pt x="492467" y="260769"/>
                      </a:lnTo>
                      <a:lnTo>
                        <a:pt x="493458" y="256374"/>
                      </a:lnTo>
                      <a:close/>
                    </a:path>
                    <a:path w="2161540" h="1527810">
                      <a:moveTo>
                        <a:pt x="507034" y="250558"/>
                      </a:moveTo>
                      <a:lnTo>
                        <a:pt x="506806" y="248475"/>
                      </a:lnTo>
                      <a:lnTo>
                        <a:pt x="506577" y="248386"/>
                      </a:lnTo>
                      <a:lnTo>
                        <a:pt x="504659" y="247637"/>
                      </a:lnTo>
                      <a:lnTo>
                        <a:pt x="504431" y="247548"/>
                      </a:lnTo>
                      <a:lnTo>
                        <a:pt x="503529" y="247637"/>
                      </a:lnTo>
                      <a:lnTo>
                        <a:pt x="503770" y="246849"/>
                      </a:lnTo>
                      <a:lnTo>
                        <a:pt x="503047" y="246265"/>
                      </a:lnTo>
                      <a:lnTo>
                        <a:pt x="501103" y="247370"/>
                      </a:lnTo>
                      <a:lnTo>
                        <a:pt x="501345" y="248513"/>
                      </a:lnTo>
                      <a:lnTo>
                        <a:pt x="501472" y="248488"/>
                      </a:lnTo>
                      <a:lnTo>
                        <a:pt x="501396" y="248716"/>
                      </a:lnTo>
                      <a:lnTo>
                        <a:pt x="501472" y="249110"/>
                      </a:lnTo>
                      <a:lnTo>
                        <a:pt x="501675" y="248716"/>
                      </a:lnTo>
                      <a:lnTo>
                        <a:pt x="501586" y="250558"/>
                      </a:lnTo>
                      <a:lnTo>
                        <a:pt x="501408" y="251256"/>
                      </a:lnTo>
                      <a:lnTo>
                        <a:pt x="501269" y="250164"/>
                      </a:lnTo>
                      <a:lnTo>
                        <a:pt x="501294" y="249491"/>
                      </a:lnTo>
                      <a:lnTo>
                        <a:pt x="501472" y="249110"/>
                      </a:lnTo>
                      <a:lnTo>
                        <a:pt x="501345" y="248513"/>
                      </a:lnTo>
                      <a:lnTo>
                        <a:pt x="499503" y="248983"/>
                      </a:lnTo>
                      <a:lnTo>
                        <a:pt x="499529" y="249897"/>
                      </a:lnTo>
                      <a:lnTo>
                        <a:pt x="498614" y="250164"/>
                      </a:lnTo>
                      <a:lnTo>
                        <a:pt x="499071" y="249555"/>
                      </a:lnTo>
                      <a:lnTo>
                        <a:pt x="498132" y="249491"/>
                      </a:lnTo>
                      <a:lnTo>
                        <a:pt x="497522" y="248716"/>
                      </a:lnTo>
                      <a:lnTo>
                        <a:pt x="495871" y="249783"/>
                      </a:lnTo>
                      <a:lnTo>
                        <a:pt x="496506" y="251574"/>
                      </a:lnTo>
                      <a:lnTo>
                        <a:pt x="494906" y="251155"/>
                      </a:lnTo>
                      <a:lnTo>
                        <a:pt x="495160" y="252234"/>
                      </a:lnTo>
                      <a:lnTo>
                        <a:pt x="496036" y="253072"/>
                      </a:lnTo>
                      <a:lnTo>
                        <a:pt x="496189" y="254152"/>
                      </a:lnTo>
                      <a:lnTo>
                        <a:pt x="494931" y="253415"/>
                      </a:lnTo>
                      <a:lnTo>
                        <a:pt x="493115" y="252463"/>
                      </a:lnTo>
                      <a:lnTo>
                        <a:pt x="492188" y="254304"/>
                      </a:lnTo>
                      <a:lnTo>
                        <a:pt x="494588" y="254812"/>
                      </a:lnTo>
                      <a:lnTo>
                        <a:pt x="497166" y="254698"/>
                      </a:lnTo>
                      <a:lnTo>
                        <a:pt x="502653" y="254838"/>
                      </a:lnTo>
                      <a:lnTo>
                        <a:pt x="502818" y="254698"/>
                      </a:lnTo>
                      <a:lnTo>
                        <a:pt x="503047" y="254152"/>
                      </a:lnTo>
                      <a:lnTo>
                        <a:pt x="503758" y="251764"/>
                      </a:lnTo>
                      <a:lnTo>
                        <a:pt x="504139" y="251574"/>
                      </a:lnTo>
                      <a:lnTo>
                        <a:pt x="504558" y="251371"/>
                      </a:lnTo>
                      <a:lnTo>
                        <a:pt x="504901" y="251256"/>
                      </a:lnTo>
                      <a:lnTo>
                        <a:pt x="507034" y="250558"/>
                      </a:lnTo>
                      <a:close/>
                    </a:path>
                    <a:path w="2161540" h="1527810">
                      <a:moveTo>
                        <a:pt x="516483" y="243547"/>
                      </a:moveTo>
                      <a:lnTo>
                        <a:pt x="515924" y="243357"/>
                      </a:lnTo>
                      <a:lnTo>
                        <a:pt x="513384" y="241896"/>
                      </a:lnTo>
                      <a:lnTo>
                        <a:pt x="505637" y="240055"/>
                      </a:lnTo>
                      <a:lnTo>
                        <a:pt x="507530" y="242646"/>
                      </a:lnTo>
                      <a:lnTo>
                        <a:pt x="506133" y="242189"/>
                      </a:lnTo>
                      <a:lnTo>
                        <a:pt x="504939" y="243179"/>
                      </a:lnTo>
                      <a:lnTo>
                        <a:pt x="503707" y="243827"/>
                      </a:lnTo>
                      <a:lnTo>
                        <a:pt x="501827" y="245465"/>
                      </a:lnTo>
                      <a:lnTo>
                        <a:pt x="503567" y="246405"/>
                      </a:lnTo>
                      <a:lnTo>
                        <a:pt x="507390" y="248310"/>
                      </a:lnTo>
                      <a:lnTo>
                        <a:pt x="508444" y="248475"/>
                      </a:lnTo>
                      <a:lnTo>
                        <a:pt x="510933" y="248208"/>
                      </a:lnTo>
                      <a:lnTo>
                        <a:pt x="512622" y="248031"/>
                      </a:lnTo>
                      <a:lnTo>
                        <a:pt x="514146" y="245770"/>
                      </a:lnTo>
                      <a:lnTo>
                        <a:pt x="516483" y="243547"/>
                      </a:lnTo>
                      <a:close/>
                    </a:path>
                    <a:path w="2161540" h="1527810">
                      <a:moveTo>
                        <a:pt x="522681" y="240512"/>
                      </a:moveTo>
                      <a:lnTo>
                        <a:pt x="521881" y="240665"/>
                      </a:lnTo>
                      <a:lnTo>
                        <a:pt x="518007" y="238467"/>
                      </a:lnTo>
                      <a:lnTo>
                        <a:pt x="515353" y="237070"/>
                      </a:lnTo>
                      <a:lnTo>
                        <a:pt x="513435" y="237502"/>
                      </a:lnTo>
                      <a:lnTo>
                        <a:pt x="514819" y="238442"/>
                      </a:lnTo>
                      <a:lnTo>
                        <a:pt x="515213" y="238734"/>
                      </a:lnTo>
                      <a:lnTo>
                        <a:pt x="515988" y="240271"/>
                      </a:lnTo>
                      <a:lnTo>
                        <a:pt x="516318" y="240893"/>
                      </a:lnTo>
                      <a:lnTo>
                        <a:pt x="515975" y="241744"/>
                      </a:lnTo>
                      <a:lnTo>
                        <a:pt x="516877" y="241960"/>
                      </a:lnTo>
                      <a:lnTo>
                        <a:pt x="517893" y="242201"/>
                      </a:lnTo>
                      <a:lnTo>
                        <a:pt x="519099" y="242163"/>
                      </a:lnTo>
                      <a:lnTo>
                        <a:pt x="520115" y="242049"/>
                      </a:lnTo>
                      <a:lnTo>
                        <a:pt x="522681" y="240512"/>
                      </a:lnTo>
                      <a:close/>
                    </a:path>
                    <a:path w="2161540" h="1527810">
                      <a:moveTo>
                        <a:pt x="530720" y="12026"/>
                      </a:moveTo>
                      <a:lnTo>
                        <a:pt x="529983" y="12547"/>
                      </a:lnTo>
                      <a:lnTo>
                        <a:pt x="529882" y="13385"/>
                      </a:lnTo>
                      <a:lnTo>
                        <a:pt x="530720" y="12026"/>
                      </a:lnTo>
                      <a:close/>
                    </a:path>
                    <a:path w="2161540" h="1527810">
                      <a:moveTo>
                        <a:pt x="532384" y="241554"/>
                      </a:moveTo>
                      <a:lnTo>
                        <a:pt x="532180" y="241274"/>
                      </a:lnTo>
                      <a:lnTo>
                        <a:pt x="531647" y="240550"/>
                      </a:lnTo>
                      <a:lnTo>
                        <a:pt x="532041" y="238696"/>
                      </a:lnTo>
                      <a:lnTo>
                        <a:pt x="530161" y="238201"/>
                      </a:lnTo>
                      <a:lnTo>
                        <a:pt x="527697" y="239445"/>
                      </a:lnTo>
                      <a:lnTo>
                        <a:pt x="525894" y="239915"/>
                      </a:lnTo>
                      <a:lnTo>
                        <a:pt x="526580" y="241554"/>
                      </a:lnTo>
                      <a:lnTo>
                        <a:pt x="527494" y="243484"/>
                      </a:lnTo>
                      <a:lnTo>
                        <a:pt x="528599" y="241274"/>
                      </a:lnTo>
                      <a:lnTo>
                        <a:pt x="528599" y="241998"/>
                      </a:lnTo>
                      <a:lnTo>
                        <a:pt x="528840" y="242379"/>
                      </a:lnTo>
                      <a:lnTo>
                        <a:pt x="529374" y="242557"/>
                      </a:lnTo>
                      <a:lnTo>
                        <a:pt x="529005" y="242430"/>
                      </a:lnTo>
                      <a:lnTo>
                        <a:pt x="530910" y="242252"/>
                      </a:lnTo>
                      <a:lnTo>
                        <a:pt x="532384" y="241554"/>
                      </a:lnTo>
                      <a:close/>
                    </a:path>
                    <a:path w="2161540" h="1527810">
                      <a:moveTo>
                        <a:pt x="550595" y="3162"/>
                      </a:moveTo>
                      <a:lnTo>
                        <a:pt x="550532" y="3035"/>
                      </a:lnTo>
                      <a:lnTo>
                        <a:pt x="550430" y="2654"/>
                      </a:lnTo>
                      <a:lnTo>
                        <a:pt x="550240" y="1828"/>
                      </a:lnTo>
                      <a:lnTo>
                        <a:pt x="550138" y="1397"/>
                      </a:lnTo>
                      <a:lnTo>
                        <a:pt x="549084" y="673"/>
                      </a:lnTo>
                      <a:lnTo>
                        <a:pt x="548728" y="1600"/>
                      </a:lnTo>
                      <a:lnTo>
                        <a:pt x="547560" y="1828"/>
                      </a:lnTo>
                      <a:lnTo>
                        <a:pt x="546963" y="1638"/>
                      </a:lnTo>
                      <a:lnTo>
                        <a:pt x="545172" y="1066"/>
                      </a:lnTo>
                      <a:lnTo>
                        <a:pt x="544779" y="622"/>
                      </a:lnTo>
                      <a:lnTo>
                        <a:pt x="543166" y="927"/>
                      </a:lnTo>
                      <a:lnTo>
                        <a:pt x="542607" y="1638"/>
                      </a:lnTo>
                      <a:lnTo>
                        <a:pt x="540702" y="1562"/>
                      </a:lnTo>
                      <a:lnTo>
                        <a:pt x="540143" y="0"/>
                      </a:lnTo>
                      <a:lnTo>
                        <a:pt x="535940" y="139"/>
                      </a:lnTo>
                      <a:lnTo>
                        <a:pt x="536841" y="1219"/>
                      </a:lnTo>
                      <a:lnTo>
                        <a:pt x="534060" y="2654"/>
                      </a:lnTo>
                      <a:lnTo>
                        <a:pt x="532384" y="2222"/>
                      </a:lnTo>
                      <a:lnTo>
                        <a:pt x="528320" y="3162"/>
                      </a:lnTo>
                      <a:lnTo>
                        <a:pt x="550595" y="3162"/>
                      </a:lnTo>
                      <a:close/>
                    </a:path>
                    <a:path w="2161540" h="1527810">
                      <a:moveTo>
                        <a:pt x="552208" y="10960"/>
                      </a:moveTo>
                      <a:lnTo>
                        <a:pt x="552094" y="8343"/>
                      </a:lnTo>
                      <a:lnTo>
                        <a:pt x="551764" y="7518"/>
                      </a:lnTo>
                      <a:lnTo>
                        <a:pt x="551865" y="5956"/>
                      </a:lnTo>
                      <a:lnTo>
                        <a:pt x="552132" y="4762"/>
                      </a:lnTo>
                      <a:lnTo>
                        <a:pt x="551649" y="3721"/>
                      </a:lnTo>
                      <a:lnTo>
                        <a:pt x="551281" y="3721"/>
                      </a:lnTo>
                      <a:lnTo>
                        <a:pt x="550926" y="3721"/>
                      </a:lnTo>
                      <a:lnTo>
                        <a:pt x="550633" y="3213"/>
                      </a:lnTo>
                      <a:lnTo>
                        <a:pt x="528104" y="3213"/>
                      </a:lnTo>
                      <a:lnTo>
                        <a:pt x="524319" y="3213"/>
                      </a:lnTo>
                      <a:lnTo>
                        <a:pt x="521741" y="4724"/>
                      </a:lnTo>
                      <a:lnTo>
                        <a:pt x="523900" y="5486"/>
                      </a:lnTo>
                      <a:lnTo>
                        <a:pt x="528688" y="6172"/>
                      </a:lnTo>
                      <a:lnTo>
                        <a:pt x="529856" y="9169"/>
                      </a:lnTo>
                      <a:lnTo>
                        <a:pt x="531012" y="10134"/>
                      </a:lnTo>
                      <a:lnTo>
                        <a:pt x="530923" y="11874"/>
                      </a:lnTo>
                      <a:lnTo>
                        <a:pt x="534581" y="13220"/>
                      </a:lnTo>
                      <a:lnTo>
                        <a:pt x="538568" y="12344"/>
                      </a:lnTo>
                      <a:lnTo>
                        <a:pt x="542798" y="11874"/>
                      </a:lnTo>
                      <a:lnTo>
                        <a:pt x="545909" y="11696"/>
                      </a:lnTo>
                      <a:lnTo>
                        <a:pt x="550494" y="11264"/>
                      </a:lnTo>
                      <a:lnTo>
                        <a:pt x="552208" y="10960"/>
                      </a:lnTo>
                      <a:close/>
                    </a:path>
                    <a:path w="2161540" h="1527810">
                      <a:moveTo>
                        <a:pt x="563575" y="236588"/>
                      </a:moveTo>
                      <a:lnTo>
                        <a:pt x="562470" y="234772"/>
                      </a:lnTo>
                      <a:lnTo>
                        <a:pt x="557784" y="234530"/>
                      </a:lnTo>
                      <a:lnTo>
                        <a:pt x="555904" y="234022"/>
                      </a:lnTo>
                      <a:lnTo>
                        <a:pt x="555980" y="234353"/>
                      </a:lnTo>
                      <a:lnTo>
                        <a:pt x="555904" y="234810"/>
                      </a:lnTo>
                      <a:lnTo>
                        <a:pt x="555904" y="235153"/>
                      </a:lnTo>
                      <a:lnTo>
                        <a:pt x="554088" y="234759"/>
                      </a:lnTo>
                      <a:lnTo>
                        <a:pt x="556298" y="236410"/>
                      </a:lnTo>
                      <a:lnTo>
                        <a:pt x="560908" y="238264"/>
                      </a:lnTo>
                      <a:lnTo>
                        <a:pt x="563575" y="236588"/>
                      </a:lnTo>
                      <a:close/>
                    </a:path>
                    <a:path w="2161540" h="1527810">
                      <a:moveTo>
                        <a:pt x="570687" y="222440"/>
                      </a:moveTo>
                      <a:lnTo>
                        <a:pt x="568350" y="221564"/>
                      </a:lnTo>
                      <a:lnTo>
                        <a:pt x="564032" y="227114"/>
                      </a:lnTo>
                      <a:lnTo>
                        <a:pt x="560882" y="226314"/>
                      </a:lnTo>
                      <a:lnTo>
                        <a:pt x="555904" y="226174"/>
                      </a:lnTo>
                      <a:lnTo>
                        <a:pt x="553593" y="223647"/>
                      </a:lnTo>
                      <a:lnTo>
                        <a:pt x="554329" y="227609"/>
                      </a:lnTo>
                      <a:lnTo>
                        <a:pt x="553935" y="227279"/>
                      </a:lnTo>
                      <a:lnTo>
                        <a:pt x="551802" y="225463"/>
                      </a:lnTo>
                      <a:lnTo>
                        <a:pt x="551929" y="227025"/>
                      </a:lnTo>
                      <a:lnTo>
                        <a:pt x="550583" y="227279"/>
                      </a:lnTo>
                      <a:lnTo>
                        <a:pt x="549135" y="226136"/>
                      </a:lnTo>
                      <a:lnTo>
                        <a:pt x="547712" y="227431"/>
                      </a:lnTo>
                      <a:lnTo>
                        <a:pt x="551611" y="230225"/>
                      </a:lnTo>
                      <a:lnTo>
                        <a:pt x="550405" y="231152"/>
                      </a:lnTo>
                      <a:lnTo>
                        <a:pt x="552526" y="231152"/>
                      </a:lnTo>
                      <a:lnTo>
                        <a:pt x="556018" y="230771"/>
                      </a:lnTo>
                      <a:lnTo>
                        <a:pt x="558266" y="230098"/>
                      </a:lnTo>
                      <a:lnTo>
                        <a:pt x="558927" y="228625"/>
                      </a:lnTo>
                      <a:lnTo>
                        <a:pt x="559282" y="230378"/>
                      </a:lnTo>
                      <a:lnTo>
                        <a:pt x="559346" y="230225"/>
                      </a:lnTo>
                      <a:lnTo>
                        <a:pt x="559676" y="229831"/>
                      </a:lnTo>
                      <a:lnTo>
                        <a:pt x="559765" y="229641"/>
                      </a:lnTo>
                      <a:lnTo>
                        <a:pt x="560260" y="230403"/>
                      </a:lnTo>
                      <a:lnTo>
                        <a:pt x="561251" y="230327"/>
                      </a:lnTo>
                      <a:lnTo>
                        <a:pt x="562775" y="229755"/>
                      </a:lnTo>
                      <a:lnTo>
                        <a:pt x="562851" y="229298"/>
                      </a:lnTo>
                      <a:lnTo>
                        <a:pt x="563537" y="228968"/>
                      </a:lnTo>
                      <a:lnTo>
                        <a:pt x="564476" y="228752"/>
                      </a:lnTo>
                      <a:lnTo>
                        <a:pt x="564654" y="228625"/>
                      </a:lnTo>
                      <a:lnTo>
                        <a:pt x="565264" y="228193"/>
                      </a:lnTo>
                      <a:lnTo>
                        <a:pt x="565454" y="227609"/>
                      </a:lnTo>
                      <a:lnTo>
                        <a:pt x="565619" y="227114"/>
                      </a:lnTo>
                      <a:lnTo>
                        <a:pt x="565721" y="226834"/>
                      </a:lnTo>
                      <a:lnTo>
                        <a:pt x="567372" y="225513"/>
                      </a:lnTo>
                      <a:lnTo>
                        <a:pt x="567956" y="225958"/>
                      </a:lnTo>
                      <a:lnTo>
                        <a:pt x="568109" y="225513"/>
                      </a:lnTo>
                      <a:lnTo>
                        <a:pt x="568426" y="224586"/>
                      </a:lnTo>
                      <a:lnTo>
                        <a:pt x="568833" y="224904"/>
                      </a:lnTo>
                      <a:lnTo>
                        <a:pt x="569468" y="224586"/>
                      </a:lnTo>
                      <a:lnTo>
                        <a:pt x="569899" y="224370"/>
                      </a:lnTo>
                      <a:lnTo>
                        <a:pt x="570687" y="222440"/>
                      </a:lnTo>
                      <a:close/>
                    </a:path>
                    <a:path w="2161540" h="1527810">
                      <a:moveTo>
                        <a:pt x="573074" y="231660"/>
                      </a:moveTo>
                      <a:lnTo>
                        <a:pt x="571665" y="228485"/>
                      </a:lnTo>
                      <a:lnTo>
                        <a:pt x="571982" y="227723"/>
                      </a:lnTo>
                      <a:lnTo>
                        <a:pt x="568325" y="227266"/>
                      </a:lnTo>
                      <a:lnTo>
                        <a:pt x="569785" y="228612"/>
                      </a:lnTo>
                      <a:lnTo>
                        <a:pt x="570814" y="229463"/>
                      </a:lnTo>
                      <a:lnTo>
                        <a:pt x="567956" y="231254"/>
                      </a:lnTo>
                      <a:lnTo>
                        <a:pt x="564261" y="231952"/>
                      </a:lnTo>
                      <a:lnTo>
                        <a:pt x="561086" y="233019"/>
                      </a:lnTo>
                      <a:lnTo>
                        <a:pt x="562978" y="234632"/>
                      </a:lnTo>
                      <a:lnTo>
                        <a:pt x="564667" y="237109"/>
                      </a:lnTo>
                      <a:lnTo>
                        <a:pt x="567105" y="235318"/>
                      </a:lnTo>
                      <a:lnTo>
                        <a:pt x="568452" y="234327"/>
                      </a:lnTo>
                      <a:lnTo>
                        <a:pt x="573074" y="231660"/>
                      </a:lnTo>
                      <a:close/>
                    </a:path>
                    <a:path w="2161540" h="1527810">
                      <a:moveTo>
                        <a:pt x="579107" y="226174"/>
                      </a:moveTo>
                      <a:lnTo>
                        <a:pt x="578205" y="226618"/>
                      </a:lnTo>
                      <a:lnTo>
                        <a:pt x="571754" y="223786"/>
                      </a:lnTo>
                      <a:lnTo>
                        <a:pt x="572973" y="226885"/>
                      </a:lnTo>
                      <a:lnTo>
                        <a:pt x="573239" y="229158"/>
                      </a:lnTo>
                      <a:lnTo>
                        <a:pt x="574052" y="229336"/>
                      </a:lnTo>
                      <a:lnTo>
                        <a:pt x="577799" y="230746"/>
                      </a:lnTo>
                      <a:lnTo>
                        <a:pt x="579107" y="226174"/>
                      </a:lnTo>
                      <a:close/>
                    </a:path>
                    <a:path w="2161540" h="1527810">
                      <a:moveTo>
                        <a:pt x="597027" y="61429"/>
                      </a:moveTo>
                      <a:lnTo>
                        <a:pt x="594893" y="62433"/>
                      </a:lnTo>
                      <a:lnTo>
                        <a:pt x="592797" y="64693"/>
                      </a:lnTo>
                      <a:lnTo>
                        <a:pt x="591477" y="66675"/>
                      </a:lnTo>
                      <a:lnTo>
                        <a:pt x="593331" y="64935"/>
                      </a:lnTo>
                      <a:lnTo>
                        <a:pt x="597027" y="61429"/>
                      </a:lnTo>
                      <a:close/>
                    </a:path>
                    <a:path w="2161540" h="1527810">
                      <a:moveTo>
                        <a:pt x="833018" y="1215948"/>
                      </a:moveTo>
                      <a:lnTo>
                        <a:pt x="832599" y="1215491"/>
                      </a:lnTo>
                      <a:lnTo>
                        <a:pt x="832256" y="1215085"/>
                      </a:lnTo>
                      <a:lnTo>
                        <a:pt x="831672" y="1214818"/>
                      </a:lnTo>
                      <a:lnTo>
                        <a:pt x="832104" y="1215212"/>
                      </a:lnTo>
                      <a:lnTo>
                        <a:pt x="832561" y="1215593"/>
                      </a:lnTo>
                      <a:lnTo>
                        <a:pt x="833018" y="1215948"/>
                      </a:lnTo>
                      <a:close/>
                    </a:path>
                    <a:path w="2161540" h="1527810">
                      <a:moveTo>
                        <a:pt x="834034" y="1214564"/>
                      </a:moveTo>
                      <a:lnTo>
                        <a:pt x="833145" y="1212900"/>
                      </a:lnTo>
                      <a:lnTo>
                        <a:pt x="833653" y="1214107"/>
                      </a:lnTo>
                      <a:lnTo>
                        <a:pt x="833869" y="1214526"/>
                      </a:lnTo>
                      <a:lnTo>
                        <a:pt x="834034" y="1214564"/>
                      </a:lnTo>
                      <a:close/>
                    </a:path>
                    <a:path w="2161540" h="1527810">
                      <a:moveTo>
                        <a:pt x="834605" y="1217155"/>
                      </a:moveTo>
                      <a:lnTo>
                        <a:pt x="834072" y="1216748"/>
                      </a:lnTo>
                      <a:lnTo>
                        <a:pt x="833564" y="1216355"/>
                      </a:lnTo>
                      <a:lnTo>
                        <a:pt x="833018" y="1215948"/>
                      </a:lnTo>
                      <a:lnTo>
                        <a:pt x="833221" y="1216723"/>
                      </a:lnTo>
                      <a:lnTo>
                        <a:pt x="833831" y="1217206"/>
                      </a:lnTo>
                      <a:lnTo>
                        <a:pt x="834605" y="1217155"/>
                      </a:lnTo>
                      <a:close/>
                    </a:path>
                    <a:path w="2161540" h="1527810">
                      <a:moveTo>
                        <a:pt x="834618" y="1216571"/>
                      </a:moveTo>
                      <a:lnTo>
                        <a:pt x="834301" y="1215301"/>
                      </a:lnTo>
                      <a:lnTo>
                        <a:pt x="833869" y="1214526"/>
                      </a:lnTo>
                      <a:lnTo>
                        <a:pt x="832408" y="1214094"/>
                      </a:lnTo>
                      <a:lnTo>
                        <a:pt x="833297" y="1215999"/>
                      </a:lnTo>
                      <a:lnTo>
                        <a:pt x="834072" y="1216418"/>
                      </a:lnTo>
                      <a:lnTo>
                        <a:pt x="834618" y="1216571"/>
                      </a:lnTo>
                      <a:close/>
                    </a:path>
                    <a:path w="2161540" h="1527810">
                      <a:moveTo>
                        <a:pt x="837463" y="1219390"/>
                      </a:moveTo>
                      <a:lnTo>
                        <a:pt x="837234" y="1217612"/>
                      </a:lnTo>
                      <a:lnTo>
                        <a:pt x="836612" y="1214335"/>
                      </a:lnTo>
                      <a:lnTo>
                        <a:pt x="834605" y="1217155"/>
                      </a:lnTo>
                      <a:lnTo>
                        <a:pt x="835571" y="1217904"/>
                      </a:lnTo>
                      <a:lnTo>
                        <a:pt x="836498" y="1218641"/>
                      </a:lnTo>
                      <a:lnTo>
                        <a:pt x="837463" y="1219390"/>
                      </a:lnTo>
                      <a:close/>
                    </a:path>
                    <a:path w="2161540" h="1527810">
                      <a:moveTo>
                        <a:pt x="1029017" y="1525231"/>
                      </a:moveTo>
                      <a:lnTo>
                        <a:pt x="1027595" y="1525270"/>
                      </a:lnTo>
                      <a:lnTo>
                        <a:pt x="1027823" y="1523834"/>
                      </a:lnTo>
                      <a:lnTo>
                        <a:pt x="1026769" y="1524914"/>
                      </a:lnTo>
                      <a:lnTo>
                        <a:pt x="1027849" y="1525981"/>
                      </a:lnTo>
                      <a:lnTo>
                        <a:pt x="1028623" y="1527048"/>
                      </a:lnTo>
                      <a:lnTo>
                        <a:pt x="1028750" y="1527225"/>
                      </a:lnTo>
                      <a:lnTo>
                        <a:pt x="1028750" y="1527086"/>
                      </a:lnTo>
                      <a:lnTo>
                        <a:pt x="1029017" y="1525231"/>
                      </a:lnTo>
                      <a:close/>
                    </a:path>
                    <a:path w="2161540" h="1527810">
                      <a:moveTo>
                        <a:pt x="1722031" y="1438884"/>
                      </a:moveTo>
                      <a:lnTo>
                        <a:pt x="1721675" y="1438668"/>
                      </a:lnTo>
                      <a:lnTo>
                        <a:pt x="1721294" y="1438503"/>
                      </a:lnTo>
                      <a:lnTo>
                        <a:pt x="1720900" y="1438376"/>
                      </a:lnTo>
                      <a:lnTo>
                        <a:pt x="1719783" y="1438617"/>
                      </a:lnTo>
                      <a:lnTo>
                        <a:pt x="1717903" y="1438452"/>
                      </a:lnTo>
                      <a:lnTo>
                        <a:pt x="1717395" y="1439633"/>
                      </a:lnTo>
                      <a:lnTo>
                        <a:pt x="1718970" y="1439583"/>
                      </a:lnTo>
                      <a:lnTo>
                        <a:pt x="1720519" y="1439164"/>
                      </a:lnTo>
                      <a:lnTo>
                        <a:pt x="1722031" y="1438884"/>
                      </a:lnTo>
                      <a:close/>
                    </a:path>
                    <a:path w="2161540" h="1527810">
                      <a:moveTo>
                        <a:pt x="1910524" y="1344917"/>
                      </a:moveTo>
                      <a:lnTo>
                        <a:pt x="1909445" y="1343863"/>
                      </a:lnTo>
                      <a:lnTo>
                        <a:pt x="1909914" y="1343152"/>
                      </a:lnTo>
                      <a:lnTo>
                        <a:pt x="1909686" y="1342986"/>
                      </a:lnTo>
                      <a:lnTo>
                        <a:pt x="1907413" y="1341513"/>
                      </a:lnTo>
                      <a:lnTo>
                        <a:pt x="1908644" y="1346060"/>
                      </a:lnTo>
                      <a:lnTo>
                        <a:pt x="1908835" y="1346669"/>
                      </a:lnTo>
                      <a:lnTo>
                        <a:pt x="1909381" y="1345628"/>
                      </a:lnTo>
                      <a:lnTo>
                        <a:pt x="1910524" y="1344917"/>
                      </a:lnTo>
                      <a:close/>
                    </a:path>
                    <a:path w="2161540" h="1527810">
                      <a:moveTo>
                        <a:pt x="1947392" y="1307236"/>
                      </a:moveTo>
                      <a:lnTo>
                        <a:pt x="1946821" y="1307147"/>
                      </a:lnTo>
                      <a:lnTo>
                        <a:pt x="1946783" y="1305471"/>
                      </a:lnTo>
                      <a:lnTo>
                        <a:pt x="1946897" y="1304696"/>
                      </a:lnTo>
                      <a:lnTo>
                        <a:pt x="1945513" y="1305471"/>
                      </a:lnTo>
                      <a:lnTo>
                        <a:pt x="1945894" y="1304823"/>
                      </a:lnTo>
                      <a:lnTo>
                        <a:pt x="1945868" y="1304569"/>
                      </a:lnTo>
                      <a:lnTo>
                        <a:pt x="1945855" y="1304417"/>
                      </a:lnTo>
                      <a:lnTo>
                        <a:pt x="1945513" y="1303337"/>
                      </a:lnTo>
                      <a:lnTo>
                        <a:pt x="1945386" y="1302931"/>
                      </a:lnTo>
                      <a:lnTo>
                        <a:pt x="1945005" y="1303337"/>
                      </a:lnTo>
                      <a:lnTo>
                        <a:pt x="1944801" y="1302956"/>
                      </a:lnTo>
                      <a:lnTo>
                        <a:pt x="1944230" y="1302613"/>
                      </a:lnTo>
                      <a:lnTo>
                        <a:pt x="1944103" y="1301496"/>
                      </a:lnTo>
                      <a:lnTo>
                        <a:pt x="1944116" y="1301203"/>
                      </a:lnTo>
                      <a:lnTo>
                        <a:pt x="1945690" y="1300772"/>
                      </a:lnTo>
                      <a:lnTo>
                        <a:pt x="1945208" y="1299540"/>
                      </a:lnTo>
                      <a:lnTo>
                        <a:pt x="1945157" y="1299413"/>
                      </a:lnTo>
                      <a:lnTo>
                        <a:pt x="1943963" y="1299540"/>
                      </a:lnTo>
                      <a:lnTo>
                        <a:pt x="1945043" y="1298054"/>
                      </a:lnTo>
                      <a:lnTo>
                        <a:pt x="1945220" y="1296530"/>
                      </a:lnTo>
                      <a:lnTo>
                        <a:pt x="1945386" y="1295146"/>
                      </a:lnTo>
                      <a:lnTo>
                        <a:pt x="1944458" y="1296530"/>
                      </a:lnTo>
                      <a:lnTo>
                        <a:pt x="1944001" y="1294384"/>
                      </a:lnTo>
                      <a:lnTo>
                        <a:pt x="1943227" y="1296301"/>
                      </a:lnTo>
                      <a:lnTo>
                        <a:pt x="1941220" y="1299273"/>
                      </a:lnTo>
                      <a:lnTo>
                        <a:pt x="1941880" y="1302219"/>
                      </a:lnTo>
                      <a:lnTo>
                        <a:pt x="1943188" y="1303566"/>
                      </a:lnTo>
                      <a:lnTo>
                        <a:pt x="1943608" y="1304505"/>
                      </a:lnTo>
                      <a:lnTo>
                        <a:pt x="1943430" y="1304518"/>
                      </a:lnTo>
                      <a:lnTo>
                        <a:pt x="1943150" y="1303909"/>
                      </a:lnTo>
                      <a:lnTo>
                        <a:pt x="1941918" y="1302588"/>
                      </a:lnTo>
                      <a:lnTo>
                        <a:pt x="1940420" y="1301496"/>
                      </a:lnTo>
                      <a:lnTo>
                        <a:pt x="1940382" y="1301203"/>
                      </a:lnTo>
                      <a:lnTo>
                        <a:pt x="1940204" y="1302219"/>
                      </a:lnTo>
                      <a:lnTo>
                        <a:pt x="1940115" y="1303909"/>
                      </a:lnTo>
                      <a:lnTo>
                        <a:pt x="1940560" y="1305471"/>
                      </a:lnTo>
                      <a:lnTo>
                        <a:pt x="1940636" y="1308366"/>
                      </a:lnTo>
                      <a:lnTo>
                        <a:pt x="1938528" y="1310424"/>
                      </a:lnTo>
                      <a:lnTo>
                        <a:pt x="1938947" y="1308531"/>
                      </a:lnTo>
                      <a:lnTo>
                        <a:pt x="1937677" y="1310106"/>
                      </a:lnTo>
                      <a:lnTo>
                        <a:pt x="1936445" y="1313014"/>
                      </a:lnTo>
                      <a:lnTo>
                        <a:pt x="1934743" y="1314094"/>
                      </a:lnTo>
                      <a:lnTo>
                        <a:pt x="1934095" y="1314526"/>
                      </a:lnTo>
                      <a:lnTo>
                        <a:pt x="1933816" y="1315148"/>
                      </a:lnTo>
                      <a:lnTo>
                        <a:pt x="1933854" y="1313992"/>
                      </a:lnTo>
                      <a:lnTo>
                        <a:pt x="1931581" y="1316507"/>
                      </a:lnTo>
                      <a:lnTo>
                        <a:pt x="1929244" y="1319047"/>
                      </a:lnTo>
                      <a:lnTo>
                        <a:pt x="1926488" y="1322311"/>
                      </a:lnTo>
                      <a:lnTo>
                        <a:pt x="1923059" y="1326807"/>
                      </a:lnTo>
                      <a:lnTo>
                        <a:pt x="1922640" y="1325460"/>
                      </a:lnTo>
                      <a:lnTo>
                        <a:pt x="1920519" y="1325791"/>
                      </a:lnTo>
                      <a:lnTo>
                        <a:pt x="1918944" y="1328686"/>
                      </a:lnTo>
                      <a:lnTo>
                        <a:pt x="1915934" y="1331607"/>
                      </a:lnTo>
                      <a:lnTo>
                        <a:pt x="1914042" y="1332941"/>
                      </a:lnTo>
                      <a:lnTo>
                        <a:pt x="1911769" y="1335951"/>
                      </a:lnTo>
                      <a:lnTo>
                        <a:pt x="1911654" y="1337386"/>
                      </a:lnTo>
                      <a:lnTo>
                        <a:pt x="1911273" y="1339176"/>
                      </a:lnTo>
                      <a:lnTo>
                        <a:pt x="1923796" y="1329728"/>
                      </a:lnTo>
                      <a:lnTo>
                        <a:pt x="1927999" y="1327632"/>
                      </a:lnTo>
                      <a:lnTo>
                        <a:pt x="1928622" y="1326807"/>
                      </a:lnTo>
                      <a:lnTo>
                        <a:pt x="1930006" y="1324991"/>
                      </a:lnTo>
                      <a:lnTo>
                        <a:pt x="1930742" y="1323975"/>
                      </a:lnTo>
                      <a:lnTo>
                        <a:pt x="1931314" y="1322971"/>
                      </a:lnTo>
                      <a:lnTo>
                        <a:pt x="1932622" y="1321320"/>
                      </a:lnTo>
                      <a:lnTo>
                        <a:pt x="1934248" y="1319847"/>
                      </a:lnTo>
                      <a:lnTo>
                        <a:pt x="1933473" y="1319631"/>
                      </a:lnTo>
                      <a:lnTo>
                        <a:pt x="1935213" y="1317840"/>
                      </a:lnTo>
                      <a:lnTo>
                        <a:pt x="1932660" y="1316113"/>
                      </a:lnTo>
                      <a:lnTo>
                        <a:pt x="1936508" y="1315148"/>
                      </a:lnTo>
                      <a:lnTo>
                        <a:pt x="1937524" y="1315085"/>
                      </a:lnTo>
                      <a:lnTo>
                        <a:pt x="1941068" y="1314018"/>
                      </a:lnTo>
                      <a:lnTo>
                        <a:pt x="1940610" y="1310995"/>
                      </a:lnTo>
                      <a:lnTo>
                        <a:pt x="1941791" y="1310424"/>
                      </a:lnTo>
                      <a:lnTo>
                        <a:pt x="1944001" y="1309357"/>
                      </a:lnTo>
                      <a:lnTo>
                        <a:pt x="1947164" y="1308366"/>
                      </a:lnTo>
                      <a:lnTo>
                        <a:pt x="1947392" y="1307236"/>
                      </a:lnTo>
                      <a:close/>
                    </a:path>
                    <a:path w="2161540" h="1527810">
                      <a:moveTo>
                        <a:pt x="1952688" y="1289253"/>
                      </a:moveTo>
                      <a:lnTo>
                        <a:pt x="1952028" y="1288186"/>
                      </a:lnTo>
                      <a:lnTo>
                        <a:pt x="1952180" y="1288135"/>
                      </a:lnTo>
                      <a:lnTo>
                        <a:pt x="1952332" y="1288122"/>
                      </a:lnTo>
                      <a:lnTo>
                        <a:pt x="1952485" y="1288046"/>
                      </a:lnTo>
                      <a:lnTo>
                        <a:pt x="1952180" y="1287907"/>
                      </a:lnTo>
                      <a:lnTo>
                        <a:pt x="1951824" y="1287589"/>
                      </a:lnTo>
                      <a:lnTo>
                        <a:pt x="1951482" y="1287437"/>
                      </a:lnTo>
                      <a:lnTo>
                        <a:pt x="1951786" y="1287348"/>
                      </a:lnTo>
                      <a:lnTo>
                        <a:pt x="1951913" y="1287284"/>
                      </a:lnTo>
                      <a:lnTo>
                        <a:pt x="1950758" y="1286713"/>
                      </a:lnTo>
                      <a:lnTo>
                        <a:pt x="1950212" y="1286370"/>
                      </a:lnTo>
                      <a:lnTo>
                        <a:pt x="1950059" y="1287907"/>
                      </a:lnTo>
                      <a:lnTo>
                        <a:pt x="1950593" y="1289519"/>
                      </a:lnTo>
                      <a:lnTo>
                        <a:pt x="1950859" y="1291031"/>
                      </a:lnTo>
                      <a:lnTo>
                        <a:pt x="1952371" y="1290256"/>
                      </a:lnTo>
                      <a:lnTo>
                        <a:pt x="1952688" y="1289253"/>
                      </a:lnTo>
                      <a:close/>
                    </a:path>
                    <a:path w="2161540" h="1527810">
                      <a:moveTo>
                        <a:pt x="1955304" y="1383792"/>
                      </a:moveTo>
                      <a:lnTo>
                        <a:pt x="1955177" y="1383411"/>
                      </a:lnTo>
                      <a:lnTo>
                        <a:pt x="1954530" y="1380871"/>
                      </a:lnTo>
                      <a:lnTo>
                        <a:pt x="1950631" y="1385341"/>
                      </a:lnTo>
                      <a:lnTo>
                        <a:pt x="1949513" y="1386281"/>
                      </a:lnTo>
                      <a:lnTo>
                        <a:pt x="1950097" y="1385925"/>
                      </a:lnTo>
                      <a:lnTo>
                        <a:pt x="1951482" y="1385239"/>
                      </a:lnTo>
                      <a:lnTo>
                        <a:pt x="1951710" y="1384706"/>
                      </a:lnTo>
                      <a:lnTo>
                        <a:pt x="1951939" y="1384566"/>
                      </a:lnTo>
                      <a:lnTo>
                        <a:pt x="1952599" y="1384134"/>
                      </a:lnTo>
                      <a:lnTo>
                        <a:pt x="1953260" y="1385227"/>
                      </a:lnTo>
                      <a:lnTo>
                        <a:pt x="1953298" y="1383792"/>
                      </a:lnTo>
                      <a:lnTo>
                        <a:pt x="1953717" y="1384300"/>
                      </a:lnTo>
                      <a:lnTo>
                        <a:pt x="1953831" y="1384528"/>
                      </a:lnTo>
                      <a:lnTo>
                        <a:pt x="1953983" y="1384604"/>
                      </a:lnTo>
                      <a:lnTo>
                        <a:pt x="1954339" y="1384630"/>
                      </a:lnTo>
                      <a:lnTo>
                        <a:pt x="1954758" y="1385176"/>
                      </a:lnTo>
                      <a:lnTo>
                        <a:pt x="1954796" y="1384782"/>
                      </a:lnTo>
                      <a:lnTo>
                        <a:pt x="1955304" y="1383792"/>
                      </a:lnTo>
                      <a:close/>
                    </a:path>
                    <a:path w="2161540" h="1527810">
                      <a:moveTo>
                        <a:pt x="1956219" y="1284681"/>
                      </a:moveTo>
                      <a:lnTo>
                        <a:pt x="1955596" y="1284160"/>
                      </a:lnTo>
                      <a:lnTo>
                        <a:pt x="1955139" y="1283411"/>
                      </a:lnTo>
                      <a:lnTo>
                        <a:pt x="1954644" y="1282814"/>
                      </a:lnTo>
                      <a:lnTo>
                        <a:pt x="1954796" y="1283271"/>
                      </a:lnTo>
                      <a:lnTo>
                        <a:pt x="1954682" y="1283716"/>
                      </a:lnTo>
                      <a:lnTo>
                        <a:pt x="1954796" y="1284173"/>
                      </a:lnTo>
                      <a:lnTo>
                        <a:pt x="1954098" y="1284516"/>
                      </a:lnTo>
                      <a:lnTo>
                        <a:pt x="1948967" y="1280414"/>
                      </a:lnTo>
                      <a:lnTo>
                        <a:pt x="1949932" y="1282039"/>
                      </a:lnTo>
                      <a:lnTo>
                        <a:pt x="1949627" y="1282598"/>
                      </a:lnTo>
                      <a:lnTo>
                        <a:pt x="1949475" y="1283398"/>
                      </a:lnTo>
                      <a:lnTo>
                        <a:pt x="1950478" y="1282687"/>
                      </a:lnTo>
                      <a:lnTo>
                        <a:pt x="1950288" y="1284160"/>
                      </a:lnTo>
                      <a:lnTo>
                        <a:pt x="1950669" y="1284795"/>
                      </a:lnTo>
                      <a:lnTo>
                        <a:pt x="1951126" y="1285621"/>
                      </a:lnTo>
                      <a:lnTo>
                        <a:pt x="1951672" y="1286306"/>
                      </a:lnTo>
                      <a:lnTo>
                        <a:pt x="1952942" y="1286573"/>
                      </a:lnTo>
                      <a:lnTo>
                        <a:pt x="1954060" y="1285976"/>
                      </a:lnTo>
                      <a:lnTo>
                        <a:pt x="1955253" y="1285468"/>
                      </a:lnTo>
                      <a:lnTo>
                        <a:pt x="1956219" y="1284681"/>
                      </a:lnTo>
                      <a:close/>
                    </a:path>
                    <a:path w="2161540" h="1527810">
                      <a:moveTo>
                        <a:pt x="1972729" y="1372971"/>
                      </a:moveTo>
                      <a:lnTo>
                        <a:pt x="1970379" y="1372501"/>
                      </a:lnTo>
                      <a:lnTo>
                        <a:pt x="1970112" y="1372438"/>
                      </a:lnTo>
                      <a:lnTo>
                        <a:pt x="1969147" y="1372692"/>
                      </a:lnTo>
                      <a:lnTo>
                        <a:pt x="1968677" y="1372527"/>
                      </a:lnTo>
                      <a:lnTo>
                        <a:pt x="1968677" y="1372057"/>
                      </a:lnTo>
                      <a:lnTo>
                        <a:pt x="1967103" y="1371498"/>
                      </a:lnTo>
                      <a:lnTo>
                        <a:pt x="1966785" y="1371142"/>
                      </a:lnTo>
                      <a:lnTo>
                        <a:pt x="1965439" y="1372082"/>
                      </a:lnTo>
                      <a:lnTo>
                        <a:pt x="1965210" y="1372222"/>
                      </a:lnTo>
                      <a:lnTo>
                        <a:pt x="1964321" y="1372336"/>
                      </a:lnTo>
                      <a:lnTo>
                        <a:pt x="1964169" y="1373822"/>
                      </a:lnTo>
                      <a:lnTo>
                        <a:pt x="1969223" y="1374521"/>
                      </a:lnTo>
                      <a:lnTo>
                        <a:pt x="1969998" y="1374724"/>
                      </a:lnTo>
                      <a:lnTo>
                        <a:pt x="1971687" y="1374063"/>
                      </a:lnTo>
                      <a:lnTo>
                        <a:pt x="1972729" y="1372971"/>
                      </a:lnTo>
                      <a:close/>
                    </a:path>
                    <a:path w="2161540" h="1527810">
                      <a:moveTo>
                        <a:pt x="1973376" y="1178318"/>
                      </a:moveTo>
                      <a:lnTo>
                        <a:pt x="1973313" y="1177632"/>
                      </a:lnTo>
                      <a:lnTo>
                        <a:pt x="1972487" y="1177810"/>
                      </a:lnTo>
                      <a:lnTo>
                        <a:pt x="1971687" y="1177886"/>
                      </a:lnTo>
                      <a:lnTo>
                        <a:pt x="1970874" y="1178026"/>
                      </a:lnTo>
                      <a:lnTo>
                        <a:pt x="1971497" y="1178864"/>
                      </a:lnTo>
                      <a:lnTo>
                        <a:pt x="1972030" y="1179423"/>
                      </a:lnTo>
                      <a:lnTo>
                        <a:pt x="1973186" y="1179703"/>
                      </a:lnTo>
                      <a:lnTo>
                        <a:pt x="1973313" y="1179017"/>
                      </a:lnTo>
                      <a:lnTo>
                        <a:pt x="1973376" y="1178318"/>
                      </a:lnTo>
                      <a:close/>
                    </a:path>
                    <a:path w="2161540" h="1527810">
                      <a:moveTo>
                        <a:pt x="1973884" y="1270431"/>
                      </a:moveTo>
                      <a:lnTo>
                        <a:pt x="1973846" y="1270215"/>
                      </a:lnTo>
                      <a:lnTo>
                        <a:pt x="1973732" y="1269428"/>
                      </a:lnTo>
                      <a:lnTo>
                        <a:pt x="1971421" y="1268412"/>
                      </a:lnTo>
                      <a:lnTo>
                        <a:pt x="1964588" y="1264386"/>
                      </a:lnTo>
                      <a:lnTo>
                        <a:pt x="1961591" y="1264412"/>
                      </a:lnTo>
                      <a:lnTo>
                        <a:pt x="1959965" y="1264246"/>
                      </a:lnTo>
                      <a:lnTo>
                        <a:pt x="1958073" y="1263980"/>
                      </a:lnTo>
                      <a:lnTo>
                        <a:pt x="1956574" y="1263535"/>
                      </a:lnTo>
                      <a:lnTo>
                        <a:pt x="1955914" y="1265008"/>
                      </a:lnTo>
                      <a:lnTo>
                        <a:pt x="1960041" y="1265618"/>
                      </a:lnTo>
                      <a:lnTo>
                        <a:pt x="1961248" y="1269974"/>
                      </a:lnTo>
                      <a:lnTo>
                        <a:pt x="1963661" y="1277505"/>
                      </a:lnTo>
                      <a:lnTo>
                        <a:pt x="1966366" y="1280020"/>
                      </a:lnTo>
                      <a:lnTo>
                        <a:pt x="1969414" y="1282992"/>
                      </a:lnTo>
                      <a:lnTo>
                        <a:pt x="1970265" y="1282268"/>
                      </a:lnTo>
                      <a:lnTo>
                        <a:pt x="1970646" y="1280782"/>
                      </a:lnTo>
                      <a:lnTo>
                        <a:pt x="1971497" y="1281874"/>
                      </a:lnTo>
                      <a:lnTo>
                        <a:pt x="1971230" y="1281049"/>
                      </a:lnTo>
                      <a:lnTo>
                        <a:pt x="1971382" y="1280604"/>
                      </a:lnTo>
                      <a:lnTo>
                        <a:pt x="1972221" y="1280896"/>
                      </a:lnTo>
                      <a:lnTo>
                        <a:pt x="1971611" y="1279398"/>
                      </a:lnTo>
                      <a:lnTo>
                        <a:pt x="1972310" y="1279232"/>
                      </a:lnTo>
                      <a:lnTo>
                        <a:pt x="1973884" y="1276565"/>
                      </a:lnTo>
                      <a:lnTo>
                        <a:pt x="1973008" y="1273276"/>
                      </a:lnTo>
                      <a:lnTo>
                        <a:pt x="1972767" y="1272057"/>
                      </a:lnTo>
                      <a:lnTo>
                        <a:pt x="1972957" y="1270889"/>
                      </a:lnTo>
                      <a:lnTo>
                        <a:pt x="1973884" y="1270431"/>
                      </a:lnTo>
                      <a:close/>
                    </a:path>
                    <a:path w="2161540" h="1527810">
                      <a:moveTo>
                        <a:pt x="1978164" y="1156131"/>
                      </a:moveTo>
                      <a:lnTo>
                        <a:pt x="1977707" y="1156716"/>
                      </a:lnTo>
                      <a:lnTo>
                        <a:pt x="1977618" y="1157528"/>
                      </a:lnTo>
                      <a:lnTo>
                        <a:pt x="1977390" y="1158316"/>
                      </a:lnTo>
                      <a:lnTo>
                        <a:pt x="1977707" y="1157592"/>
                      </a:lnTo>
                      <a:lnTo>
                        <a:pt x="1978050" y="1156893"/>
                      </a:lnTo>
                      <a:lnTo>
                        <a:pt x="1978164" y="1156131"/>
                      </a:lnTo>
                      <a:close/>
                    </a:path>
                    <a:path w="2161540" h="1527810">
                      <a:moveTo>
                        <a:pt x="1979320" y="1183322"/>
                      </a:moveTo>
                      <a:lnTo>
                        <a:pt x="1978012" y="1183335"/>
                      </a:lnTo>
                      <a:lnTo>
                        <a:pt x="1978012" y="1185062"/>
                      </a:lnTo>
                      <a:lnTo>
                        <a:pt x="1978088" y="1186078"/>
                      </a:lnTo>
                      <a:lnTo>
                        <a:pt x="1978507" y="1185176"/>
                      </a:lnTo>
                      <a:lnTo>
                        <a:pt x="1979053" y="1184300"/>
                      </a:lnTo>
                      <a:lnTo>
                        <a:pt x="1979320" y="1183322"/>
                      </a:lnTo>
                      <a:close/>
                    </a:path>
                    <a:path w="2161540" h="1527810">
                      <a:moveTo>
                        <a:pt x="1981669" y="1246060"/>
                      </a:moveTo>
                      <a:lnTo>
                        <a:pt x="1979790" y="1245958"/>
                      </a:lnTo>
                      <a:lnTo>
                        <a:pt x="1979790" y="1243647"/>
                      </a:lnTo>
                      <a:lnTo>
                        <a:pt x="1980285" y="1243571"/>
                      </a:lnTo>
                      <a:lnTo>
                        <a:pt x="1980399" y="1242809"/>
                      </a:lnTo>
                      <a:lnTo>
                        <a:pt x="1980476" y="1242453"/>
                      </a:lnTo>
                      <a:lnTo>
                        <a:pt x="1981022" y="1241361"/>
                      </a:lnTo>
                      <a:lnTo>
                        <a:pt x="1979320" y="1241526"/>
                      </a:lnTo>
                      <a:lnTo>
                        <a:pt x="1975739" y="1241882"/>
                      </a:lnTo>
                      <a:lnTo>
                        <a:pt x="1978596" y="1246085"/>
                      </a:lnTo>
                      <a:lnTo>
                        <a:pt x="1979320" y="1247762"/>
                      </a:lnTo>
                      <a:lnTo>
                        <a:pt x="1981669" y="1246060"/>
                      </a:lnTo>
                      <a:close/>
                    </a:path>
                    <a:path w="2161540" h="1527810">
                      <a:moveTo>
                        <a:pt x="1981987" y="1359966"/>
                      </a:moveTo>
                      <a:lnTo>
                        <a:pt x="1981720" y="1359865"/>
                      </a:lnTo>
                      <a:lnTo>
                        <a:pt x="1981987" y="1359966"/>
                      </a:lnTo>
                      <a:close/>
                    </a:path>
                    <a:path w="2161540" h="1527810">
                      <a:moveTo>
                        <a:pt x="1982673" y="1275930"/>
                      </a:moveTo>
                      <a:lnTo>
                        <a:pt x="1981517" y="1276400"/>
                      </a:lnTo>
                      <a:lnTo>
                        <a:pt x="1978202" y="1277772"/>
                      </a:lnTo>
                      <a:lnTo>
                        <a:pt x="1979320" y="1282306"/>
                      </a:lnTo>
                      <a:lnTo>
                        <a:pt x="1980361" y="1284655"/>
                      </a:lnTo>
                      <a:lnTo>
                        <a:pt x="1981441" y="1283741"/>
                      </a:lnTo>
                      <a:lnTo>
                        <a:pt x="1981822" y="1279563"/>
                      </a:lnTo>
                      <a:lnTo>
                        <a:pt x="1982444" y="1277048"/>
                      </a:lnTo>
                      <a:lnTo>
                        <a:pt x="1982673" y="1275930"/>
                      </a:lnTo>
                      <a:close/>
                    </a:path>
                    <a:path w="2161540" h="1527810">
                      <a:moveTo>
                        <a:pt x="1982673" y="1264869"/>
                      </a:moveTo>
                      <a:lnTo>
                        <a:pt x="1980742" y="1263853"/>
                      </a:lnTo>
                      <a:lnTo>
                        <a:pt x="1980158" y="1263548"/>
                      </a:lnTo>
                      <a:lnTo>
                        <a:pt x="1979193" y="1263573"/>
                      </a:lnTo>
                      <a:lnTo>
                        <a:pt x="1978190" y="1263408"/>
                      </a:lnTo>
                      <a:lnTo>
                        <a:pt x="1978279" y="1264081"/>
                      </a:lnTo>
                      <a:lnTo>
                        <a:pt x="1977580" y="1264767"/>
                      </a:lnTo>
                      <a:lnTo>
                        <a:pt x="1977656" y="1265770"/>
                      </a:lnTo>
                      <a:lnTo>
                        <a:pt x="1977809" y="1267447"/>
                      </a:lnTo>
                      <a:lnTo>
                        <a:pt x="1979155" y="1267752"/>
                      </a:lnTo>
                      <a:lnTo>
                        <a:pt x="1980577" y="1268564"/>
                      </a:lnTo>
                      <a:lnTo>
                        <a:pt x="1981327" y="1266596"/>
                      </a:lnTo>
                      <a:lnTo>
                        <a:pt x="1982673" y="1264869"/>
                      </a:lnTo>
                      <a:close/>
                    </a:path>
                    <a:path w="2161540" h="1527810">
                      <a:moveTo>
                        <a:pt x="1985721" y="1363637"/>
                      </a:moveTo>
                      <a:lnTo>
                        <a:pt x="1982254" y="1362925"/>
                      </a:lnTo>
                      <a:lnTo>
                        <a:pt x="1982101" y="1362011"/>
                      </a:lnTo>
                      <a:lnTo>
                        <a:pt x="1979866" y="1361617"/>
                      </a:lnTo>
                      <a:lnTo>
                        <a:pt x="1979053" y="1363738"/>
                      </a:lnTo>
                      <a:lnTo>
                        <a:pt x="1977821" y="1362887"/>
                      </a:lnTo>
                      <a:lnTo>
                        <a:pt x="1978202" y="1364310"/>
                      </a:lnTo>
                      <a:lnTo>
                        <a:pt x="1979282" y="1365542"/>
                      </a:lnTo>
                      <a:lnTo>
                        <a:pt x="1980057" y="1366761"/>
                      </a:lnTo>
                      <a:lnTo>
                        <a:pt x="1980526" y="1366634"/>
                      </a:lnTo>
                      <a:lnTo>
                        <a:pt x="1982292" y="1366469"/>
                      </a:lnTo>
                      <a:lnTo>
                        <a:pt x="1983016" y="1365745"/>
                      </a:lnTo>
                      <a:lnTo>
                        <a:pt x="1982825" y="1365173"/>
                      </a:lnTo>
                      <a:lnTo>
                        <a:pt x="1983181" y="1364881"/>
                      </a:lnTo>
                      <a:lnTo>
                        <a:pt x="1984146" y="1364005"/>
                      </a:lnTo>
                      <a:lnTo>
                        <a:pt x="1985721" y="1363637"/>
                      </a:lnTo>
                      <a:close/>
                    </a:path>
                    <a:path w="2161540" h="1527810">
                      <a:moveTo>
                        <a:pt x="1990267" y="1279461"/>
                      </a:moveTo>
                      <a:lnTo>
                        <a:pt x="1988997" y="1278839"/>
                      </a:lnTo>
                      <a:lnTo>
                        <a:pt x="1988451" y="1278559"/>
                      </a:lnTo>
                      <a:lnTo>
                        <a:pt x="1986419" y="1278826"/>
                      </a:lnTo>
                      <a:lnTo>
                        <a:pt x="1986292" y="1279563"/>
                      </a:lnTo>
                      <a:lnTo>
                        <a:pt x="1986216" y="1279931"/>
                      </a:lnTo>
                      <a:lnTo>
                        <a:pt x="1988997" y="1281938"/>
                      </a:lnTo>
                      <a:lnTo>
                        <a:pt x="1989340" y="1282204"/>
                      </a:lnTo>
                      <a:lnTo>
                        <a:pt x="1989531" y="1280680"/>
                      </a:lnTo>
                      <a:lnTo>
                        <a:pt x="1990267" y="1279461"/>
                      </a:lnTo>
                      <a:close/>
                    </a:path>
                    <a:path w="2161540" h="1527810">
                      <a:moveTo>
                        <a:pt x="1995208" y="1271549"/>
                      </a:moveTo>
                      <a:lnTo>
                        <a:pt x="1994750" y="1271117"/>
                      </a:lnTo>
                      <a:lnTo>
                        <a:pt x="1994331" y="1270698"/>
                      </a:lnTo>
                      <a:lnTo>
                        <a:pt x="1993861" y="1270279"/>
                      </a:lnTo>
                      <a:lnTo>
                        <a:pt x="1993595" y="1271168"/>
                      </a:lnTo>
                      <a:lnTo>
                        <a:pt x="1994281" y="1271536"/>
                      </a:lnTo>
                      <a:lnTo>
                        <a:pt x="1995208" y="1271549"/>
                      </a:lnTo>
                      <a:close/>
                    </a:path>
                    <a:path w="2161540" h="1527810">
                      <a:moveTo>
                        <a:pt x="1998154" y="1282801"/>
                      </a:moveTo>
                      <a:close/>
                    </a:path>
                    <a:path w="2161540" h="1527810">
                      <a:moveTo>
                        <a:pt x="2002536" y="1302804"/>
                      </a:moveTo>
                      <a:lnTo>
                        <a:pt x="2001761" y="1302715"/>
                      </a:lnTo>
                      <a:lnTo>
                        <a:pt x="2002307" y="1302461"/>
                      </a:lnTo>
                      <a:lnTo>
                        <a:pt x="2001380" y="1301470"/>
                      </a:lnTo>
                      <a:lnTo>
                        <a:pt x="2000999" y="1301521"/>
                      </a:lnTo>
                      <a:lnTo>
                        <a:pt x="1998992" y="1301089"/>
                      </a:lnTo>
                      <a:lnTo>
                        <a:pt x="1997900" y="1300518"/>
                      </a:lnTo>
                      <a:lnTo>
                        <a:pt x="1992350" y="1301978"/>
                      </a:lnTo>
                      <a:lnTo>
                        <a:pt x="1993087" y="1301229"/>
                      </a:lnTo>
                      <a:lnTo>
                        <a:pt x="1995817" y="1299464"/>
                      </a:lnTo>
                      <a:lnTo>
                        <a:pt x="1996440" y="1297597"/>
                      </a:lnTo>
                      <a:lnTo>
                        <a:pt x="1995779" y="1297432"/>
                      </a:lnTo>
                      <a:lnTo>
                        <a:pt x="1996097" y="1296149"/>
                      </a:lnTo>
                      <a:lnTo>
                        <a:pt x="1996440" y="1295387"/>
                      </a:lnTo>
                      <a:lnTo>
                        <a:pt x="1996516" y="1291882"/>
                      </a:lnTo>
                      <a:lnTo>
                        <a:pt x="1994865" y="1293393"/>
                      </a:lnTo>
                      <a:lnTo>
                        <a:pt x="1992782" y="1294282"/>
                      </a:lnTo>
                      <a:lnTo>
                        <a:pt x="1991614" y="1293152"/>
                      </a:lnTo>
                      <a:lnTo>
                        <a:pt x="1989150" y="1292987"/>
                      </a:lnTo>
                      <a:lnTo>
                        <a:pt x="1984946" y="1290332"/>
                      </a:lnTo>
                      <a:lnTo>
                        <a:pt x="1982330" y="1288516"/>
                      </a:lnTo>
                      <a:lnTo>
                        <a:pt x="1979510" y="1287005"/>
                      </a:lnTo>
                      <a:lnTo>
                        <a:pt x="1978507" y="1287424"/>
                      </a:lnTo>
                      <a:lnTo>
                        <a:pt x="1978393" y="1288186"/>
                      </a:lnTo>
                      <a:lnTo>
                        <a:pt x="1978126" y="1289329"/>
                      </a:lnTo>
                      <a:lnTo>
                        <a:pt x="1981593" y="1290459"/>
                      </a:lnTo>
                      <a:lnTo>
                        <a:pt x="1981708" y="1290802"/>
                      </a:lnTo>
                      <a:lnTo>
                        <a:pt x="1981365" y="1293418"/>
                      </a:lnTo>
                      <a:lnTo>
                        <a:pt x="1980907" y="1296301"/>
                      </a:lnTo>
                      <a:lnTo>
                        <a:pt x="1980869" y="1299870"/>
                      </a:lnTo>
                      <a:lnTo>
                        <a:pt x="1980361" y="1300505"/>
                      </a:lnTo>
                      <a:lnTo>
                        <a:pt x="1979561" y="1304442"/>
                      </a:lnTo>
                      <a:lnTo>
                        <a:pt x="1977237" y="1309916"/>
                      </a:lnTo>
                      <a:lnTo>
                        <a:pt x="1984451" y="1306512"/>
                      </a:lnTo>
                      <a:lnTo>
                        <a:pt x="1988985" y="1305204"/>
                      </a:lnTo>
                      <a:lnTo>
                        <a:pt x="1987067" y="1306042"/>
                      </a:lnTo>
                      <a:lnTo>
                        <a:pt x="1987842" y="1307211"/>
                      </a:lnTo>
                      <a:lnTo>
                        <a:pt x="1986953" y="1307731"/>
                      </a:lnTo>
                      <a:lnTo>
                        <a:pt x="1987029" y="1308506"/>
                      </a:lnTo>
                      <a:lnTo>
                        <a:pt x="1987956" y="1309179"/>
                      </a:lnTo>
                      <a:lnTo>
                        <a:pt x="1989188" y="1307223"/>
                      </a:lnTo>
                      <a:lnTo>
                        <a:pt x="1990001" y="1306385"/>
                      </a:lnTo>
                      <a:lnTo>
                        <a:pt x="1989658" y="1304683"/>
                      </a:lnTo>
                      <a:lnTo>
                        <a:pt x="1992096" y="1302219"/>
                      </a:lnTo>
                      <a:lnTo>
                        <a:pt x="1991588" y="1308608"/>
                      </a:lnTo>
                      <a:lnTo>
                        <a:pt x="1989886" y="1312672"/>
                      </a:lnTo>
                      <a:lnTo>
                        <a:pt x="1989620" y="1313383"/>
                      </a:lnTo>
                      <a:lnTo>
                        <a:pt x="1989150" y="1314996"/>
                      </a:lnTo>
                      <a:lnTo>
                        <a:pt x="1988388" y="1315466"/>
                      </a:lnTo>
                      <a:lnTo>
                        <a:pt x="1987956" y="1315173"/>
                      </a:lnTo>
                      <a:lnTo>
                        <a:pt x="1987384" y="1315554"/>
                      </a:lnTo>
                      <a:lnTo>
                        <a:pt x="1986991" y="1315339"/>
                      </a:lnTo>
                      <a:lnTo>
                        <a:pt x="1984527" y="1317485"/>
                      </a:lnTo>
                      <a:lnTo>
                        <a:pt x="1987880" y="1321600"/>
                      </a:lnTo>
                      <a:lnTo>
                        <a:pt x="1988693" y="1323174"/>
                      </a:lnTo>
                      <a:lnTo>
                        <a:pt x="1989772" y="1324089"/>
                      </a:lnTo>
                      <a:lnTo>
                        <a:pt x="1990737" y="1323708"/>
                      </a:lnTo>
                      <a:lnTo>
                        <a:pt x="1992668" y="1324952"/>
                      </a:lnTo>
                      <a:lnTo>
                        <a:pt x="1992236" y="1324902"/>
                      </a:lnTo>
                      <a:lnTo>
                        <a:pt x="1993353" y="1327404"/>
                      </a:lnTo>
                      <a:lnTo>
                        <a:pt x="1993353" y="1328724"/>
                      </a:lnTo>
                      <a:lnTo>
                        <a:pt x="1999246" y="1328928"/>
                      </a:lnTo>
                      <a:lnTo>
                        <a:pt x="1996757" y="1323555"/>
                      </a:lnTo>
                      <a:lnTo>
                        <a:pt x="1995665" y="1318717"/>
                      </a:lnTo>
                      <a:lnTo>
                        <a:pt x="1997798" y="1314729"/>
                      </a:lnTo>
                      <a:lnTo>
                        <a:pt x="1998560" y="1312138"/>
                      </a:lnTo>
                      <a:lnTo>
                        <a:pt x="1999602" y="1308862"/>
                      </a:lnTo>
                      <a:lnTo>
                        <a:pt x="2001139" y="1305941"/>
                      </a:lnTo>
                      <a:lnTo>
                        <a:pt x="2002536" y="1302804"/>
                      </a:lnTo>
                      <a:close/>
                    </a:path>
                    <a:path w="2161540" h="1527810">
                      <a:moveTo>
                        <a:pt x="2005076" y="1327645"/>
                      </a:moveTo>
                      <a:lnTo>
                        <a:pt x="2004504" y="1326375"/>
                      </a:lnTo>
                      <a:lnTo>
                        <a:pt x="2003107" y="1325156"/>
                      </a:lnTo>
                      <a:lnTo>
                        <a:pt x="2002802" y="1325968"/>
                      </a:lnTo>
                      <a:lnTo>
                        <a:pt x="2001177" y="1325956"/>
                      </a:lnTo>
                      <a:lnTo>
                        <a:pt x="2001062" y="1326629"/>
                      </a:lnTo>
                      <a:lnTo>
                        <a:pt x="2000986" y="1327124"/>
                      </a:lnTo>
                      <a:lnTo>
                        <a:pt x="2002675" y="1328013"/>
                      </a:lnTo>
                      <a:lnTo>
                        <a:pt x="2002878" y="1328166"/>
                      </a:lnTo>
                      <a:lnTo>
                        <a:pt x="2005076" y="1327645"/>
                      </a:lnTo>
                      <a:close/>
                    </a:path>
                    <a:path w="2161540" h="1527810">
                      <a:moveTo>
                        <a:pt x="2005736" y="1318526"/>
                      </a:moveTo>
                      <a:lnTo>
                        <a:pt x="2005609" y="1318031"/>
                      </a:lnTo>
                      <a:lnTo>
                        <a:pt x="2005736" y="1318526"/>
                      </a:lnTo>
                      <a:close/>
                    </a:path>
                    <a:path w="2161540" h="1527810">
                      <a:moveTo>
                        <a:pt x="2005761" y="1281074"/>
                      </a:moveTo>
                      <a:lnTo>
                        <a:pt x="2004961" y="1279423"/>
                      </a:lnTo>
                      <a:lnTo>
                        <a:pt x="2004301" y="1277607"/>
                      </a:lnTo>
                      <a:lnTo>
                        <a:pt x="2003221" y="1276108"/>
                      </a:lnTo>
                      <a:lnTo>
                        <a:pt x="2002218" y="1277188"/>
                      </a:lnTo>
                      <a:lnTo>
                        <a:pt x="2004961" y="1280147"/>
                      </a:lnTo>
                      <a:lnTo>
                        <a:pt x="2005761" y="1281074"/>
                      </a:lnTo>
                      <a:close/>
                    </a:path>
                    <a:path w="2161540" h="1527810">
                      <a:moveTo>
                        <a:pt x="2009736" y="1290154"/>
                      </a:moveTo>
                      <a:lnTo>
                        <a:pt x="2009089" y="1288135"/>
                      </a:lnTo>
                      <a:lnTo>
                        <a:pt x="2008974" y="1287246"/>
                      </a:lnTo>
                      <a:lnTo>
                        <a:pt x="2008581" y="1284338"/>
                      </a:lnTo>
                      <a:lnTo>
                        <a:pt x="2007082" y="1282915"/>
                      </a:lnTo>
                      <a:lnTo>
                        <a:pt x="2005571" y="1282293"/>
                      </a:lnTo>
                      <a:lnTo>
                        <a:pt x="2005076" y="1281798"/>
                      </a:lnTo>
                      <a:lnTo>
                        <a:pt x="2003031" y="1279791"/>
                      </a:lnTo>
                      <a:lnTo>
                        <a:pt x="2000872" y="1278191"/>
                      </a:lnTo>
                      <a:lnTo>
                        <a:pt x="1997900" y="1277302"/>
                      </a:lnTo>
                      <a:lnTo>
                        <a:pt x="1998091" y="1278648"/>
                      </a:lnTo>
                      <a:lnTo>
                        <a:pt x="1998484" y="1279550"/>
                      </a:lnTo>
                      <a:lnTo>
                        <a:pt x="1998281" y="1280795"/>
                      </a:lnTo>
                      <a:lnTo>
                        <a:pt x="1998243" y="1281315"/>
                      </a:lnTo>
                      <a:lnTo>
                        <a:pt x="1997557" y="1282103"/>
                      </a:lnTo>
                      <a:lnTo>
                        <a:pt x="1997710" y="1282839"/>
                      </a:lnTo>
                      <a:lnTo>
                        <a:pt x="1998167" y="1282928"/>
                      </a:lnTo>
                      <a:lnTo>
                        <a:pt x="1998129" y="1282674"/>
                      </a:lnTo>
                      <a:lnTo>
                        <a:pt x="1998154" y="1282801"/>
                      </a:lnTo>
                      <a:lnTo>
                        <a:pt x="1998268" y="1282674"/>
                      </a:lnTo>
                      <a:lnTo>
                        <a:pt x="1998548" y="1282382"/>
                      </a:lnTo>
                      <a:lnTo>
                        <a:pt x="1998408" y="1283550"/>
                      </a:lnTo>
                      <a:lnTo>
                        <a:pt x="1998370" y="1283766"/>
                      </a:lnTo>
                      <a:lnTo>
                        <a:pt x="1998052" y="1284516"/>
                      </a:lnTo>
                      <a:lnTo>
                        <a:pt x="1995170" y="1288542"/>
                      </a:lnTo>
                      <a:lnTo>
                        <a:pt x="1999475" y="1285532"/>
                      </a:lnTo>
                      <a:lnTo>
                        <a:pt x="2000021" y="1283512"/>
                      </a:lnTo>
                      <a:lnTo>
                        <a:pt x="2000326" y="1282382"/>
                      </a:lnTo>
                      <a:lnTo>
                        <a:pt x="2000478" y="1281798"/>
                      </a:lnTo>
                      <a:lnTo>
                        <a:pt x="2003069" y="1283970"/>
                      </a:lnTo>
                      <a:lnTo>
                        <a:pt x="2003602" y="1285062"/>
                      </a:lnTo>
                      <a:lnTo>
                        <a:pt x="2003971" y="1285532"/>
                      </a:lnTo>
                      <a:lnTo>
                        <a:pt x="2004796" y="1286967"/>
                      </a:lnTo>
                      <a:lnTo>
                        <a:pt x="2005304" y="1287310"/>
                      </a:lnTo>
                      <a:lnTo>
                        <a:pt x="2006117" y="1287246"/>
                      </a:lnTo>
                      <a:lnTo>
                        <a:pt x="2007920" y="1287983"/>
                      </a:lnTo>
                      <a:lnTo>
                        <a:pt x="2008936" y="1289088"/>
                      </a:lnTo>
                      <a:lnTo>
                        <a:pt x="2009736" y="1290154"/>
                      </a:lnTo>
                      <a:close/>
                    </a:path>
                    <a:path w="2161540" h="1527810">
                      <a:moveTo>
                        <a:pt x="2009749" y="1299387"/>
                      </a:moveTo>
                      <a:lnTo>
                        <a:pt x="2009622" y="1296479"/>
                      </a:lnTo>
                      <a:lnTo>
                        <a:pt x="2008009" y="1296670"/>
                      </a:lnTo>
                      <a:lnTo>
                        <a:pt x="2007895" y="1299451"/>
                      </a:lnTo>
                      <a:lnTo>
                        <a:pt x="2006663" y="1303451"/>
                      </a:lnTo>
                      <a:lnTo>
                        <a:pt x="2004377" y="1307452"/>
                      </a:lnTo>
                      <a:lnTo>
                        <a:pt x="2003564" y="1310195"/>
                      </a:lnTo>
                      <a:lnTo>
                        <a:pt x="2000059" y="1315173"/>
                      </a:lnTo>
                      <a:lnTo>
                        <a:pt x="1999564" y="1319060"/>
                      </a:lnTo>
                      <a:lnTo>
                        <a:pt x="1998408" y="1321269"/>
                      </a:lnTo>
                      <a:lnTo>
                        <a:pt x="1999259" y="1323530"/>
                      </a:lnTo>
                      <a:lnTo>
                        <a:pt x="2000834" y="1320063"/>
                      </a:lnTo>
                      <a:lnTo>
                        <a:pt x="2002066" y="1315453"/>
                      </a:lnTo>
                      <a:lnTo>
                        <a:pt x="2006384" y="1310919"/>
                      </a:lnTo>
                      <a:lnTo>
                        <a:pt x="2008822" y="1310500"/>
                      </a:lnTo>
                      <a:lnTo>
                        <a:pt x="2009241" y="1308138"/>
                      </a:lnTo>
                      <a:lnTo>
                        <a:pt x="2009432" y="1307045"/>
                      </a:lnTo>
                      <a:lnTo>
                        <a:pt x="2008962" y="1306004"/>
                      </a:lnTo>
                      <a:lnTo>
                        <a:pt x="2009127" y="1302118"/>
                      </a:lnTo>
                      <a:lnTo>
                        <a:pt x="2009749" y="1299387"/>
                      </a:lnTo>
                      <a:close/>
                    </a:path>
                    <a:path w="2161540" h="1527810">
                      <a:moveTo>
                        <a:pt x="2011476" y="1270787"/>
                      </a:moveTo>
                      <a:lnTo>
                        <a:pt x="2010384" y="1270317"/>
                      </a:lnTo>
                      <a:lnTo>
                        <a:pt x="2008543" y="1269466"/>
                      </a:lnTo>
                      <a:lnTo>
                        <a:pt x="2007463" y="1269911"/>
                      </a:lnTo>
                      <a:lnTo>
                        <a:pt x="2005926" y="1270850"/>
                      </a:lnTo>
                      <a:lnTo>
                        <a:pt x="2005037" y="1270317"/>
                      </a:lnTo>
                      <a:lnTo>
                        <a:pt x="2005838" y="1268120"/>
                      </a:lnTo>
                      <a:lnTo>
                        <a:pt x="2006930" y="1268183"/>
                      </a:lnTo>
                      <a:lnTo>
                        <a:pt x="2006079" y="1267117"/>
                      </a:lnTo>
                      <a:lnTo>
                        <a:pt x="2001024" y="1262786"/>
                      </a:lnTo>
                      <a:lnTo>
                        <a:pt x="2002155" y="1261694"/>
                      </a:lnTo>
                      <a:lnTo>
                        <a:pt x="2003183" y="1260690"/>
                      </a:lnTo>
                      <a:lnTo>
                        <a:pt x="2004225" y="1261186"/>
                      </a:lnTo>
                      <a:lnTo>
                        <a:pt x="2006307" y="1261287"/>
                      </a:lnTo>
                      <a:lnTo>
                        <a:pt x="2007196" y="1260729"/>
                      </a:lnTo>
                      <a:lnTo>
                        <a:pt x="2008428" y="1260995"/>
                      </a:lnTo>
                      <a:lnTo>
                        <a:pt x="2008403" y="1260729"/>
                      </a:lnTo>
                      <a:lnTo>
                        <a:pt x="2008251" y="1259319"/>
                      </a:lnTo>
                      <a:lnTo>
                        <a:pt x="2008073" y="1257681"/>
                      </a:lnTo>
                      <a:lnTo>
                        <a:pt x="2001062" y="1257642"/>
                      </a:lnTo>
                      <a:lnTo>
                        <a:pt x="1999602" y="1256423"/>
                      </a:lnTo>
                      <a:lnTo>
                        <a:pt x="1999526" y="1255763"/>
                      </a:lnTo>
                      <a:lnTo>
                        <a:pt x="1999449" y="1255534"/>
                      </a:lnTo>
                      <a:lnTo>
                        <a:pt x="1999272" y="1256144"/>
                      </a:lnTo>
                      <a:lnTo>
                        <a:pt x="1999145" y="1257909"/>
                      </a:lnTo>
                      <a:lnTo>
                        <a:pt x="1999018" y="1259408"/>
                      </a:lnTo>
                      <a:lnTo>
                        <a:pt x="1998560" y="1260525"/>
                      </a:lnTo>
                      <a:lnTo>
                        <a:pt x="1997011" y="1260640"/>
                      </a:lnTo>
                      <a:lnTo>
                        <a:pt x="1996084" y="1261694"/>
                      </a:lnTo>
                      <a:lnTo>
                        <a:pt x="1994776" y="1259827"/>
                      </a:lnTo>
                      <a:lnTo>
                        <a:pt x="1996059" y="1258036"/>
                      </a:lnTo>
                      <a:lnTo>
                        <a:pt x="1995944" y="1257642"/>
                      </a:lnTo>
                      <a:lnTo>
                        <a:pt x="1995855" y="1257490"/>
                      </a:lnTo>
                      <a:lnTo>
                        <a:pt x="1994776" y="1255763"/>
                      </a:lnTo>
                      <a:lnTo>
                        <a:pt x="1993963" y="1254099"/>
                      </a:lnTo>
                      <a:lnTo>
                        <a:pt x="1991537" y="1252639"/>
                      </a:lnTo>
                      <a:lnTo>
                        <a:pt x="1989112" y="1251254"/>
                      </a:lnTo>
                      <a:lnTo>
                        <a:pt x="1985251" y="1252804"/>
                      </a:lnTo>
                      <a:lnTo>
                        <a:pt x="1984984" y="1258519"/>
                      </a:lnTo>
                      <a:lnTo>
                        <a:pt x="1984806" y="1258392"/>
                      </a:lnTo>
                      <a:lnTo>
                        <a:pt x="1982901" y="1257020"/>
                      </a:lnTo>
                      <a:lnTo>
                        <a:pt x="1983054" y="1257350"/>
                      </a:lnTo>
                      <a:lnTo>
                        <a:pt x="1983117" y="1257935"/>
                      </a:lnTo>
                      <a:lnTo>
                        <a:pt x="1983244" y="1258214"/>
                      </a:lnTo>
                      <a:lnTo>
                        <a:pt x="1983359" y="1258392"/>
                      </a:lnTo>
                      <a:lnTo>
                        <a:pt x="1981758" y="1257960"/>
                      </a:lnTo>
                      <a:lnTo>
                        <a:pt x="1980272" y="1257693"/>
                      </a:lnTo>
                      <a:lnTo>
                        <a:pt x="1979866" y="1257427"/>
                      </a:lnTo>
                      <a:lnTo>
                        <a:pt x="1977085" y="1255610"/>
                      </a:lnTo>
                      <a:lnTo>
                        <a:pt x="1976729" y="1254379"/>
                      </a:lnTo>
                      <a:lnTo>
                        <a:pt x="1976513" y="1252296"/>
                      </a:lnTo>
                      <a:lnTo>
                        <a:pt x="1976412" y="1251254"/>
                      </a:lnTo>
                      <a:lnTo>
                        <a:pt x="1976424" y="1247698"/>
                      </a:lnTo>
                      <a:lnTo>
                        <a:pt x="1975954" y="1245400"/>
                      </a:lnTo>
                      <a:lnTo>
                        <a:pt x="1975243" y="1244523"/>
                      </a:lnTo>
                      <a:lnTo>
                        <a:pt x="1974570" y="1243698"/>
                      </a:lnTo>
                      <a:lnTo>
                        <a:pt x="1972068" y="1239177"/>
                      </a:lnTo>
                      <a:lnTo>
                        <a:pt x="1970633" y="1238275"/>
                      </a:lnTo>
                      <a:lnTo>
                        <a:pt x="1973148" y="1234414"/>
                      </a:lnTo>
                      <a:lnTo>
                        <a:pt x="1974989" y="1232420"/>
                      </a:lnTo>
                      <a:lnTo>
                        <a:pt x="1974938" y="1231582"/>
                      </a:lnTo>
                      <a:lnTo>
                        <a:pt x="1974888" y="1230947"/>
                      </a:lnTo>
                      <a:lnTo>
                        <a:pt x="1974062" y="1231582"/>
                      </a:lnTo>
                      <a:lnTo>
                        <a:pt x="1973973" y="1230884"/>
                      </a:lnTo>
                      <a:lnTo>
                        <a:pt x="1973326" y="1227391"/>
                      </a:lnTo>
                      <a:lnTo>
                        <a:pt x="1973186" y="1226629"/>
                      </a:lnTo>
                      <a:lnTo>
                        <a:pt x="1980209" y="1227061"/>
                      </a:lnTo>
                      <a:lnTo>
                        <a:pt x="1980399" y="1226629"/>
                      </a:lnTo>
                      <a:lnTo>
                        <a:pt x="1981517" y="1223937"/>
                      </a:lnTo>
                      <a:lnTo>
                        <a:pt x="1981365" y="1224813"/>
                      </a:lnTo>
                      <a:lnTo>
                        <a:pt x="1980971" y="1226578"/>
                      </a:lnTo>
                      <a:lnTo>
                        <a:pt x="1982127" y="1223937"/>
                      </a:lnTo>
                      <a:lnTo>
                        <a:pt x="1982571" y="1222971"/>
                      </a:lnTo>
                      <a:lnTo>
                        <a:pt x="1984400" y="1219911"/>
                      </a:lnTo>
                      <a:lnTo>
                        <a:pt x="1986686" y="1215326"/>
                      </a:lnTo>
                      <a:lnTo>
                        <a:pt x="1987029" y="1214031"/>
                      </a:lnTo>
                      <a:lnTo>
                        <a:pt x="1987257" y="1212303"/>
                      </a:lnTo>
                      <a:lnTo>
                        <a:pt x="1987956" y="1212062"/>
                      </a:lnTo>
                      <a:lnTo>
                        <a:pt x="1987486" y="1211326"/>
                      </a:lnTo>
                      <a:lnTo>
                        <a:pt x="1986178" y="1209128"/>
                      </a:lnTo>
                      <a:lnTo>
                        <a:pt x="1984489" y="1207122"/>
                      </a:lnTo>
                      <a:lnTo>
                        <a:pt x="1982978" y="1205052"/>
                      </a:lnTo>
                      <a:lnTo>
                        <a:pt x="1982203" y="1204023"/>
                      </a:lnTo>
                      <a:lnTo>
                        <a:pt x="1984209" y="1198232"/>
                      </a:lnTo>
                      <a:lnTo>
                        <a:pt x="1984438" y="1196886"/>
                      </a:lnTo>
                      <a:lnTo>
                        <a:pt x="1984819" y="1194981"/>
                      </a:lnTo>
                      <a:lnTo>
                        <a:pt x="1984908" y="1194523"/>
                      </a:lnTo>
                      <a:lnTo>
                        <a:pt x="1984717" y="1192999"/>
                      </a:lnTo>
                      <a:lnTo>
                        <a:pt x="1983714" y="1190802"/>
                      </a:lnTo>
                      <a:lnTo>
                        <a:pt x="1982635" y="1191653"/>
                      </a:lnTo>
                      <a:lnTo>
                        <a:pt x="1981669" y="1193317"/>
                      </a:lnTo>
                      <a:lnTo>
                        <a:pt x="1979053" y="1194523"/>
                      </a:lnTo>
                      <a:lnTo>
                        <a:pt x="1975573" y="1193292"/>
                      </a:lnTo>
                      <a:lnTo>
                        <a:pt x="1975459" y="1194981"/>
                      </a:lnTo>
                      <a:lnTo>
                        <a:pt x="1975421" y="1191450"/>
                      </a:lnTo>
                      <a:lnTo>
                        <a:pt x="1968309" y="1190434"/>
                      </a:lnTo>
                      <a:lnTo>
                        <a:pt x="1968131" y="1190409"/>
                      </a:lnTo>
                      <a:lnTo>
                        <a:pt x="1965629" y="1189482"/>
                      </a:lnTo>
                      <a:lnTo>
                        <a:pt x="1961959" y="1190434"/>
                      </a:lnTo>
                      <a:lnTo>
                        <a:pt x="1961083" y="1189964"/>
                      </a:lnTo>
                      <a:lnTo>
                        <a:pt x="1960384" y="1190294"/>
                      </a:lnTo>
                      <a:lnTo>
                        <a:pt x="1960029" y="1190548"/>
                      </a:lnTo>
                      <a:lnTo>
                        <a:pt x="1959305" y="1191310"/>
                      </a:lnTo>
                      <a:lnTo>
                        <a:pt x="1959190" y="1193596"/>
                      </a:lnTo>
                      <a:lnTo>
                        <a:pt x="1958644" y="1196060"/>
                      </a:lnTo>
                      <a:lnTo>
                        <a:pt x="1957959" y="1198016"/>
                      </a:lnTo>
                      <a:lnTo>
                        <a:pt x="1957603" y="1208659"/>
                      </a:lnTo>
                      <a:lnTo>
                        <a:pt x="1957527" y="1212062"/>
                      </a:lnTo>
                      <a:lnTo>
                        <a:pt x="1957412" y="1214551"/>
                      </a:lnTo>
                      <a:lnTo>
                        <a:pt x="1956638" y="1218158"/>
                      </a:lnTo>
                      <a:lnTo>
                        <a:pt x="1955685" y="1218488"/>
                      </a:lnTo>
                      <a:lnTo>
                        <a:pt x="1956142" y="1220724"/>
                      </a:lnTo>
                      <a:lnTo>
                        <a:pt x="1958492" y="1224102"/>
                      </a:lnTo>
                      <a:lnTo>
                        <a:pt x="1956447" y="1226667"/>
                      </a:lnTo>
                      <a:lnTo>
                        <a:pt x="1955215" y="1227391"/>
                      </a:lnTo>
                      <a:lnTo>
                        <a:pt x="1953094" y="1226388"/>
                      </a:lnTo>
                      <a:lnTo>
                        <a:pt x="1950085" y="1224559"/>
                      </a:lnTo>
                      <a:lnTo>
                        <a:pt x="1950389" y="1222971"/>
                      </a:lnTo>
                      <a:lnTo>
                        <a:pt x="1950631" y="1221968"/>
                      </a:lnTo>
                      <a:lnTo>
                        <a:pt x="1949704" y="1222019"/>
                      </a:lnTo>
                      <a:lnTo>
                        <a:pt x="1945817" y="1222324"/>
                      </a:lnTo>
                      <a:lnTo>
                        <a:pt x="1950046" y="1230884"/>
                      </a:lnTo>
                      <a:lnTo>
                        <a:pt x="1951291" y="1236789"/>
                      </a:lnTo>
                      <a:lnTo>
                        <a:pt x="1952091" y="1241209"/>
                      </a:lnTo>
                      <a:lnTo>
                        <a:pt x="1952752" y="1245374"/>
                      </a:lnTo>
                      <a:lnTo>
                        <a:pt x="1953755" y="1245476"/>
                      </a:lnTo>
                      <a:lnTo>
                        <a:pt x="1954796" y="1245298"/>
                      </a:lnTo>
                      <a:lnTo>
                        <a:pt x="1955800" y="1245209"/>
                      </a:lnTo>
                      <a:lnTo>
                        <a:pt x="1954098" y="1247698"/>
                      </a:lnTo>
                      <a:lnTo>
                        <a:pt x="1956295" y="1246898"/>
                      </a:lnTo>
                      <a:lnTo>
                        <a:pt x="1957336" y="1248676"/>
                      </a:lnTo>
                      <a:lnTo>
                        <a:pt x="1956752" y="1249121"/>
                      </a:lnTo>
                      <a:lnTo>
                        <a:pt x="1956993" y="1249553"/>
                      </a:lnTo>
                      <a:lnTo>
                        <a:pt x="1957298" y="1250162"/>
                      </a:lnTo>
                      <a:lnTo>
                        <a:pt x="1960778" y="1251597"/>
                      </a:lnTo>
                      <a:lnTo>
                        <a:pt x="1959737" y="1246898"/>
                      </a:lnTo>
                      <a:lnTo>
                        <a:pt x="1959610" y="1246339"/>
                      </a:lnTo>
                      <a:lnTo>
                        <a:pt x="1959470" y="1245209"/>
                      </a:lnTo>
                      <a:lnTo>
                        <a:pt x="1959419" y="1244892"/>
                      </a:lnTo>
                      <a:lnTo>
                        <a:pt x="1960448" y="1245514"/>
                      </a:lnTo>
                      <a:lnTo>
                        <a:pt x="1961553" y="1245933"/>
                      </a:lnTo>
                      <a:lnTo>
                        <a:pt x="1962670" y="1246301"/>
                      </a:lnTo>
                      <a:lnTo>
                        <a:pt x="1963369" y="1245247"/>
                      </a:lnTo>
                      <a:lnTo>
                        <a:pt x="1963928" y="1244892"/>
                      </a:lnTo>
                      <a:lnTo>
                        <a:pt x="1964499" y="1244523"/>
                      </a:lnTo>
                      <a:lnTo>
                        <a:pt x="1968017" y="1244523"/>
                      </a:lnTo>
                      <a:lnTo>
                        <a:pt x="1969757" y="1246263"/>
                      </a:lnTo>
                      <a:lnTo>
                        <a:pt x="1969757" y="1250556"/>
                      </a:lnTo>
                      <a:lnTo>
                        <a:pt x="1968017" y="1252296"/>
                      </a:lnTo>
                      <a:lnTo>
                        <a:pt x="1964893" y="1252296"/>
                      </a:lnTo>
                      <a:lnTo>
                        <a:pt x="1964029" y="1251915"/>
                      </a:lnTo>
                      <a:lnTo>
                        <a:pt x="1963356" y="1251331"/>
                      </a:lnTo>
                      <a:lnTo>
                        <a:pt x="1962289" y="1251940"/>
                      </a:lnTo>
                      <a:lnTo>
                        <a:pt x="1962289" y="1257693"/>
                      </a:lnTo>
                      <a:lnTo>
                        <a:pt x="1961502" y="1257528"/>
                      </a:lnTo>
                      <a:lnTo>
                        <a:pt x="1962289" y="1257693"/>
                      </a:lnTo>
                      <a:lnTo>
                        <a:pt x="1962289" y="1251940"/>
                      </a:lnTo>
                      <a:lnTo>
                        <a:pt x="1959952" y="1253261"/>
                      </a:lnTo>
                      <a:lnTo>
                        <a:pt x="1960918" y="1260259"/>
                      </a:lnTo>
                      <a:lnTo>
                        <a:pt x="1962175" y="1258214"/>
                      </a:lnTo>
                      <a:lnTo>
                        <a:pt x="1962073" y="1257960"/>
                      </a:lnTo>
                      <a:lnTo>
                        <a:pt x="1962251" y="1258087"/>
                      </a:lnTo>
                      <a:lnTo>
                        <a:pt x="1962353" y="1257909"/>
                      </a:lnTo>
                      <a:lnTo>
                        <a:pt x="1962251" y="1258087"/>
                      </a:lnTo>
                      <a:lnTo>
                        <a:pt x="1965401" y="1260487"/>
                      </a:lnTo>
                      <a:lnTo>
                        <a:pt x="1963775" y="1260741"/>
                      </a:lnTo>
                      <a:lnTo>
                        <a:pt x="1964550" y="1261770"/>
                      </a:lnTo>
                      <a:lnTo>
                        <a:pt x="1966671" y="1262418"/>
                      </a:lnTo>
                      <a:lnTo>
                        <a:pt x="1968169" y="1262494"/>
                      </a:lnTo>
                      <a:lnTo>
                        <a:pt x="1969363" y="1262748"/>
                      </a:lnTo>
                      <a:lnTo>
                        <a:pt x="1971217" y="1261948"/>
                      </a:lnTo>
                      <a:lnTo>
                        <a:pt x="1971725" y="1260055"/>
                      </a:lnTo>
                      <a:lnTo>
                        <a:pt x="1976018" y="1257681"/>
                      </a:lnTo>
                      <a:lnTo>
                        <a:pt x="1976056" y="1257528"/>
                      </a:lnTo>
                      <a:lnTo>
                        <a:pt x="1979968" y="1259573"/>
                      </a:lnTo>
                      <a:lnTo>
                        <a:pt x="1980933" y="1259827"/>
                      </a:lnTo>
                      <a:lnTo>
                        <a:pt x="1982787" y="1261186"/>
                      </a:lnTo>
                      <a:lnTo>
                        <a:pt x="1982901" y="1263129"/>
                      </a:lnTo>
                      <a:lnTo>
                        <a:pt x="1987257" y="1263053"/>
                      </a:lnTo>
                      <a:lnTo>
                        <a:pt x="1987207" y="1268120"/>
                      </a:lnTo>
                      <a:lnTo>
                        <a:pt x="1988693" y="1269111"/>
                      </a:lnTo>
                      <a:lnTo>
                        <a:pt x="1988388" y="1266393"/>
                      </a:lnTo>
                      <a:lnTo>
                        <a:pt x="1987829" y="1263992"/>
                      </a:lnTo>
                      <a:lnTo>
                        <a:pt x="1987651" y="1263053"/>
                      </a:lnTo>
                      <a:lnTo>
                        <a:pt x="1987169" y="1260487"/>
                      </a:lnTo>
                      <a:lnTo>
                        <a:pt x="1987143" y="1258849"/>
                      </a:lnTo>
                      <a:lnTo>
                        <a:pt x="1986838" y="1258519"/>
                      </a:lnTo>
                      <a:lnTo>
                        <a:pt x="1986368" y="1258011"/>
                      </a:lnTo>
                      <a:lnTo>
                        <a:pt x="1988299" y="1257490"/>
                      </a:lnTo>
                      <a:lnTo>
                        <a:pt x="1988807" y="1258392"/>
                      </a:lnTo>
                      <a:lnTo>
                        <a:pt x="1988921" y="1258519"/>
                      </a:lnTo>
                      <a:lnTo>
                        <a:pt x="1994852" y="1264170"/>
                      </a:lnTo>
                      <a:lnTo>
                        <a:pt x="1997240" y="1266393"/>
                      </a:lnTo>
                      <a:lnTo>
                        <a:pt x="1998751" y="1267841"/>
                      </a:lnTo>
                      <a:lnTo>
                        <a:pt x="1998827" y="1269111"/>
                      </a:lnTo>
                      <a:lnTo>
                        <a:pt x="1998599" y="1271168"/>
                      </a:lnTo>
                      <a:lnTo>
                        <a:pt x="2001443" y="1271803"/>
                      </a:lnTo>
                      <a:lnTo>
                        <a:pt x="2004453" y="1272717"/>
                      </a:lnTo>
                      <a:lnTo>
                        <a:pt x="2005457" y="1273073"/>
                      </a:lnTo>
                      <a:lnTo>
                        <a:pt x="2007273" y="1272540"/>
                      </a:lnTo>
                      <a:lnTo>
                        <a:pt x="2007120" y="1272070"/>
                      </a:lnTo>
                      <a:lnTo>
                        <a:pt x="2007819" y="1271803"/>
                      </a:lnTo>
                      <a:lnTo>
                        <a:pt x="2008581" y="1272070"/>
                      </a:lnTo>
                      <a:lnTo>
                        <a:pt x="2009038" y="1272019"/>
                      </a:lnTo>
                      <a:lnTo>
                        <a:pt x="2008276" y="1273327"/>
                      </a:lnTo>
                      <a:lnTo>
                        <a:pt x="2007349" y="1274102"/>
                      </a:lnTo>
                      <a:lnTo>
                        <a:pt x="2006993" y="1273022"/>
                      </a:lnTo>
                      <a:lnTo>
                        <a:pt x="2005723" y="1275600"/>
                      </a:lnTo>
                      <a:lnTo>
                        <a:pt x="2009267" y="1277188"/>
                      </a:lnTo>
                      <a:lnTo>
                        <a:pt x="2010232" y="1277861"/>
                      </a:lnTo>
                      <a:lnTo>
                        <a:pt x="2010397" y="1277124"/>
                      </a:lnTo>
                      <a:lnTo>
                        <a:pt x="2010918" y="1274102"/>
                      </a:lnTo>
                      <a:lnTo>
                        <a:pt x="2011273" y="1272019"/>
                      </a:lnTo>
                      <a:lnTo>
                        <a:pt x="2011311" y="1271803"/>
                      </a:lnTo>
                      <a:lnTo>
                        <a:pt x="2011464" y="1270850"/>
                      </a:lnTo>
                      <a:close/>
                    </a:path>
                    <a:path w="2161540" h="1527810">
                      <a:moveTo>
                        <a:pt x="2015210" y="1260195"/>
                      </a:moveTo>
                      <a:lnTo>
                        <a:pt x="2014321" y="1258252"/>
                      </a:lnTo>
                      <a:lnTo>
                        <a:pt x="2013712" y="1258100"/>
                      </a:lnTo>
                      <a:lnTo>
                        <a:pt x="2013356" y="1258290"/>
                      </a:lnTo>
                      <a:lnTo>
                        <a:pt x="2011311" y="1254455"/>
                      </a:lnTo>
                      <a:lnTo>
                        <a:pt x="2010740" y="1255864"/>
                      </a:lnTo>
                      <a:lnTo>
                        <a:pt x="2010625" y="1260373"/>
                      </a:lnTo>
                      <a:lnTo>
                        <a:pt x="2010435" y="1260373"/>
                      </a:lnTo>
                      <a:lnTo>
                        <a:pt x="2009381" y="1261706"/>
                      </a:lnTo>
                      <a:lnTo>
                        <a:pt x="2008733" y="1262494"/>
                      </a:lnTo>
                      <a:lnTo>
                        <a:pt x="2011235" y="1263586"/>
                      </a:lnTo>
                      <a:lnTo>
                        <a:pt x="2011781" y="1264005"/>
                      </a:lnTo>
                      <a:lnTo>
                        <a:pt x="2012708" y="1262659"/>
                      </a:lnTo>
                      <a:lnTo>
                        <a:pt x="2015210" y="1260195"/>
                      </a:lnTo>
                      <a:close/>
                    </a:path>
                    <a:path w="2161540" h="1527810">
                      <a:moveTo>
                        <a:pt x="2017610" y="1318145"/>
                      </a:moveTo>
                      <a:lnTo>
                        <a:pt x="2017026" y="1318539"/>
                      </a:lnTo>
                      <a:lnTo>
                        <a:pt x="2017128" y="1317993"/>
                      </a:lnTo>
                      <a:lnTo>
                        <a:pt x="2017090" y="1317739"/>
                      </a:lnTo>
                      <a:lnTo>
                        <a:pt x="2016556" y="1317447"/>
                      </a:lnTo>
                      <a:lnTo>
                        <a:pt x="2016556" y="1317307"/>
                      </a:lnTo>
                      <a:lnTo>
                        <a:pt x="2016912" y="1316850"/>
                      </a:lnTo>
                      <a:lnTo>
                        <a:pt x="2016810" y="1316380"/>
                      </a:lnTo>
                      <a:lnTo>
                        <a:pt x="2016721" y="1315859"/>
                      </a:lnTo>
                      <a:lnTo>
                        <a:pt x="2017026" y="1315034"/>
                      </a:lnTo>
                      <a:lnTo>
                        <a:pt x="2016175" y="1313980"/>
                      </a:lnTo>
                      <a:lnTo>
                        <a:pt x="2013712" y="1312735"/>
                      </a:lnTo>
                      <a:lnTo>
                        <a:pt x="2010968" y="1312278"/>
                      </a:lnTo>
                      <a:lnTo>
                        <a:pt x="2010625" y="1313942"/>
                      </a:lnTo>
                      <a:lnTo>
                        <a:pt x="2008276" y="1315999"/>
                      </a:lnTo>
                      <a:lnTo>
                        <a:pt x="2005190" y="1316380"/>
                      </a:lnTo>
                      <a:lnTo>
                        <a:pt x="2005609" y="1317993"/>
                      </a:lnTo>
                      <a:lnTo>
                        <a:pt x="2007031" y="1320215"/>
                      </a:lnTo>
                      <a:lnTo>
                        <a:pt x="2007463" y="1320571"/>
                      </a:lnTo>
                      <a:lnTo>
                        <a:pt x="2008314" y="1320927"/>
                      </a:lnTo>
                      <a:lnTo>
                        <a:pt x="2009736" y="1321028"/>
                      </a:lnTo>
                      <a:lnTo>
                        <a:pt x="2011667" y="1320431"/>
                      </a:lnTo>
                      <a:lnTo>
                        <a:pt x="2014867" y="1320177"/>
                      </a:lnTo>
                      <a:lnTo>
                        <a:pt x="2017077" y="1318539"/>
                      </a:lnTo>
                      <a:lnTo>
                        <a:pt x="2017610" y="1318145"/>
                      </a:lnTo>
                      <a:close/>
                    </a:path>
                    <a:path w="2161540" h="1527810">
                      <a:moveTo>
                        <a:pt x="2019274" y="1292440"/>
                      </a:moveTo>
                      <a:lnTo>
                        <a:pt x="2016137" y="1289939"/>
                      </a:lnTo>
                      <a:lnTo>
                        <a:pt x="2013597" y="1290751"/>
                      </a:lnTo>
                      <a:lnTo>
                        <a:pt x="2014601" y="1291564"/>
                      </a:lnTo>
                      <a:lnTo>
                        <a:pt x="2014562" y="1292936"/>
                      </a:lnTo>
                      <a:lnTo>
                        <a:pt x="2015794" y="1293850"/>
                      </a:lnTo>
                      <a:lnTo>
                        <a:pt x="2019274" y="1292440"/>
                      </a:lnTo>
                      <a:close/>
                    </a:path>
                    <a:path w="2161540" h="1527810">
                      <a:moveTo>
                        <a:pt x="2020265" y="1327226"/>
                      </a:moveTo>
                      <a:lnTo>
                        <a:pt x="2020112" y="1326108"/>
                      </a:lnTo>
                      <a:lnTo>
                        <a:pt x="2018919" y="1325753"/>
                      </a:lnTo>
                      <a:lnTo>
                        <a:pt x="2018728" y="1326680"/>
                      </a:lnTo>
                      <a:lnTo>
                        <a:pt x="2019414" y="1327518"/>
                      </a:lnTo>
                      <a:lnTo>
                        <a:pt x="2019846" y="1328369"/>
                      </a:lnTo>
                      <a:lnTo>
                        <a:pt x="2020265" y="1327226"/>
                      </a:lnTo>
                      <a:close/>
                    </a:path>
                    <a:path w="2161540" h="1527810">
                      <a:moveTo>
                        <a:pt x="2026907" y="1308912"/>
                      </a:moveTo>
                      <a:lnTo>
                        <a:pt x="2025789" y="1306499"/>
                      </a:lnTo>
                      <a:lnTo>
                        <a:pt x="2022157" y="1303058"/>
                      </a:lnTo>
                      <a:lnTo>
                        <a:pt x="2023046" y="1298930"/>
                      </a:lnTo>
                      <a:lnTo>
                        <a:pt x="2022856" y="1294879"/>
                      </a:lnTo>
                      <a:lnTo>
                        <a:pt x="2020887" y="1295400"/>
                      </a:lnTo>
                      <a:lnTo>
                        <a:pt x="2018614" y="1296441"/>
                      </a:lnTo>
                      <a:lnTo>
                        <a:pt x="2015490" y="1295196"/>
                      </a:lnTo>
                      <a:lnTo>
                        <a:pt x="2014372" y="1293660"/>
                      </a:lnTo>
                      <a:lnTo>
                        <a:pt x="2012988" y="1293088"/>
                      </a:lnTo>
                      <a:lnTo>
                        <a:pt x="2013254" y="1294269"/>
                      </a:lnTo>
                      <a:lnTo>
                        <a:pt x="2014067" y="1295552"/>
                      </a:lnTo>
                      <a:lnTo>
                        <a:pt x="2014258" y="1296492"/>
                      </a:lnTo>
                      <a:lnTo>
                        <a:pt x="2014486" y="1297546"/>
                      </a:lnTo>
                      <a:lnTo>
                        <a:pt x="2014220" y="1298587"/>
                      </a:lnTo>
                      <a:lnTo>
                        <a:pt x="2014220" y="1299641"/>
                      </a:lnTo>
                      <a:lnTo>
                        <a:pt x="2014181" y="1300340"/>
                      </a:lnTo>
                      <a:lnTo>
                        <a:pt x="2013915" y="1302372"/>
                      </a:lnTo>
                      <a:lnTo>
                        <a:pt x="2014880" y="1301343"/>
                      </a:lnTo>
                      <a:lnTo>
                        <a:pt x="2015413" y="1304112"/>
                      </a:lnTo>
                      <a:lnTo>
                        <a:pt x="2016531" y="1300403"/>
                      </a:lnTo>
                      <a:lnTo>
                        <a:pt x="2021243" y="1300988"/>
                      </a:lnTo>
                      <a:lnTo>
                        <a:pt x="2019655" y="1310741"/>
                      </a:lnTo>
                      <a:lnTo>
                        <a:pt x="2019617" y="1312443"/>
                      </a:lnTo>
                      <a:lnTo>
                        <a:pt x="2020887" y="1313129"/>
                      </a:lnTo>
                      <a:lnTo>
                        <a:pt x="2022157" y="1313954"/>
                      </a:lnTo>
                      <a:lnTo>
                        <a:pt x="2023554" y="1314411"/>
                      </a:lnTo>
                      <a:lnTo>
                        <a:pt x="2023478" y="1312583"/>
                      </a:lnTo>
                      <a:lnTo>
                        <a:pt x="2022589" y="1311465"/>
                      </a:lnTo>
                      <a:lnTo>
                        <a:pt x="2023237" y="1309522"/>
                      </a:lnTo>
                      <a:lnTo>
                        <a:pt x="2023821" y="1310513"/>
                      </a:lnTo>
                      <a:lnTo>
                        <a:pt x="2024367" y="1311605"/>
                      </a:lnTo>
                      <a:lnTo>
                        <a:pt x="2024976" y="1312646"/>
                      </a:lnTo>
                      <a:lnTo>
                        <a:pt x="2025865" y="1311732"/>
                      </a:lnTo>
                      <a:lnTo>
                        <a:pt x="2026856" y="1311122"/>
                      </a:lnTo>
                      <a:lnTo>
                        <a:pt x="2026856" y="1309890"/>
                      </a:lnTo>
                      <a:lnTo>
                        <a:pt x="2026907" y="1308912"/>
                      </a:lnTo>
                      <a:close/>
                    </a:path>
                    <a:path w="2161540" h="1527810">
                      <a:moveTo>
                        <a:pt x="2032076" y="1314018"/>
                      </a:moveTo>
                      <a:lnTo>
                        <a:pt x="2031174" y="1315097"/>
                      </a:lnTo>
                      <a:lnTo>
                        <a:pt x="2031326" y="1315161"/>
                      </a:lnTo>
                      <a:lnTo>
                        <a:pt x="2031606" y="1315161"/>
                      </a:lnTo>
                      <a:lnTo>
                        <a:pt x="2031796" y="1315186"/>
                      </a:lnTo>
                      <a:lnTo>
                        <a:pt x="2031644" y="1315364"/>
                      </a:lnTo>
                      <a:lnTo>
                        <a:pt x="2031606" y="1315707"/>
                      </a:lnTo>
                      <a:lnTo>
                        <a:pt x="2031949" y="1315758"/>
                      </a:lnTo>
                      <a:lnTo>
                        <a:pt x="2032076" y="1314018"/>
                      </a:lnTo>
                      <a:close/>
                    </a:path>
                    <a:path w="2161540" h="1527810">
                      <a:moveTo>
                        <a:pt x="2032215" y="1308252"/>
                      </a:moveTo>
                      <a:lnTo>
                        <a:pt x="2031453" y="1309903"/>
                      </a:lnTo>
                      <a:lnTo>
                        <a:pt x="2030488" y="1310271"/>
                      </a:lnTo>
                      <a:lnTo>
                        <a:pt x="2030298" y="1312024"/>
                      </a:lnTo>
                      <a:lnTo>
                        <a:pt x="2030171" y="1312938"/>
                      </a:lnTo>
                      <a:lnTo>
                        <a:pt x="2029980" y="1313230"/>
                      </a:lnTo>
                      <a:lnTo>
                        <a:pt x="2030641" y="1314488"/>
                      </a:lnTo>
                      <a:lnTo>
                        <a:pt x="2032076" y="1313815"/>
                      </a:lnTo>
                      <a:lnTo>
                        <a:pt x="2032215" y="1312024"/>
                      </a:lnTo>
                      <a:lnTo>
                        <a:pt x="2032215" y="1308252"/>
                      </a:lnTo>
                      <a:close/>
                    </a:path>
                    <a:path w="2161540" h="1527810">
                      <a:moveTo>
                        <a:pt x="2032330" y="1313688"/>
                      </a:moveTo>
                      <a:lnTo>
                        <a:pt x="2032076" y="1313815"/>
                      </a:lnTo>
                      <a:lnTo>
                        <a:pt x="2032076" y="1314018"/>
                      </a:lnTo>
                      <a:lnTo>
                        <a:pt x="2032330" y="1313688"/>
                      </a:lnTo>
                      <a:close/>
                    </a:path>
                    <a:path w="2161540" h="1527810">
                      <a:moveTo>
                        <a:pt x="2032609" y="1294066"/>
                      </a:moveTo>
                      <a:lnTo>
                        <a:pt x="2031339" y="1290828"/>
                      </a:lnTo>
                      <a:lnTo>
                        <a:pt x="2030780" y="1288008"/>
                      </a:lnTo>
                      <a:lnTo>
                        <a:pt x="2029879" y="1283995"/>
                      </a:lnTo>
                      <a:lnTo>
                        <a:pt x="2030526" y="1283525"/>
                      </a:lnTo>
                      <a:lnTo>
                        <a:pt x="2030603" y="1283398"/>
                      </a:lnTo>
                      <a:lnTo>
                        <a:pt x="2029993" y="1283017"/>
                      </a:lnTo>
                      <a:lnTo>
                        <a:pt x="2026907" y="1281595"/>
                      </a:lnTo>
                      <a:lnTo>
                        <a:pt x="2027986" y="1281963"/>
                      </a:lnTo>
                      <a:lnTo>
                        <a:pt x="2027885" y="1281595"/>
                      </a:lnTo>
                      <a:lnTo>
                        <a:pt x="2027516" y="1280198"/>
                      </a:lnTo>
                      <a:lnTo>
                        <a:pt x="2027796" y="1280210"/>
                      </a:lnTo>
                      <a:lnTo>
                        <a:pt x="2028024" y="1280160"/>
                      </a:lnTo>
                      <a:lnTo>
                        <a:pt x="2027250" y="1279550"/>
                      </a:lnTo>
                      <a:lnTo>
                        <a:pt x="2026793" y="1278470"/>
                      </a:lnTo>
                      <a:lnTo>
                        <a:pt x="2025751" y="1277962"/>
                      </a:lnTo>
                      <a:lnTo>
                        <a:pt x="2024443" y="1277289"/>
                      </a:lnTo>
                      <a:lnTo>
                        <a:pt x="2022513" y="1277645"/>
                      </a:lnTo>
                      <a:lnTo>
                        <a:pt x="2012480" y="1277962"/>
                      </a:lnTo>
                      <a:lnTo>
                        <a:pt x="2013686" y="1281747"/>
                      </a:lnTo>
                      <a:lnTo>
                        <a:pt x="2014448" y="1282407"/>
                      </a:lnTo>
                      <a:lnTo>
                        <a:pt x="2019503" y="1286395"/>
                      </a:lnTo>
                      <a:lnTo>
                        <a:pt x="2022195" y="1288008"/>
                      </a:lnTo>
                      <a:lnTo>
                        <a:pt x="2023706" y="1289939"/>
                      </a:lnTo>
                      <a:lnTo>
                        <a:pt x="2022817" y="1290383"/>
                      </a:lnTo>
                      <a:lnTo>
                        <a:pt x="2023097" y="1290802"/>
                      </a:lnTo>
                      <a:lnTo>
                        <a:pt x="2023008" y="1291564"/>
                      </a:lnTo>
                      <a:lnTo>
                        <a:pt x="2022741" y="1292898"/>
                      </a:lnTo>
                      <a:lnTo>
                        <a:pt x="2022665" y="1294345"/>
                      </a:lnTo>
                      <a:lnTo>
                        <a:pt x="2023554" y="1295463"/>
                      </a:lnTo>
                      <a:lnTo>
                        <a:pt x="2024443" y="1296657"/>
                      </a:lnTo>
                      <a:lnTo>
                        <a:pt x="2025408" y="1297901"/>
                      </a:lnTo>
                      <a:lnTo>
                        <a:pt x="2026793" y="1299730"/>
                      </a:lnTo>
                      <a:lnTo>
                        <a:pt x="2027174" y="1298829"/>
                      </a:lnTo>
                      <a:lnTo>
                        <a:pt x="2028647" y="1298930"/>
                      </a:lnTo>
                      <a:lnTo>
                        <a:pt x="2030107" y="1298981"/>
                      </a:lnTo>
                      <a:lnTo>
                        <a:pt x="2030412" y="1299387"/>
                      </a:lnTo>
                      <a:lnTo>
                        <a:pt x="2030488" y="1298829"/>
                      </a:lnTo>
                      <a:lnTo>
                        <a:pt x="2030679" y="1297584"/>
                      </a:lnTo>
                      <a:lnTo>
                        <a:pt x="2031225" y="1299324"/>
                      </a:lnTo>
                      <a:lnTo>
                        <a:pt x="2032381" y="1298638"/>
                      </a:lnTo>
                      <a:lnTo>
                        <a:pt x="2031809" y="1298308"/>
                      </a:lnTo>
                      <a:lnTo>
                        <a:pt x="2031453" y="1297901"/>
                      </a:lnTo>
                      <a:lnTo>
                        <a:pt x="2030844" y="1297787"/>
                      </a:lnTo>
                      <a:lnTo>
                        <a:pt x="2030958" y="1297584"/>
                      </a:lnTo>
                      <a:lnTo>
                        <a:pt x="2031225" y="1297127"/>
                      </a:lnTo>
                      <a:lnTo>
                        <a:pt x="2032114" y="1296416"/>
                      </a:lnTo>
                      <a:lnTo>
                        <a:pt x="2032609" y="1294066"/>
                      </a:lnTo>
                      <a:close/>
                    </a:path>
                    <a:path w="2161540" h="1527810">
                      <a:moveTo>
                        <a:pt x="2034108" y="1359877"/>
                      </a:moveTo>
                      <a:lnTo>
                        <a:pt x="2033803" y="1358442"/>
                      </a:lnTo>
                      <a:lnTo>
                        <a:pt x="2033612" y="1356931"/>
                      </a:lnTo>
                      <a:lnTo>
                        <a:pt x="2033066" y="1355559"/>
                      </a:lnTo>
                      <a:lnTo>
                        <a:pt x="2032381" y="1356906"/>
                      </a:lnTo>
                      <a:lnTo>
                        <a:pt x="2033447" y="1358353"/>
                      </a:lnTo>
                      <a:lnTo>
                        <a:pt x="2034108" y="1359877"/>
                      </a:lnTo>
                      <a:close/>
                    </a:path>
                    <a:path w="2161540" h="1527810">
                      <a:moveTo>
                        <a:pt x="2039861" y="1317802"/>
                      </a:moveTo>
                      <a:lnTo>
                        <a:pt x="2039124" y="1316939"/>
                      </a:lnTo>
                      <a:lnTo>
                        <a:pt x="2038896" y="1315351"/>
                      </a:lnTo>
                      <a:lnTo>
                        <a:pt x="2038235" y="1314259"/>
                      </a:lnTo>
                      <a:lnTo>
                        <a:pt x="2037435" y="1316024"/>
                      </a:lnTo>
                      <a:lnTo>
                        <a:pt x="2036000" y="1317104"/>
                      </a:lnTo>
                      <a:lnTo>
                        <a:pt x="2037892" y="1318729"/>
                      </a:lnTo>
                      <a:lnTo>
                        <a:pt x="2038540" y="1318437"/>
                      </a:lnTo>
                      <a:lnTo>
                        <a:pt x="2039239" y="1318171"/>
                      </a:lnTo>
                      <a:lnTo>
                        <a:pt x="2039861" y="1317802"/>
                      </a:lnTo>
                      <a:close/>
                    </a:path>
                    <a:path w="2161540" h="1527810">
                      <a:moveTo>
                        <a:pt x="2046262" y="1353172"/>
                      </a:moveTo>
                      <a:lnTo>
                        <a:pt x="2046198" y="1352943"/>
                      </a:lnTo>
                      <a:lnTo>
                        <a:pt x="2046084" y="1352550"/>
                      </a:lnTo>
                      <a:lnTo>
                        <a:pt x="2045690" y="1351191"/>
                      </a:lnTo>
                      <a:lnTo>
                        <a:pt x="2045563" y="1349756"/>
                      </a:lnTo>
                      <a:lnTo>
                        <a:pt x="2045411" y="1347190"/>
                      </a:lnTo>
                      <a:lnTo>
                        <a:pt x="2043988" y="1346466"/>
                      </a:lnTo>
                      <a:lnTo>
                        <a:pt x="2042629" y="1345209"/>
                      </a:lnTo>
                      <a:lnTo>
                        <a:pt x="2042985" y="1344980"/>
                      </a:lnTo>
                      <a:lnTo>
                        <a:pt x="2044446" y="1344041"/>
                      </a:lnTo>
                      <a:lnTo>
                        <a:pt x="2043455" y="1342288"/>
                      </a:lnTo>
                      <a:lnTo>
                        <a:pt x="2043455" y="1341932"/>
                      </a:lnTo>
                      <a:lnTo>
                        <a:pt x="2044065" y="1340612"/>
                      </a:lnTo>
                      <a:lnTo>
                        <a:pt x="2040280" y="1341932"/>
                      </a:lnTo>
                      <a:lnTo>
                        <a:pt x="2043239" y="1339253"/>
                      </a:lnTo>
                      <a:lnTo>
                        <a:pt x="2043137" y="1338516"/>
                      </a:lnTo>
                      <a:lnTo>
                        <a:pt x="2042769" y="1336776"/>
                      </a:lnTo>
                      <a:lnTo>
                        <a:pt x="2042477" y="1335379"/>
                      </a:lnTo>
                      <a:lnTo>
                        <a:pt x="2039937" y="1336776"/>
                      </a:lnTo>
                      <a:lnTo>
                        <a:pt x="2039556" y="1336395"/>
                      </a:lnTo>
                      <a:lnTo>
                        <a:pt x="2037892" y="1334795"/>
                      </a:lnTo>
                      <a:lnTo>
                        <a:pt x="2041207" y="1333398"/>
                      </a:lnTo>
                      <a:lnTo>
                        <a:pt x="2041588" y="1332699"/>
                      </a:lnTo>
                      <a:lnTo>
                        <a:pt x="2041880" y="1332115"/>
                      </a:lnTo>
                      <a:lnTo>
                        <a:pt x="2042871" y="1330134"/>
                      </a:lnTo>
                      <a:lnTo>
                        <a:pt x="2041906" y="1329309"/>
                      </a:lnTo>
                      <a:lnTo>
                        <a:pt x="2040242" y="1327886"/>
                      </a:lnTo>
                      <a:lnTo>
                        <a:pt x="2040318" y="1326375"/>
                      </a:lnTo>
                      <a:lnTo>
                        <a:pt x="2040394" y="1325143"/>
                      </a:lnTo>
                      <a:lnTo>
                        <a:pt x="2037892" y="1326375"/>
                      </a:lnTo>
                      <a:lnTo>
                        <a:pt x="2037892" y="1325511"/>
                      </a:lnTo>
                      <a:lnTo>
                        <a:pt x="2035467" y="1320736"/>
                      </a:lnTo>
                      <a:lnTo>
                        <a:pt x="2031492" y="1319085"/>
                      </a:lnTo>
                      <a:lnTo>
                        <a:pt x="2029371" y="1317637"/>
                      </a:lnTo>
                      <a:lnTo>
                        <a:pt x="2029561" y="1320736"/>
                      </a:lnTo>
                      <a:lnTo>
                        <a:pt x="2030717" y="1327251"/>
                      </a:lnTo>
                      <a:lnTo>
                        <a:pt x="2030717" y="1329093"/>
                      </a:lnTo>
                      <a:lnTo>
                        <a:pt x="2030679" y="1329309"/>
                      </a:lnTo>
                      <a:lnTo>
                        <a:pt x="2029066" y="1329093"/>
                      </a:lnTo>
                      <a:lnTo>
                        <a:pt x="2027516" y="1328547"/>
                      </a:lnTo>
                      <a:lnTo>
                        <a:pt x="2025980" y="1328127"/>
                      </a:lnTo>
                      <a:lnTo>
                        <a:pt x="2025700" y="1330807"/>
                      </a:lnTo>
                      <a:lnTo>
                        <a:pt x="2026094" y="1332115"/>
                      </a:lnTo>
                      <a:lnTo>
                        <a:pt x="2023237" y="1330477"/>
                      </a:lnTo>
                      <a:lnTo>
                        <a:pt x="2022856" y="1330236"/>
                      </a:lnTo>
                      <a:lnTo>
                        <a:pt x="2021662" y="1329220"/>
                      </a:lnTo>
                      <a:lnTo>
                        <a:pt x="2019147" y="1329385"/>
                      </a:lnTo>
                      <a:lnTo>
                        <a:pt x="2019757" y="1333690"/>
                      </a:lnTo>
                      <a:lnTo>
                        <a:pt x="2019858" y="1335074"/>
                      </a:lnTo>
                      <a:lnTo>
                        <a:pt x="2019503" y="1336395"/>
                      </a:lnTo>
                      <a:lnTo>
                        <a:pt x="2018538" y="1336370"/>
                      </a:lnTo>
                      <a:lnTo>
                        <a:pt x="2015109" y="1335074"/>
                      </a:lnTo>
                      <a:lnTo>
                        <a:pt x="2013673" y="1336890"/>
                      </a:lnTo>
                      <a:lnTo>
                        <a:pt x="2012911" y="1338834"/>
                      </a:lnTo>
                      <a:lnTo>
                        <a:pt x="2009749" y="1340853"/>
                      </a:lnTo>
                      <a:lnTo>
                        <a:pt x="2004771" y="1344980"/>
                      </a:lnTo>
                      <a:lnTo>
                        <a:pt x="2004225" y="1344193"/>
                      </a:lnTo>
                      <a:lnTo>
                        <a:pt x="2003920" y="1343748"/>
                      </a:lnTo>
                      <a:lnTo>
                        <a:pt x="2005279" y="1343050"/>
                      </a:lnTo>
                      <a:lnTo>
                        <a:pt x="2006625" y="1342288"/>
                      </a:lnTo>
                      <a:lnTo>
                        <a:pt x="2006955" y="1340612"/>
                      </a:lnTo>
                      <a:lnTo>
                        <a:pt x="2006841" y="1338516"/>
                      </a:lnTo>
                      <a:lnTo>
                        <a:pt x="2006282" y="1336611"/>
                      </a:lnTo>
                      <a:lnTo>
                        <a:pt x="2004860" y="1335163"/>
                      </a:lnTo>
                      <a:lnTo>
                        <a:pt x="2002231" y="1334909"/>
                      </a:lnTo>
                      <a:lnTo>
                        <a:pt x="2001418" y="1334109"/>
                      </a:lnTo>
                      <a:lnTo>
                        <a:pt x="1999869" y="1333550"/>
                      </a:lnTo>
                      <a:lnTo>
                        <a:pt x="2000097" y="1333690"/>
                      </a:lnTo>
                      <a:lnTo>
                        <a:pt x="2000300" y="1333766"/>
                      </a:lnTo>
                      <a:lnTo>
                        <a:pt x="1997570" y="1335405"/>
                      </a:lnTo>
                      <a:lnTo>
                        <a:pt x="1995360" y="1335938"/>
                      </a:lnTo>
                      <a:lnTo>
                        <a:pt x="1994281" y="1338516"/>
                      </a:lnTo>
                      <a:lnTo>
                        <a:pt x="1993900" y="1339596"/>
                      </a:lnTo>
                      <a:lnTo>
                        <a:pt x="1993442" y="1341120"/>
                      </a:lnTo>
                      <a:lnTo>
                        <a:pt x="1992617" y="1342199"/>
                      </a:lnTo>
                      <a:lnTo>
                        <a:pt x="1991664" y="1342072"/>
                      </a:lnTo>
                      <a:lnTo>
                        <a:pt x="1987689" y="1343113"/>
                      </a:lnTo>
                      <a:lnTo>
                        <a:pt x="1984019" y="1343342"/>
                      </a:lnTo>
                      <a:lnTo>
                        <a:pt x="1981606" y="1347381"/>
                      </a:lnTo>
                      <a:lnTo>
                        <a:pt x="1981327" y="1348790"/>
                      </a:lnTo>
                      <a:lnTo>
                        <a:pt x="1981936" y="1349692"/>
                      </a:lnTo>
                      <a:lnTo>
                        <a:pt x="1981923" y="1349819"/>
                      </a:lnTo>
                      <a:lnTo>
                        <a:pt x="1981365" y="1350365"/>
                      </a:lnTo>
                      <a:lnTo>
                        <a:pt x="1981365" y="1351013"/>
                      </a:lnTo>
                      <a:lnTo>
                        <a:pt x="1977301" y="1357871"/>
                      </a:lnTo>
                      <a:lnTo>
                        <a:pt x="1977326" y="1358023"/>
                      </a:lnTo>
                      <a:lnTo>
                        <a:pt x="1981720" y="1359865"/>
                      </a:lnTo>
                      <a:lnTo>
                        <a:pt x="1983105" y="1357591"/>
                      </a:lnTo>
                      <a:lnTo>
                        <a:pt x="1983676" y="1356969"/>
                      </a:lnTo>
                      <a:lnTo>
                        <a:pt x="1984413" y="1355090"/>
                      </a:lnTo>
                      <a:lnTo>
                        <a:pt x="1983676" y="1353604"/>
                      </a:lnTo>
                      <a:lnTo>
                        <a:pt x="1985797" y="1352689"/>
                      </a:lnTo>
                      <a:lnTo>
                        <a:pt x="1983917" y="1352181"/>
                      </a:lnTo>
                      <a:lnTo>
                        <a:pt x="1986673" y="1350365"/>
                      </a:lnTo>
                      <a:lnTo>
                        <a:pt x="1987219" y="1349933"/>
                      </a:lnTo>
                      <a:lnTo>
                        <a:pt x="1987029" y="1349933"/>
                      </a:lnTo>
                      <a:lnTo>
                        <a:pt x="1986648" y="1349895"/>
                      </a:lnTo>
                      <a:lnTo>
                        <a:pt x="1986419" y="1349933"/>
                      </a:lnTo>
                      <a:lnTo>
                        <a:pt x="1989264" y="1346377"/>
                      </a:lnTo>
                      <a:lnTo>
                        <a:pt x="1992426" y="1350111"/>
                      </a:lnTo>
                      <a:lnTo>
                        <a:pt x="1991118" y="1351191"/>
                      </a:lnTo>
                      <a:lnTo>
                        <a:pt x="1991779" y="1351915"/>
                      </a:lnTo>
                      <a:lnTo>
                        <a:pt x="1993353" y="1351368"/>
                      </a:lnTo>
                      <a:lnTo>
                        <a:pt x="1994242" y="1349463"/>
                      </a:lnTo>
                      <a:lnTo>
                        <a:pt x="1996249" y="1347800"/>
                      </a:lnTo>
                      <a:lnTo>
                        <a:pt x="1997303" y="1348790"/>
                      </a:lnTo>
                      <a:lnTo>
                        <a:pt x="1997290" y="1349197"/>
                      </a:lnTo>
                      <a:lnTo>
                        <a:pt x="1997176" y="1350454"/>
                      </a:lnTo>
                      <a:lnTo>
                        <a:pt x="1995779" y="1349819"/>
                      </a:lnTo>
                      <a:lnTo>
                        <a:pt x="1996567" y="1351851"/>
                      </a:lnTo>
                      <a:lnTo>
                        <a:pt x="1998179" y="1351191"/>
                      </a:lnTo>
                      <a:lnTo>
                        <a:pt x="1998713" y="1351026"/>
                      </a:lnTo>
                      <a:lnTo>
                        <a:pt x="1998535" y="1351927"/>
                      </a:lnTo>
                      <a:lnTo>
                        <a:pt x="1999564" y="1352461"/>
                      </a:lnTo>
                      <a:lnTo>
                        <a:pt x="2000186" y="1353045"/>
                      </a:lnTo>
                      <a:lnTo>
                        <a:pt x="2000364" y="1351026"/>
                      </a:lnTo>
                      <a:lnTo>
                        <a:pt x="1999869" y="1350454"/>
                      </a:lnTo>
                      <a:lnTo>
                        <a:pt x="1998484" y="1349197"/>
                      </a:lnTo>
                      <a:lnTo>
                        <a:pt x="1999856" y="1347800"/>
                      </a:lnTo>
                      <a:lnTo>
                        <a:pt x="2001266" y="1346377"/>
                      </a:lnTo>
                      <a:lnTo>
                        <a:pt x="2003425" y="1344193"/>
                      </a:lnTo>
                      <a:lnTo>
                        <a:pt x="2008568" y="1349819"/>
                      </a:lnTo>
                      <a:lnTo>
                        <a:pt x="2012061" y="1352943"/>
                      </a:lnTo>
                      <a:lnTo>
                        <a:pt x="2012950" y="1352550"/>
                      </a:lnTo>
                      <a:lnTo>
                        <a:pt x="2010714" y="1355191"/>
                      </a:lnTo>
                      <a:lnTo>
                        <a:pt x="2009978" y="1355788"/>
                      </a:lnTo>
                      <a:lnTo>
                        <a:pt x="2007971" y="1358874"/>
                      </a:lnTo>
                      <a:lnTo>
                        <a:pt x="2009355" y="1361567"/>
                      </a:lnTo>
                      <a:lnTo>
                        <a:pt x="2009305" y="1365250"/>
                      </a:lnTo>
                      <a:lnTo>
                        <a:pt x="2008822" y="1366215"/>
                      </a:lnTo>
                      <a:lnTo>
                        <a:pt x="2009660" y="1367015"/>
                      </a:lnTo>
                      <a:lnTo>
                        <a:pt x="2013026" y="1370317"/>
                      </a:lnTo>
                      <a:lnTo>
                        <a:pt x="2015909" y="1371676"/>
                      </a:lnTo>
                      <a:lnTo>
                        <a:pt x="2022195" y="1374228"/>
                      </a:lnTo>
                      <a:lnTo>
                        <a:pt x="2023478" y="1375295"/>
                      </a:lnTo>
                      <a:lnTo>
                        <a:pt x="2024545" y="1373695"/>
                      </a:lnTo>
                      <a:lnTo>
                        <a:pt x="2025205" y="1372654"/>
                      </a:lnTo>
                      <a:lnTo>
                        <a:pt x="2024900" y="1370571"/>
                      </a:lnTo>
                      <a:lnTo>
                        <a:pt x="2026666" y="1371269"/>
                      </a:lnTo>
                      <a:lnTo>
                        <a:pt x="2026475" y="1374127"/>
                      </a:lnTo>
                      <a:lnTo>
                        <a:pt x="2025319" y="1374838"/>
                      </a:lnTo>
                      <a:lnTo>
                        <a:pt x="2026754" y="1377581"/>
                      </a:lnTo>
                      <a:lnTo>
                        <a:pt x="2027910" y="1379842"/>
                      </a:lnTo>
                      <a:lnTo>
                        <a:pt x="2028913" y="1378496"/>
                      </a:lnTo>
                      <a:lnTo>
                        <a:pt x="2030793" y="1376159"/>
                      </a:lnTo>
                      <a:lnTo>
                        <a:pt x="2032190" y="1374673"/>
                      </a:lnTo>
                      <a:lnTo>
                        <a:pt x="2033562" y="1371676"/>
                      </a:lnTo>
                      <a:lnTo>
                        <a:pt x="2033638" y="1371269"/>
                      </a:lnTo>
                      <a:lnTo>
                        <a:pt x="2033384" y="1370571"/>
                      </a:lnTo>
                      <a:lnTo>
                        <a:pt x="2031974" y="1366672"/>
                      </a:lnTo>
                      <a:lnTo>
                        <a:pt x="2031911" y="1366545"/>
                      </a:lnTo>
                      <a:lnTo>
                        <a:pt x="2030958" y="1365250"/>
                      </a:lnTo>
                      <a:lnTo>
                        <a:pt x="2030526" y="1364742"/>
                      </a:lnTo>
                      <a:lnTo>
                        <a:pt x="2029256" y="1363560"/>
                      </a:lnTo>
                      <a:lnTo>
                        <a:pt x="2028482" y="1365250"/>
                      </a:lnTo>
                      <a:lnTo>
                        <a:pt x="2028812" y="1362163"/>
                      </a:lnTo>
                      <a:lnTo>
                        <a:pt x="2028926" y="1361821"/>
                      </a:lnTo>
                      <a:lnTo>
                        <a:pt x="2030006" y="1359268"/>
                      </a:lnTo>
                      <a:lnTo>
                        <a:pt x="2031949" y="1353972"/>
                      </a:lnTo>
                      <a:lnTo>
                        <a:pt x="2036076" y="1352943"/>
                      </a:lnTo>
                      <a:lnTo>
                        <a:pt x="2036305" y="1356207"/>
                      </a:lnTo>
                      <a:lnTo>
                        <a:pt x="2037270" y="1359458"/>
                      </a:lnTo>
                      <a:lnTo>
                        <a:pt x="2037969" y="1359496"/>
                      </a:lnTo>
                      <a:lnTo>
                        <a:pt x="2038489" y="1360474"/>
                      </a:lnTo>
                      <a:lnTo>
                        <a:pt x="2039035" y="1361567"/>
                      </a:lnTo>
                      <a:lnTo>
                        <a:pt x="2039035" y="1362062"/>
                      </a:lnTo>
                      <a:lnTo>
                        <a:pt x="2038299" y="1363560"/>
                      </a:lnTo>
                      <a:lnTo>
                        <a:pt x="2038350" y="1363929"/>
                      </a:lnTo>
                      <a:lnTo>
                        <a:pt x="2039086" y="1366545"/>
                      </a:lnTo>
                      <a:lnTo>
                        <a:pt x="2040242" y="1367282"/>
                      </a:lnTo>
                      <a:lnTo>
                        <a:pt x="2040166" y="1368704"/>
                      </a:lnTo>
                      <a:lnTo>
                        <a:pt x="2040547" y="1367015"/>
                      </a:lnTo>
                      <a:lnTo>
                        <a:pt x="2040534" y="1366215"/>
                      </a:lnTo>
                      <a:lnTo>
                        <a:pt x="2040051" y="1363929"/>
                      </a:lnTo>
                      <a:lnTo>
                        <a:pt x="2039886" y="1362163"/>
                      </a:lnTo>
                      <a:lnTo>
                        <a:pt x="2039823" y="1360970"/>
                      </a:lnTo>
                      <a:lnTo>
                        <a:pt x="2039277" y="1359268"/>
                      </a:lnTo>
                      <a:lnTo>
                        <a:pt x="2041448" y="1359623"/>
                      </a:lnTo>
                      <a:lnTo>
                        <a:pt x="2041131" y="1360030"/>
                      </a:lnTo>
                      <a:lnTo>
                        <a:pt x="2042147" y="1360436"/>
                      </a:lnTo>
                      <a:lnTo>
                        <a:pt x="2042198" y="1360970"/>
                      </a:lnTo>
                      <a:lnTo>
                        <a:pt x="2042096" y="1362163"/>
                      </a:lnTo>
                      <a:lnTo>
                        <a:pt x="2042922" y="1359268"/>
                      </a:lnTo>
                      <a:lnTo>
                        <a:pt x="2043137" y="1358480"/>
                      </a:lnTo>
                      <a:lnTo>
                        <a:pt x="2043785" y="1358519"/>
                      </a:lnTo>
                      <a:lnTo>
                        <a:pt x="2044407" y="1357503"/>
                      </a:lnTo>
                      <a:lnTo>
                        <a:pt x="2045296" y="1355953"/>
                      </a:lnTo>
                      <a:lnTo>
                        <a:pt x="2046262" y="1353172"/>
                      </a:lnTo>
                      <a:close/>
                    </a:path>
                    <a:path w="2161540" h="1527810">
                      <a:moveTo>
                        <a:pt x="2158428" y="1353807"/>
                      </a:moveTo>
                      <a:lnTo>
                        <a:pt x="2158123" y="1354137"/>
                      </a:lnTo>
                      <a:lnTo>
                        <a:pt x="2157831" y="1354442"/>
                      </a:lnTo>
                      <a:lnTo>
                        <a:pt x="2157539" y="1354785"/>
                      </a:lnTo>
                      <a:lnTo>
                        <a:pt x="2157349" y="1355153"/>
                      </a:lnTo>
                      <a:lnTo>
                        <a:pt x="2157704" y="1354886"/>
                      </a:lnTo>
                      <a:lnTo>
                        <a:pt x="2157996" y="1354556"/>
                      </a:lnTo>
                      <a:lnTo>
                        <a:pt x="2158288" y="1354074"/>
                      </a:lnTo>
                      <a:lnTo>
                        <a:pt x="2158390" y="1353947"/>
                      </a:lnTo>
                      <a:lnTo>
                        <a:pt x="2158428" y="1353807"/>
                      </a:lnTo>
                      <a:close/>
                    </a:path>
                    <a:path w="2161540" h="1527810">
                      <a:moveTo>
                        <a:pt x="2161324" y="1348765"/>
                      </a:moveTo>
                      <a:lnTo>
                        <a:pt x="2161311" y="1348397"/>
                      </a:lnTo>
                      <a:lnTo>
                        <a:pt x="2160663" y="1349044"/>
                      </a:lnTo>
                      <a:lnTo>
                        <a:pt x="2159685" y="1350238"/>
                      </a:lnTo>
                      <a:lnTo>
                        <a:pt x="2159152" y="1351153"/>
                      </a:lnTo>
                      <a:lnTo>
                        <a:pt x="2159266" y="1352194"/>
                      </a:lnTo>
                      <a:lnTo>
                        <a:pt x="2159292" y="1352511"/>
                      </a:lnTo>
                      <a:lnTo>
                        <a:pt x="2159368" y="1352829"/>
                      </a:lnTo>
                      <a:lnTo>
                        <a:pt x="2159533" y="1353159"/>
                      </a:lnTo>
                      <a:lnTo>
                        <a:pt x="2159698" y="1353045"/>
                      </a:lnTo>
                      <a:lnTo>
                        <a:pt x="2159812" y="1352867"/>
                      </a:lnTo>
                      <a:lnTo>
                        <a:pt x="2160714" y="1351889"/>
                      </a:lnTo>
                      <a:lnTo>
                        <a:pt x="2161146" y="1350721"/>
                      </a:lnTo>
                      <a:lnTo>
                        <a:pt x="2161311" y="1349159"/>
                      </a:lnTo>
                      <a:lnTo>
                        <a:pt x="2161324" y="1348765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47" name="object 87">
                  <a:extLst>
                    <a:ext uri="{FF2B5EF4-FFF2-40B4-BE49-F238E27FC236}">
                      <a16:creationId xmlns:a16="http://schemas.microsoft.com/office/drawing/2014/main" id="{E03DE47A-47EA-DAFE-5DFF-CBC50D30D2BE}"/>
                    </a:ext>
                  </a:extLst>
                </p:cNvPr>
                <p:cNvSpPr/>
                <p:nvPr/>
              </p:nvSpPr>
              <p:spPr>
                <a:xfrm>
                  <a:off x="2708783" y="1633880"/>
                  <a:ext cx="2464435" cy="15398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64435" h="1539875">
                      <a:moveTo>
                        <a:pt x="3606" y="478459"/>
                      </a:moveTo>
                      <a:lnTo>
                        <a:pt x="3492" y="478066"/>
                      </a:lnTo>
                      <a:lnTo>
                        <a:pt x="3454" y="477545"/>
                      </a:lnTo>
                      <a:lnTo>
                        <a:pt x="3251" y="477202"/>
                      </a:lnTo>
                      <a:lnTo>
                        <a:pt x="1104" y="476986"/>
                      </a:lnTo>
                      <a:lnTo>
                        <a:pt x="977" y="477126"/>
                      </a:lnTo>
                      <a:lnTo>
                        <a:pt x="0" y="478320"/>
                      </a:lnTo>
                      <a:lnTo>
                        <a:pt x="3124" y="478561"/>
                      </a:lnTo>
                      <a:lnTo>
                        <a:pt x="3606" y="478459"/>
                      </a:lnTo>
                      <a:close/>
                    </a:path>
                    <a:path w="2464435" h="1539875">
                      <a:moveTo>
                        <a:pt x="92138" y="433832"/>
                      </a:moveTo>
                      <a:lnTo>
                        <a:pt x="91033" y="431279"/>
                      </a:lnTo>
                      <a:lnTo>
                        <a:pt x="88912" y="430568"/>
                      </a:lnTo>
                      <a:lnTo>
                        <a:pt x="88544" y="430390"/>
                      </a:lnTo>
                      <a:lnTo>
                        <a:pt x="87553" y="430377"/>
                      </a:lnTo>
                      <a:lnTo>
                        <a:pt x="86626" y="430822"/>
                      </a:lnTo>
                      <a:lnTo>
                        <a:pt x="85839" y="431419"/>
                      </a:lnTo>
                      <a:lnTo>
                        <a:pt x="86512" y="432015"/>
                      </a:lnTo>
                      <a:lnTo>
                        <a:pt x="87744" y="431634"/>
                      </a:lnTo>
                      <a:lnTo>
                        <a:pt x="88582" y="431800"/>
                      </a:lnTo>
                      <a:lnTo>
                        <a:pt x="88861" y="431850"/>
                      </a:lnTo>
                      <a:lnTo>
                        <a:pt x="92138" y="433832"/>
                      </a:lnTo>
                      <a:close/>
                    </a:path>
                    <a:path w="2464435" h="1539875">
                      <a:moveTo>
                        <a:pt x="94068" y="430657"/>
                      </a:moveTo>
                      <a:lnTo>
                        <a:pt x="92392" y="429564"/>
                      </a:lnTo>
                      <a:lnTo>
                        <a:pt x="90614" y="428625"/>
                      </a:lnTo>
                      <a:lnTo>
                        <a:pt x="88531" y="428891"/>
                      </a:lnTo>
                      <a:lnTo>
                        <a:pt x="89230" y="429272"/>
                      </a:lnTo>
                      <a:lnTo>
                        <a:pt x="89992" y="429514"/>
                      </a:lnTo>
                      <a:lnTo>
                        <a:pt x="90754" y="429780"/>
                      </a:lnTo>
                      <a:lnTo>
                        <a:pt x="91719" y="431012"/>
                      </a:lnTo>
                      <a:lnTo>
                        <a:pt x="92697" y="431939"/>
                      </a:lnTo>
                      <a:lnTo>
                        <a:pt x="94068" y="430657"/>
                      </a:lnTo>
                      <a:close/>
                    </a:path>
                    <a:path w="2464435" h="1539875">
                      <a:moveTo>
                        <a:pt x="104063" y="404495"/>
                      </a:moveTo>
                      <a:lnTo>
                        <a:pt x="102997" y="402767"/>
                      </a:lnTo>
                      <a:lnTo>
                        <a:pt x="102235" y="403910"/>
                      </a:lnTo>
                      <a:lnTo>
                        <a:pt x="101701" y="405218"/>
                      </a:lnTo>
                      <a:lnTo>
                        <a:pt x="101092" y="406450"/>
                      </a:lnTo>
                      <a:lnTo>
                        <a:pt x="102425" y="405587"/>
                      </a:lnTo>
                      <a:lnTo>
                        <a:pt x="104063" y="404495"/>
                      </a:lnTo>
                      <a:close/>
                    </a:path>
                    <a:path w="2464435" h="1539875">
                      <a:moveTo>
                        <a:pt x="108902" y="272288"/>
                      </a:moveTo>
                      <a:lnTo>
                        <a:pt x="108597" y="270725"/>
                      </a:lnTo>
                      <a:lnTo>
                        <a:pt x="108826" y="269582"/>
                      </a:lnTo>
                      <a:lnTo>
                        <a:pt x="107378" y="267766"/>
                      </a:lnTo>
                      <a:lnTo>
                        <a:pt x="106845" y="268351"/>
                      </a:lnTo>
                      <a:lnTo>
                        <a:pt x="106654" y="268528"/>
                      </a:lnTo>
                      <a:lnTo>
                        <a:pt x="106845" y="269074"/>
                      </a:lnTo>
                      <a:lnTo>
                        <a:pt x="106972" y="268922"/>
                      </a:lnTo>
                      <a:lnTo>
                        <a:pt x="107099" y="268719"/>
                      </a:lnTo>
                      <a:lnTo>
                        <a:pt x="107251" y="268605"/>
                      </a:lnTo>
                      <a:lnTo>
                        <a:pt x="107353" y="269951"/>
                      </a:lnTo>
                      <a:lnTo>
                        <a:pt x="107264" y="271526"/>
                      </a:lnTo>
                      <a:lnTo>
                        <a:pt x="107772" y="272808"/>
                      </a:lnTo>
                      <a:lnTo>
                        <a:pt x="108902" y="272288"/>
                      </a:lnTo>
                      <a:close/>
                    </a:path>
                    <a:path w="2464435" h="1539875">
                      <a:moveTo>
                        <a:pt x="110337" y="398462"/>
                      </a:moveTo>
                      <a:lnTo>
                        <a:pt x="108432" y="399122"/>
                      </a:lnTo>
                      <a:lnTo>
                        <a:pt x="107480" y="399440"/>
                      </a:lnTo>
                      <a:lnTo>
                        <a:pt x="108470" y="399186"/>
                      </a:lnTo>
                      <a:lnTo>
                        <a:pt x="109448" y="398957"/>
                      </a:lnTo>
                      <a:lnTo>
                        <a:pt x="110337" y="398462"/>
                      </a:lnTo>
                      <a:close/>
                    </a:path>
                    <a:path w="2464435" h="1539875">
                      <a:moveTo>
                        <a:pt x="115824" y="263601"/>
                      </a:moveTo>
                      <a:lnTo>
                        <a:pt x="114871" y="262496"/>
                      </a:lnTo>
                      <a:lnTo>
                        <a:pt x="113385" y="260769"/>
                      </a:lnTo>
                      <a:lnTo>
                        <a:pt x="111607" y="263690"/>
                      </a:lnTo>
                      <a:lnTo>
                        <a:pt x="110629" y="264020"/>
                      </a:lnTo>
                      <a:lnTo>
                        <a:pt x="111264" y="264845"/>
                      </a:lnTo>
                      <a:lnTo>
                        <a:pt x="112179" y="265404"/>
                      </a:lnTo>
                      <a:lnTo>
                        <a:pt x="113017" y="266039"/>
                      </a:lnTo>
                      <a:lnTo>
                        <a:pt x="114300" y="266217"/>
                      </a:lnTo>
                      <a:lnTo>
                        <a:pt x="115824" y="263601"/>
                      </a:lnTo>
                      <a:close/>
                    </a:path>
                    <a:path w="2464435" h="1539875">
                      <a:moveTo>
                        <a:pt x="123799" y="396494"/>
                      </a:moveTo>
                      <a:lnTo>
                        <a:pt x="122796" y="396608"/>
                      </a:lnTo>
                      <a:lnTo>
                        <a:pt x="121754" y="396709"/>
                      </a:lnTo>
                      <a:lnTo>
                        <a:pt x="120777" y="396989"/>
                      </a:lnTo>
                      <a:lnTo>
                        <a:pt x="121272" y="397014"/>
                      </a:lnTo>
                      <a:lnTo>
                        <a:pt x="121780" y="397014"/>
                      </a:lnTo>
                      <a:lnTo>
                        <a:pt x="122288" y="396976"/>
                      </a:lnTo>
                      <a:lnTo>
                        <a:pt x="122796" y="396836"/>
                      </a:lnTo>
                      <a:lnTo>
                        <a:pt x="123304" y="396671"/>
                      </a:lnTo>
                      <a:lnTo>
                        <a:pt x="123799" y="396494"/>
                      </a:lnTo>
                      <a:close/>
                    </a:path>
                    <a:path w="2464435" h="1539875">
                      <a:moveTo>
                        <a:pt x="156248" y="193294"/>
                      </a:moveTo>
                      <a:lnTo>
                        <a:pt x="155359" y="192786"/>
                      </a:lnTo>
                      <a:lnTo>
                        <a:pt x="153695" y="190411"/>
                      </a:lnTo>
                      <a:lnTo>
                        <a:pt x="153936" y="193205"/>
                      </a:lnTo>
                      <a:lnTo>
                        <a:pt x="153708" y="191947"/>
                      </a:lnTo>
                      <a:lnTo>
                        <a:pt x="152958" y="192074"/>
                      </a:lnTo>
                      <a:lnTo>
                        <a:pt x="152285" y="193243"/>
                      </a:lnTo>
                      <a:lnTo>
                        <a:pt x="153593" y="193294"/>
                      </a:lnTo>
                      <a:lnTo>
                        <a:pt x="154965" y="193509"/>
                      </a:lnTo>
                      <a:lnTo>
                        <a:pt x="156248" y="193294"/>
                      </a:lnTo>
                      <a:close/>
                    </a:path>
                    <a:path w="2464435" h="1539875">
                      <a:moveTo>
                        <a:pt x="238353" y="74028"/>
                      </a:moveTo>
                      <a:lnTo>
                        <a:pt x="238328" y="73875"/>
                      </a:lnTo>
                      <a:lnTo>
                        <a:pt x="238010" y="74180"/>
                      </a:lnTo>
                      <a:lnTo>
                        <a:pt x="238353" y="74028"/>
                      </a:lnTo>
                      <a:close/>
                    </a:path>
                    <a:path w="2464435" h="1539875">
                      <a:moveTo>
                        <a:pt x="240868" y="710209"/>
                      </a:moveTo>
                      <a:lnTo>
                        <a:pt x="240525" y="707161"/>
                      </a:lnTo>
                      <a:lnTo>
                        <a:pt x="239560" y="708660"/>
                      </a:lnTo>
                      <a:lnTo>
                        <a:pt x="238594" y="707123"/>
                      </a:lnTo>
                      <a:lnTo>
                        <a:pt x="238302" y="707250"/>
                      </a:lnTo>
                      <a:lnTo>
                        <a:pt x="238937" y="708380"/>
                      </a:lnTo>
                      <a:lnTo>
                        <a:pt x="239991" y="709269"/>
                      </a:lnTo>
                      <a:lnTo>
                        <a:pt x="240868" y="710209"/>
                      </a:lnTo>
                      <a:close/>
                    </a:path>
                    <a:path w="2464435" h="1539875">
                      <a:moveTo>
                        <a:pt x="250901" y="69113"/>
                      </a:moveTo>
                      <a:lnTo>
                        <a:pt x="247726" y="69202"/>
                      </a:lnTo>
                      <a:lnTo>
                        <a:pt x="244551" y="70027"/>
                      </a:lnTo>
                      <a:lnTo>
                        <a:pt x="241439" y="70548"/>
                      </a:lnTo>
                      <a:lnTo>
                        <a:pt x="240880" y="71577"/>
                      </a:lnTo>
                      <a:lnTo>
                        <a:pt x="239268" y="73444"/>
                      </a:lnTo>
                      <a:lnTo>
                        <a:pt x="238099" y="72618"/>
                      </a:lnTo>
                      <a:lnTo>
                        <a:pt x="238988" y="73723"/>
                      </a:lnTo>
                      <a:lnTo>
                        <a:pt x="238353" y="74028"/>
                      </a:lnTo>
                      <a:lnTo>
                        <a:pt x="238442" y="74498"/>
                      </a:lnTo>
                      <a:lnTo>
                        <a:pt x="237451" y="74599"/>
                      </a:lnTo>
                      <a:lnTo>
                        <a:pt x="237197" y="74879"/>
                      </a:lnTo>
                      <a:lnTo>
                        <a:pt x="237096" y="76022"/>
                      </a:lnTo>
                      <a:lnTo>
                        <a:pt x="241909" y="74879"/>
                      </a:lnTo>
                      <a:lnTo>
                        <a:pt x="246951" y="73444"/>
                      </a:lnTo>
                      <a:lnTo>
                        <a:pt x="247764" y="73215"/>
                      </a:lnTo>
                      <a:lnTo>
                        <a:pt x="250901" y="69113"/>
                      </a:lnTo>
                      <a:close/>
                    </a:path>
                    <a:path w="2464435" h="1539875">
                      <a:moveTo>
                        <a:pt x="406971" y="2362"/>
                      </a:moveTo>
                      <a:lnTo>
                        <a:pt x="406006" y="1638"/>
                      </a:lnTo>
                      <a:lnTo>
                        <a:pt x="404507" y="1638"/>
                      </a:lnTo>
                      <a:lnTo>
                        <a:pt x="403085" y="1155"/>
                      </a:lnTo>
                      <a:lnTo>
                        <a:pt x="402856" y="0"/>
                      </a:lnTo>
                      <a:lnTo>
                        <a:pt x="401066" y="101"/>
                      </a:lnTo>
                      <a:lnTo>
                        <a:pt x="400596" y="152"/>
                      </a:lnTo>
                      <a:lnTo>
                        <a:pt x="400088" y="457"/>
                      </a:lnTo>
                      <a:lnTo>
                        <a:pt x="399656" y="622"/>
                      </a:lnTo>
                      <a:lnTo>
                        <a:pt x="400113" y="1485"/>
                      </a:lnTo>
                      <a:lnTo>
                        <a:pt x="400939" y="2019"/>
                      </a:lnTo>
                      <a:lnTo>
                        <a:pt x="401612" y="2743"/>
                      </a:lnTo>
                      <a:lnTo>
                        <a:pt x="399770" y="2832"/>
                      </a:lnTo>
                      <a:lnTo>
                        <a:pt x="397725" y="2235"/>
                      </a:lnTo>
                      <a:lnTo>
                        <a:pt x="394716" y="4292"/>
                      </a:lnTo>
                      <a:lnTo>
                        <a:pt x="396265" y="4191"/>
                      </a:lnTo>
                      <a:lnTo>
                        <a:pt x="397916" y="5448"/>
                      </a:lnTo>
                      <a:lnTo>
                        <a:pt x="398818" y="6642"/>
                      </a:lnTo>
                      <a:lnTo>
                        <a:pt x="404495" y="4991"/>
                      </a:lnTo>
                      <a:lnTo>
                        <a:pt x="406844" y="4305"/>
                      </a:lnTo>
                      <a:lnTo>
                        <a:pt x="404368" y="4991"/>
                      </a:lnTo>
                      <a:lnTo>
                        <a:pt x="405155" y="4191"/>
                      </a:lnTo>
                      <a:lnTo>
                        <a:pt x="406501" y="2832"/>
                      </a:lnTo>
                      <a:lnTo>
                        <a:pt x="406971" y="2362"/>
                      </a:lnTo>
                      <a:close/>
                    </a:path>
                    <a:path w="2464435" h="1539875">
                      <a:moveTo>
                        <a:pt x="876808" y="946962"/>
                      </a:moveTo>
                      <a:lnTo>
                        <a:pt x="875868" y="946315"/>
                      </a:lnTo>
                      <a:lnTo>
                        <a:pt x="876452" y="945235"/>
                      </a:lnTo>
                      <a:lnTo>
                        <a:pt x="874979" y="947674"/>
                      </a:lnTo>
                      <a:lnTo>
                        <a:pt x="873874" y="950315"/>
                      </a:lnTo>
                      <a:lnTo>
                        <a:pt x="872642" y="952855"/>
                      </a:lnTo>
                      <a:lnTo>
                        <a:pt x="874560" y="951318"/>
                      </a:lnTo>
                      <a:lnTo>
                        <a:pt x="874610" y="948982"/>
                      </a:lnTo>
                      <a:lnTo>
                        <a:pt x="876757" y="947915"/>
                      </a:lnTo>
                      <a:lnTo>
                        <a:pt x="876808" y="946962"/>
                      </a:lnTo>
                      <a:close/>
                    </a:path>
                    <a:path w="2464435" h="1539875">
                      <a:moveTo>
                        <a:pt x="1464500" y="1156563"/>
                      </a:moveTo>
                      <a:lnTo>
                        <a:pt x="1462341" y="1152779"/>
                      </a:lnTo>
                      <a:lnTo>
                        <a:pt x="1461147" y="1153655"/>
                      </a:lnTo>
                      <a:lnTo>
                        <a:pt x="1460538" y="1153541"/>
                      </a:lnTo>
                      <a:lnTo>
                        <a:pt x="1459382" y="1153388"/>
                      </a:lnTo>
                      <a:lnTo>
                        <a:pt x="1459382" y="1156233"/>
                      </a:lnTo>
                      <a:lnTo>
                        <a:pt x="1461909" y="1156398"/>
                      </a:lnTo>
                      <a:lnTo>
                        <a:pt x="1461770" y="1156868"/>
                      </a:lnTo>
                      <a:lnTo>
                        <a:pt x="1461922" y="1156525"/>
                      </a:lnTo>
                      <a:lnTo>
                        <a:pt x="1464500" y="1156563"/>
                      </a:lnTo>
                      <a:close/>
                    </a:path>
                    <a:path w="2464435" h="1539875">
                      <a:moveTo>
                        <a:pt x="1524431" y="1204366"/>
                      </a:moveTo>
                      <a:lnTo>
                        <a:pt x="1523580" y="1205052"/>
                      </a:lnTo>
                      <a:lnTo>
                        <a:pt x="1523225" y="1205877"/>
                      </a:lnTo>
                      <a:lnTo>
                        <a:pt x="1523961" y="1206627"/>
                      </a:lnTo>
                      <a:lnTo>
                        <a:pt x="1524228" y="1205903"/>
                      </a:lnTo>
                      <a:lnTo>
                        <a:pt x="1524266" y="1205141"/>
                      </a:lnTo>
                      <a:lnTo>
                        <a:pt x="1524431" y="1204366"/>
                      </a:lnTo>
                      <a:close/>
                    </a:path>
                    <a:path w="2464435" h="1539875">
                      <a:moveTo>
                        <a:pt x="1628063" y="1214602"/>
                      </a:moveTo>
                      <a:lnTo>
                        <a:pt x="1627987" y="1207046"/>
                      </a:lnTo>
                      <a:lnTo>
                        <a:pt x="1626755" y="1205661"/>
                      </a:lnTo>
                      <a:lnTo>
                        <a:pt x="1626412" y="1206957"/>
                      </a:lnTo>
                      <a:lnTo>
                        <a:pt x="1626489" y="1208341"/>
                      </a:lnTo>
                      <a:lnTo>
                        <a:pt x="1626374" y="1209675"/>
                      </a:lnTo>
                      <a:lnTo>
                        <a:pt x="1628063" y="1214602"/>
                      </a:lnTo>
                      <a:close/>
                    </a:path>
                    <a:path w="2464435" h="1539875">
                      <a:moveTo>
                        <a:pt x="1682965" y="1169276"/>
                      </a:moveTo>
                      <a:lnTo>
                        <a:pt x="1682699" y="1168425"/>
                      </a:lnTo>
                      <a:lnTo>
                        <a:pt x="1682242" y="1168819"/>
                      </a:lnTo>
                      <a:lnTo>
                        <a:pt x="1681810" y="1169314"/>
                      </a:lnTo>
                      <a:lnTo>
                        <a:pt x="1681543" y="1169847"/>
                      </a:lnTo>
                      <a:lnTo>
                        <a:pt x="1682546" y="1169809"/>
                      </a:lnTo>
                      <a:lnTo>
                        <a:pt x="1682965" y="1169276"/>
                      </a:lnTo>
                      <a:close/>
                    </a:path>
                    <a:path w="2464435" h="1539875">
                      <a:moveTo>
                        <a:pt x="1712277" y="1139723"/>
                      </a:moveTo>
                      <a:lnTo>
                        <a:pt x="1711401" y="1140256"/>
                      </a:lnTo>
                      <a:lnTo>
                        <a:pt x="1709153" y="1140866"/>
                      </a:lnTo>
                      <a:lnTo>
                        <a:pt x="1708696" y="1141793"/>
                      </a:lnTo>
                      <a:lnTo>
                        <a:pt x="1708454" y="1142606"/>
                      </a:lnTo>
                      <a:lnTo>
                        <a:pt x="1708734" y="1143546"/>
                      </a:lnTo>
                      <a:lnTo>
                        <a:pt x="1709115" y="1143381"/>
                      </a:lnTo>
                      <a:lnTo>
                        <a:pt x="1711350" y="1142504"/>
                      </a:lnTo>
                      <a:lnTo>
                        <a:pt x="1711426" y="1142238"/>
                      </a:lnTo>
                      <a:lnTo>
                        <a:pt x="1712277" y="1139723"/>
                      </a:lnTo>
                      <a:close/>
                    </a:path>
                    <a:path w="2464435" h="1539875">
                      <a:moveTo>
                        <a:pt x="1715173" y="1149527"/>
                      </a:moveTo>
                      <a:lnTo>
                        <a:pt x="1714360" y="1149451"/>
                      </a:lnTo>
                      <a:lnTo>
                        <a:pt x="1713547" y="1149642"/>
                      </a:lnTo>
                      <a:lnTo>
                        <a:pt x="1712709" y="1149781"/>
                      </a:lnTo>
                      <a:lnTo>
                        <a:pt x="1713585" y="1150505"/>
                      </a:lnTo>
                      <a:lnTo>
                        <a:pt x="1714677" y="1150531"/>
                      </a:lnTo>
                      <a:lnTo>
                        <a:pt x="1715173" y="1149527"/>
                      </a:lnTo>
                      <a:close/>
                    </a:path>
                    <a:path w="2464435" h="1539875">
                      <a:moveTo>
                        <a:pt x="1730590" y="1179068"/>
                      </a:moveTo>
                      <a:lnTo>
                        <a:pt x="1729663" y="1178775"/>
                      </a:lnTo>
                      <a:lnTo>
                        <a:pt x="1728698" y="1178636"/>
                      </a:lnTo>
                      <a:lnTo>
                        <a:pt x="1727784" y="1178458"/>
                      </a:lnTo>
                      <a:lnTo>
                        <a:pt x="1728774" y="1179055"/>
                      </a:lnTo>
                      <a:lnTo>
                        <a:pt x="1729892" y="1179995"/>
                      </a:lnTo>
                      <a:lnTo>
                        <a:pt x="1730590" y="1179068"/>
                      </a:lnTo>
                      <a:close/>
                    </a:path>
                    <a:path w="2464435" h="1539875">
                      <a:moveTo>
                        <a:pt x="1732749" y="1181455"/>
                      </a:moveTo>
                      <a:lnTo>
                        <a:pt x="1731937" y="1181227"/>
                      </a:lnTo>
                      <a:lnTo>
                        <a:pt x="1731556" y="1181100"/>
                      </a:lnTo>
                      <a:lnTo>
                        <a:pt x="1732711" y="1181506"/>
                      </a:lnTo>
                      <a:close/>
                    </a:path>
                    <a:path w="2464435" h="1539875">
                      <a:moveTo>
                        <a:pt x="1807286" y="890739"/>
                      </a:moveTo>
                      <a:lnTo>
                        <a:pt x="1806435" y="889609"/>
                      </a:lnTo>
                      <a:lnTo>
                        <a:pt x="1805012" y="889127"/>
                      </a:lnTo>
                      <a:lnTo>
                        <a:pt x="1804784" y="890079"/>
                      </a:lnTo>
                      <a:lnTo>
                        <a:pt x="1803971" y="890524"/>
                      </a:lnTo>
                      <a:lnTo>
                        <a:pt x="1803158" y="890689"/>
                      </a:lnTo>
                      <a:lnTo>
                        <a:pt x="1803590" y="890905"/>
                      </a:lnTo>
                      <a:lnTo>
                        <a:pt x="1805165" y="891540"/>
                      </a:lnTo>
                      <a:lnTo>
                        <a:pt x="1805749" y="891336"/>
                      </a:lnTo>
                      <a:lnTo>
                        <a:pt x="1807286" y="890739"/>
                      </a:lnTo>
                      <a:close/>
                    </a:path>
                    <a:path w="2464435" h="1539875">
                      <a:moveTo>
                        <a:pt x="1812721" y="886574"/>
                      </a:moveTo>
                      <a:lnTo>
                        <a:pt x="1811528" y="887044"/>
                      </a:lnTo>
                      <a:lnTo>
                        <a:pt x="1810448" y="887907"/>
                      </a:lnTo>
                      <a:lnTo>
                        <a:pt x="1809369" y="888606"/>
                      </a:lnTo>
                      <a:lnTo>
                        <a:pt x="1809597" y="891209"/>
                      </a:lnTo>
                      <a:lnTo>
                        <a:pt x="1811261" y="890371"/>
                      </a:lnTo>
                      <a:lnTo>
                        <a:pt x="1811680" y="888657"/>
                      </a:lnTo>
                      <a:lnTo>
                        <a:pt x="1811870" y="887895"/>
                      </a:lnTo>
                      <a:lnTo>
                        <a:pt x="1812721" y="886574"/>
                      </a:lnTo>
                      <a:close/>
                    </a:path>
                    <a:path w="2464435" h="1539875">
                      <a:moveTo>
                        <a:pt x="1818386" y="674382"/>
                      </a:moveTo>
                      <a:lnTo>
                        <a:pt x="1817839" y="674420"/>
                      </a:lnTo>
                      <a:lnTo>
                        <a:pt x="1817344" y="674420"/>
                      </a:lnTo>
                      <a:lnTo>
                        <a:pt x="1816798" y="674560"/>
                      </a:lnTo>
                      <a:lnTo>
                        <a:pt x="1817344" y="674624"/>
                      </a:lnTo>
                      <a:lnTo>
                        <a:pt x="1818386" y="674382"/>
                      </a:lnTo>
                      <a:close/>
                    </a:path>
                    <a:path w="2464435" h="1539875">
                      <a:moveTo>
                        <a:pt x="1828571" y="884174"/>
                      </a:moveTo>
                      <a:lnTo>
                        <a:pt x="1827987" y="883399"/>
                      </a:lnTo>
                      <a:lnTo>
                        <a:pt x="1827187" y="882789"/>
                      </a:lnTo>
                      <a:lnTo>
                        <a:pt x="1826450" y="882129"/>
                      </a:lnTo>
                      <a:lnTo>
                        <a:pt x="1825752" y="884821"/>
                      </a:lnTo>
                      <a:lnTo>
                        <a:pt x="1826336" y="884339"/>
                      </a:lnTo>
                      <a:lnTo>
                        <a:pt x="1828571" y="884174"/>
                      </a:lnTo>
                      <a:close/>
                    </a:path>
                    <a:path w="2464435" h="1539875">
                      <a:moveTo>
                        <a:pt x="1842109" y="731443"/>
                      </a:moveTo>
                      <a:lnTo>
                        <a:pt x="1840407" y="729767"/>
                      </a:lnTo>
                      <a:lnTo>
                        <a:pt x="1840407" y="730123"/>
                      </a:lnTo>
                      <a:lnTo>
                        <a:pt x="1839214" y="731456"/>
                      </a:lnTo>
                      <a:lnTo>
                        <a:pt x="1838871" y="731850"/>
                      </a:lnTo>
                      <a:lnTo>
                        <a:pt x="1838401" y="732282"/>
                      </a:lnTo>
                      <a:lnTo>
                        <a:pt x="1838058" y="732802"/>
                      </a:lnTo>
                      <a:lnTo>
                        <a:pt x="1839442" y="732586"/>
                      </a:lnTo>
                      <a:lnTo>
                        <a:pt x="1840763" y="731926"/>
                      </a:lnTo>
                      <a:lnTo>
                        <a:pt x="1842109" y="731443"/>
                      </a:lnTo>
                      <a:close/>
                    </a:path>
                    <a:path w="2464435" h="1539875">
                      <a:moveTo>
                        <a:pt x="1850250" y="747890"/>
                      </a:moveTo>
                      <a:lnTo>
                        <a:pt x="1843684" y="747293"/>
                      </a:lnTo>
                      <a:lnTo>
                        <a:pt x="1838909" y="750938"/>
                      </a:lnTo>
                      <a:lnTo>
                        <a:pt x="1842338" y="754316"/>
                      </a:lnTo>
                      <a:lnTo>
                        <a:pt x="1847278" y="750100"/>
                      </a:lnTo>
                      <a:lnTo>
                        <a:pt x="1850250" y="747890"/>
                      </a:lnTo>
                      <a:close/>
                    </a:path>
                    <a:path w="2464435" h="1539875">
                      <a:moveTo>
                        <a:pt x="1865896" y="728141"/>
                      </a:moveTo>
                      <a:lnTo>
                        <a:pt x="1865591" y="726960"/>
                      </a:lnTo>
                      <a:lnTo>
                        <a:pt x="1864893" y="725893"/>
                      </a:lnTo>
                      <a:lnTo>
                        <a:pt x="1864360" y="724814"/>
                      </a:lnTo>
                      <a:lnTo>
                        <a:pt x="1862543" y="724852"/>
                      </a:lnTo>
                      <a:lnTo>
                        <a:pt x="1862582" y="725995"/>
                      </a:lnTo>
                      <a:lnTo>
                        <a:pt x="1863280" y="727125"/>
                      </a:lnTo>
                      <a:lnTo>
                        <a:pt x="1863813" y="728040"/>
                      </a:lnTo>
                      <a:lnTo>
                        <a:pt x="1864664" y="727900"/>
                      </a:lnTo>
                      <a:lnTo>
                        <a:pt x="1865896" y="728141"/>
                      </a:lnTo>
                      <a:close/>
                    </a:path>
                    <a:path w="2464435" h="1539875">
                      <a:moveTo>
                        <a:pt x="1868297" y="852665"/>
                      </a:moveTo>
                      <a:lnTo>
                        <a:pt x="1867789" y="853122"/>
                      </a:lnTo>
                      <a:lnTo>
                        <a:pt x="1867484" y="853541"/>
                      </a:lnTo>
                      <a:lnTo>
                        <a:pt x="1866976" y="853909"/>
                      </a:lnTo>
                      <a:lnTo>
                        <a:pt x="1866671" y="854163"/>
                      </a:lnTo>
                      <a:lnTo>
                        <a:pt x="1866861" y="854595"/>
                      </a:lnTo>
                      <a:lnTo>
                        <a:pt x="1865782" y="854964"/>
                      </a:lnTo>
                      <a:lnTo>
                        <a:pt x="1865363" y="854125"/>
                      </a:lnTo>
                      <a:lnTo>
                        <a:pt x="1863852" y="854202"/>
                      </a:lnTo>
                      <a:lnTo>
                        <a:pt x="1862810" y="854595"/>
                      </a:lnTo>
                      <a:lnTo>
                        <a:pt x="1865363" y="856145"/>
                      </a:lnTo>
                      <a:lnTo>
                        <a:pt x="1864474" y="856234"/>
                      </a:lnTo>
                      <a:lnTo>
                        <a:pt x="1863852" y="856932"/>
                      </a:lnTo>
                      <a:lnTo>
                        <a:pt x="1863623" y="857250"/>
                      </a:lnTo>
                      <a:lnTo>
                        <a:pt x="1862747" y="857745"/>
                      </a:lnTo>
                      <a:lnTo>
                        <a:pt x="1861451" y="858735"/>
                      </a:lnTo>
                      <a:lnTo>
                        <a:pt x="1861312" y="859053"/>
                      </a:lnTo>
                      <a:lnTo>
                        <a:pt x="1861197" y="859345"/>
                      </a:lnTo>
                      <a:lnTo>
                        <a:pt x="1861197" y="860374"/>
                      </a:lnTo>
                      <a:lnTo>
                        <a:pt x="1861070" y="860691"/>
                      </a:lnTo>
                      <a:lnTo>
                        <a:pt x="1860499" y="862317"/>
                      </a:lnTo>
                      <a:lnTo>
                        <a:pt x="1859889" y="861225"/>
                      </a:lnTo>
                      <a:lnTo>
                        <a:pt x="1860651" y="863612"/>
                      </a:lnTo>
                      <a:lnTo>
                        <a:pt x="1862162" y="861542"/>
                      </a:lnTo>
                      <a:lnTo>
                        <a:pt x="1863699" y="859497"/>
                      </a:lnTo>
                      <a:lnTo>
                        <a:pt x="1865198" y="857440"/>
                      </a:lnTo>
                      <a:lnTo>
                        <a:pt x="1866239" y="856056"/>
                      </a:lnTo>
                      <a:lnTo>
                        <a:pt x="1867979" y="854456"/>
                      </a:lnTo>
                      <a:lnTo>
                        <a:pt x="1868297" y="852665"/>
                      </a:lnTo>
                      <a:close/>
                    </a:path>
                    <a:path w="2464435" h="1539875">
                      <a:moveTo>
                        <a:pt x="1875256" y="842733"/>
                      </a:moveTo>
                      <a:lnTo>
                        <a:pt x="1874596" y="842772"/>
                      </a:lnTo>
                      <a:lnTo>
                        <a:pt x="1873948" y="842873"/>
                      </a:lnTo>
                      <a:lnTo>
                        <a:pt x="1873288" y="843026"/>
                      </a:lnTo>
                      <a:lnTo>
                        <a:pt x="1873986" y="843114"/>
                      </a:lnTo>
                      <a:lnTo>
                        <a:pt x="1874672" y="843064"/>
                      </a:lnTo>
                      <a:lnTo>
                        <a:pt x="1875256" y="842733"/>
                      </a:lnTo>
                      <a:close/>
                    </a:path>
                    <a:path w="2464435" h="1539875">
                      <a:moveTo>
                        <a:pt x="1875688" y="724141"/>
                      </a:moveTo>
                      <a:lnTo>
                        <a:pt x="1875028" y="723912"/>
                      </a:lnTo>
                      <a:lnTo>
                        <a:pt x="1873021" y="724458"/>
                      </a:lnTo>
                      <a:lnTo>
                        <a:pt x="1872830" y="724865"/>
                      </a:lnTo>
                      <a:lnTo>
                        <a:pt x="1872449" y="725627"/>
                      </a:lnTo>
                      <a:lnTo>
                        <a:pt x="1872246" y="727087"/>
                      </a:lnTo>
                      <a:lnTo>
                        <a:pt x="1873834" y="727189"/>
                      </a:lnTo>
                      <a:lnTo>
                        <a:pt x="1873796" y="727329"/>
                      </a:lnTo>
                      <a:lnTo>
                        <a:pt x="1873796" y="727494"/>
                      </a:lnTo>
                      <a:lnTo>
                        <a:pt x="1874520" y="726478"/>
                      </a:lnTo>
                      <a:lnTo>
                        <a:pt x="1875066" y="725297"/>
                      </a:lnTo>
                      <a:lnTo>
                        <a:pt x="1875688" y="724141"/>
                      </a:lnTo>
                      <a:close/>
                    </a:path>
                    <a:path w="2464435" h="1539875">
                      <a:moveTo>
                        <a:pt x="1878076" y="761111"/>
                      </a:moveTo>
                      <a:lnTo>
                        <a:pt x="1877809" y="760234"/>
                      </a:lnTo>
                      <a:lnTo>
                        <a:pt x="1877187" y="759498"/>
                      </a:lnTo>
                      <a:lnTo>
                        <a:pt x="1876844" y="758659"/>
                      </a:lnTo>
                      <a:lnTo>
                        <a:pt x="1875993" y="759040"/>
                      </a:lnTo>
                      <a:lnTo>
                        <a:pt x="1875345" y="759688"/>
                      </a:lnTo>
                      <a:lnTo>
                        <a:pt x="1874608" y="760247"/>
                      </a:lnTo>
                      <a:lnTo>
                        <a:pt x="1873834" y="763460"/>
                      </a:lnTo>
                      <a:lnTo>
                        <a:pt x="1877225" y="760907"/>
                      </a:lnTo>
                      <a:lnTo>
                        <a:pt x="1878076" y="761111"/>
                      </a:lnTo>
                      <a:close/>
                    </a:path>
                    <a:path w="2464435" h="1539875">
                      <a:moveTo>
                        <a:pt x="1878888" y="837857"/>
                      </a:moveTo>
                      <a:lnTo>
                        <a:pt x="1878698" y="836676"/>
                      </a:lnTo>
                      <a:lnTo>
                        <a:pt x="1878622" y="835545"/>
                      </a:lnTo>
                      <a:lnTo>
                        <a:pt x="1877860" y="836815"/>
                      </a:lnTo>
                      <a:lnTo>
                        <a:pt x="1877656" y="838174"/>
                      </a:lnTo>
                      <a:lnTo>
                        <a:pt x="1878698" y="838987"/>
                      </a:lnTo>
                      <a:lnTo>
                        <a:pt x="1878888" y="837857"/>
                      </a:lnTo>
                      <a:close/>
                    </a:path>
                    <a:path w="2464435" h="1539875">
                      <a:moveTo>
                        <a:pt x="1881339" y="754329"/>
                      </a:moveTo>
                      <a:lnTo>
                        <a:pt x="1879536" y="756373"/>
                      </a:lnTo>
                      <a:lnTo>
                        <a:pt x="1879536" y="756196"/>
                      </a:lnTo>
                      <a:lnTo>
                        <a:pt x="1879498" y="756666"/>
                      </a:lnTo>
                      <a:lnTo>
                        <a:pt x="1880425" y="757339"/>
                      </a:lnTo>
                      <a:lnTo>
                        <a:pt x="1880311" y="758177"/>
                      </a:lnTo>
                      <a:lnTo>
                        <a:pt x="1880768" y="756932"/>
                      </a:lnTo>
                      <a:lnTo>
                        <a:pt x="1881009" y="755599"/>
                      </a:lnTo>
                      <a:lnTo>
                        <a:pt x="1881339" y="754329"/>
                      </a:lnTo>
                      <a:close/>
                    </a:path>
                    <a:path w="2464435" h="1539875">
                      <a:moveTo>
                        <a:pt x="1884210" y="735571"/>
                      </a:moveTo>
                      <a:lnTo>
                        <a:pt x="1883600" y="735076"/>
                      </a:lnTo>
                      <a:lnTo>
                        <a:pt x="1883016" y="734580"/>
                      </a:lnTo>
                      <a:lnTo>
                        <a:pt x="1882597" y="734110"/>
                      </a:lnTo>
                      <a:lnTo>
                        <a:pt x="1882241" y="735164"/>
                      </a:lnTo>
                      <a:lnTo>
                        <a:pt x="1882089" y="736371"/>
                      </a:lnTo>
                      <a:lnTo>
                        <a:pt x="1882127" y="737501"/>
                      </a:lnTo>
                      <a:lnTo>
                        <a:pt x="1882902" y="736981"/>
                      </a:lnTo>
                      <a:lnTo>
                        <a:pt x="1883562" y="736244"/>
                      </a:lnTo>
                      <a:lnTo>
                        <a:pt x="1884210" y="735571"/>
                      </a:lnTo>
                      <a:close/>
                    </a:path>
                    <a:path w="2464435" h="1539875">
                      <a:moveTo>
                        <a:pt x="1884514" y="832751"/>
                      </a:moveTo>
                      <a:lnTo>
                        <a:pt x="1883892" y="832065"/>
                      </a:lnTo>
                      <a:lnTo>
                        <a:pt x="1883130" y="831596"/>
                      </a:lnTo>
                      <a:lnTo>
                        <a:pt x="1882394" y="831062"/>
                      </a:lnTo>
                      <a:lnTo>
                        <a:pt x="1882622" y="832281"/>
                      </a:lnTo>
                      <a:lnTo>
                        <a:pt x="1883397" y="833043"/>
                      </a:lnTo>
                      <a:lnTo>
                        <a:pt x="1884514" y="832751"/>
                      </a:lnTo>
                      <a:close/>
                    </a:path>
                    <a:path w="2464435" h="1539875">
                      <a:moveTo>
                        <a:pt x="1886178" y="728129"/>
                      </a:moveTo>
                      <a:lnTo>
                        <a:pt x="1885289" y="729043"/>
                      </a:lnTo>
                      <a:lnTo>
                        <a:pt x="1884553" y="728726"/>
                      </a:lnTo>
                      <a:lnTo>
                        <a:pt x="1884019" y="729576"/>
                      </a:lnTo>
                      <a:lnTo>
                        <a:pt x="1883638" y="730110"/>
                      </a:lnTo>
                      <a:lnTo>
                        <a:pt x="1883867" y="730631"/>
                      </a:lnTo>
                      <a:lnTo>
                        <a:pt x="1883638" y="731977"/>
                      </a:lnTo>
                      <a:lnTo>
                        <a:pt x="1883638" y="732942"/>
                      </a:lnTo>
                      <a:lnTo>
                        <a:pt x="1882863" y="733501"/>
                      </a:lnTo>
                      <a:lnTo>
                        <a:pt x="1883397" y="733717"/>
                      </a:lnTo>
                      <a:lnTo>
                        <a:pt x="1884019" y="733831"/>
                      </a:lnTo>
                      <a:lnTo>
                        <a:pt x="1884514" y="733958"/>
                      </a:lnTo>
                      <a:lnTo>
                        <a:pt x="1884832" y="732002"/>
                      </a:lnTo>
                      <a:lnTo>
                        <a:pt x="1885607" y="730046"/>
                      </a:lnTo>
                      <a:lnTo>
                        <a:pt x="1886178" y="728129"/>
                      </a:lnTo>
                      <a:close/>
                    </a:path>
                    <a:path w="2464435" h="1539875">
                      <a:moveTo>
                        <a:pt x="1890636" y="742188"/>
                      </a:moveTo>
                      <a:lnTo>
                        <a:pt x="1889912" y="742353"/>
                      </a:lnTo>
                      <a:lnTo>
                        <a:pt x="1889213" y="742784"/>
                      </a:lnTo>
                      <a:lnTo>
                        <a:pt x="1889023" y="743458"/>
                      </a:lnTo>
                      <a:lnTo>
                        <a:pt x="1889607" y="743127"/>
                      </a:lnTo>
                      <a:lnTo>
                        <a:pt x="1890141" y="742670"/>
                      </a:lnTo>
                      <a:lnTo>
                        <a:pt x="1890636" y="742188"/>
                      </a:lnTo>
                      <a:close/>
                    </a:path>
                    <a:path w="2464435" h="1539875">
                      <a:moveTo>
                        <a:pt x="1896897" y="765073"/>
                      </a:moveTo>
                      <a:lnTo>
                        <a:pt x="1896745" y="763612"/>
                      </a:lnTo>
                      <a:lnTo>
                        <a:pt x="1896630" y="763422"/>
                      </a:lnTo>
                      <a:lnTo>
                        <a:pt x="1895894" y="762406"/>
                      </a:lnTo>
                      <a:lnTo>
                        <a:pt x="1895233" y="763257"/>
                      </a:lnTo>
                      <a:lnTo>
                        <a:pt x="1894090" y="762876"/>
                      </a:lnTo>
                      <a:lnTo>
                        <a:pt x="1893773" y="764667"/>
                      </a:lnTo>
                      <a:lnTo>
                        <a:pt x="1893925" y="766533"/>
                      </a:lnTo>
                      <a:lnTo>
                        <a:pt x="1893900" y="768337"/>
                      </a:lnTo>
                      <a:lnTo>
                        <a:pt x="1895233" y="767816"/>
                      </a:lnTo>
                      <a:lnTo>
                        <a:pt x="1896630" y="766483"/>
                      </a:lnTo>
                      <a:lnTo>
                        <a:pt x="1896859" y="765263"/>
                      </a:lnTo>
                      <a:lnTo>
                        <a:pt x="1896897" y="765073"/>
                      </a:lnTo>
                      <a:close/>
                    </a:path>
                    <a:path w="2464435" h="1539875">
                      <a:moveTo>
                        <a:pt x="1904568" y="798195"/>
                      </a:moveTo>
                      <a:lnTo>
                        <a:pt x="1902650" y="796607"/>
                      </a:lnTo>
                      <a:lnTo>
                        <a:pt x="1901367" y="795921"/>
                      </a:lnTo>
                      <a:lnTo>
                        <a:pt x="1899869" y="796518"/>
                      </a:lnTo>
                      <a:lnTo>
                        <a:pt x="1898751" y="796658"/>
                      </a:lnTo>
                      <a:lnTo>
                        <a:pt x="1899945" y="798245"/>
                      </a:lnTo>
                      <a:lnTo>
                        <a:pt x="1900377" y="798868"/>
                      </a:lnTo>
                      <a:lnTo>
                        <a:pt x="1901063" y="799503"/>
                      </a:lnTo>
                      <a:lnTo>
                        <a:pt x="1902028" y="799134"/>
                      </a:lnTo>
                      <a:lnTo>
                        <a:pt x="1904568" y="798195"/>
                      </a:lnTo>
                      <a:close/>
                    </a:path>
                    <a:path w="2464435" h="1539875">
                      <a:moveTo>
                        <a:pt x="1907070" y="682040"/>
                      </a:moveTo>
                      <a:lnTo>
                        <a:pt x="1906524" y="681964"/>
                      </a:lnTo>
                      <a:lnTo>
                        <a:pt x="1905990" y="681951"/>
                      </a:lnTo>
                      <a:lnTo>
                        <a:pt x="1905444" y="682002"/>
                      </a:lnTo>
                      <a:lnTo>
                        <a:pt x="1905990" y="682142"/>
                      </a:lnTo>
                      <a:lnTo>
                        <a:pt x="1907070" y="682040"/>
                      </a:lnTo>
                      <a:close/>
                    </a:path>
                    <a:path w="2464435" h="1539875">
                      <a:moveTo>
                        <a:pt x="1909229" y="789876"/>
                      </a:moveTo>
                      <a:lnTo>
                        <a:pt x="1907374" y="791616"/>
                      </a:lnTo>
                      <a:lnTo>
                        <a:pt x="1908035" y="792111"/>
                      </a:lnTo>
                      <a:lnTo>
                        <a:pt x="1907374" y="793991"/>
                      </a:lnTo>
                      <a:lnTo>
                        <a:pt x="1906993" y="795248"/>
                      </a:lnTo>
                      <a:lnTo>
                        <a:pt x="1905838" y="795667"/>
                      </a:lnTo>
                      <a:lnTo>
                        <a:pt x="1906371" y="797166"/>
                      </a:lnTo>
                      <a:lnTo>
                        <a:pt x="1907527" y="794854"/>
                      </a:lnTo>
                      <a:lnTo>
                        <a:pt x="1908302" y="792302"/>
                      </a:lnTo>
                      <a:lnTo>
                        <a:pt x="1909229" y="789876"/>
                      </a:lnTo>
                      <a:close/>
                    </a:path>
                    <a:path w="2464435" h="1539875">
                      <a:moveTo>
                        <a:pt x="1943785" y="706462"/>
                      </a:moveTo>
                      <a:lnTo>
                        <a:pt x="1941080" y="701738"/>
                      </a:lnTo>
                      <a:lnTo>
                        <a:pt x="1936572" y="702906"/>
                      </a:lnTo>
                      <a:lnTo>
                        <a:pt x="1943785" y="706462"/>
                      </a:lnTo>
                      <a:close/>
                    </a:path>
                    <a:path w="2464435" h="1539875">
                      <a:moveTo>
                        <a:pt x="1965490" y="730707"/>
                      </a:moveTo>
                      <a:lnTo>
                        <a:pt x="1964639" y="731583"/>
                      </a:lnTo>
                      <a:lnTo>
                        <a:pt x="1959737" y="735609"/>
                      </a:lnTo>
                      <a:lnTo>
                        <a:pt x="1959584" y="735330"/>
                      </a:lnTo>
                      <a:lnTo>
                        <a:pt x="1959597" y="735736"/>
                      </a:lnTo>
                      <a:lnTo>
                        <a:pt x="1959305" y="735965"/>
                      </a:lnTo>
                      <a:lnTo>
                        <a:pt x="1956269" y="735901"/>
                      </a:lnTo>
                      <a:lnTo>
                        <a:pt x="1954072" y="734847"/>
                      </a:lnTo>
                      <a:lnTo>
                        <a:pt x="1949869" y="733323"/>
                      </a:lnTo>
                      <a:lnTo>
                        <a:pt x="1944903" y="735418"/>
                      </a:lnTo>
                      <a:lnTo>
                        <a:pt x="1946630" y="736231"/>
                      </a:lnTo>
                      <a:lnTo>
                        <a:pt x="1945932" y="737501"/>
                      </a:lnTo>
                      <a:lnTo>
                        <a:pt x="1945246" y="738974"/>
                      </a:lnTo>
                      <a:lnTo>
                        <a:pt x="1943277" y="739521"/>
                      </a:lnTo>
                      <a:lnTo>
                        <a:pt x="1939734" y="741438"/>
                      </a:lnTo>
                      <a:lnTo>
                        <a:pt x="1937067" y="739597"/>
                      </a:lnTo>
                      <a:lnTo>
                        <a:pt x="1936915" y="737209"/>
                      </a:lnTo>
                      <a:lnTo>
                        <a:pt x="1935365" y="737768"/>
                      </a:lnTo>
                      <a:lnTo>
                        <a:pt x="1935683" y="738124"/>
                      </a:lnTo>
                      <a:lnTo>
                        <a:pt x="1933054" y="740295"/>
                      </a:lnTo>
                      <a:lnTo>
                        <a:pt x="1932406" y="742315"/>
                      </a:lnTo>
                      <a:lnTo>
                        <a:pt x="1932749" y="743038"/>
                      </a:lnTo>
                      <a:lnTo>
                        <a:pt x="1928888" y="745972"/>
                      </a:lnTo>
                      <a:lnTo>
                        <a:pt x="1925726" y="747826"/>
                      </a:lnTo>
                      <a:lnTo>
                        <a:pt x="1923656" y="749388"/>
                      </a:lnTo>
                      <a:lnTo>
                        <a:pt x="1924075" y="749731"/>
                      </a:lnTo>
                      <a:lnTo>
                        <a:pt x="1925421" y="749173"/>
                      </a:lnTo>
                      <a:lnTo>
                        <a:pt x="1926234" y="748271"/>
                      </a:lnTo>
                      <a:lnTo>
                        <a:pt x="1929587" y="747776"/>
                      </a:lnTo>
                      <a:lnTo>
                        <a:pt x="1926653" y="751547"/>
                      </a:lnTo>
                      <a:lnTo>
                        <a:pt x="1929434" y="750620"/>
                      </a:lnTo>
                      <a:lnTo>
                        <a:pt x="1929168" y="751306"/>
                      </a:lnTo>
                      <a:lnTo>
                        <a:pt x="1928698" y="751903"/>
                      </a:lnTo>
                      <a:lnTo>
                        <a:pt x="1928279" y="752513"/>
                      </a:lnTo>
                      <a:lnTo>
                        <a:pt x="1929130" y="752640"/>
                      </a:lnTo>
                      <a:lnTo>
                        <a:pt x="1929206" y="753986"/>
                      </a:lnTo>
                      <a:lnTo>
                        <a:pt x="1928507" y="754761"/>
                      </a:lnTo>
                      <a:lnTo>
                        <a:pt x="1929853" y="754938"/>
                      </a:lnTo>
                      <a:lnTo>
                        <a:pt x="1929625" y="755891"/>
                      </a:lnTo>
                      <a:lnTo>
                        <a:pt x="1929434" y="757034"/>
                      </a:lnTo>
                      <a:lnTo>
                        <a:pt x="1931708" y="755611"/>
                      </a:lnTo>
                      <a:lnTo>
                        <a:pt x="1931644" y="758418"/>
                      </a:lnTo>
                      <a:lnTo>
                        <a:pt x="1931822" y="759333"/>
                      </a:lnTo>
                      <a:lnTo>
                        <a:pt x="1933359" y="758621"/>
                      </a:lnTo>
                      <a:lnTo>
                        <a:pt x="1936572" y="760958"/>
                      </a:lnTo>
                      <a:lnTo>
                        <a:pt x="1937105" y="759396"/>
                      </a:lnTo>
                      <a:lnTo>
                        <a:pt x="1937181" y="759117"/>
                      </a:lnTo>
                      <a:lnTo>
                        <a:pt x="1936407" y="758952"/>
                      </a:lnTo>
                      <a:lnTo>
                        <a:pt x="1936457" y="758621"/>
                      </a:lnTo>
                      <a:lnTo>
                        <a:pt x="1936483" y="758418"/>
                      </a:lnTo>
                      <a:lnTo>
                        <a:pt x="1936750" y="757923"/>
                      </a:lnTo>
                      <a:lnTo>
                        <a:pt x="1936826" y="757034"/>
                      </a:lnTo>
                      <a:lnTo>
                        <a:pt x="1936991" y="755611"/>
                      </a:lnTo>
                      <a:lnTo>
                        <a:pt x="1937067" y="754976"/>
                      </a:lnTo>
                      <a:lnTo>
                        <a:pt x="1940521" y="752640"/>
                      </a:lnTo>
                      <a:lnTo>
                        <a:pt x="1942566" y="750620"/>
                      </a:lnTo>
                      <a:lnTo>
                        <a:pt x="1944890" y="748271"/>
                      </a:lnTo>
                      <a:lnTo>
                        <a:pt x="1945309" y="747776"/>
                      </a:lnTo>
                      <a:lnTo>
                        <a:pt x="1946706" y="746099"/>
                      </a:lnTo>
                      <a:lnTo>
                        <a:pt x="1951685" y="748652"/>
                      </a:lnTo>
                      <a:lnTo>
                        <a:pt x="1952066" y="750608"/>
                      </a:lnTo>
                      <a:lnTo>
                        <a:pt x="1953882" y="751420"/>
                      </a:lnTo>
                      <a:lnTo>
                        <a:pt x="1954149" y="746747"/>
                      </a:lnTo>
                      <a:lnTo>
                        <a:pt x="1955787" y="746099"/>
                      </a:lnTo>
                      <a:lnTo>
                        <a:pt x="1958619" y="744969"/>
                      </a:lnTo>
                      <a:lnTo>
                        <a:pt x="1961743" y="742149"/>
                      </a:lnTo>
                      <a:lnTo>
                        <a:pt x="1960664" y="742010"/>
                      </a:lnTo>
                      <a:lnTo>
                        <a:pt x="1960905" y="741438"/>
                      </a:lnTo>
                      <a:lnTo>
                        <a:pt x="1961553" y="739838"/>
                      </a:lnTo>
                      <a:lnTo>
                        <a:pt x="1959965" y="739724"/>
                      </a:lnTo>
                      <a:lnTo>
                        <a:pt x="1960041" y="738124"/>
                      </a:lnTo>
                      <a:lnTo>
                        <a:pt x="1960321" y="737069"/>
                      </a:lnTo>
                      <a:lnTo>
                        <a:pt x="1960410" y="736244"/>
                      </a:lnTo>
                      <a:lnTo>
                        <a:pt x="1962365" y="736282"/>
                      </a:lnTo>
                      <a:lnTo>
                        <a:pt x="1962632" y="736295"/>
                      </a:lnTo>
                      <a:lnTo>
                        <a:pt x="1964143" y="735609"/>
                      </a:lnTo>
                      <a:lnTo>
                        <a:pt x="1964296" y="735393"/>
                      </a:lnTo>
                      <a:lnTo>
                        <a:pt x="1964982" y="734352"/>
                      </a:lnTo>
                      <a:lnTo>
                        <a:pt x="1963991" y="734758"/>
                      </a:lnTo>
                      <a:lnTo>
                        <a:pt x="1964055" y="732447"/>
                      </a:lnTo>
                      <a:lnTo>
                        <a:pt x="1964791" y="731824"/>
                      </a:lnTo>
                      <a:lnTo>
                        <a:pt x="1965490" y="730707"/>
                      </a:lnTo>
                      <a:close/>
                    </a:path>
                    <a:path w="2464435" h="1539875">
                      <a:moveTo>
                        <a:pt x="1992515" y="735711"/>
                      </a:moveTo>
                      <a:lnTo>
                        <a:pt x="1992172" y="734682"/>
                      </a:lnTo>
                      <a:lnTo>
                        <a:pt x="1991893" y="735711"/>
                      </a:lnTo>
                      <a:lnTo>
                        <a:pt x="1992515" y="735711"/>
                      </a:lnTo>
                      <a:close/>
                    </a:path>
                    <a:path w="2464435" h="1539875">
                      <a:moveTo>
                        <a:pt x="1995868" y="730631"/>
                      </a:moveTo>
                      <a:lnTo>
                        <a:pt x="1994750" y="729361"/>
                      </a:lnTo>
                      <a:lnTo>
                        <a:pt x="1994433" y="730631"/>
                      </a:lnTo>
                      <a:lnTo>
                        <a:pt x="1995868" y="730631"/>
                      </a:lnTo>
                      <a:close/>
                    </a:path>
                    <a:path w="2464435" h="1539875">
                      <a:moveTo>
                        <a:pt x="2016429" y="677811"/>
                      </a:moveTo>
                      <a:lnTo>
                        <a:pt x="2015693" y="672846"/>
                      </a:lnTo>
                      <a:lnTo>
                        <a:pt x="2015731" y="669353"/>
                      </a:lnTo>
                      <a:lnTo>
                        <a:pt x="2014220" y="669798"/>
                      </a:lnTo>
                      <a:lnTo>
                        <a:pt x="2011870" y="671601"/>
                      </a:lnTo>
                      <a:lnTo>
                        <a:pt x="2011641" y="675119"/>
                      </a:lnTo>
                      <a:lnTo>
                        <a:pt x="2013572" y="676097"/>
                      </a:lnTo>
                      <a:lnTo>
                        <a:pt x="2011413" y="677176"/>
                      </a:lnTo>
                      <a:lnTo>
                        <a:pt x="2016429" y="677811"/>
                      </a:lnTo>
                      <a:close/>
                    </a:path>
                    <a:path w="2464435" h="1539875">
                      <a:moveTo>
                        <a:pt x="2028990" y="727989"/>
                      </a:moveTo>
                      <a:lnTo>
                        <a:pt x="2028875" y="727316"/>
                      </a:lnTo>
                      <a:lnTo>
                        <a:pt x="2028647" y="726782"/>
                      </a:lnTo>
                      <a:lnTo>
                        <a:pt x="2028304" y="727544"/>
                      </a:lnTo>
                      <a:lnTo>
                        <a:pt x="2028304" y="728243"/>
                      </a:lnTo>
                      <a:lnTo>
                        <a:pt x="2028952" y="728548"/>
                      </a:lnTo>
                      <a:lnTo>
                        <a:pt x="2028990" y="727989"/>
                      </a:lnTo>
                      <a:close/>
                    </a:path>
                    <a:path w="2464435" h="1539875">
                      <a:moveTo>
                        <a:pt x="2032152" y="601662"/>
                      </a:moveTo>
                      <a:lnTo>
                        <a:pt x="2029193" y="602805"/>
                      </a:lnTo>
                      <a:lnTo>
                        <a:pt x="2028304" y="605485"/>
                      </a:lnTo>
                      <a:lnTo>
                        <a:pt x="2029460" y="605548"/>
                      </a:lnTo>
                      <a:lnTo>
                        <a:pt x="2032152" y="601662"/>
                      </a:lnTo>
                      <a:close/>
                    </a:path>
                    <a:path w="2464435" h="1539875">
                      <a:moveTo>
                        <a:pt x="2034578" y="754799"/>
                      </a:moveTo>
                      <a:lnTo>
                        <a:pt x="2034463" y="754227"/>
                      </a:lnTo>
                      <a:lnTo>
                        <a:pt x="2034197" y="753681"/>
                      </a:lnTo>
                      <a:lnTo>
                        <a:pt x="2033930" y="753160"/>
                      </a:lnTo>
                      <a:lnTo>
                        <a:pt x="2034044" y="753745"/>
                      </a:lnTo>
                      <a:lnTo>
                        <a:pt x="2034273" y="754303"/>
                      </a:lnTo>
                      <a:lnTo>
                        <a:pt x="2034578" y="754799"/>
                      </a:lnTo>
                      <a:close/>
                    </a:path>
                    <a:path w="2464435" h="1539875">
                      <a:moveTo>
                        <a:pt x="2051710" y="548830"/>
                      </a:moveTo>
                      <a:lnTo>
                        <a:pt x="2051545" y="547966"/>
                      </a:lnTo>
                      <a:lnTo>
                        <a:pt x="2051392" y="547103"/>
                      </a:lnTo>
                      <a:lnTo>
                        <a:pt x="2051278" y="546227"/>
                      </a:lnTo>
                      <a:lnTo>
                        <a:pt x="2051316" y="547116"/>
                      </a:lnTo>
                      <a:lnTo>
                        <a:pt x="2051278" y="548043"/>
                      </a:lnTo>
                      <a:lnTo>
                        <a:pt x="2051710" y="548830"/>
                      </a:lnTo>
                      <a:close/>
                    </a:path>
                    <a:path w="2464435" h="1539875">
                      <a:moveTo>
                        <a:pt x="2058225" y="553377"/>
                      </a:moveTo>
                      <a:lnTo>
                        <a:pt x="2053869" y="549871"/>
                      </a:lnTo>
                      <a:lnTo>
                        <a:pt x="2052243" y="552894"/>
                      </a:lnTo>
                      <a:lnTo>
                        <a:pt x="2058225" y="553377"/>
                      </a:lnTo>
                      <a:close/>
                    </a:path>
                    <a:path w="2464435" h="1539875">
                      <a:moveTo>
                        <a:pt x="2068042" y="648081"/>
                      </a:moveTo>
                      <a:lnTo>
                        <a:pt x="2062962" y="639191"/>
                      </a:lnTo>
                      <a:lnTo>
                        <a:pt x="2060803" y="632841"/>
                      </a:lnTo>
                      <a:lnTo>
                        <a:pt x="2057793" y="630301"/>
                      </a:lnTo>
                      <a:lnTo>
                        <a:pt x="2057209" y="627761"/>
                      </a:lnTo>
                      <a:lnTo>
                        <a:pt x="2056714" y="625221"/>
                      </a:lnTo>
                      <a:lnTo>
                        <a:pt x="2057209" y="621411"/>
                      </a:lnTo>
                      <a:lnTo>
                        <a:pt x="2057450" y="620141"/>
                      </a:lnTo>
                      <a:lnTo>
                        <a:pt x="2057679" y="618871"/>
                      </a:lnTo>
                      <a:lnTo>
                        <a:pt x="2058250" y="617601"/>
                      </a:lnTo>
                      <a:lnTo>
                        <a:pt x="2057755" y="616331"/>
                      </a:lnTo>
                      <a:lnTo>
                        <a:pt x="2053628" y="616331"/>
                      </a:lnTo>
                      <a:lnTo>
                        <a:pt x="2051316" y="615061"/>
                      </a:lnTo>
                      <a:lnTo>
                        <a:pt x="2050148" y="615061"/>
                      </a:lnTo>
                      <a:lnTo>
                        <a:pt x="2047494" y="620141"/>
                      </a:lnTo>
                      <a:lnTo>
                        <a:pt x="2048649" y="623951"/>
                      </a:lnTo>
                      <a:lnTo>
                        <a:pt x="2052853" y="620141"/>
                      </a:lnTo>
                      <a:lnTo>
                        <a:pt x="2055863" y="620141"/>
                      </a:lnTo>
                      <a:lnTo>
                        <a:pt x="2054694" y="623951"/>
                      </a:lnTo>
                      <a:lnTo>
                        <a:pt x="2054174" y="626491"/>
                      </a:lnTo>
                      <a:lnTo>
                        <a:pt x="2049081" y="626491"/>
                      </a:lnTo>
                      <a:lnTo>
                        <a:pt x="2048916" y="627761"/>
                      </a:lnTo>
                      <a:lnTo>
                        <a:pt x="2046605" y="626491"/>
                      </a:lnTo>
                      <a:lnTo>
                        <a:pt x="2046566" y="623951"/>
                      </a:lnTo>
                      <a:lnTo>
                        <a:pt x="2045957" y="622681"/>
                      </a:lnTo>
                      <a:lnTo>
                        <a:pt x="2046528" y="621411"/>
                      </a:lnTo>
                      <a:lnTo>
                        <a:pt x="2046262" y="621411"/>
                      </a:lnTo>
                      <a:lnTo>
                        <a:pt x="2045639" y="620141"/>
                      </a:lnTo>
                      <a:lnTo>
                        <a:pt x="2041867" y="620141"/>
                      </a:lnTo>
                      <a:lnTo>
                        <a:pt x="2042020" y="622681"/>
                      </a:lnTo>
                      <a:lnTo>
                        <a:pt x="2042909" y="623951"/>
                      </a:lnTo>
                      <a:lnTo>
                        <a:pt x="2039975" y="626491"/>
                      </a:lnTo>
                      <a:lnTo>
                        <a:pt x="2037969" y="627761"/>
                      </a:lnTo>
                      <a:lnTo>
                        <a:pt x="2035111" y="631571"/>
                      </a:lnTo>
                      <a:lnTo>
                        <a:pt x="2036737" y="635381"/>
                      </a:lnTo>
                      <a:lnTo>
                        <a:pt x="2034882" y="640461"/>
                      </a:lnTo>
                      <a:lnTo>
                        <a:pt x="2034235" y="641731"/>
                      </a:lnTo>
                      <a:lnTo>
                        <a:pt x="2033193" y="641731"/>
                      </a:lnTo>
                      <a:lnTo>
                        <a:pt x="2033930" y="643001"/>
                      </a:lnTo>
                      <a:lnTo>
                        <a:pt x="2036927" y="643001"/>
                      </a:lnTo>
                      <a:lnTo>
                        <a:pt x="2037346" y="644271"/>
                      </a:lnTo>
                      <a:lnTo>
                        <a:pt x="2038515" y="645541"/>
                      </a:lnTo>
                      <a:lnTo>
                        <a:pt x="2037346" y="648563"/>
                      </a:lnTo>
                      <a:lnTo>
                        <a:pt x="2037346" y="710311"/>
                      </a:lnTo>
                      <a:lnTo>
                        <a:pt x="2037346" y="712851"/>
                      </a:lnTo>
                      <a:lnTo>
                        <a:pt x="2037219" y="714121"/>
                      </a:lnTo>
                      <a:lnTo>
                        <a:pt x="2036419" y="715391"/>
                      </a:lnTo>
                      <a:lnTo>
                        <a:pt x="2035060" y="716661"/>
                      </a:lnTo>
                      <a:lnTo>
                        <a:pt x="2033079" y="716661"/>
                      </a:lnTo>
                      <a:lnTo>
                        <a:pt x="2030780" y="715391"/>
                      </a:lnTo>
                      <a:lnTo>
                        <a:pt x="2029599" y="714121"/>
                      </a:lnTo>
                      <a:lnTo>
                        <a:pt x="2029599" y="712851"/>
                      </a:lnTo>
                      <a:lnTo>
                        <a:pt x="2029599" y="710311"/>
                      </a:lnTo>
                      <a:lnTo>
                        <a:pt x="2031339" y="709041"/>
                      </a:lnTo>
                      <a:lnTo>
                        <a:pt x="2035619" y="709041"/>
                      </a:lnTo>
                      <a:lnTo>
                        <a:pt x="2037346" y="710311"/>
                      </a:lnTo>
                      <a:lnTo>
                        <a:pt x="2037346" y="648563"/>
                      </a:lnTo>
                      <a:lnTo>
                        <a:pt x="2037041" y="649351"/>
                      </a:lnTo>
                      <a:lnTo>
                        <a:pt x="2036584" y="650621"/>
                      </a:lnTo>
                      <a:lnTo>
                        <a:pt x="2035467" y="655701"/>
                      </a:lnTo>
                      <a:lnTo>
                        <a:pt x="2033689" y="659511"/>
                      </a:lnTo>
                      <a:lnTo>
                        <a:pt x="2031492" y="663321"/>
                      </a:lnTo>
                      <a:lnTo>
                        <a:pt x="2030501" y="665861"/>
                      </a:lnTo>
                      <a:lnTo>
                        <a:pt x="2029561" y="668401"/>
                      </a:lnTo>
                      <a:lnTo>
                        <a:pt x="2028990" y="670941"/>
                      </a:lnTo>
                      <a:lnTo>
                        <a:pt x="2027796" y="673481"/>
                      </a:lnTo>
                      <a:lnTo>
                        <a:pt x="2025904" y="674751"/>
                      </a:lnTo>
                      <a:lnTo>
                        <a:pt x="2022309" y="678561"/>
                      </a:lnTo>
                      <a:lnTo>
                        <a:pt x="2019769" y="681101"/>
                      </a:lnTo>
                      <a:lnTo>
                        <a:pt x="2016645" y="683641"/>
                      </a:lnTo>
                      <a:lnTo>
                        <a:pt x="2016683" y="684911"/>
                      </a:lnTo>
                      <a:lnTo>
                        <a:pt x="2011210" y="687451"/>
                      </a:lnTo>
                      <a:lnTo>
                        <a:pt x="2006892" y="689991"/>
                      </a:lnTo>
                      <a:lnTo>
                        <a:pt x="2002878" y="691261"/>
                      </a:lnTo>
                      <a:lnTo>
                        <a:pt x="2000796" y="692531"/>
                      </a:lnTo>
                      <a:lnTo>
                        <a:pt x="1998218" y="697611"/>
                      </a:lnTo>
                      <a:lnTo>
                        <a:pt x="1994204" y="693801"/>
                      </a:lnTo>
                      <a:lnTo>
                        <a:pt x="1994560" y="692531"/>
                      </a:lnTo>
                      <a:lnTo>
                        <a:pt x="1994750" y="692531"/>
                      </a:lnTo>
                      <a:lnTo>
                        <a:pt x="1995170" y="689991"/>
                      </a:lnTo>
                      <a:lnTo>
                        <a:pt x="1992287" y="689991"/>
                      </a:lnTo>
                      <a:lnTo>
                        <a:pt x="1991702" y="687451"/>
                      </a:lnTo>
                      <a:lnTo>
                        <a:pt x="1993861" y="688721"/>
                      </a:lnTo>
                      <a:lnTo>
                        <a:pt x="1995208" y="687451"/>
                      </a:lnTo>
                      <a:lnTo>
                        <a:pt x="1995398" y="687451"/>
                      </a:lnTo>
                      <a:lnTo>
                        <a:pt x="1996478" y="686181"/>
                      </a:lnTo>
                      <a:lnTo>
                        <a:pt x="1998535" y="686181"/>
                      </a:lnTo>
                      <a:lnTo>
                        <a:pt x="1999869" y="683641"/>
                      </a:lnTo>
                      <a:lnTo>
                        <a:pt x="1997443" y="682371"/>
                      </a:lnTo>
                      <a:lnTo>
                        <a:pt x="1996097" y="683641"/>
                      </a:lnTo>
                      <a:lnTo>
                        <a:pt x="1994560" y="683641"/>
                      </a:lnTo>
                      <a:lnTo>
                        <a:pt x="1992236" y="684911"/>
                      </a:lnTo>
                      <a:lnTo>
                        <a:pt x="1988997" y="686181"/>
                      </a:lnTo>
                      <a:lnTo>
                        <a:pt x="1990890" y="689991"/>
                      </a:lnTo>
                      <a:lnTo>
                        <a:pt x="1990432" y="695071"/>
                      </a:lnTo>
                      <a:lnTo>
                        <a:pt x="1988108" y="697611"/>
                      </a:lnTo>
                      <a:lnTo>
                        <a:pt x="1984756" y="701421"/>
                      </a:lnTo>
                      <a:lnTo>
                        <a:pt x="1980641" y="705231"/>
                      </a:lnTo>
                      <a:lnTo>
                        <a:pt x="1979904" y="710311"/>
                      </a:lnTo>
                      <a:lnTo>
                        <a:pt x="1981365" y="711581"/>
                      </a:lnTo>
                      <a:lnTo>
                        <a:pt x="1980907" y="712851"/>
                      </a:lnTo>
                      <a:lnTo>
                        <a:pt x="1980018" y="711581"/>
                      </a:lnTo>
                      <a:lnTo>
                        <a:pt x="1977936" y="715391"/>
                      </a:lnTo>
                      <a:lnTo>
                        <a:pt x="1974354" y="716661"/>
                      </a:lnTo>
                      <a:lnTo>
                        <a:pt x="1972424" y="714121"/>
                      </a:lnTo>
                      <a:lnTo>
                        <a:pt x="1970036" y="716661"/>
                      </a:lnTo>
                      <a:lnTo>
                        <a:pt x="1969262" y="715391"/>
                      </a:lnTo>
                      <a:lnTo>
                        <a:pt x="1968995" y="714121"/>
                      </a:lnTo>
                      <a:lnTo>
                        <a:pt x="1969109" y="712851"/>
                      </a:lnTo>
                      <a:lnTo>
                        <a:pt x="1969871" y="712851"/>
                      </a:lnTo>
                      <a:lnTo>
                        <a:pt x="1969566" y="710311"/>
                      </a:lnTo>
                      <a:lnTo>
                        <a:pt x="1964296" y="712851"/>
                      </a:lnTo>
                      <a:lnTo>
                        <a:pt x="1958352" y="714121"/>
                      </a:lnTo>
                      <a:lnTo>
                        <a:pt x="1952218" y="714121"/>
                      </a:lnTo>
                      <a:lnTo>
                        <a:pt x="1941576" y="715391"/>
                      </a:lnTo>
                      <a:lnTo>
                        <a:pt x="1936788" y="715391"/>
                      </a:lnTo>
                      <a:lnTo>
                        <a:pt x="1931517" y="716661"/>
                      </a:lnTo>
                      <a:lnTo>
                        <a:pt x="1932432" y="719201"/>
                      </a:lnTo>
                      <a:lnTo>
                        <a:pt x="1930628" y="720471"/>
                      </a:lnTo>
                      <a:lnTo>
                        <a:pt x="1917636" y="729361"/>
                      </a:lnTo>
                      <a:lnTo>
                        <a:pt x="1916010" y="730631"/>
                      </a:lnTo>
                      <a:lnTo>
                        <a:pt x="1913813" y="733171"/>
                      </a:lnTo>
                      <a:lnTo>
                        <a:pt x="1910270" y="734441"/>
                      </a:lnTo>
                      <a:lnTo>
                        <a:pt x="1908759" y="733171"/>
                      </a:lnTo>
                      <a:lnTo>
                        <a:pt x="1907527" y="733171"/>
                      </a:lnTo>
                      <a:lnTo>
                        <a:pt x="1906524" y="734441"/>
                      </a:lnTo>
                      <a:lnTo>
                        <a:pt x="1906447" y="735711"/>
                      </a:lnTo>
                      <a:lnTo>
                        <a:pt x="1907108" y="736981"/>
                      </a:lnTo>
                      <a:lnTo>
                        <a:pt x="1907070" y="738251"/>
                      </a:lnTo>
                      <a:lnTo>
                        <a:pt x="1906562" y="738251"/>
                      </a:lnTo>
                      <a:lnTo>
                        <a:pt x="1906524" y="739521"/>
                      </a:lnTo>
                      <a:lnTo>
                        <a:pt x="1907222" y="740791"/>
                      </a:lnTo>
                      <a:lnTo>
                        <a:pt x="1906485" y="740791"/>
                      </a:lnTo>
                      <a:lnTo>
                        <a:pt x="1906612" y="740981"/>
                      </a:lnTo>
                      <a:lnTo>
                        <a:pt x="1906422" y="741032"/>
                      </a:lnTo>
                      <a:lnTo>
                        <a:pt x="1904606" y="740435"/>
                      </a:lnTo>
                      <a:lnTo>
                        <a:pt x="1901139" y="741603"/>
                      </a:lnTo>
                      <a:lnTo>
                        <a:pt x="1901139" y="741883"/>
                      </a:lnTo>
                      <a:lnTo>
                        <a:pt x="1899602" y="744448"/>
                      </a:lnTo>
                      <a:lnTo>
                        <a:pt x="1899716" y="744016"/>
                      </a:lnTo>
                      <a:lnTo>
                        <a:pt x="1895856" y="745490"/>
                      </a:lnTo>
                      <a:lnTo>
                        <a:pt x="1895208" y="746302"/>
                      </a:lnTo>
                      <a:lnTo>
                        <a:pt x="1894382" y="748080"/>
                      </a:lnTo>
                      <a:lnTo>
                        <a:pt x="1893620" y="747649"/>
                      </a:lnTo>
                      <a:lnTo>
                        <a:pt x="1892846" y="747179"/>
                      </a:lnTo>
                      <a:lnTo>
                        <a:pt x="1891995" y="746848"/>
                      </a:lnTo>
                      <a:lnTo>
                        <a:pt x="1891106" y="748068"/>
                      </a:lnTo>
                      <a:lnTo>
                        <a:pt x="1891144" y="750201"/>
                      </a:lnTo>
                      <a:lnTo>
                        <a:pt x="1888985" y="749769"/>
                      </a:lnTo>
                      <a:lnTo>
                        <a:pt x="1887943" y="749541"/>
                      </a:lnTo>
                      <a:lnTo>
                        <a:pt x="1887601" y="752208"/>
                      </a:lnTo>
                      <a:lnTo>
                        <a:pt x="1888451" y="752208"/>
                      </a:lnTo>
                      <a:lnTo>
                        <a:pt x="1889531" y="754138"/>
                      </a:lnTo>
                      <a:lnTo>
                        <a:pt x="1888591" y="755713"/>
                      </a:lnTo>
                      <a:lnTo>
                        <a:pt x="1888617" y="756475"/>
                      </a:lnTo>
                      <a:lnTo>
                        <a:pt x="1888718" y="756970"/>
                      </a:lnTo>
                      <a:lnTo>
                        <a:pt x="1890293" y="758977"/>
                      </a:lnTo>
                      <a:lnTo>
                        <a:pt x="1891233" y="760145"/>
                      </a:lnTo>
                      <a:lnTo>
                        <a:pt x="1892350" y="760679"/>
                      </a:lnTo>
                      <a:lnTo>
                        <a:pt x="1890268" y="762254"/>
                      </a:lnTo>
                      <a:lnTo>
                        <a:pt x="1892388" y="761250"/>
                      </a:lnTo>
                      <a:lnTo>
                        <a:pt x="1894344" y="759917"/>
                      </a:lnTo>
                      <a:lnTo>
                        <a:pt x="1896516" y="758977"/>
                      </a:lnTo>
                      <a:lnTo>
                        <a:pt x="1897024" y="759917"/>
                      </a:lnTo>
                      <a:lnTo>
                        <a:pt x="1897049" y="760145"/>
                      </a:lnTo>
                      <a:lnTo>
                        <a:pt x="1895157" y="761098"/>
                      </a:lnTo>
                      <a:lnTo>
                        <a:pt x="1896859" y="762101"/>
                      </a:lnTo>
                      <a:lnTo>
                        <a:pt x="1897938" y="761149"/>
                      </a:lnTo>
                      <a:lnTo>
                        <a:pt x="1898700" y="760869"/>
                      </a:lnTo>
                      <a:lnTo>
                        <a:pt x="1897862" y="759701"/>
                      </a:lnTo>
                      <a:lnTo>
                        <a:pt x="1897176" y="758977"/>
                      </a:lnTo>
                      <a:lnTo>
                        <a:pt x="1896668" y="758444"/>
                      </a:lnTo>
                      <a:lnTo>
                        <a:pt x="1895348" y="757834"/>
                      </a:lnTo>
                      <a:lnTo>
                        <a:pt x="1895703" y="757339"/>
                      </a:lnTo>
                      <a:lnTo>
                        <a:pt x="1896973" y="756589"/>
                      </a:lnTo>
                      <a:lnTo>
                        <a:pt x="1896287" y="755129"/>
                      </a:lnTo>
                      <a:lnTo>
                        <a:pt x="1895932" y="754430"/>
                      </a:lnTo>
                      <a:lnTo>
                        <a:pt x="1895652" y="753554"/>
                      </a:lnTo>
                      <a:lnTo>
                        <a:pt x="1897126" y="753554"/>
                      </a:lnTo>
                      <a:lnTo>
                        <a:pt x="1896579" y="752119"/>
                      </a:lnTo>
                      <a:lnTo>
                        <a:pt x="1899513" y="753452"/>
                      </a:lnTo>
                      <a:lnTo>
                        <a:pt x="1900021" y="755713"/>
                      </a:lnTo>
                      <a:lnTo>
                        <a:pt x="1901367" y="757834"/>
                      </a:lnTo>
                      <a:lnTo>
                        <a:pt x="1902180" y="758977"/>
                      </a:lnTo>
                      <a:lnTo>
                        <a:pt x="1902841" y="760196"/>
                      </a:lnTo>
                      <a:lnTo>
                        <a:pt x="1901837" y="760298"/>
                      </a:lnTo>
                      <a:lnTo>
                        <a:pt x="1901215" y="760933"/>
                      </a:lnTo>
                      <a:lnTo>
                        <a:pt x="1900440" y="761530"/>
                      </a:lnTo>
                      <a:lnTo>
                        <a:pt x="1901431" y="761377"/>
                      </a:lnTo>
                      <a:lnTo>
                        <a:pt x="1902409" y="761174"/>
                      </a:lnTo>
                      <a:lnTo>
                        <a:pt x="1903298" y="761377"/>
                      </a:lnTo>
                      <a:lnTo>
                        <a:pt x="1902561" y="761974"/>
                      </a:lnTo>
                      <a:lnTo>
                        <a:pt x="1901482" y="766445"/>
                      </a:lnTo>
                      <a:lnTo>
                        <a:pt x="1900707" y="765848"/>
                      </a:lnTo>
                      <a:lnTo>
                        <a:pt x="1899170" y="770102"/>
                      </a:lnTo>
                      <a:lnTo>
                        <a:pt x="1894928" y="770267"/>
                      </a:lnTo>
                      <a:lnTo>
                        <a:pt x="1896656" y="775525"/>
                      </a:lnTo>
                      <a:lnTo>
                        <a:pt x="1899780" y="782904"/>
                      </a:lnTo>
                      <a:lnTo>
                        <a:pt x="1895741" y="780846"/>
                      </a:lnTo>
                      <a:lnTo>
                        <a:pt x="1896008" y="781037"/>
                      </a:lnTo>
                      <a:lnTo>
                        <a:pt x="1895944" y="781164"/>
                      </a:lnTo>
                      <a:lnTo>
                        <a:pt x="1895817" y="781761"/>
                      </a:lnTo>
                      <a:lnTo>
                        <a:pt x="1897634" y="783043"/>
                      </a:lnTo>
                      <a:lnTo>
                        <a:pt x="1898637" y="783450"/>
                      </a:lnTo>
                      <a:lnTo>
                        <a:pt x="1899666" y="783424"/>
                      </a:lnTo>
                      <a:lnTo>
                        <a:pt x="1901063" y="783958"/>
                      </a:lnTo>
                      <a:lnTo>
                        <a:pt x="1902180" y="785355"/>
                      </a:lnTo>
                      <a:lnTo>
                        <a:pt x="1902993" y="784313"/>
                      </a:lnTo>
                      <a:lnTo>
                        <a:pt x="1903603" y="783450"/>
                      </a:lnTo>
                      <a:lnTo>
                        <a:pt x="1902968" y="782904"/>
                      </a:lnTo>
                      <a:lnTo>
                        <a:pt x="1902066" y="782116"/>
                      </a:lnTo>
                      <a:lnTo>
                        <a:pt x="1901482" y="780478"/>
                      </a:lnTo>
                      <a:lnTo>
                        <a:pt x="1901215" y="779627"/>
                      </a:lnTo>
                      <a:lnTo>
                        <a:pt x="1901444" y="778421"/>
                      </a:lnTo>
                      <a:lnTo>
                        <a:pt x="1902942" y="776490"/>
                      </a:lnTo>
                      <a:lnTo>
                        <a:pt x="1904682" y="774801"/>
                      </a:lnTo>
                      <a:lnTo>
                        <a:pt x="1905457" y="776706"/>
                      </a:lnTo>
                      <a:lnTo>
                        <a:pt x="1905723" y="777430"/>
                      </a:lnTo>
                      <a:lnTo>
                        <a:pt x="1904796" y="778217"/>
                      </a:lnTo>
                      <a:lnTo>
                        <a:pt x="1904415" y="778217"/>
                      </a:lnTo>
                      <a:lnTo>
                        <a:pt x="1904873" y="782701"/>
                      </a:lnTo>
                      <a:lnTo>
                        <a:pt x="1905279" y="783043"/>
                      </a:lnTo>
                      <a:lnTo>
                        <a:pt x="1905279" y="783450"/>
                      </a:lnTo>
                      <a:lnTo>
                        <a:pt x="1903603" y="787171"/>
                      </a:lnTo>
                      <a:lnTo>
                        <a:pt x="1905723" y="785761"/>
                      </a:lnTo>
                      <a:lnTo>
                        <a:pt x="1907997" y="784466"/>
                      </a:lnTo>
                      <a:lnTo>
                        <a:pt x="1909940" y="782904"/>
                      </a:lnTo>
                      <a:lnTo>
                        <a:pt x="1909914" y="782701"/>
                      </a:lnTo>
                      <a:lnTo>
                        <a:pt x="1909584" y="782116"/>
                      </a:lnTo>
                      <a:lnTo>
                        <a:pt x="1910092" y="780846"/>
                      </a:lnTo>
                      <a:lnTo>
                        <a:pt x="1910207" y="780478"/>
                      </a:lnTo>
                      <a:lnTo>
                        <a:pt x="1910346" y="779792"/>
                      </a:lnTo>
                      <a:lnTo>
                        <a:pt x="1913445" y="781126"/>
                      </a:lnTo>
                      <a:lnTo>
                        <a:pt x="1915820" y="771702"/>
                      </a:lnTo>
                      <a:lnTo>
                        <a:pt x="1917179" y="768616"/>
                      </a:lnTo>
                      <a:lnTo>
                        <a:pt x="1918030" y="766445"/>
                      </a:lnTo>
                      <a:lnTo>
                        <a:pt x="1919097" y="763701"/>
                      </a:lnTo>
                      <a:lnTo>
                        <a:pt x="1920125" y="761174"/>
                      </a:lnTo>
                      <a:lnTo>
                        <a:pt x="1921179" y="758507"/>
                      </a:lnTo>
                      <a:lnTo>
                        <a:pt x="1922729" y="757682"/>
                      </a:lnTo>
                      <a:lnTo>
                        <a:pt x="1923326" y="756577"/>
                      </a:lnTo>
                      <a:lnTo>
                        <a:pt x="1922767" y="756577"/>
                      </a:lnTo>
                      <a:lnTo>
                        <a:pt x="1922653" y="755713"/>
                      </a:lnTo>
                      <a:lnTo>
                        <a:pt x="1922614" y="752119"/>
                      </a:lnTo>
                      <a:lnTo>
                        <a:pt x="1922614" y="751992"/>
                      </a:lnTo>
                      <a:lnTo>
                        <a:pt x="1921624" y="751586"/>
                      </a:lnTo>
                      <a:lnTo>
                        <a:pt x="1920722" y="751217"/>
                      </a:lnTo>
                      <a:lnTo>
                        <a:pt x="1919185" y="751586"/>
                      </a:lnTo>
                      <a:lnTo>
                        <a:pt x="1917954" y="751433"/>
                      </a:lnTo>
                      <a:lnTo>
                        <a:pt x="1915248" y="750658"/>
                      </a:lnTo>
                      <a:lnTo>
                        <a:pt x="1915375" y="750201"/>
                      </a:lnTo>
                      <a:lnTo>
                        <a:pt x="1915477" y="749858"/>
                      </a:lnTo>
                      <a:lnTo>
                        <a:pt x="1915439" y="750036"/>
                      </a:lnTo>
                      <a:lnTo>
                        <a:pt x="1916061" y="749858"/>
                      </a:lnTo>
                      <a:lnTo>
                        <a:pt x="1916950" y="749604"/>
                      </a:lnTo>
                      <a:lnTo>
                        <a:pt x="1918144" y="748334"/>
                      </a:lnTo>
                      <a:lnTo>
                        <a:pt x="1918169" y="748080"/>
                      </a:lnTo>
                      <a:lnTo>
                        <a:pt x="1918347" y="746683"/>
                      </a:lnTo>
                      <a:lnTo>
                        <a:pt x="1918563" y="744969"/>
                      </a:lnTo>
                      <a:lnTo>
                        <a:pt x="1916023" y="744397"/>
                      </a:lnTo>
                      <a:lnTo>
                        <a:pt x="1915706" y="744969"/>
                      </a:lnTo>
                      <a:lnTo>
                        <a:pt x="1914398" y="745782"/>
                      </a:lnTo>
                      <a:lnTo>
                        <a:pt x="1914512" y="746239"/>
                      </a:lnTo>
                      <a:lnTo>
                        <a:pt x="1910854" y="746683"/>
                      </a:lnTo>
                      <a:lnTo>
                        <a:pt x="1908378" y="744448"/>
                      </a:lnTo>
                      <a:lnTo>
                        <a:pt x="1906841" y="743051"/>
                      </a:lnTo>
                      <a:lnTo>
                        <a:pt x="1907374" y="742022"/>
                      </a:lnTo>
                      <a:lnTo>
                        <a:pt x="1907489" y="741781"/>
                      </a:lnTo>
                      <a:lnTo>
                        <a:pt x="1907882" y="741032"/>
                      </a:lnTo>
                      <a:lnTo>
                        <a:pt x="1907997" y="740791"/>
                      </a:lnTo>
                      <a:lnTo>
                        <a:pt x="1915744" y="740791"/>
                      </a:lnTo>
                      <a:lnTo>
                        <a:pt x="1919566" y="739521"/>
                      </a:lnTo>
                      <a:lnTo>
                        <a:pt x="1919173" y="740791"/>
                      </a:lnTo>
                      <a:lnTo>
                        <a:pt x="1922373" y="740791"/>
                      </a:lnTo>
                      <a:lnTo>
                        <a:pt x="1923262" y="742061"/>
                      </a:lnTo>
                      <a:lnTo>
                        <a:pt x="1923834" y="742061"/>
                      </a:lnTo>
                      <a:lnTo>
                        <a:pt x="1924519" y="739521"/>
                      </a:lnTo>
                      <a:lnTo>
                        <a:pt x="1925891" y="734441"/>
                      </a:lnTo>
                      <a:lnTo>
                        <a:pt x="1926234" y="733171"/>
                      </a:lnTo>
                      <a:lnTo>
                        <a:pt x="1930095" y="735711"/>
                      </a:lnTo>
                      <a:lnTo>
                        <a:pt x="1929930" y="736981"/>
                      </a:lnTo>
                      <a:lnTo>
                        <a:pt x="1935480" y="736981"/>
                      </a:lnTo>
                      <a:lnTo>
                        <a:pt x="1939302" y="734441"/>
                      </a:lnTo>
                      <a:lnTo>
                        <a:pt x="1944585" y="731901"/>
                      </a:lnTo>
                      <a:lnTo>
                        <a:pt x="1947329" y="733171"/>
                      </a:lnTo>
                      <a:lnTo>
                        <a:pt x="1950402" y="731901"/>
                      </a:lnTo>
                      <a:lnTo>
                        <a:pt x="1949945" y="730631"/>
                      </a:lnTo>
                      <a:lnTo>
                        <a:pt x="1951799" y="729361"/>
                      </a:lnTo>
                      <a:lnTo>
                        <a:pt x="1954606" y="728091"/>
                      </a:lnTo>
                      <a:lnTo>
                        <a:pt x="1973580" y="729361"/>
                      </a:lnTo>
                      <a:lnTo>
                        <a:pt x="1971344" y="731901"/>
                      </a:lnTo>
                      <a:lnTo>
                        <a:pt x="1966747" y="735711"/>
                      </a:lnTo>
                      <a:lnTo>
                        <a:pt x="1966442" y="735711"/>
                      </a:lnTo>
                      <a:lnTo>
                        <a:pt x="1967445" y="736981"/>
                      </a:lnTo>
                      <a:lnTo>
                        <a:pt x="1967534" y="738251"/>
                      </a:lnTo>
                      <a:lnTo>
                        <a:pt x="1967103" y="738251"/>
                      </a:lnTo>
                      <a:lnTo>
                        <a:pt x="1967369" y="740791"/>
                      </a:lnTo>
                      <a:lnTo>
                        <a:pt x="1966366" y="742061"/>
                      </a:lnTo>
                      <a:lnTo>
                        <a:pt x="1967877" y="743331"/>
                      </a:lnTo>
                      <a:lnTo>
                        <a:pt x="1969604" y="743331"/>
                      </a:lnTo>
                      <a:lnTo>
                        <a:pt x="1971078" y="744601"/>
                      </a:lnTo>
                      <a:lnTo>
                        <a:pt x="1968068" y="745871"/>
                      </a:lnTo>
                      <a:lnTo>
                        <a:pt x="1976272" y="748411"/>
                      </a:lnTo>
                      <a:lnTo>
                        <a:pt x="1979510" y="745871"/>
                      </a:lnTo>
                      <a:lnTo>
                        <a:pt x="1982558" y="742061"/>
                      </a:lnTo>
                      <a:lnTo>
                        <a:pt x="1984844" y="738251"/>
                      </a:lnTo>
                      <a:lnTo>
                        <a:pt x="1985759" y="736981"/>
                      </a:lnTo>
                      <a:lnTo>
                        <a:pt x="1986534" y="735711"/>
                      </a:lnTo>
                      <a:lnTo>
                        <a:pt x="1989429" y="735711"/>
                      </a:lnTo>
                      <a:lnTo>
                        <a:pt x="1989467" y="734441"/>
                      </a:lnTo>
                      <a:lnTo>
                        <a:pt x="1990166" y="734441"/>
                      </a:lnTo>
                      <a:lnTo>
                        <a:pt x="1990115" y="735711"/>
                      </a:lnTo>
                      <a:lnTo>
                        <a:pt x="1990852" y="735711"/>
                      </a:lnTo>
                      <a:lnTo>
                        <a:pt x="1992134" y="734542"/>
                      </a:lnTo>
                      <a:lnTo>
                        <a:pt x="1991664" y="733171"/>
                      </a:lnTo>
                      <a:lnTo>
                        <a:pt x="1990585" y="731901"/>
                      </a:lnTo>
                      <a:lnTo>
                        <a:pt x="1988769" y="730631"/>
                      </a:lnTo>
                      <a:lnTo>
                        <a:pt x="1987804" y="729361"/>
                      </a:lnTo>
                      <a:lnTo>
                        <a:pt x="1987080" y="730631"/>
                      </a:lnTo>
                      <a:lnTo>
                        <a:pt x="1987842" y="728091"/>
                      </a:lnTo>
                      <a:lnTo>
                        <a:pt x="1988578" y="726821"/>
                      </a:lnTo>
                      <a:lnTo>
                        <a:pt x="1990039" y="723011"/>
                      </a:lnTo>
                      <a:lnTo>
                        <a:pt x="1992439" y="723011"/>
                      </a:lnTo>
                      <a:lnTo>
                        <a:pt x="1992198" y="724281"/>
                      </a:lnTo>
                      <a:lnTo>
                        <a:pt x="1991271" y="725551"/>
                      </a:lnTo>
                      <a:lnTo>
                        <a:pt x="1992591" y="728091"/>
                      </a:lnTo>
                      <a:lnTo>
                        <a:pt x="1992236" y="729361"/>
                      </a:lnTo>
                      <a:lnTo>
                        <a:pt x="1992972" y="726821"/>
                      </a:lnTo>
                      <a:lnTo>
                        <a:pt x="1993201" y="726821"/>
                      </a:lnTo>
                      <a:lnTo>
                        <a:pt x="1993277" y="725551"/>
                      </a:lnTo>
                      <a:lnTo>
                        <a:pt x="1993709" y="725551"/>
                      </a:lnTo>
                      <a:lnTo>
                        <a:pt x="1994433" y="728091"/>
                      </a:lnTo>
                      <a:lnTo>
                        <a:pt x="1994750" y="728091"/>
                      </a:lnTo>
                      <a:lnTo>
                        <a:pt x="1996795" y="729361"/>
                      </a:lnTo>
                      <a:lnTo>
                        <a:pt x="1995868" y="730631"/>
                      </a:lnTo>
                      <a:lnTo>
                        <a:pt x="1998103" y="730631"/>
                      </a:lnTo>
                      <a:lnTo>
                        <a:pt x="2001685" y="729361"/>
                      </a:lnTo>
                      <a:lnTo>
                        <a:pt x="2011248" y="729361"/>
                      </a:lnTo>
                      <a:lnTo>
                        <a:pt x="2013712" y="726821"/>
                      </a:lnTo>
                      <a:lnTo>
                        <a:pt x="2013254" y="725551"/>
                      </a:lnTo>
                      <a:lnTo>
                        <a:pt x="2015223" y="724281"/>
                      </a:lnTo>
                      <a:lnTo>
                        <a:pt x="2015845" y="724281"/>
                      </a:lnTo>
                      <a:lnTo>
                        <a:pt x="2015871" y="723011"/>
                      </a:lnTo>
                      <a:lnTo>
                        <a:pt x="2017763" y="721741"/>
                      </a:lnTo>
                      <a:lnTo>
                        <a:pt x="2020074" y="721741"/>
                      </a:lnTo>
                      <a:lnTo>
                        <a:pt x="2021319" y="723011"/>
                      </a:lnTo>
                      <a:lnTo>
                        <a:pt x="2019846" y="723011"/>
                      </a:lnTo>
                      <a:lnTo>
                        <a:pt x="2018766" y="725551"/>
                      </a:lnTo>
                      <a:lnTo>
                        <a:pt x="2020201" y="729361"/>
                      </a:lnTo>
                      <a:lnTo>
                        <a:pt x="2020417" y="730631"/>
                      </a:lnTo>
                      <a:lnTo>
                        <a:pt x="2020887" y="730631"/>
                      </a:lnTo>
                      <a:lnTo>
                        <a:pt x="2023541" y="728091"/>
                      </a:lnTo>
                      <a:lnTo>
                        <a:pt x="2024697" y="726821"/>
                      </a:lnTo>
                      <a:lnTo>
                        <a:pt x="2024418" y="723011"/>
                      </a:lnTo>
                      <a:lnTo>
                        <a:pt x="2025535" y="721741"/>
                      </a:lnTo>
                      <a:lnTo>
                        <a:pt x="2030907" y="721741"/>
                      </a:lnTo>
                      <a:lnTo>
                        <a:pt x="2033041" y="723011"/>
                      </a:lnTo>
                      <a:lnTo>
                        <a:pt x="2034260" y="724281"/>
                      </a:lnTo>
                      <a:lnTo>
                        <a:pt x="2033727" y="724281"/>
                      </a:lnTo>
                      <a:lnTo>
                        <a:pt x="2034171" y="725551"/>
                      </a:lnTo>
                      <a:lnTo>
                        <a:pt x="2035060" y="725551"/>
                      </a:lnTo>
                      <a:lnTo>
                        <a:pt x="2038388" y="724281"/>
                      </a:lnTo>
                      <a:lnTo>
                        <a:pt x="2042515" y="721741"/>
                      </a:lnTo>
                      <a:lnTo>
                        <a:pt x="2042833" y="716661"/>
                      </a:lnTo>
                      <a:lnTo>
                        <a:pt x="2042909" y="715391"/>
                      </a:lnTo>
                      <a:lnTo>
                        <a:pt x="2045525" y="714121"/>
                      </a:lnTo>
                      <a:lnTo>
                        <a:pt x="2049386" y="711581"/>
                      </a:lnTo>
                      <a:lnTo>
                        <a:pt x="2048116" y="710311"/>
                      </a:lnTo>
                      <a:lnTo>
                        <a:pt x="2047138" y="709041"/>
                      </a:lnTo>
                      <a:lnTo>
                        <a:pt x="2046147" y="707771"/>
                      </a:lnTo>
                      <a:lnTo>
                        <a:pt x="2045500" y="705231"/>
                      </a:lnTo>
                      <a:lnTo>
                        <a:pt x="2044954" y="703961"/>
                      </a:lnTo>
                      <a:lnTo>
                        <a:pt x="2045525" y="702691"/>
                      </a:lnTo>
                      <a:lnTo>
                        <a:pt x="2046020" y="701421"/>
                      </a:lnTo>
                      <a:lnTo>
                        <a:pt x="2047240" y="697611"/>
                      </a:lnTo>
                      <a:lnTo>
                        <a:pt x="2047646" y="696341"/>
                      </a:lnTo>
                      <a:lnTo>
                        <a:pt x="2048687" y="692531"/>
                      </a:lnTo>
                      <a:lnTo>
                        <a:pt x="2050072" y="692531"/>
                      </a:lnTo>
                      <a:lnTo>
                        <a:pt x="2051431" y="691261"/>
                      </a:lnTo>
                      <a:lnTo>
                        <a:pt x="2051316" y="687451"/>
                      </a:lnTo>
                      <a:lnTo>
                        <a:pt x="2051075" y="683641"/>
                      </a:lnTo>
                      <a:lnTo>
                        <a:pt x="2050148" y="678561"/>
                      </a:lnTo>
                      <a:lnTo>
                        <a:pt x="2050503" y="672211"/>
                      </a:lnTo>
                      <a:lnTo>
                        <a:pt x="2051240" y="670941"/>
                      </a:lnTo>
                      <a:lnTo>
                        <a:pt x="2052205" y="669671"/>
                      </a:lnTo>
                      <a:lnTo>
                        <a:pt x="2053971" y="668401"/>
                      </a:lnTo>
                      <a:lnTo>
                        <a:pt x="2054898" y="668401"/>
                      </a:lnTo>
                      <a:lnTo>
                        <a:pt x="2057209" y="667131"/>
                      </a:lnTo>
                      <a:lnTo>
                        <a:pt x="2057946" y="669671"/>
                      </a:lnTo>
                      <a:lnTo>
                        <a:pt x="2058746" y="669671"/>
                      </a:lnTo>
                      <a:lnTo>
                        <a:pt x="2058543" y="667131"/>
                      </a:lnTo>
                      <a:lnTo>
                        <a:pt x="2058441" y="665861"/>
                      </a:lnTo>
                      <a:lnTo>
                        <a:pt x="2057793" y="664591"/>
                      </a:lnTo>
                      <a:lnTo>
                        <a:pt x="2059673" y="659511"/>
                      </a:lnTo>
                      <a:lnTo>
                        <a:pt x="2060600" y="658241"/>
                      </a:lnTo>
                      <a:lnTo>
                        <a:pt x="2060295" y="659511"/>
                      </a:lnTo>
                      <a:lnTo>
                        <a:pt x="2061845" y="658241"/>
                      </a:lnTo>
                      <a:lnTo>
                        <a:pt x="2063229" y="658241"/>
                      </a:lnTo>
                      <a:lnTo>
                        <a:pt x="2064461" y="656971"/>
                      </a:lnTo>
                      <a:lnTo>
                        <a:pt x="2066620" y="650621"/>
                      </a:lnTo>
                      <a:lnTo>
                        <a:pt x="2065731" y="650621"/>
                      </a:lnTo>
                      <a:lnTo>
                        <a:pt x="2068042" y="648081"/>
                      </a:lnTo>
                      <a:close/>
                    </a:path>
                    <a:path w="2464435" h="1539875">
                      <a:moveTo>
                        <a:pt x="2068169" y="855421"/>
                      </a:moveTo>
                      <a:lnTo>
                        <a:pt x="2067725" y="854316"/>
                      </a:lnTo>
                      <a:lnTo>
                        <a:pt x="2067433" y="853859"/>
                      </a:lnTo>
                      <a:lnTo>
                        <a:pt x="2067534" y="854379"/>
                      </a:lnTo>
                      <a:lnTo>
                        <a:pt x="2068169" y="855421"/>
                      </a:lnTo>
                      <a:close/>
                    </a:path>
                    <a:path w="2464435" h="1539875">
                      <a:moveTo>
                        <a:pt x="2120379" y="582790"/>
                      </a:moveTo>
                      <a:lnTo>
                        <a:pt x="2114740" y="583374"/>
                      </a:lnTo>
                      <a:lnTo>
                        <a:pt x="2116023" y="585177"/>
                      </a:lnTo>
                      <a:lnTo>
                        <a:pt x="2115604" y="585012"/>
                      </a:lnTo>
                      <a:lnTo>
                        <a:pt x="2115401" y="584936"/>
                      </a:lnTo>
                      <a:lnTo>
                        <a:pt x="2114283" y="585012"/>
                      </a:lnTo>
                      <a:lnTo>
                        <a:pt x="2112708" y="583946"/>
                      </a:lnTo>
                      <a:lnTo>
                        <a:pt x="2112886" y="582777"/>
                      </a:lnTo>
                      <a:lnTo>
                        <a:pt x="2112276" y="580567"/>
                      </a:lnTo>
                      <a:lnTo>
                        <a:pt x="2111857" y="579653"/>
                      </a:lnTo>
                      <a:lnTo>
                        <a:pt x="2111540" y="578700"/>
                      </a:lnTo>
                      <a:lnTo>
                        <a:pt x="2112276" y="578954"/>
                      </a:lnTo>
                      <a:lnTo>
                        <a:pt x="2113013" y="579450"/>
                      </a:lnTo>
                      <a:lnTo>
                        <a:pt x="2113699" y="579551"/>
                      </a:lnTo>
                      <a:lnTo>
                        <a:pt x="2112949" y="578700"/>
                      </a:lnTo>
                      <a:lnTo>
                        <a:pt x="2112657" y="578370"/>
                      </a:lnTo>
                      <a:lnTo>
                        <a:pt x="2109927" y="577138"/>
                      </a:lnTo>
                      <a:lnTo>
                        <a:pt x="2109609" y="575627"/>
                      </a:lnTo>
                      <a:lnTo>
                        <a:pt x="2110117" y="574306"/>
                      </a:lnTo>
                      <a:lnTo>
                        <a:pt x="2110321" y="573659"/>
                      </a:lnTo>
                      <a:lnTo>
                        <a:pt x="2110460" y="573227"/>
                      </a:lnTo>
                      <a:lnTo>
                        <a:pt x="2110816" y="572427"/>
                      </a:lnTo>
                      <a:lnTo>
                        <a:pt x="2112200" y="570242"/>
                      </a:lnTo>
                      <a:lnTo>
                        <a:pt x="2114778" y="567588"/>
                      </a:lnTo>
                      <a:lnTo>
                        <a:pt x="2113508" y="565924"/>
                      </a:lnTo>
                      <a:lnTo>
                        <a:pt x="2111006" y="567639"/>
                      </a:lnTo>
                      <a:lnTo>
                        <a:pt x="2109038" y="570344"/>
                      </a:lnTo>
                      <a:lnTo>
                        <a:pt x="2106650" y="572427"/>
                      </a:lnTo>
                      <a:lnTo>
                        <a:pt x="2105177" y="573659"/>
                      </a:lnTo>
                      <a:lnTo>
                        <a:pt x="2103755" y="573341"/>
                      </a:lnTo>
                      <a:lnTo>
                        <a:pt x="2100326" y="572833"/>
                      </a:lnTo>
                      <a:lnTo>
                        <a:pt x="2099170" y="572427"/>
                      </a:lnTo>
                      <a:lnTo>
                        <a:pt x="2097468" y="571754"/>
                      </a:lnTo>
                      <a:lnTo>
                        <a:pt x="2096503" y="571677"/>
                      </a:lnTo>
                      <a:lnTo>
                        <a:pt x="2096008" y="571271"/>
                      </a:lnTo>
                      <a:lnTo>
                        <a:pt x="2096503" y="570445"/>
                      </a:lnTo>
                      <a:lnTo>
                        <a:pt x="2096274" y="570280"/>
                      </a:lnTo>
                      <a:lnTo>
                        <a:pt x="2095271" y="569556"/>
                      </a:lnTo>
                      <a:lnTo>
                        <a:pt x="2094471" y="570052"/>
                      </a:lnTo>
                      <a:lnTo>
                        <a:pt x="2088680" y="570280"/>
                      </a:lnTo>
                      <a:lnTo>
                        <a:pt x="2083904" y="564718"/>
                      </a:lnTo>
                      <a:lnTo>
                        <a:pt x="2074443" y="556983"/>
                      </a:lnTo>
                      <a:lnTo>
                        <a:pt x="2069896" y="550760"/>
                      </a:lnTo>
                      <a:lnTo>
                        <a:pt x="2066620" y="546950"/>
                      </a:lnTo>
                      <a:lnTo>
                        <a:pt x="2065007" y="545084"/>
                      </a:lnTo>
                      <a:lnTo>
                        <a:pt x="2064118" y="545757"/>
                      </a:lnTo>
                      <a:lnTo>
                        <a:pt x="2063153" y="546849"/>
                      </a:lnTo>
                      <a:lnTo>
                        <a:pt x="2061921" y="546950"/>
                      </a:lnTo>
                      <a:lnTo>
                        <a:pt x="2060613" y="546862"/>
                      </a:lnTo>
                      <a:lnTo>
                        <a:pt x="2060575" y="546315"/>
                      </a:lnTo>
                      <a:lnTo>
                        <a:pt x="2060498" y="547928"/>
                      </a:lnTo>
                      <a:lnTo>
                        <a:pt x="2060371" y="549389"/>
                      </a:lnTo>
                      <a:lnTo>
                        <a:pt x="2060067" y="551421"/>
                      </a:lnTo>
                      <a:lnTo>
                        <a:pt x="2060448" y="552843"/>
                      </a:lnTo>
                      <a:lnTo>
                        <a:pt x="2060841" y="554189"/>
                      </a:lnTo>
                      <a:lnTo>
                        <a:pt x="2061883" y="555345"/>
                      </a:lnTo>
                      <a:lnTo>
                        <a:pt x="2063584" y="561492"/>
                      </a:lnTo>
                      <a:lnTo>
                        <a:pt x="2061375" y="566356"/>
                      </a:lnTo>
                      <a:lnTo>
                        <a:pt x="2060651" y="573824"/>
                      </a:lnTo>
                      <a:lnTo>
                        <a:pt x="2056015" y="574497"/>
                      </a:lnTo>
                      <a:lnTo>
                        <a:pt x="2056790" y="579945"/>
                      </a:lnTo>
                      <a:lnTo>
                        <a:pt x="2057285" y="582117"/>
                      </a:lnTo>
                      <a:lnTo>
                        <a:pt x="2058060" y="582777"/>
                      </a:lnTo>
                      <a:lnTo>
                        <a:pt x="2055825" y="585228"/>
                      </a:lnTo>
                      <a:lnTo>
                        <a:pt x="2054288" y="587336"/>
                      </a:lnTo>
                      <a:lnTo>
                        <a:pt x="2051507" y="586016"/>
                      </a:lnTo>
                      <a:lnTo>
                        <a:pt x="2050973" y="585762"/>
                      </a:lnTo>
                      <a:lnTo>
                        <a:pt x="2051697" y="585558"/>
                      </a:lnTo>
                      <a:lnTo>
                        <a:pt x="2049805" y="585406"/>
                      </a:lnTo>
                      <a:lnTo>
                        <a:pt x="2049119" y="586016"/>
                      </a:lnTo>
                      <a:lnTo>
                        <a:pt x="2047646" y="585635"/>
                      </a:lnTo>
                      <a:lnTo>
                        <a:pt x="2046770" y="584593"/>
                      </a:lnTo>
                      <a:lnTo>
                        <a:pt x="2044954" y="583450"/>
                      </a:lnTo>
                      <a:lnTo>
                        <a:pt x="2042528" y="582155"/>
                      </a:lnTo>
                      <a:lnTo>
                        <a:pt x="2041525" y="585635"/>
                      </a:lnTo>
                      <a:lnTo>
                        <a:pt x="2043379" y="586701"/>
                      </a:lnTo>
                      <a:lnTo>
                        <a:pt x="2044649" y="589457"/>
                      </a:lnTo>
                      <a:lnTo>
                        <a:pt x="2044103" y="589280"/>
                      </a:lnTo>
                      <a:lnTo>
                        <a:pt x="2042756" y="590740"/>
                      </a:lnTo>
                      <a:lnTo>
                        <a:pt x="2042452" y="591096"/>
                      </a:lnTo>
                      <a:lnTo>
                        <a:pt x="2041448" y="593229"/>
                      </a:lnTo>
                      <a:lnTo>
                        <a:pt x="2040331" y="593598"/>
                      </a:lnTo>
                      <a:lnTo>
                        <a:pt x="2040293" y="592620"/>
                      </a:lnTo>
                      <a:lnTo>
                        <a:pt x="2038781" y="593166"/>
                      </a:lnTo>
                      <a:lnTo>
                        <a:pt x="2038248" y="594461"/>
                      </a:lnTo>
                      <a:lnTo>
                        <a:pt x="2036902" y="595007"/>
                      </a:lnTo>
                      <a:lnTo>
                        <a:pt x="2036013" y="594512"/>
                      </a:lnTo>
                      <a:lnTo>
                        <a:pt x="2034235" y="595807"/>
                      </a:lnTo>
                      <a:lnTo>
                        <a:pt x="2033943" y="598893"/>
                      </a:lnTo>
                      <a:lnTo>
                        <a:pt x="2033841" y="602805"/>
                      </a:lnTo>
                      <a:lnTo>
                        <a:pt x="2035695" y="603250"/>
                      </a:lnTo>
                      <a:lnTo>
                        <a:pt x="2039556" y="606831"/>
                      </a:lnTo>
                      <a:lnTo>
                        <a:pt x="2038705" y="608355"/>
                      </a:lnTo>
                      <a:lnTo>
                        <a:pt x="2037397" y="611568"/>
                      </a:lnTo>
                      <a:lnTo>
                        <a:pt x="2037207" y="612140"/>
                      </a:lnTo>
                      <a:lnTo>
                        <a:pt x="2036597" y="613333"/>
                      </a:lnTo>
                      <a:lnTo>
                        <a:pt x="2036851" y="614311"/>
                      </a:lnTo>
                      <a:lnTo>
                        <a:pt x="2037041" y="614984"/>
                      </a:lnTo>
                      <a:lnTo>
                        <a:pt x="2039670" y="617042"/>
                      </a:lnTo>
                      <a:lnTo>
                        <a:pt x="2042414" y="614311"/>
                      </a:lnTo>
                      <a:lnTo>
                        <a:pt x="2043480" y="612775"/>
                      </a:lnTo>
                      <a:lnTo>
                        <a:pt x="2043264" y="612343"/>
                      </a:lnTo>
                      <a:lnTo>
                        <a:pt x="2043684" y="611924"/>
                      </a:lnTo>
                      <a:lnTo>
                        <a:pt x="2044026" y="611543"/>
                      </a:lnTo>
                      <a:lnTo>
                        <a:pt x="2046617" y="610069"/>
                      </a:lnTo>
                      <a:lnTo>
                        <a:pt x="2045690" y="609930"/>
                      </a:lnTo>
                      <a:lnTo>
                        <a:pt x="2047532" y="609803"/>
                      </a:lnTo>
                      <a:lnTo>
                        <a:pt x="2048929" y="610501"/>
                      </a:lnTo>
                      <a:lnTo>
                        <a:pt x="2050897" y="611276"/>
                      </a:lnTo>
                      <a:lnTo>
                        <a:pt x="2051126" y="612025"/>
                      </a:lnTo>
                      <a:lnTo>
                        <a:pt x="2052561" y="609803"/>
                      </a:lnTo>
                      <a:lnTo>
                        <a:pt x="2052955" y="609180"/>
                      </a:lnTo>
                      <a:lnTo>
                        <a:pt x="2053590" y="608190"/>
                      </a:lnTo>
                      <a:lnTo>
                        <a:pt x="2052510" y="609180"/>
                      </a:lnTo>
                      <a:lnTo>
                        <a:pt x="2051088" y="608190"/>
                      </a:lnTo>
                      <a:lnTo>
                        <a:pt x="2050008" y="607466"/>
                      </a:lnTo>
                      <a:lnTo>
                        <a:pt x="2049348" y="605980"/>
                      </a:lnTo>
                      <a:lnTo>
                        <a:pt x="2047532" y="604634"/>
                      </a:lnTo>
                      <a:lnTo>
                        <a:pt x="2047227" y="604405"/>
                      </a:lnTo>
                      <a:lnTo>
                        <a:pt x="2047341" y="604634"/>
                      </a:lnTo>
                      <a:lnTo>
                        <a:pt x="2044979" y="604393"/>
                      </a:lnTo>
                      <a:lnTo>
                        <a:pt x="2044763" y="604367"/>
                      </a:lnTo>
                      <a:lnTo>
                        <a:pt x="2041906" y="602488"/>
                      </a:lnTo>
                      <a:lnTo>
                        <a:pt x="2040521" y="602335"/>
                      </a:lnTo>
                      <a:lnTo>
                        <a:pt x="2042452" y="596595"/>
                      </a:lnTo>
                      <a:lnTo>
                        <a:pt x="2045195" y="596061"/>
                      </a:lnTo>
                      <a:lnTo>
                        <a:pt x="2049043" y="598157"/>
                      </a:lnTo>
                      <a:lnTo>
                        <a:pt x="2049424" y="598893"/>
                      </a:lnTo>
                      <a:lnTo>
                        <a:pt x="2050034" y="599490"/>
                      </a:lnTo>
                      <a:lnTo>
                        <a:pt x="2051202" y="600811"/>
                      </a:lnTo>
                      <a:lnTo>
                        <a:pt x="2050542" y="601167"/>
                      </a:lnTo>
                      <a:lnTo>
                        <a:pt x="2051900" y="601764"/>
                      </a:lnTo>
                      <a:lnTo>
                        <a:pt x="2054936" y="598436"/>
                      </a:lnTo>
                      <a:lnTo>
                        <a:pt x="2058708" y="596061"/>
                      </a:lnTo>
                      <a:lnTo>
                        <a:pt x="2058987" y="595884"/>
                      </a:lnTo>
                      <a:lnTo>
                        <a:pt x="2061070" y="596163"/>
                      </a:lnTo>
                      <a:lnTo>
                        <a:pt x="2064969" y="596976"/>
                      </a:lnTo>
                      <a:lnTo>
                        <a:pt x="2067102" y="598462"/>
                      </a:lnTo>
                      <a:lnTo>
                        <a:pt x="2069058" y="599490"/>
                      </a:lnTo>
                      <a:lnTo>
                        <a:pt x="2070023" y="600519"/>
                      </a:lnTo>
                      <a:lnTo>
                        <a:pt x="2074329" y="603072"/>
                      </a:lnTo>
                      <a:lnTo>
                        <a:pt x="2078532" y="603694"/>
                      </a:lnTo>
                      <a:lnTo>
                        <a:pt x="2081657" y="606132"/>
                      </a:lnTo>
                      <a:lnTo>
                        <a:pt x="2082355" y="607161"/>
                      </a:lnTo>
                      <a:lnTo>
                        <a:pt x="2084044" y="607707"/>
                      </a:lnTo>
                      <a:lnTo>
                        <a:pt x="2084514" y="605574"/>
                      </a:lnTo>
                      <a:lnTo>
                        <a:pt x="2084933" y="602322"/>
                      </a:lnTo>
                      <a:lnTo>
                        <a:pt x="2084806" y="601764"/>
                      </a:lnTo>
                      <a:lnTo>
                        <a:pt x="2084819" y="601167"/>
                      </a:lnTo>
                      <a:lnTo>
                        <a:pt x="2086635" y="598131"/>
                      </a:lnTo>
                      <a:lnTo>
                        <a:pt x="2087638" y="596595"/>
                      </a:lnTo>
                      <a:lnTo>
                        <a:pt x="2088388" y="595884"/>
                      </a:lnTo>
                      <a:lnTo>
                        <a:pt x="2089302" y="595007"/>
                      </a:lnTo>
                      <a:lnTo>
                        <a:pt x="2090140" y="594182"/>
                      </a:lnTo>
                      <a:lnTo>
                        <a:pt x="2090661" y="593598"/>
                      </a:lnTo>
                      <a:lnTo>
                        <a:pt x="2092185" y="591883"/>
                      </a:lnTo>
                      <a:lnTo>
                        <a:pt x="2095969" y="590080"/>
                      </a:lnTo>
                      <a:lnTo>
                        <a:pt x="2100402" y="590092"/>
                      </a:lnTo>
                      <a:lnTo>
                        <a:pt x="2104263" y="590308"/>
                      </a:lnTo>
                      <a:lnTo>
                        <a:pt x="2104491" y="590410"/>
                      </a:lnTo>
                      <a:lnTo>
                        <a:pt x="2105215" y="590080"/>
                      </a:lnTo>
                      <a:lnTo>
                        <a:pt x="2105939" y="589749"/>
                      </a:lnTo>
                      <a:lnTo>
                        <a:pt x="2105863" y="589457"/>
                      </a:lnTo>
                      <a:lnTo>
                        <a:pt x="2105177" y="588098"/>
                      </a:lnTo>
                      <a:lnTo>
                        <a:pt x="2106803" y="589318"/>
                      </a:lnTo>
                      <a:lnTo>
                        <a:pt x="2107146" y="589635"/>
                      </a:lnTo>
                      <a:lnTo>
                        <a:pt x="2108377" y="589749"/>
                      </a:lnTo>
                      <a:lnTo>
                        <a:pt x="2109114" y="589191"/>
                      </a:lnTo>
                      <a:lnTo>
                        <a:pt x="2111070" y="588098"/>
                      </a:lnTo>
                      <a:lnTo>
                        <a:pt x="2112429" y="587336"/>
                      </a:lnTo>
                      <a:lnTo>
                        <a:pt x="2113318" y="586841"/>
                      </a:lnTo>
                      <a:lnTo>
                        <a:pt x="2116175" y="585177"/>
                      </a:lnTo>
                      <a:lnTo>
                        <a:pt x="2120379" y="582790"/>
                      </a:lnTo>
                      <a:close/>
                    </a:path>
                    <a:path w="2464435" h="1539875">
                      <a:moveTo>
                        <a:pt x="2426779" y="1469390"/>
                      </a:moveTo>
                      <a:lnTo>
                        <a:pt x="2426436" y="1467396"/>
                      </a:lnTo>
                      <a:lnTo>
                        <a:pt x="2425636" y="1465465"/>
                      </a:lnTo>
                      <a:lnTo>
                        <a:pt x="2425065" y="1463548"/>
                      </a:lnTo>
                      <a:lnTo>
                        <a:pt x="2424404" y="1462506"/>
                      </a:lnTo>
                      <a:lnTo>
                        <a:pt x="2423833" y="1461681"/>
                      </a:lnTo>
                      <a:lnTo>
                        <a:pt x="2424595" y="1460779"/>
                      </a:lnTo>
                      <a:lnTo>
                        <a:pt x="2422360" y="1459915"/>
                      </a:lnTo>
                      <a:lnTo>
                        <a:pt x="2423668" y="1463243"/>
                      </a:lnTo>
                      <a:lnTo>
                        <a:pt x="2421242" y="1464818"/>
                      </a:lnTo>
                      <a:lnTo>
                        <a:pt x="2420823" y="1463725"/>
                      </a:lnTo>
                      <a:lnTo>
                        <a:pt x="2420124" y="1462176"/>
                      </a:lnTo>
                      <a:lnTo>
                        <a:pt x="2420353" y="1461135"/>
                      </a:lnTo>
                      <a:lnTo>
                        <a:pt x="2420048" y="1460284"/>
                      </a:lnTo>
                      <a:lnTo>
                        <a:pt x="2419807" y="1459496"/>
                      </a:lnTo>
                      <a:lnTo>
                        <a:pt x="2419527" y="1459230"/>
                      </a:lnTo>
                      <a:lnTo>
                        <a:pt x="2418943" y="1458480"/>
                      </a:lnTo>
                      <a:lnTo>
                        <a:pt x="2417889" y="1456740"/>
                      </a:lnTo>
                      <a:lnTo>
                        <a:pt x="2416810" y="1455115"/>
                      </a:lnTo>
                      <a:lnTo>
                        <a:pt x="2416721" y="1459153"/>
                      </a:lnTo>
                      <a:lnTo>
                        <a:pt x="2416848" y="1459953"/>
                      </a:lnTo>
                      <a:lnTo>
                        <a:pt x="2417064" y="1460944"/>
                      </a:lnTo>
                      <a:lnTo>
                        <a:pt x="2417457" y="1461897"/>
                      </a:lnTo>
                      <a:lnTo>
                        <a:pt x="2418194" y="1464322"/>
                      </a:lnTo>
                      <a:lnTo>
                        <a:pt x="2418156" y="1465262"/>
                      </a:lnTo>
                      <a:lnTo>
                        <a:pt x="2418321" y="1468005"/>
                      </a:lnTo>
                      <a:lnTo>
                        <a:pt x="2420251" y="1470063"/>
                      </a:lnTo>
                      <a:lnTo>
                        <a:pt x="2420048" y="1471041"/>
                      </a:lnTo>
                      <a:lnTo>
                        <a:pt x="2421128" y="1470914"/>
                      </a:lnTo>
                      <a:lnTo>
                        <a:pt x="2422169" y="1470393"/>
                      </a:lnTo>
                      <a:lnTo>
                        <a:pt x="2423591" y="1470190"/>
                      </a:lnTo>
                      <a:lnTo>
                        <a:pt x="2424061" y="1470571"/>
                      </a:lnTo>
                      <a:lnTo>
                        <a:pt x="2425268" y="1470202"/>
                      </a:lnTo>
                      <a:lnTo>
                        <a:pt x="2425598" y="1469047"/>
                      </a:lnTo>
                      <a:lnTo>
                        <a:pt x="2426766" y="1469453"/>
                      </a:lnTo>
                      <a:close/>
                    </a:path>
                    <a:path w="2464435" h="1539875">
                      <a:moveTo>
                        <a:pt x="2427325" y="1471269"/>
                      </a:moveTo>
                      <a:lnTo>
                        <a:pt x="2426512" y="1470736"/>
                      </a:lnTo>
                      <a:lnTo>
                        <a:pt x="2425293" y="1470901"/>
                      </a:lnTo>
                      <a:lnTo>
                        <a:pt x="2425115" y="1470926"/>
                      </a:lnTo>
                      <a:lnTo>
                        <a:pt x="2424912" y="1470964"/>
                      </a:lnTo>
                      <a:lnTo>
                        <a:pt x="2424709" y="1471015"/>
                      </a:lnTo>
                      <a:lnTo>
                        <a:pt x="2424823" y="1471142"/>
                      </a:lnTo>
                      <a:lnTo>
                        <a:pt x="2425281" y="1471790"/>
                      </a:lnTo>
                      <a:lnTo>
                        <a:pt x="2425814" y="1472285"/>
                      </a:lnTo>
                      <a:lnTo>
                        <a:pt x="2426297" y="1472806"/>
                      </a:lnTo>
                      <a:lnTo>
                        <a:pt x="2427325" y="1471269"/>
                      </a:lnTo>
                      <a:close/>
                    </a:path>
                    <a:path w="2464435" h="1539875">
                      <a:moveTo>
                        <a:pt x="2431554" y="1445006"/>
                      </a:moveTo>
                      <a:lnTo>
                        <a:pt x="2431465" y="1443977"/>
                      </a:lnTo>
                      <a:lnTo>
                        <a:pt x="2431211" y="1443520"/>
                      </a:lnTo>
                      <a:lnTo>
                        <a:pt x="2430500" y="1442897"/>
                      </a:lnTo>
                      <a:lnTo>
                        <a:pt x="2430373" y="1443367"/>
                      </a:lnTo>
                      <a:lnTo>
                        <a:pt x="2430297" y="1444345"/>
                      </a:lnTo>
                      <a:lnTo>
                        <a:pt x="2430259" y="1445031"/>
                      </a:lnTo>
                      <a:lnTo>
                        <a:pt x="2430234" y="1446403"/>
                      </a:lnTo>
                      <a:lnTo>
                        <a:pt x="2431097" y="1445577"/>
                      </a:lnTo>
                      <a:lnTo>
                        <a:pt x="2431554" y="1445006"/>
                      </a:lnTo>
                      <a:close/>
                    </a:path>
                    <a:path w="2464435" h="1539875">
                      <a:moveTo>
                        <a:pt x="2432443" y="1449920"/>
                      </a:moveTo>
                      <a:lnTo>
                        <a:pt x="2430335" y="1448968"/>
                      </a:lnTo>
                      <a:lnTo>
                        <a:pt x="2428989" y="1450784"/>
                      </a:lnTo>
                      <a:lnTo>
                        <a:pt x="2429586" y="1451571"/>
                      </a:lnTo>
                      <a:lnTo>
                        <a:pt x="2429789" y="1451838"/>
                      </a:lnTo>
                      <a:lnTo>
                        <a:pt x="2430208" y="1451991"/>
                      </a:lnTo>
                      <a:lnTo>
                        <a:pt x="2430970" y="1451902"/>
                      </a:lnTo>
                      <a:lnTo>
                        <a:pt x="2431110" y="1451787"/>
                      </a:lnTo>
                      <a:lnTo>
                        <a:pt x="2431224" y="1451648"/>
                      </a:lnTo>
                      <a:lnTo>
                        <a:pt x="2431351" y="1451521"/>
                      </a:lnTo>
                      <a:lnTo>
                        <a:pt x="2432024" y="1450809"/>
                      </a:lnTo>
                      <a:lnTo>
                        <a:pt x="2432443" y="1449920"/>
                      </a:lnTo>
                      <a:close/>
                    </a:path>
                    <a:path w="2464435" h="1539875">
                      <a:moveTo>
                        <a:pt x="2433548" y="1441919"/>
                      </a:moveTo>
                      <a:lnTo>
                        <a:pt x="2432939" y="1442415"/>
                      </a:lnTo>
                      <a:lnTo>
                        <a:pt x="2433243" y="1442186"/>
                      </a:lnTo>
                      <a:lnTo>
                        <a:pt x="2433548" y="1441919"/>
                      </a:lnTo>
                      <a:close/>
                    </a:path>
                    <a:path w="2464435" h="1539875">
                      <a:moveTo>
                        <a:pt x="2435275" y="1482636"/>
                      </a:moveTo>
                      <a:lnTo>
                        <a:pt x="2435123" y="1482725"/>
                      </a:lnTo>
                      <a:lnTo>
                        <a:pt x="2435009" y="1482890"/>
                      </a:lnTo>
                      <a:lnTo>
                        <a:pt x="2434818" y="1482966"/>
                      </a:lnTo>
                      <a:lnTo>
                        <a:pt x="2434818" y="1481556"/>
                      </a:lnTo>
                      <a:lnTo>
                        <a:pt x="2433713" y="1480743"/>
                      </a:lnTo>
                      <a:lnTo>
                        <a:pt x="2431656" y="1479372"/>
                      </a:lnTo>
                      <a:lnTo>
                        <a:pt x="2430729" y="1478788"/>
                      </a:lnTo>
                      <a:lnTo>
                        <a:pt x="2430234" y="1477975"/>
                      </a:lnTo>
                      <a:lnTo>
                        <a:pt x="2430195" y="1478114"/>
                      </a:lnTo>
                      <a:lnTo>
                        <a:pt x="2430272" y="1478267"/>
                      </a:lnTo>
                      <a:lnTo>
                        <a:pt x="2430234" y="1478407"/>
                      </a:lnTo>
                      <a:lnTo>
                        <a:pt x="2429268" y="1477911"/>
                      </a:lnTo>
                      <a:lnTo>
                        <a:pt x="2429027" y="1476362"/>
                      </a:lnTo>
                      <a:lnTo>
                        <a:pt x="2426144" y="1474012"/>
                      </a:lnTo>
                      <a:lnTo>
                        <a:pt x="2426525" y="1474876"/>
                      </a:lnTo>
                      <a:lnTo>
                        <a:pt x="2426106" y="1475994"/>
                      </a:lnTo>
                      <a:lnTo>
                        <a:pt x="2425611" y="1477187"/>
                      </a:lnTo>
                      <a:lnTo>
                        <a:pt x="2425331" y="1478153"/>
                      </a:lnTo>
                      <a:lnTo>
                        <a:pt x="2427960" y="1479156"/>
                      </a:lnTo>
                      <a:lnTo>
                        <a:pt x="2427884" y="1477708"/>
                      </a:lnTo>
                      <a:lnTo>
                        <a:pt x="2428760" y="1479169"/>
                      </a:lnTo>
                      <a:lnTo>
                        <a:pt x="2429027" y="1479677"/>
                      </a:lnTo>
                      <a:lnTo>
                        <a:pt x="2428849" y="1480337"/>
                      </a:lnTo>
                      <a:lnTo>
                        <a:pt x="2428925" y="1480870"/>
                      </a:lnTo>
                      <a:lnTo>
                        <a:pt x="2429154" y="1482064"/>
                      </a:lnTo>
                      <a:lnTo>
                        <a:pt x="2429497" y="1484528"/>
                      </a:lnTo>
                      <a:lnTo>
                        <a:pt x="2430576" y="1485099"/>
                      </a:lnTo>
                      <a:lnTo>
                        <a:pt x="2431465" y="1484718"/>
                      </a:lnTo>
                      <a:lnTo>
                        <a:pt x="2432659" y="1484337"/>
                      </a:lnTo>
                      <a:lnTo>
                        <a:pt x="2434348" y="1483499"/>
                      </a:lnTo>
                      <a:lnTo>
                        <a:pt x="2434945" y="1483131"/>
                      </a:lnTo>
                      <a:lnTo>
                        <a:pt x="2435275" y="1482636"/>
                      </a:lnTo>
                      <a:close/>
                    </a:path>
                    <a:path w="2464435" h="1539875">
                      <a:moveTo>
                        <a:pt x="2437866" y="1466100"/>
                      </a:moveTo>
                      <a:lnTo>
                        <a:pt x="2435999" y="1465922"/>
                      </a:lnTo>
                      <a:lnTo>
                        <a:pt x="2435174" y="1466469"/>
                      </a:lnTo>
                      <a:lnTo>
                        <a:pt x="2434082" y="1467358"/>
                      </a:lnTo>
                      <a:lnTo>
                        <a:pt x="2433840" y="1467561"/>
                      </a:lnTo>
                      <a:lnTo>
                        <a:pt x="2433599" y="1467751"/>
                      </a:lnTo>
                      <a:lnTo>
                        <a:pt x="2435428" y="1468856"/>
                      </a:lnTo>
                      <a:lnTo>
                        <a:pt x="2435631" y="1468920"/>
                      </a:lnTo>
                      <a:lnTo>
                        <a:pt x="2436825" y="1468183"/>
                      </a:lnTo>
                      <a:lnTo>
                        <a:pt x="2436863" y="1467091"/>
                      </a:lnTo>
                      <a:lnTo>
                        <a:pt x="2437777" y="1466215"/>
                      </a:lnTo>
                      <a:close/>
                    </a:path>
                    <a:path w="2464435" h="1539875">
                      <a:moveTo>
                        <a:pt x="2440584" y="1464691"/>
                      </a:moveTo>
                      <a:lnTo>
                        <a:pt x="2439479" y="1460588"/>
                      </a:lnTo>
                      <a:lnTo>
                        <a:pt x="2439454" y="1460969"/>
                      </a:lnTo>
                      <a:lnTo>
                        <a:pt x="2439492" y="1461363"/>
                      </a:lnTo>
                      <a:lnTo>
                        <a:pt x="2439479" y="1463103"/>
                      </a:lnTo>
                      <a:lnTo>
                        <a:pt x="2439530" y="1464475"/>
                      </a:lnTo>
                      <a:lnTo>
                        <a:pt x="2439670" y="1466405"/>
                      </a:lnTo>
                      <a:lnTo>
                        <a:pt x="2439720" y="1466977"/>
                      </a:lnTo>
                      <a:lnTo>
                        <a:pt x="2439746" y="1467535"/>
                      </a:lnTo>
                      <a:lnTo>
                        <a:pt x="2440152" y="1467116"/>
                      </a:lnTo>
                      <a:lnTo>
                        <a:pt x="2440343" y="1466494"/>
                      </a:lnTo>
                      <a:lnTo>
                        <a:pt x="2440584" y="1464691"/>
                      </a:lnTo>
                      <a:close/>
                    </a:path>
                    <a:path w="2464435" h="1539875">
                      <a:moveTo>
                        <a:pt x="2441422" y="1474698"/>
                      </a:moveTo>
                      <a:lnTo>
                        <a:pt x="2441333" y="1472704"/>
                      </a:lnTo>
                      <a:lnTo>
                        <a:pt x="2441244" y="1471980"/>
                      </a:lnTo>
                      <a:lnTo>
                        <a:pt x="2441105" y="1471320"/>
                      </a:lnTo>
                      <a:lnTo>
                        <a:pt x="2441308" y="1471002"/>
                      </a:lnTo>
                      <a:lnTo>
                        <a:pt x="2441041" y="1471028"/>
                      </a:lnTo>
                      <a:lnTo>
                        <a:pt x="2440863" y="1470266"/>
                      </a:lnTo>
                      <a:lnTo>
                        <a:pt x="2440635" y="1469605"/>
                      </a:lnTo>
                      <a:lnTo>
                        <a:pt x="2440406" y="1469313"/>
                      </a:lnTo>
                      <a:lnTo>
                        <a:pt x="2440394" y="1469898"/>
                      </a:lnTo>
                      <a:lnTo>
                        <a:pt x="2440444" y="1470494"/>
                      </a:lnTo>
                      <a:lnTo>
                        <a:pt x="2440482" y="1471409"/>
                      </a:lnTo>
                      <a:lnTo>
                        <a:pt x="2440495" y="1472057"/>
                      </a:lnTo>
                      <a:lnTo>
                        <a:pt x="2440546" y="1473225"/>
                      </a:lnTo>
                      <a:lnTo>
                        <a:pt x="2440698" y="1475320"/>
                      </a:lnTo>
                      <a:lnTo>
                        <a:pt x="2440749" y="1476375"/>
                      </a:lnTo>
                      <a:lnTo>
                        <a:pt x="2441270" y="1475905"/>
                      </a:lnTo>
                      <a:lnTo>
                        <a:pt x="2441422" y="1474698"/>
                      </a:lnTo>
                      <a:close/>
                    </a:path>
                    <a:path w="2464435" h="1539875">
                      <a:moveTo>
                        <a:pt x="2442222" y="1480781"/>
                      </a:moveTo>
                      <a:lnTo>
                        <a:pt x="2441397" y="1479727"/>
                      </a:lnTo>
                      <a:lnTo>
                        <a:pt x="2441092" y="1479257"/>
                      </a:lnTo>
                      <a:lnTo>
                        <a:pt x="2439720" y="1476819"/>
                      </a:lnTo>
                      <a:lnTo>
                        <a:pt x="2440330" y="1478165"/>
                      </a:lnTo>
                      <a:lnTo>
                        <a:pt x="2438743" y="1479042"/>
                      </a:lnTo>
                      <a:lnTo>
                        <a:pt x="2437955" y="1479257"/>
                      </a:lnTo>
                      <a:lnTo>
                        <a:pt x="2437650" y="1479181"/>
                      </a:lnTo>
                      <a:lnTo>
                        <a:pt x="2437498" y="1479105"/>
                      </a:lnTo>
                      <a:lnTo>
                        <a:pt x="2437523" y="1479372"/>
                      </a:lnTo>
                      <a:lnTo>
                        <a:pt x="2436965" y="1479550"/>
                      </a:lnTo>
                      <a:lnTo>
                        <a:pt x="2436660" y="1479753"/>
                      </a:lnTo>
                      <a:lnTo>
                        <a:pt x="2437231" y="1480566"/>
                      </a:lnTo>
                      <a:lnTo>
                        <a:pt x="2437523" y="1480781"/>
                      </a:lnTo>
                      <a:lnTo>
                        <a:pt x="2437485" y="1481188"/>
                      </a:lnTo>
                      <a:lnTo>
                        <a:pt x="2437727" y="1481061"/>
                      </a:lnTo>
                      <a:lnTo>
                        <a:pt x="2438489" y="1481315"/>
                      </a:lnTo>
                      <a:lnTo>
                        <a:pt x="2439314" y="1481442"/>
                      </a:lnTo>
                      <a:lnTo>
                        <a:pt x="2439911" y="1481709"/>
                      </a:lnTo>
                      <a:lnTo>
                        <a:pt x="2442210" y="1480985"/>
                      </a:lnTo>
                      <a:lnTo>
                        <a:pt x="2442222" y="1480781"/>
                      </a:lnTo>
                      <a:close/>
                    </a:path>
                    <a:path w="2464435" h="1539875">
                      <a:moveTo>
                        <a:pt x="2442654" y="1480845"/>
                      </a:moveTo>
                      <a:lnTo>
                        <a:pt x="2442349" y="1480947"/>
                      </a:lnTo>
                      <a:lnTo>
                        <a:pt x="2442654" y="1480845"/>
                      </a:lnTo>
                      <a:close/>
                    </a:path>
                    <a:path w="2464435" h="1539875">
                      <a:moveTo>
                        <a:pt x="2444572" y="1488871"/>
                      </a:moveTo>
                      <a:lnTo>
                        <a:pt x="2444356" y="1488617"/>
                      </a:lnTo>
                      <a:lnTo>
                        <a:pt x="2444000" y="1488198"/>
                      </a:lnTo>
                      <a:lnTo>
                        <a:pt x="2442921" y="1487182"/>
                      </a:lnTo>
                      <a:lnTo>
                        <a:pt x="2442210" y="1486573"/>
                      </a:lnTo>
                      <a:lnTo>
                        <a:pt x="2441803" y="1486535"/>
                      </a:lnTo>
                      <a:lnTo>
                        <a:pt x="2441664" y="1486522"/>
                      </a:lnTo>
                      <a:lnTo>
                        <a:pt x="2441537" y="1486535"/>
                      </a:lnTo>
                      <a:lnTo>
                        <a:pt x="2441371" y="1486535"/>
                      </a:lnTo>
                      <a:lnTo>
                        <a:pt x="2441219" y="1486395"/>
                      </a:lnTo>
                      <a:lnTo>
                        <a:pt x="2441143" y="1485823"/>
                      </a:lnTo>
                      <a:lnTo>
                        <a:pt x="2440330" y="1485430"/>
                      </a:lnTo>
                      <a:lnTo>
                        <a:pt x="2439441" y="1483842"/>
                      </a:lnTo>
                      <a:lnTo>
                        <a:pt x="2439568" y="1486700"/>
                      </a:lnTo>
                      <a:lnTo>
                        <a:pt x="2440140" y="1488782"/>
                      </a:lnTo>
                      <a:lnTo>
                        <a:pt x="2442959" y="1488617"/>
                      </a:lnTo>
                      <a:lnTo>
                        <a:pt x="2444572" y="1488871"/>
                      </a:lnTo>
                      <a:close/>
                    </a:path>
                    <a:path w="2464435" h="1539875">
                      <a:moveTo>
                        <a:pt x="2446159" y="1501279"/>
                      </a:moveTo>
                      <a:lnTo>
                        <a:pt x="2444915" y="1501216"/>
                      </a:lnTo>
                      <a:lnTo>
                        <a:pt x="2445029" y="1499552"/>
                      </a:lnTo>
                      <a:lnTo>
                        <a:pt x="2444026" y="1499044"/>
                      </a:lnTo>
                      <a:lnTo>
                        <a:pt x="2442375" y="1498168"/>
                      </a:lnTo>
                      <a:lnTo>
                        <a:pt x="2439327" y="1500708"/>
                      </a:lnTo>
                      <a:lnTo>
                        <a:pt x="2440292" y="1502143"/>
                      </a:lnTo>
                      <a:lnTo>
                        <a:pt x="2440940" y="1500924"/>
                      </a:lnTo>
                      <a:lnTo>
                        <a:pt x="2442565" y="1501381"/>
                      </a:lnTo>
                      <a:lnTo>
                        <a:pt x="2441410" y="1502740"/>
                      </a:lnTo>
                      <a:lnTo>
                        <a:pt x="2442108" y="1502359"/>
                      </a:lnTo>
                      <a:lnTo>
                        <a:pt x="2442832" y="1502600"/>
                      </a:lnTo>
                      <a:lnTo>
                        <a:pt x="2443340" y="1503337"/>
                      </a:lnTo>
                      <a:lnTo>
                        <a:pt x="2444267" y="1502676"/>
                      </a:lnTo>
                      <a:lnTo>
                        <a:pt x="2445308" y="1502079"/>
                      </a:lnTo>
                      <a:lnTo>
                        <a:pt x="2446159" y="1501279"/>
                      </a:lnTo>
                      <a:close/>
                    </a:path>
                    <a:path w="2464435" h="1539875">
                      <a:moveTo>
                        <a:pt x="2456942" y="1519643"/>
                      </a:moveTo>
                      <a:lnTo>
                        <a:pt x="2456675" y="1519059"/>
                      </a:lnTo>
                      <a:lnTo>
                        <a:pt x="2456142" y="1518475"/>
                      </a:lnTo>
                      <a:lnTo>
                        <a:pt x="2456065" y="1517840"/>
                      </a:lnTo>
                      <a:lnTo>
                        <a:pt x="2455951" y="1517192"/>
                      </a:lnTo>
                      <a:lnTo>
                        <a:pt x="2454745" y="1515719"/>
                      </a:lnTo>
                      <a:lnTo>
                        <a:pt x="2454249" y="1515427"/>
                      </a:lnTo>
                      <a:lnTo>
                        <a:pt x="2451900" y="1514043"/>
                      </a:lnTo>
                      <a:lnTo>
                        <a:pt x="2452014" y="1516545"/>
                      </a:lnTo>
                      <a:lnTo>
                        <a:pt x="2452128" y="1518094"/>
                      </a:lnTo>
                      <a:lnTo>
                        <a:pt x="2453716" y="1518640"/>
                      </a:lnTo>
                      <a:lnTo>
                        <a:pt x="2455291" y="1519389"/>
                      </a:lnTo>
                      <a:lnTo>
                        <a:pt x="2456942" y="1519643"/>
                      </a:lnTo>
                      <a:close/>
                    </a:path>
                    <a:path w="2464435" h="1539875">
                      <a:moveTo>
                        <a:pt x="2459685" y="1528000"/>
                      </a:moveTo>
                      <a:lnTo>
                        <a:pt x="2457793" y="1526933"/>
                      </a:lnTo>
                      <a:lnTo>
                        <a:pt x="2455481" y="1525854"/>
                      </a:lnTo>
                      <a:lnTo>
                        <a:pt x="2455443" y="1526870"/>
                      </a:lnTo>
                      <a:lnTo>
                        <a:pt x="2455011" y="1527327"/>
                      </a:lnTo>
                      <a:lnTo>
                        <a:pt x="2455443" y="1528330"/>
                      </a:lnTo>
                      <a:lnTo>
                        <a:pt x="2455824" y="1529270"/>
                      </a:lnTo>
                      <a:lnTo>
                        <a:pt x="2457373" y="1530223"/>
                      </a:lnTo>
                      <a:lnTo>
                        <a:pt x="2458288" y="1530426"/>
                      </a:lnTo>
                      <a:lnTo>
                        <a:pt x="2459685" y="1528000"/>
                      </a:lnTo>
                      <a:close/>
                    </a:path>
                    <a:path w="2464435" h="1539875">
                      <a:moveTo>
                        <a:pt x="2463965" y="1539303"/>
                      </a:moveTo>
                      <a:lnTo>
                        <a:pt x="2463660" y="1538744"/>
                      </a:lnTo>
                      <a:lnTo>
                        <a:pt x="2463241" y="1538224"/>
                      </a:lnTo>
                      <a:lnTo>
                        <a:pt x="2462771" y="1537804"/>
                      </a:lnTo>
                      <a:lnTo>
                        <a:pt x="2462504" y="1538579"/>
                      </a:lnTo>
                      <a:lnTo>
                        <a:pt x="2463203" y="1539062"/>
                      </a:lnTo>
                      <a:lnTo>
                        <a:pt x="2463965" y="1539303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48" name="object 88">
                  <a:extLst>
                    <a:ext uri="{FF2B5EF4-FFF2-40B4-BE49-F238E27FC236}">
                      <a16:creationId xmlns:a16="http://schemas.microsoft.com/office/drawing/2014/main" id="{A37D7F39-2C55-2C05-4202-3C8E2EB85E59}"/>
                    </a:ext>
                  </a:extLst>
                </p:cNvPr>
                <p:cNvSpPr/>
                <p:nvPr/>
              </p:nvSpPr>
              <p:spPr>
                <a:xfrm>
                  <a:off x="4590516" y="2429802"/>
                  <a:ext cx="22860" cy="368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860" h="36830">
                      <a:moveTo>
                        <a:pt x="6781" y="31534"/>
                      </a:moveTo>
                      <a:lnTo>
                        <a:pt x="5702" y="30810"/>
                      </a:lnTo>
                      <a:lnTo>
                        <a:pt x="4508" y="32118"/>
                      </a:lnTo>
                      <a:lnTo>
                        <a:pt x="2273" y="32918"/>
                      </a:lnTo>
                      <a:lnTo>
                        <a:pt x="1041" y="34366"/>
                      </a:lnTo>
                      <a:lnTo>
                        <a:pt x="0" y="34277"/>
                      </a:lnTo>
                      <a:lnTo>
                        <a:pt x="736" y="34582"/>
                      </a:lnTo>
                      <a:lnTo>
                        <a:pt x="1384" y="35153"/>
                      </a:lnTo>
                      <a:lnTo>
                        <a:pt x="1854" y="35407"/>
                      </a:lnTo>
                      <a:lnTo>
                        <a:pt x="2159" y="35585"/>
                      </a:lnTo>
                      <a:lnTo>
                        <a:pt x="1892" y="36093"/>
                      </a:lnTo>
                      <a:lnTo>
                        <a:pt x="2501" y="36182"/>
                      </a:lnTo>
                      <a:lnTo>
                        <a:pt x="4089" y="36449"/>
                      </a:lnTo>
                      <a:lnTo>
                        <a:pt x="5943" y="32677"/>
                      </a:lnTo>
                      <a:lnTo>
                        <a:pt x="6781" y="31534"/>
                      </a:lnTo>
                      <a:close/>
                    </a:path>
                    <a:path w="22860" h="36830">
                      <a:moveTo>
                        <a:pt x="22834" y="2273"/>
                      </a:moveTo>
                      <a:lnTo>
                        <a:pt x="20916" y="685"/>
                      </a:lnTo>
                      <a:lnTo>
                        <a:pt x="19634" y="0"/>
                      </a:lnTo>
                      <a:lnTo>
                        <a:pt x="18135" y="596"/>
                      </a:lnTo>
                      <a:lnTo>
                        <a:pt x="17018" y="736"/>
                      </a:lnTo>
                      <a:lnTo>
                        <a:pt x="18211" y="2324"/>
                      </a:lnTo>
                      <a:lnTo>
                        <a:pt x="18643" y="2946"/>
                      </a:lnTo>
                      <a:lnTo>
                        <a:pt x="19329" y="3581"/>
                      </a:lnTo>
                      <a:lnTo>
                        <a:pt x="20294" y="3213"/>
                      </a:lnTo>
                      <a:lnTo>
                        <a:pt x="22834" y="2273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49" name="object 89">
                  <a:extLst>
                    <a:ext uri="{FF2B5EF4-FFF2-40B4-BE49-F238E27FC236}">
                      <a16:creationId xmlns:a16="http://schemas.microsoft.com/office/drawing/2014/main" id="{132B7815-DA1D-58F1-3AD2-AE24B08F283C}"/>
                    </a:ext>
                  </a:extLst>
                </p:cNvPr>
                <p:cNvSpPr/>
                <p:nvPr/>
              </p:nvSpPr>
              <p:spPr>
                <a:xfrm>
                  <a:off x="2858354" y="2253118"/>
                  <a:ext cx="24130" cy="406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130" h="40639">
                      <a:moveTo>
                        <a:pt x="22171" y="28790"/>
                      </a:moveTo>
                      <a:lnTo>
                        <a:pt x="4470" y="28790"/>
                      </a:lnTo>
                      <a:lnTo>
                        <a:pt x="4270" y="29133"/>
                      </a:lnTo>
                      <a:lnTo>
                        <a:pt x="4038" y="29476"/>
                      </a:lnTo>
                      <a:lnTo>
                        <a:pt x="3352" y="31864"/>
                      </a:lnTo>
                      <a:lnTo>
                        <a:pt x="3340" y="36385"/>
                      </a:lnTo>
                      <a:lnTo>
                        <a:pt x="3212" y="36440"/>
                      </a:lnTo>
                      <a:lnTo>
                        <a:pt x="2984" y="36715"/>
                      </a:lnTo>
                      <a:lnTo>
                        <a:pt x="5499" y="37058"/>
                      </a:lnTo>
                      <a:lnTo>
                        <a:pt x="5854" y="38061"/>
                      </a:lnTo>
                      <a:lnTo>
                        <a:pt x="7480" y="40640"/>
                      </a:lnTo>
                      <a:lnTo>
                        <a:pt x="9994" y="40335"/>
                      </a:lnTo>
                      <a:lnTo>
                        <a:pt x="12090" y="38900"/>
                      </a:lnTo>
                      <a:lnTo>
                        <a:pt x="12191" y="35915"/>
                      </a:lnTo>
                      <a:lnTo>
                        <a:pt x="13373" y="34404"/>
                      </a:lnTo>
                      <a:lnTo>
                        <a:pt x="20337" y="34404"/>
                      </a:lnTo>
                      <a:lnTo>
                        <a:pt x="22054" y="29476"/>
                      </a:lnTo>
                      <a:lnTo>
                        <a:pt x="22171" y="28790"/>
                      </a:lnTo>
                      <a:close/>
                    </a:path>
                    <a:path w="24130" h="40639">
                      <a:moveTo>
                        <a:pt x="3289" y="36347"/>
                      </a:moveTo>
                      <a:lnTo>
                        <a:pt x="3073" y="36499"/>
                      </a:lnTo>
                      <a:lnTo>
                        <a:pt x="3212" y="36440"/>
                      </a:lnTo>
                      <a:close/>
                    </a:path>
                    <a:path w="24130" h="40639">
                      <a:moveTo>
                        <a:pt x="20337" y="34404"/>
                      </a:moveTo>
                      <a:lnTo>
                        <a:pt x="15417" y="34404"/>
                      </a:lnTo>
                      <a:lnTo>
                        <a:pt x="16662" y="34493"/>
                      </a:lnTo>
                      <a:lnTo>
                        <a:pt x="16890" y="34886"/>
                      </a:lnTo>
                      <a:lnTo>
                        <a:pt x="19380" y="36004"/>
                      </a:lnTo>
                      <a:lnTo>
                        <a:pt x="19646" y="36385"/>
                      </a:lnTo>
                      <a:lnTo>
                        <a:pt x="20337" y="34404"/>
                      </a:lnTo>
                      <a:close/>
                    </a:path>
                    <a:path w="24130" h="40639">
                      <a:moveTo>
                        <a:pt x="15417" y="34404"/>
                      </a:moveTo>
                      <a:lnTo>
                        <a:pt x="13373" y="34404"/>
                      </a:lnTo>
                      <a:lnTo>
                        <a:pt x="14033" y="34912"/>
                      </a:lnTo>
                      <a:lnTo>
                        <a:pt x="14909" y="35064"/>
                      </a:lnTo>
                      <a:lnTo>
                        <a:pt x="15417" y="34404"/>
                      </a:lnTo>
                      <a:close/>
                    </a:path>
                    <a:path w="24130" h="40639">
                      <a:moveTo>
                        <a:pt x="5359" y="25603"/>
                      </a:moveTo>
                      <a:lnTo>
                        <a:pt x="4459" y="28811"/>
                      </a:lnTo>
                      <a:lnTo>
                        <a:pt x="22171" y="28790"/>
                      </a:lnTo>
                      <a:lnTo>
                        <a:pt x="22151" y="26365"/>
                      </a:lnTo>
                      <a:lnTo>
                        <a:pt x="5676" y="26365"/>
                      </a:lnTo>
                      <a:lnTo>
                        <a:pt x="5359" y="25603"/>
                      </a:lnTo>
                      <a:close/>
                    </a:path>
                    <a:path w="24130" h="40639">
                      <a:moveTo>
                        <a:pt x="3492" y="20332"/>
                      </a:moveTo>
                      <a:lnTo>
                        <a:pt x="3759" y="22910"/>
                      </a:lnTo>
                      <a:lnTo>
                        <a:pt x="5054" y="24841"/>
                      </a:lnTo>
                      <a:lnTo>
                        <a:pt x="5676" y="26365"/>
                      </a:lnTo>
                      <a:lnTo>
                        <a:pt x="22151" y="26365"/>
                      </a:lnTo>
                      <a:lnTo>
                        <a:pt x="22225" y="20751"/>
                      </a:lnTo>
                      <a:lnTo>
                        <a:pt x="3746" y="20751"/>
                      </a:lnTo>
                      <a:lnTo>
                        <a:pt x="3492" y="20332"/>
                      </a:lnTo>
                      <a:close/>
                    </a:path>
                    <a:path w="24130" h="40639">
                      <a:moveTo>
                        <a:pt x="23558" y="11099"/>
                      </a:moveTo>
                      <a:lnTo>
                        <a:pt x="469" y="11099"/>
                      </a:lnTo>
                      <a:lnTo>
                        <a:pt x="1765" y="11201"/>
                      </a:lnTo>
                      <a:lnTo>
                        <a:pt x="2806" y="11912"/>
                      </a:lnTo>
                      <a:lnTo>
                        <a:pt x="3708" y="14351"/>
                      </a:lnTo>
                      <a:lnTo>
                        <a:pt x="5092" y="16891"/>
                      </a:lnTo>
                      <a:lnTo>
                        <a:pt x="4444" y="17437"/>
                      </a:lnTo>
                      <a:lnTo>
                        <a:pt x="3746" y="20751"/>
                      </a:lnTo>
                      <a:lnTo>
                        <a:pt x="22225" y="20751"/>
                      </a:lnTo>
                      <a:lnTo>
                        <a:pt x="23926" y="12674"/>
                      </a:lnTo>
                      <a:lnTo>
                        <a:pt x="24129" y="12446"/>
                      </a:lnTo>
                      <a:lnTo>
                        <a:pt x="23558" y="11099"/>
                      </a:lnTo>
                      <a:close/>
                    </a:path>
                    <a:path w="24130" h="40639">
                      <a:moveTo>
                        <a:pt x="698" y="5118"/>
                      </a:moveTo>
                      <a:lnTo>
                        <a:pt x="1066" y="6400"/>
                      </a:lnTo>
                      <a:lnTo>
                        <a:pt x="660" y="6502"/>
                      </a:lnTo>
                      <a:lnTo>
                        <a:pt x="126" y="8851"/>
                      </a:lnTo>
                      <a:lnTo>
                        <a:pt x="469" y="8928"/>
                      </a:lnTo>
                      <a:lnTo>
                        <a:pt x="347" y="9893"/>
                      </a:lnTo>
                      <a:lnTo>
                        <a:pt x="0" y="10858"/>
                      </a:lnTo>
                      <a:lnTo>
                        <a:pt x="139" y="11417"/>
                      </a:lnTo>
                      <a:lnTo>
                        <a:pt x="469" y="11099"/>
                      </a:lnTo>
                      <a:lnTo>
                        <a:pt x="23558" y="11099"/>
                      </a:lnTo>
                      <a:lnTo>
                        <a:pt x="23075" y="9893"/>
                      </a:lnTo>
                      <a:lnTo>
                        <a:pt x="22656" y="7696"/>
                      </a:lnTo>
                      <a:lnTo>
                        <a:pt x="22415" y="7454"/>
                      </a:lnTo>
                      <a:lnTo>
                        <a:pt x="8178" y="7454"/>
                      </a:lnTo>
                      <a:lnTo>
                        <a:pt x="2197" y="7162"/>
                      </a:lnTo>
                      <a:lnTo>
                        <a:pt x="2197" y="6324"/>
                      </a:lnTo>
                      <a:lnTo>
                        <a:pt x="698" y="5118"/>
                      </a:lnTo>
                      <a:close/>
                    </a:path>
                    <a:path w="24130" h="40639">
                      <a:moveTo>
                        <a:pt x="15455" y="0"/>
                      </a:moveTo>
                      <a:lnTo>
                        <a:pt x="12534" y="2247"/>
                      </a:lnTo>
                      <a:lnTo>
                        <a:pt x="8178" y="7454"/>
                      </a:lnTo>
                      <a:lnTo>
                        <a:pt x="22415" y="7454"/>
                      </a:lnTo>
                      <a:lnTo>
                        <a:pt x="21335" y="6375"/>
                      </a:lnTo>
                      <a:lnTo>
                        <a:pt x="19850" y="6324"/>
                      </a:lnTo>
                      <a:lnTo>
                        <a:pt x="19215" y="4737"/>
                      </a:lnTo>
                      <a:lnTo>
                        <a:pt x="20319" y="2971"/>
                      </a:lnTo>
                      <a:lnTo>
                        <a:pt x="19853" y="2057"/>
                      </a:lnTo>
                      <a:lnTo>
                        <a:pt x="18656" y="2057"/>
                      </a:lnTo>
                      <a:lnTo>
                        <a:pt x="16598" y="571"/>
                      </a:lnTo>
                      <a:lnTo>
                        <a:pt x="15455" y="0"/>
                      </a:lnTo>
                      <a:close/>
                    </a:path>
                    <a:path w="24130" h="40639">
                      <a:moveTo>
                        <a:pt x="19710" y="1778"/>
                      </a:moveTo>
                      <a:lnTo>
                        <a:pt x="18656" y="2057"/>
                      </a:lnTo>
                      <a:lnTo>
                        <a:pt x="19853" y="2057"/>
                      </a:lnTo>
                      <a:lnTo>
                        <a:pt x="19710" y="1778"/>
                      </a:lnTo>
                      <a:close/>
                    </a:path>
                  </a:pathLst>
                </a:custGeom>
                <a:solidFill>
                  <a:srgbClr val="E21C39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50" name="object 90">
                  <a:extLst>
                    <a:ext uri="{FF2B5EF4-FFF2-40B4-BE49-F238E27FC236}">
                      <a16:creationId xmlns:a16="http://schemas.microsoft.com/office/drawing/2014/main" id="{BE42C003-1937-313C-D195-297E93233843}"/>
                    </a:ext>
                  </a:extLst>
                </p:cNvPr>
                <p:cNvSpPr/>
                <p:nvPr/>
              </p:nvSpPr>
              <p:spPr>
                <a:xfrm>
                  <a:off x="2912858" y="2327110"/>
                  <a:ext cx="1270" cy="19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9" h="1905">
                      <a:moveTo>
                        <a:pt x="0" y="0"/>
                      </a:moveTo>
                      <a:lnTo>
                        <a:pt x="101" y="558"/>
                      </a:lnTo>
                      <a:lnTo>
                        <a:pt x="368" y="1181"/>
                      </a:lnTo>
                      <a:lnTo>
                        <a:pt x="749" y="1625"/>
                      </a:lnTo>
                      <a:lnTo>
                        <a:pt x="673" y="1015"/>
                      </a:lnTo>
                      <a:lnTo>
                        <a:pt x="380" y="36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51" name="object 91">
                  <a:extLst>
                    <a:ext uri="{FF2B5EF4-FFF2-40B4-BE49-F238E27FC236}">
                      <a16:creationId xmlns:a16="http://schemas.microsoft.com/office/drawing/2014/main" id="{4579BFD7-C398-1693-ACF6-2CB2104C3406}"/>
                    </a:ext>
                  </a:extLst>
                </p:cNvPr>
                <p:cNvSpPr/>
                <p:nvPr/>
              </p:nvSpPr>
              <p:spPr>
                <a:xfrm>
                  <a:off x="2886481" y="2225636"/>
                  <a:ext cx="80010" cy="104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010" h="104775">
                      <a:moveTo>
                        <a:pt x="4775" y="0"/>
                      </a:moveTo>
                      <a:lnTo>
                        <a:pt x="2247" y="520"/>
                      </a:lnTo>
                      <a:lnTo>
                        <a:pt x="1231" y="647"/>
                      </a:lnTo>
                      <a:lnTo>
                        <a:pt x="1092" y="698"/>
                      </a:lnTo>
                      <a:lnTo>
                        <a:pt x="698" y="863"/>
                      </a:lnTo>
                      <a:lnTo>
                        <a:pt x="381" y="749"/>
                      </a:lnTo>
                      <a:lnTo>
                        <a:pt x="0" y="1028"/>
                      </a:lnTo>
                      <a:lnTo>
                        <a:pt x="1435" y="1676"/>
                      </a:lnTo>
                      <a:lnTo>
                        <a:pt x="2984" y="2044"/>
                      </a:lnTo>
                      <a:lnTo>
                        <a:pt x="4470" y="2514"/>
                      </a:lnTo>
                      <a:lnTo>
                        <a:pt x="4775" y="0"/>
                      </a:lnTo>
                      <a:close/>
                    </a:path>
                    <a:path w="80010" h="104775">
                      <a:moveTo>
                        <a:pt x="79413" y="77825"/>
                      </a:moveTo>
                      <a:lnTo>
                        <a:pt x="65493" y="80556"/>
                      </a:lnTo>
                      <a:lnTo>
                        <a:pt x="61048" y="82384"/>
                      </a:lnTo>
                      <a:lnTo>
                        <a:pt x="54737" y="81318"/>
                      </a:lnTo>
                      <a:lnTo>
                        <a:pt x="51104" y="80810"/>
                      </a:lnTo>
                      <a:lnTo>
                        <a:pt x="46583" y="79844"/>
                      </a:lnTo>
                      <a:lnTo>
                        <a:pt x="47002" y="79159"/>
                      </a:lnTo>
                      <a:lnTo>
                        <a:pt x="44119" y="78536"/>
                      </a:lnTo>
                      <a:lnTo>
                        <a:pt x="42227" y="81851"/>
                      </a:lnTo>
                      <a:lnTo>
                        <a:pt x="38354" y="80822"/>
                      </a:lnTo>
                      <a:lnTo>
                        <a:pt x="38811" y="80022"/>
                      </a:lnTo>
                      <a:lnTo>
                        <a:pt x="37426" y="79413"/>
                      </a:lnTo>
                      <a:lnTo>
                        <a:pt x="37630" y="79070"/>
                      </a:lnTo>
                      <a:lnTo>
                        <a:pt x="35839" y="81699"/>
                      </a:lnTo>
                      <a:lnTo>
                        <a:pt x="32651" y="85064"/>
                      </a:lnTo>
                      <a:lnTo>
                        <a:pt x="34226" y="86880"/>
                      </a:lnTo>
                      <a:lnTo>
                        <a:pt x="35306" y="88836"/>
                      </a:lnTo>
                      <a:lnTo>
                        <a:pt x="37185" y="89801"/>
                      </a:lnTo>
                      <a:lnTo>
                        <a:pt x="38671" y="89420"/>
                      </a:lnTo>
                      <a:lnTo>
                        <a:pt x="40817" y="89281"/>
                      </a:lnTo>
                      <a:lnTo>
                        <a:pt x="42583" y="90589"/>
                      </a:lnTo>
                      <a:lnTo>
                        <a:pt x="58420" y="97967"/>
                      </a:lnTo>
                      <a:lnTo>
                        <a:pt x="60413" y="98399"/>
                      </a:lnTo>
                      <a:lnTo>
                        <a:pt x="61912" y="100977"/>
                      </a:lnTo>
                      <a:lnTo>
                        <a:pt x="62141" y="101688"/>
                      </a:lnTo>
                      <a:lnTo>
                        <a:pt x="64706" y="103720"/>
                      </a:lnTo>
                      <a:lnTo>
                        <a:pt x="69278" y="103517"/>
                      </a:lnTo>
                      <a:lnTo>
                        <a:pt x="71945" y="104254"/>
                      </a:lnTo>
                      <a:lnTo>
                        <a:pt x="72339" y="102704"/>
                      </a:lnTo>
                      <a:lnTo>
                        <a:pt x="72694" y="98425"/>
                      </a:lnTo>
                      <a:lnTo>
                        <a:pt x="74815" y="98666"/>
                      </a:lnTo>
                      <a:lnTo>
                        <a:pt x="73914" y="96799"/>
                      </a:lnTo>
                      <a:lnTo>
                        <a:pt x="72694" y="95072"/>
                      </a:lnTo>
                      <a:lnTo>
                        <a:pt x="70891" y="92138"/>
                      </a:lnTo>
                      <a:lnTo>
                        <a:pt x="72593" y="89065"/>
                      </a:lnTo>
                      <a:lnTo>
                        <a:pt x="72999" y="87845"/>
                      </a:lnTo>
                      <a:lnTo>
                        <a:pt x="74256" y="84023"/>
                      </a:lnTo>
                      <a:lnTo>
                        <a:pt x="77038" y="81051"/>
                      </a:lnTo>
                      <a:lnTo>
                        <a:pt x="79413" y="77825"/>
                      </a:lnTo>
                      <a:close/>
                    </a:path>
                  </a:pathLst>
                </a:custGeom>
                <a:solidFill>
                  <a:srgbClr val="E21C39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52" name="object 92">
                  <a:extLst>
                    <a:ext uri="{FF2B5EF4-FFF2-40B4-BE49-F238E27FC236}">
                      <a16:creationId xmlns:a16="http://schemas.microsoft.com/office/drawing/2014/main" id="{EFEA4314-3869-7BFA-A4EE-1312ADF10E23}"/>
                    </a:ext>
                  </a:extLst>
                </p:cNvPr>
                <p:cNvSpPr/>
                <p:nvPr/>
              </p:nvSpPr>
              <p:spPr>
                <a:xfrm>
                  <a:off x="2673286" y="2012518"/>
                  <a:ext cx="2059305" cy="10153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59304" h="1015364">
                      <a:moveTo>
                        <a:pt x="6870" y="1320"/>
                      </a:moveTo>
                      <a:lnTo>
                        <a:pt x="5638" y="1155"/>
                      </a:lnTo>
                      <a:lnTo>
                        <a:pt x="6197" y="0"/>
                      </a:lnTo>
                      <a:lnTo>
                        <a:pt x="5105" y="457"/>
                      </a:lnTo>
                      <a:lnTo>
                        <a:pt x="4152" y="1168"/>
                      </a:lnTo>
                      <a:lnTo>
                        <a:pt x="3162" y="1803"/>
                      </a:lnTo>
                      <a:lnTo>
                        <a:pt x="2362" y="3124"/>
                      </a:lnTo>
                      <a:lnTo>
                        <a:pt x="1397" y="3606"/>
                      </a:lnTo>
                      <a:lnTo>
                        <a:pt x="457" y="5283"/>
                      </a:lnTo>
                      <a:lnTo>
                        <a:pt x="444" y="6172"/>
                      </a:lnTo>
                      <a:lnTo>
                        <a:pt x="0" y="6781"/>
                      </a:lnTo>
                      <a:lnTo>
                        <a:pt x="2273" y="7264"/>
                      </a:lnTo>
                      <a:lnTo>
                        <a:pt x="3517" y="6324"/>
                      </a:lnTo>
                      <a:lnTo>
                        <a:pt x="5702" y="4178"/>
                      </a:lnTo>
                      <a:lnTo>
                        <a:pt x="6832" y="3200"/>
                      </a:lnTo>
                      <a:lnTo>
                        <a:pt x="6870" y="1320"/>
                      </a:lnTo>
                      <a:close/>
                    </a:path>
                    <a:path w="2059304" h="1015364">
                      <a:moveTo>
                        <a:pt x="1210195" y="719442"/>
                      </a:moveTo>
                      <a:lnTo>
                        <a:pt x="1209675" y="719086"/>
                      </a:lnTo>
                      <a:lnTo>
                        <a:pt x="1209090" y="718858"/>
                      </a:lnTo>
                      <a:lnTo>
                        <a:pt x="1208468" y="718769"/>
                      </a:lnTo>
                      <a:lnTo>
                        <a:pt x="1208316" y="718743"/>
                      </a:lnTo>
                      <a:lnTo>
                        <a:pt x="1208938" y="719074"/>
                      </a:lnTo>
                      <a:lnTo>
                        <a:pt x="1209548" y="719378"/>
                      </a:lnTo>
                      <a:lnTo>
                        <a:pt x="1210195" y="719442"/>
                      </a:lnTo>
                      <a:close/>
                    </a:path>
                    <a:path w="2059304" h="1015364">
                      <a:moveTo>
                        <a:pt x="1329753" y="547916"/>
                      </a:moveTo>
                      <a:lnTo>
                        <a:pt x="1329385" y="549097"/>
                      </a:lnTo>
                      <a:lnTo>
                        <a:pt x="1329499" y="548703"/>
                      </a:lnTo>
                      <a:lnTo>
                        <a:pt x="1329651" y="548297"/>
                      </a:lnTo>
                      <a:lnTo>
                        <a:pt x="1329753" y="547916"/>
                      </a:lnTo>
                      <a:close/>
                    </a:path>
                    <a:path w="2059304" h="1015364">
                      <a:moveTo>
                        <a:pt x="1329766" y="547890"/>
                      </a:moveTo>
                      <a:close/>
                    </a:path>
                    <a:path w="2059304" h="1015364">
                      <a:moveTo>
                        <a:pt x="1330261" y="548830"/>
                      </a:moveTo>
                      <a:lnTo>
                        <a:pt x="1329499" y="549783"/>
                      </a:lnTo>
                      <a:lnTo>
                        <a:pt x="1328610" y="551027"/>
                      </a:lnTo>
                      <a:lnTo>
                        <a:pt x="1328953" y="552284"/>
                      </a:lnTo>
                      <a:lnTo>
                        <a:pt x="1329537" y="551192"/>
                      </a:lnTo>
                      <a:lnTo>
                        <a:pt x="1329880" y="549986"/>
                      </a:lnTo>
                      <a:lnTo>
                        <a:pt x="1330261" y="548830"/>
                      </a:lnTo>
                      <a:close/>
                    </a:path>
                    <a:path w="2059304" h="1015364">
                      <a:moveTo>
                        <a:pt x="1430096" y="785063"/>
                      </a:moveTo>
                      <a:lnTo>
                        <a:pt x="1429639" y="784644"/>
                      </a:lnTo>
                      <a:lnTo>
                        <a:pt x="1429092" y="784313"/>
                      </a:lnTo>
                      <a:lnTo>
                        <a:pt x="1428584" y="784504"/>
                      </a:lnTo>
                      <a:lnTo>
                        <a:pt x="1429016" y="784771"/>
                      </a:lnTo>
                      <a:lnTo>
                        <a:pt x="1429588" y="785025"/>
                      </a:lnTo>
                      <a:lnTo>
                        <a:pt x="1430096" y="785063"/>
                      </a:lnTo>
                      <a:close/>
                    </a:path>
                    <a:path w="2059304" h="1015364">
                      <a:moveTo>
                        <a:pt x="1470342" y="853757"/>
                      </a:moveTo>
                      <a:lnTo>
                        <a:pt x="1466646" y="849833"/>
                      </a:lnTo>
                      <a:lnTo>
                        <a:pt x="1464335" y="847229"/>
                      </a:lnTo>
                      <a:lnTo>
                        <a:pt x="1461820" y="844829"/>
                      </a:lnTo>
                      <a:lnTo>
                        <a:pt x="1461947" y="846721"/>
                      </a:lnTo>
                      <a:lnTo>
                        <a:pt x="1459128" y="846035"/>
                      </a:lnTo>
                      <a:lnTo>
                        <a:pt x="1457934" y="846543"/>
                      </a:lnTo>
                      <a:lnTo>
                        <a:pt x="1460741" y="847394"/>
                      </a:lnTo>
                      <a:lnTo>
                        <a:pt x="1462011" y="851928"/>
                      </a:lnTo>
                      <a:lnTo>
                        <a:pt x="1464259" y="853871"/>
                      </a:lnTo>
                      <a:lnTo>
                        <a:pt x="1465719" y="855535"/>
                      </a:lnTo>
                      <a:lnTo>
                        <a:pt x="1467065" y="857377"/>
                      </a:lnTo>
                      <a:lnTo>
                        <a:pt x="1468729" y="858850"/>
                      </a:lnTo>
                      <a:lnTo>
                        <a:pt x="1469834" y="857961"/>
                      </a:lnTo>
                      <a:lnTo>
                        <a:pt x="1469567" y="857135"/>
                      </a:lnTo>
                      <a:lnTo>
                        <a:pt x="1469885" y="854290"/>
                      </a:lnTo>
                      <a:lnTo>
                        <a:pt x="1470342" y="853757"/>
                      </a:lnTo>
                      <a:close/>
                    </a:path>
                    <a:path w="2059304" h="1015364">
                      <a:moveTo>
                        <a:pt x="1479600" y="843559"/>
                      </a:moveTo>
                      <a:lnTo>
                        <a:pt x="1478788" y="843000"/>
                      </a:lnTo>
                      <a:lnTo>
                        <a:pt x="1478330" y="842251"/>
                      </a:lnTo>
                      <a:lnTo>
                        <a:pt x="1477518" y="842645"/>
                      </a:lnTo>
                      <a:lnTo>
                        <a:pt x="1478165" y="843064"/>
                      </a:lnTo>
                      <a:lnTo>
                        <a:pt x="1478864" y="843292"/>
                      </a:lnTo>
                      <a:lnTo>
                        <a:pt x="1479600" y="843559"/>
                      </a:lnTo>
                      <a:close/>
                    </a:path>
                    <a:path w="2059304" h="1015364">
                      <a:moveTo>
                        <a:pt x="1489456" y="890041"/>
                      </a:moveTo>
                      <a:lnTo>
                        <a:pt x="1488160" y="887336"/>
                      </a:lnTo>
                      <a:lnTo>
                        <a:pt x="1487081" y="885139"/>
                      </a:lnTo>
                      <a:lnTo>
                        <a:pt x="1485849" y="882904"/>
                      </a:lnTo>
                      <a:lnTo>
                        <a:pt x="1484033" y="879297"/>
                      </a:lnTo>
                      <a:lnTo>
                        <a:pt x="1481251" y="880325"/>
                      </a:lnTo>
                      <a:lnTo>
                        <a:pt x="1480642" y="881240"/>
                      </a:lnTo>
                      <a:lnTo>
                        <a:pt x="1479105" y="883640"/>
                      </a:lnTo>
                      <a:lnTo>
                        <a:pt x="1480642" y="885507"/>
                      </a:lnTo>
                      <a:lnTo>
                        <a:pt x="1483690" y="889889"/>
                      </a:lnTo>
                      <a:lnTo>
                        <a:pt x="1484071" y="891565"/>
                      </a:lnTo>
                      <a:lnTo>
                        <a:pt x="1487309" y="892644"/>
                      </a:lnTo>
                      <a:lnTo>
                        <a:pt x="1489456" y="890041"/>
                      </a:lnTo>
                      <a:close/>
                    </a:path>
                    <a:path w="2059304" h="1015364">
                      <a:moveTo>
                        <a:pt x="1489621" y="889838"/>
                      </a:moveTo>
                      <a:lnTo>
                        <a:pt x="1489456" y="890041"/>
                      </a:lnTo>
                      <a:lnTo>
                        <a:pt x="1489583" y="890308"/>
                      </a:lnTo>
                      <a:lnTo>
                        <a:pt x="1489621" y="889838"/>
                      </a:lnTo>
                      <a:close/>
                    </a:path>
                    <a:path w="2059304" h="1015364">
                      <a:moveTo>
                        <a:pt x="1497952" y="900823"/>
                      </a:moveTo>
                      <a:lnTo>
                        <a:pt x="1497723" y="900074"/>
                      </a:lnTo>
                      <a:lnTo>
                        <a:pt x="1496136" y="897166"/>
                      </a:lnTo>
                      <a:lnTo>
                        <a:pt x="1495475" y="896467"/>
                      </a:lnTo>
                      <a:lnTo>
                        <a:pt x="1494942" y="895883"/>
                      </a:lnTo>
                      <a:lnTo>
                        <a:pt x="1494472" y="895464"/>
                      </a:lnTo>
                      <a:lnTo>
                        <a:pt x="1493786" y="895959"/>
                      </a:lnTo>
                      <a:lnTo>
                        <a:pt x="1490929" y="898004"/>
                      </a:lnTo>
                      <a:lnTo>
                        <a:pt x="1497253" y="900506"/>
                      </a:lnTo>
                      <a:lnTo>
                        <a:pt x="1497952" y="900823"/>
                      </a:lnTo>
                      <a:close/>
                    </a:path>
                    <a:path w="2059304" h="1015364">
                      <a:moveTo>
                        <a:pt x="1508633" y="911326"/>
                      </a:moveTo>
                      <a:lnTo>
                        <a:pt x="1504581" y="907021"/>
                      </a:lnTo>
                      <a:lnTo>
                        <a:pt x="1502968" y="906627"/>
                      </a:lnTo>
                      <a:lnTo>
                        <a:pt x="1503781" y="909383"/>
                      </a:lnTo>
                      <a:lnTo>
                        <a:pt x="1505318" y="911961"/>
                      </a:lnTo>
                      <a:lnTo>
                        <a:pt x="1506512" y="914539"/>
                      </a:lnTo>
                      <a:lnTo>
                        <a:pt x="1505826" y="912495"/>
                      </a:lnTo>
                      <a:lnTo>
                        <a:pt x="1505394" y="911974"/>
                      </a:lnTo>
                      <a:lnTo>
                        <a:pt x="1508633" y="911326"/>
                      </a:lnTo>
                      <a:close/>
                    </a:path>
                    <a:path w="2059304" h="1015364">
                      <a:moveTo>
                        <a:pt x="1549120" y="852119"/>
                      </a:moveTo>
                      <a:lnTo>
                        <a:pt x="1548968" y="851344"/>
                      </a:lnTo>
                      <a:lnTo>
                        <a:pt x="1548612" y="850557"/>
                      </a:lnTo>
                      <a:lnTo>
                        <a:pt x="1547850" y="850734"/>
                      </a:lnTo>
                      <a:lnTo>
                        <a:pt x="1548193" y="851242"/>
                      </a:lnTo>
                      <a:lnTo>
                        <a:pt x="1548612" y="851738"/>
                      </a:lnTo>
                      <a:lnTo>
                        <a:pt x="1549120" y="852119"/>
                      </a:lnTo>
                      <a:close/>
                    </a:path>
                    <a:path w="2059304" h="1015364">
                      <a:moveTo>
                        <a:pt x="1553210" y="870699"/>
                      </a:moveTo>
                      <a:lnTo>
                        <a:pt x="1551406" y="869797"/>
                      </a:lnTo>
                      <a:lnTo>
                        <a:pt x="1550123" y="869835"/>
                      </a:lnTo>
                      <a:lnTo>
                        <a:pt x="1549476" y="871791"/>
                      </a:lnTo>
                      <a:lnTo>
                        <a:pt x="1550746" y="871575"/>
                      </a:lnTo>
                      <a:lnTo>
                        <a:pt x="1551978" y="871080"/>
                      </a:lnTo>
                      <a:lnTo>
                        <a:pt x="1553210" y="870699"/>
                      </a:lnTo>
                      <a:close/>
                    </a:path>
                    <a:path w="2059304" h="1015364">
                      <a:moveTo>
                        <a:pt x="1554873" y="855560"/>
                      </a:moveTo>
                      <a:lnTo>
                        <a:pt x="1554632" y="854849"/>
                      </a:lnTo>
                      <a:lnTo>
                        <a:pt x="1554137" y="854202"/>
                      </a:lnTo>
                      <a:lnTo>
                        <a:pt x="1553400" y="854113"/>
                      </a:lnTo>
                      <a:lnTo>
                        <a:pt x="1553832" y="854659"/>
                      </a:lnTo>
                      <a:lnTo>
                        <a:pt x="1554327" y="855116"/>
                      </a:lnTo>
                      <a:lnTo>
                        <a:pt x="1554873" y="855560"/>
                      </a:lnTo>
                      <a:close/>
                    </a:path>
                    <a:path w="2059304" h="1015364">
                      <a:moveTo>
                        <a:pt x="1563966" y="866432"/>
                      </a:moveTo>
                      <a:lnTo>
                        <a:pt x="1563814" y="865771"/>
                      </a:lnTo>
                      <a:lnTo>
                        <a:pt x="1563535" y="865136"/>
                      </a:lnTo>
                      <a:lnTo>
                        <a:pt x="1563230" y="864514"/>
                      </a:lnTo>
                      <a:lnTo>
                        <a:pt x="1563306" y="865225"/>
                      </a:lnTo>
                      <a:lnTo>
                        <a:pt x="1563497" y="865898"/>
                      </a:lnTo>
                      <a:lnTo>
                        <a:pt x="1563966" y="866432"/>
                      </a:lnTo>
                      <a:close/>
                    </a:path>
                    <a:path w="2059304" h="1015364">
                      <a:moveTo>
                        <a:pt x="1566125" y="874179"/>
                      </a:moveTo>
                      <a:lnTo>
                        <a:pt x="1565198" y="873125"/>
                      </a:lnTo>
                      <a:lnTo>
                        <a:pt x="1564157" y="871778"/>
                      </a:lnTo>
                      <a:lnTo>
                        <a:pt x="1563230" y="872604"/>
                      </a:lnTo>
                      <a:lnTo>
                        <a:pt x="1562569" y="872223"/>
                      </a:lnTo>
                      <a:lnTo>
                        <a:pt x="1562112" y="872934"/>
                      </a:lnTo>
                      <a:lnTo>
                        <a:pt x="1561719" y="872274"/>
                      </a:lnTo>
                      <a:lnTo>
                        <a:pt x="1561223" y="872210"/>
                      </a:lnTo>
                      <a:lnTo>
                        <a:pt x="1560995" y="873099"/>
                      </a:lnTo>
                      <a:lnTo>
                        <a:pt x="1560880" y="873671"/>
                      </a:lnTo>
                      <a:lnTo>
                        <a:pt x="1561719" y="874903"/>
                      </a:lnTo>
                      <a:lnTo>
                        <a:pt x="1562188" y="875398"/>
                      </a:lnTo>
                      <a:lnTo>
                        <a:pt x="1562379" y="875576"/>
                      </a:lnTo>
                      <a:lnTo>
                        <a:pt x="1561998" y="876160"/>
                      </a:lnTo>
                      <a:lnTo>
                        <a:pt x="1562303" y="876325"/>
                      </a:lnTo>
                      <a:lnTo>
                        <a:pt x="1562722" y="876566"/>
                      </a:lnTo>
                      <a:lnTo>
                        <a:pt x="1564157" y="875868"/>
                      </a:lnTo>
                      <a:lnTo>
                        <a:pt x="1566125" y="874179"/>
                      </a:lnTo>
                      <a:close/>
                    </a:path>
                    <a:path w="2059304" h="1015364">
                      <a:moveTo>
                        <a:pt x="1586763" y="913587"/>
                      </a:moveTo>
                      <a:lnTo>
                        <a:pt x="1586712" y="913345"/>
                      </a:lnTo>
                      <a:lnTo>
                        <a:pt x="1586445" y="908672"/>
                      </a:lnTo>
                      <a:lnTo>
                        <a:pt x="1584236" y="906373"/>
                      </a:lnTo>
                      <a:lnTo>
                        <a:pt x="1583474" y="905586"/>
                      </a:lnTo>
                      <a:lnTo>
                        <a:pt x="1582801" y="904621"/>
                      </a:lnTo>
                      <a:lnTo>
                        <a:pt x="1580057" y="900658"/>
                      </a:lnTo>
                      <a:lnTo>
                        <a:pt x="1579892" y="900417"/>
                      </a:lnTo>
                      <a:lnTo>
                        <a:pt x="1576730" y="900658"/>
                      </a:lnTo>
                      <a:lnTo>
                        <a:pt x="1571523" y="899883"/>
                      </a:lnTo>
                      <a:lnTo>
                        <a:pt x="1569440" y="899655"/>
                      </a:lnTo>
                      <a:lnTo>
                        <a:pt x="1568627" y="900709"/>
                      </a:lnTo>
                      <a:lnTo>
                        <a:pt x="1568170" y="901649"/>
                      </a:lnTo>
                      <a:lnTo>
                        <a:pt x="1568284" y="902246"/>
                      </a:lnTo>
                      <a:lnTo>
                        <a:pt x="1568005" y="903071"/>
                      </a:lnTo>
                      <a:lnTo>
                        <a:pt x="1567675" y="902766"/>
                      </a:lnTo>
                      <a:lnTo>
                        <a:pt x="1567675" y="903960"/>
                      </a:lnTo>
                      <a:lnTo>
                        <a:pt x="1567472" y="904494"/>
                      </a:lnTo>
                      <a:lnTo>
                        <a:pt x="1564817" y="906373"/>
                      </a:lnTo>
                      <a:lnTo>
                        <a:pt x="1564855" y="903020"/>
                      </a:lnTo>
                      <a:lnTo>
                        <a:pt x="1567675" y="903960"/>
                      </a:lnTo>
                      <a:lnTo>
                        <a:pt x="1567675" y="902766"/>
                      </a:lnTo>
                      <a:lnTo>
                        <a:pt x="1565935" y="901141"/>
                      </a:lnTo>
                      <a:lnTo>
                        <a:pt x="1566672" y="900290"/>
                      </a:lnTo>
                      <a:lnTo>
                        <a:pt x="1567662" y="900404"/>
                      </a:lnTo>
                      <a:lnTo>
                        <a:pt x="1570659" y="897420"/>
                      </a:lnTo>
                      <a:lnTo>
                        <a:pt x="1570837" y="897242"/>
                      </a:lnTo>
                      <a:lnTo>
                        <a:pt x="1566049" y="897420"/>
                      </a:lnTo>
                      <a:lnTo>
                        <a:pt x="1565744" y="895438"/>
                      </a:lnTo>
                      <a:lnTo>
                        <a:pt x="1564309" y="894549"/>
                      </a:lnTo>
                      <a:lnTo>
                        <a:pt x="1564157" y="891946"/>
                      </a:lnTo>
                      <a:lnTo>
                        <a:pt x="1564779" y="891374"/>
                      </a:lnTo>
                      <a:lnTo>
                        <a:pt x="1563928" y="887691"/>
                      </a:lnTo>
                      <a:lnTo>
                        <a:pt x="1563319" y="885240"/>
                      </a:lnTo>
                      <a:lnTo>
                        <a:pt x="1562595" y="882078"/>
                      </a:lnTo>
                      <a:lnTo>
                        <a:pt x="1562303" y="880795"/>
                      </a:lnTo>
                      <a:lnTo>
                        <a:pt x="1561299" y="882078"/>
                      </a:lnTo>
                      <a:lnTo>
                        <a:pt x="1558455" y="881735"/>
                      </a:lnTo>
                      <a:lnTo>
                        <a:pt x="1557489" y="881062"/>
                      </a:lnTo>
                      <a:lnTo>
                        <a:pt x="1555813" y="880757"/>
                      </a:lnTo>
                      <a:lnTo>
                        <a:pt x="1555178" y="880643"/>
                      </a:lnTo>
                      <a:lnTo>
                        <a:pt x="1554327" y="880757"/>
                      </a:lnTo>
                      <a:lnTo>
                        <a:pt x="1549311" y="878890"/>
                      </a:lnTo>
                      <a:lnTo>
                        <a:pt x="1548701" y="876681"/>
                      </a:lnTo>
                      <a:lnTo>
                        <a:pt x="1548269" y="873277"/>
                      </a:lnTo>
                      <a:lnTo>
                        <a:pt x="1548549" y="875093"/>
                      </a:lnTo>
                      <a:lnTo>
                        <a:pt x="1550924" y="873277"/>
                      </a:lnTo>
                      <a:lnTo>
                        <a:pt x="1551355" y="872934"/>
                      </a:lnTo>
                      <a:lnTo>
                        <a:pt x="1550670" y="872439"/>
                      </a:lnTo>
                      <a:lnTo>
                        <a:pt x="1550238" y="872134"/>
                      </a:lnTo>
                      <a:lnTo>
                        <a:pt x="1549158" y="872439"/>
                      </a:lnTo>
                      <a:lnTo>
                        <a:pt x="1547850" y="871969"/>
                      </a:lnTo>
                      <a:lnTo>
                        <a:pt x="1548739" y="871651"/>
                      </a:lnTo>
                      <a:lnTo>
                        <a:pt x="1549501" y="870597"/>
                      </a:lnTo>
                      <a:lnTo>
                        <a:pt x="1549933" y="869911"/>
                      </a:lnTo>
                      <a:lnTo>
                        <a:pt x="1548917" y="870153"/>
                      </a:lnTo>
                      <a:lnTo>
                        <a:pt x="1547926" y="870597"/>
                      </a:lnTo>
                      <a:lnTo>
                        <a:pt x="1546885" y="870419"/>
                      </a:lnTo>
                      <a:lnTo>
                        <a:pt x="1548612" y="869784"/>
                      </a:lnTo>
                      <a:lnTo>
                        <a:pt x="1548968" y="869759"/>
                      </a:lnTo>
                      <a:lnTo>
                        <a:pt x="1550708" y="867854"/>
                      </a:lnTo>
                      <a:lnTo>
                        <a:pt x="1550898" y="867219"/>
                      </a:lnTo>
                      <a:lnTo>
                        <a:pt x="1551127" y="867092"/>
                      </a:lnTo>
                      <a:lnTo>
                        <a:pt x="1551432" y="866927"/>
                      </a:lnTo>
                      <a:lnTo>
                        <a:pt x="1551673" y="867575"/>
                      </a:lnTo>
                      <a:lnTo>
                        <a:pt x="1553514" y="867003"/>
                      </a:lnTo>
                      <a:lnTo>
                        <a:pt x="1553908" y="866927"/>
                      </a:lnTo>
                      <a:lnTo>
                        <a:pt x="1554556" y="866800"/>
                      </a:lnTo>
                      <a:lnTo>
                        <a:pt x="1554137" y="865759"/>
                      </a:lnTo>
                      <a:lnTo>
                        <a:pt x="1553781" y="862241"/>
                      </a:lnTo>
                      <a:lnTo>
                        <a:pt x="1553629" y="860729"/>
                      </a:lnTo>
                      <a:lnTo>
                        <a:pt x="1551635" y="862241"/>
                      </a:lnTo>
                      <a:lnTo>
                        <a:pt x="1551432" y="861263"/>
                      </a:lnTo>
                      <a:lnTo>
                        <a:pt x="1550047" y="859853"/>
                      </a:lnTo>
                      <a:lnTo>
                        <a:pt x="1546364" y="858583"/>
                      </a:lnTo>
                      <a:lnTo>
                        <a:pt x="1547152" y="858367"/>
                      </a:lnTo>
                      <a:lnTo>
                        <a:pt x="1546301" y="855980"/>
                      </a:lnTo>
                      <a:lnTo>
                        <a:pt x="1544955" y="856703"/>
                      </a:lnTo>
                      <a:lnTo>
                        <a:pt x="1544853" y="858050"/>
                      </a:lnTo>
                      <a:lnTo>
                        <a:pt x="1544497" y="857923"/>
                      </a:lnTo>
                      <a:lnTo>
                        <a:pt x="1543837" y="859002"/>
                      </a:lnTo>
                      <a:lnTo>
                        <a:pt x="1542529" y="857148"/>
                      </a:lnTo>
                      <a:lnTo>
                        <a:pt x="1542364" y="857123"/>
                      </a:lnTo>
                      <a:lnTo>
                        <a:pt x="1542364" y="861441"/>
                      </a:lnTo>
                      <a:lnTo>
                        <a:pt x="1538935" y="867092"/>
                      </a:lnTo>
                      <a:lnTo>
                        <a:pt x="1535176" y="863511"/>
                      </a:lnTo>
                      <a:lnTo>
                        <a:pt x="1534896" y="863244"/>
                      </a:lnTo>
                      <a:lnTo>
                        <a:pt x="1536903" y="863968"/>
                      </a:lnTo>
                      <a:lnTo>
                        <a:pt x="1536903" y="864095"/>
                      </a:lnTo>
                      <a:lnTo>
                        <a:pt x="1538528" y="863244"/>
                      </a:lnTo>
                      <a:lnTo>
                        <a:pt x="1539671" y="862647"/>
                      </a:lnTo>
                      <a:lnTo>
                        <a:pt x="1540738" y="862241"/>
                      </a:lnTo>
                      <a:lnTo>
                        <a:pt x="1541983" y="861606"/>
                      </a:lnTo>
                      <a:lnTo>
                        <a:pt x="1542364" y="861441"/>
                      </a:lnTo>
                      <a:lnTo>
                        <a:pt x="1542364" y="857123"/>
                      </a:lnTo>
                      <a:lnTo>
                        <a:pt x="1535125" y="855675"/>
                      </a:lnTo>
                      <a:lnTo>
                        <a:pt x="1534820" y="855268"/>
                      </a:lnTo>
                      <a:lnTo>
                        <a:pt x="1532077" y="853097"/>
                      </a:lnTo>
                      <a:lnTo>
                        <a:pt x="1531543" y="852208"/>
                      </a:lnTo>
                      <a:lnTo>
                        <a:pt x="1530959" y="849896"/>
                      </a:lnTo>
                      <a:lnTo>
                        <a:pt x="1530705" y="848893"/>
                      </a:lnTo>
                      <a:lnTo>
                        <a:pt x="1532813" y="852309"/>
                      </a:lnTo>
                      <a:lnTo>
                        <a:pt x="1533817" y="853452"/>
                      </a:lnTo>
                      <a:lnTo>
                        <a:pt x="1535087" y="851268"/>
                      </a:lnTo>
                      <a:lnTo>
                        <a:pt x="1535861" y="849655"/>
                      </a:lnTo>
                      <a:lnTo>
                        <a:pt x="1533969" y="847928"/>
                      </a:lnTo>
                      <a:lnTo>
                        <a:pt x="1533359" y="847356"/>
                      </a:lnTo>
                      <a:lnTo>
                        <a:pt x="1532890" y="846734"/>
                      </a:lnTo>
                      <a:lnTo>
                        <a:pt x="1532013" y="846594"/>
                      </a:lnTo>
                      <a:lnTo>
                        <a:pt x="1530324" y="847699"/>
                      </a:lnTo>
                      <a:lnTo>
                        <a:pt x="1527949" y="846023"/>
                      </a:lnTo>
                      <a:lnTo>
                        <a:pt x="1525257" y="843153"/>
                      </a:lnTo>
                      <a:lnTo>
                        <a:pt x="1522945" y="843000"/>
                      </a:lnTo>
                      <a:lnTo>
                        <a:pt x="1519732" y="842086"/>
                      </a:lnTo>
                      <a:lnTo>
                        <a:pt x="1520024" y="841870"/>
                      </a:lnTo>
                      <a:lnTo>
                        <a:pt x="1519923" y="841552"/>
                      </a:lnTo>
                      <a:lnTo>
                        <a:pt x="1519745" y="841273"/>
                      </a:lnTo>
                      <a:lnTo>
                        <a:pt x="1519339" y="840638"/>
                      </a:lnTo>
                      <a:lnTo>
                        <a:pt x="1518780" y="839774"/>
                      </a:lnTo>
                      <a:lnTo>
                        <a:pt x="1518158" y="838631"/>
                      </a:lnTo>
                      <a:lnTo>
                        <a:pt x="1515922" y="835469"/>
                      </a:lnTo>
                      <a:lnTo>
                        <a:pt x="1515262" y="835469"/>
                      </a:lnTo>
                      <a:lnTo>
                        <a:pt x="1515122" y="835469"/>
                      </a:lnTo>
                      <a:lnTo>
                        <a:pt x="1511096" y="834605"/>
                      </a:lnTo>
                      <a:lnTo>
                        <a:pt x="1511249" y="835469"/>
                      </a:lnTo>
                      <a:lnTo>
                        <a:pt x="1512189" y="838161"/>
                      </a:lnTo>
                      <a:lnTo>
                        <a:pt x="1513230" y="838250"/>
                      </a:lnTo>
                      <a:lnTo>
                        <a:pt x="1513268" y="840638"/>
                      </a:lnTo>
                      <a:lnTo>
                        <a:pt x="1512608" y="839914"/>
                      </a:lnTo>
                      <a:lnTo>
                        <a:pt x="1512595" y="838822"/>
                      </a:lnTo>
                      <a:lnTo>
                        <a:pt x="1511033" y="836904"/>
                      </a:lnTo>
                      <a:lnTo>
                        <a:pt x="1504391" y="831850"/>
                      </a:lnTo>
                      <a:lnTo>
                        <a:pt x="1504861" y="830656"/>
                      </a:lnTo>
                      <a:lnTo>
                        <a:pt x="1505204" y="829754"/>
                      </a:lnTo>
                      <a:lnTo>
                        <a:pt x="1501660" y="829678"/>
                      </a:lnTo>
                      <a:lnTo>
                        <a:pt x="1501775" y="829983"/>
                      </a:lnTo>
                      <a:lnTo>
                        <a:pt x="1501851" y="830656"/>
                      </a:lnTo>
                      <a:lnTo>
                        <a:pt x="1500962" y="829983"/>
                      </a:lnTo>
                      <a:lnTo>
                        <a:pt x="1500365" y="829754"/>
                      </a:lnTo>
                      <a:lnTo>
                        <a:pt x="1499158" y="826668"/>
                      </a:lnTo>
                      <a:lnTo>
                        <a:pt x="1500339" y="826274"/>
                      </a:lnTo>
                      <a:lnTo>
                        <a:pt x="1494993" y="821575"/>
                      </a:lnTo>
                      <a:lnTo>
                        <a:pt x="1492859" y="819365"/>
                      </a:lnTo>
                      <a:lnTo>
                        <a:pt x="1491792" y="818261"/>
                      </a:lnTo>
                      <a:lnTo>
                        <a:pt x="1487779" y="816000"/>
                      </a:lnTo>
                      <a:lnTo>
                        <a:pt x="1487131" y="815657"/>
                      </a:lnTo>
                      <a:lnTo>
                        <a:pt x="1485836" y="815124"/>
                      </a:lnTo>
                      <a:lnTo>
                        <a:pt x="1484579" y="814527"/>
                      </a:lnTo>
                      <a:lnTo>
                        <a:pt x="1484655" y="814844"/>
                      </a:lnTo>
                      <a:lnTo>
                        <a:pt x="1484769" y="817626"/>
                      </a:lnTo>
                      <a:lnTo>
                        <a:pt x="1483029" y="819365"/>
                      </a:lnTo>
                      <a:lnTo>
                        <a:pt x="1478711" y="819365"/>
                      </a:lnTo>
                      <a:lnTo>
                        <a:pt x="1476984" y="817626"/>
                      </a:lnTo>
                      <a:lnTo>
                        <a:pt x="1476984" y="813346"/>
                      </a:lnTo>
                      <a:lnTo>
                        <a:pt x="1478711" y="811593"/>
                      </a:lnTo>
                      <a:lnTo>
                        <a:pt x="1480934" y="811593"/>
                      </a:lnTo>
                      <a:lnTo>
                        <a:pt x="1481061" y="811631"/>
                      </a:lnTo>
                      <a:lnTo>
                        <a:pt x="1480172" y="810107"/>
                      </a:lnTo>
                      <a:lnTo>
                        <a:pt x="1479042" y="809739"/>
                      </a:lnTo>
                      <a:lnTo>
                        <a:pt x="1476286" y="808380"/>
                      </a:lnTo>
                      <a:lnTo>
                        <a:pt x="1475701" y="807986"/>
                      </a:lnTo>
                      <a:lnTo>
                        <a:pt x="1474508" y="807173"/>
                      </a:lnTo>
                      <a:lnTo>
                        <a:pt x="1473936" y="807986"/>
                      </a:lnTo>
                      <a:lnTo>
                        <a:pt x="1474279" y="807021"/>
                      </a:lnTo>
                      <a:lnTo>
                        <a:pt x="1475435" y="805815"/>
                      </a:lnTo>
                      <a:lnTo>
                        <a:pt x="1474787" y="804938"/>
                      </a:lnTo>
                      <a:lnTo>
                        <a:pt x="1474165" y="804151"/>
                      </a:lnTo>
                      <a:lnTo>
                        <a:pt x="1473161" y="802068"/>
                      </a:lnTo>
                      <a:lnTo>
                        <a:pt x="1470431" y="801509"/>
                      </a:lnTo>
                      <a:lnTo>
                        <a:pt x="1471307" y="799541"/>
                      </a:lnTo>
                      <a:lnTo>
                        <a:pt x="1470736" y="798131"/>
                      </a:lnTo>
                      <a:lnTo>
                        <a:pt x="1469771" y="795604"/>
                      </a:lnTo>
                      <a:lnTo>
                        <a:pt x="1466761" y="793851"/>
                      </a:lnTo>
                      <a:lnTo>
                        <a:pt x="1465707" y="792924"/>
                      </a:lnTo>
                      <a:lnTo>
                        <a:pt x="1464665" y="792010"/>
                      </a:lnTo>
                      <a:lnTo>
                        <a:pt x="1463713" y="791133"/>
                      </a:lnTo>
                      <a:lnTo>
                        <a:pt x="1462519" y="792010"/>
                      </a:lnTo>
                      <a:lnTo>
                        <a:pt x="1459471" y="792924"/>
                      </a:lnTo>
                      <a:lnTo>
                        <a:pt x="1458315" y="792200"/>
                      </a:lnTo>
                      <a:lnTo>
                        <a:pt x="1455737" y="790651"/>
                      </a:lnTo>
                      <a:lnTo>
                        <a:pt x="1452676" y="791502"/>
                      </a:lnTo>
                      <a:lnTo>
                        <a:pt x="1445247" y="792200"/>
                      </a:lnTo>
                      <a:lnTo>
                        <a:pt x="1441386" y="787717"/>
                      </a:lnTo>
                      <a:lnTo>
                        <a:pt x="1436763" y="786168"/>
                      </a:lnTo>
                      <a:lnTo>
                        <a:pt x="1435023" y="786168"/>
                      </a:lnTo>
                      <a:lnTo>
                        <a:pt x="1434020" y="786104"/>
                      </a:lnTo>
                      <a:lnTo>
                        <a:pt x="1431290" y="787628"/>
                      </a:lnTo>
                      <a:lnTo>
                        <a:pt x="1432458" y="792010"/>
                      </a:lnTo>
                      <a:lnTo>
                        <a:pt x="1433093" y="793508"/>
                      </a:lnTo>
                      <a:lnTo>
                        <a:pt x="1456575" y="815721"/>
                      </a:lnTo>
                      <a:lnTo>
                        <a:pt x="1463484" y="823988"/>
                      </a:lnTo>
                      <a:lnTo>
                        <a:pt x="1464906" y="825030"/>
                      </a:lnTo>
                      <a:lnTo>
                        <a:pt x="1465249" y="825550"/>
                      </a:lnTo>
                      <a:lnTo>
                        <a:pt x="1465770" y="826274"/>
                      </a:lnTo>
                      <a:lnTo>
                        <a:pt x="1465872" y="827963"/>
                      </a:lnTo>
                      <a:lnTo>
                        <a:pt x="1466062" y="829056"/>
                      </a:lnTo>
                      <a:lnTo>
                        <a:pt x="1466253" y="830402"/>
                      </a:lnTo>
                      <a:lnTo>
                        <a:pt x="1466342" y="832815"/>
                      </a:lnTo>
                      <a:lnTo>
                        <a:pt x="1468221" y="834567"/>
                      </a:lnTo>
                      <a:lnTo>
                        <a:pt x="1469339" y="834669"/>
                      </a:lnTo>
                      <a:lnTo>
                        <a:pt x="1472603" y="835469"/>
                      </a:lnTo>
                      <a:lnTo>
                        <a:pt x="1474012" y="836244"/>
                      </a:lnTo>
                      <a:lnTo>
                        <a:pt x="1475968" y="837463"/>
                      </a:lnTo>
                      <a:lnTo>
                        <a:pt x="1478203" y="838822"/>
                      </a:lnTo>
                      <a:lnTo>
                        <a:pt x="1479562" y="840270"/>
                      </a:lnTo>
                      <a:lnTo>
                        <a:pt x="1481683" y="841870"/>
                      </a:lnTo>
                      <a:lnTo>
                        <a:pt x="1481569" y="841273"/>
                      </a:lnTo>
                      <a:lnTo>
                        <a:pt x="1482534" y="841552"/>
                      </a:lnTo>
                      <a:lnTo>
                        <a:pt x="1482420" y="842086"/>
                      </a:lnTo>
                      <a:lnTo>
                        <a:pt x="1482331" y="843584"/>
                      </a:lnTo>
                      <a:lnTo>
                        <a:pt x="1482458" y="846099"/>
                      </a:lnTo>
                      <a:lnTo>
                        <a:pt x="1483296" y="847890"/>
                      </a:lnTo>
                      <a:lnTo>
                        <a:pt x="1485595" y="855675"/>
                      </a:lnTo>
                      <a:lnTo>
                        <a:pt x="1488008" y="863968"/>
                      </a:lnTo>
                      <a:lnTo>
                        <a:pt x="1489163" y="863511"/>
                      </a:lnTo>
                      <a:lnTo>
                        <a:pt x="1494142" y="865200"/>
                      </a:lnTo>
                      <a:lnTo>
                        <a:pt x="1494586" y="865759"/>
                      </a:lnTo>
                      <a:lnTo>
                        <a:pt x="1498142" y="872223"/>
                      </a:lnTo>
                      <a:lnTo>
                        <a:pt x="1504429" y="876363"/>
                      </a:lnTo>
                      <a:lnTo>
                        <a:pt x="1505102" y="882078"/>
                      </a:lnTo>
                      <a:lnTo>
                        <a:pt x="1505432" y="885240"/>
                      </a:lnTo>
                      <a:lnTo>
                        <a:pt x="1508823" y="888809"/>
                      </a:lnTo>
                      <a:lnTo>
                        <a:pt x="1510944" y="892111"/>
                      </a:lnTo>
                      <a:lnTo>
                        <a:pt x="1512836" y="895007"/>
                      </a:lnTo>
                      <a:lnTo>
                        <a:pt x="1513408" y="898347"/>
                      </a:lnTo>
                      <a:lnTo>
                        <a:pt x="1515376" y="905230"/>
                      </a:lnTo>
                      <a:lnTo>
                        <a:pt x="1519859" y="908939"/>
                      </a:lnTo>
                      <a:lnTo>
                        <a:pt x="1524723" y="914984"/>
                      </a:lnTo>
                      <a:lnTo>
                        <a:pt x="1528572" y="917448"/>
                      </a:lnTo>
                      <a:lnTo>
                        <a:pt x="1532890" y="921054"/>
                      </a:lnTo>
                      <a:lnTo>
                        <a:pt x="1532001" y="923086"/>
                      </a:lnTo>
                      <a:lnTo>
                        <a:pt x="1535049" y="925410"/>
                      </a:lnTo>
                      <a:lnTo>
                        <a:pt x="1537093" y="926934"/>
                      </a:lnTo>
                      <a:lnTo>
                        <a:pt x="1542135" y="930808"/>
                      </a:lnTo>
                      <a:lnTo>
                        <a:pt x="1545336" y="933018"/>
                      </a:lnTo>
                      <a:lnTo>
                        <a:pt x="1551940" y="937475"/>
                      </a:lnTo>
                      <a:lnTo>
                        <a:pt x="1554327" y="940155"/>
                      </a:lnTo>
                      <a:lnTo>
                        <a:pt x="1564271" y="950709"/>
                      </a:lnTo>
                      <a:lnTo>
                        <a:pt x="1565046" y="952131"/>
                      </a:lnTo>
                      <a:lnTo>
                        <a:pt x="1566430" y="951826"/>
                      </a:lnTo>
                      <a:lnTo>
                        <a:pt x="1566164" y="950328"/>
                      </a:lnTo>
                      <a:lnTo>
                        <a:pt x="1564005" y="944384"/>
                      </a:lnTo>
                      <a:lnTo>
                        <a:pt x="1567700" y="946061"/>
                      </a:lnTo>
                      <a:lnTo>
                        <a:pt x="1568399" y="946975"/>
                      </a:lnTo>
                      <a:lnTo>
                        <a:pt x="1569669" y="947864"/>
                      </a:lnTo>
                      <a:lnTo>
                        <a:pt x="1570367" y="948245"/>
                      </a:lnTo>
                      <a:lnTo>
                        <a:pt x="1572247" y="948804"/>
                      </a:lnTo>
                      <a:lnTo>
                        <a:pt x="1573606" y="949655"/>
                      </a:lnTo>
                      <a:lnTo>
                        <a:pt x="1574533" y="947318"/>
                      </a:lnTo>
                      <a:lnTo>
                        <a:pt x="1574685" y="945489"/>
                      </a:lnTo>
                      <a:lnTo>
                        <a:pt x="1578152" y="946124"/>
                      </a:lnTo>
                      <a:lnTo>
                        <a:pt x="1580464" y="950010"/>
                      </a:lnTo>
                      <a:lnTo>
                        <a:pt x="1582051" y="951242"/>
                      </a:lnTo>
                      <a:lnTo>
                        <a:pt x="1582864" y="950379"/>
                      </a:lnTo>
                      <a:lnTo>
                        <a:pt x="1582940" y="949439"/>
                      </a:lnTo>
                      <a:lnTo>
                        <a:pt x="1583588" y="945489"/>
                      </a:lnTo>
                      <a:lnTo>
                        <a:pt x="1583766" y="944384"/>
                      </a:lnTo>
                      <a:lnTo>
                        <a:pt x="1584121" y="942213"/>
                      </a:lnTo>
                      <a:lnTo>
                        <a:pt x="1584248" y="935748"/>
                      </a:lnTo>
                      <a:lnTo>
                        <a:pt x="1583664" y="929563"/>
                      </a:lnTo>
                      <a:lnTo>
                        <a:pt x="1583436" y="926934"/>
                      </a:lnTo>
                      <a:lnTo>
                        <a:pt x="1583512" y="925982"/>
                      </a:lnTo>
                      <a:lnTo>
                        <a:pt x="1584833" y="922731"/>
                      </a:lnTo>
                      <a:lnTo>
                        <a:pt x="1585175" y="922045"/>
                      </a:lnTo>
                      <a:lnTo>
                        <a:pt x="1584960" y="921054"/>
                      </a:lnTo>
                      <a:lnTo>
                        <a:pt x="1584452" y="919111"/>
                      </a:lnTo>
                      <a:lnTo>
                        <a:pt x="1584401" y="918921"/>
                      </a:lnTo>
                      <a:lnTo>
                        <a:pt x="1582737" y="919111"/>
                      </a:lnTo>
                      <a:lnTo>
                        <a:pt x="1584121" y="916292"/>
                      </a:lnTo>
                      <a:lnTo>
                        <a:pt x="1584515" y="915428"/>
                      </a:lnTo>
                      <a:lnTo>
                        <a:pt x="1586763" y="913587"/>
                      </a:lnTo>
                      <a:close/>
                    </a:path>
                    <a:path w="2059304" h="1015364">
                      <a:moveTo>
                        <a:pt x="1588350" y="896607"/>
                      </a:moveTo>
                      <a:lnTo>
                        <a:pt x="1587881" y="895159"/>
                      </a:lnTo>
                      <a:lnTo>
                        <a:pt x="1587449" y="893597"/>
                      </a:lnTo>
                      <a:lnTo>
                        <a:pt x="1587334" y="892492"/>
                      </a:lnTo>
                      <a:lnTo>
                        <a:pt x="1587144" y="890600"/>
                      </a:lnTo>
                      <a:lnTo>
                        <a:pt x="1584756" y="887603"/>
                      </a:lnTo>
                      <a:lnTo>
                        <a:pt x="1583169" y="888619"/>
                      </a:lnTo>
                      <a:lnTo>
                        <a:pt x="1581556" y="888733"/>
                      </a:lnTo>
                      <a:lnTo>
                        <a:pt x="1582166" y="889914"/>
                      </a:lnTo>
                      <a:lnTo>
                        <a:pt x="1582521" y="891146"/>
                      </a:lnTo>
                      <a:lnTo>
                        <a:pt x="1582750" y="892492"/>
                      </a:lnTo>
                      <a:lnTo>
                        <a:pt x="1581315" y="890460"/>
                      </a:lnTo>
                      <a:lnTo>
                        <a:pt x="1580591" y="887895"/>
                      </a:lnTo>
                      <a:lnTo>
                        <a:pt x="1577301" y="889698"/>
                      </a:lnTo>
                      <a:lnTo>
                        <a:pt x="1576616" y="890206"/>
                      </a:lnTo>
                      <a:lnTo>
                        <a:pt x="1576349" y="891730"/>
                      </a:lnTo>
                      <a:lnTo>
                        <a:pt x="1578038" y="892022"/>
                      </a:lnTo>
                      <a:lnTo>
                        <a:pt x="1573961" y="895159"/>
                      </a:lnTo>
                      <a:lnTo>
                        <a:pt x="1572107" y="896099"/>
                      </a:lnTo>
                      <a:lnTo>
                        <a:pt x="1575574" y="896734"/>
                      </a:lnTo>
                      <a:lnTo>
                        <a:pt x="1576031" y="897153"/>
                      </a:lnTo>
                      <a:lnTo>
                        <a:pt x="1576959" y="897305"/>
                      </a:lnTo>
                      <a:lnTo>
                        <a:pt x="1577809" y="897229"/>
                      </a:lnTo>
                      <a:lnTo>
                        <a:pt x="1578698" y="897051"/>
                      </a:lnTo>
                      <a:lnTo>
                        <a:pt x="1579232" y="896620"/>
                      </a:lnTo>
                      <a:lnTo>
                        <a:pt x="1579702" y="896607"/>
                      </a:lnTo>
                      <a:lnTo>
                        <a:pt x="1588350" y="896607"/>
                      </a:lnTo>
                      <a:close/>
                    </a:path>
                    <a:path w="2059304" h="1015364">
                      <a:moveTo>
                        <a:pt x="1599399" y="910551"/>
                      </a:moveTo>
                      <a:lnTo>
                        <a:pt x="1597660" y="908329"/>
                      </a:lnTo>
                      <a:lnTo>
                        <a:pt x="1597164" y="908443"/>
                      </a:lnTo>
                      <a:lnTo>
                        <a:pt x="1596618" y="908824"/>
                      </a:lnTo>
                      <a:lnTo>
                        <a:pt x="1596199" y="909129"/>
                      </a:lnTo>
                      <a:lnTo>
                        <a:pt x="1596682" y="909586"/>
                      </a:lnTo>
                      <a:lnTo>
                        <a:pt x="1594815" y="909599"/>
                      </a:lnTo>
                      <a:lnTo>
                        <a:pt x="1593684" y="907110"/>
                      </a:lnTo>
                      <a:lnTo>
                        <a:pt x="1596936" y="904582"/>
                      </a:lnTo>
                      <a:lnTo>
                        <a:pt x="1597863" y="903719"/>
                      </a:lnTo>
                      <a:lnTo>
                        <a:pt x="1596186" y="903351"/>
                      </a:lnTo>
                      <a:lnTo>
                        <a:pt x="1595666" y="903236"/>
                      </a:lnTo>
                      <a:lnTo>
                        <a:pt x="1591335" y="903351"/>
                      </a:lnTo>
                      <a:lnTo>
                        <a:pt x="1589062" y="899236"/>
                      </a:lnTo>
                      <a:lnTo>
                        <a:pt x="1588579" y="897305"/>
                      </a:lnTo>
                      <a:lnTo>
                        <a:pt x="1588477" y="896988"/>
                      </a:lnTo>
                      <a:lnTo>
                        <a:pt x="1588350" y="896607"/>
                      </a:lnTo>
                      <a:lnTo>
                        <a:pt x="1579714" y="896620"/>
                      </a:lnTo>
                      <a:lnTo>
                        <a:pt x="1580311" y="897128"/>
                      </a:lnTo>
                      <a:lnTo>
                        <a:pt x="1580972" y="897280"/>
                      </a:lnTo>
                      <a:lnTo>
                        <a:pt x="1582089" y="896988"/>
                      </a:lnTo>
                      <a:lnTo>
                        <a:pt x="1582559" y="898436"/>
                      </a:lnTo>
                      <a:lnTo>
                        <a:pt x="1582712" y="899833"/>
                      </a:lnTo>
                      <a:lnTo>
                        <a:pt x="1583753" y="901534"/>
                      </a:lnTo>
                      <a:lnTo>
                        <a:pt x="1584871" y="901776"/>
                      </a:lnTo>
                      <a:lnTo>
                        <a:pt x="1585442" y="906259"/>
                      </a:lnTo>
                      <a:lnTo>
                        <a:pt x="1585518" y="907110"/>
                      </a:lnTo>
                      <a:lnTo>
                        <a:pt x="1585671" y="907034"/>
                      </a:lnTo>
                      <a:lnTo>
                        <a:pt x="1586445" y="907618"/>
                      </a:lnTo>
                      <a:lnTo>
                        <a:pt x="1587601" y="907719"/>
                      </a:lnTo>
                      <a:lnTo>
                        <a:pt x="1588833" y="908265"/>
                      </a:lnTo>
                      <a:lnTo>
                        <a:pt x="1595666" y="913180"/>
                      </a:lnTo>
                      <a:lnTo>
                        <a:pt x="1596809" y="909701"/>
                      </a:lnTo>
                      <a:lnTo>
                        <a:pt x="1597507" y="910323"/>
                      </a:lnTo>
                      <a:lnTo>
                        <a:pt x="1599399" y="910551"/>
                      </a:lnTo>
                      <a:close/>
                    </a:path>
                    <a:path w="2059304" h="1015364">
                      <a:moveTo>
                        <a:pt x="1618805" y="908545"/>
                      </a:moveTo>
                      <a:lnTo>
                        <a:pt x="1618488" y="906932"/>
                      </a:lnTo>
                      <a:lnTo>
                        <a:pt x="1618259" y="905891"/>
                      </a:lnTo>
                      <a:lnTo>
                        <a:pt x="1617256" y="905319"/>
                      </a:lnTo>
                      <a:lnTo>
                        <a:pt x="1615097" y="903808"/>
                      </a:lnTo>
                      <a:lnTo>
                        <a:pt x="1611274" y="902208"/>
                      </a:lnTo>
                      <a:lnTo>
                        <a:pt x="1609623" y="903592"/>
                      </a:lnTo>
                      <a:lnTo>
                        <a:pt x="1609356" y="903808"/>
                      </a:lnTo>
                      <a:lnTo>
                        <a:pt x="1609394" y="904836"/>
                      </a:lnTo>
                      <a:lnTo>
                        <a:pt x="1608886" y="906119"/>
                      </a:lnTo>
                      <a:lnTo>
                        <a:pt x="1607426" y="908697"/>
                      </a:lnTo>
                      <a:lnTo>
                        <a:pt x="1608505" y="908596"/>
                      </a:lnTo>
                      <a:lnTo>
                        <a:pt x="1608429" y="909129"/>
                      </a:lnTo>
                      <a:lnTo>
                        <a:pt x="1608658" y="912596"/>
                      </a:lnTo>
                      <a:lnTo>
                        <a:pt x="1610055" y="913714"/>
                      </a:lnTo>
                      <a:lnTo>
                        <a:pt x="1612125" y="911047"/>
                      </a:lnTo>
                      <a:lnTo>
                        <a:pt x="1612633" y="910501"/>
                      </a:lnTo>
                      <a:lnTo>
                        <a:pt x="1613598" y="911352"/>
                      </a:lnTo>
                      <a:lnTo>
                        <a:pt x="1614474" y="912342"/>
                      </a:lnTo>
                      <a:lnTo>
                        <a:pt x="1615605" y="913015"/>
                      </a:lnTo>
                      <a:lnTo>
                        <a:pt x="1615986" y="912393"/>
                      </a:lnTo>
                      <a:lnTo>
                        <a:pt x="1616798" y="912088"/>
                      </a:lnTo>
                      <a:lnTo>
                        <a:pt x="1617421" y="911631"/>
                      </a:lnTo>
                      <a:lnTo>
                        <a:pt x="1616684" y="910285"/>
                      </a:lnTo>
                      <a:lnTo>
                        <a:pt x="1618805" y="908545"/>
                      </a:lnTo>
                      <a:close/>
                    </a:path>
                    <a:path w="2059304" h="1015364">
                      <a:moveTo>
                        <a:pt x="1620608" y="809421"/>
                      </a:moveTo>
                      <a:lnTo>
                        <a:pt x="1618297" y="808342"/>
                      </a:lnTo>
                      <a:lnTo>
                        <a:pt x="1617916" y="806221"/>
                      </a:lnTo>
                      <a:lnTo>
                        <a:pt x="1617065" y="806767"/>
                      </a:lnTo>
                      <a:lnTo>
                        <a:pt x="1615135" y="807859"/>
                      </a:lnTo>
                      <a:lnTo>
                        <a:pt x="1614716" y="808761"/>
                      </a:lnTo>
                      <a:lnTo>
                        <a:pt x="1614131" y="809904"/>
                      </a:lnTo>
                      <a:lnTo>
                        <a:pt x="1614601" y="810183"/>
                      </a:lnTo>
                      <a:lnTo>
                        <a:pt x="1615363" y="811631"/>
                      </a:lnTo>
                      <a:lnTo>
                        <a:pt x="1616405" y="812050"/>
                      </a:lnTo>
                      <a:lnTo>
                        <a:pt x="1618183" y="811872"/>
                      </a:lnTo>
                      <a:lnTo>
                        <a:pt x="1618449" y="813181"/>
                      </a:lnTo>
                      <a:lnTo>
                        <a:pt x="1617954" y="813371"/>
                      </a:lnTo>
                      <a:lnTo>
                        <a:pt x="1615681" y="813485"/>
                      </a:lnTo>
                      <a:lnTo>
                        <a:pt x="1615986" y="814019"/>
                      </a:lnTo>
                      <a:lnTo>
                        <a:pt x="1616176" y="814324"/>
                      </a:lnTo>
                      <a:lnTo>
                        <a:pt x="1617954" y="814324"/>
                      </a:lnTo>
                      <a:lnTo>
                        <a:pt x="1619224" y="813854"/>
                      </a:lnTo>
                      <a:lnTo>
                        <a:pt x="1619961" y="812850"/>
                      </a:lnTo>
                      <a:lnTo>
                        <a:pt x="1620151" y="811758"/>
                      </a:lnTo>
                      <a:lnTo>
                        <a:pt x="1620608" y="809421"/>
                      </a:lnTo>
                      <a:close/>
                    </a:path>
                    <a:path w="2059304" h="1015364">
                      <a:moveTo>
                        <a:pt x="1628165" y="889279"/>
                      </a:moveTo>
                      <a:lnTo>
                        <a:pt x="1627352" y="889152"/>
                      </a:lnTo>
                      <a:lnTo>
                        <a:pt x="1626539" y="888987"/>
                      </a:lnTo>
                      <a:lnTo>
                        <a:pt x="1625892" y="889317"/>
                      </a:lnTo>
                      <a:lnTo>
                        <a:pt x="1626628" y="889444"/>
                      </a:lnTo>
                      <a:lnTo>
                        <a:pt x="1627403" y="889330"/>
                      </a:lnTo>
                      <a:lnTo>
                        <a:pt x="1628165" y="889279"/>
                      </a:lnTo>
                      <a:close/>
                    </a:path>
                    <a:path w="2059304" h="1015364">
                      <a:moveTo>
                        <a:pt x="1629359" y="978420"/>
                      </a:moveTo>
                      <a:lnTo>
                        <a:pt x="1628394" y="977823"/>
                      </a:lnTo>
                      <a:lnTo>
                        <a:pt x="1627314" y="977442"/>
                      </a:lnTo>
                      <a:lnTo>
                        <a:pt x="1626311" y="977011"/>
                      </a:lnTo>
                      <a:lnTo>
                        <a:pt x="1627187" y="977900"/>
                      </a:lnTo>
                      <a:lnTo>
                        <a:pt x="1628152" y="978192"/>
                      </a:lnTo>
                      <a:lnTo>
                        <a:pt x="1629359" y="978420"/>
                      </a:lnTo>
                      <a:close/>
                    </a:path>
                    <a:path w="2059304" h="1015364">
                      <a:moveTo>
                        <a:pt x="1681683" y="948931"/>
                      </a:moveTo>
                      <a:lnTo>
                        <a:pt x="1680718" y="949147"/>
                      </a:lnTo>
                      <a:lnTo>
                        <a:pt x="1679994" y="949502"/>
                      </a:lnTo>
                      <a:lnTo>
                        <a:pt x="1680133" y="950468"/>
                      </a:lnTo>
                      <a:lnTo>
                        <a:pt x="1680718" y="950036"/>
                      </a:lnTo>
                      <a:lnTo>
                        <a:pt x="1681175" y="949477"/>
                      </a:lnTo>
                      <a:lnTo>
                        <a:pt x="1681683" y="948931"/>
                      </a:lnTo>
                      <a:close/>
                    </a:path>
                    <a:path w="2059304" h="1015364">
                      <a:moveTo>
                        <a:pt x="1702193" y="966520"/>
                      </a:moveTo>
                      <a:lnTo>
                        <a:pt x="1699958" y="965022"/>
                      </a:lnTo>
                      <a:lnTo>
                        <a:pt x="1697774" y="965301"/>
                      </a:lnTo>
                      <a:lnTo>
                        <a:pt x="1695069" y="965568"/>
                      </a:lnTo>
                      <a:lnTo>
                        <a:pt x="1691563" y="965581"/>
                      </a:lnTo>
                      <a:lnTo>
                        <a:pt x="1684235" y="964031"/>
                      </a:lnTo>
                      <a:lnTo>
                        <a:pt x="1681454" y="969835"/>
                      </a:lnTo>
                      <a:lnTo>
                        <a:pt x="1682419" y="969264"/>
                      </a:lnTo>
                      <a:lnTo>
                        <a:pt x="1690052" y="971105"/>
                      </a:lnTo>
                      <a:lnTo>
                        <a:pt x="1696224" y="969289"/>
                      </a:lnTo>
                      <a:lnTo>
                        <a:pt x="1702193" y="966520"/>
                      </a:lnTo>
                      <a:close/>
                    </a:path>
                    <a:path w="2059304" h="1015364">
                      <a:moveTo>
                        <a:pt x="1709089" y="992657"/>
                      </a:moveTo>
                      <a:lnTo>
                        <a:pt x="1707197" y="990600"/>
                      </a:lnTo>
                      <a:lnTo>
                        <a:pt x="1705356" y="989253"/>
                      </a:lnTo>
                      <a:lnTo>
                        <a:pt x="1705787" y="985126"/>
                      </a:lnTo>
                      <a:lnTo>
                        <a:pt x="1706740" y="979639"/>
                      </a:lnTo>
                      <a:lnTo>
                        <a:pt x="1707438" y="979157"/>
                      </a:lnTo>
                      <a:lnTo>
                        <a:pt x="1703654" y="977328"/>
                      </a:lnTo>
                      <a:lnTo>
                        <a:pt x="1701850" y="976045"/>
                      </a:lnTo>
                      <a:lnTo>
                        <a:pt x="1698917" y="976071"/>
                      </a:lnTo>
                      <a:lnTo>
                        <a:pt x="1696250" y="977112"/>
                      </a:lnTo>
                      <a:lnTo>
                        <a:pt x="1690166" y="977900"/>
                      </a:lnTo>
                      <a:lnTo>
                        <a:pt x="1687614" y="977849"/>
                      </a:lnTo>
                      <a:lnTo>
                        <a:pt x="1682724" y="974928"/>
                      </a:lnTo>
                      <a:lnTo>
                        <a:pt x="1683219" y="973975"/>
                      </a:lnTo>
                      <a:lnTo>
                        <a:pt x="1683372" y="971626"/>
                      </a:lnTo>
                      <a:lnTo>
                        <a:pt x="1682381" y="971397"/>
                      </a:lnTo>
                      <a:lnTo>
                        <a:pt x="1679752" y="969645"/>
                      </a:lnTo>
                      <a:lnTo>
                        <a:pt x="1680451" y="968311"/>
                      </a:lnTo>
                      <a:lnTo>
                        <a:pt x="1680095" y="963815"/>
                      </a:lnTo>
                      <a:lnTo>
                        <a:pt x="1675815" y="966266"/>
                      </a:lnTo>
                      <a:lnTo>
                        <a:pt x="1666100" y="963320"/>
                      </a:lnTo>
                      <a:lnTo>
                        <a:pt x="1659432" y="962837"/>
                      </a:lnTo>
                      <a:lnTo>
                        <a:pt x="1657972" y="960272"/>
                      </a:lnTo>
                      <a:lnTo>
                        <a:pt x="1656346" y="958507"/>
                      </a:lnTo>
                      <a:lnTo>
                        <a:pt x="1652765" y="960183"/>
                      </a:lnTo>
                      <a:lnTo>
                        <a:pt x="1652651" y="961618"/>
                      </a:lnTo>
                      <a:lnTo>
                        <a:pt x="1651254" y="966558"/>
                      </a:lnTo>
                      <a:lnTo>
                        <a:pt x="1645323" y="966330"/>
                      </a:lnTo>
                      <a:lnTo>
                        <a:pt x="1635874" y="964793"/>
                      </a:lnTo>
                      <a:lnTo>
                        <a:pt x="1633867" y="965339"/>
                      </a:lnTo>
                      <a:lnTo>
                        <a:pt x="1625498" y="964158"/>
                      </a:lnTo>
                      <a:lnTo>
                        <a:pt x="1623110" y="964438"/>
                      </a:lnTo>
                      <a:lnTo>
                        <a:pt x="1622272" y="960234"/>
                      </a:lnTo>
                      <a:lnTo>
                        <a:pt x="1618602" y="956170"/>
                      </a:lnTo>
                      <a:lnTo>
                        <a:pt x="1617980" y="956665"/>
                      </a:lnTo>
                      <a:lnTo>
                        <a:pt x="1608582" y="956284"/>
                      </a:lnTo>
                      <a:lnTo>
                        <a:pt x="1606994" y="955001"/>
                      </a:lnTo>
                      <a:lnTo>
                        <a:pt x="1603222" y="952792"/>
                      </a:lnTo>
                      <a:lnTo>
                        <a:pt x="1604022" y="953935"/>
                      </a:lnTo>
                      <a:lnTo>
                        <a:pt x="1604022" y="957567"/>
                      </a:lnTo>
                      <a:lnTo>
                        <a:pt x="1602295" y="959307"/>
                      </a:lnTo>
                      <a:lnTo>
                        <a:pt x="1598015" y="959307"/>
                      </a:lnTo>
                      <a:lnTo>
                        <a:pt x="1596275" y="957567"/>
                      </a:lnTo>
                      <a:lnTo>
                        <a:pt x="1596275" y="954786"/>
                      </a:lnTo>
                      <a:lnTo>
                        <a:pt x="1596732" y="953668"/>
                      </a:lnTo>
                      <a:lnTo>
                        <a:pt x="1593126" y="953287"/>
                      </a:lnTo>
                      <a:lnTo>
                        <a:pt x="1586407" y="951153"/>
                      </a:lnTo>
                      <a:lnTo>
                        <a:pt x="1583283" y="955128"/>
                      </a:lnTo>
                      <a:lnTo>
                        <a:pt x="1581429" y="960081"/>
                      </a:lnTo>
                      <a:lnTo>
                        <a:pt x="1578495" y="964298"/>
                      </a:lnTo>
                      <a:lnTo>
                        <a:pt x="1587525" y="965403"/>
                      </a:lnTo>
                      <a:lnTo>
                        <a:pt x="1594815" y="968311"/>
                      </a:lnTo>
                      <a:lnTo>
                        <a:pt x="1592580" y="969759"/>
                      </a:lnTo>
                      <a:lnTo>
                        <a:pt x="1591881" y="972553"/>
                      </a:lnTo>
                      <a:lnTo>
                        <a:pt x="1592453" y="972210"/>
                      </a:lnTo>
                      <a:lnTo>
                        <a:pt x="1594116" y="972985"/>
                      </a:lnTo>
                      <a:lnTo>
                        <a:pt x="1598549" y="973658"/>
                      </a:lnTo>
                      <a:lnTo>
                        <a:pt x="1609153" y="974852"/>
                      </a:lnTo>
                      <a:lnTo>
                        <a:pt x="1611972" y="977353"/>
                      </a:lnTo>
                      <a:lnTo>
                        <a:pt x="1617637" y="978344"/>
                      </a:lnTo>
                      <a:lnTo>
                        <a:pt x="1619059" y="978763"/>
                      </a:lnTo>
                      <a:lnTo>
                        <a:pt x="1622958" y="977620"/>
                      </a:lnTo>
                      <a:lnTo>
                        <a:pt x="1624888" y="976630"/>
                      </a:lnTo>
                      <a:lnTo>
                        <a:pt x="1635798" y="978001"/>
                      </a:lnTo>
                      <a:lnTo>
                        <a:pt x="1644205" y="979970"/>
                      </a:lnTo>
                      <a:lnTo>
                        <a:pt x="1647558" y="981900"/>
                      </a:lnTo>
                      <a:lnTo>
                        <a:pt x="1653032" y="983780"/>
                      </a:lnTo>
                      <a:lnTo>
                        <a:pt x="1655000" y="984707"/>
                      </a:lnTo>
                      <a:lnTo>
                        <a:pt x="1659128" y="985050"/>
                      </a:lnTo>
                      <a:lnTo>
                        <a:pt x="1661553" y="984961"/>
                      </a:lnTo>
                      <a:lnTo>
                        <a:pt x="1665566" y="985875"/>
                      </a:lnTo>
                      <a:lnTo>
                        <a:pt x="1667027" y="987640"/>
                      </a:lnTo>
                      <a:lnTo>
                        <a:pt x="1668881" y="984872"/>
                      </a:lnTo>
                      <a:lnTo>
                        <a:pt x="1672501" y="986091"/>
                      </a:lnTo>
                      <a:lnTo>
                        <a:pt x="1678444" y="986942"/>
                      </a:lnTo>
                      <a:lnTo>
                        <a:pt x="1682343" y="987907"/>
                      </a:lnTo>
                      <a:lnTo>
                        <a:pt x="1684147" y="986701"/>
                      </a:lnTo>
                      <a:lnTo>
                        <a:pt x="1690585" y="985596"/>
                      </a:lnTo>
                      <a:lnTo>
                        <a:pt x="1693329" y="987272"/>
                      </a:lnTo>
                      <a:lnTo>
                        <a:pt x="1697837" y="989342"/>
                      </a:lnTo>
                      <a:lnTo>
                        <a:pt x="1701304" y="990942"/>
                      </a:lnTo>
                      <a:lnTo>
                        <a:pt x="1705394" y="991603"/>
                      </a:lnTo>
                      <a:lnTo>
                        <a:pt x="1709089" y="992657"/>
                      </a:lnTo>
                      <a:close/>
                    </a:path>
                    <a:path w="2059304" h="1015364">
                      <a:moveTo>
                        <a:pt x="1722793" y="966228"/>
                      </a:moveTo>
                      <a:lnTo>
                        <a:pt x="1721561" y="965555"/>
                      </a:lnTo>
                      <a:lnTo>
                        <a:pt x="1720164" y="965263"/>
                      </a:lnTo>
                      <a:lnTo>
                        <a:pt x="1718856" y="964844"/>
                      </a:lnTo>
                      <a:lnTo>
                        <a:pt x="1716430" y="966000"/>
                      </a:lnTo>
                      <a:lnTo>
                        <a:pt x="1718627" y="967244"/>
                      </a:lnTo>
                      <a:lnTo>
                        <a:pt x="1720088" y="966914"/>
                      </a:lnTo>
                      <a:lnTo>
                        <a:pt x="1720253" y="966876"/>
                      </a:lnTo>
                      <a:lnTo>
                        <a:pt x="1721700" y="966304"/>
                      </a:lnTo>
                      <a:lnTo>
                        <a:pt x="1721866" y="966228"/>
                      </a:lnTo>
                      <a:lnTo>
                        <a:pt x="1722793" y="966228"/>
                      </a:lnTo>
                      <a:close/>
                    </a:path>
                    <a:path w="2059304" h="1015364">
                      <a:moveTo>
                        <a:pt x="1723555" y="992149"/>
                      </a:moveTo>
                      <a:lnTo>
                        <a:pt x="1723326" y="991095"/>
                      </a:lnTo>
                      <a:lnTo>
                        <a:pt x="1722170" y="991171"/>
                      </a:lnTo>
                      <a:lnTo>
                        <a:pt x="1722361" y="991895"/>
                      </a:lnTo>
                      <a:lnTo>
                        <a:pt x="1722755" y="992505"/>
                      </a:lnTo>
                      <a:lnTo>
                        <a:pt x="1723097" y="993165"/>
                      </a:lnTo>
                      <a:lnTo>
                        <a:pt x="1723555" y="992149"/>
                      </a:lnTo>
                      <a:close/>
                    </a:path>
                    <a:path w="2059304" h="1015364">
                      <a:moveTo>
                        <a:pt x="1725028" y="988314"/>
                      </a:moveTo>
                      <a:lnTo>
                        <a:pt x="1724799" y="986688"/>
                      </a:lnTo>
                      <a:lnTo>
                        <a:pt x="1718284" y="980960"/>
                      </a:lnTo>
                      <a:lnTo>
                        <a:pt x="1712264" y="983056"/>
                      </a:lnTo>
                      <a:lnTo>
                        <a:pt x="1706867" y="983818"/>
                      </a:lnTo>
                      <a:lnTo>
                        <a:pt x="1709026" y="987018"/>
                      </a:lnTo>
                      <a:lnTo>
                        <a:pt x="1709534" y="987336"/>
                      </a:lnTo>
                      <a:lnTo>
                        <a:pt x="1713928" y="988339"/>
                      </a:lnTo>
                      <a:lnTo>
                        <a:pt x="1716125" y="990282"/>
                      </a:lnTo>
                      <a:lnTo>
                        <a:pt x="1716125" y="991400"/>
                      </a:lnTo>
                      <a:lnTo>
                        <a:pt x="1715820" y="993571"/>
                      </a:lnTo>
                      <a:lnTo>
                        <a:pt x="1717433" y="994333"/>
                      </a:lnTo>
                      <a:lnTo>
                        <a:pt x="1718246" y="991349"/>
                      </a:lnTo>
                      <a:lnTo>
                        <a:pt x="1720329" y="989952"/>
                      </a:lnTo>
                      <a:lnTo>
                        <a:pt x="1725028" y="988314"/>
                      </a:lnTo>
                      <a:close/>
                    </a:path>
                    <a:path w="2059304" h="1015364">
                      <a:moveTo>
                        <a:pt x="1735124" y="915555"/>
                      </a:moveTo>
                      <a:lnTo>
                        <a:pt x="1734680" y="915797"/>
                      </a:lnTo>
                      <a:lnTo>
                        <a:pt x="1734413" y="916063"/>
                      </a:lnTo>
                      <a:lnTo>
                        <a:pt x="1734197" y="916343"/>
                      </a:lnTo>
                      <a:lnTo>
                        <a:pt x="1734032" y="916495"/>
                      </a:lnTo>
                      <a:lnTo>
                        <a:pt x="1733372" y="917359"/>
                      </a:lnTo>
                      <a:lnTo>
                        <a:pt x="1733765" y="918159"/>
                      </a:lnTo>
                      <a:lnTo>
                        <a:pt x="1734312" y="918908"/>
                      </a:lnTo>
                      <a:lnTo>
                        <a:pt x="1734743" y="917829"/>
                      </a:lnTo>
                      <a:lnTo>
                        <a:pt x="1734896" y="916673"/>
                      </a:lnTo>
                      <a:lnTo>
                        <a:pt x="1735124" y="915555"/>
                      </a:lnTo>
                      <a:close/>
                    </a:path>
                    <a:path w="2059304" h="1015364">
                      <a:moveTo>
                        <a:pt x="1741919" y="987323"/>
                      </a:moveTo>
                      <a:lnTo>
                        <a:pt x="1735747" y="984592"/>
                      </a:lnTo>
                      <a:lnTo>
                        <a:pt x="1728774" y="985342"/>
                      </a:lnTo>
                      <a:lnTo>
                        <a:pt x="1730044" y="989342"/>
                      </a:lnTo>
                      <a:lnTo>
                        <a:pt x="1731200" y="991654"/>
                      </a:lnTo>
                      <a:lnTo>
                        <a:pt x="1728266" y="992517"/>
                      </a:lnTo>
                      <a:lnTo>
                        <a:pt x="1726920" y="993394"/>
                      </a:lnTo>
                      <a:lnTo>
                        <a:pt x="1727263" y="993635"/>
                      </a:lnTo>
                      <a:lnTo>
                        <a:pt x="1727873" y="993686"/>
                      </a:lnTo>
                      <a:lnTo>
                        <a:pt x="1728228" y="993902"/>
                      </a:lnTo>
                      <a:lnTo>
                        <a:pt x="1729168" y="994473"/>
                      </a:lnTo>
                      <a:lnTo>
                        <a:pt x="1729892" y="994625"/>
                      </a:lnTo>
                      <a:lnTo>
                        <a:pt x="1731391" y="994397"/>
                      </a:lnTo>
                      <a:lnTo>
                        <a:pt x="1734019" y="995172"/>
                      </a:lnTo>
                      <a:lnTo>
                        <a:pt x="1736090" y="994587"/>
                      </a:lnTo>
                      <a:lnTo>
                        <a:pt x="1735823" y="994397"/>
                      </a:lnTo>
                      <a:lnTo>
                        <a:pt x="1734896" y="993724"/>
                      </a:lnTo>
                      <a:lnTo>
                        <a:pt x="1734400" y="993355"/>
                      </a:lnTo>
                      <a:lnTo>
                        <a:pt x="1737131" y="994029"/>
                      </a:lnTo>
                      <a:lnTo>
                        <a:pt x="1737563" y="994079"/>
                      </a:lnTo>
                      <a:lnTo>
                        <a:pt x="1735988" y="993355"/>
                      </a:lnTo>
                      <a:lnTo>
                        <a:pt x="1735467" y="993114"/>
                      </a:lnTo>
                      <a:lnTo>
                        <a:pt x="1741919" y="987323"/>
                      </a:lnTo>
                      <a:close/>
                    </a:path>
                    <a:path w="2059304" h="1015364">
                      <a:moveTo>
                        <a:pt x="1753349" y="809510"/>
                      </a:moveTo>
                      <a:lnTo>
                        <a:pt x="1753196" y="808977"/>
                      </a:lnTo>
                      <a:lnTo>
                        <a:pt x="1752053" y="808050"/>
                      </a:lnTo>
                      <a:lnTo>
                        <a:pt x="1752053" y="808583"/>
                      </a:lnTo>
                      <a:lnTo>
                        <a:pt x="1752180" y="808964"/>
                      </a:lnTo>
                      <a:lnTo>
                        <a:pt x="1752371" y="809244"/>
                      </a:lnTo>
                      <a:lnTo>
                        <a:pt x="1752930" y="809879"/>
                      </a:lnTo>
                      <a:lnTo>
                        <a:pt x="1753158" y="809891"/>
                      </a:lnTo>
                      <a:lnTo>
                        <a:pt x="1753158" y="809675"/>
                      </a:lnTo>
                      <a:lnTo>
                        <a:pt x="1753349" y="809510"/>
                      </a:lnTo>
                      <a:close/>
                    </a:path>
                    <a:path w="2059304" h="1015364">
                      <a:moveTo>
                        <a:pt x="1771916" y="917498"/>
                      </a:moveTo>
                      <a:lnTo>
                        <a:pt x="1771675" y="917498"/>
                      </a:lnTo>
                      <a:lnTo>
                        <a:pt x="1771916" y="917498"/>
                      </a:lnTo>
                      <a:close/>
                    </a:path>
                    <a:path w="2059304" h="1015364">
                      <a:moveTo>
                        <a:pt x="1773174" y="983513"/>
                      </a:moveTo>
                      <a:lnTo>
                        <a:pt x="1772450" y="983919"/>
                      </a:lnTo>
                      <a:lnTo>
                        <a:pt x="1772018" y="984605"/>
                      </a:lnTo>
                      <a:lnTo>
                        <a:pt x="1772488" y="985278"/>
                      </a:lnTo>
                      <a:lnTo>
                        <a:pt x="1772793" y="984745"/>
                      </a:lnTo>
                      <a:lnTo>
                        <a:pt x="1773059" y="984123"/>
                      </a:lnTo>
                      <a:lnTo>
                        <a:pt x="1773174" y="983513"/>
                      </a:lnTo>
                      <a:close/>
                    </a:path>
                    <a:path w="2059304" h="1015364">
                      <a:moveTo>
                        <a:pt x="1774685" y="990092"/>
                      </a:moveTo>
                      <a:lnTo>
                        <a:pt x="1773250" y="991349"/>
                      </a:lnTo>
                      <a:lnTo>
                        <a:pt x="1772551" y="991019"/>
                      </a:lnTo>
                      <a:lnTo>
                        <a:pt x="1772208" y="989368"/>
                      </a:lnTo>
                      <a:lnTo>
                        <a:pt x="1772551" y="988491"/>
                      </a:lnTo>
                      <a:lnTo>
                        <a:pt x="1772450" y="986536"/>
                      </a:lnTo>
                      <a:lnTo>
                        <a:pt x="1772018" y="986155"/>
                      </a:lnTo>
                      <a:lnTo>
                        <a:pt x="1768094" y="986294"/>
                      </a:lnTo>
                      <a:lnTo>
                        <a:pt x="1768360" y="986472"/>
                      </a:lnTo>
                      <a:lnTo>
                        <a:pt x="1767624" y="988847"/>
                      </a:lnTo>
                      <a:lnTo>
                        <a:pt x="1766811" y="985342"/>
                      </a:lnTo>
                      <a:lnTo>
                        <a:pt x="1765465" y="984161"/>
                      </a:lnTo>
                      <a:lnTo>
                        <a:pt x="1762074" y="986942"/>
                      </a:lnTo>
                      <a:lnTo>
                        <a:pt x="1759331" y="983538"/>
                      </a:lnTo>
                      <a:lnTo>
                        <a:pt x="1758492" y="982065"/>
                      </a:lnTo>
                      <a:lnTo>
                        <a:pt x="1754365" y="983615"/>
                      </a:lnTo>
                      <a:lnTo>
                        <a:pt x="1754835" y="985316"/>
                      </a:lnTo>
                      <a:lnTo>
                        <a:pt x="1754936" y="986320"/>
                      </a:lnTo>
                      <a:lnTo>
                        <a:pt x="1757070" y="988326"/>
                      </a:lnTo>
                      <a:lnTo>
                        <a:pt x="1761731" y="989609"/>
                      </a:lnTo>
                      <a:lnTo>
                        <a:pt x="1761693" y="991044"/>
                      </a:lnTo>
                      <a:lnTo>
                        <a:pt x="1755444" y="992073"/>
                      </a:lnTo>
                      <a:lnTo>
                        <a:pt x="1754365" y="991679"/>
                      </a:lnTo>
                      <a:lnTo>
                        <a:pt x="1754047" y="990854"/>
                      </a:lnTo>
                      <a:lnTo>
                        <a:pt x="1752015" y="989787"/>
                      </a:lnTo>
                      <a:lnTo>
                        <a:pt x="1745576" y="986891"/>
                      </a:lnTo>
                      <a:lnTo>
                        <a:pt x="1740865" y="989063"/>
                      </a:lnTo>
                      <a:lnTo>
                        <a:pt x="1740065" y="991158"/>
                      </a:lnTo>
                      <a:lnTo>
                        <a:pt x="1740281" y="991920"/>
                      </a:lnTo>
                      <a:lnTo>
                        <a:pt x="1740065" y="996251"/>
                      </a:lnTo>
                      <a:lnTo>
                        <a:pt x="1742719" y="997140"/>
                      </a:lnTo>
                      <a:lnTo>
                        <a:pt x="1743494" y="997394"/>
                      </a:lnTo>
                      <a:lnTo>
                        <a:pt x="1744027" y="997470"/>
                      </a:lnTo>
                      <a:lnTo>
                        <a:pt x="1747926" y="997331"/>
                      </a:lnTo>
                      <a:lnTo>
                        <a:pt x="1751431" y="996099"/>
                      </a:lnTo>
                      <a:lnTo>
                        <a:pt x="1756524" y="995083"/>
                      </a:lnTo>
                      <a:lnTo>
                        <a:pt x="1758022" y="994181"/>
                      </a:lnTo>
                      <a:lnTo>
                        <a:pt x="1761693" y="992238"/>
                      </a:lnTo>
                      <a:lnTo>
                        <a:pt x="1762074" y="991577"/>
                      </a:lnTo>
                      <a:lnTo>
                        <a:pt x="1763496" y="990206"/>
                      </a:lnTo>
                      <a:lnTo>
                        <a:pt x="1763776" y="990739"/>
                      </a:lnTo>
                      <a:lnTo>
                        <a:pt x="1763725" y="991158"/>
                      </a:lnTo>
                      <a:lnTo>
                        <a:pt x="1764042" y="992060"/>
                      </a:lnTo>
                      <a:lnTo>
                        <a:pt x="1764347" y="994143"/>
                      </a:lnTo>
                      <a:lnTo>
                        <a:pt x="1769478" y="993038"/>
                      </a:lnTo>
                      <a:lnTo>
                        <a:pt x="1773682" y="992771"/>
                      </a:lnTo>
                      <a:lnTo>
                        <a:pt x="1774685" y="991489"/>
                      </a:lnTo>
                      <a:lnTo>
                        <a:pt x="1774647" y="990384"/>
                      </a:lnTo>
                      <a:lnTo>
                        <a:pt x="1774685" y="990092"/>
                      </a:lnTo>
                      <a:close/>
                    </a:path>
                    <a:path w="2059304" h="1015364">
                      <a:moveTo>
                        <a:pt x="1798942" y="1013231"/>
                      </a:moveTo>
                      <a:lnTo>
                        <a:pt x="1797672" y="1009370"/>
                      </a:lnTo>
                      <a:lnTo>
                        <a:pt x="1796199" y="1009218"/>
                      </a:lnTo>
                      <a:lnTo>
                        <a:pt x="1794624" y="1007376"/>
                      </a:lnTo>
                      <a:lnTo>
                        <a:pt x="1794586" y="1006373"/>
                      </a:lnTo>
                      <a:lnTo>
                        <a:pt x="1792541" y="1005319"/>
                      </a:lnTo>
                      <a:lnTo>
                        <a:pt x="1791119" y="1005141"/>
                      </a:lnTo>
                      <a:lnTo>
                        <a:pt x="1791081" y="1005979"/>
                      </a:lnTo>
                      <a:lnTo>
                        <a:pt x="1789569" y="1004900"/>
                      </a:lnTo>
                      <a:lnTo>
                        <a:pt x="1790115" y="1004100"/>
                      </a:lnTo>
                      <a:lnTo>
                        <a:pt x="1789112" y="1002792"/>
                      </a:lnTo>
                      <a:lnTo>
                        <a:pt x="1788756" y="1003236"/>
                      </a:lnTo>
                      <a:lnTo>
                        <a:pt x="1786902" y="1002017"/>
                      </a:lnTo>
                      <a:lnTo>
                        <a:pt x="1786293" y="1000404"/>
                      </a:lnTo>
                      <a:lnTo>
                        <a:pt x="1784324" y="1000887"/>
                      </a:lnTo>
                      <a:lnTo>
                        <a:pt x="1779358" y="1001064"/>
                      </a:lnTo>
                      <a:lnTo>
                        <a:pt x="1774952" y="1000340"/>
                      </a:lnTo>
                      <a:lnTo>
                        <a:pt x="1770913" y="1004036"/>
                      </a:lnTo>
                      <a:lnTo>
                        <a:pt x="1772031" y="1005370"/>
                      </a:lnTo>
                      <a:lnTo>
                        <a:pt x="1772335" y="1005611"/>
                      </a:lnTo>
                      <a:lnTo>
                        <a:pt x="1773491" y="1006563"/>
                      </a:lnTo>
                      <a:lnTo>
                        <a:pt x="1775879" y="1007224"/>
                      </a:lnTo>
                      <a:lnTo>
                        <a:pt x="1779041" y="1007249"/>
                      </a:lnTo>
                      <a:lnTo>
                        <a:pt x="1779854" y="1006703"/>
                      </a:lnTo>
                      <a:lnTo>
                        <a:pt x="1785518" y="1010323"/>
                      </a:lnTo>
                      <a:lnTo>
                        <a:pt x="1789036" y="1012659"/>
                      </a:lnTo>
                      <a:lnTo>
                        <a:pt x="1792922" y="1014920"/>
                      </a:lnTo>
                      <a:lnTo>
                        <a:pt x="1793773" y="1014018"/>
                      </a:lnTo>
                      <a:lnTo>
                        <a:pt x="1795627" y="1013231"/>
                      </a:lnTo>
                      <a:lnTo>
                        <a:pt x="1798942" y="1013231"/>
                      </a:lnTo>
                      <a:close/>
                    </a:path>
                    <a:path w="2059304" h="1015364">
                      <a:moveTo>
                        <a:pt x="1814601" y="939584"/>
                      </a:moveTo>
                      <a:lnTo>
                        <a:pt x="1813052" y="939152"/>
                      </a:lnTo>
                      <a:lnTo>
                        <a:pt x="1811934" y="940993"/>
                      </a:lnTo>
                      <a:lnTo>
                        <a:pt x="1812201" y="942467"/>
                      </a:lnTo>
                      <a:lnTo>
                        <a:pt x="1812391" y="943673"/>
                      </a:lnTo>
                      <a:lnTo>
                        <a:pt x="1813941" y="944232"/>
                      </a:lnTo>
                      <a:lnTo>
                        <a:pt x="1814245" y="945172"/>
                      </a:lnTo>
                      <a:lnTo>
                        <a:pt x="1814512" y="943330"/>
                      </a:lnTo>
                      <a:lnTo>
                        <a:pt x="1814512" y="941451"/>
                      </a:lnTo>
                      <a:lnTo>
                        <a:pt x="1814601" y="939584"/>
                      </a:lnTo>
                      <a:close/>
                    </a:path>
                    <a:path w="2059304" h="1015364">
                      <a:moveTo>
                        <a:pt x="1829739" y="985291"/>
                      </a:moveTo>
                      <a:lnTo>
                        <a:pt x="1827707" y="982916"/>
                      </a:lnTo>
                      <a:lnTo>
                        <a:pt x="1827237" y="982573"/>
                      </a:lnTo>
                      <a:lnTo>
                        <a:pt x="1827618" y="984186"/>
                      </a:lnTo>
                      <a:lnTo>
                        <a:pt x="1828393" y="984491"/>
                      </a:lnTo>
                      <a:lnTo>
                        <a:pt x="1826310" y="986053"/>
                      </a:lnTo>
                      <a:lnTo>
                        <a:pt x="1823605" y="986650"/>
                      </a:lnTo>
                      <a:lnTo>
                        <a:pt x="1822030" y="988872"/>
                      </a:lnTo>
                      <a:lnTo>
                        <a:pt x="1821916" y="989076"/>
                      </a:lnTo>
                      <a:lnTo>
                        <a:pt x="1822348" y="989622"/>
                      </a:lnTo>
                      <a:lnTo>
                        <a:pt x="1821878" y="990079"/>
                      </a:lnTo>
                      <a:lnTo>
                        <a:pt x="1820913" y="990955"/>
                      </a:lnTo>
                      <a:lnTo>
                        <a:pt x="1818906" y="990739"/>
                      </a:lnTo>
                      <a:lnTo>
                        <a:pt x="1818525" y="990536"/>
                      </a:lnTo>
                      <a:lnTo>
                        <a:pt x="1815439" y="988923"/>
                      </a:lnTo>
                      <a:lnTo>
                        <a:pt x="1812632" y="987920"/>
                      </a:lnTo>
                      <a:lnTo>
                        <a:pt x="1808848" y="988593"/>
                      </a:lnTo>
                      <a:lnTo>
                        <a:pt x="1808314" y="990536"/>
                      </a:lnTo>
                      <a:lnTo>
                        <a:pt x="1799907" y="986370"/>
                      </a:lnTo>
                      <a:lnTo>
                        <a:pt x="1799361" y="986104"/>
                      </a:lnTo>
                      <a:lnTo>
                        <a:pt x="1796935" y="986370"/>
                      </a:lnTo>
                      <a:lnTo>
                        <a:pt x="1790179" y="986256"/>
                      </a:lnTo>
                      <a:lnTo>
                        <a:pt x="1784248" y="985647"/>
                      </a:lnTo>
                      <a:lnTo>
                        <a:pt x="1782508" y="993990"/>
                      </a:lnTo>
                      <a:lnTo>
                        <a:pt x="1787334" y="993444"/>
                      </a:lnTo>
                      <a:lnTo>
                        <a:pt x="1792427" y="993419"/>
                      </a:lnTo>
                      <a:lnTo>
                        <a:pt x="1795970" y="992670"/>
                      </a:lnTo>
                      <a:lnTo>
                        <a:pt x="1798586" y="993698"/>
                      </a:lnTo>
                      <a:lnTo>
                        <a:pt x="1798942" y="994714"/>
                      </a:lnTo>
                      <a:lnTo>
                        <a:pt x="1801710" y="995527"/>
                      </a:lnTo>
                      <a:lnTo>
                        <a:pt x="1803831" y="993978"/>
                      </a:lnTo>
                      <a:lnTo>
                        <a:pt x="1806917" y="992695"/>
                      </a:lnTo>
                      <a:lnTo>
                        <a:pt x="1808695" y="994473"/>
                      </a:lnTo>
                      <a:lnTo>
                        <a:pt x="1811743" y="994460"/>
                      </a:lnTo>
                      <a:lnTo>
                        <a:pt x="1813471" y="993533"/>
                      </a:lnTo>
                      <a:lnTo>
                        <a:pt x="1816900" y="992695"/>
                      </a:lnTo>
                      <a:lnTo>
                        <a:pt x="1823694" y="991069"/>
                      </a:lnTo>
                      <a:lnTo>
                        <a:pt x="1825574" y="990955"/>
                      </a:lnTo>
                      <a:lnTo>
                        <a:pt x="1827009" y="989952"/>
                      </a:lnTo>
                      <a:lnTo>
                        <a:pt x="1827669" y="988364"/>
                      </a:lnTo>
                      <a:lnTo>
                        <a:pt x="1828863" y="986650"/>
                      </a:lnTo>
                      <a:lnTo>
                        <a:pt x="1828939" y="986510"/>
                      </a:lnTo>
                      <a:lnTo>
                        <a:pt x="1829511" y="986409"/>
                      </a:lnTo>
                      <a:lnTo>
                        <a:pt x="1829739" y="985291"/>
                      </a:lnTo>
                      <a:close/>
                    </a:path>
                    <a:path w="2059304" h="1015364">
                      <a:moveTo>
                        <a:pt x="1832559" y="943787"/>
                      </a:moveTo>
                      <a:lnTo>
                        <a:pt x="1831975" y="941781"/>
                      </a:lnTo>
                      <a:lnTo>
                        <a:pt x="1830362" y="941095"/>
                      </a:lnTo>
                      <a:lnTo>
                        <a:pt x="1828888" y="939584"/>
                      </a:lnTo>
                      <a:lnTo>
                        <a:pt x="1828584" y="936193"/>
                      </a:lnTo>
                      <a:lnTo>
                        <a:pt x="1831327" y="933627"/>
                      </a:lnTo>
                      <a:lnTo>
                        <a:pt x="1831251" y="934948"/>
                      </a:lnTo>
                      <a:lnTo>
                        <a:pt x="1832292" y="935748"/>
                      </a:lnTo>
                      <a:lnTo>
                        <a:pt x="1832406" y="933081"/>
                      </a:lnTo>
                      <a:lnTo>
                        <a:pt x="1830400" y="927328"/>
                      </a:lnTo>
                      <a:lnTo>
                        <a:pt x="1827695" y="931252"/>
                      </a:lnTo>
                      <a:lnTo>
                        <a:pt x="1826856" y="932522"/>
                      </a:lnTo>
                      <a:lnTo>
                        <a:pt x="1827085" y="933818"/>
                      </a:lnTo>
                      <a:lnTo>
                        <a:pt x="1826996" y="936472"/>
                      </a:lnTo>
                      <a:lnTo>
                        <a:pt x="1825726" y="938530"/>
                      </a:lnTo>
                      <a:lnTo>
                        <a:pt x="1825967" y="939901"/>
                      </a:lnTo>
                      <a:lnTo>
                        <a:pt x="1824850" y="942975"/>
                      </a:lnTo>
                      <a:lnTo>
                        <a:pt x="1823999" y="944460"/>
                      </a:lnTo>
                      <a:lnTo>
                        <a:pt x="1823529" y="945349"/>
                      </a:lnTo>
                      <a:lnTo>
                        <a:pt x="1822767" y="945845"/>
                      </a:lnTo>
                      <a:lnTo>
                        <a:pt x="1824189" y="946810"/>
                      </a:lnTo>
                      <a:lnTo>
                        <a:pt x="1825269" y="947877"/>
                      </a:lnTo>
                      <a:lnTo>
                        <a:pt x="1825929" y="947953"/>
                      </a:lnTo>
                      <a:lnTo>
                        <a:pt x="1827199" y="948105"/>
                      </a:lnTo>
                      <a:lnTo>
                        <a:pt x="1826387" y="947953"/>
                      </a:lnTo>
                      <a:lnTo>
                        <a:pt x="1828431" y="946264"/>
                      </a:lnTo>
                      <a:lnTo>
                        <a:pt x="1832559" y="943787"/>
                      </a:lnTo>
                      <a:close/>
                    </a:path>
                    <a:path w="2059304" h="1015364">
                      <a:moveTo>
                        <a:pt x="1836953" y="885113"/>
                      </a:moveTo>
                      <a:lnTo>
                        <a:pt x="1835950" y="884580"/>
                      </a:lnTo>
                      <a:lnTo>
                        <a:pt x="1834134" y="883704"/>
                      </a:lnTo>
                      <a:lnTo>
                        <a:pt x="1833753" y="885342"/>
                      </a:lnTo>
                      <a:lnTo>
                        <a:pt x="1833029" y="884732"/>
                      </a:lnTo>
                      <a:lnTo>
                        <a:pt x="1832521" y="883564"/>
                      </a:lnTo>
                      <a:lnTo>
                        <a:pt x="1832165" y="883424"/>
                      </a:lnTo>
                      <a:lnTo>
                        <a:pt x="1830285" y="883450"/>
                      </a:lnTo>
                      <a:lnTo>
                        <a:pt x="1829282" y="883602"/>
                      </a:lnTo>
                      <a:lnTo>
                        <a:pt x="1828165" y="883589"/>
                      </a:lnTo>
                      <a:lnTo>
                        <a:pt x="1826310" y="885291"/>
                      </a:lnTo>
                      <a:lnTo>
                        <a:pt x="1826348" y="886701"/>
                      </a:lnTo>
                      <a:lnTo>
                        <a:pt x="1827657" y="891908"/>
                      </a:lnTo>
                      <a:lnTo>
                        <a:pt x="1829981" y="886510"/>
                      </a:lnTo>
                      <a:lnTo>
                        <a:pt x="1831517" y="885520"/>
                      </a:lnTo>
                      <a:lnTo>
                        <a:pt x="1831479" y="886180"/>
                      </a:lnTo>
                      <a:lnTo>
                        <a:pt x="1831784" y="886980"/>
                      </a:lnTo>
                      <a:lnTo>
                        <a:pt x="1831289" y="889698"/>
                      </a:lnTo>
                      <a:lnTo>
                        <a:pt x="1830082" y="889203"/>
                      </a:lnTo>
                      <a:lnTo>
                        <a:pt x="1832635" y="890270"/>
                      </a:lnTo>
                      <a:lnTo>
                        <a:pt x="1833245" y="886523"/>
                      </a:lnTo>
                      <a:lnTo>
                        <a:pt x="1833943" y="887272"/>
                      </a:lnTo>
                      <a:lnTo>
                        <a:pt x="1836953" y="885113"/>
                      </a:lnTo>
                      <a:close/>
                    </a:path>
                    <a:path w="2059304" h="1015364">
                      <a:moveTo>
                        <a:pt x="1837423" y="987031"/>
                      </a:moveTo>
                      <a:lnTo>
                        <a:pt x="1836000" y="986129"/>
                      </a:lnTo>
                      <a:lnTo>
                        <a:pt x="1835302" y="986561"/>
                      </a:lnTo>
                      <a:lnTo>
                        <a:pt x="1837423" y="987031"/>
                      </a:lnTo>
                      <a:close/>
                    </a:path>
                    <a:path w="2059304" h="1015364">
                      <a:moveTo>
                        <a:pt x="1838820" y="984402"/>
                      </a:moveTo>
                      <a:lnTo>
                        <a:pt x="1834959" y="985481"/>
                      </a:lnTo>
                      <a:lnTo>
                        <a:pt x="1836000" y="986129"/>
                      </a:lnTo>
                      <a:lnTo>
                        <a:pt x="1838820" y="984402"/>
                      </a:lnTo>
                      <a:close/>
                    </a:path>
                    <a:path w="2059304" h="1015364">
                      <a:moveTo>
                        <a:pt x="1842630" y="985050"/>
                      </a:moveTo>
                      <a:lnTo>
                        <a:pt x="1840814" y="984592"/>
                      </a:lnTo>
                      <a:lnTo>
                        <a:pt x="1840585" y="984059"/>
                      </a:lnTo>
                      <a:lnTo>
                        <a:pt x="1838845" y="985380"/>
                      </a:lnTo>
                      <a:lnTo>
                        <a:pt x="1838820" y="984516"/>
                      </a:lnTo>
                      <a:lnTo>
                        <a:pt x="1838236" y="985075"/>
                      </a:lnTo>
                      <a:lnTo>
                        <a:pt x="1838540" y="985685"/>
                      </a:lnTo>
                      <a:lnTo>
                        <a:pt x="1838020" y="986129"/>
                      </a:lnTo>
                      <a:lnTo>
                        <a:pt x="1837918" y="987145"/>
                      </a:lnTo>
                      <a:lnTo>
                        <a:pt x="1837423" y="987031"/>
                      </a:lnTo>
                      <a:lnTo>
                        <a:pt x="1833524" y="988326"/>
                      </a:lnTo>
                      <a:lnTo>
                        <a:pt x="1832368" y="989393"/>
                      </a:lnTo>
                      <a:lnTo>
                        <a:pt x="1833372" y="989545"/>
                      </a:lnTo>
                      <a:lnTo>
                        <a:pt x="1834527" y="989876"/>
                      </a:lnTo>
                      <a:lnTo>
                        <a:pt x="1835454" y="989939"/>
                      </a:lnTo>
                      <a:lnTo>
                        <a:pt x="1836000" y="989952"/>
                      </a:lnTo>
                      <a:lnTo>
                        <a:pt x="1837232" y="990066"/>
                      </a:lnTo>
                      <a:lnTo>
                        <a:pt x="1837817" y="989545"/>
                      </a:lnTo>
                      <a:lnTo>
                        <a:pt x="1837880" y="989393"/>
                      </a:lnTo>
                      <a:lnTo>
                        <a:pt x="1837702" y="989037"/>
                      </a:lnTo>
                      <a:lnTo>
                        <a:pt x="1837613" y="988860"/>
                      </a:lnTo>
                      <a:lnTo>
                        <a:pt x="1837423" y="989037"/>
                      </a:lnTo>
                      <a:lnTo>
                        <a:pt x="1837613" y="988314"/>
                      </a:lnTo>
                      <a:lnTo>
                        <a:pt x="1838032" y="987767"/>
                      </a:lnTo>
                      <a:lnTo>
                        <a:pt x="1838769" y="988009"/>
                      </a:lnTo>
                      <a:lnTo>
                        <a:pt x="1839175" y="987767"/>
                      </a:lnTo>
                      <a:lnTo>
                        <a:pt x="1840204" y="987145"/>
                      </a:lnTo>
                      <a:lnTo>
                        <a:pt x="1842236" y="985380"/>
                      </a:lnTo>
                      <a:lnTo>
                        <a:pt x="1842630" y="985050"/>
                      </a:lnTo>
                      <a:close/>
                    </a:path>
                    <a:path w="2059304" h="1015364">
                      <a:moveTo>
                        <a:pt x="1847799" y="984669"/>
                      </a:moveTo>
                      <a:lnTo>
                        <a:pt x="1846211" y="985012"/>
                      </a:lnTo>
                      <a:lnTo>
                        <a:pt x="1844713" y="985850"/>
                      </a:lnTo>
                      <a:lnTo>
                        <a:pt x="1843201" y="986485"/>
                      </a:lnTo>
                      <a:lnTo>
                        <a:pt x="1841741" y="988555"/>
                      </a:lnTo>
                      <a:lnTo>
                        <a:pt x="1842617" y="988060"/>
                      </a:lnTo>
                      <a:lnTo>
                        <a:pt x="1844243" y="988809"/>
                      </a:lnTo>
                      <a:lnTo>
                        <a:pt x="1844586" y="988961"/>
                      </a:lnTo>
                      <a:lnTo>
                        <a:pt x="1844281" y="990092"/>
                      </a:lnTo>
                      <a:lnTo>
                        <a:pt x="1846554" y="988783"/>
                      </a:lnTo>
                      <a:lnTo>
                        <a:pt x="1847799" y="985735"/>
                      </a:lnTo>
                      <a:lnTo>
                        <a:pt x="1847799" y="984669"/>
                      </a:lnTo>
                      <a:close/>
                    </a:path>
                    <a:path w="2059304" h="1015364">
                      <a:moveTo>
                        <a:pt x="1861299" y="843203"/>
                      </a:moveTo>
                      <a:lnTo>
                        <a:pt x="1857400" y="841679"/>
                      </a:lnTo>
                      <a:lnTo>
                        <a:pt x="1856117" y="843457"/>
                      </a:lnTo>
                      <a:lnTo>
                        <a:pt x="1855355" y="844219"/>
                      </a:lnTo>
                      <a:lnTo>
                        <a:pt x="1854352" y="846251"/>
                      </a:lnTo>
                      <a:lnTo>
                        <a:pt x="1853806" y="846378"/>
                      </a:lnTo>
                      <a:lnTo>
                        <a:pt x="1851571" y="847140"/>
                      </a:lnTo>
                      <a:lnTo>
                        <a:pt x="1852371" y="849007"/>
                      </a:lnTo>
                      <a:lnTo>
                        <a:pt x="1849983" y="851458"/>
                      </a:lnTo>
                      <a:lnTo>
                        <a:pt x="1847646" y="852347"/>
                      </a:lnTo>
                      <a:lnTo>
                        <a:pt x="1845056" y="853490"/>
                      </a:lnTo>
                      <a:lnTo>
                        <a:pt x="1842897" y="853998"/>
                      </a:lnTo>
                      <a:lnTo>
                        <a:pt x="1842744" y="854887"/>
                      </a:lnTo>
                      <a:lnTo>
                        <a:pt x="1840090" y="854760"/>
                      </a:lnTo>
                      <a:lnTo>
                        <a:pt x="1834845" y="854125"/>
                      </a:lnTo>
                      <a:lnTo>
                        <a:pt x="1831911" y="853871"/>
                      </a:lnTo>
                      <a:lnTo>
                        <a:pt x="1830832" y="853871"/>
                      </a:lnTo>
                      <a:lnTo>
                        <a:pt x="1824964" y="855522"/>
                      </a:lnTo>
                      <a:lnTo>
                        <a:pt x="1820951" y="853236"/>
                      </a:lnTo>
                      <a:lnTo>
                        <a:pt x="1816430" y="851839"/>
                      </a:lnTo>
                      <a:lnTo>
                        <a:pt x="1815604" y="851585"/>
                      </a:lnTo>
                      <a:lnTo>
                        <a:pt x="1812582" y="851839"/>
                      </a:lnTo>
                      <a:lnTo>
                        <a:pt x="1808149" y="851712"/>
                      </a:lnTo>
                      <a:lnTo>
                        <a:pt x="1808581" y="850061"/>
                      </a:lnTo>
                      <a:lnTo>
                        <a:pt x="1807273" y="849045"/>
                      </a:lnTo>
                      <a:lnTo>
                        <a:pt x="1807032" y="848791"/>
                      </a:lnTo>
                      <a:lnTo>
                        <a:pt x="1806663" y="848410"/>
                      </a:lnTo>
                      <a:lnTo>
                        <a:pt x="1802803" y="848791"/>
                      </a:lnTo>
                      <a:lnTo>
                        <a:pt x="1800479" y="848283"/>
                      </a:lnTo>
                      <a:lnTo>
                        <a:pt x="1798015" y="847902"/>
                      </a:lnTo>
                      <a:lnTo>
                        <a:pt x="1798015" y="850315"/>
                      </a:lnTo>
                      <a:lnTo>
                        <a:pt x="1797634" y="851204"/>
                      </a:lnTo>
                      <a:lnTo>
                        <a:pt x="1797202" y="852474"/>
                      </a:lnTo>
                      <a:lnTo>
                        <a:pt x="1796364" y="852855"/>
                      </a:lnTo>
                      <a:lnTo>
                        <a:pt x="1794357" y="855268"/>
                      </a:lnTo>
                      <a:lnTo>
                        <a:pt x="1794852" y="855903"/>
                      </a:lnTo>
                      <a:lnTo>
                        <a:pt x="1791843" y="854633"/>
                      </a:lnTo>
                      <a:lnTo>
                        <a:pt x="1791423" y="853998"/>
                      </a:lnTo>
                      <a:lnTo>
                        <a:pt x="1791004" y="853744"/>
                      </a:lnTo>
                      <a:lnTo>
                        <a:pt x="1791347" y="852982"/>
                      </a:lnTo>
                      <a:lnTo>
                        <a:pt x="1790458" y="852601"/>
                      </a:lnTo>
                      <a:lnTo>
                        <a:pt x="1790306" y="853109"/>
                      </a:lnTo>
                      <a:lnTo>
                        <a:pt x="1789303" y="854506"/>
                      </a:lnTo>
                      <a:lnTo>
                        <a:pt x="1788795" y="855776"/>
                      </a:lnTo>
                      <a:lnTo>
                        <a:pt x="1787563" y="856284"/>
                      </a:lnTo>
                      <a:lnTo>
                        <a:pt x="1786674" y="856538"/>
                      </a:lnTo>
                      <a:lnTo>
                        <a:pt x="1786293" y="857935"/>
                      </a:lnTo>
                      <a:lnTo>
                        <a:pt x="1786102" y="858951"/>
                      </a:lnTo>
                      <a:lnTo>
                        <a:pt x="1785607" y="859967"/>
                      </a:lnTo>
                      <a:lnTo>
                        <a:pt x="1785061" y="859967"/>
                      </a:lnTo>
                      <a:lnTo>
                        <a:pt x="1783549" y="862380"/>
                      </a:lnTo>
                      <a:lnTo>
                        <a:pt x="1783092" y="864539"/>
                      </a:lnTo>
                      <a:lnTo>
                        <a:pt x="1782241" y="866952"/>
                      </a:lnTo>
                      <a:lnTo>
                        <a:pt x="1781632" y="866571"/>
                      </a:lnTo>
                      <a:lnTo>
                        <a:pt x="1781517" y="866698"/>
                      </a:lnTo>
                      <a:lnTo>
                        <a:pt x="1780857" y="866825"/>
                      </a:lnTo>
                      <a:lnTo>
                        <a:pt x="1782394" y="868222"/>
                      </a:lnTo>
                      <a:lnTo>
                        <a:pt x="1783092" y="868095"/>
                      </a:lnTo>
                      <a:lnTo>
                        <a:pt x="1783473" y="870000"/>
                      </a:lnTo>
                      <a:lnTo>
                        <a:pt x="1783905" y="871778"/>
                      </a:lnTo>
                      <a:lnTo>
                        <a:pt x="1784946" y="876731"/>
                      </a:lnTo>
                      <a:lnTo>
                        <a:pt x="1783283" y="878001"/>
                      </a:lnTo>
                      <a:lnTo>
                        <a:pt x="1782902" y="877239"/>
                      </a:lnTo>
                      <a:lnTo>
                        <a:pt x="1782635" y="876731"/>
                      </a:lnTo>
                      <a:lnTo>
                        <a:pt x="1782445" y="875969"/>
                      </a:lnTo>
                      <a:lnTo>
                        <a:pt x="1780171" y="878001"/>
                      </a:lnTo>
                      <a:lnTo>
                        <a:pt x="1778774" y="880922"/>
                      </a:lnTo>
                      <a:lnTo>
                        <a:pt x="1777072" y="883970"/>
                      </a:lnTo>
                      <a:lnTo>
                        <a:pt x="1776615" y="884224"/>
                      </a:lnTo>
                      <a:lnTo>
                        <a:pt x="1775460" y="887653"/>
                      </a:lnTo>
                      <a:lnTo>
                        <a:pt x="1777580" y="891082"/>
                      </a:lnTo>
                      <a:lnTo>
                        <a:pt x="1773910" y="897813"/>
                      </a:lnTo>
                      <a:lnTo>
                        <a:pt x="1772145" y="901369"/>
                      </a:lnTo>
                      <a:lnTo>
                        <a:pt x="1769986" y="904925"/>
                      </a:lnTo>
                      <a:lnTo>
                        <a:pt x="1769643" y="904671"/>
                      </a:lnTo>
                      <a:lnTo>
                        <a:pt x="1769135" y="904163"/>
                      </a:lnTo>
                      <a:lnTo>
                        <a:pt x="1768868" y="905179"/>
                      </a:lnTo>
                      <a:lnTo>
                        <a:pt x="1768805" y="905814"/>
                      </a:lnTo>
                      <a:lnTo>
                        <a:pt x="1769478" y="906830"/>
                      </a:lnTo>
                      <a:lnTo>
                        <a:pt x="1770405" y="909243"/>
                      </a:lnTo>
                      <a:lnTo>
                        <a:pt x="1769287" y="909370"/>
                      </a:lnTo>
                      <a:lnTo>
                        <a:pt x="1768983" y="910767"/>
                      </a:lnTo>
                      <a:lnTo>
                        <a:pt x="1768640" y="912164"/>
                      </a:lnTo>
                      <a:lnTo>
                        <a:pt x="1769948" y="913815"/>
                      </a:lnTo>
                      <a:lnTo>
                        <a:pt x="1771904" y="917473"/>
                      </a:lnTo>
                      <a:lnTo>
                        <a:pt x="1778965" y="916863"/>
                      </a:lnTo>
                      <a:lnTo>
                        <a:pt x="1778317" y="920038"/>
                      </a:lnTo>
                      <a:lnTo>
                        <a:pt x="1778508" y="920165"/>
                      </a:lnTo>
                      <a:lnTo>
                        <a:pt x="1781416" y="924229"/>
                      </a:lnTo>
                      <a:lnTo>
                        <a:pt x="1781530" y="924737"/>
                      </a:lnTo>
                      <a:lnTo>
                        <a:pt x="1780565" y="929055"/>
                      </a:lnTo>
                      <a:lnTo>
                        <a:pt x="1780489" y="929944"/>
                      </a:lnTo>
                      <a:lnTo>
                        <a:pt x="1780362" y="934262"/>
                      </a:lnTo>
                      <a:lnTo>
                        <a:pt x="1779460" y="937056"/>
                      </a:lnTo>
                      <a:lnTo>
                        <a:pt x="1777390" y="942390"/>
                      </a:lnTo>
                      <a:lnTo>
                        <a:pt x="1777314" y="944422"/>
                      </a:lnTo>
                      <a:lnTo>
                        <a:pt x="1778127" y="946962"/>
                      </a:lnTo>
                      <a:lnTo>
                        <a:pt x="1779663" y="945565"/>
                      </a:lnTo>
                      <a:lnTo>
                        <a:pt x="1780044" y="947978"/>
                      </a:lnTo>
                      <a:lnTo>
                        <a:pt x="1782013" y="948486"/>
                      </a:lnTo>
                      <a:lnTo>
                        <a:pt x="1782584" y="948105"/>
                      </a:lnTo>
                      <a:lnTo>
                        <a:pt x="1785251" y="946708"/>
                      </a:lnTo>
                      <a:lnTo>
                        <a:pt x="1787144" y="947343"/>
                      </a:lnTo>
                      <a:lnTo>
                        <a:pt x="1788718" y="946708"/>
                      </a:lnTo>
                      <a:lnTo>
                        <a:pt x="1790915" y="945819"/>
                      </a:lnTo>
                      <a:lnTo>
                        <a:pt x="1791271" y="946200"/>
                      </a:lnTo>
                      <a:lnTo>
                        <a:pt x="1792770" y="947597"/>
                      </a:lnTo>
                      <a:lnTo>
                        <a:pt x="1792274" y="945819"/>
                      </a:lnTo>
                      <a:lnTo>
                        <a:pt x="1792211" y="945565"/>
                      </a:lnTo>
                      <a:lnTo>
                        <a:pt x="1791893" y="944422"/>
                      </a:lnTo>
                      <a:lnTo>
                        <a:pt x="1789798" y="941501"/>
                      </a:lnTo>
                      <a:lnTo>
                        <a:pt x="1790801" y="938453"/>
                      </a:lnTo>
                      <a:lnTo>
                        <a:pt x="1791423" y="936675"/>
                      </a:lnTo>
                      <a:lnTo>
                        <a:pt x="1792808" y="934262"/>
                      </a:lnTo>
                      <a:lnTo>
                        <a:pt x="1791766" y="929055"/>
                      </a:lnTo>
                      <a:lnTo>
                        <a:pt x="1791779" y="926261"/>
                      </a:lnTo>
                      <a:lnTo>
                        <a:pt x="1792643" y="920038"/>
                      </a:lnTo>
                      <a:lnTo>
                        <a:pt x="1792770" y="916863"/>
                      </a:lnTo>
                      <a:lnTo>
                        <a:pt x="1791652" y="912545"/>
                      </a:lnTo>
                      <a:lnTo>
                        <a:pt x="1790001" y="911656"/>
                      </a:lnTo>
                      <a:lnTo>
                        <a:pt x="1790153" y="908354"/>
                      </a:lnTo>
                      <a:lnTo>
                        <a:pt x="1790839" y="908227"/>
                      </a:lnTo>
                      <a:lnTo>
                        <a:pt x="1794548" y="905814"/>
                      </a:lnTo>
                      <a:lnTo>
                        <a:pt x="1795462" y="904925"/>
                      </a:lnTo>
                      <a:lnTo>
                        <a:pt x="1796122" y="904290"/>
                      </a:lnTo>
                      <a:lnTo>
                        <a:pt x="1802485" y="905179"/>
                      </a:lnTo>
                      <a:lnTo>
                        <a:pt x="1801622" y="909370"/>
                      </a:lnTo>
                      <a:lnTo>
                        <a:pt x="1801139" y="913561"/>
                      </a:lnTo>
                      <a:lnTo>
                        <a:pt x="1799793" y="913815"/>
                      </a:lnTo>
                      <a:lnTo>
                        <a:pt x="1798675" y="916355"/>
                      </a:lnTo>
                      <a:lnTo>
                        <a:pt x="1798434" y="916482"/>
                      </a:lnTo>
                      <a:lnTo>
                        <a:pt x="1800567" y="918895"/>
                      </a:lnTo>
                      <a:lnTo>
                        <a:pt x="1801749" y="920419"/>
                      </a:lnTo>
                      <a:lnTo>
                        <a:pt x="1803260" y="921562"/>
                      </a:lnTo>
                      <a:lnTo>
                        <a:pt x="1803679" y="921181"/>
                      </a:lnTo>
                      <a:lnTo>
                        <a:pt x="1803996" y="921435"/>
                      </a:lnTo>
                      <a:lnTo>
                        <a:pt x="1805000" y="922324"/>
                      </a:lnTo>
                      <a:lnTo>
                        <a:pt x="1805343" y="923340"/>
                      </a:lnTo>
                      <a:lnTo>
                        <a:pt x="1806956" y="924229"/>
                      </a:lnTo>
                      <a:lnTo>
                        <a:pt x="1807502" y="924102"/>
                      </a:lnTo>
                      <a:lnTo>
                        <a:pt x="1809280" y="925118"/>
                      </a:lnTo>
                      <a:lnTo>
                        <a:pt x="1809381" y="924737"/>
                      </a:lnTo>
                      <a:lnTo>
                        <a:pt x="1808937" y="926642"/>
                      </a:lnTo>
                      <a:lnTo>
                        <a:pt x="1808581" y="928039"/>
                      </a:lnTo>
                      <a:lnTo>
                        <a:pt x="1806956" y="931468"/>
                      </a:lnTo>
                      <a:lnTo>
                        <a:pt x="1806956" y="931849"/>
                      </a:lnTo>
                      <a:lnTo>
                        <a:pt x="1809470" y="934770"/>
                      </a:lnTo>
                      <a:lnTo>
                        <a:pt x="1810042" y="936167"/>
                      </a:lnTo>
                      <a:lnTo>
                        <a:pt x="1813242" y="936294"/>
                      </a:lnTo>
                      <a:lnTo>
                        <a:pt x="1814283" y="936548"/>
                      </a:lnTo>
                      <a:lnTo>
                        <a:pt x="1816950" y="935786"/>
                      </a:lnTo>
                      <a:lnTo>
                        <a:pt x="1816836" y="933373"/>
                      </a:lnTo>
                      <a:lnTo>
                        <a:pt x="1817484" y="930960"/>
                      </a:lnTo>
                      <a:lnTo>
                        <a:pt x="1820418" y="930452"/>
                      </a:lnTo>
                      <a:lnTo>
                        <a:pt x="1821383" y="930198"/>
                      </a:lnTo>
                      <a:lnTo>
                        <a:pt x="1823008" y="929944"/>
                      </a:lnTo>
                      <a:lnTo>
                        <a:pt x="1825002" y="930198"/>
                      </a:lnTo>
                      <a:lnTo>
                        <a:pt x="1824507" y="931849"/>
                      </a:lnTo>
                      <a:lnTo>
                        <a:pt x="1827212" y="929944"/>
                      </a:lnTo>
                      <a:lnTo>
                        <a:pt x="1828482" y="929055"/>
                      </a:lnTo>
                      <a:lnTo>
                        <a:pt x="1828520" y="926261"/>
                      </a:lnTo>
                      <a:lnTo>
                        <a:pt x="1828546" y="923975"/>
                      </a:lnTo>
                      <a:lnTo>
                        <a:pt x="1824888" y="926261"/>
                      </a:lnTo>
                      <a:lnTo>
                        <a:pt x="1824202" y="925118"/>
                      </a:lnTo>
                      <a:lnTo>
                        <a:pt x="1824253" y="924737"/>
                      </a:lnTo>
                      <a:lnTo>
                        <a:pt x="1824355" y="924102"/>
                      </a:lnTo>
                      <a:lnTo>
                        <a:pt x="1824393" y="923848"/>
                      </a:lnTo>
                      <a:lnTo>
                        <a:pt x="1824431" y="923594"/>
                      </a:lnTo>
                      <a:lnTo>
                        <a:pt x="1822615" y="923848"/>
                      </a:lnTo>
                      <a:lnTo>
                        <a:pt x="1823148" y="923721"/>
                      </a:lnTo>
                      <a:lnTo>
                        <a:pt x="1823580" y="923340"/>
                      </a:lnTo>
                      <a:lnTo>
                        <a:pt x="1824088" y="923086"/>
                      </a:lnTo>
                      <a:lnTo>
                        <a:pt x="1823186" y="922451"/>
                      </a:lnTo>
                      <a:lnTo>
                        <a:pt x="1822234" y="921181"/>
                      </a:lnTo>
                      <a:lnTo>
                        <a:pt x="1822043" y="920927"/>
                      </a:lnTo>
                      <a:lnTo>
                        <a:pt x="1821154" y="920419"/>
                      </a:lnTo>
                      <a:lnTo>
                        <a:pt x="1820875" y="920292"/>
                      </a:lnTo>
                      <a:lnTo>
                        <a:pt x="1820341" y="920419"/>
                      </a:lnTo>
                      <a:lnTo>
                        <a:pt x="1819910" y="920165"/>
                      </a:lnTo>
                      <a:lnTo>
                        <a:pt x="1818716" y="919657"/>
                      </a:lnTo>
                      <a:lnTo>
                        <a:pt x="1817255" y="917498"/>
                      </a:lnTo>
                      <a:lnTo>
                        <a:pt x="1819376" y="917879"/>
                      </a:lnTo>
                      <a:lnTo>
                        <a:pt x="1819554" y="917498"/>
                      </a:lnTo>
                      <a:lnTo>
                        <a:pt x="1820722" y="914958"/>
                      </a:lnTo>
                      <a:lnTo>
                        <a:pt x="1818754" y="913434"/>
                      </a:lnTo>
                      <a:lnTo>
                        <a:pt x="1820951" y="912926"/>
                      </a:lnTo>
                      <a:lnTo>
                        <a:pt x="1821383" y="912545"/>
                      </a:lnTo>
                      <a:lnTo>
                        <a:pt x="1821649" y="912164"/>
                      </a:lnTo>
                      <a:lnTo>
                        <a:pt x="1819186" y="910513"/>
                      </a:lnTo>
                      <a:lnTo>
                        <a:pt x="1819262" y="910386"/>
                      </a:lnTo>
                      <a:lnTo>
                        <a:pt x="1816912" y="906703"/>
                      </a:lnTo>
                      <a:lnTo>
                        <a:pt x="1815782" y="906576"/>
                      </a:lnTo>
                      <a:lnTo>
                        <a:pt x="1814449" y="904290"/>
                      </a:lnTo>
                      <a:lnTo>
                        <a:pt x="1813864" y="903274"/>
                      </a:lnTo>
                      <a:lnTo>
                        <a:pt x="1813204" y="899337"/>
                      </a:lnTo>
                      <a:lnTo>
                        <a:pt x="1811172" y="898321"/>
                      </a:lnTo>
                      <a:lnTo>
                        <a:pt x="1810156" y="897813"/>
                      </a:lnTo>
                      <a:lnTo>
                        <a:pt x="1809470" y="898321"/>
                      </a:lnTo>
                      <a:lnTo>
                        <a:pt x="1808314" y="897559"/>
                      </a:lnTo>
                      <a:lnTo>
                        <a:pt x="1807845" y="896416"/>
                      </a:lnTo>
                      <a:lnTo>
                        <a:pt x="1807146" y="895400"/>
                      </a:lnTo>
                      <a:lnTo>
                        <a:pt x="1806803" y="894892"/>
                      </a:lnTo>
                      <a:lnTo>
                        <a:pt x="1806194" y="893749"/>
                      </a:lnTo>
                      <a:lnTo>
                        <a:pt x="1805495" y="895400"/>
                      </a:lnTo>
                      <a:lnTo>
                        <a:pt x="1805381" y="894765"/>
                      </a:lnTo>
                      <a:lnTo>
                        <a:pt x="1805457" y="893495"/>
                      </a:lnTo>
                      <a:lnTo>
                        <a:pt x="1808937" y="894130"/>
                      </a:lnTo>
                      <a:lnTo>
                        <a:pt x="1808886" y="895400"/>
                      </a:lnTo>
                      <a:lnTo>
                        <a:pt x="1811108" y="893495"/>
                      </a:lnTo>
                      <a:lnTo>
                        <a:pt x="1815871" y="889431"/>
                      </a:lnTo>
                      <a:lnTo>
                        <a:pt x="1818259" y="888415"/>
                      </a:lnTo>
                      <a:lnTo>
                        <a:pt x="1820951" y="887272"/>
                      </a:lnTo>
                      <a:lnTo>
                        <a:pt x="1824850" y="882700"/>
                      </a:lnTo>
                      <a:lnTo>
                        <a:pt x="1826158" y="880922"/>
                      </a:lnTo>
                      <a:lnTo>
                        <a:pt x="1826272" y="880795"/>
                      </a:lnTo>
                      <a:lnTo>
                        <a:pt x="1827085" y="879906"/>
                      </a:lnTo>
                      <a:lnTo>
                        <a:pt x="1827276" y="879652"/>
                      </a:lnTo>
                      <a:lnTo>
                        <a:pt x="1831555" y="878890"/>
                      </a:lnTo>
                      <a:lnTo>
                        <a:pt x="1832330" y="880033"/>
                      </a:lnTo>
                      <a:lnTo>
                        <a:pt x="1834451" y="881557"/>
                      </a:lnTo>
                      <a:lnTo>
                        <a:pt x="1834718" y="879144"/>
                      </a:lnTo>
                      <a:lnTo>
                        <a:pt x="1834845" y="878890"/>
                      </a:lnTo>
                      <a:lnTo>
                        <a:pt x="1835340" y="877874"/>
                      </a:lnTo>
                      <a:lnTo>
                        <a:pt x="1836153" y="876223"/>
                      </a:lnTo>
                      <a:lnTo>
                        <a:pt x="1832686" y="875080"/>
                      </a:lnTo>
                      <a:lnTo>
                        <a:pt x="1829866" y="874826"/>
                      </a:lnTo>
                      <a:lnTo>
                        <a:pt x="1829092" y="875461"/>
                      </a:lnTo>
                      <a:lnTo>
                        <a:pt x="1827936" y="877239"/>
                      </a:lnTo>
                      <a:lnTo>
                        <a:pt x="1829943" y="877874"/>
                      </a:lnTo>
                      <a:lnTo>
                        <a:pt x="1825244" y="877747"/>
                      </a:lnTo>
                      <a:lnTo>
                        <a:pt x="1822691" y="877747"/>
                      </a:lnTo>
                      <a:lnTo>
                        <a:pt x="1820265" y="877366"/>
                      </a:lnTo>
                      <a:lnTo>
                        <a:pt x="1816646" y="878128"/>
                      </a:lnTo>
                      <a:lnTo>
                        <a:pt x="1814868" y="879398"/>
                      </a:lnTo>
                      <a:lnTo>
                        <a:pt x="1812239" y="880795"/>
                      </a:lnTo>
                      <a:lnTo>
                        <a:pt x="1811007" y="879398"/>
                      </a:lnTo>
                      <a:lnTo>
                        <a:pt x="1809546" y="878890"/>
                      </a:lnTo>
                      <a:lnTo>
                        <a:pt x="1803184" y="885748"/>
                      </a:lnTo>
                      <a:lnTo>
                        <a:pt x="1800517" y="888415"/>
                      </a:lnTo>
                      <a:lnTo>
                        <a:pt x="1799259" y="886891"/>
                      </a:lnTo>
                      <a:lnTo>
                        <a:pt x="1797900" y="885240"/>
                      </a:lnTo>
                      <a:lnTo>
                        <a:pt x="1795932" y="886891"/>
                      </a:lnTo>
                      <a:lnTo>
                        <a:pt x="1794929" y="884859"/>
                      </a:lnTo>
                      <a:lnTo>
                        <a:pt x="1794662" y="881176"/>
                      </a:lnTo>
                      <a:lnTo>
                        <a:pt x="1792554" y="880414"/>
                      </a:lnTo>
                      <a:lnTo>
                        <a:pt x="1792198" y="880287"/>
                      </a:lnTo>
                      <a:lnTo>
                        <a:pt x="1792109" y="879906"/>
                      </a:lnTo>
                      <a:lnTo>
                        <a:pt x="1791423" y="879779"/>
                      </a:lnTo>
                      <a:lnTo>
                        <a:pt x="1791144" y="880414"/>
                      </a:lnTo>
                      <a:lnTo>
                        <a:pt x="1789684" y="879906"/>
                      </a:lnTo>
                      <a:lnTo>
                        <a:pt x="1788845" y="878509"/>
                      </a:lnTo>
                      <a:lnTo>
                        <a:pt x="1788502" y="878001"/>
                      </a:lnTo>
                      <a:lnTo>
                        <a:pt x="1787410" y="876350"/>
                      </a:lnTo>
                      <a:lnTo>
                        <a:pt x="1786953" y="873937"/>
                      </a:lnTo>
                      <a:lnTo>
                        <a:pt x="1786712" y="872794"/>
                      </a:lnTo>
                      <a:lnTo>
                        <a:pt x="1786178" y="871397"/>
                      </a:lnTo>
                      <a:lnTo>
                        <a:pt x="1786255" y="868095"/>
                      </a:lnTo>
                      <a:lnTo>
                        <a:pt x="1786293" y="866952"/>
                      </a:lnTo>
                      <a:lnTo>
                        <a:pt x="1786356" y="866698"/>
                      </a:lnTo>
                      <a:lnTo>
                        <a:pt x="1788604" y="862126"/>
                      </a:lnTo>
                      <a:lnTo>
                        <a:pt x="1795157" y="857681"/>
                      </a:lnTo>
                      <a:lnTo>
                        <a:pt x="1801406" y="860348"/>
                      </a:lnTo>
                      <a:lnTo>
                        <a:pt x="1813445" y="859967"/>
                      </a:lnTo>
                      <a:lnTo>
                        <a:pt x="1821459" y="859967"/>
                      </a:lnTo>
                      <a:lnTo>
                        <a:pt x="1826742" y="859205"/>
                      </a:lnTo>
                      <a:lnTo>
                        <a:pt x="1832330" y="860983"/>
                      </a:lnTo>
                      <a:lnTo>
                        <a:pt x="1834108" y="861999"/>
                      </a:lnTo>
                      <a:lnTo>
                        <a:pt x="1838236" y="863142"/>
                      </a:lnTo>
                      <a:lnTo>
                        <a:pt x="1839353" y="862888"/>
                      </a:lnTo>
                      <a:lnTo>
                        <a:pt x="1841665" y="862507"/>
                      </a:lnTo>
                      <a:lnTo>
                        <a:pt x="1843049" y="862126"/>
                      </a:lnTo>
                      <a:lnTo>
                        <a:pt x="1846567" y="862126"/>
                      </a:lnTo>
                      <a:lnTo>
                        <a:pt x="1849361" y="859205"/>
                      </a:lnTo>
                      <a:lnTo>
                        <a:pt x="1850809" y="857681"/>
                      </a:lnTo>
                      <a:lnTo>
                        <a:pt x="1852510" y="855903"/>
                      </a:lnTo>
                      <a:lnTo>
                        <a:pt x="1852879" y="855522"/>
                      </a:lnTo>
                      <a:lnTo>
                        <a:pt x="1853565" y="854887"/>
                      </a:lnTo>
                      <a:lnTo>
                        <a:pt x="1853971" y="854506"/>
                      </a:lnTo>
                      <a:lnTo>
                        <a:pt x="1855965" y="853744"/>
                      </a:lnTo>
                      <a:lnTo>
                        <a:pt x="1856727" y="852347"/>
                      </a:lnTo>
                      <a:lnTo>
                        <a:pt x="1857552" y="850696"/>
                      </a:lnTo>
                      <a:lnTo>
                        <a:pt x="1858708" y="848918"/>
                      </a:lnTo>
                      <a:lnTo>
                        <a:pt x="1858759" y="848791"/>
                      </a:lnTo>
                      <a:lnTo>
                        <a:pt x="1860283" y="844600"/>
                      </a:lnTo>
                      <a:lnTo>
                        <a:pt x="1861299" y="843203"/>
                      </a:lnTo>
                      <a:close/>
                    </a:path>
                    <a:path w="2059304" h="1015364">
                      <a:moveTo>
                        <a:pt x="1862518" y="893800"/>
                      </a:moveTo>
                      <a:lnTo>
                        <a:pt x="1861667" y="891451"/>
                      </a:lnTo>
                      <a:lnTo>
                        <a:pt x="1861172" y="891768"/>
                      </a:lnTo>
                      <a:lnTo>
                        <a:pt x="1861058" y="892492"/>
                      </a:lnTo>
                      <a:lnTo>
                        <a:pt x="1860638" y="892340"/>
                      </a:lnTo>
                      <a:lnTo>
                        <a:pt x="1860638" y="892060"/>
                      </a:lnTo>
                      <a:lnTo>
                        <a:pt x="1860588" y="891768"/>
                      </a:lnTo>
                      <a:lnTo>
                        <a:pt x="1860054" y="891628"/>
                      </a:lnTo>
                      <a:lnTo>
                        <a:pt x="1860092" y="891222"/>
                      </a:lnTo>
                      <a:lnTo>
                        <a:pt x="1859356" y="891311"/>
                      </a:lnTo>
                      <a:lnTo>
                        <a:pt x="1859013" y="891997"/>
                      </a:lnTo>
                      <a:lnTo>
                        <a:pt x="1858086" y="892060"/>
                      </a:lnTo>
                      <a:lnTo>
                        <a:pt x="1858251" y="891489"/>
                      </a:lnTo>
                      <a:lnTo>
                        <a:pt x="1855698" y="891171"/>
                      </a:lnTo>
                      <a:lnTo>
                        <a:pt x="1851723" y="889152"/>
                      </a:lnTo>
                      <a:lnTo>
                        <a:pt x="1849577" y="890524"/>
                      </a:lnTo>
                      <a:lnTo>
                        <a:pt x="1849539" y="891171"/>
                      </a:lnTo>
                      <a:lnTo>
                        <a:pt x="1849424" y="892644"/>
                      </a:lnTo>
                      <a:lnTo>
                        <a:pt x="1849310" y="894600"/>
                      </a:lnTo>
                      <a:lnTo>
                        <a:pt x="1849450" y="895654"/>
                      </a:lnTo>
                      <a:lnTo>
                        <a:pt x="1850923" y="895477"/>
                      </a:lnTo>
                      <a:lnTo>
                        <a:pt x="1852104" y="895413"/>
                      </a:lnTo>
                      <a:lnTo>
                        <a:pt x="1854339" y="894600"/>
                      </a:lnTo>
                      <a:lnTo>
                        <a:pt x="1854581" y="893978"/>
                      </a:lnTo>
                      <a:lnTo>
                        <a:pt x="1857463" y="894638"/>
                      </a:lnTo>
                      <a:lnTo>
                        <a:pt x="1859508" y="894702"/>
                      </a:lnTo>
                      <a:lnTo>
                        <a:pt x="1861146" y="893978"/>
                      </a:lnTo>
                      <a:lnTo>
                        <a:pt x="1862289" y="893470"/>
                      </a:lnTo>
                      <a:lnTo>
                        <a:pt x="1862518" y="893800"/>
                      </a:lnTo>
                      <a:close/>
                    </a:path>
                    <a:path w="2059304" h="1015364">
                      <a:moveTo>
                        <a:pt x="1885010" y="977138"/>
                      </a:moveTo>
                      <a:lnTo>
                        <a:pt x="1883079" y="976655"/>
                      </a:lnTo>
                      <a:lnTo>
                        <a:pt x="1880501" y="975537"/>
                      </a:lnTo>
                      <a:lnTo>
                        <a:pt x="1880679" y="975372"/>
                      </a:lnTo>
                      <a:lnTo>
                        <a:pt x="1878876" y="975855"/>
                      </a:lnTo>
                      <a:lnTo>
                        <a:pt x="1878304" y="976198"/>
                      </a:lnTo>
                      <a:lnTo>
                        <a:pt x="1876717" y="976896"/>
                      </a:lnTo>
                      <a:lnTo>
                        <a:pt x="1875675" y="977468"/>
                      </a:lnTo>
                      <a:lnTo>
                        <a:pt x="1872322" y="977379"/>
                      </a:lnTo>
                      <a:lnTo>
                        <a:pt x="1872322" y="976287"/>
                      </a:lnTo>
                      <a:lnTo>
                        <a:pt x="1869579" y="979131"/>
                      </a:lnTo>
                      <a:lnTo>
                        <a:pt x="1869732" y="979932"/>
                      </a:lnTo>
                      <a:lnTo>
                        <a:pt x="1869084" y="981849"/>
                      </a:lnTo>
                      <a:lnTo>
                        <a:pt x="1871980" y="980440"/>
                      </a:lnTo>
                      <a:lnTo>
                        <a:pt x="1873059" y="979728"/>
                      </a:lnTo>
                      <a:lnTo>
                        <a:pt x="1879257" y="981113"/>
                      </a:lnTo>
                      <a:lnTo>
                        <a:pt x="1879803" y="980198"/>
                      </a:lnTo>
                      <a:lnTo>
                        <a:pt x="1885010" y="977138"/>
                      </a:lnTo>
                      <a:close/>
                    </a:path>
                    <a:path w="2059304" h="1015364">
                      <a:moveTo>
                        <a:pt x="1885188" y="805027"/>
                      </a:moveTo>
                      <a:lnTo>
                        <a:pt x="1884489" y="804799"/>
                      </a:lnTo>
                      <a:lnTo>
                        <a:pt x="1884464" y="804456"/>
                      </a:lnTo>
                      <a:lnTo>
                        <a:pt x="1884426" y="804164"/>
                      </a:lnTo>
                      <a:lnTo>
                        <a:pt x="1884654" y="803427"/>
                      </a:lnTo>
                      <a:lnTo>
                        <a:pt x="1884565" y="803275"/>
                      </a:lnTo>
                      <a:lnTo>
                        <a:pt x="1884184" y="802436"/>
                      </a:lnTo>
                      <a:lnTo>
                        <a:pt x="1883994" y="801928"/>
                      </a:lnTo>
                      <a:lnTo>
                        <a:pt x="1882876" y="801776"/>
                      </a:lnTo>
                      <a:lnTo>
                        <a:pt x="1882571" y="804392"/>
                      </a:lnTo>
                      <a:lnTo>
                        <a:pt x="1882838" y="807110"/>
                      </a:lnTo>
                      <a:lnTo>
                        <a:pt x="1882838" y="809752"/>
                      </a:lnTo>
                      <a:lnTo>
                        <a:pt x="1883727" y="808799"/>
                      </a:lnTo>
                      <a:lnTo>
                        <a:pt x="1883765" y="807669"/>
                      </a:lnTo>
                      <a:lnTo>
                        <a:pt x="1884311" y="806754"/>
                      </a:lnTo>
                      <a:lnTo>
                        <a:pt x="1884464" y="806462"/>
                      </a:lnTo>
                      <a:lnTo>
                        <a:pt x="1885188" y="805713"/>
                      </a:lnTo>
                      <a:lnTo>
                        <a:pt x="1885188" y="805027"/>
                      </a:lnTo>
                      <a:close/>
                    </a:path>
                    <a:path w="2059304" h="1015364">
                      <a:moveTo>
                        <a:pt x="1890204" y="917892"/>
                      </a:moveTo>
                      <a:lnTo>
                        <a:pt x="1890166" y="915377"/>
                      </a:lnTo>
                      <a:lnTo>
                        <a:pt x="1889620" y="914400"/>
                      </a:lnTo>
                      <a:lnTo>
                        <a:pt x="1888744" y="914971"/>
                      </a:lnTo>
                      <a:lnTo>
                        <a:pt x="1887893" y="912787"/>
                      </a:lnTo>
                      <a:lnTo>
                        <a:pt x="1887550" y="912482"/>
                      </a:lnTo>
                      <a:lnTo>
                        <a:pt x="1886661" y="912025"/>
                      </a:lnTo>
                      <a:lnTo>
                        <a:pt x="1884006" y="910666"/>
                      </a:lnTo>
                      <a:lnTo>
                        <a:pt x="1881530" y="910755"/>
                      </a:lnTo>
                      <a:lnTo>
                        <a:pt x="1878253" y="910767"/>
                      </a:lnTo>
                      <a:lnTo>
                        <a:pt x="1875205" y="911364"/>
                      </a:lnTo>
                      <a:lnTo>
                        <a:pt x="1870417" y="911263"/>
                      </a:lnTo>
                      <a:lnTo>
                        <a:pt x="1873084" y="916419"/>
                      </a:lnTo>
                      <a:lnTo>
                        <a:pt x="1874481" y="917994"/>
                      </a:lnTo>
                      <a:lnTo>
                        <a:pt x="1876361" y="919568"/>
                      </a:lnTo>
                      <a:lnTo>
                        <a:pt x="1880298" y="921651"/>
                      </a:lnTo>
                      <a:lnTo>
                        <a:pt x="1883498" y="921791"/>
                      </a:lnTo>
                      <a:lnTo>
                        <a:pt x="1889010" y="919988"/>
                      </a:lnTo>
                      <a:lnTo>
                        <a:pt x="1890204" y="917892"/>
                      </a:lnTo>
                      <a:close/>
                    </a:path>
                    <a:path w="2059304" h="1015364">
                      <a:moveTo>
                        <a:pt x="1891169" y="855027"/>
                      </a:moveTo>
                      <a:lnTo>
                        <a:pt x="1890941" y="855459"/>
                      </a:lnTo>
                      <a:lnTo>
                        <a:pt x="1890864" y="855865"/>
                      </a:lnTo>
                      <a:lnTo>
                        <a:pt x="1891055" y="855472"/>
                      </a:lnTo>
                      <a:lnTo>
                        <a:pt x="1891169" y="855027"/>
                      </a:lnTo>
                      <a:close/>
                    </a:path>
                    <a:path w="2059304" h="1015364">
                      <a:moveTo>
                        <a:pt x="1892401" y="974534"/>
                      </a:moveTo>
                      <a:lnTo>
                        <a:pt x="1891982" y="975347"/>
                      </a:lnTo>
                      <a:lnTo>
                        <a:pt x="1891360" y="975753"/>
                      </a:lnTo>
                      <a:lnTo>
                        <a:pt x="1891512" y="976541"/>
                      </a:lnTo>
                      <a:lnTo>
                        <a:pt x="1891906" y="975931"/>
                      </a:lnTo>
                      <a:lnTo>
                        <a:pt x="1892173" y="975233"/>
                      </a:lnTo>
                      <a:lnTo>
                        <a:pt x="1892401" y="974534"/>
                      </a:lnTo>
                      <a:close/>
                    </a:path>
                    <a:path w="2059304" h="1015364">
                      <a:moveTo>
                        <a:pt x="1892719" y="856234"/>
                      </a:moveTo>
                      <a:lnTo>
                        <a:pt x="1892020" y="856602"/>
                      </a:lnTo>
                      <a:lnTo>
                        <a:pt x="1891372" y="857199"/>
                      </a:lnTo>
                      <a:lnTo>
                        <a:pt x="1891792" y="857885"/>
                      </a:lnTo>
                      <a:lnTo>
                        <a:pt x="1892173" y="857402"/>
                      </a:lnTo>
                      <a:lnTo>
                        <a:pt x="1892528" y="856830"/>
                      </a:lnTo>
                      <a:lnTo>
                        <a:pt x="1892719" y="856234"/>
                      </a:lnTo>
                      <a:close/>
                    </a:path>
                    <a:path w="2059304" h="1015364">
                      <a:moveTo>
                        <a:pt x="1896021" y="877417"/>
                      </a:moveTo>
                      <a:lnTo>
                        <a:pt x="1895386" y="874102"/>
                      </a:lnTo>
                      <a:lnTo>
                        <a:pt x="1895259" y="873252"/>
                      </a:lnTo>
                      <a:lnTo>
                        <a:pt x="1894967" y="872769"/>
                      </a:lnTo>
                      <a:lnTo>
                        <a:pt x="1894027" y="871232"/>
                      </a:lnTo>
                      <a:lnTo>
                        <a:pt x="1893722" y="871588"/>
                      </a:lnTo>
                      <a:lnTo>
                        <a:pt x="1893227" y="872718"/>
                      </a:lnTo>
                      <a:lnTo>
                        <a:pt x="1892325" y="872769"/>
                      </a:lnTo>
                      <a:lnTo>
                        <a:pt x="1892096" y="871474"/>
                      </a:lnTo>
                      <a:lnTo>
                        <a:pt x="1890090" y="871689"/>
                      </a:lnTo>
                      <a:lnTo>
                        <a:pt x="1890903" y="874395"/>
                      </a:lnTo>
                      <a:lnTo>
                        <a:pt x="1892020" y="875538"/>
                      </a:lnTo>
                      <a:lnTo>
                        <a:pt x="1893023" y="875868"/>
                      </a:lnTo>
                      <a:lnTo>
                        <a:pt x="1893138" y="876236"/>
                      </a:lnTo>
                      <a:lnTo>
                        <a:pt x="1893252" y="876465"/>
                      </a:lnTo>
                      <a:lnTo>
                        <a:pt x="1892681" y="876820"/>
                      </a:lnTo>
                      <a:lnTo>
                        <a:pt x="1893100" y="877887"/>
                      </a:lnTo>
                      <a:lnTo>
                        <a:pt x="1892325" y="878916"/>
                      </a:lnTo>
                      <a:lnTo>
                        <a:pt x="1896021" y="877417"/>
                      </a:lnTo>
                      <a:close/>
                    </a:path>
                    <a:path w="2059304" h="1015364">
                      <a:moveTo>
                        <a:pt x="1899539" y="877671"/>
                      </a:moveTo>
                      <a:lnTo>
                        <a:pt x="1896833" y="877163"/>
                      </a:lnTo>
                      <a:lnTo>
                        <a:pt x="1896033" y="876579"/>
                      </a:lnTo>
                      <a:lnTo>
                        <a:pt x="1896059" y="877404"/>
                      </a:lnTo>
                      <a:lnTo>
                        <a:pt x="1896732" y="877125"/>
                      </a:lnTo>
                      <a:lnTo>
                        <a:pt x="1894954" y="879259"/>
                      </a:lnTo>
                      <a:lnTo>
                        <a:pt x="1897964" y="879525"/>
                      </a:lnTo>
                      <a:lnTo>
                        <a:pt x="1898421" y="878878"/>
                      </a:lnTo>
                      <a:lnTo>
                        <a:pt x="1899539" y="877671"/>
                      </a:lnTo>
                      <a:close/>
                    </a:path>
                    <a:path w="2059304" h="1015364">
                      <a:moveTo>
                        <a:pt x="1903780" y="890879"/>
                      </a:moveTo>
                      <a:lnTo>
                        <a:pt x="1897951" y="886002"/>
                      </a:lnTo>
                      <a:lnTo>
                        <a:pt x="1896300" y="886256"/>
                      </a:lnTo>
                      <a:lnTo>
                        <a:pt x="1893011" y="887349"/>
                      </a:lnTo>
                      <a:lnTo>
                        <a:pt x="1892515" y="887996"/>
                      </a:lnTo>
                      <a:lnTo>
                        <a:pt x="1891550" y="889469"/>
                      </a:lnTo>
                      <a:lnTo>
                        <a:pt x="1892668" y="891870"/>
                      </a:lnTo>
                      <a:lnTo>
                        <a:pt x="1894789" y="891552"/>
                      </a:lnTo>
                      <a:lnTo>
                        <a:pt x="1895906" y="891349"/>
                      </a:lnTo>
                      <a:lnTo>
                        <a:pt x="1897265" y="891095"/>
                      </a:lnTo>
                      <a:lnTo>
                        <a:pt x="1898726" y="890968"/>
                      </a:lnTo>
                      <a:lnTo>
                        <a:pt x="1902853" y="891197"/>
                      </a:lnTo>
                      <a:lnTo>
                        <a:pt x="1903780" y="890879"/>
                      </a:lnTo>
                      <a:close/>
                    </a:path>
                    <a:path w="2059304" h="1015364">
                      <a:moveTo>
                        <a:pt x="1904580" y="918578"/>
                      </a:moveTo>
                      <a:lnTo>
                        <a:pt x="1903196" y="918337"/>
                      </a:lnTo>
                      <a:lnTo>
                        <a:pt x="1900923" y="917600"/>
                      </a:lnTo>
                      <a:lnTo>
                        <a:pt x="1899920" y="919238"/>
                      </a:lnTo>
                      <a:lnTo>
                        <a:pt x="1898916" y="920864"/>
                      </a:lnTo>
                      <a:lnTo>
                        <a:pt x="1900567" y="920305"/>
                      </a:lnTo>
                      <a:lnTo>
                        <a:pt x="1901926" y="919962"/>
                      </a:lnTo>
                      <a:lnTo>
                        <a:pt x="1904580" y="918578"/>
                      </a:lnTo>
                      <a:close/>
                    </a:path>
                    <a:path w="2059304" h="1015364">
                      <a:moveTo>
                        <a:pt x="1909787" y="969568"/>
                      </a:moveTo>
                      <a:lnTo>
                        <a:pt x="1909749" y="968819"/>
                      </a:lnTo>
                      <a:lnTo>
                        <a:pt x="1909673" y="968095"/>
                      </a:lnTo>
                      <a:lnTo>
                        <a:pt x="1907705" y="968768"/>
                      </a:lnTo>
                      <a:lnTo>
                        <a:pt x="1908327" y="969606"/>
                      </a:lnTo>
                      <a:lnTo>
                        <a:pt x="1909673" y="970280"/>
                      </a:lnTo>
                      <a:lnTo>
                        <a:pt x="1909787" y="969568"/>
                      </a:lnTo>
                      <a:close/>
                    </a:path>
                    <a:path w="2059304" h="1015364">
                      <a:moveTo>
                        <a:pt x="1913610" y="863879"/>
                      </a:moveTo>
                      <a:lnTo>
                        <a:pt x="1910918" y="860209"/>
                      </a:lnTo>
                      <a:lnTo>
                        <a:pt x="1910257" y="859294"/>
                      </a:lnTo>
                      <a:lnTo>
                        <a:pt x="1906943" y="857885"/>
                      </a:lnTo>
                      <a:lnTo>
                        <a:pt x="1906181" y="857783"/>
                      </a:lnTo>
                      <a:lnTo>
                        <a:pt x="1902688" y="855776"/>
                      </a:lnTo>
                      <a:lnTo>
                        <a:pt x="1901698" y="855205"/>
                      </a:lnTo>
                      <a:lnTo>
                        <a:pt x="1907451" y="853173"/>
                      </a:lnTo>
                      <a:lnTo>
                        <a:pt x="1910359" y="851446"/>
                      </a:lnTo>
                      <a:lnTo>
                        <a:pt x="1910956" y="851090"/>
                      </a:lnTo>
                      <a:lnTo>
                        <a:pt x="1910537" y="851090"/>
                      </a:lnTo>
                      <a:lnTo>
                        <a:pt x="1910803" y="849477"/>
                      </a:lnTo>
                      <a:lnTo>
                        <a:pt x="1910994" y="848499"/>
                      </a:lnTo>
                      <a:lnTo>
                        <a:pt x="1911464" y="847991"/>
                      </a:lnTo>
                      <a:lnTo>
                        <a:pt x="1911426" y="846315"/>
                      </a:lnTo>
                      <a:lnTo>
                        <a:pt x="1910029" y="845400"/>
                      </a:lnTo>
                      <a:lnTo>
                        <a:pt x="1911159" y="844664"/>
                      </a:lnTo>
                      <a:lnTo>
                        <a:pt x="1909648" y="844524"/>
                      </a:lnTo>
                      <a:lnTo>
                        <a:pt x="1902206" y="849604"/>
                      </a:lnTo>
                      <a:lnTo>
                        <a:pt x="1904098" y="849477"/>
                      </a:lnTo>
                      <a:lnTo>
                        <a:pt x="1902434" y="851446"/>
                      </a:lnTo>
                      <a:lnTo>
                        <a:pt x="1900974" y="850620"/>
                      </a:lnTo>
                      <a:lnTo>
                        <a:pt x="1899500" y="853071"/>
                      </a:lnTo>
                      <a:lnTo>
                        <a:pt x="1899932" y="854202"/>
                      </a:lnTo>
                      <a:lnTo>
                        <a:pt x="1899996" y="854519"/>
                      </a:lnTo>
                      <a:lnTo>
                        <a:pt x="1897659" y="855776"/>
                      </a:lnTo>
                      <a:lnTo>
                        <a:pt x="1895767" y="854786"/>
                      </a:lnTo>
                      <a:lnTo>
                        <a:pt x="1896148" y="852385"/>
                      </a:lnTo>
                      <a:lnTo>
                        <a:pt x="1898116" y="850569"/>
                      </a:lnTo>
                      <a:lnTo>
                        <a:pt x="1898383" y="850353"/>
                      </a:lnTo>
                      <a:lnTo>
                        <a:pt x="1898929" y="850595"/>
                      </a:lnTo>
                      <a:lnTo>
                        <a:pt x="1899183" y="850353"/>
                      </a:lnTo>
                      <a:lnTo>
                        <a:pt x="1899234" y="849782"/>
                      </a:lnTo>
                      <a:lnTo>
                        <a:pt x="1899818" y="849249"/>
                      </a:lnTo>
                      <a:lnTo>
                        <a:pt x="1900339" y="848575"/>
                      </a:lnTo>
                      <a:lnTo>
                        <a:pt x="1901774" y="845997"/>
                      </a:lnTo>
                      <a:lnTo>
                        <a:pt x="1900821" y="843864"/>
                      </a:lnTo>
                      <a:lnTo>
                        <a:pt x="1898853" y="839241"/>
                      </a:lnTo>
                      <a:lnTo>
                        <a:pt x="1899119" y="839774"/>
                      </a:lnTo>
                      <a:lnTo>
                        <a:pt x="1899450" y="839241"/>
                      </a:lnTo>
                      <a:lnTo>
                        <a:pt x="1899970" y="838428"/>
                      </a:lnTo>
                      <a:lnTo>
                        <a:pt x="1900428" y="837641"/>
                      </a:lnTo>
                      <a:lnTo>
                        <a:pt x="1901393" y="836510"/>
                      </a:lnTo>
                      <a:lnTo>
                        <a:pt x="1901621" y="835494"/>
                      </a:lnTo>
                      <a:lnTo>
                        <a:pt x="1899932" y="836510"/>
                      </a:lnTo>
                      <a:lnTo>
                        <a:pt x="1898345" y="837730"/>
                      </a:lnTo>
                      <a:lnTo>
                        <a:pt x="1896732" y="838873"/>
                      </a:lnTo>
                      <a:lnTo>
                        <a:pt x="1895881" y="840117"/>
                      </a:lnTo>
                      <a:lnTo>
                        <a:pt x="1894916" y="841171"/>
                      </a:lnTo>
                      <a:lnTo>
                        <a:pt x="1893735" y="844524"/>
                      </a:lnTo>
                      <a:lnTo>
                        <a:pt x="1893608" y="845997"/>
                      </a:lnTo>
                      <a:lnTo>
                        <a:pt x="1893506" y="846620"/>
                      </a:lnTo>
                      <a:lnTo>
                        <a:pt x="1892223" y="849845"/>
                      </a:lnTo>
                      <a:lnTo>
                        <a:pt x="1891792" y="850747"/>
                      </a:lnTo>
                      <a:lnTo>
                        <a:pt x="1892922" y="852385"/>
                      </a:lnTo>
                      <a:lnTo>
                        <a:pt x="1893227" y="852766"/>
                      </a:lnTo>
                      <a:lnTo>
                        <a:pt x="1894840" y="854202"/>
                      </a:lnTo>
                      <a:lnTo>
                        <a:pt x="1895297" y="855332"/>
                      </a:lnTo>
                      <a:lnTo>
                        <a:pt x="1894268" y="856348"/>
                      </a:lnTo>
                      <a:lnTo>
                        <a:pt x="1893989" y="859536"/>
                      </a:lnTo>
                      <a:lnTo>
                        <a:pt x="1896694" y="860806"/>
                      </a:lnTo>
                      <a:lnTo>
                        <a:pt x="1896643" y="862850"/>
                      </a:lnTo>
                      <a:lnTo>
                        <a:pt x="1896516" y="865098"/>
                      </a:lnTo>
                      <a:lnTo>
                        <a:pt x="1895462" y="867905"/>
                      </a:lnTo>
                      <a:lnTo>
                        <a:pt x="1896414" y="871855"/>
                      </a:lnTo>
                      <a:lnTo>
                        <a:pt x="1899119" y="874090"/>
                      </a:lnTo>
                      <a:lnTo>
                        <a:pt x="1902167" y="877633"/>
                      </a:lnTo>
                      <a:lnTo>
                        <a:pt x="1904517" y="878535"/>
                      </a:lnTo>
                      <a:lnTo>
                        <a:pt x="1906981" y="879817"/>
                      </a:lnTo>
                      <a:lnTo>
                        <a:pt x="1898891" y="866457"/>
                      </a:lnTo>
                      <a:lnTo>
                        <a:pt x="1899615" y="865098"/>
                      </a:lnTo>
                      <a:lnTo>
                        <a:pt x="1899424" y="862355"/>
                      </a:lnTo>
                      <a:lnTo>
                        <a:pt x="1898434" y="860209"/>
                      </a:lnTo>
                      <a:lnTo>
                        <a:pt x="1904136" y="860818"/>
                      </a:lnTo>
                      <a:lnTo>
                        <a:pt x="1906866" y="861580"/>
                      </a:lnTo>
                      <a:lnTo>
                        <a:pt x="1911108" y="862850"/>
                      </a:lnTo>
                      <a:lnTo>
                        <a:pt x="1912645" y="862914"/>
                      </a:lnTo>
                      <a:lnTo>
                        <a:pt x="1913610" y="863879"/>
                      </a:lnTo>
                      <a:close/>
                    </a:path>
                    <a:path w="2059304" h="1015364">
                      <a:moveTo>
                        <a:pt x="1927644" y="883196"/>
                      </a:moveTo>
                      <a:lnTo>
                        <a:pt x="1926869" y="883297"/>
                      </a:lnTo>
                      <a:lnTo>
                        <a:pt x="1926094" y="883373"/>
                      </a:lnTo>
                      <a:lnTo>
                        <a:pt x="1925675" y="884008"/>
                      </a:lnTo>
                      <a:lnTo>
                        <a:pt x="1926374" y="883843"/>
                      </a:lnTo>
                      <a:lnTo>
                        <a:pt x="1926983" y="883539"/>
                      </a:lnTo>
                      <a:lnTo>
                        <a:pt x="1927644" y="883196"/>
                      </a:lnTo>
                      <a:close/>
                    </a:path>
                    <a:path w="2059304" h="1015364">
                      <a:moveTo>
                        <a:pt x="1937207" y="873645"/>
                      </a:moveTo>
                      <a:lnTo>
                        <a:pt x="1936699" y="873213"/>
                      </a:lnTo>
                      <a:lnTo>
                        <a:pt x="1935975" y="873493"/>
                      </a:lnTo>
                      <a:lnTo>
                        <a:pt x="1936013" y="874141"/>
                      </a:lnTo>
                      <a:lnTo>
                        <a:pt x="1936902" y="873861"/>
                      </a:lnTo>
                      <a:lnTo>
                        <a:pt x="1937207" y="873645"/>
                      </a:lnTo>
                      <a:close/>
                    </a:path>
                    <a:path w="2059304" h="1015364">
                      <a:moveTo>
                        <a:pt x="1938515" y="872794"/>
                      </a:moveTo>
                      <a:lnTo>
                        <a:pt x="1937702" y="873277"/>
                      </a:lnTo>
                      <a:lnTo>
                        <a:pt x="1937207" y="873645"/>
                      </a:lnTo>
                      <a:lnTo>
                        <a:pt x="1938515" y="872794"/>
                      </a:lnTo>
                      <a:close/>
                    </a:path>
                    <a:path w="2059304" h="1015364">
                      <a:moveTo>
                        <a:pt x="1942261" y="918337"/>
                      </a:moveTo>
                      <a:lnTo>
                        <a:pt x="1940826" y="916406"/>
                      </a:lnTo>
                      <a:lnTo>
                        <a:pt x="1940648" y="916139"/>
                      </a:lnTo>
                      <a:lnTo>
                        <a:pt x="1940572" y="916012"/>
                      </a:lnTo>
                      <a:lnTo>
                        <a:pt x="1940445" y="916139"/>
                      </a:lnTo>
                      <a:lnTo>
                        <a:pt x="1938947" y="915149"/>
                      </a:lnTo>
                      <a:lnTo>
                        <a:pt x="1938756" y="915022"/>
                      </a:lnTo>
                      <a:lnTo>
                        <a:pt x="1938794" y="915149"/>
                      </a:lnTo>
                      <a:lnTo>
                        <a:pt x="1938693" y="914984"/>
                      </a:lnTo>
                      <a:lnTo>
                        <a:pt x="1938718" y="914857"/>
                      </a:lnTo>
                      <a:lnTo>
                        <a:pt x="1938413" y="913650"/>
                      </a:lnTo>
                      <a:lnTo>
                        <a:pt x="1938045" y="912406"/>
                      </a:lnTo>
                      <a:lnTo>
                        <a:pt x="1937829" y="911644"/>
                      </a:lnTo>
                      <a:lnTo>
                        <a:pt x="1936737" y="910577"/>
                      </a:lnTo>
                      <a:lnTo>
                        <a:pt x="1935784" y="909650"/>
                      </a:lnTo>
                      <a:lnTo>
                        <a:pt x="1934845" y="909574"/>
                      </a:lnTo>
                      <a:lnTo>
                        <a:pt x="1930971" y="909256"/>
                      </a:lnTo>
                      <a:lnTo>
                        <a:pt x="1928888" y="909574"/>
                      </a:lnTo>
                      <a:lnTo>
                        <a:pt x="1928672" y="909472"/>
                      </a:lnTo>
                      <a:lnTo>
                        <a:pt x="1925878" y="908100"/>
                      </a:lnTo>
                      <a:lnTo>
                        <a:pt x="1924913" y="907376"/>
                      </a:lnTo>
                      <a:lnTo>
                        <a:pt x="1921560" y="906449"/>
                      </a:lnTo>
                      <a:lnTo>
                        <a:pt x="1921205" y="906894"/>
                      </a:lnTo>
                      <a:lnTo>
                        <a:pt x="1919401" y="908113"/>
                      </a:lnTo>
                      <a:lnTo>
                        <a:pt x="1918246" y="908926"/>
                      </a:lnTo>
                      <a:lnTo>
                        <a:pt x="1917166" y="909472"/>
                      </a:lnTo>
                      <a:lnTo>
                        <a:pt x="1915998" y="908278"/>
                      </a:lnTo>
                      <a:lnTo>
                        <a:pt x="1915833" y="908113"/>
                      </a:lnTo>
                      <a:lnTo>
                        <a:pt x="1915909" y="907808"/>
                      </a:lnTo>
                      <a:lnTo>
                        <a:pt x="1916506" y="907161"/>
                      </a:lnTo>
                      <a:lnTo>
                        <a:pt x="1915426" y="906830"/>
                      </a:lnTo>
                      <a:lnTo>
                        <a:pt x="1914347" y="907580"/>
                      </a:lnTo>
                      <a:lnTo>
                        <a:pt x="1913966" y="907694"/>
                      </a:lnTo>
                      <a:lnTo>
                        <a:pt x="1911527" y="908278"/>
                      </a:lnTo>
                      <a:lnTo>
                        <a:pt x="1909368" y="907884"/>
                      </a:lnTo>
                      <a:lnTo>
                        <a:pt x="1908327" y="907694"/>
                      </a:lnTo>
                      <a:lnTo>
                        <a:pt x="1904161" y="907884"/>
                      </a:lnTo>
                      <a:lnTo>
                        <a:pt x="1902206" y="907529"/>
                      </a:lnTo>
                      <a:lnTo>
                        <a:pt x="1901659" y="909650"/>
                      </a:lnTo>
                      <a:lnTo>
                        <a:pt x="1901431" y="910717"/>
                      </a:lnTo>
                      <a:lnTo>
                        <a:pt x="1899894" y="911872"/>
                      </a:lnTo>
                      <a:lnTo>
                        <a:pt x="1898497" y="912075"/>
                      </a:lnTo>
                      <a:lnTo>
                        <a:pt x="1898891" y="913511"/>
                      </a:lnTo>
                      <a:lnTo>
                        <a:pt x="1899691" y="914133"/>
                      </a:lnTo>
                      <a:lnTo>
                        <a:pt x="1899767" y="916406"/>
                      </a:lnTo>
                      <a:lnTo>
                        <a:pt x="1899005" y="916686"/>
                      </a:lnTo>
                      <a:lnTo>
                        <a:pt x="1899500" y="917651"/>
                      </a:lnTo>
                      <a:lnTo>
                        <a:pt x="1899932" y="916584"/>
                      </a:lnTo>
                      <a:lnTo>
                        <a:pt x="1900732" y="915733"/>
                      </a:lnTo>
                      <a:lnTo>
                        <a:pt x="1901393" y="914412"/>
                      </a:lnTo>
                      <a:lnTo>
                        <a:pt x="1901507" y="913028"/>
                      </a:lnTo>
                      <a:lnTo>
                        <a:pt x="1901736" y="912406"/>
                      </a:lnTo>
                      <a:lnTo>
                        <a:pt x="1901863" y="912126"/>
                      </a:lnTo>
                      <a:lnTo>
                        <a:pt x="1902053" y="911250"/>
                      </a:lnTo>
                      <a:lnTo>
                        <a:pt x="1903628" y="910577"/>
                      </a:lnTo>
                      <a:lnTo>
                        <a:pt x="1902625" y="911275"/>
                      </a:lnTo>
                      <a:lnTo>
                        <a:pt x="1903323" y="912025"/>
                      </a:lnTo>
                      <a:lnTo>
                        <a:pt x="1903437" y="912698"/>
                      </a:lnTo>
                      <a:lnTo>
                        <a:pt x="1903704" y="913028"/>
                      </a:lnTo>
                      <a:lnTo>
                        <a:pt x="1904479" y="912914"/>
                      </a:lnTo>
                      <a:lnTo>
                        <a:pt x="1905558" y="913955"/>
                      </a:lnTo>
                      <a:lnTo>
                        <a:pt x="1905939" y="915530"/>
                      </a:lnTo>
                      <a:lnTo>
                        <a:pt x="1906066" y="915733"/>
                      </a:lnTo>
                      <a:lnTo>
                        <a:pt x="1909102" y="917092"/>
                      </a:lnTo>
                      <a:lnTo>
                        <a:pt x="1910600" y="914412"/>
                      </a:lnTo>
                      <a:lnTo>
                        <a:pt x="1912150" y="913511"/>
                      </a:lnTo>
                      <a:lnTo>
                        <a:pt x="1912937" y="913028"/>
                      </a:lnTo>
                      <a:lnTo>
                        <a:pt x="1913458" y="912406"/>
                      </a:lnTo>
                      <a:lnTo>
                        <a:pt x="1914575" y="916012"/>
                      </a:lnTo>
                      <a:lnTo>
                        <a:pt x="1920709" y="915492"/>
                      </a:lnTo>
                      <a:lnTo>
                        <a:pt x="1922983" y="915530"/>
                      </a:lnTo>
                      <a:lnTo>
                        <a:pt x="1920671" y="913650"/>
                      </a:lnTo>
                      <a:lnTo>
                        <a:pt x="1924443" y="914298"/>
                      </a:lnTo>
                      <a:lnTo>
                        <a:pt x="1931200" y="914882"/>
                      </a:lnTo>
                      <a:lnTo>
                        <a:pt x="1936483" y="919492"/>
                      </a:lnTo>
                      <a:lnTo>
                        <a:pt x="1941258" y="922261"/>
                      </a:lnTo>
                      <a:lnTo>
                        <a:pt x="1941334" y="920026"/>
                      </a:lnTo>
                      <a:lnTo>
                        <a:pt x="1942261" y="918337"/>
                      </a:lnTo>
                      <a:close/>
                    </a:path>
                    <a:path w="2059304" h="1015364">
                      <a:moveTo>
                        <a:pt x="1945728" y="981900"/>
                      </a:moveTo>
                      <a:lnTo>
                        <a:pt x="1945589" y="981303"/>
                      </a:lnTo>
                      <a:lnTo>
                        <a:pt x="1945386" y="981176"/>
                      </a:lnTo>
                      <a:lnTo>
                        <a:pt x="1945728" y="981900"/>
                      </a:lnTo>
                      <a:close/>
                    </a:path>
                    <a:path w="2059304" h="1015364">
                      <a:moveTo>
                        <a:pt x="1946224" y="983500"/>
                      </a:moveTo>
                      <a:lnTo>
                        <a:pt x="1943100" y="982040"/>
                      </a:lnTo>
                      <a:lnTo>
                        <a:pt x="1942172" y="984224"/>
                      </a:lnTo>
                      <a:lnTo>
                        <a:pt x="1940331" y="986663"/>
                      </a:lnTo>
                      <a:lnTo>
                        <a:pt x="1942109" y="985901"/>
                      </a:lnTo>
                      <a:lnTo>
                        <a:pt x="1942299" y="985443"/>
                      </a:lnTo>
                      <a:lnTo>
                        <a:pt x="1944687" y="984554"/>
                      </a:lnTo>
                      <a:lnTo>
                        <a:pt x="1945525" y="984021"/>
                      </a:lnTo>
                      <a:lnTo>
                        <a:pt x="1946224" y="983500"/>
                      </a:lnTo>
                      <a:close/>
                    </a:path>
                    <a:path w="2059304" h="1015364">
                      <a:moveTo>
                        <a:pt x="1948967" y="872020"/>
                      </a:moveTo>
                      <a:lnTo>
                        <a:pt x="1948268" y="869746"/>
                      </a:lnTo>
                      <a:lnTo>
                        <a:pt x="1947075" y="868413"/>
                      </a:lnTo>
                      <a:lnTo>
                        <a:pt x="1945500" y="868108"/>
                      </a:lnTo>
                      <a:lnTo>
                        <a:pt x="1944230" y="867676"/>
                      </a:lnTo>
                      <a:lnTo>
                        <a:pt x="1944420" y="867638"/>
                      </a:lnTo>
                      <a:lnTo>
                        <a:pt x="1943061" y="867308"/>
                      </a:lnTo>
                      <a:lnTo>
                        <a:pt x="1942109" y="867206"/>
                      </a:lnTo>
                      <a:lnTo>
                        <a:pt x="1941182" y="866914"/>
                      </a:lnTo>
                      <a:lnTo>
                        <a:pt x="1938286" y="867867"/>
                      </a:lnTo>
                      <a:lnTo>
                        <a:pt x="1935314" y="868680"/>
                      </a:lnTo>
                      <a:lnTo>
                        <a:pt x="1932508" y="869861"/>
                      </a:lnTo>
                      <a:lnTo>
                        <a:pt x="1933663" y="870127"/>
                      </a:lnTo>
                      <a:lnTo>
                        <a:pt x="1934083" y="870585"/>
                      </a:lnTo>
                      <a:lnTo>
                        <a:pt x="1935124" y="870673"/>
                      </a:lnTo>
                      <a:lnTo>
                        <a:pt x="1935353" y="870686"/>
                      </a:lnTo>
                      <a:lnTo>
                        <a:pt x="1936318" y="870445"/>
                      </a:lnTo>
                      <a:lnTo>
                        <a:pt x="1937054" y="870813"/>
                      </a:lnTo>
                      <a:lnTo>
                        <a:pt x="1936902" y="872058"/>
                      </a:lnTo>
                      <a:lnTo>
                        <a:pt x="1937359" y="872998"/>
                      </a:lnTo>
                      <a:lnTo>
                        <a:pt x="1937359" y="872553"/>
                      </a:lnTo>
                      <a:lnTo>
                        <a:pt x="1937435" y="871626"/>
                      </a:lnTo>
                      <a:lnTo>
                        <a:pt x="1939251" y="870762"/>
                      </a:lnTo>
                      <a:lnTo>
                        <a:pt x="1939099" y="872820"/>
                      </a:lnTo>
                      <a:lnTo>
                        <a:pt x="1941144" y="873658"/>
                      </a:lnTo>
                      <a:lnTo>
                        <a:pt x="1943176" y="872642"/>
                      </a:lnTo>
                      <a:lnTo>
                        <a:pt x="1942566" y="871486"/>
                      </a:lnTo>
                      <a:lnTo>
                        <a:pt x="1943493" y="872426"/>
                      </a:lnTo>
                      <a:lnTo>
                        <a:pt x="1943760" y="871639"/>
                      </a:lnTo>
                      <a:lnTo>
                        <a:pt x="1945030" y="871778"/>
                      </a:lnTo>
                      <a:lnTo>
                        <a:pt x="1946770" y="872426"/>
                      </a:lnTo>
                      <a:lnTo>
                        <a:pt x="1948967" y="872020"/>
                      </a:lnTo>
                      <a:close/>
                    </a:path>
                    <a:path w="2059304" h="1015364">
                      <a:moveTo>
                        <a:pt x="1949869" y="924623"/>
                      </a:moveTo>
                      <a:lnTo>
                        <a:pt x="1949780" y="924102"/>
                      </a:lnTo>
                      <a:lnTo>
                        <a:pt x="1949704" y="923582"/>
                      </a:lnTo>
                      <a:lnTo>
                        <a:pt x="1949704" y="924115"/>
                      </a:lnTo>
                      <a:lnTo>
                        <a:pt x="1949665" y="924623"/>
                      </a:lnTo>
                      <a:lnTo>
                        <a:pt x="1949818" y="925131"/>
                      </a:lnTo>
                      <a:lnTo>
                        <a:pt x="1949869" y="924623"/>
                      </a:lnTo>
                      <a:close/>
                    </a:path>
                    <a:path w="2059304" h="1015364">
                      <a:moveTo>
                        <a:pt x="1954288" y="970076"/>
                      </a:moveTo>
                      <a:lnTo>
                        <a:pt x="1953869" y="969670"/>
                      </a:lnTo>
                      <a:lnTo>
                        <a:pt x="1953437" y="969137"/>
                      </a:lnTo>
                      <a:lnTo>
                        <a:pt x="1952942" y="968844"/>
                      </a:lnTo>
                      <a:lnTo>
                        <a:pt x="1951126" y="970508"/>
                      </a:lnTo>
                      <a:lnTo>
                        <a:pt x="1947887" y="972489"/>
                      </a:lnTo>
                      <a:lnTo>
                        <a:pt x="1946389" y="976083"/>
                      </a:lnTo>
                      <a:lnTo>
                        <a:pt x="1947189" y="977582"/>
                      </a:lnTo>
                      <a:lnTo>
                        <a:pt x="1945347" y="977353"/>
                      </a:lnTo>
                      <a:lnTo>
                        <a:pt x="1945424" y="977900"/>
                      </a:lnTo>
                      <a:lnTo>
                        <a:pt x="1945538" y="977696"/>
                      </a:lnTo>
                      <a:lnTo>
                        <a:pt x="1945386" y="980440"/>
                      </a:lnTo>
                      <a:lnTo>
                        <a:pt x="1945589" y="981303"/>
                      </a:lnTo>
                      <a:lnTo>
                        <a:pt x="1946033" y="981608"/>
                      </a:lnTo>
                      <a:lnTo>
                        <a:pt x="1946656" y="981976"/>
                      </a:lnTo>
                      <a:lnTo>
                        <a:pt x="1948078" y="981887"/>
                      </a:lnTo>
                      <a:lnTo>
                        <a:pt x="1948548" y="981583"/>
                      </a:lnTo>
                      <a:lnTo>
                        <a:pt x="1949043" y="980262"/>
                      </a:lnTo>
                      <a:lnTo>
                        <a:pt x="1949361" y="979652"/>
                      </a:lnTo>
                      <a:lnTo>
                        <a:pt x="1950694" y="977900"/>
                      </a:lnTo>
                      <a:lnTo>
                        <a:pt x="1951037" y="977696"/>
                      </a:lnTo>
                      <a:lnTo>
                        <a:pt x="1951304" y="977582"/>
                      </a:lnTo>
                      <a:lnTo>
                        <a:pt x="1951507" y="977493"/>
                      </a:lnTo>
                      <a:lnTo>
                        <a:pt x="1953094" y="975461"/>
                      </a:lnTo>
                      <a:lnTo>
                        <a:pt x="1953056" y="974026"/>
                      </a:lnTo>
                      <a:lnTo>
                        <a:pt x="1953780" y="973226"/>
                      </a:lnTo>
                      <a:lnTo>
                        <a:pt x="1952599" y="972540"/>
                      </a:lnTo>
                      <a:lnTo>
                        <a:pt x="1952739" y="970724"/>
                      </a:lnTo>
                      <a:lnTo>
                        <a:pt x="1954288" y="970076"/>
                      </a:lnTo>
                      <a:close/>
                    </a:path>
                    <a:path w="2059304" h="1015364">
                      <a:moveTo>
                        <a:pt x="1968703" y="950772"/>
                      </a:moveTo>
                      <a:lnTo>
                        <a:pt x="1968550" y="949426"/>
                      </a:lnTo>
                      <a:lnTo>
                        <a:pt x="1968588" y="948169"/>
                      </a:lnTo>
                      <a:lnTo>
                        <a:pt x="1968093" y="947750"/>
                      </a:lnTo>
                      <a:lnTo>
                        <a:pt x="1967547" y="947407"/>
                      </a:lnTo>
                      <a:lnTo>
                        <a:pt x="1966976" y="947191"/>
                      </a:lnTo>
                      <a:lnTo>
                        <a:pt x="1967242" y="948436"/>
                      </a:lnTo>
                      <a:lnTo>
                        <a:pt x="1967242" y="951585"/>
                      </a:lnTo>
                      <a:lnTo>
                        <a:pt x="1968360" y="951992"/>
                      </a:lnTo>
                      <a:lnTo>
                        <a:pt x="1968703" y="950772"/>
                      </a:lnTo>
                      <a:close/>
                    </a:path>
                    <a:path w="2059304" h="1015364">
                      <a:moveTo>
                        <a:pt x="1972411" y="947635"/>
                      </a:moveTo>
                      <a:lnTo>
                        <a:pt x="1971103" y="947623"/>
                      </a:lnTo>
                      <a:lnTo>
                        <a:pt x="1970328" y="951725"/>
                      </a:lnTo>
                      <a:lnTo>
                        <a:pt x="1970024" y="952817"/>
                      </a:lnTo>
                      <a:lnTo>
                        <a:pt x="1970824" y="951090"/>
                      </a:lnTo>
                      <a:lnTo>
                        <a:pt x="1971636" y="949363"/>
                      </a:lnTo>
                      <a:lnTo>
                        <a:pt x="1972411" y="947635"/>
                      </a:lnTo>
                      <a:close/>
                    </a:path>
                    <a:path w="2059304" h="1015364">
                      <a:moveTo>
                        <a:pt x="1974646" y="942644"/>
                      </a:moveTo>
                      <a:lnTo>
                        <a:pt x="1973491" y="942657"/>
                      </a:lnTo>
                      <a:lnTo>
                        <a:pt x="1972449" y="946277"/>
                      </a:lnTo>
                      <a:lnTo>
                        <a:pt x="1972525" y="947420"/>
                      </a:lnTo>
                      <a:lnTo>
                        <a:pt x="1973986" y="944257"/>
                      </a:lnTo>
                      <a:lnTo>
                        <a:pt x="1974646" y="942644"/>
                      </a:lnTo>
                      <a:close/>
                    </a:path>
                    <a:path w="2059304" h="1015364">
                      <a:moveTo>
                        <a:pt x="1990813" y="951534"/>
                      </a:moveTo>
                      <a:close/>
                    </a:path>
                    <a:path w="2059304" h="1015364">
                      <a:moveTo>
                        <a:pt x="1992541" y="895692"/>
                      </a:moveTo>
                      <a:lnTo>
                        <a:pt x="1991575" y="896073"/>
                      </a:lnTo>
                      <a:lnTo>
                        <a:pt x="1991156" y="896721"/>
                      </a:lnTo>
                      <a:lnTo>
                        <a:pt x="1991575" y="897572"/>
                      </a:lnTo>
                      <a:lnTo>
                        <a:pt x="1991956" y="896988"/>
                      </a:lnTo>
                      <a:lnTo>
                        <a:pt x="1992274" y="896353"/>
                      </a:lnTo>
                      <a:lnTo>
                        <a:pt x="1992541" y="895692"/>
                      </a:lnTo>
                      <a:close/>
                    </a:path>
                    <a:path w="2059304" h="1015364">
                      <a:moveTo>
                        <a:pt x="1995932" y="962444"/>
                      </a:moveTo>
                      <a:lnTo>
                        <a:pt x="1988959" y="955840"/>
                      </a:lnTo>
                      <a:lnTo>
                        <a:pt x="1988375" y="955230"/>
                      </a:lnTo>
                      <a:lnTo>
                        <a:pt x="1988108" y="957046"/>
                      </a:lnTo>
                      <a:lnTo>
                        <a:pt x="1987918" y="959154"/>
                      </a:lnTo>
                      <a:lnTo>
                        <a:pt x="1989607" y="959904"/>
                      </a:lnTo>
                      <a:lnTo>
                        <a:pt x="1987296" y="959319"/>
                      </a:lnTo>
                      <a:lnTo>
                        <a:pt x="1987181" y="963790"/>
                      </a:lnTo>
                      <a:lnTo>
                        <a:pt x="1988146" y="964971"/>
                      </a:lnTo>
                      <a:lnTo>
                        <a:pt x="1990039" y="967333"/>
                      </a:lnTo>
                      <a:lnTo>
                        <a:pt x="1992122" y="964044"/>
                      </a:lnTo>
                      <a:lnTo>
                        <a:pt x="1992896" y="962266"/>
                      </a:lnTo>
                      <a:lnTo>
                        <a:pt x="1995932" y="962444"/>
                      </a:lnTo>
                      <a:close/>
                    </a:path>
                    <a:path w="2059304" h="1015364">
                      <a:moveTo>
                        <a:pt x="1998294" y="955179"/>
                      </a:moveTo>
                      <a:lnTo>
                        <a:pt x="1996478" y="955522"/>
                      </a:lnTo>
                      <a:lnTo>
                        <a:pt x="1998141" y="954760"/>
                      </a:lnTo>
                      <a:lnTo>
                        <a:pt x="1997633" y="953757"/>
                      </a:lnTo>
                      <a:lnTo>
                        <a:pt x="1996363" y="952754"/>
                      </a:lnTo>
                      <a:lnTo>
                        <a:pt x="1996909" y="950175"/>
                      </a:lnTo>
                      <a:lnTo>
                        <a:pt x="1997278" y="949350"/>
                      </a:lnTo>
                      <a:lnTo>
                        <a:pt x="1997392" y="949083"/>
                      </a:lnTo>
                      <a:lnTo>
                        <a:pt x="1997900" y="947978"/>
                      </a:lnTo>
                      <a:lnTo>
                        <a:pt x="1996592" y="946302"/>
                      </a:lnTo>
                      <a:lnTo>
                        <a:pt x="1995703" y="945184"/>
                      </a:lnTo>
                      <a:lnTo>
                        <a:pt x="1995855" y="944968"/>
                      </a:lnTo>
                      <a:lnTo>
                        <a:pt x="1993506" y="944473"/>
                      </a:lnTo>
                      <a:lnTo>
                        <a:pt x="1994204" y="944918"/>
                      </a:lnTo>
                      <a:lnTo>
                        <a:pt x="1993506" y="945464"/>
                      </a:lnTo>
                      <a:lnTo>
                        <a:pt x="1993747" y="945857"/>
                      </a:lnTo>
                      <a:lnTo>
                        <a:pt x="1993773" y="946226"/>
                      </a:lnTo>
                      <a:lnTo>
                        <a:pt x="1993049" y="946492"/>
                      </a:lnTo>
                      <a:lnTo>
                        <a:pt x="1992388" y="947356"/>
                      </a:lnTo>
                      <a:lnTo>
                        <a:pt x="1992312" y="947775"/>
                      </a:lnTo>
                      <a:lnTo>
                        <a:pt x="1991664" y="948194"/>
                      </a:lnTo>
                      <a:lnTo>
                        <a:pt x="1990191" y="949083"/>
                      </a:lnTo>
                      <a:lnTo>
                        <a:pt x="1989035" y="948296"/>
                      </a:lnTo>
                      <a:lnTo>
                        <a:pt x="1991194" y="950010"/>
                      </a:lnTo>
                      <a:lnTo>
                        <a:pt x="1991817" y="949350"/>
                      </a:lnTo>
                      <a:lnTo>
                        <a:pt x="1991893" y="950861"/>
                      </a:lnTo>
                      <a:lnTo>
                        <a:pt x="1990966" y="951039"/>
                      </a:lnTo>
                      <a:lnTo>
                        <a:pt x="1990813" y="951598"/>
                      </a:lnTo>
                      <a:lnTo>
                        <a:pt x="1990725" y="952754"/>
                      </a:lnTo>
                      <a:lnTo>
                        <a:pt x="1990661" y="955687"/>
                      </a:lnTo>
                      <a:lnTo>
                        <a:pt x="1994052" y="958151"/>
                      </a:lnTo>
                      <a:lnTo>
                        <a:pt x="1996744" y="957681"/>
                      </a:lnTo>
                      <a:lnTo>
                        <a:pt x="1998078" y="955522"/>
                      </a:lnTo>
                      <a:lnTo>
                        <a:pt x="1998294" y="955179"/>
                      </a:lnTo>
                      <a:close/>
                    </a:path>
                    <a:path w="2059304" h="1015364">
                      <a:moveTo>
                        <a:pt x="2013331" y="876528"/>
                      </a:moveTo>
                      <a:lnTo>
                        <a:pt x="2007692" y="876363"/>
                      </a:lnTo>
                      <a:lnTo>
                        <a:pt x="2006384" y="875906"/>
                      </a:lnTo>
                      <a:lnTo>
                        <a:pt x="2007768" y="877049"/>
                      </a:lnTo>
                      <a:lnTo>
                        <a:pt x="2009432" y="877887"/>
                      </a:lnTo>
                      <a:lnTo>
                        <a:pt x="2010968" y="878814"/>
                      </a:lnTo>
                      <a:lnTo>
                        <a:pt x="2013331" y="876528"/>
                      </a:lnTo>
                      <a:close/>
                    </a:path>
                    <a:path w="2059304" h="1015364">
                      <a:moveTo>
                        <a:pt x="2028126" y="892416"/>
                      </a:moveTo>
                      <a:lnTo>
                        <a:pt x="2027466" y="891997"/>
                      </a:lnTo>
                      <a:lnTo>
                        <a:pt x="2026818" y="891959"/>
                      </a:lnTo>
                      <a:lnTo>
                        <a:pt x="2024646" y="891578"/>
                      </a:lnTo>
                      <a:lnTo>
                        <a:pt x="2023186" y="891578"/>
                      </a:lnTo>
                      <a:lnTo>
                        <a:pt x="2020379" y="891324"/>
                      </a:lnTo>
                      <a:lnTo>
                        <a:pt x="2019261" y="890803"/>
                      </a:lnTo>
                      <a:lnTo>
                        <a:pt x="2014867" y="889952"/>
                      </a:lnTo>
                      <a:lnTo>
                        <a:pt x="2011387" y="890028"/>
                      </a:lnTo>
                      <a:lnTo>
                        <a:pt x="2008187" y="889698"/>
                      </a:lnTo>
                      <a:lnTo>
                        <a:pt x="2022652" y="896099"/>
                      </a:lnTo>
                      <a:lnTo>
                        <a:pt x="2022957" y="893686"/>
                      </a:lnTo>
                      <a:lnTo>
                        <a:pt x="2024697" y="893953"/>
                      </a:lnTo>
                      <a:lnTo>
                        <a:pt x="2028126" y="892416"/>
                      </a:lnTo>
                      <a:close/>
                    </a:path>
                    <a:path w="2059304" h="1015364">
                      <a:moveTo>
                        <a:pt x="2058860" y="976553"/>
                      </a:moveTo>
                      <a:lnTo>
                        <a:pt x="2058441" y="975766"/>
                      </a:lnTo>
                      <a:lnTo>
                        <a:pt x="2058136" y="975169"/>
                      </a:lnTo>
                      <a:lnTo>
                        <a:pt x="2057057" y="974852"/>
                      </a:lnTo>
                      <a:lnTo>
                        <a:pt x="2055431" y="973112"/>
                      </a:lnTo>
                      <a:lnTo>
                        <a:pt x="2055545" y="972426"/>
                      </a:lnTo>
                      <a:lnTo>
                        <a:pt x="2052040" y="972388"/>
                      </a:lnTo>
                      <a:lnTo>
                        <a:pt x="2038858" y="987869"/>
                      </a:lnTo>
                      <a:lnTo>
                        <a:pt x="2039785" y="987361"/>
                      </a:lnTo>
                      <a:lnTo>
                        <a:pt x="2041791" y="987158"/>
                      </a:lnTo>
                      <a:lnTo>
                        <a:pt x="2043061" y="987082"/>
                      </a:lnTo>
                      <a:lnTo>
                        <a:pt x="2046414" y="987259"/>
                      </a:lnTo>
                      <a:lnTo>
                        <a:pt x="2048306" y="988072"/>
                      </a:lnTo>
                      <a:lnTo>
                        <a:pt x="2050923" y="986726"/>
                      </a:lnTo>
                      <a:lnTo>
                        <a:pt x="2051888" y="985723"/>
                      </a:lnTo>
                      <a:lnTo>
                        <a:pt x="2053272" y="984580"/>
                      </a:lnTo>
                      <a:lnTo>
                        <a:pt x="2053386" y="984173"/>
                      </a:lnTo>
                      <a:lnTo>
                        <a:pt x="2054745" y="983335"/>
                      </a:lnTo>
                      <a:lnTo>
                        <a:pt x="2056244" y="983602"/>
                      </a:lnTo>
                      <a:lnTo>
                        <a:pt x="2056853" y="982306"/>
                      </a:lnTo>
                      <a:lnTo>
                        <a:pt x="2056434" y="981176"/>
                      </a:lnTo>
                      <a:lnTo>
                        <a:pt x="2056815" y="980033"/>
                      </a:lnTo>
                      <a:lnTo>
                        <a:pt x="2057514" y="979932"/>
                      </a:lnTo>
                      <a:lnTo>
                        <a:pt x="2058136" y="978865"/>
                      </a:lnTo>
                      <a:lnTo>
                        <a:pt x="2057819" y="978446"/>
                      </a:lnTo>
                      <a:lnTo>
                        <a:pt x="2058365" y="977303"/>
                      </a:lnTo>
                      <a:lnTo>
                        <a:pt x="2058860" y="976553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53" name="object 93">
                  <a:extLst>
                    <a:ext uri="{FF2B5EF4-FFF2-40B4-BE49-F238E27FC236}">
                      <a16:creationId xmlns:a16="http://schemas.microsoft.com/office/drawing/2014/main" id="{722F75FB-A696-E7B6-AB77-277B753C0CE2}"/>
                    </a:ext>
                  </a:extLst>
                </p:cNvPr>
                <p:cNvSpPr/>
                <p:nvPr/>
              </p:nvSpPr>
              <p:spPr>
                <a:xfrm>
                  <a:off x="2946857" y="2184984"/>
                  <a:ext cx="1784350" cy="8528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84350" h="852805">
                      <a:moveTo>
                        <a:pt x="2349" y="10033"/>
                      </a:moveTo>
                      <a:lnTo>
                        <a:pt x="2171" y="8547"/>
                      </a:lnTo>
                      <a:lnTo>
                        <a:pt x="1993" y="7366"/>
                      </a:lnTo>
                      <a:lnTo>
                        <a:pt x="1955" y="5651"/>
                      </a:lnTo>
                      <a:lnTo>
                        <a:pt x="2273" y="4000"/>
                      </a:lnTo>
                      <a:lnTo>
                        <a:pt x="2108" y="3378"/>
                      </a:lnTo>
                      <a:lnTo>
                        <a:pt x="1016" y="2692"/>
                      </a:lnTo>
                      <a:lnTo>
                        <a:pt x="736" y="2019"/>
                      </a:lnTo>
                      <a:lnTo>
                        <a:pt x="355" y="1130"/>
                      </a:lnTo>
                      <a:lnTo>
                        <a:pt x="914" y="330"/>
                      </a:lnTo>
                      <a:lnTo>
                        <a:pt x="0" y="0"/>
                      </a:lnTo>
                      <a:lnTo>
                        <a:pt x="609" y="3378"/>
                      </a:lnTo>
                      <a:lnTo>
                        <a:pt x="1536" y="6705"/>
                      </a:lnTo>
                      <a:lnTo>
                        <a:pt x="2349" y="10033"/>
                      </a:lnTo>
                      <a:close/>
                    </a:path>
                    <a:path w="1784350" h="852805">
                      <a:moveTo>
                        <a:pt x="36423" y="42659"/>
                      </a:moveTo>
                      <a:lnTo>
                        <a:pt x="36080" y="42430"/>
                      </a:lnTo>
                      <a:lnTo>
                        <a:pt x="35750" y="42227"/>
                      </a:lnTo>
                      <a:lnTo>
                        <a:pt x="36068" y="42456"/>
                      </a:lnTo>
                      <a:lnTo>
                        <a:pt x="36423" y="42659"/>
                      </a:lnTo>
                      <a:close/>
                    </a:path>
                    <a:path w="1784350" h="852805">
                      <a:moveTo>
                        <a:pt x="36791" y="42875"/>
                      </a:moveTo>
                      <a:lnTo>
                        <a:pt x="36436" y="42659"/>
                      </a:lnTo>
                      <a:lnTo>
                        <a:pt x="36791" y="42875"/>
                      </a:lnTo>
                      <a:close/>
                    </a:path>
                    <a:path w="1784350" h="852805">
                      <a:moveTo>
                        <a:pt x="37414" y="32524"/>
                      </a:moveTo>
                      <a:lnTo>
                        <a:pt x="33540" y="31686"/>
                      </a:lnTo>
                      <a:lnTo>
                        <a:pt x="32435" y="31457"/>
                      </a:lnTo>
                      <a:lnTo>
                        <a:pt x="31191" y="31356"/>
                      </a:lnTo>
                      <a:lnTo>
                        <a:pt x="30137" y="31432"/>
                      </a:lnTo>
                      <a:lnTo>
                        <a:pt x="30670" y="32816"/>
                      </a:lnTo>
                      <a:lnTo>
                        <a:pt x="32499" y="33045"/>
                      </a:lnTo>
                      <a:lnTo>
                        <a:pt x="33832" y="33578"/>
                      </a:lnTo>
                      <a:lnTo>
                        <a:pt x="37020" y="33197"/>
                      </a:lnTo>
                      <a:lnTo>
                        <a:pt x="37414" y="32524"/>
                      </a:lnTo>
                      <a:close/>
                    </a:path>
                    <a:path w="1784350" h="852805">
                      <a:moveTo>
                        <a:pt x="40830" y="39547"/>
                      </a:moveTo>
                      <a:lnTo>
                        <a:pt x="38938" y="39166"/>
                      </a:lnTo>
                      <a:lnTo>
                        <a:pt x="36995" y="38849"/>
                      </a:lnTo>
                      <a:lnTo>
                        <a:pt x="35064" y="38696"/>
                      </a:lnTo>
                      <a:lnTo>
                        <a:pt x="35496" y="39077"/>
                      </a:lnTo>
                      <a:lnTo>
                        <a:pt x="35915" y="39560"/>
                      </a:lnTo>
                      <a:lnTo>
                        <a:pt x="36398" y="39890"/>
                      </a:lnTo>
                      <a:lnTo>
                        <a:pt x="38100" y="39204"/>
                      </a:lnTo>
                      <a:lnTo>
                        <a:pt x="39179" y="39903"/>
                      </a:lnTo>
                      <a:lnTo>
                        <a:pt x="40830" y="39547"/>
                      </a:lnTo>
                      <a:close/>
                    </a:path>
                    <a:path w="1784350" h="852805">
                      <a:moveTo>
                        <a:pt x="48590" y="43230"/>
                      </a:moveTo>
                      <a:lnTo>
                        <a:pt x="46939" y="42595"/>
                      </a:lnTo>
                      <a:lnTo>
                        <a:pt x="45262" y="42062"/>
                      </a:lnTo>
                      <a:lnTo>
                        <a:pt x="43586" y="41478"/>
                      </a:lnTo>
                      <a:lnTo>
                        <a:pt x="44792" y="42748"/>
                      </a:lnTo>
                      <a:lnTo>
                        <a:pt x="47053" y="43053"/>
                      </a:lnTo>
                      <a:lnTo>
                        <a:pt x="48590" y="43230"/>
                      </a:lnTo>
                      <a:close/>
                    </a:path>
                    <a:path w="1784350" h="852805">
                      <a:moveTo>
                        <a:pt x="1160272" y="610679"/>
                      </a:moveTo>
                      <a:lnTo>
                        <a:pt x="1159687" y="610438"/>
                      </a:lnTo>
                      <a:lnTo>
                        <a:pt x="1159116" y="610184"/>
                      </a:lnTo>
                      <a:lnTo>
                        <a:pt x="1158494" y="609942"/>
                      </a:lnTo>
                      <a:lnTo>
                        <a:pt x="1158875" y="610476"/>
                      </a:lnTo>
                      <a:lnTo>
                        <a:pt x="1159535" y="610717"/>
                      </a:lnTo>
                      <a:lnTo>
                        <a:pt x="1160272" y="610679"/>
                      </a:lnTo>
                      <a:close/>
                    </a:path>
                    <a:path w="1784350" h="852805">
                      <a:moveTo>
                        <a:pt x="1175308" y="657961"/>
                      </a:moveTo>
                      <a:lnTo>
                        <a:pt x="1174762" y="658393"/>
                      </a:lnTo>
                      <a:lnTo>
                        <a:pt x="1172489" y="656831"/>
                      </a:lnTo>
                      <a:lnTo>
                        <a:pt x="1170330" y="655370"/>
                      </a:lnTo>
                      <a:lnTo>
                        <a:pt x="1168247" y="653834"/>
                      </a:lnTo>
                      <a:lnTo>
                        <a:pt x="1166050" y="652386"/>
                      </a:lnTo>
                      <a:lnTo>
                        <a:pt x="1165631" y="653072"/>
                      </a:lnTo>
                      <a:lnTo>
                        <a:pt x="1163929" y="654596"/>
                      </a:lnTo>
                      <a:lnTo>
                        <a:pt x="1165275" y="654519"/>
                      </a:lnTo>
                      <a:lnTo>
                        <a:pt x="1165707" y="655281"/>
                      </a:lnTo>
                      <a:lnTo>
                        <a:pt x="1166202" y="656043"/>
                      </a:lnTo>
                      <a:lnTo>
                        <a:pt x="1167282" y="656932"/>
                      </a:lnTo>
                      <a:lnTo>
                        <a:pt x="1168323" y="657009"/>
                      </a:lnTo>
                      <a:lnTo>
                        <a:pt x="1170838" y="657847"/>
                      </a:lnTo>
                      <a:lnTo>
                        <a:pt x="1173607" y="660908"/>
                      </a:lnTo>
                      <a:lnTo>
                        <a:pt x="1175067" y="660831"/>
                      </a:lnTo>
                      <a:lnTo>
                        <a:pt x="1175308" y="657961"/>
                      </a:lnTo>
                      <a:close/>
                    </a:path>
                    <a:path w="1784350" h="852805">
                      <a:moveTo>
                        <a:pt x="1188364" y="662266"/>
                      </a:moveTo>
                      <a:lnTo>
                        <a:pt x="1186903" y="662470"/>
                      </a:lnTo>
                      <a:lnTo>
                        <a:pt x="1185087" y="662520"/>
                      </a:lnTo>
                      <a:lnTo>
                        <a:pt x="1186053" y="663460"/>
                      </a:lnTo>
                      <a:lnTo>
                        <a:pt x="1187246" y="664159"/>
                      </a:lnTo>
                      <a:lnTo>
                        <a:pt x="1188326" y="664933"/>
                      </a:lnTo>
                      <a:lnTo>
                        <a:pt x="1188364" y="662266"/>
                      </a:lnTo>
                      <a:close/>
                    </a:path>
                    <a:path w="1784350" h="852805">
                      <a:moveTo>
                        <a:pt x="1205534" y="699858"/>
                      </a:moveTo>
                      <a:lnTo>
                        <a:pt x="1205318" y="699325"/>
                      </a:lnTo>
                      <a:lnTo>
                        <a:pt x="1205369" y="699109"/>
                      </a:lnTo>
                      <a:lnTo>
                        <a:pt x="1204099" y="696455"/>
                      </a:lnTo>
                      <a:lnTo>
                        <a:pt x="1204010" y="696709"/>
                      </a:lnTo>
                      <a:lnTo>
                        <a:pt x="1203071" y="694918"/>
                      </a:lnTo>
                      <a:lnTo>
                        <a:pt x="1201991" y="694626"/>
                      </a:lnTo>
                      <a:lnTo>
                        <a:pt x="1203299" y="696277"/>
                      </a:lnTo>
                      <a:lnTo>
                        <a:pt x="1203845" y="697217"/>
                      </a:lnTo>
                      <a:lnTo>
                        <a:pt x="1202982" y="699795"/>
                      </a:lnTo>
                      <a:lnTo>
                        <a:pt x="1202639" y="700811"/>
                      </a:lnTo>
                      <a:lnTo>
                        <a:pt x="1203058" y="701852"/>
                      </a:lnTo>
                      <a:lnTo>
                        <a:pt x="1201737" y="701865"/>
                      </a:lnTo>
                      <a:lnTo>
                        <a:pt x="1203210" y="702424"/>
                      </a:lnTo>
                      <a:lnTo>
                        <a:pt x="1203706" y="701979"/>
                      </a:lnTo>
                      <a:lnTo>
                        <a:pt x="1204950" y="701001"/>
                      </a:lnTo>
                      <a:lnTo>
                        <a:pt x="1205280" y="699490"/>
                      </a:lnTo>
                      <a:lnTo>
                        <a:pt x="1205534" y="699858"/>
                      </a:lnTo>
                      <a:close/>
                    </a:path>
                    <a:path w="1784350" h="852805">
                      <a:moveTo>
                        <a:pt x="1229791" y="733806"/>
                      </a:moveTo>
                      <a:lnTo>
                        <a:pt x="1228471" y="731418"/>
                      </a:lnTo>
                      <a:lnTo>
                        <a:pt x="1227048" y="730961"/>
                      </a:lnTo>
                      <a:lnTo>
                        <a:pt x="1226350" y="729996"/>
                      </a:lnTo>
                      <a:lnTo>
                        <a:pt x="1226273" y="731672"/>
                      </a:lnTo>
                      <a:lnTo>
                        <a:pt x="1226578" y="733361"/>
                      </a:lnTo>
                      <a:lnTo>
                        <a:pt x="1226731" y="735025"/>
                      </a:lnTo>
                      <a:lnTo>
                        <a:pt x="1228394" y="735164"/>
                      </a:lnTo>
                      <a:lnTo>
                        <a:pt x="1229791" y="733806"/>
                      </a:lnTo>
                      <a:close/>
                    </a:path>
                    <a:path w="1784350" h="852805">
                      <a:moveTo>
                        <a:pt x="1251115" y="664616"/>
                      </a:moveTo>
                      <a:lnTo>
                        <a:pt x="1250873" y="664083"/>
                      </a:lnTo>
                      <a:lnTo>
                        <a:pt x="1249375" y="664108"/>
                      </a:lnTo>
                      <a:lnTo>
                        <a:pt x="1248333" y="664616"/>
                      </a:lnTo>
                      <a:lnTo>
                        <a:pt x="1251115" y="664616"/>
                      </a:lnTo>
                      <a:close/>
                    </a:path>
                    <a:path w="1784350" h="852805">
                      <a:moveTo>
                        <a:pt x="1251800" y="666559"/>
                      </a:moveTo>
                      <a:lnTo>
                        <a:pt x="1251292" y="664997"/>
                      </a:lnTo>
                      <a:lnTo>
                        <a:pt x="1247559" y="664997"/>
                      </a:lnTo>
                      <a:lnTo>
                        <a:pt x="1246746" y="664997"/>
                      </a:lnTo>
                      <a:lnTo>
                        <a:pt x="1245819" y="665886"/>
                      </a:lnTo>
                      <a:lnTo>
                        <a:pt x="1246555" y="668553"/>
                      </a:lnTo>
                      <a:lnTo>
                        <a:pt x="1249299" y="671068"/>
                      </a:lnTo>
                      <a:lnTo>
                        <a:pt x="1250721" y="667969"/>
                      </a:lnTo>
                      <a:lnTo>
                        <a:pt x="1251800" y="666559"/>
                      </a:lnTo>
                      <a:close/>
                    </a:path>
                    <a:path w="1784350" h="852805">
                      <a:moveTo>
                        <a:pt x="1261249" y="771169"/>
                      </a:moveTo>
                      <a:lnTo>
                        <a:pt x="1257579" y="769162"/>
                      </a:lnTo>
                      <a:lnTo>
                        <a:pt x="1256538" y="770636"/>
                      </a:lnTo>
                      <a:lnTo>
                        <a:pt x="1257693" y="771575"/>
                      </a:lnTo>
                      <a:lnTo>
                        <a:pt x="1259116" y="772223"/>
                      </a:lnTo>
                      <a:lnTo>
                        <a:pt x="1260424" y="772960"/>
                      </a:lnTo>
                      <a:lnTo>
                        <a:pt x="1261249" y="771169"/>
                      </a:lnTo>
                      <a:close/>
                    </a:path>
                    <a:path w="1784350" h="852805">
                      <a:moveTo>
                        <a:pt x="1262748" y="672515"/>
                      </a:moveTo>
                      <a:lnTo>
                        <a:pt x="1260970" y="672490"/>
                      </a:lnTo>
                      <a:lnTo>
                        <a:pt x="1258430" y="671944"/>
                      </a:lnTo>
                      <a:lnTo>
                        <a:pt x="1257388" y="671728"/>
                      </a:lnTo>
                      <a:lnTo>
                        <a:pt x="1256004" y="670928"/>
                      </a:lnTo>
                      <a:lnTo>
                        <a:pt x="1255001" y="671207"/>
                      </a:lnTo>
                      <a:lnTo>
                        <a:pt x="1255966" y="672985"/>
                      </a:lnTo>
                      <a:lnTo>
                        <a:pt x="1256614" y="673493"/>
                      </a:lnTo>
                      <a:lnTo>
                        <a:pt x="1258430" y="674128"/>
                      </a:lnTo>
                      <a:lnTo>
                        <a:pt x="1259814" y="674217"/>
                      </a:lnTo>
                      <a:lnTo>
                        <a:pt x="1260741" y="675347"/>
                      </a:lnTo>
                      <a:lnTo>
                        <a:pt x="1261783" y="676186"/>
                      </a:lnTo>
                      <a:lnTo>
                        <a:pt x="1262748" y="672515"/>
                      </a:lnTo>
                      <a:close/>
                    </a:path>
                    <a:path w="1784350" h="852805">
                      <a:moveTo>
                        <a:pt x="1271689" y="682104"/>
                      </a:moveTo>
                      <a:lnTo>
                        <a:pt x="1270685" y="680466"/>
                      </a:lnTo>
                      <a:lnTo>
                        <a:pt x="1269987" y="679373"/>
                      </a:lnTo>
                      <a:lnTo>
                        <a:pt x="1268298" y="678484"/>
                      </a:lnTo>
                      <a:lnTo>
                        <a:pt x="1267726" y="678192"/>
                      </a:lnTo>
                      <a:lnTo>
                        <a:pt x="1266799" y="677633"/>
                      </a:lnTo>
                      <a:lnTo>
                        <a:pt x="1266101" y="677697"/>
                      </a:lnTo>
                      <a:lnTo>
                        <a:pt x="1264843" y="677849"/>
                      </a:lnTo>
                      <a:lnTo>
                        <a:pt x="1264920" y="678815"/>
                      </a:lnTo>
                      <a:lnTo>
                        <a:pt x="1264018" y="679564"/>
                      </a:lnTo>
                      <a:lnTo>
                        <a:pt x="1263954" y="679323"/>
                      </a:lnTo>
                      <a:lnTo>
                        <a:pt x="1263751" y="679145"/>
                      </a:lnTo>
                      <a:lnTo>
                        <a:pt x="1263408" y="678891"/>
                      </a:lnTo>
                      <a:lnTo>
                        <a:pt x="1263091" y="678129"/>
                      </a:lnTo>
                      <a:lnTo>
                        <a:pt x="1261008" y="677938"/>
                      </a:lnTo>
                      <a:lnTo>
                        <a:pt x="1262481" y="679780"/>
                      </a:lnTo>
                      <a:lnTo>
                        <a:pt x="1261973" y="681189"/>
                      </a:lnTo>
                      <a:lnTo>
                        <a:pt x="1260970" y="680859"/>
                      </a:lnTo>
                      <a:lnTo>
                        <a:pt x="1260817" y="684161"/>
                      </a:lnTo>
                      <a:lnTo>
                        <a:pt x="1268996" y="683069"/>
                      </a:lnTo>
                      <a:lnTo>
                        <a:pt x="1270076" y="683082"/>
                      </a:lnTo>
                      <a:lnTo>
                        <a:pt x="1268298" y="680796"/>
                      </a:lnTo>
                      <a:lnTo>
                        <a:pt x="1266799" y="681431"/>
                      </a:lnTo>
                      <a:lnTo>
                        <a:pt x="1264234" y="679932"/>
                      </a:lnTo>
                      <a:lnTo>
                        <a:pt x="1264081" y="679704"/>
                      </a:lnTo>
                      <a:lnTo>
                        <a:pt x="1264335" y="679805"/>
                      </a:lnTo>
                      <a:lnTo>
                        <a:pt x="1264602" y="679958"/>
                      </a:lnTo>
                      <a:lnTo>
                        <a:pt x="1264831" y="679996"/>
                      </a:lnTo>
                      <a:lnTo>
                        <a:pt x="1266063" y="679411"/>
                      </a:lnTo>
                      <a:lnTo>
                        <a:pt x="1270914" y="681888"/>
                      </a:lnTo>
                      <a:lnTo>
                        <a:pt x="1271689" y="682104"/>
                      </a:lnTo>
                      <a:close/>
                    </a:path>
                    <a:path w="1784350" h="852805">
                      <a:moveTo>
                        <a:pt x="1273581" y="685901"/>
                      </a:moveTo>
                      <a:lnTo>
                        <a:pt x="1272730" y="683514"/>
                      </a:lnTo>
                      <a:lnTo>
                        <a:pt x="1271384" y="684237"/>
                      </a:lnTo>
                      <a:lnTo>
                        <a:pt x="1271231" y="686384"/>
                      </a:lnTo>
                      <a:lnTo>
                        <a:pt x="1272044" y="686371"/>
                      </a:lnTo>
                      <a:lnTo>
                        <a:pt x="1272768" y="686117"/>
                      </a:lnTo>
                      <a:lnTo>
                        <a:pt x="1273581" y="685901"/>
                      </a:lnTo>
                      <a:close/>
                    </a:path>
                    <a:path w="1784350" h="852805">
                      <a:moveTo>
                        <a:pt x="1276591" y="683729"/>
                      </a:moveTo>
                      <a:lnTo>
                        <a:pt x="1276096" y="682967"/>
                      </a:lnTo>
                      <a:lnTo>
                        <a:pt x="1275321" y="682218"/>
                      </a:lnTo>
                      <a:lnTo>
                        <a:pt x="1274787" y="681570"/>
                      </a:lnTo>
                      <a:lnTo>
                        <a:pt x="1274051" y="683221"/>
                      </a:lnTo>
                      <a:lnTo>
                        <a:pt x="1274546" y="685850"/>
                      </a:lnTo>
                      <a:lnTo>
                        <a:pt x="1276591" y="683729"/>
                      </a:lnTo>
                      <a:close/>
                    </a:path>
                    <a:path w="1784350" h="852805">
                      <a:moveTo>
                        <a:pt x="1282725" y="681062"/>
                      </a:moveTo>
                      <a:lnTo>
                        <a:pt x="1282534" y="680262"/>
                      </a:lnTo>
                      <a:lnTo>
                        <a:pt x="1282153" y="679678"/>
                      </a:lnTo>
                      <a:lnTo>
                        <a:pt x="1281455" y="679805"/>
                      </a:lnTo>
                      <a:lnTo>
                        <a:pt x="1281760" y="680275"/>
                      </a:lnTo>
                      <a:lnTo>
                        <a:pt x="1282230" y="680770"/>
                      </a:lnTo>
                      <a:lnTo>
                        <a:pt x="1282725" y="681062"/>
                      </a:lnTo>
                      <a:close/>
                    </a:path>
                    <a:path w="1784350" h="852805">
                      <a:moveTo>
                        <a:pt x="1282801" y="683031"/>
                      </a:moveTo>
                      <a:lnTo>
                        <a:pt x="1282458" y="682371"/>
                      </a:lnTo>
                      <a:lnTo>
                        <a:pt x="1281950" y="681761"/>
                      </a:lnTo>
                      <a:lnTo>
                        <a:pt x="1281226" y="681685"/>
                      </a:lnTo>
                      <a:lnTo>
                        <a:pt x="1281722" y="682180"/>
                      </a:lnTo>
                      <a:lnTo>
                        <a:pt x="1282801" y="683031"/>
                      </a:lnTo>
                      <a:close/>
                    </a:path>
                    <a:path w="1784350" h="852805">
                      <a:moveTo>
                        <a:pt x="1285849" y="678078"/>
                      </a:moveTo>
                      <a:lnTo>
                        <a:pt x="1284579" y="677938"/>
                      </a:lnTo>
                      <a:lnTo>
                        <a:pt x="1282801" y="677075"/>
                      </a:lnTo>
                      <a:lnTo>
                        <a:pt x="1282725" y="678878"/>
                      </a:lnTo>
                      <a:lnTo>
                        <a:pt x="1282496" y="678764"/>
                      </a:lnTo>
                      <a:lnTo>
                        <a:pt x="1282255" y="678700"/>
                      </a:lnTo>
                      <a:lnTo>
                        <a:pt x="1284071" y="680732"/>
                      </a:lnTo>
                      <a:lnTo>
                        <a:pt x="1284579" y="680504"/>
                      </a:lnTo>
                      <a:lnTo>
                        <a:pt x="1285849" y="678078"/>
                      </a:lnTo>
                      <a:close/>
                    </a:path>
                    <a:path w="1784350" h="852805">
                      <a:moveTo>
                        <a:pt x="1287424" y="682117"/>
                      </a:moveTo>
                      <a:lnTo>
                        <a:pt x="1286662" y="681634"/>
                      </a:lnTo>
                      <a:lnTo>
                        <a:pt x="1285887" y="681240"/>
                      </a:lnTo>
                      <a:lnTo>
                        <a:pt x="1285151" y="680732"/>
                      </a:lnTo>
                      <a:lnTo>
                        <a:pt x="1285392" y="681545"/>
                      </a:lnTo>
                      <a:lnTo>
                        <a:pt x="1285773" y="682256"/>
                      </a:lnTo>
                      <a:lnTo>
                        <a:pt x="1286154" y="683006"/>
                      </a:lnTo>
                      <a:lnTo>
                        <a:pt x="1286611" y="682853"/>
                      </a:lnTo>
                      <a:lnTo>
                        <a:pt x="1287081" y="682472"/>
                      </a:lnTo>
                      <a:lnTo>
                        <a:pt x="1287424" y="682117"/>
                      </a:lnTo>
                      <a:close/>
                    </a:path>
                    <a:path w="1784350" h="852805">
                      <a:moveTo>
                        <a:pt x="1287653" y="684225"/>
                      </a:moveTo>
                      <a:lnTo>
                        <a:pt x="1287348" y="683729"/>
                      </a:lnTo>
                      <a:lnTo>
                        <a:pt x="1286929" y="683260"/>
                      </a:lnTo>
                      <a:lnTo>
                        <a:pt x="1286459" y="683145"/>
                      </a:lnTo>
                      <a:lnTo>
                        <a:pt x="1286764" y="683577"/>
                      </a:lnTo>
                      <a:lnTo>
                        <a:pt x="1287195" y="683933"/>
                      </a:lnTo>
                      <a:lnTo>
                        <a:pt x="1287653" y="684225"/>
                      </a:lnTo>
                      <a:close/>
                    </a:path>
                    <a:path w="1784350" h="852805">
                      <a:moveTo>
                        <a:pt x="1293177" y="679272"/>
                      </a:moveTo>
                      <a:lnTo>
                        <a:pt x="1293063" y="678942"/>
                      </a:lnTo>
                      <a:lnTo>
                        <a:pt x="1291399" y="676871"/>
                      </a:lnTo>
                      <a:lnTo>
                        <a:pt x="1290167" y="676732"/>
                      </a:lnTo>
                      <a:lnTo>
                        <a:pt x="1288465" y="677418"/>
                      </a:lnTo>
                      <a:lnTo>
                        <a:pt x="1287195" y="678561"/>
                      </a:lnTo>
                      <a:lnTo>
                        <a:pt x="1287653" y="679081"/>
                      </a:lnTo>
                      <a:lnTo>
                        <a:pt x="1288935" y="679818"/>
                      </a:lnTo>
                      <a:lnTo>
                        <a:pt x="1290942" y="680072"/>
                      </a:lnTo>
                      <a:lnTo>
                        <a:pt x="1290116" y="683437"/>
                      </a:lnTo>
                      <a:lnTo>
                        <a:pt x="1292250" y="681583"/>
                      </a:lnTo>
                      <a:lnTo>
                        <a:pt x="1292821" y="681075"/>
                      </a:lnTo>
                      <a:lnTo>
                        <a:pt x="1292745" y="681355"/>
                      </a:lnTo>
                      <a:lnTo>
                        <a:pt x="1293012" y="680796"/>
                      </a:lnTo>
                      <a:lnTo>
                        <a:pt x="1293139" y="680453"/>
                      </a:lnTo>
                      <a:lnTo>
                        <a:pt x="1293177" y="679272"/>
                      </a:lnTo>
                      <a:close/>
                    </a:path>
                    <a:path w="1784350" h="852805">
                      <a:moveTo>
                        <a:pt x="1293634" y="693991"/>
                      </a:moveTo>
                      <a:lnTo>
                        <a:pt x="1293101" y="693026"/>
                      </a:lnTo>
                      <a:lnTo>
                        <a:pt x="1292288" y="692200"/>
                      </a:lnTo>
                      <a:lnTo>
                        <a:pt x="1291590" y="691337"/>
                      </a:lnTo>
                      <a:lnTo>
                        <a:pt x="1291704" y="692861"/>
                      </a:lnTo>
                      <a:lnTo>
                        <a:pt x="1292669" y="693153"/>
                      </a:lnTo>
                      <a:lnTo>
                        <a:pt x="1293634" y="693991"/>
                      </a:lnTo>
                      <a:close/>
                    </a:path>
                    <a:path w="1784350" h="852805">
                      <a:moveTo>
                        <a:pt x="1296949" y="699109"/>
                      </a:moveTo>
                      <a:lnTo>
                        <a:pt x="1295019" y="697484"/>
                      </a:lnTo>
                      <a:lnTo>
                        <a:pt x="1293164" y="695706"/>
                      </a:lnTo>
                      <a:lnTo>
                        <a:pt x="1291132" y="694270"/>
                      </a:lnTo>
                      <a:lnTo>
                        <a:pt x="1291056" y="695337"/>
                      </a:lnTo>
                      <a:lnTo>
                        <a:pt x="1289735" y="696683"/>
                      </a:lnTo>
                      <a:lnTo>
                        <a:pt x="1289888" y="697369"/>
                      </a:lnTo>
                      <a:lnTo>
                        <a:pt x="1289964" y="697801"/>
                      </a:lnTo>
                      <a:lnTo>
                        <a:pt x="1291551" y="697979"/>
                      </a:lnTo>
                      <a:lnTo>
                        <a:pt x="1292479" y="697928"/>
                      </a:lnTo>
                      <a:lnTo>
                        <a:pt x="1293088" y="697255"/>
                      </a:lnTo>
                      <a:lnTo>
                        <a:pt x="1294752" y="697509"/>
                      </a:lnTo>
                      <a:lnTo>
                        <a:pt x="1296098" y="698804"/>
                      </a:lnTo>
                      <a:lnTo>
                        <a:pt x="1296949" y="699109"/>
                      </a:lnTo>
                      <a:close/>
                    </a:path>
                    <a:path w="1784350" h="852805">
                      <a:moveTo>
                        <a:pt x="1301699" y="787984"/>
                      </a:moveTo>
                      <a:lnTo>
                        <a:pt x="1300886" y="788162"/>
                      </a:lnTo>
                      <a:lnTo>
                        <a:pt x="1300162" y="788555"/>
                      </a:lnTo>
                      <a:lnTo>
                        <a:pt x="1299578" y="789114"/>
                      </a:lnTo>
                      <a:lnTo>
                        <a:pt x="1300353" y="788835"/>
                      </a:lnTo>
                      <a:lnTo>
                        <a:pt x="1301000" y="788390"/>
                      </a:lnTo>
                      <a:lnTo>
                        <a:pt x="1301699" y="787984"/>
                      </a:lnTo>
                      <a:close/>
                    </a:path>
                    <a:path w="1784350" h="852805">
                      <a:moveTo>
                        <a:pt x="1310106" y="651751"/>
                      </a:moveTo>
                      <a:lnTo>
                        <a:pt x="1309370" y="651446"/>
                      </a:lnTo>
                      <a:lnTo>
                        <a:pt x="1308519" y="651129"/>
                      </a:lnTo>
                      <a:lnTo>
                        <a:pt x="1308061" y="650582"/>
                      </a:lnTo>
                      <a:lnTo>
                        <a:pt x="1307947" y="651586"/>
                      </a:lnTo>
                      <a:lnTo>
                        <a:pt x="1308061" y="652614"/>
                      </a:lnTo>
                      <a:lnTo>
                        <a:pt x="1308061" y="653618"/>
                      </a:lnTo>
                      <a:lnTo>
                        <a:pt x="1309065" y="652881"/>
                      </a:lnTo>
                      <a:lnTo>
                        <a:pt x="1309725" y="652729"/>
                      </a:lnTo>
                      <a:lnTo>
                        <a:pt x="1310106" y="651751"/>
                      </a:lnTo>
                      <a:close/>
                    </a:path>
                    <a:path w="1784350" h="852805">
                      <a:moveTo>
                        <a:pt x="1353908" y="652691"/>
                      </a:moveTo>
                      <a:lnTo>
                        <a:pt x="1353705" y="651560"/>
                      </a:lnTo>
                      <a:lnTo>
                        <a:pt x="1353134" y="651891"/>
                      </a:lnTo>
                      <a:lnTo>
                        <a:pt x="1352600" y="652335"/>
                      </a:lnTo>
                      <a:lnTo>
                        <a:pt x="1352092" y="652818"/>
                      </a:lnTo>
                      <a:lnTo>
                        <a:pt x="1353400" y="653376"/>
                      </a:lnTo>
                      <a:lnTo>
                        <a:pt x="1353908" y="652691"/>
                      </a:lnTo>
                      <a:close/>
                    </a:path>
                    <a:path w="1784350" h="852805">
                      <a:moveTo>
                        <a:pt x="1356766" y="658355"/>
                      </a:moveTo>
                      <a:lnTo>
                        <a:pt x="1356182" y="658126"/>
                      </a:lnTo>
                      <a:lnTo>
                        <a:pt x="1355483" y="657999"/>
                      </a:lnTo>
                      <a:lnTo>
                        <a:pt x="1354836" y="657961"/>
                      </a:lnTo>
                      <a:lnTo>
                        <a:pt x="1355458" y="658533"/>
                      </a:lnTo>
                      <a:lnTo>
                        <a:pt x="1356182" y="658964"/>
                      </a:lnTo>
                      <a:lnTo>
                        <a:pt x="1356766" y="658355"/>
                      </a:lnTo>
                      <a:close/>
                    </a:path>
                    <a:path w="1784350" h="852805">
                      <a:moveTo>
                        <a:pt x="1363611" y="708367"/>
                      </a:moveTo>
                      <a:lnTo>
                        <a:pt x="1363395" y="708304"/>
                      </a:lnTo>
                      <a:lnTo>
                        <a:pt x="1362811" y="708240"/>
                      </a:lnTo>
                      <a:lnTo>
                        <a:pt x="1362202" y="708342"/>
                      </a:lnTo>
                      <a:lnTo>
                        <a:pt x="1363611" y="708367"/>
                      </a:lnTo>
                      <a:close/>
                    </a:path>
                    <a:path w="1784350" h="852805">
                      <a:moveTo>
                        <a:pt x="1366202" y="709942"/>
                      </a:moveTo>
                      <a:lnTo>
                        <a:pt x="1366151" y="709345"/>
                      </a:lnTo>
                      <a:lnTo>
                        <a:pt x="1366050" y="709117"/>
                      </a:lnTo>
                      <a:lnTo>
                        <a:pt x="1365719" y="709041"/>
                      </a:lnTo>
                      <a:lnTo>
                        <a:pt x="1363700" y="708393"/>
                      </a:lnTo>
                      <a:lnTo>
                        <a:pt x="1362075" y="708393"/>
                      </a:lnTo>
                      <a:lnTo>
                        <a:pt x="1361935" y="708393"/>
                      </a:lnTo>
                      <a:lnTo>
                        <a:pt x="1361821" y="708596"/>
                      </a:lnTo>
                      <a:lnTo>
                        <a:pt x="1361338" y="709345"/>
                      </a:lnTo>
                      <a:lnTo>
                        <a:pt x="1361325" y="709942"/>
                      </a:lnTo>
                      <a:lnTo>
                        <a:pt x="1361528" y="711288"/>
                      </a:lnTo>
                      <a:lnTo>
                        <a:pt x="1361147" y="712292"/>
                      </a:lnTo>
                      <a:lnTo>
                        <a:pt x="1362329" y="712063"/>
                      </a:lnTo>
                      <a:lnTo>
                        <a:pt x="1365097" y="711746"/>
                      </a:lnTo>
                      <a:lnTo>
                        <a:pt x="1366012" y="710488"/>
                      </a:lnTo>
                      <a:lnTo>
                        <a:pt x="1366202" y="709942"/>
                      </a:lnTo>
                      <a:close/>
                    </a:path>
                    <a:path w="1784350" h="852805">
                      <a:moveTo>
                        <a:pt x="1459750" y="750316"/>
                      </a:moveTo>
                      <a:lnTo>
                        <a:pt x="1459712" y="746582"/>
                      </a:lnTo>
                      <a:lnTo>
                        <a:pt x="1459496" y="744601"/>
                      </a:lnTo>
                      <a:lnTo>
                        <a:pt x="1459280" y="741375"/>
                      </a:lnTo>
                      <a:lnTo>
                        <a:pt x="1456880" y="742670"/>
                      </a:lnTo>
                      <a:lnTo>
                        <a:pt x="1456677" y="742924"/>
                      </a:lnTo>
                      <a:lnTo>
                        <a:pt x="1456563" y="743165"/>
                      </a:lnTo>
                      <a:lnTo>
                        <a:pt x="1455737" y="744601"/>
                      </a:lnTo>
                      <a:lnTo>
                        <a:pt x="1455483" y="746582"/>
                      </a:lnTo>
                      <a:lnTo>
                        <a:pt x="1455991" y="748919"/>
                      </a:lnTo>
                      <a:lnTo>
                        <a:pt x="1456372" y="749935"/>
                      </a:lnTo>
                      <a:lnTo>
                        <a:pt x="1456334" y="751420"/>
                      </a:lnTo>
                      <a:lnTo>
                        <a:pt x="1456194" y="751751"/>
                      </a:lnTo>
                      <a:lnTo>
                        <a:pt x="1456016" y="752055"/>
                      </a:lnTo>
                      <a:lnTo>
                        <a:pt x="1456245" y="752246"/>
                      </a:lnTo>
                      <a:lnTo>
                        <a:pt x="1456270" y="752513"/>
                      </a:lnTo>
                      <a:lnTo>
                        <a:pt x="1456423" y="752640"/>
                      </a:lnTo>
                      <a:lnTo>
                        <a:pt x="1456829" y="752398"/>
                      </a:lnTo>
                      <a:lnTo>
                        <a:pt x="1457502" y="752436"/>
                      </a:lnTo>
                      <a:lnTo>
                        <a:pt x="1458976" y="750531"/>
                      </a:lnTo>
                      <a:lnTo>
                        <a:pt x="1459750" y="750316"/>
                      </a:lnTo>
                      <a:close/>
                    </a:path>
                    <a:path w="1784350" h="852805">
                      <a:moveTo>
                        <a:pt x="1492935" y="662546"/>
                      </a:moveTo>
                      <a:lnTo>
                        <a:pt x="1492288" y="661466"/>
                      </a:lnTo>
                      <a:lnTo>
                        <a:pt x="1492440" y="662000"/>
                      </a:lnTo>
                      <a:lnTo>
                        <a:pt x="1492935" y="662546"/>
                      </a:lnTo>
                      <a:close/>
                    </a:path>
                    <a:path w="1784350" h="852805">
                      <a:moveTo>
                        <a:pt x="1506677" y="817295"/>
                      </a:moveTo>
                      <a:lnTo>
                        <a:pt x="1506601" y="817105"/>
                      </a:lnTo>
                      <a:lnTo>
                        <a:pt x="1504861" y="815276"/>
                      </a:lnTo>
                      <a:lnTo>
                        <a:pt x="1504556" y="817105"/>
                      </a:lnTo>
                      <a:lnTo>
                        <a:pt x="1503387" y="817295"/>
                      </a:lnTo>
                      <a:lnTo>
                        <a:pt x="1504200" y="819238"/>
                      </a:lnTo>
                      <a:lnTo>
                        <a:pt x="1503857" y="820851"/>
                      </a:lnTo>
                      <a:lnTo>
                        <a:pt x="1506677" y="817295"/>
                      </a:lnTo>
                      <a:close/>
                    </a:path>
                    <a:path w="1784350" h="852805">
                      <a:moveTo>
                        <a:pt x="1519770" y="777265"/>
                      </a:moveTo>
                      <a:lnTo>
                        <a:pt x="1518043" y="779716"/>
                      </a:lnTo>
                      <a:lnTo>
                        <a:pt x="1519008" y="784555"/>
                      </a:lnTo>
                      <a:lnTo>
                        <a:pt x="1519428" y="787133"/>
                      </a:lnTo>
                      <a:lnTo>
                        <a:pt x="1519631" y="783844"/>
                      </a:lnTo>
                      <a:lnTo>
                        <a:pt x="1519656" y="780554"/>
                      </a:lnTo>
                      <a:lnTo>
                        <a:pt x="1519770" y="777265"/>
                      </a:lnTo>
                      <a:close/>
                    </a:path>
                    <a:path w="1784350" h="852805">
                      <a:moveTo>
                        <a:pt x="1539976" y="701459"/>
                      </a:moveTo>
                      <a:lnTo>
                        <a:pt x="1538973" y="701078"/>
                      </a:lnTo>
                      <a:lnTo>
                        <a:pt x="1537868" y="701040"/>
                      </a:lnTo>
                      <a:lnTo>
                        <a:pt x="1536776" y="700887"/>
                      </a:lnTo>
                      <a:lnTo>
                        <a:pt x="1536585" y="701230"/>
                      </a:lnTo>
                      <a:lnTo>
                        <a:pt x="1536471" y="701636"/>
                      </a:lnTo>
                      <a:lnTo>
                        <a:pt x="1536357" y="702005"/>
                      </a:lnTo>
                      <a:lnTo>
                        <a:pt x="1537665" y="701814"/>
                      </a:lnTo>
                      <a:lnTo>
                        <a:pt x="1539176" y="701713"/>
                      </a:lnTo>
                      <a:lnTo>
                        <a:pt x="1539976" y="701459"/>
                      </a:lnTo>
                      <a:close/>
                    </a:path>
                    <a:path w="1784350" h="852805">
                      <a:moveTo>
                        <a:pt x="1541449" y="846772"/>
                      </a:moveTo>
                      <a:lnTo>
                        <a:pt x="1541335" y="844562"/>
                      </a:lnTo>
                      <a:lnTo>
                        <a:pt x="1539989" y="844816"/>
                      </a:lnTo>
                      <a:lnTo>
                        <a:pt x="1538668" y="845362"/>
                      </a:lnTo>
                      <a:lnTo>
                        <a:pt x="1537360" y="845820"/>
                      </a:lnTo>
                      <a:lnTo>
                        <a:pt x="1538554" y="846886"/>
                      </a:lnTo>
                      <a:lnTo>
                        <a:pt x="1541449" y="846772"/>
                      </a:lnTo>
                      <a:close/>
                    </a:path>
                    <a:path w="1784350" h="852805">
                      <a:moveTo>
                        <a:pt x="1541691" y="699122"/>
                      </a:moveTo>
                      <a:lnTo>
                        <a:pt x="1540789" y="698715"/>
                      </a:lnTo>
                      <a:lnTo>
                        <a:pt x="1539824" y="698969"/>
                      </a:lnTo>
                      <a:lnTo>
                        <a:pt x="1539252" y="699503"/>
                      </a:lnTo>
                      <a:lnTo>
                        <a:pt x="1540065" y="699503"/>
                      </a:lnTo>
                      <a:lnTo>
                        <a:pt x="1540865" y="699287"/>
                      </a:lnTo>
                      <a:lnTo>
                        <a:pt x="1541691" y="699122"/>
                      </a:lnTo>
                      <a:close/>
                    </a:path>
                    <a:path w="1784350" h="852805">
                      <a:moveTo>
                        <a:pt x="1552854" y="764235"/>
                      </a:moveTo>
                      <a:lnTo>
                        <a:pt x="1551774" y="761784"/>
                      </a:lnTo>
                      <a:lnTo>
                        <a:pt x="1551152" y="760425"/>
                      </a:lnTo>
                      <a:lnTo>
                        <a:pt x="1550314" y="760730"/>
                      </a:lnTo>
                      <a:lnTo>
                        <a:pt x="1549844" y="761428"/>
                      </a:lnTo>
                      <a:lnTo>
                        <a:pt x="1548193" y="762228"/>
                      </a:lnTo>
                      <a:lnTo>
                        <a:pt x="1547075" y="762088"/>
                      </a:lnTo>
                      <a:lnTo>
                        <a:pt x="1546491" y="762812"/>
                      </a:lnTo>
                      <a:lnTo>
                        <a:pt x="1545183" y="764565"/>
                      </a:lnTo>
                      <a:lnTo>
                        <a:pt x="1547723" y="766191"/>
                      </a:lnTo>
                      <a:lnTo>
                        <a:pt x="1545882" y="768565"/>
                      </a:lnTo>
                      <a:lnTo>
                        <a:pt x="1545424" y="771347"/>
                      </a:lnTo>
                      <a:lnTo>
                        <a:pt x="1547228" y="771740"/>
                      </a:lnTo>
                      <a:lnTo>
                        <a:pt x="1549120" y="772147"/>
                      </a:lnTo>
                      <a:lnTo>
                        <a:pt x="1549387" y="772490"/>
                      </a:lnTo>
                      <a:lnTo>
                        <a:pt x="1550162" y="771118"/>
                      </a:lnTo>
                      <a:lnTo>
                        <a:pt x="1550428" y="770597"/>
                      </a:lnTo>
                      <a:lnTo>
                        <a:pt x="1550466" y="770826"/>
                      </a:lnTo>
                      <a:lnTo>
                        <a:pt x="1550809" y="768604"/>
                      </a:lnTo>
                      <a:lnTo>
                        <a:pt x="1549844" y="769112"/>
                      </a:lnTo>
                      <a:lnTo>
                        <a:pt x="1550847" y="767600"/>
                      </a:lnTo>
                      <a:lnTo>
                        <a:pt x="1551228" y="766965"/>
                      </a:lnTo>
                      <a:lnTo>
                        <a:pt x="1551736" y="766343"/>
                      </a:lnTo>
                      <a:lnTo>
                        <a:pt x="1552854" y="764235"/>
                      </a:lnTo>
                      <a:close/>
                    </a:path>
                    <a:path w="1784350" h="852805">
                      <a:moveTo>
                        <a:pt x="1559331" y="751979"/>
                      </a:moveTo>
                      <a:lnTo>
                        <a:pt x="1558061" y="752055"/>
                      </a:lnTo>
                      <a:lnTo>
                        <a:pt x="1556258" y="751306"/>
                      </a:lnTo>
                      <a:lnTo>
                        <a:pt x="1554556" y="751979"/>
                      </a:lnTo>
                      <a:lnTo>
                        <a:pt x="1554784" y="754087"/>
                      </a:lnTo>
                      <a:lnTo>
                        <a:pt x="1556359" y="754824"/>
                      </a:lnTo>
                      <a:lnTo>
                        <a:pt x="1557413" y="755307"/>
                      </a:lnTo>
                      <a:lnTo>
                        <a:pt x="1558569" y="754849"/>
                      </a:lnTo>
                      <a:lnTo>
                        <a:pt x="1558912" y="753541"/>
                      </a:lnTo>
                      <a:lnTo>
                        <a:pt x="1559331" y="751979"/>
                      </a:lnTo>
                      <a:close/>
                    </a:path>
                    <a:path w="1784350" h="852805">
                      <a:moveTo>
                        <a:pt x="1561084" y="841159"/>
                      </a:moveTo>
                      <a:lnTo>
                        <a:pt x="1559661" y="841590"/>
                      </a:lnTo>
                      <a:lnTo>
                        <a:pt x="1560156" y="842822"/>
                      </a:lnTo>
                      <a:lnTo>
                        <a:pt x="1560779" y="842010"/>
                      </a:lnTo>
                      <a:lnTo>
                        <a:pt x="1561084" y="841159"/>
                      </a:lnTo>
                      <a:close/>
                    </a:path>
                    <a:path w="1784350" h="852805">
                      <a:moveTo>
                        <a:pt x="1561363" y="847483"/>
                      </a:moveTo>
                      <a:lnTo>
                        <a:pt x="1561274" y="844372"/>
                      </a:lnTo>
                      <a:lnTo>
                        <a:pt x="1559534" y="845413"/>
                      </a:lnTo>
                      <a:lnTo>
                        <a:pt x="1555991" y="847483"/>
                      </a:lnTo>
                      <a:lnTo>
                        <a:pt x="1555330" y="847852"/>
                      </a:lnTo>
                      <a:lnTo>
                        <a:pt x="1553641" y="848487"/>
                      </a:lnTo>
                      <a:lnTo>
                        <a:pt x="1550936" y="852551"/>
                      </a:lnTo>
                      <a:lnTo>
                        <a:pt x="1556067" y="850315"/>
                      </a:lnTo>
                      <a:lnTo>
                        <a:pt x="1558112" y="849604"/>
                      </a:lnTo>
                      <a:lnTo>
                        <a:pt x="1558302" y="849972"/>
                      </a:lnTo>
                      <a:lnTo>
                        <a:pt x="1558747" y="849604"/>
                      </a:lnTo>
                      <a:lnTo>
                        <a:pt x="1561363" y="847483"/>
                      </a:lnTo>
                      <a:close/>
                    </a:path>
                    <a:path w="1784350" h="852805">
                      <a:moveTo>
                        <a:pt x="1561846" y="812723"/>
                      </a:moveTo>
                      <a:lnTo>
                        <a:pt x="1557451" y="813193"/>
                      </a:lnTo>
                      <a:lnTo>
                        <a:pt x="1556905" y="813206"/>
                      </a:lnTo>
                      <a:lnTo>
                        <a:pt x="1554276" y="815136"/>
                      </a:lnTo>
                      <a:lnTo>
                        <a:pt x="1557528" y="815314"/>
                      </a:lnTo>
                      <a:lnTo>
                        <a:pt x="1558988" y="814882"/>
                      </a:lnTo>
                      <a:lnTo>
                        <a:pt x="1559458" y="814743"/>
                      </a:lnTo>
                      <a:lnTo>
                        <a:pt x="1559801" y="815086"/>
                      </a:lnTo>
                      <a:lnTo>
                        <a:pt x="1560220" y="814628"/>
                      </a:lnTo>
                      <a:lnTo>
                        <a:pt x="1561846" y="812723"/>
                      </a:lnTo>
                      <a:close/>
                    </a:path>
                    <a:path w="1784350" h="852805">
                      <a:moveTo>
                        <a:pt x="1563928" y="720750"/>
                      </a:moveTo>
                      <a:lnTo>
                        <a:pt x="1563192" y="716140"/>
                      </a:lnTo>
                      <a:lnTo>
                        <a:pt x="1563128" y="715594"/>
                      </a:lnTo>
                      <a:lnTo>
                        <a:pt x="1562811" y="716013"/>
                      </a:lnTo>
                      <a:lnTo>
                        <a:pt x="1562125" y="717892"/>
                      </a:lnTo>
                      <a:lnTo>
                        <a:pt x="1562544" y="718553"/>
                      </a:lnTo>
                      <a:lnTo>
                        <a:pt x="1563928" y="720750"/>
                      </a:lnTo>
                      <a:close/>
                    </a:path>
                    <a:path w="1784350" h="852805">
                      <a:moveTo>
                        <a:pt x="1567865" y="722312"/>
                      </a:moveTo>
                      <a:lnTo>
                        <a:pt x="1567522" y="721944"/>
                      </a:lnTo>
                      <a:lnTo>
                        <a:pt x="1567205" y="721525"/>
                      </a:lnTo>
                      <a:lnTo>
                        <a:pt x="1566786" y="721474"/>
                      </a:lnTo>
                      <a:lnTo>
                        <a:pt x="1567091" y="721791"/>
                      </a:lnTo>
                      <a:lnTo>
                        <a:pt x="1567484" y="722045"/>
                      </a:lnTo>
                      <a:lnTo>
                        <a:pt x="1567865" y="722312"/>
                      </a:lnTo>
                      <a:close/>
                    </a:path>
                    <a:path w="1784350" h="852805">
                      <a:moveTo>
                        <a:pt x="1586649" y="812838"/>
                      </a:moveTo>
                      <a:lnTo>
                        <a:pt x="1585836" y="811834"/>
                      </a:lnTo>
                      <a:lnTo>
                        <a:pt x="1584528" y="810323"/>
                      </a:lnTo>
                      <a:lnTo>
                        <a:pt x="1578660" y="811110"/>
                      </a:lnTo>
                      <a:lnTo>
                        <a:pt x="1576730" y="811047"/>
                      </a:lnTo>
                      <a:lnTo>
                        <a:pt x="1575308" y="812393"/>
                      </a:lnTo>
                      <a:lnTo>
                        <a:pt x="1575104" y="813473"/>
                      </a:lnTo>
                      <a:lnTo>
                        <a:pt x="1577390" y="812533"/>
                      </a:lnTo>
                      <a:lnTo>
                        <a:pt x="1576844" y="812863"/>
                      </a:lnTo>
                      <a:lnTo>
                        <a:pt x="1576158" y="813219"/>
                      </a:lnTo>
                      <a:lnTo>
                        <a:pt x="1573872" y="815543"/>
                      </a:lnTo>
                      <a:lnTo>
                        <a:pt x="1575612" y="815835"/>
                      </a:lnTo>
                      <a:lnTo>
                        <a:pt x="1577505" y="815467"/>
                      </a:lnTo>
                      <a:lnTo>
                        <a:pt x="1578813" y="815213"/>
                      </a:lnTo>
                      <a:lnTo>
                        <a:pt x="1582280" y="814870"/>
                      </a:lnTo>
                      <a:lnTo>
                        <a:pt x="1584680" y="814743"/>
                      </a:lnTo>
                      <a:lnTo>
                        <a:pt x="1586293" y="813803"/>
                      </a:lnTo>
                      <a:lnTo>
                        <a:pt x="1586649" y="812838"/>
                      </a:lnTo>
                      <a:close/>
                    </a:path>
                    <a:path w="1784350" h="852805">
                      <a:moveTo>
                        <a:pt x="1590611" y="654926"/>
                      </a:moveTo>
                      <a:lnTo>
                        <a:pt x="1589913" y="655243"/>
                      </a:lnTo>
                      <a:lnTo>
                        <a:pt x="1589532" y="655789"/>
                      </a:lnTo>
                      <a:lnTo>
                        <a:pt x="1589608" y="656501"/>
                      </a:lnTo>
                      <a:lnTo>
                        <a:pt x="1590040" y="656043"/>
                      </a:lnTo>
                      <a:lnTo>
                        <a:pt x="1590382" y="655485"/>
                      </a:lnTo>
                      <a:lnTo>
                        <a:pt x="1590611" y="654926"/>
                      </a:lnTo>
                      <a:close/>
                    </a:path>
                    <a:path w="1784350" h="852805">
                      <a:moveTo>
                        <a:pt x="1594345" y="644499"/>
                      </a:moveTo>
                      <a:lnTo>
                        <a:pt x="1594002" y="644321"/>
                      </a:lnTo>
                      <a:lnTo>
                        <a:pt x="1592656" y="643343"/>
                      </a:lnTo>
                      <a:lnTo>
                        <a:pt x="1593303" y="642620"/>
                      </a:lnTo>
                      <a:lnTo>
                        <a:pt x="1592224" y="641121"/>
                      </a:lnTo>
                      <a:lnTo>
                        <a:pt x="1590878" y="641159"/>
                      </a:lnTo>
                      <a:lnTo>
                        <a:pt x="1591310" y="643039"/>
                      </a:lnTo>
                      <a:lnTo>
                        <a:pt x="1592732" y="644728"/>
                      </a:lnTo>
                      <a:lnTo>
                        <a:pt x="1593697" y="646366"/>
                      </a:lnTo>
                      <a:lnTo>
                        <a:pt x="1594345" y="644499"/>
                      </a:lnTo>
                      <a:close/>
                    </a:path>
                    <a:path w="1784350" h="852805">
                      <a:moveTo>
                        <a:pt x="1599247" y="729869"/>
                      </a:moveTo>
                      <a:lnTo>
                        <a:pt x="1599057" y="727443"/>
                      </a:lnTo>
                      <a:lnTo>
                        <a:pt x="1598434" y="725043"/>
                      </a:lnTo>
                      <a:lnTo>
                        <a:pt x="1597977" y="722655"/>
                      </a:lnTo>
                      <a:lnTo>
                        <a:pt x="1595539" y="723734"/>
                      </a:lnTo>
                      <a:lnTo>
                        <a:pt x="1597126" y="725195"/>
                      </a:lnTo>
                      <a:lnTo>
                        <a:pt x="1598015" y="727976"/>
                      </a:lnTo>
                      <a:lnTo>
                        <a:pt x="1597939" y="729348"/>
                      </a:lnTo>
                      <a:lnTo>
                        <a:pt x="1599247" y="729869"/>
                      </a:lnTo>
                      <a:close/>
                    </a:path>
                    <a:path w="1784350" h="852805">
                      <a:moveTo>
                        <a:pt x="1603489" y="720547"/>
                      </a:moveTo>
                      <a:lnTo>
                        <a:pt x="1599057" y="720178"/>
                      </a:lnTo>
                      <a:lnTo>
                        <a:pt x="1594612" y="720064"/>
                      </a:lnTo>
                      <a:lnTo>
                        <a:pt x="1590192" y="719874"/>
                      </a:lnTo>
                      <a:lnTo>
                        <a:pt x="1587487" y="720966"/>
                      </a:lnTo>
                      <a:lnTo>
                        <a:pt x="1590535" y="721296"/>
                      </a:lnTo>
                      <a:lnTo>
                        <a:pt x="1590382" y="722198"/>
                      </a:lnTo>
                      <a:lnTo>
                        <a:pt x="1591767" y="722045"/>
                      </a:lnTo>
                      <a:lnTo>
                        <a:pt x="1595539" y="721728"/>
                      </a:lnTo>
                      <a:lnTo>
                        <a:pt x="1596669" y="722096"/>
                      </a:lnTo>
                      <a:lnTo>
                        <a:pt x="1602447" y="721499"/>
                      </a:lnTo>
                      <a:lnTo>
                        <a:pt x="1603489" y="720547"/>
                      </a:lnTo>
                      <a:close/>
                    </a:path>
                    <a:path w="1784350" h="852805">
                      <a:moveTo>
                        <a:pt x="1616405" y="702729"/>
                      </a:moveTo>
                      <a:lnTo>
                        <a:pt x="1616354" y="700366"/>
                      </a:lnTo>
                      <a:lnTo>
                        <a:pt x="1616367" y="698169"/>
                      </a:lnTo>
                      <a:lnTo>
                        <a:pt x="1614551" y="697788"/>
                      </a:lnTo>
                      <a:lnTo>
                        <a:pt x="1614081" y="699020"/>
                      </a:lnTo>
                      <a:lnTo>
                        <a:pt x="1614246" y="700405"/>
                      </a:lnTo>
                      <a:lnTo>
                        <a:pt x="1614830" y="701802"/>
                      </a:lnTo>
                      <a:lnTo>
                        <a:pt x="1616405" y="702729"/>
                      </a:lnTo>
                      <a:close/>
                    </a:path>
                    <a:path w="1784350" h="852805">
                      <a:moveTo>
                        <a:pt x="1617599" y="705472"/>
                      </a:moveTo>
                      <a:lnTo>
                        <a:pt x="1616557" y="703872"/>
                      </a:lnTo>
                      <a:lnTo>
                        <a:pt x="1616290" y="703122"/>
                      </a:lnTo>
                      <a:lnTo>
                        <a:pt x="1616011" y="703440"/>
                      </a:lnTo>
                      <a:lnTo>
                        <a:pt x="1614703" y="704850"/>
                      </a:lnTo>
                      <a:lnTo>
                        <a:pt x="1615122" y="705472"/>
                      </a:lnTo>
                      <a:lnTo>
                        <a:pt x="1615287" y="705675"/>
                      </a:lnTo>
                      <a:lnTo>
                        <a:pt x="1616557" y="705942"/>
                      </a:lnTo>
                      <a:lnTo>
                        <a:pt x="1616710" y="705866"/>
                      </a:lnTo>
                      <a:lnTo>
                        <a:pt x="1617599" y="705472"/>
                      </a:lnTo>
                      <a:close/>
                    </a:path>
                    <a:path w="1784350" h="852805">
                      <a:moveTo>
                        <a:pt x="1618640" y="688975"/>
                      </a:moveTo>
                      <a:lnTo>
                        <a:pt x="1618411" y="689432"/>
                      </a:lnTo>
                      <a:lnTo>
                        <a:pt x="1618145" y="689838"/>
                      </a:lnTo>
                      <a:lnTo>
                        <a:pt x="1617980" y="690346"/>
                      </a:lnTo>
                      <a:lnTo>
                        <a:pt x="1618297" y="689940"/>
                      </a:lnTo>
                      <a:lnTo>
                        <a:pt x="1618449" y="689470"/>
                      </a:lnTo>
                      <a:lnTo>
                        <a:pt x="1618640" y="688975"/>
                      </a:lnTo>
                      <a:close/>
                    </a:path>
                    <a:path w="1784350" h="852805">
                      <a:moveTo>
                        <a:pt x="1622615" y="712482"/>
                      </a:moveTo>
                      <a:lnTo>
                        <a:pt x="1622120" y="711974"/>
                      </a:lnTo>
                      <a:lnTo>
                        <a:pt x="1621574" y="711581"/>
                      </a:lnTo>
                      <a:lnTo>
                        <a:pt x="1620951" y="711200"/>
                      </a:lnTo>
                      <a:lnTo>
                        <a:pt x="1620456" y="711327"/>
                      </a:lnTo>
                      <a:lnTo>
                        <a:pt x="1619885" y="711644"/>
                      </a:lnTo>
                      <a:lnTo>
                        <a:pt x="1619453" y="711949"/>
                      </a:lnTo>
                      <a:lnTo>
                        <a:pt x="1620418" y="712304"/>
                      </a:lnTo>
                      <a:lnTo>
                        <a:pt x="1621574" y="712558"/>
                      </a:lnTo>
                      <a:lnTo>
                        <a:pt x="1622615" y="712482"/>
                      </a:lnTo>
                      <a:close/>
                    </a:path>
                    <a:path w="1784350" h="852805">
                      <a:moveTo>
                        <a:pt x="1628902" y="811657"/>
                      </a:moveTo>
                      <a:lnTo>
                        <a:pt x="1627428" y="811110"/>
                      </a:lnTo>
                      <a:lnTo>
                        <a:pt x="1625815" y="810907"/>
                      </a:lnTo>
                      <a:lnTo>
                        <a:pt x="1624266" y="810577"/>
                      </a:lnTo>
                      <a:lnTo>
                        <a:pt x="1624304" y="811758"/>
                      </a:lnTo>
                      <a:lnTo>
                        <a:pt x="1625777" y="812609"/>
                      </a:lnTo>
                      <a:lnTo>
                        <a:pt x="1626781" y="812622"/>
                      </a:lnTo>
                      <a:lnTo>
                        <a:pt x="1627936" y="812634"/>
                      </a:lnTo>
                      <a:lnTo>
                        <a:pt x="1627822" y="812330"/>
                      </a:lnTo>
                      <a:lnTo>
                        <a:pt x="1628902" y="811657"/>
                      </a:lnTo>
                      <a:close/>
                    </a:path>
                    <a:path w="1784350" h="852805">
                      <a:moveTo>
                        <a:pt x="1635099" y="745871"/>
                      </a:moveTo>
                      <a:lnTo>
                        <a:pt x="1634642" y="745426"/>
                      </a:lnTo>
                      <a:lnTo>
                        <a:pt x="1634070" y="745032"/>
                      </a:lnTo>
                      <a:lnTo>
                        <a:pt x="1633486" y="744740"/>
                      </a:lnTo>
                      <a:lnTo>
                        <a:pt x="1633143" y="745185"/>
                      </a:lnTo>
                      <a:lnTo>
                        <a:pt x="1632940" y="745807"/>
                      </a:lnTo>
                      <a:lnTo>
                        <a:pt x="1632724" y="746315"/>
                      </a:lnTo>
                      <a:lnTo>
                        <a:pt x="1633524" y="746353"/>
                      </a:lnTo>
                      <a:lnTo>
                        <a:pt x="1634375" y="746252"/>
                      </a:lnTo>
                      <a:lnTo>
                        <a:pt x="1635099" y="745871"/>
                      </a:lnTo>
                      <a:close/>
                    </a:path>
                    <a:path w="1784350" h="852805">
                      <a:moveTo>
                        <a:pt x="1636496" y="663321"/>
                      </a:moveTo>
                      <a:lnTo>
                        <a:pt x="1636217" y="658088"/>
                      </a:lnTo>
                      <a:lnTo>
                        <a:pt x="1635264" y="656640"/>
                      </a:lnTo>
                      <a:lnTo>
                        <a:pt x="1633524" y="657428"/>
                      </a:lnTo>
                      <a:lnTo>
                        <a:pt x="1631010" y="659282"/>
                      </a:lnTo>
                      <a:lnTo>
                        <a:pt x="1630514" y="661314"/>
                      </a:lnTo>
                      <a:lnTo>
                        <a:pt x="1630324" y="662025"/>
                      </a:lnTo>
                      <a:lnTo>
                        <a:pt x="1630210" y="662393"/>
                      </a:lnTo>
                      <a:lnTo>
                        <a:pt x="1630667" y="663511"/>
                      </a:lnTo>
                      <a:lnTo>
                        <a:pt x="1630934" y="664210"/>
                      </a:lnTo>
                      <a:lnTo>
                        <a:pt x="1631353" y="665124"/>
                      </a:lnTo>
                      <a:lnTo>
                        <a:pt x="1631010" y="665797"/>
                      </a:lnTo>
                      <a:lnTo>
                        <a:pt x="1631975" y="665594"/>
                      </a:lnTo>
                      <a:lnTo>
                        <a:pt x="1633905" y="665302"/>
                      </a:lnTo>
                      <a:lnTo>
                        <a:pt x="1634718" y="664692"/>
                      </a:lnTo>
                      <a:lnTo>
                        <a:pt x="1636496" y="663321"/>
                      </a:lnTo>
                      <a:close/>
                    </a:path>
                    <a:path w="1784350" h="852805">
                      <a:moveTo>
                        <a:pt x="1637423" y="746112"/>
                      </a:moveTo>
                      <a:lnTo>
                        <a:pt x="1636839" y="745490"/>
                      </a:lnTo>
                      <a:lnTo>
                        <a:pt x="1636191" y="744943"/>
                      </a:lnTo>
                      <a:lnTo>
                        <a:pt x="1635531" y="744372"/>
                      </a:lnTo>
                      <a:lnTo>
                        <a:pt x="1635836" y="745858"/>
                      </a:lnTo>
                      <a:lnTo>
                        <a:pt x="1636115" y="746569"/>
                      </a:lnTo>
                      <a:lnTo>
                        <a:pt x="1637423" y="746112"/>
                      </a:lnTo>
                      <a:close/>
                    </a:path>
                    <a:path w="1784350" h="852805">
                      <a:moveTo>
                        <a:pt x="1649209" y="695960"/>
                      </a:moveTo>
                      <a:lnTo>
                        <a:pt x="1647050" y="694486"/>
                      </a:lnTo>
                      <a:lnTo>
                        <a:pt x="1645818" y="693686"/>
                      </a:lnTo>
                      <a:lnTo>
                        <a:pt x="1646783" y="695083"/>
                      </a:lnTo>
                      <a:lnTo>
                        <a:pt x="1648053" y="696264"/>
                      </a:lnTo>
                      <a:lnTo>
                        <a:pt x="1649171" y="697522"/>
                      </a:lnTo>
                      <a:lnTo>
                        <a:pt x="1649209" y="695960"/>
                      </a:lnTo>
                      <a:close/>
                    </a:path>
                    <a:path w="1784350" h="852805">
                      <a:moveTo>
                        <a:pt x="1654124" y="806424"/>
                      </a:moveTo>
                      <a:lnTo>
                        <a:pt x="1652193" y="806526"/>
                      </a:lnTo>
                      <a:lnTo>
                        <a:pt x="1650530" y="806196"/>
                      </a:lnTo>
                      <a:lnTo>
                        <a:pt x="1649603" y="807059"/>
                      </a:lnTo>
                      <a:lnTo>
                        <a:pt x="1650111" y="809155"/>
                      </a:lnTo>
                      <a:lnTo>
                        <a:pt x="1651381" y="809663"/>
                      </a:lnTo>
                      <a:lnTo>
                        <a:pt x="1652384" y="810056"/>
                      </a:lnTo>
                      <a:lnTo>
                        <a:pt x="1653387" y="809548"/>
                      </a:lnTo>
                      <a:lnTo>
                        <a:pt x="1653654" y="808342"/>
                      </a:lnTo>
                      <a:lnTo>
                        <a:pt x="1654124" y="806424"/>
                      </a:lnTo>
                      <a:close/>
                    </a:path>
                    <a:path w="1784350" h="852805">
                      <a:moveTo>
                        <a:pt x="1662049" y="721182"/>
                      </a:moveTo>
                      <a:lnTo>
                        <a:pt x="1659966" y="718083"/>
                      </a:lnTo>
                      <a:lnTo>
                        <a:pt x="1654263" y="720178"/>
                      </a:lnTo>
                      <a:lnTo>
                        <a:pt x="1652955" y="720534"/>
                      </a:lnTo>
                      <a:lnTo>
                        <a:pt x="1651876" y="721182"/>
                      </a:lnTo>
                      <a:lnTo>
                        <a:pt x="1653654" y="722287"/>
                      </a:lnTo>
                      <a:lnTo>
                        <a:pt x="1655648" y="723036"/>
                      </a:lnTo>
                      <a:lnTo>
                        <a:pt x="1657540" y="723912"/>
                      </a:lnTo>
                      <a:lnTo>
                        <a:pt x="1658010" y="723900"/>
                      </a:lnTo>
                      <a:lnTo>
                        <a:pt x="1658734" y="723938"/>
                      </a:lnTo>
                      <a:lnTo>
                        <a:pt x="1659585" y="723569"/>
                      </a:lnTo>
                      <a:lnTo>
                        <a:pt x="1659890" y="722833"/>
                      </a:lnTo>
                      <a:lnTo>
                        <a:pt x="1660893" y="722528"/>
                      </a:lnTo>
                      <a:lnTo>
                        <a:pt x="1661007" y="723366"/>
                      </a:lnTo>
                      <a:lnTo>
                        <a:pt x="1661706" y="722655"/>
                      </a:lnTo>
                      <a:lnTo>
                        <a:pt x="1661744" y="722528"/>
                      </a:lnTo>
                      <a:lnTo>
                        <a:pt x="1662049" y="721182"/>
                      </a:lnTo>
                      <a:close/>
                    </a:path>
                    <a:path w="1784350" h="852805">
                      <a:moveTo>
                        <a:pt x="1663280" y="706958"/>
                      </a:moveTo>
                      <a:lnTo>
                        <a:pt x="1662874" y="705751"/>
                      </a:lnTo>
                      <a:lnTo>
                        <a:pt x="1662176" y="706208"/>
                      </a:lnTo>
                      <a:lnTo>
                        <a:pt x="1662074" y="707072"/>
                      </a:lnTo>
                      <a:lnTo>
                        <a:pt x="1661566" y="707478"/>
                      </a:lnTo>
                      <a:lnTo>
                        <a:pt x="1663014" y="707059"/>
                      </a:lnTo>
                      <a:lnTo>
                        <a:pt x="1663280" y="706958"/>
                      </a:lnTo>
                      <a:close/>
                    </a:path>
                    <a:path w="1784350" h="852805">
                      <a:moveTo>
                        <a:pt x="1665808" y="706069"/>
                      </a:moveTo>
                      <a:lnTo>
                        <a:pt x="1664982" y="705929"/>
                      </a:lnTo>
                      <a:lnTo>
                        <a:pt x="1664538" y="706259"/>
                      </a:lnTo>
                      <a:lnTo>
                        <a:pt x="1663915" y="705916"/>
                      </a:lnTo>
                      <a:lnTo>
                        <a:pt x="1663306" y="706958"/>
                      </a:lnTo>
                      <a:lnTo>
                        <a:pt x="1665249" y="706259"/>
                      </a:lnTo>
                      <a:lnTo>
                        <a:pt x="1665808" y="706069"/>
                      </a:lnTo>
                      <a:close/>
                    </a:path>
                    <a:path w="1784350" h="852805">
                      <a:moveTo>
                        <a:pt x="1671307" y="710311"/>
                      </a:moveTo>
                      <a:lnTo>
                        <a:pt x="1670532" y="707313"/>
                      </a:lnTo>
                      <a:lnTo>
                        <a:pt x="1670304" y="707212"/>
                      </a:lnTo>
                      <a:lnTo>
                        <a:pt x="1665744" y="707313"/>
                      </a:lnTo>
                      <a:lnTo>
                        <a:pt x="1664982" y="708240"/>
                      </a:lnTo>
                      <a:lnTo>
                        <a:pt x="1665947" y="710069"/>
                      </a:lnTo>
                      <a:lnTo>
                        <a:pt x="1666100" y="710565"/>
                      </a:lnTo>
                      <a:lnTo>
                        <a:pt x="1667065" y="713270"/>
                      </a:lnTo>
                      <a:lnTo>
                        <a:pt x="1667916" y="713371"/>
                      </a:lnTo>
                      <a:lnTo>
                        <a:pt x="1670113" y="713625"/>
                      </a:lnTo>
                      <a:lnTo>
                        <a:pt x="1671307" y="710311"/>
                      </a:lnTo>
                      <a:close/>
                    </a:path>
                    <a:path w="1784350" h="852805">
                      <a:moveTo>
                        <a:pt x="1683105" y="797699"/>
                      </a:moveTo>
                      <a:lnTo>
                        <a:pt x="1682813" y="796798"/>
                      </a:lnTo>
                      <a:lnTo>
                        <a:pt x="1681772" y="796886"/>
                      </a:lnTo>
                      <a:lnTo>
                        <a:pt x="1683105" y="797699"/>
                      </a:lnTo>
                      <a:close/>
                    </a:path>
                    <a:path w="1784350" h="852805">
                      <a:moveTo>
                        <a:pt x="1683994" y="798334"/>
                      </a:moveTo>
                      <a:lnTo>
                        <a:pt x="1683727" y="798080"/>
                      </a:lnTo>
                      <a:lnTo>
                        <a:pt x="1683410" y="797915"/>
                      </a:lnTo>
                      <a:lnTo>
                        <a:pt x="1683105" y="797699"/>
                      </a:lnTo>
                      <a:lnTo>
                        <a:pt x="1683410" y="797953"/>
                      </a:lnTo>
                      <a:lnTo>
                        <a:pt x="1683562" y="798220"/>
                      </a:lnTo>
                      <a:lnTo>
                        <a:pt x="1683994" y="798334"/>
                      </a:lnTo>
                      <a:close/>
                    </a:path>
                    <a:path w="1784350" h="852805">
                      <a:moveTo>
                        <a:pt x="1706206" y="755053"/>
                      </a:moveTo>
                      <a:lnTo>
                        <a:pt x="1705279" y="754418"/>
                      </a:lnTo>
                      <a:lnTo>
                        <a:pt x="1704390" y="753795"/>
                      </a:lnTo>
                      <a:lnTo>
                        <a:pt x="1703463" y="753160"/>
                      </a:lnTo>
                      <a:lnTo>
                        <a:pt x="1703743" y="754278"/>
                      </a:lnTo>
                      <a:lnTo>
                        <a:pt x="1705089" y="755484"/>
                      </a:lnTo>
                      <a:lnTo>
                        <a:pt x="1706206" y="755053"/>
                      </a:lnTo>
                      <a:close/>
                    </a:path>
                    <a:path w="1784350" h="852805">
                      <a:moveTo>
                        <a:pt x="1716620" y="719404"/>
                      </a:moveTo>
                      <a:lnTo>
                        <a:pt x="1715693" y="720102"/>
                      </a:lnTo>
                      <a:lnTo>
                        <a:pt x="1715046" y="720928"/>
                      </a:lnTo>
                      <a:lnTo>
                        <a:pt x="1715465" y="722033"/>
                      </a:lnTo>
                      <a:lnTo>
                        <a:pt x="1715973" y="721220"/>
                      </a:lnTo>
                      <a:lnTo>
                        <a:pt x="1716239" y="720293"/>
                      </a:lnTo>
                      <a:lnTo>
                        <a:pt x="1716620" y="719404"/>
                      </a:lnTo>
                      <a:close/>
                    </a:path>
                    <a:path w="1784350" h="852805">
                      <a:moveTo>
                        <a:pt x="1721319" y="727748"/>
                      </a:moveTo>
                      <a:lnTo>
                        <a:pt x="1721053" y="728256"/>
                      </a:lnTo>
                      <a:lnTo>
                        <a:pt x="1720824" y="728891"/>
                      </a:lnTo>
                      <a:lnTo>
                        <a:pt x="1720786" y="729399"/>
                      </a:lnTo>
                      <a:lnTo>
                        <a:pt x="1721053" y="728916"/>
                      </a:lnTo>
                      <a:lnTo>
                        <a:pt x="1721243" y="728332"/>
                      </a:lnTo>
                      <a:lnTo>
                        <a:pt x="1721319" y="727748"/>
                      </a:lnTo>
                      <a:close/>
                    </a:path>
                    <a:path w="1784350" h="852805">
                      <a:moveTo>
                        <a:pt x="1729346" y="712457"/>
                      </a:moveTo>
                      <a:lnTo>
                        <a:pt x="1725879" y="707834"/>
                      </a:lnTo>
                      <a:lnTo>
                        <a:pt x="1722094" y="709752"/>
                      </a:lnTo>
                      <a:lnTo>
                        <a:pt x="1729346" y="712457"/>
                      </a:lnTo>
                      <a:close/>
                    </a:path>
                    <a:path w="1784350" h="852805">
                      <a:moveTo>
                        <a:pt x="1732038" y="715822"/>
                      </a:moveTo>
                      <a:lnTo>
                        <a:pt x="1731111" y="715581"/>
                      </a:lnTo>
                      <a:lnTo>
                        <a:pt x="1730146" y="715594"/>
                      </a:lnTo>
                      <a:lnTo>
                        <a:pt x="1729181" y="715530"/>
                      </a:lnTo>
                      <a:lnTo>
                        <a:pt x="1730146" y="715949"/>
                      </a:lnTo>
                      <a:lnTo>
                        <a:pt x="1731149" y="716572"/>
                      </a:lnTo>
                      <a:lnTo>
                        <a:pt x="1732038" y="715822"/>
                      </a:lnTo>
                      <a:close/>
                    </a:path>
                    <a:path w="1784350" h="852805">
                      <a:moveTo>
                        <a:pt x="1747151" y="710234"/>
                      </a:moveTo>
                      <a:lnTo>
                        <a:pt x="1746618" y="710272"/>
                      </a:lnTo>
                      <a:lnTo>
                        <a:pt x="1746313" y="709968"/>
                      </a:lnTo>
                      <a:lnTo>
                        <a:pt x="1745767" y="709777"/>
                      </a:lnTo>
                      <a:lnTo>
                        <a:pt x="1744535" y="709752"/>
                      </a:lnTo>
                      <a:lnTo>
                        <a:pt x="1743608" y="709231"/>
                      </a:lnTo>
                      <a:lnTo>
                        <a:pt x="1743456" y="707898"/>
                      </a:lnTo>
                      <a:lnTo>
                        <a:pt x="1742605" y="707542"/>
                      </a:lnTo>
                      <a:lnTo>
                        <a:pt x="1742528" y="706285"/>
                      </a:lnTo>
                      <a:lnTo>
                        <a:pt x="1739442" y="704481"/>
                      </a:lnTo>
                      <a:lnTo>
                        <a:pt x="1738439" y="705116"/>
                      </a:lnTo>
                      <a:lnTo>
                        <a:pt x="1738718" y="706285"/>
                      </a:lnTo>
                      <a:lnTo>
                        <a:pt x="1738807" y="707542"/>
                      </a:lnTo>
                      <a:lnTo>
                        <a:pt x="1738985" y="710958"/>
                      </a:lnTo>
                      <a:lnTo>
                        <a:pt x="1739950" y="711454"/>
                      </a:lnTo>
                      <a:lnTo>
                        <a:pt x="1742452" y="711581"/>
                      </a:lnTo>
                      <a:lnTo>
                        <a:pt x="1742579" y="711593"/>
                      </a:lnTo>
                      <a:lnTo>
                        <a:pt x="1744268" y="711758"/>
                      </a:lnTo>
                      <a:lnTo>
                        <a:pt x="1745615" y="711708"/>
                      </a:lnTo>
                      <a:lnTo>
                        <a:pt x="1745742" y="711581"/>
                      </a:lnTo>
                      <a:lnTo>
                        <a:pt x="1747113" y="710272"/>
                      </a:lnTo>
                      <a:close/>
                    </a:path>
                    <a:path w="1784350" h="852805">
                      <a:moveTo>
                        <a:pt x="1783905" y="814832"/>
                      </a:moveTo>
                      <a:lnTo>
                        <a:pt x="1782826" y="813866"/>
                      </a:lnTo>
                      <a:lnTo>
                        <a:pt x="1782089" y="811580"/>
                      </a:lnTo>
                      <a:lnTo>
                        <a:pt x="1781517" y="811618"/>
                      </a:lnTo>
                      <a:lnTo>
                        <a:pt x="1777847" y="812736"/>
                      </a:lnTo>
                      <a:lnTo>
                        <a:pt x="1778127" y="814044"/>
                      </a:lnTo>
                      <a:lnTo>
                        <a:pt x="1778203" y="814489"/>
                      </a:lnTo>
                      <a:lnTo>
                        <a:pt x="1780971" y="815060"/>
                      </a:lnTo>
                      <a:lnTo>
                        <a:pt x="1781708" y="814997"/>
                      </a:lnTo>
                      <a:lnTo>
                        <a:pt x="1783905" y="814832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54" name="object 94">
                  <a:extLst>
                    <a:ext uri="{FF2B5EF4-FFF2-40B4-BE49-F238E27FC236}">
                      <a16:creationId xmlns:a16="http://schemas.microsoft.com/office/drawing/2014/main" id="{7FA80C33-6F50-0BB2-8489-3D01AA983FEE}"/>
                    </a:ext>
                  </a:extLst>
                </p:cNvPr>
                <p:cNvSpPr/>
                <p:nvPr/>
              </p:nvSpPr>
              <p:spPr>
                <a:xfrm>
                  <a:off x="2635720" y="1846237"/>
                  <a:ext cx="2439670" cy="18770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39670" h="1877060">
                      <a:moveTo>
                        <a:pt x="10769" y="21475"/>
                      </a:moveTo>
                      <a:lnTo>
                        <a:pt x="10071" y="18478"/>
                      </a:lnTo>
                      <a:lnTo>
                        <a:pt x="9804" y="16929"/>
                      </a:lnTo>
                      <a:lnTo>
                        <a:pt x="6477" y="16497"/>
                      </a:lnTo>
                      <a:lnTo>
                        <a:pt x="7162" y="18973"/>
                      </a:lnTo>
                      <a:lnTo>
                        <a:pt x="8877" y="19862"/>
                      </a:lnTo>
                      <a:lnTo>
                        <a:pt x="10769" y="21475"/>
                      </a:lnTo>
                      <a:close/>
                    </a:path>
                    <a:path w="2439670" h="1877060">
                      <a:moveTo>
                        <a:pt x="10960" y="10883"/>
                      </a:moveTo>
                      <a:lnTo>
                        <a:pt x="9855" y="10452"/>
                      </a:lnTo>
                      <a:lnTo>
                        <a:pt x="7366" y="10109"/>
                      </a:lnTo>
                      <a:lnTo>
                        <a:pt x="8369" y="11442"/>
                      </a:lnTo>
                      <a:lnTo>
                        <a:pt x="9690" y="12534"/>
                      </a:lnTo>
                      <a:lnTo>
                        <a:pt x="10871" y="13703"/>
                      </a:lnTo>
                      <a:lnTo>
                        <a:pt x="10960" y="10883"/>
                      </a:lnTo>
                      <a:close/>
                    </a:path>
                    <a:path w="2439670" h="1877060">
                      <a:moveTo>
                        <a:pt x="12585" y="4737"/>
                      </a:moveTo>
                      <a:lnTo>
                        <a:pt x="11684" y="5461"/>
                      </a:lnTo>
                      <a:lnTo>
                        <a:pt x="10566" y="3949"/>
                      </a:lnTo>
                      <a:lnTo>
                        <a:pt x="10871" y="3886"/>
                      </a:lnTo>
                      <a:lnTo>
                        <a:pt x="11163" y="3670"/>
                      </a:lnTo>
                      <a:lnTo>
                        <a:pt x="11442" y="3581"/>
                      </a:lnTo>
                      <a:lnTo>
                        <a:pt x="8864" y="2425"/>
                      </a:lnTo>
                      <a:lnTo>
                        <a:pt x="7937" y="368"/>
                      </a:lnTo>
                      <a:lnTo>
                        <a:pt x="7747" y="431"/>
                      </a:lnTo>
                      <a:lnTo>
                        <a:pt x="7747" y="4635"/>
                      </a:lnTo>
                      <a:lnTo>
                        <a:pt x="6946" y="4686"/>
                      </a:lnTo>
                      <a:lnTo>
                        <a:pt x="5816" y="3708"/>
                      </a:lnTo>
                      <a:lnTo>
                        <a:pt x="6769" y="4114"/>
                      </a:lnTo>
                      <a:lnTo>
                        <a:pt x="7747" y="4635"/>
                      </a:lnTo>
                      <a:lnTo>
                        <a:pt x="7747" y="431"/>
                      </a:lnTo>
                      <a:lnTo>
                        <a:pt x="4711" y="1295"/>
                      </a:lnTo>
                      <a:lnTo>
                        <a:pt x="5562" y="2019"/>
                      </a:lnTo>
                      <a:lnTo>
                        <a:pt x="5626" y="3009"/>
                      </a:lnTo>
                      <a:lnTo>
                        <a:pt x="5549" y="2705"/>
                      </a:lnTo>
                      <a:lnTo>
                        <a:pt x="3835" y="787"/>
                      </a:lnTo>
                      <a:lnTo>
                        <a:pt x="368" y="3340"/>
                      </a:lnTo>
                      <a:lnTo>
                        <a:pt x="2705" y="4826"/>
                      </a:lnTo>
                      <a:lnTo>
                        <a:pt x="2209" y="4737"/>
                      </a:lnTo>
                      <a:lnTo>
                        <a:pt x="736" y="5384"/>
                      </a:lnTo>
                      <a:lnTo>
                        <a:pt x="0" y="4851"/>
                      </a:lnTo>
                      <a:lnTo>
                        <a:pt x="736" y="5969"/>
                      </a:lnTo>
                      <a:lnTo>
                        <a:pt x="2006" y="6756"/>
                      </a:lnTo>
                      <a:lnTo>
                        <a:pt x="3009" y="7620"/>
                      </a:lnTo>
                      <a:lnTo>
                        <a:pt x="5207" y="6731"/>
                      </a:lnTo>
                      <a:lnTo>
                        <a:pt x="5384" y="6515"/>
                      </a:lnTo>
                      <a:lnTo>
                        <a:pt x="9131" y="8877"/>
                      </a:lnTo>
                      <a:lnTo>
                        <a:pt x="9944" y="9499"/>
                      </a:lnTo>
                      <a:lnTo>
                        <a:pt x="9893" y="8534"/>
                      </a:lnTo>
                      <a:lnTo>
                        <a:pt x="9931" y="7696"/>
                      </a:lnTo>
                      <a:lnTo>
                        <a:pt x="9359" y="6769"/>
                      </a:lnTo>
                      <a:lnTo>
                        <a:pt x="8509" y="7200"/>
                      </a:lnTo>
                      <a:lnTo>
                        <a:pt x="7874" y="6527"/>
                      </a:lnTo>
                      <a:lnTo>
                        <a:pt x="9144" y="5321"/>
                      </a:lnTo>
                      <a:lnTo>
                        <a:pt x="7416" y="5943"/>
                      </a:lnTo>
                      <a:lnTo>
                        <a:pt x="8521" y="4584"/>
                      </a:lnTo>
                      <a:lnTo>
                        <a:pt x="8013" y="4622"/>
                      </a:lnTo>
                      <a:lnTo>
                        <a:pt x="8229" y="3683"/>
                      </a:lnTo>
                      <a:lnTo>
                        <a:pt x="9042" y="3898"/>
                      </a:lnTo>
                      <a:lnTo>
                        <a:pt x="10109" y="4203"/>
                      </a:lnTo>
                      <a:lnTo>
                        <a:pt x="10515" y="6045"/>
                      </a:lnTo>
                      <a:lnTo>
                        <a:pt x="10807" y="6807"/>
                      </a:lnTo>
                      <a:lnTo>
                        <a:pt x="12585" y="4737"/>
                      </a:lnTo>
                      <a:close/>
                    </a:path>
                    <a:path w="2439670" h="1877060">
                      <a:moveTo>
                        <a:pt x="15341" y="4368"/>
                      </a:moveTo>
                      <a:lnTo>
                        <a:pt x="14439" y="2298"/>
                      </a:lnTo>
                      <a:lnTo>
                        <a:pt x="13296" y="1435"/>
                      </a:lnTo>
                      <a:lnTo>
                        <a:pt x="12801" y="1066"/>
                      </a:lnTo>
                      <a:lnTo>
                        <a:pt x="12509" y="635"/>
                      </a:lnTo>
                      <a:lnTo>
                        <a:pt x="12446" y="0"/>
                      </a:lnTo>
                      <a:lnTo>
                        <a:pt x="12369" y="1422"/>
                      </a:lnTo>
                      <a:lnTo>
                        <a:pt x="12649" y="2882"/>
                      </a:lnTo>
                      <a:lnTo>
                        <a:pt x="12801" y="4292"/>
                      </a:lnTo>
                      <a:lnTo>
                        <a:pt x="15341" y="4368"/>
                      </a:lnTo>
                      <a:close/>
                    </a:path>
                    <a:path w="2439670" h="1877060">
                      <a:moveTo>
                        <a:pt x="61925" y="300863"/>
                      </a:moveTo>
                      <a:lnTo>
                        <a:pt x="61366" y="299885"/>
                      </a:lnTo>
                      <a:lnTo>
                        <a:pt x="60718" y="299288"/>
                      </a:lnTo>
                      <a:lnTo>
                        <a:pt x="59664" y="298996"/>
                      </a:lnTo>
                      <a:lnTo>
                        <a:pt x="60363" y="299681"/>
                      </a:lnTo>
                      <a:lnTo>
                        <a:pt x="61163" y="300253"/>
                      </a:lnTo>
                      <a:lnTo>
                        <a:pt x="61925" y="300863"/>
                      </a:lnTo>
                      <a:close/>
                    </a:path>
                    <a:path w="2439670" h="1877060">
                      <a:moveTo>
                        <a:pt x="75399" y="307771"/>
                      </a:moveTo>
                      <a:lnTo>
                        <a:pt x="74790" y="306781"/>
                      </a:lnTo>
                      <a:lnTo>
                        <a:pt x="74955" y="305168"/>
                      </a:lnTo>
                      <a:lnTo>
                        <a:pt x="73431" y="305549"/>
                      </a:lnTo>
                      <a:lnTo>
                        <a:pt x="74015" y="306349"/>
                      </a:lnTo>
                      <a:lnTo>
                        <a:pt x="74726" y="307035"/>
                      </a:lnTo>
                      <a:lnTo>
                        <a:pt x="75399" y="307771"/>
                      </a:lnTo>
                      <a:close/>
                    </a:path>
                    <a:path w="2439670" h="1877060">
                      <a:moveTo>
                        <a:pt x="87718" y="321259"/>
                      </a:moveTo>
                      <a:lnTo>
                        <a:pt x="86995" y="320408"/>
                      </a:lnTo>
                      <a:lnTo>
                        <a:pt x="85813" y="319824"/>
                      </a:lnTo>
                      <a:lnTo>
                        <a:pt x="84988" y="320103"/>
                      </a:lnTo>
                      <a:lnTo>
                        <a:pt x="86804" y="320865"/>
                      </a:lnTo>
                      <a:lnTo>
                        <a:pt x="87718" y="321259"/>
                      </a:lnTo>
                      <a:close/>
                    </a:path>
                    <a:path w="2439670" h="1877060">
                      <a:moveTo>
                        <a:pt x="89789" y="325221"/>
                      </a:moveTo>
                      <a:lnTo>
                        <a:pt x="88099" y="323951"/>
                      </a:lnTo>
                      <a:lnTo>
                        <a:pt x="86207" y="323138"/>
                      </a:lnTo>
                      <a:lnTo>
                        <a:pt x="86855" y="324675"/>
                      </a:lnTo>
                      <a:lnTo>
                        <a:pt x="87884" y="326059"/>
                      </a:lnTo>
                      <a:lnTo>
                        <a:pt x="88760" y="327482"/>
                      </a:lnTo>
                      <a:lnTo>
                        <a:pt x="89789" y="325221"/>
                      </a:lnTo>
                      <a:close/>
                    </a:path>
                    <a:path w="2439670" h="1877060">
                      <a:moveTo>
                        <a:pt x="214998" y="179349"/>
                      </a:moveTo>
                      <a:lnTo>
                        <a:pt x="214490" y="179273"/>
                      </a:lnTo>
                      <a:lnTo>
                        <a:pt x="213969" y="179133"/>
                      </a:lnTo>
                      <a:lnTo>
                        <a:pt x="213461" y="179095"/>
                      </a:lnTo>
                      <a:lnTo>
                        <a:pt x="213461" y="179730"/>
                      </a:lnTo>
                      <a:lnTo>
                        <a:pt x="213931" y="179654"/>
                      </a:lnTo>
                      <a:lnTo>
                        <a:pt x="214566" y="179539"/>
                      </a:lnTo>
                      <a:lnTo>
                        <a:pt x="214998" y="179349"/>
                      </a:lnTo>
                      <a:close/>
                    </a:path>
                    <a:path w="2439670" h="1877060">
                      <a:moveTo>
                        <a:pt x="243433" y="388315"/>
                      </a:moveTo>
                      <a:lnTo>
                        <a:pt x="242531" y="385152"/>
                      </a:lnTo>
                      <a:lnTo>
                        <a:pt x="242049" y="381355"/>
                      </a:lnTo>
                      <a:lnTo>
                        <a:pt x="242697" y="376555"/>
                      </a:lnTo>
                      <a:lnTo>
                        <a:pt x="239890" y="376834"/>
                      </a:lnTo>
                      <a:lnTo>
                        <a:pt x="239674" y="378853"/>
                      </a:lnTo>
                      <a:lnTo>
                        <a:pt x="240665" y="382117"/>
                      </a:lnTo>
                      <a:lnTo>
                        <a:pt x="238125" y="382117"/>
                      </a:lnTo>
                      <a:lnTo>
                        <a:pt x="234454" y="382130"/>
                      </a:lnTo>
                      <a:lnTo>
                        <a:pt x="231851" y="385267"/>
                      </a:lnTo>
                      <a:lnTo>
                        <a:pt x="227774" y="388378"/>
                      </a:lnTo>
                      <a:lnTo>
                        <a:pt x="230365" y="393420"/>
                      </a:lnTo>
                      <a:lnTo>
                        <a:pt x="229120" y="394690"/>
                      </a:lnTo>
                      <a:lnTo>
                        <a:pt x="230581" y="395249"/>
                      </a:lnTo>
                      <a:lnTo>
                        <a:pt x="232067" y="394728"/>
                      </a:lnTo>
                      <a:lnTo>
                        <a:pt x="231114" y="397306"/>
                      </a:lnTo>
                      <a:lnTo>
                        <a:pt x="231038" y="398360"/>
                      </a:lnTo>
                      <a:lnTo>
                        <a:pt x="230085" y="398386"/>
                      </a:lnTo>
                      <a:lnTo>
                        <a:pt x="230847" y="398716"/>
                      </a:lnTo>
                      <a:lnTo>
                        <a:pt x="232448" y="399122"/>
                      </a:lnTo>
                      <a:lnTo>
                        <a:pt x="230886" y="402831"/>
                      </a:lnTo>
                      <a:lnTo>
                        <a:pt x="234911" y="403364"/>
                      </a:lnTo>
                      <a:lnTo>
                        <a:pt x="237921" y="405015"/>
                      </a:lnTo>
                      <a:lnTo>
                        <a:pt x="241122" y="394982"/>
                      </a:lnTo>
                      <a:lnTo>
                        <a:pt x="243433" y="388315"/>
                      </a:lnTo>
                      <a:close/>
                    </a:path>
                    <a:path w="2439670" h="1877060">
                      <a:moveTo>
                        <a:pt x="266890" y="166204"/>
                      </a:moveTo>
                      <a:lnTo>
                        <a:pt x="266661" y="165277"/>
                      </a:lnTo>
                      <a:lnTo>
                        <a:pt x="265899" y="163042"/>
                      </a:lnTo>
                      <a:lnTo>
                        <a:pt x="264375" y="163957"/>
                      </a:lnTo>
                      <a:lnTo>
                        <a:pt x="262242" y="165239"/>
                      </a:lnTo>
                      <a:lnTo>
                        <a:pt x="266179" y="165989"/>
                      </a:lnTo>
                      <a:lnTo>
                        <a:pt x="266890" y="166204"/>
                      </a:lnTo>
                      <a:close/>
                    </a:path>
                    <a:path w="2439670" h="1877060">
                      <a:moveTo>
                        <a:pt x="297827" y="162509"/>
                      </a:moveTo>
                      <a:lnTo>
                        <a:pt x="297586" y="161899"/>
                      </a:lnTo>
                      <a:lnTo>
                        <a:pt x="297586" y="162026"/>
                      </a:lnTo>
                      <a:lnTo>
                        <a:pt x="297827" y="162509"/>
                      </a:lnTo>
                      <a:close/>
                    </a:path>
                    <a:path w="2439670" h="1877060">
                      <a:moveTo>
                        <a:pt x="298094" y="163042"/>
                      </a:moveTo>
                      <a:lnTo>
                        <a:pt x="297827" y="162509"/>
                      </a:lnTo>
                      <a:lnTo>
                        <a:pt x="297980" y="162902"/>
                      </a:lnTo>
                      <a:lnTo>
                        <a:pt x="298094" y="163042"/>
                      </a:lnTo>
                      <a:close/>
                    </a:path>
                    <a:path w="2439670" h="1877060">
                      <a:moveTo>
                        <a:pt x="298399" y="160934"/>
                      </a:moveTo>
                      <a:lnTo>
                        <a:pt x="297992" y="160375"/>
                      </a:lnTo>
                      <a:lnTo>
                        <a:pt x="296100" y="161163"/>
                      </a:lnTo>
                      <a:lnTo>
                        <a:pt x="295732" y="161798"/>
                      </a:lnTo>
                      <a:lnTo>
                        <a:pt x="296379" y="161569"/>
                      </a:lnTo>
                      <a:lnTo>
                        <a:pt x="296773" y="162026"/>
                      </a:lnTo>
                      <a:lnTo>
                        <a:pt x="296964" y="162725"/>
                      </a:lnTo>
                      <a:lnTo>
                        <a:pt x="297586" y="161899"/>
                      </a:lnTo>
                      <a:lnTo>
                        <a:pt x="297853" y="161569"/>
                      </a:lnTo>
                      <a:lnTo>
                        <a:pt x="298399" y="160934"/>
                      </a:lnTo>
                      <a:close/>
                    </a:path>
                    <a:path w="2439670" h="1877060">
                      <a:moveTo>
                        <a:pt x="298462" y="163436"/>
                      </a:moveTo>
                      <a:lnTo>
                        <a:pt x="298424" y="163309"/>
                      </a:lnTo>
                      <a:lnTo>
                        <a:pt x="298094" y="163042"/>
                      </a:lnTo>
                      <a:lnTo>
                        <a:pt x="298234" y="163309"/>
                      </a:lnTo>
                      <a:lnTo>
                        <a:pt x="298462" y="163436"/>
                      </a:lnTo>
                      <a:close/>
                    </a:path>
                    <a:path w="2439670" h="1877060">
                      <a:moveTo>
                        <a:pt x="303377" y="163576"/>
                      </a:moveTo>
                      <a:lnTo>
                        <a:pt x="302958" y="163487"/>
                      </a:lnTo>
                      <a:lnTo>
                        <a:pt x="300177" y="162902"/>
                      </a:lnTo>
                      <a:lnTo>
                        <a:pt x="298577" y="163410"/>
                      </a:lnTo>
                      <a:lnTo>
                        <a:pt x="298323" y="163487"/>
                      </a:lnTo>
                      <a:lnTo>
                        <a:pt x="297942" y="163334"/>
                      </a:lnTo>
                      <a:lnTo>
                        <a:pt x="297472" y="163423"/>
                      </a:lnTo>
                      <a:lnTo>
                        <a:pt x="297218" y="163918"/>
                      </a:lnTo>
                      <a:lnTo>
                        <a:pt x="297167" y="163029"/>
                      </a:lnTo>
                      <a:lnTo>
                        <a:pt x="296926" y="163410"/>
                      </a:lnTo>
                      <a:lnTo>
                        <a:pt x="296684" y="163487"/>
                      </a:lnTo>
                      <a:lnTo>
                        <a:pt x="296570" y="163639"/>
                      </a:lnTo>
                      <a:lnTo>
                        <a:pt x="296418" y="163931"/>
                      </a:lnTo>
                      <a:lnTo>
                        <a:pt x="296138" y="163626"/>
                      </a:lnTo>
                      <a:lnTo>
                        <a:pt x="294411" y="163144"/>
                      </a:lnTo>
                      <a:lnTo>
                        <a:pt x="293751" y="168071"/>
                      </a:lnTo>
                      <a:lnTo>
                        <a:pt x="293878" y="167779"/>
                      </a:lnTo>
                      <a:lnTo>
                        <a:pt x="297815" y="170014"/>
                      </a:lnTo>
                      <a:lnTo>
                        <a:pt x="298348" y="168389"/>
                      </a:lnTo>
                      <a:lnTo>
                        <a:pt x="298488" y="168071"/>
                      </a:lnTo>
                      <a:lnTo>
                        <a:pt x="298716" y="167906"/>
                      </a:lnTo>
                      <a:lnTo>
                        <a:pt x="299364" y="167779"/>
                      </a:lnTo>
                      <a:lnTo>
                        <a:pt x="301167" y="167424"/>
                      </a:lnTo>
                      <a:lnTo>
                        <a:pt x="302475" y="167398"/>
                      </a:lnTo>
                      <a:lnTo>
                        <a:pt x="302602" y="168795"/>
                      </a:lnTo>
                      <a:lnTo>
                        <a:pt x="302780" y="168389"/>
                      </a:lnTo>
                      <a:lnTo>
                        <a:pt x="302869" y="168071"/>
                      </a:lnTo>
                      <a:lnTo>
                        <a:pt x="303072" y="167703"/>
                      </a:lnTo>
                      <a:lnTo>
                        <a:pt x="302691" y="167398"/>
                      </a:lnTo>
                      <a:lnTo>
                        <a:pt x="302018" y="166878"/>
                      </a:lnTo>
                      <a:lnTo>
                        <a:pt x="300164" y="166395"/>
                      </a:lnTo>
                      <a:lnTo>
                        <a:pt x="300786" y="164172"/>
                      </a:lnTo>
                      <a:lnTo>
                        <a:pt x="301840" y="163931"/>
                      </a:lnTo>
                      <a:lnTo>
                        <a:pt x="303377" y="163576"/>
                      </a:lnTo>
                      <a:close/>
                    </a:path>
                    <a:path w="2439670" h="1877060">
                      <a:moveTo>
                        <a:pt x="317055" y="341642"/>
                      </a:moveTo>
                      <a:lnTo>
                        <a:pt x="316344" y="338759"/>
                      </a:lnTo>
                      <a:lnTo>
                        <a:pt x="315036" y="339077"/>
                      </a:lnTo>
                      <a:lnTo>
                        <a:pt x="315480" y="338505"/>
                      </a:lnTo>
                      <a:lnTo>
                        <a:pt x="315163" y="338074"/>
                      </a:lnTo>
                      <a:lnTo>
                        <a:pt x="314363" y="337820"/>
                      </a:lnTo>
                      <a:lnTo>
                        <a:pt x="313893" y="339432"/>
                      </a:lnTo>
                      <a:lnTo>
                        <a:pt x="313550" y="339559"/>
                      </a:lnTo>
                      <a:lnTo>
                        <a:pt x="312635" y="340296"/>
                      </a:lnTo>
                      <a:lnTo>
                        <a:pt x="313982" y="341312"/>
                      </a:lnTo>
                      <a:lnTo>
                        <a:pt x="315531" y="342061"/>
                      </a:lnTo>
                      <a:lnTo>
                        <a:pt x="317004" y="342887"/>
                      </a:lnTo>
                      <a:lnTo>
                        <a:pt x="317055" y="341642"/>
                      </a:lnTo>
                      <a:close/>
                    </a:path>
                    <a:path w="2439670" h="1877060">
                      <a:moveTo>
                        <a:pt x="318071" y="348373"/>
                      </a:moveTo>
                      <a:lnTo>
                        <a:pt x="317766" y="347687"/>
                      </a:lnTo>
                      <a:lnTo>
                        <a:pt x="317080" y="347154"/>
                      </a:lnTo>
                      <a:lnTo>
                        <a:pt x="318071" y="348373"/>
                      </a:lnTo>
                      <a:close/>
                    </a:path>
                    <a:path w="2439670" h="1877060">
                      <a:moveTo>
                        <a:pt x="318249" y="348589"/>
                      </a:moveTo>
                      <a:lnTo>
                        <a:pt x="318071" y="348373"/>
                      </a:lnTo>
                      <a:lnTo>
                        <a:pt x="318249" y="348589"/>
                      </a:lnTo>
                      <a:close/>
                    </a:path>
                    <a:path w="2439670" h="1877060">
                      <a:moveTo>
                        <a:pt x="320217" y="349402"/>
                      </a:moveTo>
                      <a:lnTo>
                        <a:pt x="319913" y="349097"/>
                      </a:lnTo>
                      <a:lnTo>
                        <a:pt x="319443" y="348627"/>
                      </a:lnTo>
                      <a:lnTo>
                        <a:pt x="318846" y="349097"/>
                      </a:lnTo>
                      <a:lnTo>
                        <a:pt x="318249" y="348589"/>
                      </a:lnTo>
                      <a:lnTo>
                        <a:pt x="319112" y="349631"/>
                      </a:lnTo>
                      <a:lnTo>
                        <a:pt x="320192" y="350812"/>
                      </a:lnTo>
                      <a:lnTo>
                        <a:pt x="319392" y="349631"/>
                      </a:lnTo>
                      <a:lnTo>
                        <a:pt x="320217" y="349402"/>
                      </a:lnTo>
                      <a:close/>
                    </a:path>
                    <a:path w="2439670" h="1877060">
                      <a:moveTo>
                        <a:pt x="321271" y="351980"/>
                      </a:moveTo>
                      <a:lnTo>
                        <a:pt x="320192" y="350812"/>
                      </a:lnTo>
                      <a:lnTo>
                        <a:pt x="321068" y="352094"/>
                      </a:lnTo>
                      <a:lnTo>
                        <a:pt x="321271" y="351980"/>
                      </a:lnTo>
                      <a:close/>
                    </a:path>
                    <a:path w="2439670" h="1877060">
                      <a:moveTo>
                        <a:pt x="321894" y="360108"/>
                      </a:moveTo>
                      <a:lnTo>
                        <a:pt x="321068" y="359054"/>
                      </a:lnTo>
                      <a:lnTo>
                        <a:pt x="320001" y="357365"/>
                      </a:lnTo>
                      <a:lnTo>
                        <a:pt x="318719" y="357111"/>
                      </a:lnTo>
                      <a:lnTo>
                        <a:pt x="319811" y="358076"/>
                      </a:lnTo>
                      <a:lnTo>
                        <a:pt x="320852" y="359105"/>
                      </a:lnTo>
                      <a:lnTo>
                        <a:pt x="321894" y="360108"/>
                      </a:lnTo>
                      <a:close/>
                    </a:path>
                    <a:path w="2439670" h="1877060">
                      <a:moveTo>
                        <a:pt x="323532" y="350735"/>
                      </a:moveTo>
                      <a:lnTo>
                        <a:pt x="321360" y="351929"/>
                      </a:lnTo>
                      <a:lnTo>
                        <a:pt x="321360" y="352094"/>
                      </a:lnTo>
                      <a:lnTo>
                        <a:pt x="323303" y="354291"/>
                      </a:lnTo>
                      <a:lnTo>
                        <a:pt x="323532" y="350735"/>
                      </a:lnTo>
                      <a:close/>
                    </a:path>
                    <a:path w="2439670" h="1877060">
                      <a:moveTo>
                        <a:pt x="323545" y="361670"/>
                      </a:moveTo>
                      <a:lnTo>
                        <a:pt x="322453" y="360629"/>
                      </a:lnTo>
                      <a:lnTo>
                        <a:pt x="321894" y="360108"/>
                      </a:lnTo>
                      <a:lnTo>
                        <a:pt x="322122" y="360768"/>
                      </a:lnTo>
                      <a:lnTo>
                        <a:pt x="322872" y="361289"/>
                      </a:lnTo>
                      <a:lnTo>
                        <a:pt x="323545" y="361670"/>
                      </a:lnTo>
                      <a:close/>
                    </a:path>
                    <a:path w="2439670" h="1877060">
                      <a:moveTo>
                        <a:pt x="337489" y="375373"/>
                      </a:moveTo>
                      <a:lnTo>
                        <a:pt x="335089" y="375323"/>
                      </a:lnTo>
                      <a:lnTo>
                        <a:pt x="335902" y="377405"/>
                      </a:lnTo>
                      <a:lnTo>
                        <a:pt x="337489" y="375373"/>
                      </a:lnTo>
                      <a:close/>
                    </a:path>
                    <a:path w="2439670" h="1877060">
                      <a:moveTo>
                        <a:pt x="352005" y="374700"/>
                      </a:moveTo>
                      <a:lnTo>
                        <a:pt x="349453" y="374307"/>
                      </a:lnTo>
                      <a:lnTo>
                        <a:pt x="346976" y="374243"/>
                      </a:lnTo>
                      <a:lnTo>
                        <a:pt x="344868" y="373570"/>
                      </a:lnTo>
                      <a:lnTo>
                        <a:pt x="343192" y="373037"/>
                      </a:lnTo>
                      <a:lnTo>
                        <a:pt x="342849" y="372973"/>
                      </a:lnTo>
                      <a:lnTo>
                        <a:pt x="340956" y="373507"/>
                      </a:lnTo>
                      <a:lnTo>
                        <a:pt x="344309" y="374129"/>
                      </a:lnTo>
                      <a:lnTo>
                        <a:pt x="348665" y="375526"/>
                      </a:lnTo>
                      <a:lnTo>
                        <a:pt x="352005" y="374700"/>
                      </a:lnTo>
                      <a:close/>
                    </a:path>
                    <a:path w="2439670" h="1877060">
                      <a:moveTo>
                        <a:pt x="359727" y="381977"/>
                      </a:moveTo>
                      <a:lnTo>
                        <a:pt x="358076" y="381342"/>
                      </a:lnTo>
                      <a:lnTo>
                        <a:pt x="356400" y="380809"/>
                      </a:lnTo>
                      <a:lnTo>
                        <a:pt x="354723" y="380225"/>
                      </a:lnTo>
                      <a:lnTo>
                        <a:pt x="355930" y="381495"/>
                      </a:lnTo>
                      <a:lnTo>
                        <a:pt x="358190" y="381800"/>
                      </a:lnTo>
                      <a:lnTo>
                        <a:pt x="359727" y="381977"/>
                      </a:lnTo>
                      <a:close/>
                    </a:path>
                    <a:path w="2439670" h="1877060">
                      <a:moveTo>
                        <a:pt x="388505" y="434111"/>
                      </a:moveTo>
                      <a:lnTo>
                        <a:pt x="388366" y="433997"/>
                      </a:lnTo>
                      <a:lnTo>
                        <a:pt x="388200" y="434047"/>
                      </a:lnTo>
                      <a:lnTo>
                        <a:pt x="388505" y="434111"/>
                      </a:lnTo>
                      <a:close/>
                    </a:path>
                    <a:path w="2439670" h="1877060">
                      <a:moveTo>
                        <a:pt x="388670" y="47777"/>
                      </a:moveTo>
                      <a:lnTo>
                        <a:pt x="387819" y="46202"/>
                      </a:lnTo>
                      <a:lnTo>
                        <a:pt x="387070" y="45021"/>
                      </a:lnTo>
                      <a:lnTo>
                        <a:pt x="386816" y="46101"/>
                      </a:lnTo>
                      <a:lnTo>
                        <a:pt x="386219" y="47294"/>
                      </a:lnTo>
                      <a:lnTo>
                        <a:pt x="386753" y="48310"/>
                      </a:lnTo>
                      <a:lnTo>
                        <a:pt x="388670" y="47777"/>
                      </a:lnTo>
                      <a:close/>
                    </a:path>
                    <a:path w="2439670" h="1877060">
                      <a:moveTo>
                        <a:pt x="391299" y="436359"/>
                      </a:moveTo>
                      <a:lnTo>
                        <a:pt x="391058" y="435737"/>
                      </a:lnTo>
                      <a:lnTo>
                        <a:pt x="391020" y="435089"/>
                      </a:lnTo>
                      <a:lnTo>
                        <a:pt x="391261" y="434581"/>
                      </a:lnTo>
                      <a:lnTo>
                        <a:pt x="388505" y="434111"/>
                      </a:lnTo>
                      <a:lnTo>
                        <a:pt x="390664" y="435737"/>
                      </a:lnTo>
                      <a:lnTo>
                        <a:pt x="391299" y="436359"/>
                      </a:lnTo>
                      <a:close/>
                    </a:path>
                    <a:path w="2439670" h="1877060">
                      <a:moveTo>
                        <a:pt x="392988" y="432600"/>
                      </a:moveTo>
                      <a:lnTo>
                        <a:pt x="391350" y="431838"/>
                      </a:lnTo>
                      <a:lnTo>
                        <a:pt x="390245" y="431330"/>
                      </a:lnTo>
                      <a:lnTo>
                        <a:pt x="389305" y="431406"/>
                      </a:lnTo>
                      <a:lnTo>
                        <a:pt x="388302" y="431838"/>
                      </a:lnTo>
                      <a:lnTo>
                        <a:pt x="387896" y="431469"/>
                      </a:lnTo>
                      <a:lnTo>
                        <a:pt x="386740" y="432765"/>
                      </a:lnTo>
                      <a:lnTo>
                        <a:pt x="388366" y="433997"/>
                      </a:lnTo>
                      <a:lnTo>
                        <a:pt x="392988" y="432600"/>
                      </a:lnTo>
                      <a:close/>
                    </a:path>
                    <a:path w="2439670" h="1877060">
                      <a:moveTo>
                        <a:pt x="395795" y="49555"/>
                      </a:moveTo>
                      <a:lnTo>
                        <a:pt x="395338" y="48895"/>
                      </a:lnTo>
                      <a:lnTo>
                        <a:pt x="392366" y="49974"/>
                      </a:lnTo>
                      <a:lnTo>
                        <a:pt x="393712" y="50571"/>
                      </a:lnTo>
                      <a:lnTo>
                        <a:pt x="394131" y="50774"/>
                      </a:lnTo>
                      <a:lnTo>
                        <a:pt x="395198" y="52247"/>
                      </a:lnTo>
                      <a:lnTo>
                        <a:pt x="395795" y="49555"/>
                      </a:lnTo>
                      <a:close/>
                    </a:path>
                    <a:path w="2439670" h="1877060">
                      <a:moveTo>
                        <a:pt x="396582" y="49936"/>
                      </a:moveTo>
                      <a:lnTo>
                        <a:pt x="396481" y="49212"/>
                      </a:lnTo>
                      <a:lnTo>
                        <a:pt x="395998" y="47828"/>
                      </a:lnTo>
                      <a:lnTo>
                        <a:pt x="396151" y="48564"/>
                      </a:lnTo>
                      <a:lnTo>
                        <a:pt x="396240" y="49288"/>
                      </a:lnTo>
                      <a:lnTo>
                        <a:pt x="396582" y="49936"/>
                      </a:lnTo>
                      <a:close/>
                    </a:path>
                    <a:path w="2439670" h="1877060">
                      <a:moveTo>
                        <a:pt x="396608" y="45770"/>
                      </a:moveTo>
                      <a:lnTo>
                        <a:pt x="396506" y="45110"/>
                      </a:lnTo>
                      <a:lnTo>
                        <a:pt x="396341" y="44665"/>
                      </a:lnTo>
                      <a:lnTo>
                        <a:pt x="396100" y="44043"/>
                      </a:lnTo>
                      <a:lnTo>
                        <a:pt x="395986" y="43738"/>
                      </a:lnTo>
                      <a:lnTo>
                        <a:pt x="394246" y="44043"/>
                      </a:lnTo>
                      <a:lnTo>
                        <a:pt x="394246" y="43802"/>
                      </a:lnTo>
                      <a:lnTo>
                        <a:pt x="394258" y="43167"/>
                      </a:lnTo>
                      <a:lnTo>
                        <a:pt x="393928" y="43802"/>
                      </a:lnTo>
                      <a:lnTo>
                        <a:pt x="393522" y="43637"/>
                      </a:lnTo>
                      <a:lnTo>
                        <a:pt x="392925" y="43395"/>
                      </a:lnTo>
                      <a:lnTo>
                        <a:pt x="392303" y="43637"/>
                      </a:lnTo>
                      <a:lnTo>
                        <a:pt x="391668" y="43345"/>
                      </a:lnTo>
                      <a:lnTo>
                        <a:pt x="392137" y="42989"/>
                      </a:lnTo>
                      <a:lnTo>
                        <a:pt x="391172" y="42659"/>
                      </a:lnTo>
                      <a:lnTo>
                        <a:pt x="391147" y="41948"/>
                      </a:lnTo>
                      <a:lnTo>
                        <a:pt x="389115" y="43637"/>
                      </a:lnTo>
                      <a:lnTo>
                        <a:pt x="389890" y="46075"/>
                      </a:lnTo>
                      <a:lnTo>
                        <a:pt x="387883" y="44996"/>
                      </a:lnTo>
                      <a:lnTo>
                        <a:pt x="389077" y="46812"/>
                      </a:lnTo>
                      <a:lnTo>
                        <a:pt x="390702" y="48374"/>
                      </a:lnTo>
                      <a:lnTo>
                        <a:pt x="392137" y="49999"/>
                      </a:lnTo>
                      <a:lnTo>
                        <a:pt x="393649" y="48856"/>
                      </a:lnTo>
                      <a:lnTo>
                        <a:pt x="393039" y="47752"/>
                      </a:lnTo>
                      <a:lnTo>
                        <a:pt x="392811" y="46075"/>
                      </a:lnTo>
                      <a:lnTo>
                        <a:pt x="392772" y="45770"/>
                      </a:lnTo>
                      <a:lnTo>
                        <a:pt x="392709" y="45313"/>
                      </a:lnTo>
                      <a:lnTo>
                        <a:pt x="392849" y="45110"/>
                      </a:lnTo>
                      <a:lnTo>
                        <a:pt x="393166" y="44665"/>
                      </a:lnTo>
                      <a:lnTo>
                        <a:pt x="394131" y="46189"/>
                      </a:lnTo>
                      <a:lnTo>
                        <a:pt x="394652" y="48793"/>
                      </a:lnTo>
                      <a:lnTo>
                        <a:pt x="396608" y="45770"/>
                      </a:lnTo>
                      <a:close/>
                    </a:path>
                    <a:path w="2439670" h="1877060">
                      <a:moveTo>
                        <a:pt x="403275" y="451662"/>
                      </a:moveTo>
                      <a:lnTo>
                        <a:pt x="402653" y="450570"/>
                      </a:lnTo>
                      <a:lnTo>
                        <a:pt x="402424" y="447751"/>
                      </a:lnTo>
                      <a:lnTo>
                        <a:pt x="400354" y="448576"/>
                      </a:lnTo>
                      <a:lnTo>
                        <a:pt x="400558" y="450405"/>
                      </a:lnTo>
                      <a:lnTo>
                        <a:pt x="400177" y="452145"/>
                      </a:lnTo>
                      <a:lnTo>
                        <a:pt x="403275" y="451662"/>
                      </a:lnTo>
                      <a:close/>
                    </a:path>
                    <a:path w="2439670" h="1877060">
                      <a:moveTo>
                        <a:pt x="403618" y="460629"/>
                      </a:moveTo>
                      <a:lnTo>
                        <a:pt x="402793" y="458419"/>
                      </a:lnTo>
                      <a:lnTo>
                        <a:pt x="401650" y="456158"/>
                      </a:lnTo>
                      <a:lnTo>
                        <a:pt x="400659" y="454037"/>
                      </a:lnTo>
                      <a:lnTo>
                        <a:pt x="400075" y="454774"/>
                      </a:lnTo>
                      <a:lnTo>
                        <a:pt x="399605" y="455612"/>
                      </a:lnTo>
                      <a:lnTo>
                        <a:pt x="399110" y="456412"/>
                      </a:lnTo>
                      <a:lnTo>
                        <a:pt x="398030" y="457111"/>
                      </a:lnTo>
                      <a:lnTo>
                        <a:pt x="397294" y="457314"/>
                      </a:lnTo>
                      <a:lnTo>
                        <a:pt x="397256" y="458597"/>
                      </a:lnTo>
                      <a:lnTo>
                        <a:pt x="397967" y="458635"/>
                      </a:lnTo>
                      <a:lnTo>
                        <a:pt x="398983" y="458368"/>
                      </a:lnTo>
                      <a:lnTo>
                        <a:pt x="399757" y="458800"/>
                      </a:lnTo>
                      <a:lnTo>
                        <a:pt x="399275" y="459498"/>
                      </a:lnTo>
                      <a:lnTo>
                        <a:pt x="400088" y="459905"/>
                      </a:lnTo>
                      <a:lnTo>
                        <a:pt x="400469" y="459651"/>
                      </a:lnTo>
                      <a:lnTo>
                        <a:pt x="401802" y="460044"/>
                      </a:lnTo>
                      <a:lnTo>
                        <a:pt x="402780" y="460717"/>
                      </a:lnTo>
                      <a:lnTo>
                        <a:pt x="403618" y="460629"/>
                      </a:lnTo>
                      <a:close/>
                    </a:path>
                    <a:path w="2439670" h="1877060">
                      <a:moveTo>
                        <a:pt x="406654" y="466521"/>
                      </a:moveTo>
                      <a:lnTo>
                        <a:pt x="406057" y="465899"/>
                      </a:lnTo>
                      <a:lnTo>
                        <a:pt x="405168" y="464972"/>
                      </a:lnTo>
                      <a:lnTo>
                        <a:pt x="404698" y="464972"/>
                      </a:lnTo>
                      <a:lnTo>
                        <a:pt x="402971" y="464007"/>
                      </a:lnTo>
                      <a:lnTo>
                        <a:pt x="402539" y="463029"/>
                      </a:lnTo>
                      <a:lnTo>
                        <a:pt x="400964" y="463029"/>
                      </a:lnTo>
                      <a:lnTo>
                        <a:pt x="403885" y="466788"/>
                      </a:lnTo>
                      <a:lnTo>
                        <a:pt x="404355" y="467525"/>
                      </a:lnTo>
                      <a:lnTo>
                        <a:pt x="404774" y="466178"/>
                      </a:lnTo>
                      <a:lnTo>
                        <a:pt x="405612" y="465899"/>
                      </a:lnTo>
                      <a:lnTo>
                        <a:pt x="406654" y="466521"/>
                      </a:lnTo>
                      <a:close/>
                    </a:path>
                    <a:path w="2439670" h="1877060">
                      <a:moveTo>
                        <a:pt x="418071" y="49072"/>
                      </a:moveTo>
                      <a:lnTo>
                        <a:pt x="417906" y="48704"/>
                      </a:lnTo>
                      <a:lnTo>
                        <a:pt x="417677" y="48653"/>
                      </a:lnTo>
                      <a:lnTo>
                        <a:pt x="417436" y="48895"/>
                      </a:lnTo>
                      <a:lnTo>
                        <a:pt x="418071" y="49072"/>
                      </a:lnTo>
                      <a:close/>
                    </a:path>
                    <a:path w="2439670" h="1877060">
                      <a:moveTo>
                        <a:pt x="422617" y="46824"/>
                      </a:moveTo>
                      <a:lnTo>
                        <a:pt x="419671" y="48729"/>
                      </a:lnTo>
                      <a:lnTo>
                        <a:pt x="421754" y="48895"/>
                      </a:lnTo>
                      <a:lnTo>
                        <a:pt x="422617" y="46824"/>
                      </a:lnTo>
                      <a:close/>
                    </a:path>
                    <a:path w="2439670" h="1877060">
                      <a:moveTo>
                        <a:pt x="426440" y="45034"/>
                      </a:moveTo>
                      <a:lnTo>
                        <a:pt x="425208" y="45135"/>
                      </a:lnTo>
                      <a:lnTo>
                        <a:pt x="423926" y="45097"/>
                      </a:lnTo>
                      <a:lnTo>
                        <a:pt x="422770" y="45504"/>
                      </a:lnTo>
                      <a:lnTo>
                        <a:pt x="423329" y="45351"/>
                      </a:lnTo>
                      <a:lnTo>
                        <a:pt x="424154" y="45834"/>
                      </a:lnTo>
                      <a:lnTo>
                        <a:pt x="424789" y="45783"/>
                      </a:lnTo>
                      <a:lnTo>
                        <a:pt x="425615" y="45250"/>
                      </a:lnTo>
                      <a:lnTo>
                        <a:pt x="426440" y="45034"/>
                      </a:lnTo>
                      <a:close/>
                    </a:path>
                    <a:path w="2439670" h="1877060">
                      <a:moveTo>
                        <a:pt x="427723" y="44208"/>
                      </a:moveTo>
                      <a:lnTo>
                        <a:pt x="427596" y="44005"/>
                      </a:lnTo>
                      <a:lnTo>
                        <a:pt x="427456" y="43802"/>
                      </a:lnTo>
                      <a:lnTo>
                        <a:pt x="427329" y="43599"/>
                      </a:lnTo>
                      <a:lnTo>
                        <a:pt x="427012" y="43802"/>
                      </a:lnTo>
                      <a:lnTo>
                        <a:pt x="426732" y="44107"/>
                      </a:lnTo>
                      <a:lnTo>
                        <a:pt x="426440" y="44348"/>
                      </a:lnTo>
                      <a:lnTo>
                        <a:pt x="426808" y="44386"/>
                      </a:lnTo>
                      <a:lnTo>
                        <a:pt x="427367" y="44284"/>
                      </a:lnTo>
                      <a:lnTo>
                        <a:pt x="427723" y="44208"/>
                      </a:lnTo>
                      <a:close/>
                    </a:path>
                    <a:path w="2439670" h="1877060">
                      <a:moveTo>
                        <a:pt x="435927" y="492353"/>
                      </a:moveTo>
                      <a:lnTo>
                        <a:pt x="435673" y="491007"/>
                      </a:lnTo>
                      <a:lnTo>
                        <a:pt x="435140" y="489712"/>
                      </a:lnTo>
                      <a:lnTo>
                        <a:pt x="434708" y="488416"/>
                      </a:lnTo>
                      <a:lnTo>
                        <a:pt x="434174" y="490143"/>
                      </a:lnTo>
                      <a:lnTo>
                        <a:pt x="433400" y="492213"/>
                      </a:lnTo>
                      <a:lnTo>
                        <a:pt x="435927" y="492353"/>
                      </a:lnTo>
                      <a:close/>
                    </a:path>
                    <a:path w="2439670" h="1877060">
                      <a:moveTo>
                        <a:pt x="442506" y="461670"/>
                      </a:moveTo>
                      <a:lnTo>
                        <a:pt x="441934" y="462216"/>
                      </a:lnTo>
                      <a:lnTo>
                        <a:pt x="441337" y="462597"/>
                      </a:lnTo>
                      <a:lnTo>
                        <a:pt x="441134" y="463270"/>
                      </a:lnTo>
                      <a:lnTo>
                        <a:pt x="441642" y="462788"/>
                      </a:lnTo>
                      <a:lnTo>
                        <a:pt x="442506" y="461670"/>
                      </a:lnTo>
                      <a:close/>
                    </a:path>
                    <a:path w="2439670" h="1877060">
                      <a:moveTo>
                        <a:pt x="443382" y="465696"/>
                      </a:moveTo>
                      <a:lnTo>
                        <a:pt x="442849" y="465556"/>
                      </a:lnTo>
                      <a:lnTo>
                        <a:pt x="442302" y="465632"/>
                      </a:lnTo>
                      <a:lnTo>
                        <a:pt x="441794" y="465836"/>
                      </a:lnTo>
                      <a:lnTo>
                        <a:pt x="441947" y="466191"/>
                      </a:lnTo>
                      <a:lnTo>
                        <a:pt x="442036" y="466699"/>
                      </a:lnTo>
                      <a:lnTo>
                        <a:pt x="442277" y="467004"/>
                      </a:lnTo>
                      <a:lnTo>
                        <a:pt x="442696" y="466648"/>
                      </a:lnTo>
                      <a:lnTo>
                        <a:pt x="443039" y="466128"/>
                      </a:lnTo>
                      <a:lnTo>
                        <a:pt x="443382" y="465696"/>
                      </a:lnTo>
                      <a:close/>
                    </a:path>
                    <a:path w="2439670" h="1877060">
                      <a:moveTo>
                        <a:pt x="445706" y="443801"/>
                      </a:moveTo>
                      <a:lnTo>
                        <a:pt x="445389" y="442836"/>
                      </a:lnTo>
                      <a:lnTo>
                        <a:pt x="444754" y="441960"/>
                      </a:lnTo>
                      <a:lnTo>
                        <a:pt x="443903" y="441528"/>
                      </a:lnTo>
                      <a:lnTo>
                        <a:pt x="444398" y="442353"/>
                      </a:lnTo>
                      <a:lnTo>
                        <a:pt x="445084" y="443052"/>
                      </a:lnTo>
                      <a:lnTo>
                        <a:pt x="445706" y="443801"/>
                      </a:lnTo>
                      <a:close/>
                    </a:path>
                    <a:path w="2439670" h="1877060">
                      <a:moveTo>
                        <a:pt x="455612" y="468147"/>
                      </a:moveTo>
                      <a:lnTo>
                        <a:pt x="455345" y="467169"/>
                      </a:lnTo>
                      <a:lnTo>
                        <a:pt x="454710" y="467893"/>
                      </a:lnTo>
                      <a:lnTo>
                        <a:pt x="454240" y="468731"/>
                      </a:lnTo>
                      <a:lnTo>
                        <a:pt x="453720" y="469531"/>
                      </a:lnTo>
                      <a:lnTo>
                        <a:pt x="454558" y="468972"/>
                      </a:lnTo>
                      <a:lnTo>
                        <a:pt x="455612" y="468147"/>
                      </a:lnTo>
                      <a:close/>
                    </a:path>
                    <a:path w="2439670" h="1877060">
                      <a:moveTo>
                        <a:pt x="455955" y="470420"/>
                      </a:moveTo>
                      <a:lnTo>
                        <a:pt x="455663" y="470954"/>
                      </a:lnTo>
                      <a:lnTo>
                        <a:pt x="455358" y="471487"/>
                      </a:lnTo>
                      <a:lnTo>
                        <a:pt x="455345" y="472033"/>
                      </a:lnTo>
                      <a:lnTo>
                        <a:pt x="455549" y="471500"/>
                      </a:lnTo>
                      <a:lnTo>
                        <a:pt x="455790" y="470966"/>
                      </a:lnTo>
                      <a:lnTo>
                        <a:pt x="455955" y="470420"/>
                      </a:lnTo>
                      <a:close/>
                    </a:path>
                    <a:path w="2439670" h="1877060">
                      <a:moveTo>
                        <a:pt x="458050" y="484111"/>
                      </a:moveTo>
                      <a:lnTo>
                        <a:pt x="457454" y="482231"/>
                      </a:lnTo>
                      <a:lnTo>
                        <a:pt x="456399" y="482739"/>
                      </a:lnTo>
                      <a:lnTo>
                        <a:pt x="455396" y="483362"/>
                      </a:lnTo>
                      <a:lnTo>
                        <a:pt x="454380" y="483946"/>
                      </a:lnTo>
                      <a:lnTo>
                        <a:pt x="455536" y="483704"/>
                      </a:lnTo>
                      <a:lnTo>
                        <a:pt x="458050" y="484111"/>
                      </a:lnTo>
                      <a:close/>
                    </a:path>
                    <a:path w="2439670" h="1877060">
                      <a:moveTo>
                        <a:pt x="458533" y="461175"/>
                      </a:moveTo>
                      <a:lnTo>
                        <a:pt x="457682" y="460641"/>
                      </a:lnTo>
                      <a:lnTo>
                        <a:pt x="458101" y="459155"/>
                      </a:lnTo>
                      <a:lnTo>
                        <a:pt x="455041" y="459333"/>
                      </a:lnTo>
                      <a:lnTo>
                        <a:pt x="454215" y="459193"/>
                      </a:lnTo>
                      <a:lnTo>
                        <a:pt x="452894" y="456069"/>
                      </a:lnTo>
                      <a:lnTo>
                        <a:pt x="452450" y="455498"/>
                      </a:lnTo>
                      <a:lnTo>
                        <a:pt x="452437" y="453859"/>
                      </a:lnTo>
                      <a:lnTo>
                        <a:pt x="452628" y="453123"/>
                      </a:lnTo>
                      <a:lnTo>
                        <a:pt x="452361" y="452272"/>
                      </a:lnTo>
                      <a:lnTo>
                        <a:pt x="451662" y="452005"/>
                      </a:lnTo>
                      <a:lnTo>
                        <a:pt x="450888" y="451040"/>
                      </a:lnTo>
                      <a:lnTo>
                        <a:pt x="452120" y="451218"/>
                      </a:lnTo>
                      <a:lnTo>
                        <a:pt x="450240" y="449922"/>
                      </a:lnTo>
                      <a:lnTo>
                        <a:pt x="448856" y="450646"/>
                      </a:lnTo>
                      <a:lnTo>
                        <a:pt x="446697" y="450240"/>
                      </a:lnTo>
                      <a:lnTo>
                        <a:pt x="446201" y="449300"/>
                      </a:lnTo>
                      <a:lnTo>
                        <a:pt x="444398" y="448551"/>
                      </a:lnTo>
                      <a:lnTo>
                        <a:pt x="443826" y="448995"/>
                      </a:lnTo>
                      <a:lnTo>
                        <a:pt x="441312" y="446887"/>
                      </a:lnTo>
                      <a:lnTo>
                        <a:pt x="441299" y="444588"/>
                      </a:lnTo>
                      <a:lnTo>
                        <a:pt x="439229" y="444436"/>
                      </a:lnTo>
                      <a:lnTo>
                        <a:pt x="437337" y="444296"/>
                      </a:lnTo>
                      <a:lnTo>
                        <a:pt x="434975" y="446544"/>
                      </a:lnTo>
                      <a:lnTo>
                        <a:pt x="433171" y="447319"/>
                      </a:lnTo>
                      <a:lnTo>
                        <a:pt x="434632" y="447294"/>
                      </a:lnTo>
                      <a:lnTo>
                        <a:pt x="436245" y="446874"/>
                      </a:lnTo>
                      <a:lnTo>
                        <a:pt x="440410" y="448983"/>
                      </a:lnTo>
                      <a:lnTo>
                        <a:pt x="441794" y="452729"/>
                      </a:lnTo>
                      <a:lnTo>
                        <a:pt x="446303" y="455460"/>
                      </a:lnTo>
                      <a:lnTo>
                        <a:pt x="448132" y="454558"/>
                      </a:lnTo>
                      <a:lnTo>
                        <a:pt x="451027" y="455498"/>
                      </a:lnTo>
                      <a:lnTo>
                        <a:pt x="451231" y="457365"/>
                      </a:lnTo>
                      <a:lnTo>
                        <a:pt x="453136" y="460781"/>
                      </a:lnTo>
                      <a:lnTo>
                        <a:pt x="454799" y="461327"/>
                      </a:lnTo>
                      <a:lnTo>
                        <a:pt x="456869" y="462432"/>
                      </a:lnTo>
                      <a:lnTo>
                        <a:pt x="458533" y="461175"/>
                      </a:lnTo>
                      <a:close/>
                    </a:path>
                    <a:path w="2439670" h="1877060">
                      <a:moveTo>
                        <a:pt x="460222" y="477608"/>
                      </a:moveTo>
                      <a:lnTo>
                        <a:pt x="458939" y="477481"/>
                      </a:lnTo>
                      <a:lnTo>
                        <a:pt x="459155" y="478282"/>
                      </a:lnTo>
                      <a:lnTo>
                        <a:pt x="459498" y="479018"/>
                      </a:lnTo>
                      <a:lnTo>
                        <a:pt x="459841" y="479793"/>
                      </a:lnTo>
                      <a:lnTo>
                        <a:pt x="460044" y="478675"/>
                      </a:lnTo>
                      <a:lnTo>
                        <a:pt x="460222" y="477608"/>
                      </a:lnTo>
                      <a:close/>
                    </a:path>
                    <a:path w="2439670" h="1877060">
                      <a:moveTo>
                        <a:pt x="460476" y="449326"/>
                      </a:moveTo>
                      <a:lnTo>
                        <a:pt x="458762" y="448208"/>
                      </a:lnTo>
                      <a:lnTo>
                        <a:pt x="458165" y="447306"/>
                      </a:lnTo>
                      <a:lnTo>
                        <a:pt x="457949" y="446455"/>
                      </a:lnTo>
                      <a:lnTo>
                        <a:pt x="457606" y="446112"/>
                      </a:lnTo>
                      <a:lnTo>
                        <a:pt x="457136" y="445579"/>
                      </a:lnTo>
                      <a:lnTo>
                        <a:pt x="456653" y="445376"/>
                      </a:lnTo>
                      <a:lnTo>
                        <a:pt x="456869" y="446620"/>
                      </a:lnTo>
                      <a:lnTo>
                        <a:pt x="457390" y="447802"/>
                      </a:lnTo>
                      <a:lnTo>
                        <a:pt x="457784" y="448995"/>
                      </a:lnTo>
                      <a:lnTo>
                        <a:pt x="460476" y="449326"/>
                      </a:lnTo>
                      <a:close/>
                    </a:path>
                    <a:path w="2439670" h="1877060">
                      <a:moveTo>
                        <a:pt x="461708" y="416941"/>
                      </a:moveTo>
                      <a:lnTo>
                        <a:pt x="460197" y="414718"/>
                      </a:lnTo>
                      <a:lnTo>
                        <a:pt x="458660" y="414655"/>
                      </a:lnTo>
                      <a:lnTo>
                        <a:pt x="457911" y="415328"/>
                      </a:lnTo>
                      <a:lnTo>
                        <a:pt x="456615" y="416471"/>
                      </a:lnTo>
                      <a:lnTo>
                        <a:pt x="457835" y="417309"/>
                      </a:lnTo>
                      <a:lnTo>
                        <a:pt x="458851" y="418541"/>
                      </a:lnTo>
                      <a:lnTo>
                        <a:pt x="460057" y="418020"/>
                      </a:lnTo>
                      <a:lnTo>
                        <a:pt x="461708" y="416941"/>
                      </a:lnTo>
                      <a:close/>
                    </a:path>
                    <a:path w="2439670" h="1877060">
                      <a:moveTo>
                        <a:pt x="463753" y="464718"/>
                      </a:moveTo>
                      <a:lnTo>
                        <a:pt x="463296" y="463969"/>
                      </a:lnTo>
                      <a:lnTo>
                        <a:pt x="462889" y="463296"/>
                      </a:lnTo>
                      <a:lnTo>
                        <a:pt x="462826" y="463791"/>
                      </a:lnTo>
                      <a:lnTo>
                        <a:pt x="461314" y="462546"/>
                      </a:lnTo>
                      <a:lnTo>
                        <a:pt x="461098" y="461048"/>
                      </a:lnTo>
                      <a:lnTo>
                        <a:pt x="459714" y="462165"/>
                      </a:lnTo>
                      <a:lnTo>
                        <a:pt x="460781" y="463842"/>
                      </a:lnTo>
                      <a:lnTo>
                        <a:pt x="462153" y="465328"/>
                      </a:lnTo>
                      <a:lnTo>
                        <a:pt x="463384" y="466877"/>
                      </a:lnTo>
                      <a:lnTo>
                        <a:pt x="463448" y="465759"/>
                      </a:lnTo>
                      <a:lnTo>
                        <a:pt x="463753" y="464718"/>
                      </a:lnTo>
                      <a:close/>
                    </a:path>
                    <a:path w="2439670" h="1877060">
                      <a:moveTo>
                        <a:pt x="464032" y="470128"/>
                      </a:moveTo>
                      <a:lnTo>
                        <a:pt x="462584" y="468731"/>
                      </a:lnTo>
                      <a:lnTo>
                        <a:pt x="462305" y="472198"/>
                      </a:lnTo>
                      <a:lnTo>
                        <a:pt x="464032" y="470128"/>
                      </a:lnTo>
                      <a:close/>
                    </a:path>
                    <a:path w="2439670" h="1877060">
                      <a:moveTo>
                        <a:pt x="468109" y="467677"/>
                      </a:moveTo>
                      <a:lnTo>
                        <a:pt x="464972" y="466902"/>
                      </a:lnTo>
                      <a:lnTo>
                        <a:pt x="463740" y="467042"/>
                      </a:lnTo>
                      <a:lnTo>
                        <a:pt x="464693" y="467944"/>
                      </a:lnTo>
                      <a:lnTo>
                        <a:pt x="465797" y="468693"/>
                      </a:lnTo>
                      <a:lnTo>
                        <a:pt x="466839" y="469493"/>
                      </a:lnTo>
                      <a:lnTo>
                        <a:pt x="468109" y="467677"/>
                      </a:lnTo>
                      <a:close/>
                    </a:path>
                    <a:path w="2439670" h="1877060">
                      <a:moveTo>
                        <a:pt x="468185" y="477545"/>
                      </a:moveTo>
                      <a:lnTo>
                        <a:pt x="467410" y="476923"/>
                      </a:lnTo>
                      <a:lnTo>
                        <a:pt x="468147" y="475818"/>
                      </a:lnTo>
                      <a:lnTo>
                        <a:pt x="466331" y="476072"/>
                      </a:lnTo>
                      <a:lnTo>
                        <a:pt x="464604" y="476872"/>
                      </a:lnTo>
                      <a:lnTo>
                        <a:pt x="466699" y="478624"/>
                      </a:lnTo>
                      <a:lnTo>
                        <a:pt x="468185" y="477545"/>
                      </a:lnTo>
                      <a:close/>
                    </a:path>
                    <a:path w="2439670" h="1877060">
                      <a:moveTo>
                        <a:pt x="469277" y="482955"/>
                      </a:moveTo>
                      <a:lnTo>
                        <a:pt x="468934" y="481825"/>
                      </a:lnTo>
                      <a:lnTo>
                        <a:pt x="468007" y="481736"/>
                      </a:lnTo>
                      <a:lnTo>
                        <a:pt x="468274" y="482536"/>
                      </a:lnTo>
                      <a:lnTo>
                        <a:pt x="468693" y="483260"/>
                      </a:lnTo>
                      <a:lnTo>
                        <a:pt x="469074" y="484022"/>
                      </a:lnTo>
                      <a:lnTo>
                        <a:pt x="469277" y="482955"/>
                      </a:lnTo>
                      <a:close/>
                    </a:path>
                    <a:path w="2439670" h="1877060">
                      <a:moveTo>
                        <a:pt x="470408" y="427710"/>
                      </a:moveTo>
                      <a:lnTo>
                        <a:pt x="469912" y="427926"/>
                      </a:lnTo>
                      <a:lnTo>
                        <a:pt x="468579" y="429082"/>
                      </a:lnTo>
                      <a:lnTo>
                        <a:pt x="468198" y="429094"/>
                      </a:lnTo>
                      <a:lnTo>
                        <a:pt x="467804" y="429107"/>
                      </a:lnTo>
                      <a:lnTo>
                        <a:pt x="467982" y="428421"/>
                      </a:lnTo>
                      <a:lnTo>
                        <a:pt x="467537" y="428371"/>
                      </a:lnTo>
                      <a:lnTo>
                        <a:pt x="466686" y="428180"/>
                      </a:lnTo>
                      <a:lnTo>
                        <a:pt x="466445" y="428117"/>
                      </a:lnTo>
                      <a:lnTo>
                        <a:pt x="465747" y="428091"/>
                      </a:lnTo>
                      <a:lnTo>
                        <a:pt x="465493" y="428180"/>
                      </a:lnTo>
                      <a:lnTo>
                        <a:pt x="463981" y="428790"/>
                      </a:lnTo>
                      <a:lnTo>
                        <a:pt x="464921" y="429234"/>
                      </a:lnTo>
                      <a:lnTo>
                        <a:pt x="464680" y="430847"/>
                      </a:lnTo>
                      <a:lnTo>
                        <a:pt x="467474" y="429793"/>
                      </a:lnTo>
                      <a:lnTo>
                        <a:pt x="467283" y="429094"/>
                      </a:lnTo>
                      <a:lnTo>
                        <a:pt x="469049" y="431787"/>
                      </a:lnTo>
                      <a:lnTo>
                        <a:pt x="468452" y="429348"/>
                      </a:lnTo>
                      <a:lnTo>
                        <a:pt x="470306" y="429526"/>
                      </a:lnTo>
                      <a:lnTo>
                        <a:pt x="470408" y="427710"/>
                      </a:lnTo>
                      <a:close/>
                    </a:path>
                    <a:path w="2439670" h="1877060">
                      <a:moveTo>
                        <a:pt x="470585" y="470573"/>
                      </a:moveTo>
                      <a:lnTo>
                        <a:pt x="470052" y="470789"/>
                      </a:lnTo>
                      <a:lnTo>
                        <a:pt x="469493" y="471093"/>
                      </a:lnTo>
                      <a:lnTo>
                        <a:pt x="469049" y="471474"/>
                      </a:lnTo>
                      <a:lnTo>
                        <a:pt x="469658" y="471360"/>
                      </a:lnTo>
                      <a:lnTo>
                        <a:pt x="470306" y="471004"/>
                      </a:lnTo>
                      <a:lnTo>
                        <a:pt x="470585" y="470573"/>
                      </a:lnTo>
                      <a:close/>
                    </a:path>
                    <a:path w="2439670" h="1877060">
                      <a:moveTo>
                        <a:pt x="470738" y="488048"/>
                      </a:moveTo>
                      <a:lnTo>
                        <a:pt x="470712" y="486918"/>
                      </a:lnTo>
                      <a:lnTo>
                        <a:pt x="469417" y="486791"/>
                      </a:lnTo>
                      <a:lnTo>
                        <a:pt x="469620" y="487629"/>
                      </a:lnTo>
                      <a:lnTo>
                        <a:pt x="470001" y="488403"/>
                      </a:lnTo>
                      <a:lnTo>
                        <a:pt x="470357" y="489191"/>
                      </a:lnTo>
                      <a:lnTo>
                        <a:pt x="470738" y="488048"/>
                      </a:lnTo>
                      <a:close/>
                    </a:path>
                    <a:path w="2439670" h="1877060">
                      <a:moveTo>
                        <a:pt x="473024" y="477354"/>
                      </a:moveTo>
                      <a:lnTo>
                        <a:pt x="472516" y="476059"/>
                      </a:lnTo>
                      <a:lnTo>
                        <a:pt x="471703" y="473951"/>
                      </a:lnTo>
                      <a:lnTo>
                        <a:pt x="469912" y="476338"/>
                      </a:lnTo>
                      <a:lnTo>
                        <a:pt x="468896" y="476834"/>
                      </a:lnTo>
                      <a:lnTo>
                        <a:pt x="469315" y="477786"/>
                      </a:lnTo>
                      <a:lnTo>
                        <a:pt x="469900" y="478637"/>
                      </a:lnTo>
                      <a:lnTo>
                        <a:pt x="470446" y="479526"/>
                      </a:lnTo>
                      <a:lnTo>
                        <a:pt x="471703" y="479348"/>
                      </a:lnTo>
                      <a:lnTo>
                        <a:pt x="473024" y="477354"/>
                      </a:lnTo>
                      <a:close/>
                    </a:path>
                    <a:path w="2439670" h="1877060">
                      <a:moveTo>
                        <a:pt x="473887" y="421005"/>
                      </a:moveTo>
                      <a:lnTo>
                        <a:pt x="472808" y="420624"/>
                      </a:lnTo>
                      <a:lnTo>
                        <a:pt x="471665" y="420408"/>
                      </a:lnTo>
                      <a:lnTo>
                        <a:pt x="470560" y="420154"/>
                      </a:lnTo>
                      <a:lnTo>
                        <a:pt x="471830" y="421335"/>
                      </a:lnTo>
                      <a:lnTo>
                        <a:pt x="472313" y="421792"/>
                      </a:lnTo>
                      <a:lnTo>
                        <a:pt x="473887" y="421005"/>
                      </a:lnTo>
                      <a:close/>
                    </a:path>
                    <a:path w="2439670" h="1877060">
                      <a:moveTo>
                        <a:pt x="481190" y="452678"/>
                      </a:moveTo>
                      <a:lnTo>
                        <a:pt x="479894" y="451980"/>
                      </a:lnTo>
                      <a:lnTo>
                        <a:pt x="478764" y="451777"/>
                      </a:lnTo>
                      <a:lnTo>
                        <a:pt x="477456" y="451548"/>
                      </a:lnTo>
                      <a:lnTo>
                        <a:pt x="476389" y="451535"/>
                      </a:lnTo>
                      <a:lnTo>
                        <a:pt x="476237" y="456260"/>
                      </a:lnTo>
                      <a:lnTo>
                        <a:pt x="475818" y="457263"/>
                      </a:lnTo>
                      <a:lnTo>
                        <a:pt x="478472" y="459181"/>
                      </a:lnTo>
                      <a:lnTo>
                        <a:pt x="480136" y="458025"/>
                      </a:lnTo>
                      <a:lnTo>
                        <a:pt x="481088" y="455371"/>
                      </a:lnTo>
                      <a:lnTo>
                        <a:pt x="480110" y="453631"/>
                      </a:lnTo>
                      <a:lnTo>
                        <a:pt x="481190" y="452678"/>
                      </a:lnTo>
                      <a:close/>
                    </a:path>
                    <a:path w="2439670" h="1877060">
                      <a:moveTo>
                        <a:pt x="482790" y="507682"/>
                      </a:moveTo>
                      <a:lnTo>
                        <a:pt x="482193" y="507301"/>
                      </a:lnTo>
                      <a:lnTo>
                        <a:pt x="482231" y="506552"/>
                      </a:lnTo>
                      <a:lnTo>
                        <a:pt x="482511" y="506120"/>
                      </a:lnTo>
                      <a:lnTo>
                        <a:pt x="480415" y="507758"/>
                      </a:lnTo>
                      <a:lnTo>
                        <a:pt x="480491" y="507060"/>
                      </a:lnTo>
                      <a:lnTo>
                        <a:pt x="476719" y="508139"/>
                      </a:lnTo>
                      <a:lnTo>
                        <a:pt x="476148" y="508368"/>
                      </a:lnTo>
                      <a:lnTo>
                        <a:pt x="475627" y="509066"/>
                      </a:lnTo>
                      <a:lnTo>
                        <a:pt x="474954" y="507682"/>
                      </a:lnTo>
                      <a:lnTo>
                        <a:pt x="474446" y="506717"/>
                      </a:lnTo>
                      <a:lnTo>
                        <a:pt x="474218" y="506298"/>
                      </a:lnTo>
                      <a:lnTo>
                        <a:pt x="474421" y="506082"/>
                      </a:lnTo>
                      <a:lnTo>
                        <a:pt x="474929" y="505536"/>
                      </a:lnTo>
                      <a:lnTo>
                        <a:pt x="473608" y="505510"/>
                      </a:lnTo>
                      <a:lnTo>
                        <a:pt x="472211" y="506082"/>
                      </a:lnTo>
                      <a:lnTo>
                        <a:pt x="460908" y="503821"/>
                      </a:lnTo>
                      <a:lnTo>
                        <a:pt x="455637" y="506717"/>
                      </a:lnTo>
                      <a:lnTo>
                        <a:pt x="453250" y="503313"/>
                      </a:lnTo>
                      <a:lnTo>
                        <a:pt x="449160" y="502729"/>
                      </a:lnTo>
                      <a:lnTo>
                        <a:pt x="452399" y="502399"/>
                      </a:lnTo>
                      <a:lnTo>
                        <a:pt x="452818" y="502132"/>
                      </a:lnTo>
                      <a:lnTo>
                        <a:pt x="452691" y="501954"/>
                      </a:lnTo>
                      <a:lnTo>
                        <a:pt x="451523" y="500443"/>
                      </a:lnTo>
                      <a:lnTo>
                        <a:pt x="448360" y="501637"/>
                      </a:lnTo>
                      <a:lnTo>
                        <a:pt x="445935" y="501954"/>
                      </a:lnTo>
                      <a:lnTo>
                        <a:pt x="446697" y="500532"/>
                      </a:lnTo>
                      <a:lnTo>
                        <a:pt x="445998" y="499694"/>
                      </a:lnTo>
                      <a:lnTo>
                        <a:pt x="444842" y="501713"/>
                      </a:lnTo>
                      <a:lnTo>
                        <a:pt x="443839" y="503821"/>
                      </a:lnTo>
                      <a:lnTo>
                        <a:pt x="442785" y="505904"/>
                      </a:lnTo>
                      <a:lnTo>
                        <a:pt x="447192" y="506691"/>
                      </a:lnTo>
                      <a:lnTo>
                        <a:pt x="451650" y="507301"/>
                      </a:lnTo>
                      <a:lnTo>
                        <a:pt x="457835" y="508876"/>
                      </a:lnTo>
                      <a:lnTo>
                        <a:pt x="461594" y="509371"/>
                      </a:lnTo>
                      <a:lnTo>
                        <a:pt x="460209" y="511987"/>
                      </a:lnTo>
                      <a:lnTo>
                        <a:pt x="464337" y="511733"/>
                      </a:lnTo>
                      <a:lnTo>
                        <a:pt x="468477" y="510984"/>
                      </a:lnTo>
                      <a:lnTo>
                        <a:pt x="482130" y="510260"/>
                      </a:lnTo>
                      <a:lnTo>
                        <a:pt x="482244" y="509066"/>
                      </a:lnTo>
                      <a:lnTo>
                        <a:pt x="482396" y="508038"/>
                      </a:lnTo>
                      <a:lnTo>
                        <a:pt x="482752" y="508101"/>
                      </a:lnTo>
                      <a:lnTo>
                        <a:pt x="482790" y="507758"/>
                      </a:lnTo>
                      <a:close/>
                    </a:path>
                    <a:path w="2439670" h="1877060">
                      <a:moveTo>
                        <a:pt x="483425" y="466966"/>
                      </a:moveTo>
                      <a:lnTo>
                        <a:pt x="481558" y="467766"/>
                      </a:lnTo>
                      <a:lnTo>
                        <a:pt x="479818" y="468845"/>
                      </a:lnTo>
                      <a:lnTo>
                        <a:pt x="478040" y="469823"/>
                      </a:lnTo>
                      <a:lnTo>
                        <a:pt x="479996" y="469646"/>
                      </a:lnTo>
                      <a:lnTo>
                        <a:pt x="482346" y="468680"/>
                      </a:lnTo>
                      <a:lnTo>
                        <a:pt x="483425" y="466966"/>
                      </a:lnTo>
                      <a:close/>
                    </a:path>
                    <a:path w="2439670" h="1877060">
                      <a:moveTo>
                        <a:pt x="488226" y="445973"/>
                      </a:moveTo>
                      <a:lnTo>
                        <a:pt x="487934" y="445833"/>
                      </a:lnTo>
                      <a:lnTo>
                        <a:pt x="486867" y="445325"/>
                      </a:lnTo>
                      <a:lnTo>
                        <a:pt x="487680" y="442963"/>
                      </a:lnTo>
                      <a:lnTo>
                        <a:pt x="486905" y="442633"/>
                      </a:lnTo>
                      <a:lnTo>
                        <a:pt x="486384" y="442417"/>
                      </a:lnTo>
                      <a:lnTo>
                        <a:pt x="486384" y="445096"/>
                      </a:lnTo>
                      <a:lnTo>
                        <a:pt x="483920" y="443915"/>
                      </a:lnTo>
                      <a:lnTo>
                        <a:pt x="485381" y="442633"/>
                      </a:lnTo>
                      <a:lnTo>
                        <a:pt x="486384" y="445096"/>
                      </a:lnTo>
                      <a:lnTo>
                        <a:pt x="486384" y="442417"/>
                      </a:lnTo>
                      <a:lnTo>
                        <a:pt x="484543" y="441617"/>
                      </a:lnTo>
                      <a:lnTo>
                        <a:pt x="483997" y="440537"/>
                      </a:lnTo>
                      <a:lnTo>
                        <a:pt x="483717" y="439978"/>
                      </a:lnTo>
                      <a:lnTo>
                        <a:pt x="484301" y="439216"/>
                      </a:lnTo>
                      <a:lnTo>
                        <a:pt x="481660" y="437819"/>
                      </a:lnTo>
                      <a:lnTo>
                        <a:pt x="480390" y="439470"/>
                      </a:lnTo>
                      <a:lnTo>
                        <a:pt x="477939" y="440537"/>
                      </a:lnTo>
                      <a:lnTo>
                        <a:pt x="477100" y="439889"/>
                      </a:lnTo>
                      <a:lnTo>
                        <a:pt x="476262" y="440715"/>
                      </a:lnTo>
                      <a:lnTo>
                        <a:pt x="477989" y="441236"/>
                      </a:lnTo>
                      <a:lnTo>
                        <a:pt x="480047" y="441820"/>
                      </a:lnTo>
                      <a:lnTo>
                        <a:pt x="481876" y="441566"/>
                      </a:lnTo>
                      <a:lnTo>
                        <a:pt x="481444" y="442633"/>
                      </a:lnTo>
                      <a:lnTo>
                        <a:pt x="480631" y="443560"/>
                      </a:lnTo>
                      <a:lnTo>
                        <a:pt x="479602" y="443649"/>
                      </a:lnTo>
                      <a:lnTo>
                        <a:pt x="481076" y="444474"/>
                      </a:lnTo>
                      <a:lnTo>
                        <a:pt x="482714" y="445008"/>
                      </a:lnTo>
                      <a:lnTo>
                        <a:pt x="484263" y="445643"/>
                      </a:lnTo>
                      <a:lnTo>
                        <a:pt x="488226" y="445973"/>
                      </a:lnTo>
                      <a:close/>
                    </a:path>
                    <a:path w="2439670" h="1877060">
                      <a:moveTo>
                        <a:pt x="493750" y="478383"/>
                      </a:moveTo>
                      <a:lnTo>
                        <a:pt x="492328" y="477151"/>
                      </a:lnTo>
                      <a:lnTo>
                        <a:pt x="491032" y="476935"/>
                      </a:lnTo>
                      <a:lnTo>
                        <a:pt x="491464" y="477748"/>
                      </a:lnTo>
                      <a:lnTo>
                        <a:pt x="491832" y="478599"/>
                      </a:lnTo>
                      <a:lnTo>
                        <a:pt x="492226" y="479437"/>
                      </a:lnTo>
                      <a:lnTo>
                        <a:pt x="493750" y="478383"/>
                      </a:lnTo>
                      <a:close/>
                    </a:path>
                    <a:path w="2439670" h="1877060">
                      <a:moveTo>
                        <a:pt x="493928" y="466852"/>
                      </a:moveTo>
                      <a:lnTo>
                        <a:pt x="493496" y="465455"/>
                      </a:lnTo>
                      <a:lnTo>
                        <a:pt x="491274" y="465048"/>
                      </a:lnTo>
                      <a:lnTo>
                        <a:pt x="489077" y="464350"/>
                      </a:lnTo>
                      <a:lnTo>
                        <a:pt x="487006" y="465582"/>
                      </a:lnTo>
                      <a:lnTo>
                        <a:pt x="487845" y="466432"/>
                      </a:lnTo>
                      <a:lnTo>
                        <a:pt x="488962" y="467017"/>
                      </a:lnTo>
                      <a:lnTo>
                        <a:pt x="489978" y="467690"/>
                      </a:lnTo>
                      <a:lnTo>
                        <a:pt x="491070" y="467004"/>
                      </a:lnTo>
                      <a:lnTo>
                        <a:pt x="493928" y="466852"/>
                      </a:lnTo>
                      <a:close/>
                    </a:path>
                    <a:path w="2439670" h="1877060">
                      <a:moveTo>
                        <a:pt x="496074" y="503682"/>
                      </a:moveTo>
                      <a:lnTo>
                        <a:pt x="495566" y="501408"/>
                      </a:lnTo>
                      <a:lnTo>
                        <a:pt x="494817" y="501142"/>
                      </a:lnTo>
                      <a:lnTo>
                        <a:pt x="494830" y="500735"/>
                      </a:lnTo>
                      <a:lnTo>
                        <a:pt x="494830" y="499935"/>
                      </a:lnTo>
                      <a:lnTo>
                        <a:pt x="495592" y="498284"/>
                      </a:lnTo>
                      <a:lnTo>
                        <a:pt x="495896" y="497535"/>
                      </a:lnTo>
                      <a:lnTo>
                        <a:pt x="493712" y="500443"/>
                      </a:lnTo>
                      <a:lnTo>
                        <a:pt x="493547" y="500989"/>
                      </a:lnTo>
                      <a:lnTo>
                        <a:pt x="494626" y="504367"/>
                      </a:lnTo>
                      <a:lnTo>
                        <a:pt x="495503" y="502424"/>
                      </a:lnTo>
                      <a:lnTo>
                        <a:pt x="496074" y="503682"/>
                      </a:lnTo>
                      <a:close/>
                    </a:path>
                    <a:path w="2439670" h="1877060">
                      <a:moveTo>
                        <a:pt x="497662" y="480402"/>
                      </a:moveTo>
                      <a:lnTo>
                        <a:pt x="494601" y="479729"/>
                      </a:lnTo>
                      <a:lnTo>
                        <a:pt x="493712" y="480517"/>
                      </a:lnTo>
                      <a:lnTo>
                        <a:pt x="492531" y="482854"/>
                      </a:lnTo>
                      <a:lnTo>
                        <a:pt x="493610" y="481457"/>
                      </a:lnTo>
                      <a:lnTo>
                        <a:pt x="496328" y="481698"/>
                      </a:lnTo>
                      <a:lnTo>
                        <a:pt x="497662" y="480402"/>
                      </a:lnTo>
                      <a:close/>
                    </a:path>
                    <a:path w="2439670" h="1877060">
                      <a:moveTo>
                        <a:pt x="504888" y="484200"/>
                      </a:moveTo>
                      <a:lnTo>
                        <a:pt x="504355" y="484543"/>
                      </a:lnTo>
                      <a:lnTo>
                        <a:pt x="504380" y="485254"/>
                      </a:lnTo>
                      <a:lnTo>
                        <a:pt x="504609" y="485990"/>
                      </a:lnTo>
                      <a:lnTo>
                        <a:pt x="504685" y="485394"/>
                      </a:lnTo>
                      <a:lnTo>
                        <a:pt x="504812" y="484797"/>
                      </a:lnTo>
                      <a:lnTo>
                        <a:pt x="504888" y="484200"/>
                      </a:lnTo>
                      <a:close/>
                    </a:path>
                    <a:path w="2439670" h="1877060">
                      <a:moveTo>
                        <a:pt x="510578" y="488302"/>
                      </a:moveTo>
                      <a:lnTo>
                        <a:pt x="509676" y="486918"/>
                      </a:lnTo>
                      <a:lnTo>
                        <a:pt x="507390" y="488137"/>
                      </a:lnTo>
                      <a:lnTo>
                        <a:pt x="506285" y="488797"/>
                      </a:lnTo>
                      <a:lnTo>
                        <a:pt x="505002" y="489559"/>
                      </a:lnTo>
                      <a:lnTo>
                        <a:pt x="503593" y="490347"/>
                      </a:lnTo>
                      <a:lnTo>
                        <a:pt x="502653" y="492531"/>
                      </a:lnTo>
                      <a:lnTo>
                        <a:pt x="502386" y="493941"/>
                      </a:lnTo>
                      <a:lnTo>
                        <a:pt x="503135" y="495261"/>
                      </a:lnTo>
                      <a:lnTo>
                        <a:pt x="502653" y="495503"/>
                      </a:lnTo>
                      <a:lnTo>
                        <a:pt x="503504" y="496189"/>
                      </a:lnTo>
                      <a:lnTo>
                        <a:pt x="505066" y="494931"/>
                      </a:lnTo>
                      <a:lnTo>
                        <a:pt x="505726" y="494576"/>
                      </a:lnTo>
                      <a:lnTo>
                        <a:pt x="507161" y="493052"/>
                      </a:lnTo>
                      <a:lnTo>
                        <a:pt x="508139" y="493712"/>
                      </a:lnTo>
                      <a:lnTo>
                        <a:pt x="508012" y="491921"/>
                      </a:lnTo>
                      <a:lnTo>
                        <a:pt x="508596" y="491705"/>
                      </a:lnTo>
                      <a:lnTo>
                        <a:pt x="509663" y="489686"/>
                      </a:lnTo>
                      <a:lnTo>
                        <a:pt x="510578" y="488302"/>
                      </a:lnTo>
                      <a:close/>
                    </a:path>
                    <a:path w="2439670" h="1877060">
                      <a:moveTo>
                        <a:pt x="825550" y="1744472"/>
                      </a:moveTo>
                      <a:lnTo>
                        <a:pt x="825207" y="1744014"/>
                      </a:lnTo>
                      <a:lnTo>
                        <a:pt x="824814" y="1743595"/>
                      </a:lnTo>
                      <a:lnTo>
                        <a:pt x="824318" y="1743329"/>
                      </a:lnTo>
                      <a:lnTo>
                        <a:pt x="824623" y="1743798"/>
                      </a:lnTo>
                      <a:lnTo>
                        <a:pt x="825080" y="1744167"/>
                      </a:lnTo>
                      <a:lnTo>
                        <a:pt x="825550" y="1744472"/>
                      </a:lnTo>
                      <a:close/>
                    </a:path>
                    <a:path w="2439670" h="1877060">
                      <a:moveTo>
                        <a:pt x="847610" y="1750301"/>
                      </a:moveTo>
                      <a:lnTo>
                        <a:pt x="846924" y="1749831"/>
                      </a:lnTo>
                      <a:lnTo>
                        <a:pt x="846264" y="1749323"/>
                      </a:lnTo>
                      <a:lnTo>
                        <a:pt x="845451" y="1749018"/>
                      </a:lnTo>
                      <a:lnTo>
                        <a:pt x="845908" y="1749806"/>
                      </a:lnTo>
                      <a:lnTo>
                        <a:pt x="846721" y="1750187"/>
                      </a:lnTo>
                      <a:lnTo>
                        <a:pt x="847610" y="1750301"/>
                      </a:lnTo>
                      <a:close/>
                    </a:path>
                    <a:path w="2439670" h="1877060">
                      <a:moveTo>
                        <a:pt x="1162278" y="1874685"/>
                      </a:moveTo>
                      <a:lnTo>
                        <a:pt x="1159687" y="1873834"/>
                      </a:lnTo>
                      <a:lnTo>
                        <a:pt x="1157109" y="1872703"/>
                      </a:lnTo>
                      <a:lnTo>
                        <a:pt x="1154404" y="1872221"/>
                      </a:lnTo>
                      <a:lnTo>
                        <a:pt x="1155026" y="1872792"/>
                      </a:lnTo>
                      <a:lnTo>
                        <a:pt x="1155560" y="1872589"/>
                      </a:lnTo>
                      <a:lnTo>
                        <a:pt x="1156106" y="1873173"/>
                      </a:lnTo>
                      <a:lnTo>
                        <a:pt x="1156614" y="1873745"/>
                      </a:lnTo>
                      <a:lnTo>
                        <a:pt x="1156487" y="1874901"/>
                      </a:lnTo>
                      <a:lnTo>
                        <a:pt x="1157185" y="1875485"/>
                      </a:lnTo>
                      <a:lnTo>
                        <a:pt x="1158887" y="1876869"/>
                      </a:lnTo>
                      <a:lnTo>
                        <a:pt x="1160424" y="1875066"/>
                      </a:lnTo>
                      <a:lnTo>
                        <a:pt x="1162278" y="1874685"/>
                      </a:lnTo>
                      <a:close/>
                    </a:path>
                    <a:path w="2439670" h="1877060">
                      <a:moveTo>
                        <a:pt x="2083473" y="896226"/>
                      </a:moveTo>
                      <a:lnTo>
                        <a:pt x="2083015" y="896708"/>
                      </a:lnTo>
                      <a:lnTo>
                        <a:pt x="2082546" y="897229"/>
                      </a:lnTo>
                      <a:lnTo>
                        <a:pt x="2082317" y="897839"/>
                      </a:lnTo>
                      <a:lnTo>
                        <a:pt x="2082774" y="897369"/>
                      </a:lnTo>
                      <a:lnTo>
                        <a:pt x="2083168" y="896810"/>
                      </a:lnTo>
                      <a:lnTo>
                        <a:pt x="2083473" y="896226"/>
                      </a:lnTo>
                      <a:close/>
                    </a:path>
                    <a:path w="2439670" h="1877060">
                      <a:moveTo>
                        <a:pt x="2180945" y="837590"/>
                      </a:moveTo>
                      <a:lnTo>
                        <a:pt x="2177173" y="839685"/>
                      </a:lnTo>
                      <a:lnTo>
                        <a:pt x="2176284" y="839622"/>
                      </a:lnTo>
                      <a:lnTo>
                        <a:pt x="2176513" y="840206"/>
                      </a:lnTo>
                      <a:lnTo>
                        <a:pt x="2176208" y="842060"/>
                      </a:lnTo>
                      <a:lnTo>
                        <a:pt x="2177059" y="842314"/>
                      </a:lnTo>
                      <a:lnTo>
                        <a:pt x="2177986" y="842606"/>
                      </a:lnTo>
                      <a:lnTo>
                        <a:pt x="2180183" y="838771"/>
                      </a:lnTo>
                      <a:lnTo>
                        <a:pt x="2180945" y="837590"/>
                      </a:lnTo>
                      <a:close/>
                    </a:path>
                    <a:path w="2439670" h="1877060">
                      <a:moveTo>
                        <a:pt x="2373388" y="934186"/>
                      </a:moveTo>
                      <a:lnTo>
                        <a:pt x="2371420" y="933107"/>
                      </a:lnTo>
                      <a:lnTo>
                        <a:pt x="2370531" y="933107"/>
                      </a:lnTo>
                      <a:lnTo>
                        <a:pt x="2370531" y="934046"/>
                      </a:lnTo>
                      <a:lnTo>
                        <a:pt x="2370810" y="934961"/>
                      </a:lnTo>
                      <a:lnTo>
                        <a:pt x="2371001" y="935875"/>
                      </a:lnTo>
                      <a:lnTo>
                        <a:pt x="2371775" y="935710"/>
                      </a:lnTo>
                      <a:lnTo>
                        <a:pt x="2372309" y="935342"/>
                      </a:lnTo>
                      <a:lnTo>
                        <a:pt x="2372080" y="934694"/>
                      </a:lnTo>
                      <a:lnTo>
                        <a:pt x="2373388" y="934186"/>
                      </a:lnTo>
                      <a:close/>
                    </a:path>
                    <a:path w="2439670" h="1877060">
                      <a:moveTo>
                        <a:pt x="2439632" y="956119"/>
                      </a:moveTo>
                      <a:lnTo>
                        <a:pt x="2439124" y="956259"/>
                      </a:lnTo>
                      <a:lnTo>
                        <a:pt x="2438704" y="956589"/>
                      </a:lnTo>
                      <a:lnTo>
                        <a:pt x="2438362" y="957033"/>
                      </a:lnTo>
                      <a:lnTo>
                        <a:pt x="2438666" y="957237"/>
                      </a:lnTo>
                      <a:lnTo>
                        <a:pt x="2439022" y="957580"/>
                      </a:lnTo>
                      <a:lnTo>
                        <a:pt x="2439365" y="957694"/>
                      </a:lnTo>
                      <a:lnTo>
                        <a:pt x="2439555" y="957224"/>
                      </a:lnTo>
                      <a:lnTo>
                        <a:pt x="2439593" y="956627"/>
                      </a:lnTo>
                      <a:lnTo>
                        <a:pt x="2439632" y="956119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55" name="object 95">
                  <a:extLst>
                    <a:ext uri="{FF2B5EF4-FFF2-40B4-BE49-F238E27FC236}">
                      <a16:creationId xmlns:a16="http://schemas.microsoft.com/office/drawing/2014/main" id="{7CFC192A-17E0-7BD3-D321-7C82E54285D0}"/>
                    </a:ext>
                  </a:extLst>
                </p:cNvPr>
                <p:cNvSpPr/>
                <p:nvPr/>
              </p:nvSpPr>
              <p:spPr>
                <a:xfrm>
                  <a:off x="2594978" y="1888185"/>
                  <a:ext cx="2471420" cy="12592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71420" h="1259205">
                      <a:moveTo>
                        <a:pt x="5003" y="132054"/>
                      </a:moveTo>
                      <a:lnTo>
                        <a:pt x="2806" y="131991"/>
                      </a:lnTo>
                      <a:lnTo>
                        <a:pt x="2032" y="131978"/>
                      </a:lnTo>
                      <a:lnTo>
                        <a:pt x="622" y="132511"/>
                      </a:lnTo>
                      <a:lnTo>
                        <a:pt x="0" y="132842"/>
                      </a:lnTo>
                      <a:lnTo>
                        <a:pt x="1333" y="133667"/>
                      </a:lnTo>
                      <a:lnTo>
                        <a:pt x="2844" y="134213"/>
                      </a:lnTo>
                      <a:lnTo>
                        <a:pt x="4267" y="134848"/>
                      </a:lnTo>
                      <a:lnTo>
                        <a:pt x="4445" y="132740"/>
                      </a:lnTo>
                      <a:lnTo>
                        <a:pt x="5003" y="132054"/>
                      </a:lnTo>
                      <a:close/>
                    </a:path>
                    <a:path w="2471420" h="1259205">
                      <a:moveTo>
                        <a:pt x="290347" y="113309"/>
                      </a:moveTo>
                      <a:lnTo>
                        <a:pt x="290004" y="112255"/>
                      </a:lnTo>
                      <a:lnTo>
                        <a:pt x="287502" y="111404"/>
                      </a:lnTo>
                      <a:lnTo>
                        <a:pt x="287197" y="111290"/>
                      </a:lnTo>
                      <a:lnTo>
                        <a:pt x="286880" y="111023"/>
                      </a:lnTo>
                      <a:lnTo>
                        <a:pt x="286016" y="110959"/>
                      </a:lnTo>
                      <a:lnTo>
                        <a:pt x="285432" y="111112"/>
                      </a:lnTo>
                      <a:lnTo>
                        <a:pt x="284988" y="111404"/>
                      </a:lnTo>
                      <a:lnTo>
                        <a:pt x="285750" y="112153"/>
                      </a:lnTo>
                      <a:lnTo>
                        <a:pt x="286766" y="112623"/>
                      </a:lnTo>
                      <a:lnTo>
                        <a:pt x="287667" y="113182"/>
                      </a:lnTo>
                      <a:lnTo>
                        <a:pt x="287591" y="114338"/>
                      </a:lnTo>
                      <a:lnTo>
                        <a:pt x="288302" y="115112"/>
                      </a:lnTo>
                      <a:lnTo>
                        <a:pt x="289356" y="115481"/>
                      </a:lnTo>
                      <a:lnTo>
                        <a:pt x="290347" y="113309"/>
                      </a:lnTo>
                      <a:close/>
                    </a:path>
                    <a:path w="2471420" h="1259205">
                      <a:moveTo>
                        <a:pt x="297192" y="102222"/>
                      </a:moveTo>
                      <a:lnTo>
                        <a:pt x="295224" y="100418"/>
                      </a:lnTo>
                      <a:lnTo>
                        <a:pt x="292823" y="101244"/>
                      </a:lnTo>
                      <a:lnTo>
                        <a:pt x="289052" y="102222"/>
                      </a:lnTo>
                      <a:lnTo>
                        <a:pt x="297192" y="102222"/>
                      </a:lnTo>
                      <a:close/>
                    </a:path>
                    <a:path w="2471420" h="1259205">
                      <a:moveTo>
                        <a:pt x="299224" y="57150"/>
                      </a:moveTo>
                      <a:lnTo>
                        <a:pt x="295554" y="58877"/>
                      </a:lnTo>
                      <a:lnTo>
                        <a:pt x="291947" y="60401"/>
                      </a:lnTo>
                      <a:lnTo>
                        <a:pt x="285127" y="62953"/>
                      </a:lnTo>
                      <a:lnTo>
                        <a:pt x="284822" y="68173"/>
                      </a:lnTo>
                      <a:lnTo>
                        <a:pt x="278003" y="70116"/>
                      </a:lnTo>
                      <a:lnTo>
                        <a:pt x="273685" y="68186"/>
                      </a:lnTo>
                      <a:lnTo>
                        <a:pt x="267309" y="71221"/>
                      </a:lnTo>
                      <a:lnTo>
                        <a:pt x="265772" y="75399"/>
                      </a:lnTo>
                      <a:lnTo>
                        <a:pt x="264858" y="78371"/>
                      </a:lnTo>
                      <a:lnTo>
                        <a:pt x="266661" y="78879"/>
                      </a:lnTo>
                      <a:lnTo>
                        <a:pt x="267462" y="79946"/>
                      </a:lnTo>
                      <a:lnTo>
                        <a:pt x="270497" y="81356"/>
                      </a:lnTo>
                      <a:lnTo>
                        <a:pt x="267919" y="79209"/>
                      </a:lnTo>
                      <a:lnTo>
                        <a:pt x="267423" y="78917"/>
                      </a:lnTo>
                      <a:lnTo>
                        <a:pt x="268986" y="76796"/>
                      </a:lnTo>
                      <a:lnTo>
                        <a:pt x="269824" y="75857"/>
                      </a:lnTo>
                      <a:lnTo>
                        <a:pt x="269430" y="76809"/>
                      </a:lnTo>
                      <a:lnTo>
                        <a:pt x="269748" y="79184"/>
                      </a:lnTo>
                      <a:lnTo>
                        <a:pt x="271945" y="78663"/>
                      </a:lnTo>
                      <a:lnTo>
                        <a:pt x="272656" y="78371"/>
                      </a:lnTo>
                      <a:lnTo>
                        <a:pt x="273913" y="76568"/>
                      </a:lnTo>
                      <a:lnTo>
                        <a:pt x="272783" y="74206"/>
                      </a:lnTo>
                      <a:lnTo>
                        <a:pt x="274243" y="74866"/>
                      </a:lnTo>
                      <a:lnTo>
                        <a:pt x="274497" y="74206"/>
                      </a:lnTo>
                      <a:lnTo>
                        <a:pt x="274497" y="73647"/>
                      </a:lnTo>
                      <a:lnTo>
                        <a:pt x="274599" y="73025"/>
                      </a:lnTo>
                      <a:lnTo>
                        <a:pt x="277647" y="71374"/>
                      </a:lnTo>
                      <a:lnTo>
                        <a:pt x="280377" y="71882"/>
                      </a:lnTo>
                      <a:lnTo>
                        <a:pt x="286766" y="70446"/>
                      </a:lnTo>
                      <a:lnTo>
                        <a:pt x="289280" y="70904"/>
                      </a:lnTo>
                      <a:lnTo>
                        <a:pt x="294690" y="70637"/>
                      </a:lnTo>
                      <a:lnTo>
                        <a:pt x="295402" y="71120"/>
                      </a:lnTo>
                      <a:lnTo>
                        <a:pt x="296583" y="67716"/>
                      </a:lnTo>
                      <a:lnTo>
                        <a:pt x="297357" y="66027"/>
                      </a:lnTo>
                      <a:lnTo>
                        <a:pt x="297370" y="63931"/>
                      </a:lnTo>
                      <a:lnTo>
                        <a:pt x="295719" y="61201"/>
                      </a:lnTo>
                      <a:lnTo>
                        <a:pt x="299224" y="57150"/>
                      </a:lnTo>
                      <a:close/>
                    </a:path>
                    <a:path w="2471420" h="1259205">
                      <a:moveTo>
                        <a:pt x="299529" y="94780"/>
                      </a:moveTo>
                      <a:lnTo>
                        <a:pt x="298615" y="94246"/>
                      </a:lnTo>
                      <a:lnTo>
                        <a:pt x="297878" y="93802"/>
                      </a:lnTo>
                      <a:lnTo>
                        <a:pt x="297980" y="92722"/>
                      </a:lnTo>
                      <a:lnTo>
                        <a:pt x="297040" y="93230"/>
                      </a:lnTo>
                      <a:lnTo>
                        <a:pt x="297180" y="95948"/>
                      </a:lnTo>
                      <a:lnTo>
                        <a:pt x="297472" y="97091"/>
                      </a:lnTo>
                      <a:lnTo>
                        <a:pt x="298297" y="96481"/>
                      </a:lnTo>
                      <a:lnTo>
                        <a:pt x="298881" y="95592"/>
                      </a:lnTo>
                      <a:lnTo>
                        <a:pt x="299529" y="94780"/>
                      </a:lnTo>
                      <a:close/>
                    </a:path>
                    <a:path w="2471420" h="1259205">
                      <a:moveTo>
                        <a:pt x="301663" y="107175"/>
                      </a:moveTo>
                      <a:lnTo>
                        <a:pt x="300799" y="105676"/>
                      </a:lnTo>
                      <a:lnTo>
                        <a:pt x="300215" y="103911"/>
                      </a:lnTo>
                      <a:lnTo>
                        <a:pt x="300113" y="103644"/>
                      </a:lnTo>
                      <a:lnTo>
                        <a:pt x="298716" y="103911"/>
                      </a:lnTo>
                      <a:lnTo>
                        <a:pt x="297891" y="103847"/>
                      </a:lnTo>
                      <a:lnTo>
                        <a:pt x="298107" y="103695"/>
                      </a:lnTo>
                      <a:lnTo>
                        <a:pt x="298780" y="103187"/>
                      </a:lnTo>
                      <a:lnTo>
                        <a:pt x="300113" y="103644"/>
                      </a:lnTo>
                      <a:lnTo>
                        <a:pt x="300393" y="103746"/>
                      </a:lnTo>
                      <a:lnTo>
                        <a:pt x="300507" y="103187"/>
                      </a:lnTo>
                      <a:lnTo>
                        <a:pt x="300621" y="102666"/>
                      </a:lnTo>
                      <a:lnTo>
                        <a:pt x="300558" y="102311"/>
                      </a:lnTo>
                      <a:lnTo>
                        <a:pt x="299351" y="100736"/>
                      </a:lnTo>
                      <a:lnTo>
                        <a:pt x="298284" y="100457"/>
                      </a:lnTo>
                      <a:lnTo>
                        <a:pt x="298259" y="102539"/>
                      </a:lnTo>
                      <a:lnTo>
                        <a:pt x="298145" y="103085"/>
                      </a:lnTo>
                      <a:lnTo>
                        <a:pt x="297497" y="103632"/>
                      </a:lnTo>
                      <a:lnTo>
                        <a:pt x="296837" y="103695"/>
                      </a:lnTo>
                      <a:lnTo>
                        <a:pt x="296176" y="103276"/>
                      </a:lnTo>
                      <a:lnTo>
                        <a:pt x="296595" y="103085"/>
                      </a:lnTo>
                      <a:lnTo>
                        <a:pt x="296875" y="102539"/>
                      </a:lnTo>
                      <a:lnTo>
                        <a:pt x="297294" y="102323"/>
                      </a:lnTo>
                      <a:lnTo>
                        <a:pt x="288721" y="102311"/>
                      </a:lnTo>
                      <a:lnTo>
                        <a:pt x="286689" y="102323"/>
                      </a:lnTo>
                      <a:lnTo>
                        <a:pt x="285356" y="102666"/>
                      </a:lnTo>
                      <a:lnTo>
                        <a:pt x="286562" y="103276"/>
                      </a:lnTo>
                      <a:lnTo>
                        <a:pt x="286778" y="103936"/>
                      </a:lnTo>
                      <a:lnTo>
                        <a:pt x="288353" y="105841"/>
                      </a:lnTo>
                      <a:lnTo>
                        <a:pt x="288505" y="107556"/>
                      </a:lnTo>
                      <a:lnTo>
                        <a:pt x="290029" y="109054"/>
                      </a:lnTo>
                      <a:lnTo>
                        <a:pt x="291858" y="109359"/>
                      </a:lnTo>
                      <a:lnTo>
                        <a:pt x="294144" y="110858"/>
                      </a:lnTo>
                      <a:lnTo>
                        <a:pt x="294995" y="111455"/>
                      </a:lnTo>
                      <a:lnTo>
                        <a:pt x="298665" y="112382"/>
                      </a:lnTo>
                      <a:lnTo>
                        <a:pt x="301523" y="110858"/>
                      </a:lnTo>
                      <a:lnTo>
                        <a:pt x="301663" y="107175"/>
                      </a:lnTo>
                      <a:close/>
                    </a:path>
                    <a:path w="2471420" h="1259205">
                      <a:moveTo>
                        <a:pt x="303657" y="109512"/>
                      </a:moveTo>
                      <a:lnTo>
                        <a:pt x="302590" y="110642"/>
                      </a:lnTo>
                      <a:lnTo>
                        <a:pt x="301752" y="111975"/>
                      </a:lnTo>
                      <a:lnTo>
                        <a:pt x="300850" y="113207"/>
                      </a:lnTo>
                      <a:lnTo>
                        <a:pt x="300240" y="116382"/>
                      </a:lnTo>
                      <a:lnTo>
                        <a:pt x="297878" y="114858"/>
                      </a:lnTo>
                      <a:lnTo>
                        <a:pt x="300228" y="118110"/>
                      </a:lnTo>
                      <a:lnTo>
                        <a:pt x="301320" y="115582"/>
                      </a:lnTo>
                      <a:lnTo>
                        <a:pt x="303568" y="112382"/>
                      </a:lnTo>
                      <a:lnTo>
                        <a:pt x="303657" y="109512"/>
                      </a:lnTo>
                      <a:close/>
                    </a:path>
                    <a:path w="2471420" h="1259205">
                      <a:moveTo>
                        <a:pt x="305536" y="66751"/>
                      </a:moveTo>
                      <a:lnTo>
                        <a:pt x="305041" y="67068"/>
                      </a:lnTo>
                      <a:lnTo>
                        <a:pt x="304050" y="67754"/>
                      </a:lnTo>
                      <a:lnTo>
                        <a:pt x="304711" y="67652"/>
                      </a:lnTo>
                      <a:lnTo>
                        <a:pt x="305308" y="67297"/>
                      </a:lnTo>
                      <a:lnTo>
                        <a:pt x="305536" y="66751"/>
                      </a:lnTo>
                      <a:close/>
                    </a:path>
                    <a:path w="2471420" h="1259205">
                      <a:moveTo>
                        <a:pt x="314401" y="111442"/>
                      </a:moveTo>
                      <a:lnTo>
                        <a:pt x="313296" y="110934"/>
                      </a:lnTo>
                      <a:lnTo>
                        <a:pt x="314337" y="111442"/>
                      </a:lnTo>
                      <a:close/>
                    </a:path>
                    <a:path w="2471420" h="1259205">
                      <a:moveTo>
                        <a:pt x="314604" y="113995"/>
                      </a:moveTo>
                      <a:lnTo>
                        <a:pt x="314159" y="113271"/>
                      </a:lnTo>
                      <a:lnTo>
                        <a:pt x="314388" y="114160"/>
                      </a:lnTo>
                      <a:lnTo>
                        <a:pt x="314604" y="113995"/>
                      </a:lnTo>
                      <a:close/>
                    </a:path>
                    <a:path w="2471420" h="1259205">
                      <a:moveTo>
                        <a:pt x="316064" y="118173"/>
                      </a:moveTo>
                      <a:lnTo>
                        <a:pt x="315277" y="116027"/>
                      </a:lnTo>
                      <a:lnTo>
                        <a:pt x="315048" y="116332"/>
                      </a:lnTo>
                      <a:lnTo>
                        <a:pt x="311619" y="116065"/>
                      </a:lnTo>
                      <a:lnTo>
                        <a:pt x="310591" y="115443"/>
                      </a:lnTo>
                      <a:lnTo>
                        <a:pt x="309524" y="114998"/>
                      </a:lnTo>
                      <a:lnTo>
                        <a:pt x="305104" y="115544"/>
                      </a:lnTo>
                      <a:lnTo>
                        <a:pt x="305803" y="116078"/>
                      </a:lnTo>
                      <a:lnTo>
                        <a:pt x="301967" y="117055"/>
                      </a:lnTo>
                      <a:lnTo>
                        <a:pt x="307835" y="118338"/>
                      </a:lnTo>
                      <a:lnTo>
                        <a:pt x="311086" y="120446"/>
                      </a:lnTo>
                      <a:lnTo>
                        <a:pt x="313296" y="119126"/>
                      </a:lnTo>
                      <a:lnTo>
                        <a:pt x="316064" y="118173"/>
                      </a:lnTo>
                      <a:close/>
                    </a:path>
                    <a:path w="2471420" h="1259205">
                      <a:moveTo>
                        <a:pt x="327279" y="98399"/>
                      </a:moveTo>
                      <a:lnTo>
                        <a:pt x="327177" y="96939"/>
                      </a:lnTo>
                      <a:lnTo>
                        <a:pt x="326250" y="94056"/>
                      </a:lnTo>
                      <a:lnTo>
                        <a:pt x="326377" y="93586"/>
                      </a:lnTo>
                      <a:lnTo>
                        <a:pt x="326669" y="93103"/>
                      </a:lnTo>
                      <a:lnTo>
                        <a:pt x="324192" y="90182"/>
                      </a:lnTo>
                      <a:lnTo>
                        <a:pt x="322707" y="90652"/>
                      </a:lnTo>
                      <a:lnTo>
                        <a:pt x="320903" y="90652"/>
                      </a:lnTo>
                      <a:lnTo>
                        <a:pt x="319836" y="91338"/>
                      </a:lnTo>
                      <a:lnTo>
                        <a:pt x="318808" y="92087"/>
                      </a:lnTo>
                      <a:lnTo>
                        <a:pt x="317652" y="92608"/>
                      </a:lnTo>
                      <a:lnTo>
                        <a:pt x="318922" y="93764"/>
                      </a:lnTo>
                      <a:lnTo>
                        <a:pt x="319468" y="95364"/>
                      </a:lnTo>
                      <a:lnTo>
                        <a:pt x="319544" y="96494"/>
                      </a:lnTo>
                      <a:lnTo>
                        <a:pt x="319671" y="99364"/>
                      </a:lnTo>
                      <a:lnTo>
                        <a:pt x="317576" y="99618"/>
                      </a:lnTo>
                      <a:lnTo>
                        <a:pt x="317665" y="99453"/>
                      </a:lnTo>
                      <a:lnTo>
                        <a:pt x="318808" y="97129"/>
                      </a:lnTo>
                      <a:lnTo>
                        <a:pt x="319493" y="96304"/>
                      </a:lnTo>
                      <a:lnTo>
                        <a:pt x="317322" y="94056"/>
                      </a:lnTo>
                      <a:lnTo>
                        <a:pt x="317512" y="95491"/>
                      </a:lnTo>
                      <a:lnTo>
                        <a:pt x="316598" y="98298"/>
                      </a:lnTo>
                      <a:lnTo>
                        <a:pt x="315480" y="99453"/>
                      </a:lnTo>
                      <a:lnTo>
                        <a:pt x="314934" y="98856"/>
                      </a:lnTo>
                      <a:lnTo>
                        <a:pt x="313143" y="96939"/>
                      </a:lnTo>
                      <a:lnTo>
                        <a:pt x="313715" y="97028"/>
                      </a:lnTo>
                      <a:lnTo>
                        <a:pt x="313867" y="94475"/>
                      </a:lnTo>
                      <a:lnTo>
                        <a:pt x="314452" y="94678"/>
                      </a:lnTo>
                      <a:lnTo>
                        <a:pt x="314579" y="94475"/>
                      </a:lnTo>
                      <a:lnTo>
                        <a:pt x="314985" y="93764"/>
                      </a:lnTo>
                      <a:lnTo>
                        <a:pt x="315214" y="93345"/>
                      </a:lnTo>
                      <a:lnTo>
                        <a:pt x="312737" y="93764"/>
                      </a:lnTo>
                      <a:lnTo>
                        <a:pt x="312343" y="93586"/>
                      </a:lnTo>
                      <a:lnTo>
                        <a:pt x="310705" y="92862"/>
                      </a:lnTo>
                      <a:lnTo>
                        <a:pt x="308241" y="93014"/>
                      </a:lnTo>
                      <a:lnTo>
                        <a:pt x="309219" y="93764"/>
                      </a:lnTo>
                      <a:lnTo>
                        <a:pt x="311683" y="93586"/>
                      </a:lnTo>
                      <a:lnTo>
                        <a:pt x="311327" y="96494"/>
                      </a:lnTo>
                      <a:lnTo>
                        <a:pt x="308127" y="98552"/>
                      </a:lnTo>
                      <a:lnTo>
                        <a:pt x="305981" y="98856"/>
                      </a:lnTo>
                      <a:lnTo>
                        <a:pt x="304622" y="98336"/>
                      </a:lnTo>
                      <a:lnTo>
                        <a:pt x="303352" y="98132"/>
                      </a:lnTo>
                      <a:lnTo>
                        <a:pt x="303669" y="98298"/>
                      </a:lnTo>
                      <a:lnTo>
                        <a:pt x="303784" y="98552"/>
                      </a:lnTo>
                      <a:lnTo>
                        <a:pt x="303453" y="99148"/>
                      </a:lnTo>
                      <a:lnTo>
                        <a:pt x="304419" y="100215"/>
                      </a:lnTo>
                      <a:lnTo>
                        <a:pt x="305752" y="99872"/>
                      </a:lnTo>
                      <a:lnTo>
                        <a:pt x="306552" y="102006"/>
                      </a:lnTo>
                      <a:lnTo>
                        <a:pt x="307035" y="103200"/>
                      </a:lnTo>
                      <a:lnTo>
                        <a:pt x="307619" y="105892"/>
                      </a:lnTo>
                      <a:lnTo>
                        <a:pt x="303771" y="105283"/>
                      </a:lnTo>
                      <a:lnTo>
                        <a:pt x="310400" y="108102"/>
                      </a:lnTo>
                      <a:lnTo>
                        <a:pt x="313664" y="108623"/>
                      </a:lnTo>
                      <a:lnTo>
                        <a:pt x="315912" y="109918"/>
                      </a:lnTo>
                      <a:lnTo>
                        <a:pt x="314401" y="111442"/>
                      </a:lnTo>
                      <a:lnTo>
                        <a:pt x="315620" y="111760"/>
                      </a:lnTo>
                      <a:lnTo>
                        <a:pt x="316636" y="112420"/>
                      </a:lnTo>
                      <a:lnTo>
                        <a:pt x="314718" y="113906"/>
                      </a:lnTo>
                      <a:lnTo>
                        <a:pt x="314706" y="114160"/>
                      </a:lnTo>
                      <a:lnTo>
                        <a:pt x="316776" y="117563"/>
                      </a:lnTo>
                      <a:lnTo>
                        <a:pt x="316433" y="119151"/>
                      </a:lnTo>
                      <a:lnTo>
                        <a:pt x="317423" y="120523"/>
                      </a:lnTo>
                      <a:lnTo>
                        <a:pt x="317766" y="121818"/>
                      </a:lnTo>
                      <a:lnTo>
                        <a:pt x="318935" y="119151"/>
                      </a:lnTo>
                      <a:lnTo>
                        <a:pt x="318909" y="117221"/>
                      </a:lnTo>
                      <a:lnTo>
                        <a:pt x="320992" y="115938"/>
                      </a:lnTo>
                      <a:lnTo>
                        <a:pt x="319760" y="115011"/>
                      </a:lnTo>
                      <a:lnTo>
                        <a:pt x="317931" y="114896"/>
                      </a:lnTo>
                      <a:lnTo>
                        <a:pt x="316903" y="113906"/>
                      </a:lnTo>
                      <a:lnTo>
                        <a:pt x="318122" y="113296"/>
                      </a:lnTo>
                      <a:lnTo>
                        <a:pt x="318681" y="113334"/>
                      </a:lnTo>
                      <a:lnTo>
                        <a:pt x="320586" y="110807"/>
                      </a:lnTo>
                      <a:lnTo>
                        <a:pt x="320040" y="110807"/>
                      </a:lnTo>
                      <a:lnTo>
                        <a:pt x="318795" y="109588"/>
                      </a:lnTo>
                      <a:lnTo>
                        <a:pt x="319836" y="108877"/>
                      </a:lnTo>
                      <a:lnTo>
                        <a:pt x="324853" y="108254"/>
                      </a:lnTo>
                      <a:lnTo>
                        <a:pt x="325399" y="105892"/>
                      </a:lnTo>
                      <a:lnTo>
                        <a:pt x="325551" y="105219"/>
                      </a:lnTo>
                      <a:lnTo>
                        <a:pt x="322351" y="104813"/>
                      </a:lnTo>
                      <a:lnTo>
                        <a:pt x="320763" y="102590"/>
                      </a:lnTo>
                      <a:lnTo>
                        <a:pt x="322681" y="101130"/>
                      </a:lnTo>
                      <a:lnTo>
                        <a:pt x="324815" y="100190"/>
                      </a:lnTo>
                      <a:lnTo>
                        <a:pt x="325755" y="100558"/>
                      </a:lnTo>
                      <a:lnTo>
                        <a:pt x="326021" y="100190"/>
                      </a:lnTo>
                      <a:lnTo>
                        <a:pt x="326237" y="99872"/>
                      </a:lnTo>
                      <a:lnTo>
                        <a:pt x="326428" y="99618"/>
                      </a:lnTo>
                      <a:lnTo>
                        <a:pt x="327279" y="98399"/>
                      </a:lnTo>
                      <a:close/>
                    </a:path>
                    <a:path w="2471420" h="1259205">
                      <a:moveTo>
                        <a:pt x="328104" y="113118"/>
                      </a:moveTo>
                      <a:lnTo>
                        <a:pt x="323113" y="112344"/>
                      </a:lnTo>
                      <a:lnTo>
                        <a:pt x="322554" y="111417"/>
                      </a:lnTo>
                      <a:lnTo>
                        <a:pt x="321957" y="112547"/>
                      </a:lnTo>
                      <a:lnTo>
                        <a:pt x="321652" y="113830"/>
                      </a:lnTo>
                      <a:lnTo>
                        <a:pt x="321246" y="115036"/>
                      </a:lnTo>
                      <a:lnTo>
                        <a:pt x="322110" y="114579"/>
                      </a:lnTo>
                      <a:lnTo>
                        <a:pt x="322757" y="113639"/>
                      </a:lnTo>
                      <a:lnTo>
                        <a:pt x="324370" y="113271"/>
                      </a:lnTo>
                      <a:lnTo>
                        <a:pt x="325196" y="113792"/>
                      </a:lnTo>
                      <a:lnTo>
                        <a:pt x="325729" y="113677"/>
                      </a:lnTo>
                      <a:lnTo>
                        <a:pt x="328104" y="113118"/>
                      </a:lnTo>
                      <a:close/>
                    </a:path>
                    <a:path w="2471420" h="1259205">
                      <a:moveTo>
                        <a:pt x="437349" y="3822"/>
                      </a:moveTo>
                      <a:lnTo>
                        <a:pt x="437248" y="3162"/>
                      </a:lnTo>
                      <a:lnTo>
                        <a:pt x="437083" y="2717"/>
                      </a:lnTo>
                      <a:lnTo>
                        <a:pt x="436841" y="2095"/>
                      </a:lnTo>
                      <a:lnTo>
                        <a:pt x="436727" y="1790"/>
                      </a:lnTo>
                      <a:lnTo>
                        <a:pt x="434987" y="2095"/>
                      </a:lnTo>
                      <a:lnTo>
                        <a:pt x="434987" y="1854"/>
                      </a:lnTo>
                      <a:lnTo>
                        <a:pt x="435000" y="1219"/>
                      </a:lnTo>
                      <a:lnTo>
                        <a:pt x="434670" y="1854"/>
                      </a:lnTo>
                      <a:lnTo>
                        <a:pt x="434263" y="1689"/>
                      </a:lnTo>
                      <a:lnTo>
                        <a:pt x="433666" y="1447"/>
                      </a:lnTo>
                      <a:lnTo>
                        <a:pt x="433044" y="1689"/>
                      </a:lnTo>
                      <a:lnTo>
                        <a:pt x="432409" y="1397"/>
                      </a:lnTo>
                      <a:lnTo>
                        <a:pt x="432879" y="1041"/>
                      </a:lnTo>
                      <a:lnTo>
                        <a:pt x="431914" y="711"/>
                      </a:lnTo>
                      <a:lnTo>
                        <a:pt x="431888" y="0"/>
                      </a:lnTo>
                      <a:lnTo>
                        <a:pt x="429856" y="1689"/>
                      </a:lnTo>
                      <a:lnTo>
                        <a:pt x="430631" y="4127"/>
                      </a:lnTo>
                      <a:lnTo>
                        <a:pt x="428625" y="3048"/>
                      </a:lnTo>
                      <a:lnTo>
                        <a:pt x="429818" y="4864"/>
                      </a:lnTo>
                      <a:lnTo>
                        <a:pt x="431444" y="6426"/>
                      </a:lnTo>
                      <a:lnTo>
                        <a:pt x="432879" y="8051"/>
                      </a:lnTo>
                      <a:lnTo>
                        <a:pt x="434390" y="6908"/>
                      </a:lnTo>
                      <a:lnTo>
                        <a:pt x="433781" y="5803"/>
                      </a:lnTo>
                      <a:lnTo>
                        <a:pt x="433552" y="4127"/>
                      </a:lnTo>
                      <a:lnTo>
                        <a:pt x="433514" y="3822"/>
                      </a:lnTo>
                      <a:lnTo>
                        <a:pt x="433451" y="3365"/>
                      </a:lnTo>
                      <a:lnTo>
                        <a:pt x="433590" y="3162"/>
                      </a:lnTo>
                      <a:lnTo>
                        <a:pt x="433908" y="2717"/>
                      </a:lnTo>
                      <a:lnTo>
                        <a:pt x="434873" y="4241"/>
                      </a:lnTo>
                      <a:lnTo>
                        <a:pt x="435394" y="6845"/>
                      </a:lnTo>
                      <a:lnTo>
                        <a:pt x="437349" y="3822"/>
                      </a:lnTo>
                      <a:close/>
                    </a:path>
                    <a:path w="2471420" h="1259205">
                      <a:moveTo>
                        <a:pt x="475335" y="34061"/>
                      </a:moveTo>
                      <a:lnTo>
                        <a:pt x="474306" y="32829"/>
                      </a:lnTo>
                      <a:lnTo>
                        <a:pt x="472033" y="31064"/>
                      </a:lnTo>
                      <a:lnTo>
                        <a:pt x="471779" y="29692"/>
                      </a:lnTo>
                      <a:lnTo>
                        <a:pt x="469099" y="30670"/>
                      </a:lnTo>
                      <a:lnTo>
                        <a:pt x="465861" y="32372"/>
                      </a:lnTo>
                      <a:lnTo>
                        <a:pt x="462889" y="31826"/>
                      </a:lnTo>
                      <a:lnTo>
                        <a:pt x="464693" y="32715"/>
                      </a:lnTo>
                      <a:lnTo>
                        <a:pt x="470065" y="33718"/>
                      </a:lnTo>
                      <a:lnTo>
                        <a:pt x="468477" y="36880"/>
                      </a:lnTo>
                      <a:lnTo>
                        <a:pt x="470408" y="36588"/>
                      </a:lnTo>
                      <a:lnTo>
                        <a:pt x="473633" y="35052"/>
                      </a:lnTo>
                      <a:lnTo>
                        <a:pt x="475335" y="34061"/>
                      </a:lnTo>
                      <a:close/>
                    </a:path>
                    <a:path w="2471420" h="1259205">
                      <a:moveTo>
                        <a:pt x="480644" y="42087"/>
                      </a:moveTo>
                      <a:lnTo>
                        <a:pt x="478955" y="40208"/>
                      </a:lnTo>
                      <a:lnTo>
                        <a:pt x="475310" y="39700"/>
                      </a:lnTo>
                      <a:lnTo>
                        <a:pt x="473075" y="38950"/>
                      </a:lnTo>
                      <a:lnTo>
                        <a:pt x="467982" y="39573"/>
                      </a:lnTo>
                      <a:lnTo>
                        <a:pt x="462749" y="42557"/>
                      </a:lnTo>
                      <a:lnTo>
                        <a:pt x="462153" y="41910"/>
                      </a:lnTo>
                      <a:lnTo>
                        <a:pt x="459422" y="41262"/>
                      </a:lnTo>
                      <a:lnTo>
                        <a:pt x="459968" y="41630"/>
                      </a:lnTo>
                      <a:lnTo>
                        <a:pt x="460400" y="42062"/>
                      </a:lnTo>
                      <a:lnTo>
                        <a:pt x="460717" y="42608"/>
                      </a:lnTo>
                      <a:lnTo>
                        <a:pt x="462038" y="44843"/>
                      </a:lnTo>
                      <a:lnTo>
                        <a:pt x="460184" y="44018"/>
                      </a:lnTo>
                      <a:lnTo>
                        <a:pt x="459752" y="46075"/>
                      </a:lnTo>
                      <a:lnTo>
                        <a:pt x="459790" y="46240"/>
                      </a:lnTo>
                      <a:lnTo>
                        <a:pt x="461340" y="47155"/>
                      </a:lnTo>
                      <a:lnTo>
                        <a:pt x="464413" y="48082"/>
                      </a:lnTo>
                      <a:lnTo>
                        <a:pt x="464108" y="49631"/>
                      </a:lnTo>
                      <a:lnTo>
                        <a:pt x="460565" y="52768"/>
                      </a:lnTo>
                      <a:lnTo>
                        <a:pt x="463130" y="53962"/>
                      </a:lnTo>
                      <a:lnTo>
                        <a:pt x="464642" y="51231"/>
                      </a:lnTo>
                      <a:lnTo>
                        <a:pt x="465709" y="48336"/>
                      </a:lnTo>
                      <a:lnTo>
                        <a:pt x="466496" y="46672"/>
                      </a:lnTo>
                      <a:lnTo>
                        <a:pt x="470966" y="46520"/>
                      </a:lnTo>
                      <a:lnTo>
                        <a:pt x="474586" y="45377"/>
                      </a:lnTo>
                      <a:lnTo>
                        <a:pt x="474675" y="44475"/>
                      </a:lnTo>
                      <a:lnTo>
                        <a:pt x="477291" y="42151"/>
                      </a:lnTo>
                      <a:lnTo>
                        <a:pt x="478675" y="42684"/>
                      </a:lnTo>
                      <a:lnTo>
                        <a:pt x="480644" y="42087"/>
                      </a:lnTo>
                      <a:close/>
                    </a:path>
                    <a:path w="2471420" h="1259205">
                      <a:moveTo>
                        <a:pt x="871575" y="610908"/>
                      </a:moveTo>
                      <a:lnTo>
                        <a:pt x="871423" y="609625"/>
                      </a:lnTo>
                      <a:lnTo>
                        <a:pt x="871258" y="608584"/>
                      </a:lnTo>
                      <a:lnTo>
                        <a:pt x="870267" y="607504"/>
                      </a:lnTo>
                      <a:lnTo>
                        <a:pt x="871232" y="607364"/>
                      </a:lnTo>
                      <a:lnTo>
                        <a:pt x="871029" y="606983"/>
                      </a:lnTo>
                      <a:lnTo>
                        <a:pt x="870153" y="606399"/>
                      </a:lnTo>
                      <a:lnTo>
                        <a:pt x="869645" y="606831"/>
                      </a:lnTo>
                      <a:lnTo>
                        <a:pt x="868832" y="607555"/>
                      </a:lnTo>
                      <a:lnTo>
                        <a:pt x="870496" y="612825"/>
                      </a:lnTo>
                      <a:lnTo>
                        <a:pt x="870648" y="613740"/>
                      </a:lnTo>
                      <a:lnTo>
                        <a:pt x="871232" y="612571"/>
                      </a:lnTo>
                      <a:lnTo>
                        <a:pt x="871575" y="610908"/>
                      </a:lnTo>
                      <a:close/>
                    </a:path>
                    <a:path w="2471420" h="1259205">
                      <a:moveTo>
                        <a:pt x="1444625" y="671423"/>
                      </a:moveTo>
                      <a:lnTo>
                        <a:pt x="1444523" y="671169"/>
                      </a:lnTo>
                      <a:lnTo>
                        <a:pt x="1444282" y="671182"/>
                      </a:lnTo>
                      <a:lnTo>
                        <a:pt x="1444625" y="671423"/>
                      </a:lnTo>
                      <a:close/>
                    </a:path>
                    <a:path w="2471420" h="1259205">
                      <a:moveTo>
                        <a:pt x="1448447" y="667016"/>
                      </a:moveTo>
                      <a:lnTo>
                        <a:pt x="1446822" y="663384"/>
                      </a:lnTo>
                      <a:lnTo>
                        <a:pt x="1444358" y="658850"/>
                      </a:lnTo>
                      <a:lnTo>
                        <a:pt x="1441310" y="661695"/>
                      </a:lnTo>
                      <a:lnTo>
                        <a:pt x="1444320" y="662825"/>
                      </a:lnTo>
                      <a:lnTo>
                        <a:pt x="1444701" y="664387"/>
                      </a:lnTo>
                      <a:lnTo>
                        <a:pt x="1444701" y="668083"/>
                      </a:lnTo>
                      <a:lnTo>
                        <a:pt x="1444053" y="669696"/>
                      </a:lnTo>
                      <a:lnTo>
                        <a:pt x="1444320" y="670585"/>
                      </a:lnTo>
                      <a:lnTo>
                        <a:pt x="1444523" y="671169"/>
                      </a:lnTo>
                      <a:lnTo>
                        <a:pt x="1444701" y="671131"/>
                      </a:lnTo>
                      <a:lnTo>
                        <a:pt x="1446250" y="669950"/>
                      </a:lnTo>
                      <a:lnTo>
                        <a:pt x="1448447" y="667016"/>
                      </a:lnTo>
                      <a:close/>
                    </a:path>
                    <a:path w="2471420" h="1259205">
                      <a:moveTo>
                        <a:pt x="1452410" y="668616"/>
                      </a:moveTo>
                      <a:lnTo>
                        <a:pt x="1451610" y="665060"/>
                      </a:lnTo>
                      <a:lnTo>
                        <a:pt x="1450835" y="664248"/>
                      </a:lnTo>
                      <a:lnTo>
                        <a:pt x="1450759" y="663295"/>
                      </a:lnTo>
                      <a:lnTo>
                        <a:pt x="1450340" y="665467"/>
                      </a:lnTo>
                      <a:lnTo>
                        <a:pt x="1450136" y="667689"/>
                      </a:lnTo>
                      <a:lnTo>
                        <a:pt x="1449832" y="669886"/>
                      </a:lnTo>
                      <a:lnTo>
                        <a:pt x="1451063" y="668172"/>
                      </a:lnTo>
                      <a:lnTo>
                        <a:pt x="1452410" y="668616"/>
                      </a:lnTo>
                      <a:close/>
                    </a:path>
                    <a:path w="2471420" h="1259205">
                      <a:moveTo>
                        <a:pt x="1457998" y="664514"/>
                      </a:moveTo>
                      <a:lnTo>
                        <a:pt x="1456690" y="662889"/>
                      </a:lnTo>
                      <a:lnTo>
                        <a:pt x="1455724" y="661771"/>
                      </a:lnTo>
                      <a:lnTo>
                        <a:pt x="1455953" y="663194"/>
                      </a:lnTo>
                      <a:lnTo>
                        <a:pt x="1456385" y="664565"/>
                      </a:lnTo>
                      <a:lnTo>
                        <a:pt x="1456766" y="665949"/>
                      </a:lnTo>
                      <a:lnTo>
                        <a:pt x="1457998" y="664514"/>
                      </a:lnTo>
                      <a:close/>
                    </a:path>
                    <a:path w="2471420" h="1259205">
                      <a:moveTo>
                        <a:pt x="1461935" y="672465"/>
                      </a:moveTo>
                      <a:lnTo>
                        <a:pt x="1461630" y="673341"/>
                      </a:lnTo>
                      <a:lnTo>
                        <a:pt x="1461274" y="674243"/>
                      </a:lnTo>
                      <a:lnTo>
                        <a:pt x="1461198" y="675170"/>
                      </a:lnTo>
                      <a:lnTo>
                        <a:pt x="1461554" y="674293"/>
                      </a:lnTo>
                      <a:lnTo>
                        <a:pt x="1461706" y="673366"/>
                      </a:lnTo>
                      <a:lnTo>
                        <a:pt x="1461935" y="672465"/>
                      </a:lnTo>
                      <a:close/>
                    </a:path>
                    <a:path w="2471420" h="1259205">
                      <a:moveTo>
                        <a:pt x="1464678" y="677887"/>
                      </a:moveTo>
                      <a:lnTo>
                        <a:pt x="1462671" y="676402"/>
                      </a:lnTo>
                      <a:lnTo>
                        <a:pt x="1462824" y="674687"/>
                      </a:lnTo>
                      <a:lnTo>
                        <a:pt x="1462557" y="676122"/>
                      </a:lnTo>
                      <a:lnTo>
                        <a:pt x="1462354" y="677595"/>
                      </a:lnTo>
                      <a:lnTo>
                        <a:pt x="1462125" y="679043"/>
                      </a:lnTo>
                      <a:lnTo>
                        <a:pt x="1464678" y="677887"/>
                      </a:lnTo>
                      <a:close/>
                    </a:path>
                    <a:path w="2471420" h="1259205">
                      <a:moveTo>
                        <a:pt x="1543253" y="755421"/>
                      </a:moveTo>
                      <a:lnTo>
                        <a:pt x="1542910" y="754062"/>
                      </a:lnTo>
                      <a:lnTo>
                        <a:pt x="1542757" y="752741"/>
                      </a:lnTo>
                      <a:lnTo>
                        <a:pt x="1541627" y="753605"/>
                      </a:lnTo>
                      <a:lnTo>
                        <a:pt x="1541792" y="756208"/>
                      </a:lnTo>
                      <a:lnTo>
                        <a:pt x="1543138" y="756754"/>
                      </a:lnTo>
                      <a:lnTo>
                        <a:pt x="1543253" y="755421"/>
                      </a:lnTo>
                      <a:close/>
                    </a:path>
                    <a:path w="2471420" h="1259205">
                      <a:moveTo>
                        <a:pt x="1550581" y="821867"/>
                      </a:moveTo>
                      <a:lnTo>
                        <a:pt x="1549933" y="821372"/>
                      </a:lnTo>
                      <a:lnTo>
                        <a:pt x="1550085" y="822071"/>
                      </a:lnTo>
                      <a:lnTo>
                        <a:pt x="1550200" y="822769"/>
                      </a:lnTo>
                      <a:lnTo>
                        <a:pt x="1550365" y="823480"/>
                      </a:lnTo>
                      <a:lnTo>
                        <a:pt x="1550517" y="822642"/>
                      </a:lnTo>
                      <a:lnTo>
                        <a:pt x="1550581" y="821867"/>
                      </a:lnTo>
                      <a:close/>
                    </a:path>
                    <a:path w="2471420" h="1259205">
                      <a:moveTo>
                        <a:pt x="1551203" y="813663"/>
                      </a:moveTo>
                      <a:lnTo>
                        <a:pt x="1550936" y="812533"/>
                      </a:lnTo>
                      <a:lnTo>
                        <a:pt x="1550314" y="812977"/>
                      </a:lnTo>
                      <a:lnTo>
                        <a:pt x="1549933" y="813676"/>
                      </a:lnTo>
                      <a:lnTo>
                        <a:pt x="1549476" y="814324"/>
                      </a:lnTo>
                      <a:lnTo>
                        <a:pt x="1550200" y="813333"/>
                      </a:lnTo>
                      <a:lnTo>
                        <a:pt x="1551203" y="813663"/>
                      </a:lnTo>
                      <a:close/>
                    </a:path>
                    <a:path w="2471420" h="1259205">
                      <a:moveTo>
                        <a:pt x="1553133" y="845477"/>
                      </a:moveTo>
                      <a:lnTo>
                        <a:pt x="1552663" y="844905"/>
                      </a:lnTo>
                      <a:lnTo>
                        <a:pt x="1552321" y="845489"/>
                      </a:lnTo>
                      <a:lnTo>
                        <a:pt x="1552244" y="846963"/>
                      </a:lnTo>
                      <a:lnTo>
                        <a:pt x="1552625" y="846162"/>
                      </a:lnTo>
                      <a:lnTo>
                        <a:pt x="1553133" y="845477"/>
                      </a:lnTo>
                      <a:close/>
                    </a:path>
                    <a:path w="2471420" h="1259205">
                      <a:moveTo>
                        <a:pt x="1553629" y="847064"/>
                      </a:moveTo>
                      <a:lnTo>
                        <a:pt x="1553286" y="847471"/>
                      </a:lnTo>
                      <a:lnTo>
                        <a:pt x="1552968" y="847940"/>
                      </a:lnTo>
                      <a:lnTo>
                        <a:pt x="1552663" y="848372"/>
                      </a:lnTo>
                      <a:lnTo>
                        <a:pt x="1553248" y="847991"/>
                      </a:lnTo>
                      <a:lnTo>
                        <a:pt x="1553629" y="847483"/>
                      </a:lnTo>
                      <a:lnTo>
                        <a:pt x="1553629" y="847064"/>
                      </a:lnTo>
                      <a:close/>
                    </a:path>
                    <a:path w="2471420" h="1259205">
                      <a:moveTo>
                        <a:pt x="1554251" y="803554"/>
                      </a:moveTo>
                      <a:lnTo>
                        <a:pt x="1554175" y="802525"/>
                      </a:lnTo>
                      <a:lnTo>
                        <a:pt x="1553514" y="801941"/>
                      </a:lnTo>
                      <a:lnTo>
                        <a:pt x="1553362" y="800950"/>
                      </a:lnTo>
                      <a:lnTo>
                        <a:pt x="1553362" y="801903"/>
                      </a:lnTo>
                      <a:lnTo>
                        <a:pt x="1553489" y="802855"/>
                      </a:lnTo>
                      <a:lnTo>
                        <a:pt x="1553629" y="803808"/>
                      </a:lnTo>
                      <a:lnTo>
                        <a:pt x="1553705" y="804392"/>
                      </a:lnTo>
                      <a:lnTo>
                        <a:pt x="1554137" y="803935"/>
                      </a:lnTo>
                      <a:lnTo>
                        <a:pt x="1554251" y="803554"/>
                      </a:lnTo>
                      <a:close/>
                    </a:path>
                    <a:path w="2471420" h="1259205">
                      <a:moveTo>
                        <a:pt x="1554391" y="822490"/>
                      </a:moveTo>
                      <a:lnTo>
                        <a:pt x="1553857" y="821575"/>
                      </a:lnTo>
                      <a:lnTo>
                        <a:pt x="1553044" y="823112"/>
                      </a:lnTo>
                      <a:lnTo>
                        <a:pt x="1552587" y="824839"/>
                      </a:lnTo>
                      <a:lnTo>
                        <a:pt x="1552003" y="826477"/>
                      </a:lnTo>
                      <a:lnTo>
                        <a:pt x="1554086" y="826325"/>
                      </a:lnTo>
                      <a:lnTo>
                        <a:pt x="1553552" y="825474"/>
                      </a:lnTo>
                      <a:lnTo>
                        <a:pt x="1553743" y="823976"/>
                      </a:lnTo>
                      <a:lnTo>
                        <a:pt x="1553895" y="823010"/>
                      </a:lnTo>
                      <a:lnTo>
                        <a:pt x="1554391" y="822490"/>
                      </a:lnTo>
                      <a:close/>
                    </a:path>
                    <a:path w="2471420" h="1259205">
                      <a:moveTo>
                        <a:pt x="1557108" y="813168"/>
                      </a:moveTo>
                      <a:lnTo>
                        <a:pt x="1556791" y="809434"/>
                      </a:lnTo>
                      <a:lnTo>
                        <a:pt x="1554302" y="808774"/>
                      </a:lnTo>
                      <a:lnTo>
                        <a:pt x="1553921" y="810234"/>
                      </a:lnTo>
                      <a:lnTo>
                        <a:pt x="1554099" y="811771"/>
                      </a:lnTo>
                      <a:lnTo>
                        <a:pt x="1554099" y="813193"/>
                      </a:lnTo>
                      <a:lnTo>
                        <a:pt x="1557108" y="813168"/>
                      </a:lnTo>
                      <a:close/>
                    </a:path>
                    <a:path w="2471420" h="1259205">
                      <a:moveTo>
                        <a:pt x="1557794" y="822845"/>
                      </a:moveTo>
                      <a:lnTo>
                        <a:pt x="1557566" y="822083"/>
                      </a:lnTo>
                      <a:lnTo>
                        <a:pt x="1557553" y="821905"/>
                      </a:lnTo>
                      <a:lnTo>
                        <a:pt x="1557134" y="821283"/>
                      </a:lnTo>
                      <a:lnTo>
                        <a:pt x="1556296" y="821524"/>
                      </a:lnTo>
                      <a:lnTo>
                        <a:pt x="1554556" y="821626"/>
                      </a:lnTo>
                      <a:lnTo>
                        <a:pt x="1555343" y="823455"/>
                      </a:lnTo>
                      <a:lnTo>
                        <a:pt x="1555534" y="824115"/>
                      </a:lnTo>
                      <a:lnTo>
                        <a:pt x="1556219" y="824471"/>
                      </a:lnTo>
                      <a:lnTo>
                        <a:pt x="1556753" y="824915"/>
                      </a:lnTo>
                      <a:lnTo>
                        <a:pt x="1557185" y="825423"/>
                      </a:lnTo>
                      <a:lnTo>
                        <a:pt x="1557286" y="825055"/>
                      </a:lnTo>
                      <a:lnTo>
                        <a:pt x="1557794" y="822845"/>
                      </a:lnTo>
                      <a:close/>
                    </a:path>
                    <a:path w="2471420" h="1259205">
                      <a:moveTo>
                        <a:pt x="1621650" y="827201"/>
                      </a:moveTo>
                      <a:lnTo>
                        <a:pt x="1621078" y="828040"/>
                      </a:lnTo>
                      <a:lnTo>
                        <a:pt x="1620723" y="828916"/>
                      </a:lnTo>
                      <a:lnTo>
                        <a:pt x="1621459" y="829449"/>
                      </a:lnTo>
                      <a:lnTo>
                        <a:pt x="1621650" y="828725"/>
                      </a:lnTo>
                      <a:lnTo>
                        <a:pt x="1621612" y="827963"/>
                      </a:lnTo>
                      <a:lnTo>
                        <a:pt x="1621650" y="827201"/>
                      </a:lnTo>
                      <a:close/>
                    </a:path>
                    <a:path w="2471420" h="1259205">
                      <a:moveTo>
                        <a:pt x="2100465" y="1156157"/>
                      </a:moveTo>
                      <a:lnTo>
                        <a:pt x="2098916" y="1157008"/>
                      </a:lnTo>
                      <a:lnTo>
                        <a:pt x="2097570" y="1158176"/>
                      </a:lnTo>
                      <a:lnTo>
                        <a:pt x="2096185" y="1159217"/>
                      </a:lnTo>
                      <a:lnTo>
                        <a:pt x="2097112" y="1159014"/>
                      </a:lnTo>
                      <a:lnTo>
                        <a:pt x="2100160" y="1157325"/>
                      </a:lnTo>
                      <a:lnTo>
                        <a:pt x="2100465" y="1156157"/>
                      </a:lnTo>
                      <a:close/>
                    </a:path>
                    <a:path w="2471420" h="1259205">
                      <a:moveTo>
                        <a:pt x="2107438" y="1195044"/>
                      </a:moveTo>
                      <a:lnTo>
                        <a:pt x="2106866" y="1195616"/>
                      </a:lnTo>
                      <a:lnTo>
                        <a:pt x="2104974" y="1196073"/>
                      </a:lnTo>
                      <a:lnTo>
                        <a:pt x="2103158" y="1194663"/>
                      </a:lnTo>
                      <a:lnTo>
                        <a:pt x="2104047" y="1194447"/>
                      </a:lnTo>
                      <a:lnTo>
                        <a:pt x="2105126" y="1193152"/>
                      </a:lnTo>
                      <a:lnTo>
                        <a:pt x="2104974" y="1193114"/>
                      </a:lnTo>
                      <a:lnTo>
                        <a:pt x="2104821" y="1193126"/>
                      </a:lnTo>
                      <a:lnTo>
                        <a:pt x="2104656" y="1193088"/>
                      </a:lnTo>
                      <a:lnTo>
                        <a:pt x="2104898" y="1192453"/>
                      </a:lnTo>
                      <a:lnTo>
                        <a:pt x="2106777" y="1189672"/>
                      </a:lnTo>
                      <a:lnTo>
                        <a:pt x="2105622" y="1188669"/>
                      </a:lnTo>
                      <a:lnTo>
                        <a:pt x="2105545" y="1190459"/>
                      </a:lnTo>
                      <a:lnTo>
                        <a:pt x="2103551" y="1191082"/>
                      </a:lnTo>
                      <a:lnTo>
                        <a:pt x="2104009" y="1189278"/>
                      </a:lnTo>
                      <a:lnTo>
                        <a:pt x="2103742" y="1187805"/>
                      </a:lnTo>
                      <a:lnTo>
                        <a:pt x="2103272" y="1188224"/>
                      </a:lnTo>
                      <a:lnTo>
                        <a:pt x="2102459" y="1188466"/>
                      </a:lnTo>
                      <a:lnTo>
                        <a:pt x="2101735" y="1188313"/>
                      </a:lnTo>
                      <a:lnTo>
                        <a:pt x="2103577" y="1190625"/>
                      </a:lnTo>
                      <a:lnTo>
                        <a:pt x="2100186" y="1189621"/>
                      </a:lnTo>
                      <a:lnTo>
                        <a:pt x="2099500" y="1190675"/>
                      </a:lnTo>
                      <a:lnTo>
                        <a:pt x="2098573" y="1192060"/>
                      </a:lnTo>
                      <a:lnTo>
                        <a:pt x="2100694" y="1194435"/>
                      </a:lnTo>
                      <a:lnTo>
                        <a:pt x="2098802" y="1195666"/>
                      </a:lnTo>
                      <a:lnTo>
                        <a:pt x="2101494" y="1196136"/>
                      </a:lnTo>
                      <a:lnTo>
                        <a:pt x="2104275" y="1196886"/>
                      </a:lnTo>
                      <a:lnTo>
                        <a:pt x="2107057" y="1196873"/>
                      </a:lnTo>
                      <a:lnTo>
                        <a:pt x="2107019" y="1196174"/>
                      </a:lnTo>
                      <a:lnTo>
                        <a:pt x="2107158" y="1195641"/>
                      </a:lnTo>
                      <a:lnTo>
                        <a:pt x="2107438" y="1195044"/>
                      </a:lnTo>
                      <a:close/>
                    </a:path>
                    <a:path w="2471420" h="1259205">
                      <a:moveTo>
                        <a:pt x="2182444" y="1136078"/>
                      </a:moveTo>
                      <a:lnTo>
                        <a:pt x="2181745" y="1135557"/>
                      </a:lnTo>
                      <a:lnTo>
                        <a:pt x="2181555" y="1136180"/>
                      </a:lnTo>
                      <a:lnTo>
                        <a:pt x="2181517" y="1136853"/>
                      </a:lnTo>
                      <a:lnTo>
                        <a:pt x="2181555" y="1137500"/>
                      </a:lnTo>
                      <a:lnTo>
                        <a:pt x="2182177" y="1136840"/>
                      </a:lnTo>
                      <a:lnTo>
                        <a:pt x="2182444" y="1136078"/>
                      </a:lnTo>
                      <a:close/>
                    </a:path>
                    <a:path w="2471420" h="1259205">
                      <a:moveTo>
                        <a:pt x="2226551" y="786739"/>
                      </a:moveTo>
                      <a:lnTo>
                        <a:pt x="2226094" y="787031"/>
                      </a:lnTo>
                      <a:lnTo>
                        <a:pt x="2225700" y="787463"/>
                      </a:lnTo>
                      <a:lnTo>
                        <a:pt x="2225357" y="787908"/>
                      </a:lnTo>
                      <a:lnTo>
                        <a:pt x="2225852" y="787590"/>
                      </a:lnTo>
                      <a:lnTo>
                        <a:pt x="2226284" y="787222"/>
                      </a:lnTo>
                      <a:lnTo>
                        <a:pt x="2226551" y="786739"/>
                      </a:lnTo>
                      <a:close/>
                    </a:path>
                    <a:path w="2471420" h="1259205">
                      <a:moveTo>
                        <a:pt x="2231745" y="774484"/>
                      </a:moveTo>
                      <a:lnTo>
                        <a:pt x="2231593" y="773684"/>
                      </a:lnTo>
                      <a:lnTo>
                        <a:pt x="2231402" y="774496"/>
                      </a:lnTo>
                      <a:lnTo>
                        <a:pt x="2231402" y="775335"/>
                      </a:lnTo>
                      <a:lnTo>
                        <a:pt x="2231326" y="776173"/>
                      </a:lnTo>
                      <a:lnTo>
                        <a:pt x="2231593" y="775360"/>
                      </a:lnTo>
                      <a:lnTo>
                        <a:pt x="2231745" y="774484"/>
                      </a:lnTo>
                      <a:close/>
                    </a:path>
                    <a:path w="2471420" h="1259205">
                      <a:moveTo>
                        <a:pt x="2234107" y="771067"/>
                      </a:moveTo>
                      <a:lnTo>
                        <a:pt x="2233371" y="771804"/>
                      </a:lnTo>
                      <a:lnTo>
                        <a:pt x="2233282" y="772617"/>
                      </a:lnTo>
                      <a:lnTo>
                        <a:pt x="2232901" y="773557"/>
                      </a:lnTo>
                      <a:lnTo>
                        <a:pt x="2233282" y="772744"/>
                      </a:lnTo>
                      <a:lnTo>
                        <a:pt x="2233663" y="771944"/>
                      </a:lnTo>
                      <a:lnTo>
                        <a:pt x="2234069" y="771144"/>
                      </a:lnTo>
                      <a:close/>
                    </a:path>
                    <a:path w="2471420" h="1259205">
                      <a:moveTo>
                        <a:pt x="2234298" y="728421"/>
                      </a:moveTo>
                      <a:lnTo>
                        <a:pt x="2233777" y="728814"/>
                      </a:lnTo>
                      <a:lnTo>
                        <a:pt x="2233396" y="729310"/>
                      </a:lnTo>
                      <a:lnTo>
                        <a:pt x="2232990" y="729805"/>
                      </a:lnTo>
                      <a:lnTo>
                        <a:pt x="2232837" y="729996"/>
                      </a:lnTo>
                      <a:lnTo>
                        <a:pt x="2233041" y="729881"/>
                      </a:lnTo>
                      <a:lnTo>
                        <a:pt x="2233777" y="729399"/>
                      </a:lnTo>
                      <a:lnTo>
                        <a:pt x="2234298" y="729119"/>
                      </a:lnTo>
                      <a:lnTo>
                        <a:pt x="2234298" y="728421"/>
                      </a:lnTo>
                      <a:close/>
                    </a:path>
                    <a:path w="2471420" h="1259205">
                      <a:moveTo>
                        <a:pt x="2242248" y="1257020"/>
                      </a:moveTo>
                      <a:lnTo>
                        <a:pt x="2239734" y="1256411"/>
                      </a:lnTo>
                      <a:lnTo>
                        <a:pt x="2241054" y="1255064"/>
                      </a:lnTo>
                      <a:lnTo>
                        <a:pt x="2239937" y="1254620"/>
                      </a:lnTo>
                      <a:lnTo>
                        <a:pt x="2239276" y="1254937"/>
                      </a:lnTo>
                      <a:lnTo>
                        <a:pt x="2238121" y="1255217"/>
                      </a:lnTo>
                      <a:lnTo>
                        <a:pt x="2238819" y="1256550"/>
                      </a:lnTo>
                      <a:lnTo>
                        <a:pt x="2239937" y="1257668"/>
                      </a:lnTo>
                      <a:lnTo>
                        <a:pt x="2240864" y="1258849"/>
                      </a:lnTo>
                      <a:lnTo>
                        <a:pt x="2242248" y="1257020"/>
                      </a:lnTo>
                      <a:close/>
                    </a:path>
                    <a:path w="2471420" h="1259205">
                      <a:moveTo>
                        <a:pt x="2379383" y="1092631"/>
                      </a:moveTo>
                      <a:lnTo>
                        <a:pt x="2376957" y="1091819"/>
                      </a:lnTo>
                      <a:lnTo>
                        <a:pt x="2376068" y="1091031"/>
                      </a:lnTo>
                      <a:lnTo>
                        <a:pt x="2376144" y="1091819"/>
                      </a:lnTo>
                      <a:lnTo>
                        <a:pt x="2376373" y="1092581"/>
                      </a:lnTo>
                      <a:lnTo>
                        <a:pt x="2376538" y="1093355"/>
                      </a:lnTo>
                      <a:lnTo>
                        <a:pt x="2379383" y="1092631"/>
                      </a:lnTo>
                      <a:close/>
                    </a:path>
                    <a:path w="2471420" h="1259205">
                      <a:moveTo>
                        <a:pt x="2388717" y="1107567"/>
                      </a:moveTo>
                      <a:lnTo>
                        <a:pt x="2388641" y="1106106"/>
                      </a:lnTo>
                      <a:lnTo>
                        <a:pt x="2387752" y="1105090"/>
                      </a:lnTo>
                      <a:lnTo>
                        <a:pt x="2387752" y="1106347"/>
                      </a:lnTo>
                      <a:lnTo>
                        <a:pt x="2388146" y="1107605"/>
                      </a:lnTo>
                      <a:lnTo>
                        <a:pt x="2388374" y="1108837"/>
                      </a:lnTo>
                      <a:lnTo>
                        <a:pt x="2388717" y="1107567"/>
                      </a:lnTo>
                      <a:close/>
                    </a:path>
                    <a:path w="2471420" h="1259205">
                      <a:moveTo>
                        <a:pt x="2391841" y="1103172"/>
                      </a:moveTo>
                      <a:lnTo>
                        <a:pt x="2391003" y="1101648"/>
                      </a:lnTo>
                      <a:lnTo>
                        <a:pt x="2390838" y="1101369"/>
                      </a:lnTo>
                      <a:lnTo>
                        <a:pt x="2388539" y="1099896"/>
                      </a:lnTo>
                      <a:lnTo>
                        <a:pt x="2388108" y="1099731"/>
                      </a:lnTo>
                      <a:lnTo>
                        <a:pt x="2388108" y="1101585"/>
                      </a:lnTo>
                      <a:lnTo>
                        <a:pt x="2389263" y="1103490"/>
                      </a:lnTo>
                      <a:lnTo>
                        <a:pt x="2389924" y="1105179"/>
                      </a:lnTo>
                      <a:lnTo>
                        <a:pt x="2389886" y="1103312"/>
                      </a:lnTo>
                      <a:lnTo>
                        <a:pt x="2391841" y="1103172"/>
                      </a:lnTo>
                      <a:close/>
                    </a:path>
                    <a:path w="2471420" h="1259205">
                      <a:moveTo>
                        <a:pt x="2397391" y="1104925"/>
                      </a:moveTo>
                      <a:lnTo>
                        <a:pt x="2396121" y="1104125"/>
                      </a:lnTo>
                      <a:lnTo>
                        <a:pt x="2395042" y="1103464"/>
                      </a:lnTo>
                      <a:lnTo>
                        <a:pt x="2394470" y="1104074"/>
                      </a:lnTo>
                      <a:lnTo>
                        <a:pt x="2393683" y="1105039"/>
                      </a:lnTo>
                      <a:lnTo>
                        <a:pt x="2392616" y="1106385"/>
                      </a:lnTo>
                      <a:lnTo>
                        <a:pt x="2395550" y="1107579"/>
                      </a:lnTo>
                      <a:lnTo>
                        <a:pt x="2396312" y="1108075"/>
                      </a:lnTo>
                      <a:lnTo>
                        <a:pt x="2397201" y="1107122"/>
                      </a:lnTo>
                      <a:lnTo>
                        <a:pt x="2397391" y="1104925"/>
                      </a:lnTo>
                      <a:close/>
                    </a:path>
                    <a:path w="2471420" h="1259205">
                      <a:moveTo>
                        <a:pt x="2401024" y="1113891"/>
                      </a:moveTo>
                      <a:lnTo>
                        <a:pt x="2399830" y="1112278"/>
                      </a:lnTo>
                      <a:lnTo>
                        <a:pt x="2399246" y="1111529"/>
                      </a:lnTo>
                      <a:lnTo>
                        <a:pt x="2397785" y="1112697"/>
                      </a:lnTo>
                      <a:lnTo>
                        <a:pt x="2397518" y="1113332"/>
                      </a:lnTo>
                      <a:lnTo>
                        <a:pt x="2396871" y="1114755"/>
                      </a:lnTo>
                      <a:lnTo>
                        <a:pt x="2398407" y="1115326"/>
                      </a:lnTo>
                      <a:lnTo>
                        <a:pt x="2399677" y="1116457"/>
                      </a:lnTo>
                      <a:lnTo>
                        <a:pt x="2397556" y="1114259"/>
                      </a:lnTo>
                      <a:lnTo>
                        <a:pt x="2401024" y="1113891"/>
                      </a:lnTo>
                      <a:close/>
                    </a:path>
                    <a:path w="2471420" h="1259205">
                      <a:moveTo>
                        <a:pt x="2402789" y="1097076"/>
                      </a:moveTo>
                      <a:lnTo>
                        <a:pt x="2401633" y="1095946"/>
                      </a:lnTo>
                      <a:lnTo>
                        <a:pt x="2401290" y="1095616"/>
                      </a:lnTo>
                      <a:lnTo>
                        <a:pt x="2399550" y="1095959"/>
                      </a:lnTo>
                      <a:lnTo>
                        <a:pt x="2398357" y="1095235"/>
                      </a:lnTo>
                      <a:lnTo>
                        <a:pt x="2397201" y="1094371"/>
                      </a:lnTo>
                      <a:lnTo>
                        <a:pt x="2395575" y="1092555"/>
                      </a:lnTo>
                      <a:lnTo>
                        <a:pt x="2395956" y="1090942"/>
                      </a:lnTo>
                      <a:lnTo>
                        <a:pt x="2393226" y="1089279"/>
                      </a:lnTo>
                      <a:lnTo>
                        <a:pt x="2391880" y="1088898"/>
                      </a:lnTo>
                      <a:lnTo>
                        <a:pt x="2389873" y="1087475"/>
                      </a:lnTo>
                      <a:lnTo>
                        <a:pt x="2389454" y="1086751"/>
                      </a:lnTo>
                      <a:lnTo>
                        <a:pt x="2388374" y="1086383"/>
                      </a:lnTo>
                      <a:lnTo>
                        <a:pt x="2386901" y="1085926"/>
                      </a:lnTo>
                      <a:lnTo>
                        <a:pt x="2385745" y="1086142"/>
                      </a:lnTo>
                      <a:lnTo>
                        <a:pt x="2386673" y="1088542"/>
                      </a:lnTo>
                      <a:lnTo>
                        <a:pt x="2388412" y="1089113"/>
                      </a:lnTo>
                      <a:lnTo>
                        <a:pt x="2390216" y="1090714"/>
                      </a:lnTo>
                      <a:lnTo>
                        <a:pt x="2390991" y="1091996"/>
                      </a:lnTo>
                      <a:lnTo>
                        <a:pt x="2391994" y="1093177"/>
                      </a:lnTo>
                      <a:lnTo>
                        <a:pt x="2395194" y="1096048"/>
                      </a:lnTo>
                      <a:lnTo>
                        <a:pt x="2398433" y="1097064"/>
                      </a:lnTo>
                      <a:lnTo>
                        <a:pt x="2402789" y="1097076"/>
                      </a:lnTo>
                      <a:close/>
                    </a:path>
                    <a:path w="2471420" h="1259205">
                      <a:moveTo>
                        <a:pt x="2403017" y="1117422"/>
                      </a:moveTo>
                      <a:lnTo>
                        <a:pt x="2402598" y="1115580"/>
                      </a:lnTo>
                      <a:lnTo>
                        <a:pt x="2401976" y="1116088"/>
                      </a:lnTo>
                      <a:lnTo>
                        <a:pt x="2400668" y="1116126"/>
                      </a:lnTo>
                      <a:lnTo>
                        <a:pt x="2401405" y="1116672"/>
                      </a:lnTo>
                      <a:lnTo>
                        <a:pt x="2402243" y="1117015"/>
                      </a:lnTo>
                      <a:lnTo>
                        <a:pt x="2403017" y="1117422"/>
                      </a:lnTo>
                      <a:close/>
                    </a:path>
                    <a:path w="2471420" h="1259205">
                      <a:moveTo>
                        <a:pt x="2406840" y="1112037"/>
                      </a:moveTo>
                      <a:lnTo>
                        <a:pt x="2406421" y="1111211"/>
                      </a:lnTo>
                      <a:lnTo>
                        <a:pt x="2405100" y="1109383"/>
                      </a:lnTo>
                      <a:lnTo>
                        <a:pt x="2404453" y="1108430"/>
                      </a:lnTo>
                      <a:lnTo>
                        <a:pt x="2403449" y="1106487"/>
                      </a:lnTo>
                      <a:lnTo>
                        <a:pt x="2402408" y="1105979"/>
                      </a:lnTo>
                      <a:lnTo>
                        <a:pt x="2400566" y="1105090"/>
                      </a:lnTo>
                      <a:lnTo>
                        <a:pt x="2398636" y="1107122"/>
                      </a:lnTo>
                      <a:lnTo>
                        <a:pt x="2397785" y="1108608"/>
                      </a:lnTo>
                      <a:lnTo>
                        <a:pt x="2397391" y="1109230"/>
                      </a:lnTo>
                      <a:lnTo>
                        <a:pt x="2397087" y="1109941"/>
                      </a:lnTo>
                      <a:lnTo>
                        <a:pt x="2396934" y="1107960"/>
                      </a:lnTo>
                      <a:lnTo>
                        <a:pt x="2395626" y="1108252"/>
                      </a:lnTo>
                      <a:lnTo>
                        <a:pt x="2395842" y="1108595"/>
                      </a:lnTo>
                      <a:lnTo>
                        <a:pt x="2394623" y="1108633"/>
                      </a:lnTo>
                      <a:lnTo>
                        <a:pt x="2395131" y="1109421"/>
                      </a:lnTo>
                      <a:lnTo>
                        <a:pt x="2395740" y="1110107"/>
                      </a:lnTo>
                      <a:lnTo>
                        <a:pt x="2396363" y="1110830"/>
                      </a:lnTo>
                      <a:lnTo>
                        <a:pt x="2395931" y="1109764"/>
                      </a:lnTo>
                      <a:lnTo>
                        <a:pt x="2395893" y="1108659"/>
                      </a:lnTo>
                      <a:lnTo>
                        <a:pt x="2396058" y="1108900"/>
                      </a:lnTo>
                      <a:lnTo>
                        <a:pt x="2396591" y="1109484"/>
                      </a:lnTo>
                      <a:lnTo>
                        <a:pt x="2397099" y="1110094"/>
                      </a:lnTo>
                      <a:lnTo>
                        <a:pt x="2398433" y="1111084"/>
                      </a:lnTo>
                      <a:lnTo>
                        <a:pt x="2398788" y="1110195"/>
                      </a:lnTo>
                      <a:lnTo>
                        <a:pt x="2399830" y="1109814"/>
                      </a:lnTo>
                      <a:lnTo>
                        <a:pt x="2400871" y="1109624"/>
                      </a:lnTo>
                      <a:lnTo>
                        <a:pt x="2402598" y="1109903"/>
                      </a:lnTo>
                      <a:lnTo>
                        <a:pt x="2401747" y="1109827"/>
                      </a:lnTo>
                      <a:lnTo>
                        <a:pt x="2403183" y="1112977"/>
                      </a:lnTo>
                      <a:lnTo>
                        <a:pt x="2403335" y="1112507"/>
                      </a:lnTo>
                      <a:lnTo>
                        <a:pt x="2405418" y="1114120"/>
                      </a:lnTo>
                      <a:lnTo>
                        <a:pt x="2406840" y="1112037"/>
                      </a:lnTo>
                      <a:close/>
                    </a:path>
                    <a:path w="2471420" h="1259205">
                      <a:moveTo>
                        <a:pt x="2410256" y="1113764"/>
                      </a:moveTo>
                      <a:lnTo>
                        <a:pt x="2409621" y="1112710"/>
                      </a:lnTo>
                      <a:lnTo>
                        <a:pt x="2408009" y="1113370"/>
                      </a:lnTo>
                      <a:lnTo>
                        <a:pt x="2407081" y="1114107"/>
                      </a:lnTo>
                      <a:lnTo>
                        <a:pt x="2407475" y="1115161"/>
                      </a:lnTo>
                      <a:lnTo>
                        <a:pt x="2408351" y="1117028"/>
                      </a:lnTo>
                      <a:lnTo>
                        <a:pt x="2409621" y="1116215"/>
                      </a:lnTo>
                      <a:lnTo>
                        <a:pt x="2409939" y="1116012"/>
                      </a:lnTo>
                      <a:lnTo>
                        <a:pt x="2409431" y="1116215"/>
                      </a:lnTo>
                      <a:lnTo>
                        <a:pt x="2409926" y="1115161"/>
                      </a:lnTo>
                      <a:lnTo>
                        <a:pt x="2410180" y="1114120"/>
                      </a:lnTo>
                      <a:lnTo>
                        <a:pt x="2410256" y="1113764"/>
                      </a:lnTo>
                      <a:close/>
                    </a:path>
                    <a:path w="2471420" h="1259205">
                      <a:moveTo>
                        <a:pt x="2410472" y="1114120"/>
                      </a:moveTo>
                      <a:lnTo>
                        <a:pt x="2410282" y="1113764"/>
                      </a:lnTo>
                      <a:lnTo>
                        <a:pt x="2410472" y="1114120"/>
                      </a:lnTo>
                      <a:close/>
                    </a:path>
                    <a:path w="2471420" h="1259205">
                      <a:moveTo>
                        <a:pt x="2411692" y="1116558"/>
                      </a:moveTo>
                      <a:lnTo>
                        <a:pt x="2411539" y="1115847"/>
                      </a:lnTo>
                      <a:lnTo>
                        <a:pt x="2411387" y="1116545"/>
                      </a:lnTo>
                      <a:lnTo>
                        <a:pt x="2411311" y="1117244"/>
                      </a:lnTo>
                      <a:lnTo>
                        <a:pt x="2411196" y="1117955"/>
                      </a:lnTo>
                      <a:lnTo>
                        <a:pt x="2411539" y="1117307"/>
                      </a:lnTo>
                      <a:lnTo>
                        <a:pt x="2411692" y="1116558"/>
                      </a:lnTo>
                      <a:close/>
                    </a:path>
                    <a:path w="2471420" h="1259205">
                      <a:moveTo>
                        <a:pt x="2415984" y="1100963"/>
                      </a:moveTo>
                      <a:lnTo>
                        <a:pt x="2414752" y="1100416"/>
                      </a:lnTo>
                      <a:lnTo>
                        <a:pt x="2414435" y="1099591"/>
                      </a:lnTo>
                      <a:lnTo>
                        <a:pt x="2414359" y="1099362"/>
                      </a:lnTo>
                      <a:lnTo>
                        <a:pt x="2413978" y="1099058"/>
                      </a:lnTo>
                      <a:lnTo>
                        <a:pt x="2413254" y="1098638"/>
                      </a:lnTo>
                      <a:lnTo>
                        <a:pt x="2412669" y="1098410"/>
                      </a:lnTo>
                      <a:lnTo>
                        <a:pt x="2413254" y="1098816"/>
                      </a:lnTo>
                      <a:lnTo>
                        <a:pt x="2413863" y="1099197"/>
                      </a:lnTo>
                      <a:lnTo>
                        <a:pt x="2414193" y="1099426"/>
                      </a:lnTo>
                      <a:lnTo>
                        <a:pt x="2413050" y="1099820"/>
                      </a:lnTo>
                      <a:lnTo>
                        <a:pt x="2414016" y="1100251"/>
                      </a:lnTo>
                      <a:lnTo>
                        <a:pt x="2415019" y="1100607"/>
                      </a:lnTo>
                      <a:lnTo>
                        <a:pt x="2415984" y="1100963"/>
                      </a:lnTo>
                      <a:close/>
                    </a:path>
                    <a:path w="2471420" h="1259205">
                      <a:moveTo>
                        <a:pt x="2435606" y="1113764"/>
                      </a:moveTo>
                      <a:lnTo>
                        <a:pt x="2435301" y="1113243"/>
                      </a:lnTo>
                      <a:lnTo>
                        <a:pt x="2435072" y="1113015"/>
                      </a:lnTo>
                      <a:lnTo>
                        <a:pt x="2434844" y="1112418"/>
                      </a:lnTo>
                      <a:lnTo>
                        <a:pt x="2434767" y="1112177"/>
                      </a:lnTo>
                      <a:lnTo>
                        <a:pt x="2433993" y="1112278"/>
                      </a:lnTo>
                      <a:lnTo>
                        <a:pt x="2433917" y="1111669"/>
                      </a:lnTo>
                      <a:lnTo>
                        <a:pt x="2434767" y="1111186"/>
                      </a:lnTo>
                      <a:lnTo>
                        <a:pt x="2434501" y="1110411"/>
                      </a:lnTo>
                      <a:lnTo>
                        <a:pt x="2432951" y="1108671"/>
                      </a:lnTo>
                      <a:lnTo>
                        <a:pt x="2431173" y="1108075"/>
                      </a:lnTo>
                      <a:lnTo>
                        <a:pt x="2428481" y="1105750"/>
                      </a:lnTo>
                      <a:lnTo>
                        <a:pt x="2427287" y="1105420"/>
                      </a:lnTo>
                      <a:lnTo>
                        <a:pt x="2425090" y="1104417"/>
                      </a:lnTo>
                      <a:lnTo>
                        <a:pt x="2424734" y="1104747"/>
                      </a:lnTo>
                      <a:lnTo>
                        <a:pt x="2423388" y="1104061"/>
                      </a:lnTo>
                      <a:lnTo>
                        <a:pt x="2422550" y="1102982"/>
                      </a:lnTo>
                      <a:lnTo>
                        <a:pt x="2419426" y="1100251"/>
                      </a:lnTo>
                      <a:lnTo>
                        <a:pt x="2414981" y="1098969"/>
                      </a:lnTo>
                      <a:lnTo>
                        <a:pt x="2414638" y="1099807"/>
                      </a:lnTo>
                      <a:lnTo>
                        <a:pt x="2415260" y="1099781"/>
                      </a:lnTo>
                      <a:lnTo>
                        <a:pt x="2415641" y="1100404"/>
                      </a:lnTo>
                      <a:lnTo>
                        <a:pt x="2416365" y="1100569"/>
                      </a:lnTo>
                      <a:lnTo>
                        <a:pt x="2417102" y="1101572"/>
                      </a:lnTo>
                      <a:lnTo>
                        <a:pt x="2416645" y="1101979"/>
                      </a:lnTo>
                      <a:lnTo>
                        <a:pt x="2417419" y="1103007"/>
                      </a:lnTo>
                      <a:lnTo>
                        <a:pt x="2417991" y="1103045"/>
                      </a:lnTo>
                      <a:lnTo>
                        <a:pt x="2420302" y="1104887"/>
                      </a:lnTo>
                      <a:lnTo>
                        <a:pt x="2421623" y="1106373"/>
                      </a:lnTo>
                      <a:lnTo>
                        <a:pt x="2424239" y="1107605"/>
                      </a:lnTo>
                      <a:lnTo>
                        <a:pt x="2428214" y="1109789"/>
                      </a:lnTo>
                      <a:lnTo>
                        <a:pt x="2431110" y="1111427"/>
                      </a:lnTo>
                      <a:lnTo>
                        <a:pt x="2431402" y="1112189"/>
                      </a:lnTo>
                      <a:lnTo>
                        <a:pt x="2432024" y="1113002"/>
                      </a:lnTo>
                      <a:lnTo>
                        <a:pt x="2432481" y="1113777"/>
                      </a:lnTo>
                      <a:lnTo>
                        <a:pt x="2431986" y="1112723"/>
                      </a:lnTo>
                      <a:lnTo>
                        <a:pt x="2432253" y="1112050"/>
                      </a:lnTo>
                      <a:lnTo>
                        <a:pt x="2435606" y="1113764"/>
                      </a:lnTo>
                      <a:close/>
                    </a:path>
                    <a:path w="2471420" h="1259205">
                      <a:moveTo>
                        <a:pt x="2441816" y="1120114"/>
                      </a:moveTo>
                      <a:lnTo>
                        <a:pt x="2439352" y="1119835"/>
                      </a:lnTo>
                      <a:lnTo>
                        <a:pt x="2438349" y="1120876"/>
                      </a:lnTo>
                      <a:lnTo>
                        <a:pt x="2439162" y="1121384"/>
                      </a:lnTo>
                      <a:lnTo>
                        <a:pt x="2440038" y="1121765"/>
                      </a:lnTo>
                      <a:lnTo>
                        <a:pt x="2440889" y="1122197"/>
                      </a:lnTo>
                      <a:lnTo>
                        <a:pt x="2441816" y="1120114"/>
                      </a:lnTo>
                      <a:close/>
                    </a:path>
                    <a:path w="2471420" h="1259205">
                      <a:moveTo>
                        <a:pt x="2444204" y="1123492"/>
                      </a:moveTo>
                      <a:lnTo>
                        <a:pt x="2442095" y="1120279"/>
                      </a:lnTo>
                      <a:lnTo>
                        <a:pt x="2440622" y="1123124"/>
                      </a:lnTo>
                      <a:lnTo>
                        <a:pt x="2444204" y="1123492"/>
                      </a:lnTo>
                      <a:close/>
                    </a:path>
                    <a:path w="2471420" h="1259205">
                      <a:moveTo>
                        <a:pt x="2446286" y="1160157"/>
                      </a:moveTo>
                      <a:lnTo>
                        <a:pt x="2441740" y="1158379"/>
                      </a:lnTo>
                      <a:lnTo>
                        <a:pt x="2440775" y="1157897"/>
                      </a:lnTo>
                      <a:lnTo>
                        <a:pt x="2439695" y="1157376"/>
                      </a:lnTo>
                      <a:lnTo>
                        <a:pt x="2437688" y="1155585"/>
                      </a:lnTo>
                      <a:lnTo>
                        <a:pt x="2436723" y="1156423"/>
                      </a:lnTo>
                      <a:lnTo>
                        <a:pt x="2439073" y="1158290"/>
                      </a:lnTo>
                      <a:lnTo>
                        <a:pt x="2441740" y="1159827"/>
                      </a:lnTo>
                      <a:lnTo>
                        <a:pt x="2444242" y="1161478"/>
                      </a:lnTo>
                      <a:lnTo>
                        <a:pt x="2446286" y="1160157"/>
                      </a:lnTo>
                      <a:close/>
                    </a:path>
                    <a:path w="2471420" h="1259205">
                      <a:moveTo>
                        <a:pt x="2448522" y="1132052"/>
                      </a:moveTo>
                      <a:lnTo>
                        <a:pt x="2448102" y="1130757"/>
                      </a:lnTo>
                      <a:lnTo>
                        <a:pt x="2447442" y="1130528"/>
                      </a:lnTo>
                      <a:lnTo>
                        <a:pt x="2447328" y="1130388"/>
                      </a:lnTo>
                      <a:lnTo>
                        <a:pt x="2446210" y="1128864"/>
                      </a:lnTo>
                      <a:lnTo>
                        <a:pt x="2445435" y="1128242"/>
                      </a:lnTo>
                      <a:lnTo>
                        <a:pt x="2443543" y="1126617"/>
                      </a:lnTo>
                      <a:lnTo>
                        <a:pt x="2441740" y="1126299"/>
                      </a:lnTo>
                      <a:lnTo>
                        <a:pt x="2438844" y="1126261"/>
                      </a:lnTo>
                      <a:lnTo>
                        <a:pt x="2438463" y="1126464"/>
                      </a:lnTo>
                      <a:lnTo>
                        <a:pt x="2436114" y="1126058"/>
                      </a:lnTo>
                      <a:lnTo>
                        <a:pt x="2432837" y="1122400"/>
                      </a:lnTo>
                      <a:lnTo>
                        <a:pt x="2431402" y="1124953"/>
                      </a:lnTo>
                      <a:lnTo>
                        <a:pt x="2430742" y="1126185"/>
                      </a:lnTo>
                      <a:lnTo>
                        <a:pt x="2431783" y="1127937"/>
                      </a:lnTo>
                      <a:lnTo>
                        <a:pt x="2433523" y="1131150"/>
                      </a:lnTo>
                      <a:lnTo>
                        <a:pt x="2434945" y="1131938"/>
                      </a:lnTo>
                      <a:lnTo>
                        <a:pt x="2438958" y="1132281"/>
                      </a:lnTo>
                      <a:lnTo>
                        <a:pt x="2440584" y="1131735"/>
                      </a:lnTo>
                      <a:lnTo>
                        <a:pt x="2442476" y="1132382"/>
                      </a:lnTo>
                      <a:lnTo>
                        <a:pt x="2442819" y="1133005"/>
                      </a:lnTo>
                      <a:lnTo>
                        <a:pt x="2444089" y="1133513"/>
                      </a:lnTo>
                      <a:lnTo>
                        <a:pt x="2445397" y="1133551"/>
                      </a:lnTo>
                      <a:lnTo>
                        <a:pt x="2446286" y="1133894"/>
                      </a:lnTo>
                      <a:lnTo>
                        <a:pt x="2447252" y="1132865"/>
                      </a:lnTo>
                      <a:lnTo>
                        <a:pt x="2448522" y="1132052"/>
                      </a:lnTo>
                      <a:close/>
                    </a:path>
                    <a:path w="2471420" h="1259205">
                      <a:moveTo>
                        <a:pt x="2457043" y="1128623"/>
                      </a:moveTo>
                      <a:lnTo>
                        <a:pt x="2456891" y="1128001"/>
                      </a:lnTo>
                      <a:lnTo>
                        <a:pt x="2456662" y="1127353"/>
                      </a:lnTo>
                      <a:lnTo>
                        <a:pt x="2456548" y="1126921"/>
                      </a:lnTo>
                      <a:lnTo>
                        <a:pt x="2456002" y="1126312"/>
                      </a:lnTo>
                      <a:lnTo>
                        <a:pt x="2455354" y="1124877"/>
                      </a:lnTo>
                      <a:lnTo>
                        <a:pt x="2455507" y="1124839"/>
                      </a:lnTo>
                      <a:lnTo>
                        <a:pt x="2455037" y="1122832"/>
                      </a:lnTo>
                      <a:lnTo>
                        <a:pt x="2454656" y="1121498"/>
                      </a:lnTo>
                      <a:lnTo>
                        <a:pt x="2453576" y="1119822"/>
                      </a:lnTo>
                      <a:lnTo>
                        <a:pt x="2452738" y="1119238"/>
                      </a:lnTo>
                      <a:lnTo>
                        <a:pt x="2451493" y="1117396"/>
                      </a:lnTo>
                      <a:lnTo>
                        <a:pt x="2451570" y="1115098"/>
                      </a:lnTo>
                      <a:lnTo>
                        <a:pt x="2449296" y="1112367"/>
                      </a:lnTo>
                      <a:lnTo>
                        <a:pt x="2448763" y="1110615"/>
                      </a:lnTo>
                      <a:lnTo>
                        <a:pt x="2447404" y="1110361"/>
                      </a:lnTo>
                      <a:lnTo>
                        <a:pt x="2447442" y="1110602"/>
                      </a:lnTo>
                      <a:lnTo>
                        <a:pt x="2447442" y="1111110"/>
                      </a:lnTo>
                      <a:lnTo>
                        <a:pt x="2444204" y="1110145"/>
                      </a:lnTo>
                      <a:lnTo>
                        <a:pt x="2445829" y="1111173"/>
                      </a:lnTo>
                      <a:lnTo>
                        <a:pt x="2446680" y="1112659"/>
                      </a:lnTo>
                      <a:lnTo>
                        <a:pt x="2447442" y="1114107"/>
                      </a:lnTo>
                      <a:lnTo>
                        <a:pt x="2446832" y="1113929"/>
                      </a:lnTo>
                      <a:lnTo>
                        <a:pt x="2446591" y="1116812"/>
                      </a:lnTo>
                      <a:lnTo>
                        <a:pt x="2448445" y="1121156"/>
                      </a:lnTo>
                      <a:lnTo>
                        <a:pt x="2449449" y="1122426"/>
                      </a:lnTo>
                      <a:lnTo>
                        <a:pt x="2451887" y="1124750"/>
                      </a:lnTo>
                      <a:lnTo>
                        <a:pt x="2454275" y="1127213"/>
                      </a:lnTo>
                      <a:lnTo>
                        <a:pt x="2456891" y="1129334"/>
                      </a:lnTo>
                      <a:lnTo>
                        <a:pt x="2457043" y="1128623"/>
                      </a:lnTo>
                      <a:close/>
                    </a:path>
                    <a:path w="2471420" h="1259205">
                      <a:moveTo>
                        <a:pt x="2459405" y="1131836"/>
                      </a:moveTo>
                      <a:lnTo>
                        <a:pt x="2459291" y="1129271"/>
                      </a:lnTo>
                      <a:lnTo>
                        <a:pt x="2458555" y="1126985"/>
                      </a:lnTo>
                      <a:lnTo>
                        <a:pt x="2456548" y="1125258"/>
                      </a:lnTo>
                      <a:lnTo>
                        <a:pt x="2457399" y="1127493"/>
                      </a:lnTo>
                      <a:lnTo>
                        <a:pt x="2458440" y="1129652"/>
                      </a:lnTo>
                      <a:lnTo>
                        <a:pt x="2459405" y="1131836"/>
                      </a:lnTo>
                      <a:close/>
                    </a:path>
                    <a:path w="2471420" h="1259205">
                      <a:moveTo>
                        <a:pt x="2465374" y="1131849"/>
                      </a:moveTo>
                      <a:lnTo>
                        <a:pt x="2465298" y="1130985"/>
                      </a:lnTo>
                      <a:lnTo>
                        <a:pt x="2465260" y="1130287"/>
                      </a:lnTo>
                      <a:lnTo>
                        <a:pt x="2464993" y="1131049"/>
                      </a:lnTo>
                      <a:lnTo>
                        <a:pt x="2465260" y="1131798"/>
                      </a:lnTo>
                      <a:lnTo>
                        <a:pt x="2465374" y="1132611"/>
                      </a:lnTo>
                      <a:lnTo>
                        <a:pt x="2465374" y="1131849"/>
                      </a:lnTo>
                      <a:close/>
                    </a:path>
                    <a:path w="2471420" h="1259205">
                      <a:moveTo>
                        <a:pt x="2471356" y="1146924"/>
                      </a:moveTo>
                      <a:lnTo>
                        <a:pt x="2470543" y="1145019"/>
                      </a:lnTo>
                      <a:lnTo>
                        <a:pt x="2468727" y="1143063"/>
                      </a:lnTo>
                      <a:lnTo>
                        <a:pt x="2467381" y="1141476"/>
                      </a:lnTo>
                      <a:lnTo>
                        <a:pt x="2466644" y="1140663"/>
                      </a:lnTo>
                      <a:lnTo>
                        <a:pt x="2466924" y="1141818"/>
                      </a:lnTo>
                      <a:lnTo>
                        <a:pt x="2466302" y="1141641"/>
                      </a:lnTo>
                      <a:lnTo>
                        <a:pt x="2464219" y="1141082"/>
                      </a:lnTo>
                      <a:lnTo>
                        <a:pt x="2462174" y="1139901"/>
                      </a:lnTo>
                      <a:lnTo>
                        <a:pt x="2459393" y="1138669"/>
                      </a:lnTo>
                      <a:lnTo>
                        <a:pt x="2457780" y="1137526"/>
                      </a:lnTo>
                      <a:lnTo>
                        <a:pt x="2455392" y="1137767"/>
                      </a:lnTo>
                      <a:lnTo>
                        <a:pt x="2455011" y="1138974"/>
                      </a:lnTo>
                      <a:lnTo>
                        <a:pt x="2456192" y="1139748"/>
                      </a:lnTo>
                      <a:lnTo>
                        <a:pt x="2456510" y="1139926"/>
                      </a:lnTo>
                      <a:lnTo>
                        <a:pt x="2457627" y="1139444"/>
                      </a:lnTo>
                      <a:lnTo>
                        <a:pt x="2458123" y="1139837"/>
                      </a:lnTo>
                      <a:lnTo>
                        <a:pt x="2458936" y="1140421"/>
                      </a:lnTo>
                      <a:lnTo>
                        <a:pt x="2458783" y="1142250"/>
                      </a:lnTo>
                      <a:lnTo>
                        <a:pt x="2459901" y="1143317"/>
                      </a:lnTo>
                      <a:lnTo>
                        <a:pt x="2460637" y="1143635"/>
                      </a:lnTo>
                      <a:lnTo>
                        <a:pt x="2461869" y="1144625"/>
                      </a:lnTo>
                      <a:lnTo>
                        <a:pt x="2462758" y="1145197"/>
                      </a:lnTo>
                      <a:lnTo>
                        <a:pt x="2464612" y="1145857"/>
                      </a:lnTo>
                      <a:lnTo>
                        <a:pt x="2465794" y="1146327"/>
                      </a:lnTo>
                      <a:lnTo>
                        <a:pt x="2468156" y="1146581"/>
                      </a:lnTo>
                      <a:lnTo>
                        <a:pt x="2469921" y="1147165"/>
                      </a:lnTo>
                      <a:lnTo>
                        <a:pt x="2471356" y="1146924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56" name="object 96">
                  <a:extLst>
                    <a:ext uri="{FF2B5EF4-FFF2-40B4-BE49-F238E27FC236}">
                      <a16:creationId xmlns:a16="http://schemas.microsoft.com/office/drawing/2014/main" id="{BAB03140-7047-269A-D4C4-2561F2ACFD47}"/>
                    </a:ext>
                  </a:extLst>
                </p:cNvPr>
                <p:cNvSpPr/>
                <p:nvPr/>
              </p:nvSpPr>
              <p:spPr>
                <a:xfrm>
                  <a:off x="4860354" y="3489003"/>
                  <a:ext cx="6985" cy="38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85" h="3810">
                      <a:moveTo>
                        <a:pt x="6057" y="0"/>
                      </a:moveTo>
                      <a:lnTo>
                        <a:pt x="4394" y="812"/>
                      </a:lnTo>
                      <a:lnTo>
                        <a:pt x="2628" y="1142"/>
                      </a:lnTo>
                      <a:lnTo>
                        <a:pt x="1587" y="1333"/>
                      </a:lnTo>
                      <a:lnTo>
                        <a:pt x="965" y="876"/>
                      </a:lnTo>
                      <a:lnTo>
                        <a:pt x="0" y="1701"/>
                      </a:lnTo>
                      <a:lnTo>
                        <a:pt x="1549" y="2539"/>
                      </a:lnTo>
                      <a:lnTo>
                        <a:pt x="3251" y="3073"/>
                      </a:lnTo>
                      <a:lnTo>
                        <a:pt x="4825" y="3708"/>
                      </a:lnTo>
                      <a:lnTo>
                        <a:pt x="5791" y="3365"/>
                      </a:lnTo>
                      <a:lnTo>
                        <a:pt x="6019" y="2641"/>
                      </a:lnTo>
                      <a:lnTo>
                        <a:pt x="6756" y="2679"/>
                      </a:lnTo>
                      <a:lnTo>
                        <a:pt x="6057" y="0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57" name="object 97">
                  <a:extLst>
                    <a:ext uri="{FF2B5EF4-FFF2-40B4-BE49-F238E27FC236}">
                      <a16:creationId xmlns:a16="http://schemas.microsoft.com/office/drawing/2014/main" id="{1DCF69B3-DBF7-95E1-B82D-0B120AFC1D2C}"/>
                    </a:ext>
                  </a:extLst>
                </p:cNvPr>
                <p:cNvSpPr/>
                <p:nvPr/>
              </p:nvSpPr>
              <p:spPr>
                <a:xfrm>
                  <a:off x="4638065" y="3037027"/>
                  <a:ext cx="236220" cy="1352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6220" h="135255">
                      <a:moveTo>
                        <a:pt x="2273" y="3810"/>
                      </a:moveTo>
                      <a:lnTo>
                        <a:pt x="1968" y="2743"/>
                      </a:lnTo>
                      <a:lnTo>
                        <a:pt x="1892" y="2209"/>
                      </a:lnTo>
                      <a:lnTo>
                        <a:pt x="1816" y="1524"/>
                      </a:lnTo>
                      <a:lnTo>
                        <a:pt x="1422" y="723"/>
                      </a:lnTo>
                      <a:lnTo>
                        <a:pt x="1727" y="0"/>
                      </a:lnTo>
                      <a:lnTo>
                        <a:pt x="1193" y="266"/>
                      </a:lnTo>
                      <a:lnTo>
                        <a:pt x="584" y="533"/>
                      </a:lnTo>
                      <a:lnTo>
                        <a:pt x="0" y="762"/>
                      </a:lnTo>
                      <a:lnTo>
                        <a:pt x="419" y="2349"/>
                      </a:lnTo>
                      <a:lnTo>
                        <a:pt x="1155" y="3848"/>
                      </a:lnTo>
                      <a:lnTo>
                        <a:pt x="1778" y="5359"/>
                      </a:lnTo>
                      <a:lnTo>
                        <a:pt x="2273" y="3810"/>
                      </a:lnTo>
                      <a:close/>
                    </a:path>
                    <a:path w="236220" h="135255">
                      <a:moveTo>
                        <a:pt x="236207" y="133223"/>
                      </a:moveTo>
                      <a:lnTo>
                        <a:pt x="235940" y="133781"/>
                      </a:lnTo>
                      <a:lnTo>
                        <a:pt x="235712" y="134429"/>
                      </a:lnTo>
                      <a:lnTo>
                        <a:pt x="235546" y="135064"/>
                      </a:lnTo>
                      <a:lnTo>
                        <a:pt x="235864" y="134480"/>
                      </a:lnTo>
                      <a:lnTo>
                        <a:pt x="236131" y="133832"/>
                      </a:lnTo>
                      <a:lnTo>
                        <a:pt x="236207" y="133223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58" name="object 98">
                  <a:extLst>
                    <a:ext uri="{FF2B5EF4-FFF2-40B4-BE49-F238E27FC236}">
                      <a16:creationId xmlns:a16="http://schemas.microsoft.com/office/drawing/2014/main" id="{9AD2ECD7-8070-08C1-CE47-620B77543061}"/>
                    </a:ext>
                  </a:extLst>
                </p:cNvPr>
                <p:cNvSpPr/>
                <p:nvPr/>
              </p:nvSpPr>
              <p:spPr>
                <a:xfrm>
                  <a:off x="4695413" y="3410948"/>
                  <a:ext cx="24130" cy="82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129" h="8254">
                      <a:moveTo>
                        <a:pt x="16090" y="5943"/>
                      </a:moveTo>
                      <a:lnTo>
                        <a:pt x="12217" y="5943"/>
                      </a:lnTo>
                      <a:lnTo>
                        <a:pt x="13754" y="8077"/>
                      </a:lnTo>
                      <a:lnTo>
                        <a:pt x="15109" y="7035"/>
                      </a:lnTo>
                      <a:lnTo>
                        <a:pt x="16090" y="5943"/>
                      </a:lnTo>
                      <a:close/>
                    </a:path>
                    <a:path w="24129" h="8254">
                      <a:moveTo>
                        <a:pt x="3543" y="7569"/>
                      </a:moveTo>
                      <a:lnTo>
                        <a:pt x="4089" y="7823"/>
                      </a:lnTo>
                      <a:lnTo>
                        <a:pt x="3612" y="7581"/>
                      </a:lnTo>
                      <a:close/>
                    </a:path>
                    <a:path w="24129" h="8254">
                      <a:moveTo>
                        <a:pt x="15151" y="0"/>
                      </a:moveTo>
                      <a:lnTo>
                        <a:pt x="12445" y="139"/>
                      </a:lnTo>
                      <a:lnTo>
                        <a:pt x="10706" y="368"/>
                      </a:lnTo>
                      <a:lnTo>
                        <a:pt x="9169" y="1346"/>
                      </a:lnTo>
                      <a:lnTo>
                        <a:pt x="6362" y="1955"/>
                      </a:lnTo>
                      <a:lnTo>
                        <a:pt x="4813" y="2184"/>
                      </a:lnTo>
                      <a:lnTo>
                        <a:pt x="1422" y="3060"/>
                      </a:lnTo>
                      <a:lnTo>
                        <a:pt x="0" y="4254"/>
                      </a:lnTo>
                      <a:lnTo>
                        <a:pt x="1539" y="6121"/>
                      </a:lnTo>
                      <a:lnTo>
                        <a:pt x="3035" y="7289"/>
                      </a:lnTo>
                      <a:lnTo>
                        <a:pt x="3587" y="7569"/>
                      </a:lnTo>
                      <a:lnTo>
                        <a:pt x="6045" y="7581"/>
                      </a:lnTo>
                      <a:lnTo>
                        <a:pt x="7746" y="7772"/>
                      </a:lnTo>
                      <a:lnTo>
                        <a:pt x="10515" y="7035"/>
                      </a:lnTo>
                      <a:lnTo>
                        <a:pt x="12217" y="5943"/>
                      </a:lnTo>
                      <a:lnTo>
                        <a:pt x="16090" y="5943"/>
                      </a:lnTo>
                      <a:lnTo>
                        <a:pt x="16535" y="5448"/>
                      </a:lnTo>
                      <a:lnTo>
                        <a:pt x="19850" y="4292"/>
                      </a:lnTo>
                      <a:lnTo>
                        <a:pt x="23560" y="4292"/>
                      </a:lnTo>
                      <a:lnTo>
                        <a:pt x="23012" y="3822"/>
                      </a:lnTo>
                      <a:lnTo>
                        <a:pt x="18694" y="3771"/>
                      </a:lnTo>
                      <a:lnTo>
                        <a:pt x="18584" y="3060"/>
                      </a:lnTo>
                      <a:lnTo>
                        <a:pt x="18280" y="2794"/>
                      </a:lnTo>
                      <a:lnTo>
                        <a:pt x="17576" y="2794"/>
                      </a:lnTo>
                      <a:lnTo>
                        <a:pt x="16992" y="2133"/>
                      </a:lnTo>
                      <a:lnTo>
                        <a:pt x="16078" y="1041"/>
                      </a:lnTo>
                      <a:lnTo>
                        <a:pt x="16916" y="533"/>
                      </a:lnTo>
                      <a:lnTo>
                        <a:pt x="15151" y="0"/>
                      </a:lnTo>
                      <a:close/>
                    </a:path>
                    <a:path w="24129" h="8254">
                      <a:moveTo>
                        <a:pt x="23560" y="4292"/>
                      </a:moveTo>
                      <a:lnTo>
                        <a:pt x="19850" y="4292"/>
                      </a:lnTo>
                      <a:lnTo>
                        <a:pt x="21818" y="4648"/>
                      </a:lnTo>
                      <a:lnTo>
                        <a:pt x="23634" y="4356"/>
                      </a:lnTo>
                      <a:close/>
                    </a:path>
                    <a:path w="24129" h="8254">
                      <a:moveTo>
                        <a:pt x="20307" y="2260"/>
                      </a:moveTo>
                      <a:lnTo>
                        <a:pt x="20662" y="3581"/>
                      </a:lnTo>
                      <a:lnTo>
                        <a:pt x="18694" y="3771"/>
                      </a:lnTo>
                      <a:lnTo>
                        <a:pt x="23001" y="3771"/>
                      </a:lnTo>
                      <a:lnTo>
                        <a:pt x="22821" y="2933"/>
                      </a:lnTo>
                      <a:lnTo>
                        <a:pt x="20307" y="2260"/>
                      </a:lnTo>
                      <a:close/>
                    </a:path>
                    <a:path w="24129" h="8254">
                      <a:moveTo>
                        <a:pt x="17919" y="2476"/>
                      </a:moveTo>
                      <a:lnTo>
                        <a:pt x="17576" y="2794"/>
                      </a:lnTo>
                      <a:lnTo>
                        <a:pt x="18280" y="2794"/>
                      </a:lnTo>
                      <a:lnTo>
                        <a:pt x="17919" y="2476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59" name="object 99">
                  <a:extLst>
                    <a:ext uri="{FF2B5EF4-FFF2-40B4-BE49-F238E27FC236}">
                      <a16:creationId xmlns:a16="http://schemas.microsoft.com/office/drawing/2014/main" id="{CD7F682A-A7CC-9B12-760E-42E232993B9B}"/>
                    </a:ext>
                  </a:extLst>
                </p:cNvPr>
                <p:cNvSpPr/>
                <p:nvPr/>
              </p:nvSpPr>
              <p:spPr>
                <a:xfrm>
                  <a:off x="4653689" y="3357355"/>
                  <a:ext cx="1905" cy="1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04" h="1270">
                      <a:moveTo>
                        <a:pt x="1536" y="0"/>
                      </a:moveTo>
                      <a:lnTo>
                        <a:pt x="927" y="228"/>
                      </a:lnTo>
                      <a:lnTo>
                        <a:pt x="419" y="673"/>
                      </a:lnTo>
                      <a:lnTo>
                        <a:pt x="0" y="1206"/>
                      </a:lnTo>
                      <a:lnTo>
                        <a:pt x="495" y="787"/>
                      </a:lnTo>
                      <a:lnTo>
                        <a:pt x="1003" y="368"/>
                      </a:lnTo>
                      <a:lnTo>
                        <a:pt x="1536" y="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60" name="object 100">
                  <a:extLst>
                    <a:ext uri="{FF2B5EF4-FFF2-40B4-BE49-F238E27FC236}">
                      <a16:creationId xmlns:a16="http://schemas.microsoft.com/office/drawing/2014/main" id="{FB20958D-1C91-00B2-6F76-6BA79669236E}"/>
                    </a:ext>
                  </a:extLst>
                </p:cNvPr>
                <p:cNvSpPr/>
                <p:nvPr/>
              </p:nvSpPr>
              <p:spPr>
                <a:xfrm>
                  <a:off x="4821797" y="3455873"/>
                  <a:ext cx="3175" cy="25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75" h="2539">
                      <a:moveTo>
                        <a:pt x="228" y="0"/>
                      </a:moveTo>
                      <a:lnTo>
                        <a:pt x="0" y="546"/>
                      </a:lnTo>
                      <a:lnTo>
                        <a:pt x="431" y="1333"/>
                      </a:lnTo>
                      <a:lnTo>
                        <a:pt x="698" y="2019"/>
                      </a:lnTo>
                      <a:lnTo>
                        <a:pt x="1193" y="1485"/>
                      </a:lnTo>
                      <a:lnTo>
                        <a:pt x="1892" y="1092"/>
                      </a:lnTo>
                      <a:lnTo>
                        <a:pt x="2628" y="1054"/>
                      </a:lnTo>
                      <a:lnTo>
                        <a:pt x="1892" y="596"/>
                      </a:lnTo>
                      <a:lnTo>
                        <a:pt x="1003" y="419"/>
                      </a:lnTo>
                      <a:lnTo>
                        <a:pt x="228" y="0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61" name="object 101">
                  <a:extLst>
                    <a:ext uri="{FF2B5EF4-FFF2-40B4-BE49-F238E27FC236}">
                      <a16:creationId xmlns:a16="http://schemas.microsoft.com/office/drawing/2014/main" id="{8F0168DC-28A1-818E-A2A3-903AE88FB37E}"/>
                    </a:ext>
                  </a:extLst>
                </p:cNvPr>
                <p:cNvSpPr/>
                <p:nvPr/>
              </p:nvSpPr>
              <p:spPr>
                <a:xfrm>
                  <a:off x="4393222" y="3179495"/>
                  <a:ext cx="503555" cy="254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3554" h="25400">
                      <a:moveTo>
                        <a:pt x="1651" y="1320"/>
                      </a:moveTo>
                      <a:lnTo>
                        <a:pt x="1193" y="0"/>
                      </a:lnTo>
                      <a:lnTo>
                        <a:pt x="685" y="952"/>
                      </a:lnTo>
                      <a:lnTo>
                        <a:pt x="381" y="2019"/>
                      </a:lnTo>
                      <a:lnTo>
                        <a:pt x="0" y="3035"/>
                      </a:lnTo>
                      <a:lnTo>
                        <a:pt x="927" y="2057"/>
                      </a:lnTo>
                      <a:lnTo>
                        <a:pt x="1651" y="1320"/>
                      </a:lnTo>
                      <a:close/>
                    </a:path>
                    <a:path w="503554" h="25400">
                      <a:moveTo>
                        <a:pt x="503377" y="23698"/>
                      </a:moveTo>
                      <a:lnTo>
                        <a:pt x="502881" y="23075"/>
                      </a:lnTo>
                      <a:lnTo>
                        <a:pt x="502729" y="23736"/>
                      </a:lnTo>
                      <a:lnTo>
                        <a:pt x="502691" y="24434"/>
                      </a:lnTo>
                      <a:lnTo>
                        <a:pt x="502691" y="25133"/>
                      </a:lnTo>
                      <a:lnTo>
                        <a:pt x="503072" y="24460"/>
                      </a:lnTo>
                      <a:lnTo>
                        <a:pt x="503377" y="23698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62" name="object 102">
                  <a:extLst>
                    <a:ext uri="{FF2B5EF4-FFF2-40B4-BE49-F238E27FC236}">
                      <a16:creationId xmlns:a16="http://schemas.microsoft.com/office/drawing/2014/main" id="{0D6E0099-9016-F169-3481-57B67749B734}"/>
                    </a:ext>
                  </a:extLst>
                </p:cNvPr>
                <p:cNvSpPr/>
                <p:nvPr/>
              </p:nvSpPr>
              <p:spPr>
                <a:xfrm>
                  <a:off x="4811737" y="3479342"/>
                  <a:ext cx="55880" cy="673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879" h="67310">
                      <a:moveTo>
                        <a:pt x="2768" y="13004"/>
                      </a:moveTo>
                      <a:lnTo>
                        <a:pt x="2578" y="11925"/>
                      </a:lnTo>
                      <a:lnTo>
                        <a:pt x="2311" y="12915"/>
                      </a:lnTo>
                      <a:lnTo>
                        <a:pt x="2197" y="13944"/>
                      </a:lnTo>
                      <a:lnTo>
                        <a:pt x="2044" y="14973"/>
                      </a:lnTo>
                      <a:lnTo>
                        <a:pt x="2463" y="13957"/>
                      </a:lnTo>
                      <a:lnTo>
                        <a:pt x="2768" y="13004"/>
                      </a:lnTo>
                      <a:close/>
                    </a:path>
                    <a:path w="55879" h="67310">
                      <a:moveTo>
                        <a:pt x="53822" y="42621"/>
                      </a:moveTo>
                      <a:lnTo>
                        <a:pt x="53467" y="41897"/>
                      </a:lnTo>
                      <a:lnTo>
                        <a:pt x="53543" y="42125"/>
                      </a:lnTo>
                      <a:lnTo>
                        <a:pt x="53822" y="42621"/>
                      </a:lnTo>
                      <a:close/>
                    </a:path>
                    <a:path w="55879" h="67310">
                      <a:moveTo>
                        <a:pt x="53898" y="23863"/>
                      </a:moveTo>
                      <a:lnTo>
                        <a:pt x="52933" y="20701"/>
                      </a:lnTo>
                      <a:lnTo>
                        <a:pt x="52425" y="20078"/>
                      </a:lnTo>
                      <a:lnTo>
                        <a:pt x="51549" y="19316"/>
                      </a:lnTo>
                      <a:lnTo>
                        <a:pt x="48348" y="17399"/>
                      </a:lnTo>
                      <a:lnTo>
                        <a:pt x="47002" y="18288"/>
                      </a:lnTo>
                      <a:lnTo>
                        <a:pt x="45834" y="19265"/>
                      </a:lnTo>
                      <a:lnTo>
                        <a:pt x="37084" y="21869"/>
                      </a:lnTo>
                      <a:lnTo>
                        <a:pt x="30835" y="22910"/>
                      </a:lnTo>
                      <a:lnTo>
                        <a:pt x="31648" y="23787"/>
                      </a:lnTo>
                      <a:lnTo>
                        <a:pt x="33464" y="24701"/>
                      </a:lnTo>
                      <a:lnTo>
                        <a:pt x="28257" y="23558"/>
                      </a:lnTo>
                      <a:lnTo>
                        <a:pt x="26873" y="24625"/>
                      </a:lnTo>
                      <a:lnTo>
                        <a:pt x="23126" y="25019"/>
                      </a:lnTo>
                      <a:lnTo>
                        <a:pt x="20891" y="23266"/>
                      </a:lnTo>
                      <a:lnTo>
                        <a:pt x="16217" y="22110"/>
                      </a:lnTo>
                      <a:lnTo>
                        <a:pt x="14490" y="20421"/>
                      </a:lnTo>
                      <a:lnTo>
                        <a:pt x="12369" y="19672"/>
                      </a:lnTo>
                      <a:lnTo>
                        <a:pt x="10477" y="18973"/>
                      </a:lnTo>
                      <a:lnTo>
                        <a:pt x="7518" y="17208"/>
                      </a:lnTo>
                      <a:lnTo>
                        <a:pt x="6007" y="16306"/>
                      </a:lnTo>
                      <a:lnTo>
                        <a:pt x="4038" y="17208"/>
                      </a:lnTo>
                      <a:lnTo>
                        <a:pt x="4279" y="16256"/>
                      </a:lnTo>
                      <a:lnTo>
                        <a:pt x="2349" y="16078"/>
                      </a:lnTo>
                      <a:lnTo>
                        <a:pt x="1498" y="15773"/>
                      </a:lnTo>
                      <a:lnTo>
                        <a:pt x="685" y="19265"/>
                      </a:lnTo>
                      <a:lnTo>
                        <a:pt x="0" y="21374"/>
                      </a:lnTo>
                      <a:lnTo>
                        <a:pt x="1016" y="25019"/>
                      </a:lnTo>
                      <a:lnTo>
                        <a:pt x="1346" y="26289"/>
                      </a:lnTo>
                      <a:lnTo>
                        <a:pt x="1689" y="28359"/>
                      </a:lnTo>
                      <a:lnTo>
                        <a:pt x="3543" y="31267"/>
                      </a:lnTo>
                      <a:lnTo>
                        <a:pt x="4356" y="32956"/>
                      </a:lnTo>
                      <a:lnTo>
                        <a:pt x="6705" y="36093"/>
                      </a:lnTo>
                      <a:lnTo>
                        <a:pt x="9169" y="38239"/>
                      </a:lnTo>
                      <a:lnTo>
                        <a:pt x="8978" y="42405"/>
                      </a:lnTo>
                      <a:lnTo>
                        <a:pt x="11912" y="45034"/>
                      </a:lnTo>
                      <a:lnTo>
                        <a:pt x="13843" y="45720"/>
                      </a:lnTo>
                      <a:lnTo>
                        <a:pt x="12255" y="47777"/>
                      </a:lnTo>
                      <a:lnTo>
                        <a:pt x="11137" y="45948"/>
                      </a:lnTo>
                      <a:lnTo>
                        <a:pt x="9740" y="44157"/>
                      </a:lnTo>
                      <a:lnTo>
                        <a:pt x="8280" y="42570"/>
                      </a:lnTo>
                      <a:lnTo>
                        <a:pt x="8890" y="43726"/>
                      </a:lnTo>
                      <a:lnTo>
                        <a:pt x="8839" y="45948"/>
                      </a:lnTo>
                      <a:lnTo>
                        <a:pt x="9321" y="49060"/>
                      </a:lnTo>
                      <a:lnTo>
                        <a:pt x="10642" y="52768"/>
                      </a:lnTo>
                      <a:lnTo>
                        <a:pt x="13093" y="55537"/>
                      </a:lnTo>
                      <a:lnTo>
                        <a:pt x="13563" y="55295"/>
                      </a:lnTo>
                      <a:lnTo>
                        <a:pt x="14871" y="56654"/>
                      </a:lnTo>
                      <a:lnTo>
                        <a:pt x="14986" y="56794"/>
                      </a:lnTo>
                      <a:lnTo>
                        <a:pt x="15646" y="57950"/>
                      </a:lnTo>
                      <a:lnTo>
                        <a:pt x="16916" y="59804"/>
                      </a:lnTo>
                      <a:lnTo>
                        <a:pt x="17424" y="62534"/>
                      </a:lnTo>
                      <a:lnTo>
                        <a:pt x="19278" y="59397"/>
                      </a:lnTo>
                      <a:lnTo>
                        <a:pt x="23787" y="61252"/>
                      </a:lnTo>
                      <a:lnTo>
                        <a:pt x="23279" y="63017"/>
                      </a:lnTo>
                      <a:lnTo>
                        <a:pt x="22707" y="62445"/>
                      </a:lnTo>
                      <a:lnTo>
                        <a:pt x="22364" y="62534"/>
                      </a:lnTo>
                      <a:lnTo>
                        <a:pt x="22237" y="63385"/>
                      </a:lnTo>
                      <a:lnTo>
                        <a:pt x="21005" y="60998"/>
                      </a:lnTo>
                      <a:lnTo>
                        <a:pt x="20574" y="64630"/>
                      </a:lnTo>
                      <a:lnTo>
                        <a:pt x="20307" y="65824"/>
                      </a:lnTo>
                      <a:lnTo>
                        <a:pt x="22517" y="65405"/>
                      </a:lnTo>
                      <a:lnTo>
                        <a:pt x="25095" y="64427"/>
                      </a:lnTo>
                      <a:lnTo>
                        <a:pt x="29413" y="64630"/>
                      </a:lnTo>
                      <a:lnTo>
                        <a:pt x="31457" y="65976"/>
                      </a:lnTo>
                      <a:lnTo>
                        <a:pt x="33274" y="66802"/>
                      </a:lnTo>
                      <a:lnTo>
                        <a:pt x="33604" y="64427"/>
                      </a:lnTo>
                      <a:lnTo>
                        <a:pt x="33528" y="63385"/>
                      </a:lnTo>
                      <a:lnTo>
                        <a:pt x="33502" y="63017"/>
                      </a:lnTo>
                      <a:lnTo>
                        <a:pt x="33553" y="62534"/>
                      </a:lnTo>
                      <a:lnTo>
                        <a:pt x="35509" y="61252"/>
                      </a:lnTo>
                      <a:lnTo>
                        <a:pt x="33997" y="59397"/>
                      </a:lnTo>
                      <a:lnTo>
                        <a:pt x="33502" y="58864"/>
                      </a:lnTo>
                      <a:lnTo>
                        <a:pt x="34277" y="58064"/>
                      </a:lnTo>
                      <a:lnTo>
                        <a:pt x="37084" y="61163"/>
                      </a:lnTo>
                      <a:lnTo>
                        <a:pt x="37744" y="59575"/>
                      </a:lnTo>
                      <a:lnTo>
                        <a:pt x="38569" y="58267"/>
                      </a:lnTo>
                      <a:lnTo>
                        <a:pt x="38620" y="58064"/>
                      </a:lnTo>
                      <a:lnTo>
                        <a:pt x="38417" y="55295"/>
                      </a:lnTo>
                      <a:lnTo>
                        <a:pt x="38277" y="54368"/>
                      </a:lnTo>
                      <a:lnTo>
                        <a:pt x="38366" y="52412"/>
                      </a:lnTo>
                      <a:lnTo>
                        <a:pt x="39751" y="53809"/>
                      </a:lnTo>
                      <a:lnTo>
                        <a:pt x="40640" y="54978"/>
                      </a:lnTo>
                      <a:lnTo>
                        <a:pt x="41986" y="56286"/>
                      </a:lnTo>
                      <a:lnTo>
                        <a:pt x="42202" y="55537"/>
                      </a:lnTo>
                      <a:lnTo>
                        <a:pt x="42075" y="55118"/>
                      </a:lnTo>
                      <a:lnTo>
                        <a:pt x="41135" y="53721"/>
                      </a:lnTo>
                      <a:lnTo>
                        <a:pt x="42989" y="52971"/>
                      </a:lnTo>
                      <a:lnTo>
                        <a:pt x="47142" y="56654"/>
                      </a:lnTo>
                      <a:lnTo>
                        <a:pt x="44183" y="57848"/>
                      </a:lnTo>
                      <a:lnTo>
                        <a:pt x="44678" y="60591"/>
                      </a:lnTo>
                      <a:lnTo>
                        <a:pt x="47459" y="60096"/>
                      </a:lnTo>
                      <a:lnTo>
                        <a:pt x="48539" y="60083"/>
                      </a:lnTo>
                      <a:lnTo>
                        <a:pt x="48806" y="58813"/>
                      </a:lnTo>
                      <a:lnTo>
                        <a:pt x="47802" y="58267"/>
                      </a:lnTo>
                      <a:lnTo>
                        <a:pt x="48044" y="56794"/>
                      </a:lnTo>
                      <a:lnTo>
                        <a:pt x="48107" y="56248"/>
                      </a:lnTo>
                      <a:lnTo>
                        <a:pt x="48780" y="54368"/>
                      </a:lnTo>
                      <a:lnTo>
                        <a:pt x="49390" y="52705"/>
                      </a:lnTo>
                      <a:lnTo>
                        <a:pt x="47040" y="54368"/>
                      </a:lnTo>
                      <a:lnTo>
                        <a:pt x="46799" y="52971"/>
                      </a:lnTo>
                      <a:lnTo>
                        <a:pt x="46697" y="52412"/>
                      </a:lnTo>
                      <a:lnTo>
                        <a:pt x="46647" y="52108"/>
                      </a:lnTo>
                      <a:lnTo>
                        <a:pt x="47726" y="48488"/>
                      </a:lnTo>
                      <a:lnTo>
                        <a:pt x="47790" y="47777"/>
                      </a:lnTo>
                      <a:lnTo>
                        <a:pt x="48196" y="43726"/>
                      </a:lnTo>
                      <a:lnTo>
                        <a:pt x="50698" y="42303"/>
                      </a:lnTo>
                      <a:lnTo>
                        <a:pt x="50965" y="39979"/>
                      </a:lnTo>
                      <a:lnTo>
                        <a:pt x="52311" y="40195"/>
                      </a:lnTo>
                      <a:lnTo>
                        <a:pt x="53276" y="41516"/>
                      </a:lnTo>
                      <a:lnTo>
                        <a:pt x="53467" y="41897"/>
                      </a:lnTo>
                      <a:lnTo>
                        <a:pt x="53327" y="40881"/>
                      </a:lnTo>
                      <a:lnTo>
                        <a:pt x="53200" y="40271"/>
                      </a:lnTo>
                      <a:lnTo>
                        <a:pt x="53162" y="39979"/>
                      </a:lnTo>
                      <a:lnTo>
                        <a:pt x="53124" y="39700"/>
                      </a:lnTo>
                      <a:lnTo>
                        <a:pt x="52971" y="39065"/>
                      </a:lnTo>
                      <a:lnTo>
                        <a:pt x="52552" y="36093"/>
                      </a:lnTo>
                      <a:lnTo>
                        <a:pt x="52628" y="27571"/>
                      </a:lnTo>
                      <a:lnTo>
                        <a:pt x="53505" y="25019"/>
                      </a:lnTo>
                      <a:lnTo>
                        <a:pt x="53606" y="24701"/>
                      </a:lnTo>
                      <a:lnTo>
                        <a:pt x="53898" y="23863"/>
                      </a:lnTo>
                      <a:close/>
                    </a:path>
                    <a:path w="55879" h="67310">
                      <a:moveTo>
                        <a:pt x="55435" y="6451"/>
                      </a:moveTo>
                      <a:lnTo>
                        <a:pt x="48996" y="965"/>
                      </a:lnTo>
                      <a:lnTo>
                        <a:pt x="48031" y="0"/>
                      </a:lnTo>
                      <a:lnTo>
                        <a:pt x="46799" y="215"/>
                      </a:lnTo>
                      <a:lnTo>
                        <a:pt x="46494" y="1270"/>
                      </a:lnTo>
                      <a:lnTo>
                        <a:pt x="46024" y="2273"/>
                      </a:lnTo>
                      <a:lnTo>
                        <a:pt x="45288" y="2311"/>
                      </a:lnTo>
                      <a:lnTo>
                        <a:pt x="45110" y="4114"/>
                      </a:lnTo>
                      <a:lnTo>
                        <a:pt x="48145" y="7289"/>
                      </a:lnTo>
                      <a:lnTo>
                        <a:pt x="49618" y="9499"/>
                      </a:lnTo>
                      <a:lnTo>
                        <a:pt x="50457" y="8978"/>
                      </a:lnTo>
                      <a:lnTo>
                        <a:pt x="50901" y="8953"/>
                      </a:lnTo>
                      <a:lnTo>
                        <a:pt x="52654" y="8343"/>
                      </a:lnTo>
                      <a:lnTo>
                        <a:pt x="52565" y="8686"/>
                      </a:lnTo>
                      <a:lnTo>
                        <a:pt x="52819" y="9156"/>
                      </a:lnTo>
                      <a:lnTo>
                        <a:pt x="53606" y="8343"/>
                      </a:lnTo>
                      <a:lnTo>
                        <a:pt x="55435" y="6451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63" name="object 103">
                  <a:extLst>
                    <a:ext uri="{FF2B5EF4-FFF2-40B4-BE49-F238E27FC236}">
                      <a16:creationId xmlns:a16="http://schemas.microsoft.com/office/drawing/2014/main" id="{6E987156-3B3A-18CF-248D-D4E89585B201}"/>
                    </a:ext>
                  </a:extLst>
                </p:cNvPr>
                <p:cNvSpPr/>
                <p:nvPr/>
              </p:nvSpPr>
              <p:spPr>
                <a:xfrm>
                  <a:off x="4607915" y="3031553"/>
                  <a:ext cx="332740" cy="255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2739" h="255270">
                      <a:moveTo>
                        <a:pt x="16776" y="13500"/>
                      </a:moveTo>
                      <a:lnTo>
                        <a:pt x="16738" y="12369"/>
                      </a:lnTo>
                      <a:lnTo>
                        <a:pt x="16738" y="11417"/>
                      </a:lnTo>
                      <a:lnTo>
                        <a:pt x="16738" y="11264"/>
                      </a:lnTo>
                      <a:lnTo>
                        <a:pt x="15963" y="11201"/>
                      </a:lnTo>
                      <a:lnTo>
                        <a:pt x="15265" y="9613"/>
                      </a:lnTo>
                      <a:lnTo>
                        <a:pt x="14732" y="8432"/>
                      </a:lnTo>
                      <a:lnTo>
                        <a:pt x="10528" y="7975"/>
                      </a:lnTo>
                      <a:lnTo>
                        <a:pt x="11404" y="9626"/>
                      </a:lnTo>
                      <a:lnTo>
                        <a:pt x="11544" y="9906"/>
                      </a:lnTo>
                      <a:lnTo>
                        <a:pt x="12344" y="11417"/>
                      </a:lnTo>
                      <a:lnTo>
                        <a:pt x="11341" y="9906"/>
                      </a:lnTo>
                      <a:lnTo>
                        <a:pt x="11404" y="9626"/>
                      </a:lnTo>
                      <a:lnTo>
                        <a:pt x="8178" y="10375"/>
                      </a:lnTo>
                      <a:lnTo>
                        <a:pt x="6705" y="11277"/>
                      </a:lnTo>
                      <a:lnTo>
                        <a:pt x="2514" y="12369"/>
                      </a:lnTo>
                      <a:lnTo>
                        <a:pt x="2159" y="9842"/>
                      </a:lnTo>
                      <a:lnTo>
                        <a:pt x="0" y="8966"/>
                      </a:lnTo>
                      <a:lnTo>
                        <a:pt x="635" y="11277"/>
                      </a:lnTo>
                      <a:lnTo>
                        <a:pt x="927" y="13919"/>
                      </a:lnTo>
                      <a:lnTo>
                        <a:pt x="2806" y="15709"/>
                      </a:lnTo>
                      <a:lnTo>
                        <a:pt x="3390" y="16294"/>
                      </a:lnTo>
                      <a:lnTo>
                        <a:pt x="4165" y="16954"/>
                      </a:lnTo>
                      <a:lnTo>
                        <a:pt x="5600" y="17830"/>
                      </a:lnTo>
                      <a:lnTo>
                        <a:pt x="7861" y="19291"/>
                      </a:lnTo>
                      <a:lnTo>
                        <a:pt x="10071" y="19494"/>
                      </a:lnTo>
                      <a:lnTo>
                        <a:pt x="12763" y="15709"/>
                      </a:lnTo>
                      <a:lnTo>
                        <a:pt x="15379" y="14693"/>
                      </a:lnTo>
                      <a:lnTo>
                        <a:pt x="16776" y="13500"/>
                      </a:lnTo>
                      <a:close/>
                    </a:path>
                    <a:path w="332739" h="255270">
                      <a:moveTo>
                        <a:pt x="83273" y="41656"/>
                      </a:moveTo>
                      <a:lnTo>
                        <a:pt x="83172" y="40589"/>
                      </a:lnTo>
                      <a:lnTo>
                        <a:pt x="82232" y="40170"/>
                      </a:lnTo>
                      <a:lnTo>
                        <a:pt x="82359" y="41008"/>
                      </a:lnTo>
                      <a:lnTo>
                        <a:pt x="82664" y="41795"/>
                      </a:lnTo>
                      <a:lnTo>
                        <a:pt x="82931" y="42608"/>
                      </a:lnTo>
                      <a:lnTo>
                        <a:pt x="83273" y="41656"/>
                      </a:lnTo>
                      <a:close/>
                    </a:path>
                    <a:path w="332739" h="255270">
                      <a:moveTo>
                        <a:pt x="131940" y="95250"/>
                      </a:moveTo>
                      <a:lnTo>
                        <a:pt x="131673" y="94488"/>
                      </a:lnTo>
                      <a:lnTo>
                        <a:pt x="130937" y="92659"/>
                      </a:lnTo>
                      <a:lnTo>
                        <a:pt x="130238" y="94437"/>
                      </a:lnTo>
                      <a:lnTo>
                        <a:pt x="129705" y="95567"/>
                      </a:lnTo>
                      <a:lnTo>
                        <a:pt x="130238" y="95250"/>
                      </a:lnTo>
                      <a:lnTo>
                        <a:pt x="131940" y="95250"/>
                      </a:lnTo>
                      <a:close/>
                    </a:path>
                    <a:path w="332739" h="255270">
                      <a:moveTo>
                        <a:pt x="171386" y="2070"/>
                      </a:moveTo>
                      <a:lnTo>
                        <a:pt x="170116" y="1143"/>
                      </a:lnTo>
                      <a:lnTo>
                        <a:pt x="169532" y="0"/>
                      </a:lnTo>
                      <a:lnTo>
                        <a:pt x="169303" y="812"/>
                      </a:lnTo>
                      <a:lnTo>
                        <a:pt x="169151" y="2514"/>
                      </a:lnTo>
                      <a:lnTo>
                        <a:pt x="171386" y="2070"/>
                      </a:lnTo>
                      <a:close/>
                    </a:path>
                    <a:path w="332739" h="255270">
                      <a:moveTo>
                        <a:pt x="328637" y="211480"/>
                      </a:moveTo>
                      <a:lnTo>
                        <a:pt x="327888" y="208140"/>
                      </a:lnTo>
                      <a:lnTo>
                        <a:pt x="327736" y="208534"/>
                      </a:lnTo>
                      <a:lnTo>
                        <a:pt x="325958" y="210172"/>
                      </a:lnTo>
                      <a:lnTo>
                        <a:pt x="328637" y="211480"/>
                      </a:lnTo>
                      <a:close/>
                    </a:path>
                    <a:path w="332739" h="255270">
                      <a:moveTo>
                        <a:pt x="329311" y="213055"/>
                      </a:moveTo>
                      <a:lnTo>
                        <a:pt x="329006" y="213283"/>
                      </a:lnTo>
                      <a:lnTo>
                        <a:pt x="328930" y="212902"/>
                      </a:lnTo>
                      <a:lnTo>
                        <a:pt x="324878" y="214909"/>
                      </a:lnTo>
                      <a:lnTo>
                        <a:pt x="324116" y="216560"/>
                      </a:lnTo>
                      <a:lnTo>
                        <a:pt x="325805" y="216725"/>
                      </a:lnTo>
                      <a:lnTo>
                        <a:pt x="324256" y="219557"/>
                      </a:lnTo>
                      <a:lnTo>
                        <a:pt x="323265" y="221843"/>
                      </a:lnTo>
                      <a:lnTo>
                        <a:pt x="323113" y="224396"/>
                      </a:lnTo>
                      <a:lnTo>
                        <a:pt x="325158" y="225259"/>
                      </a:lnTo>
                      <a:lnTo>
                        <a:pt x="326313" y="221843"/>
                      </a:lnTo>
                      <a:lnTo>
                        <a:pt x="327469" y="218643"/>
                      </a:lnTo>
                      <a:lnTo>
                        <a:pt x="328587" y="215315"/>
                      </a:lnTo>
                      <a:lnTo>
                        <a:pt x="329247" y="213283"/>
                      </a:lnTo>
                      <a:lnTo>
                        <a:pt x="329311" y="213055"/>
                      </a:lnTo>
                      <a:close/>
                    </a:path>
                    <a:path w="332739" h="255270">
                      <a:moveTo>
                        <a:pt x="330238" y="212255"/>
                      </a:moveTo>
                      <a:lnTo>
                        <a:pt x="328637" y="211480"/>
                      </a:lnTo>
                      <a:lnTo>
                        <a:pt x="328930" y="212902"/>
                      </a:lnTo>
                      <a:lnTo>
                        <a:pt x="330238" y="212255"/>
                      </a:lnTo>
                      <a:close/>
                    </a:path>
                    <a:path w="332739" h="255270">
                      <a:moveTo>
                        <a:pt x="332219" y="250367"/>
                      </a:moveTo>
                      <a:lnTo>
                        <a:pt x="331101" y="249974"/>
                      </a:lnTo>
                      <a:lnTo>
                        <a:pt x="329742" y="249478"/>
                      </a:lnTo>
                      <a:lnTo>
                        <a:pt x="329895" y="254076"/>
                      </a:lnTo>
                      <a:lnTo>
                        <a:pt x="329819" y="255016"/>
                      </a:lnTo>
                      <a:lnTo>
                        <a:pt x="330479" y="254203"/>
                      </a:lnTo>
                      <a:lnTo>
                        <a:pt x="331292" y="252437"/>
                      </a:lnTo>
                      <a:lnTo>
                        <a:pt x="331330" y="251294"/>
                      </a:lnTo>
                      <a:lnTo>
                        <a:pt x="331368" y="250558"/>
                      </a:lnTo>
                      <a:lnTo>
                        <a:pt x="332219" y="250367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64" name="object 104">
                  <a:extLst>
                    <a:ext uri="{FF2B5EF4-FFF2-40B4-BE49-F238E27FC236}">
                      <a16:creationId xmlns:a16="http://schemas.microsoft.com/office/drawing/2014/main" id="{6BC83CF0-B7E3-E164-72C3-0342D7DC67FD}"/>
                    </a:ext>
                  </a:extLst>
                </p:cNvPr>
                <p:cNvSpPr/>
                <p:nvPr/>
              </p:nvSpPr>
              <p:spPr>
                <a:xfrm>
                  <a:off x="4815747" y="3491039"/>
                  <a:ext cx="1270" cy="1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0" h="1270">
                      <a:moveTo>
                        <a:pt x="965" y="0"/>
                      </a:moveTo>
                      <a:lnTo>
                        <a:pt x="609" y="330"/>
                      </a:lnTo>
                      <a:lnTo>
                        <a:pt x="304" y="762"/>
                      </a:lnTo>
                      <a:lnTo>
                        <a:pt x="0" y="1168"/>
                      </a:lnTo>
                      <a:lnTo>
                        <a:pt x="381" y="787"/>
                      </a:lnTo>
                      <a:lnTo>
                        <a:pt x="762" y="444"/>
                      </a:lnTo>
                      <a:lnTo>
                        <a:pt x="965" y="0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65" name="object 105">
                  <a:extLst>
                    <a:ext uri="{FF2B5EF4-FFF2-40B4-BE49-F238E27FC236}">
                      <a16:creationId xmlns:a16="http://schemas.microsoft.com/office/drawing/2014/main" id="{99C7C384-2CD9-F0D5-6F5B-D1DD819AF26E}"/>
                    </a:ext>
                  </a:extLst>
                </p:cNvPr>
                <p:cNvSpPr/>
                <p:nvPr/>
              </p:nvSpPr>
              <p:spPr>
                <a:xfrm>
                  <a:off x="4689919" y="3073730"/>
                  <a:ext cx="186690" cy="3295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6689" h="329564">
                      <a:moveTo>
                        <a:pt x="1435" y="329057"/>
                      </a:moveTo>
                      <a:lnTo>
                        <a:pt x="1054" y="328180"/>
                      </a:lnTo>
                      <a:lnTo>
                        <a:pt x="774" y="327291"/>
                      </a:lnTo>
                      <a:lnTo>
                        <a:pt x="0" y="326859"/>
                      </a:lnTo>
                      <a:lnTo>
                        <a:pt x="304" y="327672"/>
                      </a:lnTo>
                      <a:lnTo>
                        <a:pt x="927" y="328345"/>
                      </a:lnTo>
                      <a:lnTo>
                        <a:pt x="1435" y="329057"/>
                      </a:lnTo>
                      <a:close/>
                    </a:path>
                    <a:path w="186689" h="329564">
                      <a:moveTo>
                        <a:pt x="3670" y="4127"/>
                      </a:moveTo>
                      <a:lnTo>
                        <a:pt x="1663" y="0"/>
                      </a:lnTo>
                      <a:lnTo>
                        <a:pt x="1511" y="5232"/>
                      </a:lnTo>
                      <a:lnTo>
                        <a:pt x="3670" y="4127"/>
                      </a:lnTo>
                      <a:close/>
                    </a:path>
                    <a:path w="186689" h="329564">
                      <a:moveTo>
                        <a:pt x="7327" y="29667"/>
                      </a:moveTo>
                      <a:lnTo>
                        <a:pt x="6870" y="30175"/>
                      </a:lnTo>
                      <a:lnTo>
                        <a:pt x="6477" y="30746"/>
                      </a:lnTo>
                      <a:lnTo>
                        <a:pt x="6134" y="31343"/>
                      </a:lnTo>
                      <a:lnTo>
                        <a:pt x="6667" y="30861"/>
                      </a:lnTo>
                      <a:lnTo>
                        <a:pt x="7175" y="30340"/>
                      </a:lnTo>
                      <a:lnTo>
                        <a:pt x="7327" y="29667"/>
                      </a:lnTo>
                      <a:close/>
                    </a:path>
                    <a:path w="186689" h="329564">
                      <a:moveTo>
                        <a:pt x="14160" y="31686"/>
                      </a:moveTo>
                      <a:lnTo>
                        <a:pt x="13119" y="30607"/>
                      </a:lnTo>
                      <a:lnTo>
                        <a:pt x="13195" y="31775"/>
                      </a:lnTo>
                      <a:lnTo>
                        <a:pt x="13500" y="32905"/>
                      </a:lnTo>
                      <a:lnTo>
                        <a:pt x="13741" y="34048"/>
                      </a:lnTo>
                      <a:lnTo>
                        <a:pt x="13970" y="32435"/>
                      </a:lnTo>
                      <a:lnTo>
                        <a:pt x="14160" y="31686"/>
                      </a:lnTo>
                      <a:close/>
                    </a:path>
                    <a:path w="186689" h="329564">
                      <a:moveTo>
                        <a:pt x="186474" y="100596"/>
                      </a:moveTo>
                      <a:lnTo>
                        <a:pt x="184810" y="99161"/>
                      </a:lnTo>
                      <a:lnTo>
                        <a:pt x="184467" y="98082"/>
                      </a:lnTo>
                      <a:lnTo>
                        <a:pt x="184353" y="98907"/>
                      </a:lnTo>
                      <a:lnTo>
                        <a:pt x="184353" y="99745"/>
                      </a:lnTo>
                      <a:lnTo>
                        <a:pt x="184315" y="100584"/>
                      </a:lnTo>
                      <a:lnTo>
                        <a:pt x="186474" y="100596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66" name="object 106">
                  <a:extLst>
                    <a:ext uri="{FF2B5EF4-FFF2-40B4-BE49-F238E27FC236}">
                      <a16:creationId xmlns:a16="http://schemas.microsoft.com/office/drawing/2014/main" id="{41495D86-D5A8-E0D3-52B1-7CAACE7C1680}"/>
                    </a:ext>
                  </a:extLst>
                </p:cNvPr>
                <p:cNvSpPr/>
                <p:nvPr/>
              </p:nvSpPr>
              <p:spPr>
                <a:xfrm>
                  <a:off x="4819099" y="3457415"/>
                  <a:ext cx="3810" cy="31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10" h="3175">
                      <a:moveTo>
                        <a:pt x="1511" y="0"/>
                      </a:moveTo>
                      <a:lnTo>
                        <a:pt x="0" y="1981"/>
                      </a:lnTo>
                      <a:lnTo>
                        <a:pt x="1079" y="2438"/>
                      </a:lnTo>
                      <a:lnTo>
                        <a:pt x="2235" y="2565"/>
                      </a:lnTo>
                      <a:lnTo>
                        <a:pt x="3365" y="2794"/>
                      </a:lnTo>
                      <a:lnTo>
                        <a:pt x="2540" y="1092"/>
                      </a:lnTo>
                      <a:lnTo>
                        <a:pt x="1511" y="0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67" name="object 107">
                  <a:extLst>
                    <a:ext uri="{FF2B5EF4-FFF2-40B4-BE49-F238E27FC236}">
                      <a16:creationId xmlns:a16="http://schemas.microsoft.com/office/drawing/2014/main" id="{F15BEEFF-4262-AE54-2B21-907A848AC675}"/>
                    </a:ext>
                  </a:extLst>
                </p:cNvPr>
                <p:cNvSpPr/>
                <p:nvPr/>
              </p:nvSpPr>
              <p:spPr>
                <a:xfrm>
                  <a:off x="4776952" y="3024301"/>
                  <a:ext cx="111125" cy="1790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1125" h="179069">
                      <a:moveTo>
                        <a:pt x="3632" y="495"/>
                      </a:moveTo>
                      <a:lnTo>
                        <a:pt x="0" y="0"/>
                      </a:lnTo>
                      <a:lnTo>
                        <a:pt x="1511" y="2463"/>
                      </a:lnTo>
                      <a:lnTo>
                        <a:pt x="3632" y="495"/>
                      </a:lnTo>
                      <a:close/>
                    </a:path>
                    <a:path w="111125" h="179069">
                      <a:moveTo>
                        <a:pt x="110972" y="176834"/>
                      </a:moveTo>
                      <a:lnTo>
                        <a:pt x="110744" y="176047"/>
                      </a:lnTo>
                      <a:lnTo>
                        <a:pt x="110629" y="176847"/>
                      </a:lnTo>
                      <a:lnTo>
                        <a:pt x="110578" y="177660"/>
                      </a:lnTo>
                      <a:lnTo>
                        <a:pt x="110502" y="178460"/>
                      </a:lnTo>
                      <a:lnTo>
                        <a:pt x="110972" y="177698"/>
                      </a:lnTo>
                      <a:lnTo>
                        <a:pt x="110972" y="176834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68" name="object 108">
                  <a:extLst>
                    <a:ext uri="{FF2B5EF4-FFF2-40B4-BE49-F238E27FC236}">
                      <a16:creationId xmlns:a16="http://schemas.microsoft.com/office/drawing/2014/main" id="{7D4DA76B-EF73-CA3B-DDF6-FC902F07A18B}"/>
                    </a:ext>
                  </a:extLst>
                </p:cNvPr>
                <p:cNvSpPr/>
                <p:nvPr/>
              </p:nvSpPr>
              <p:spPr>
                <a:xfrm>
                  <a:off x="4845354" y="3492703"/>
                  <a:ext cx="18415" cy="533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414" h="53339">
                      <a:moveTo>
                        <a:pt x="6667" y="45212"/>
                      </a:moveTo>
                      <a:lnTo>
                        <a:pt x="5854" y="44297"/>
                      </a:lnTo>
                      <a:lnTo>
                        <a:pt x="5041" y="45923"/>
                      </a:lnTo>
                      <a:lnTo>
                        <a:pt x="4343" y="47840"/>
                      </a:lnTo>
                      <a:lnTo>
                        <a:pt x="4025" y="48564"/>
                      </a:lnTo>
                      <a:lnTo>
                        <a:pt x="3009" y="49885"/>
                      </a:lnTo>
                      <a:lnTo>
                        <a:pt x="3467" y="50546"/>
                      </a:lnTo>
                      <a:lnTo>
                        <a:pt x="3276" y="50736"/>
                      </a:lnTo>
                      <a:lnTo>
                        <a:pt x="3390" y="50609"/>
                      </a:lnTo>
                      <a:lnTo>
                        <a:pt x="0" y="49669"/>
                      </a:lnTo>
                      <a:lnTo>
                        <a:pt x="5892" y="52933"/>
                      </a:lnTo>
                      <a:lnTo>
                        <a:pt x="5549" y="49174"/>
                      </a:lnTo>
                      <a:lnTo>
                        <a:pt x="5816" y="47383"/>
                      </a:lnTo>
                      <a:lnTo>
                        <a:pt x="6502" y="46304"/>
                      </a:lnTo>
                      <a:lnTo>
                        <a:pt x="6667" y="45212"/>
                      </a:lnTo>
                      <a:close/>
                    </a:path>
                    <a:path w="18414" h="53339">
                      <a:moveTo>
                        <a:pt x="18313" y="12"/>
                      </a:moveTo>
                      <a:lnTo>
                        <a:pt x="17653" y="0"/>
                      </a:lnTo>
                      <a:lnTo>
                        <a:pt x="17043" y="228"/>
                      </a:lnTo>
                      <a:lnTo>
                        <a:pt x="16573" y="685"/>
                      </a:lnTo>
                      <a:lnTo>
                        <a:pt x="16878" y="965"/>
                      </a:lnTo>
                      <a:lnTo>
                        <a:pt x="17221" y="1397"/>
                      </a:lnTo>
                      <a:lnTo>
                        <a:pt x="17576" y="1574"/>
                      </a:lnTo>
                      <a:lnTo>
                        <a:pt x="17970" y="1155"/>
                      </a:lnTo>
                      <a:lnTo>
                        <a:pt x="18237" y="457"/>
                      </a:lnTo>
                      <a:lnTo>
                        <a:pt x="18313" y="12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69" name="object 109">
                  <a:extLst>
                    <a:ext uri="{FF2B5EF4-FFF2-40B4-BE49-F238E27FC236}">
                      <a16:creationId xmlns:a16="http://schemas.microsoft.com/office/drawing/2014/main" id="{5F1F244F-8D37-F281-3DA1-892404C13E04}"/>
                    </a:ext>
                  </a:extLst>
                </p:cNvPr>
                <p:cNvSpPr/>
                <p:nvPr/>
              </p:nvSpPr>
              <p:spPr>
                <a:xfrm>
                  <a:off x="4602327" y="3037801"/>
                  <a:ext cx="336550" cy="2432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36550" h="243204">
                      <a:moveTo>
                        <a:pt x="10871" y="11823"/>
                      </a:moveTo>
                      <a:lnTo>
                        <a:pt x="8636" y="9372"/>
                      </a:lnTo>
                      <a:lnTo>
                        <a:pt x="6819" y="9639"/>
                      </a:lnTo>
                      <a:lnTo>
                        <a:pt x="7200" y="8382"/>
                      </a:lnTo>
                      <a:lnTo>
                        <a:pt x="6235" y="7277"/>
                      </a:lnTo>
                      <a:lnTo>
                        <a:pt x="5892" y="6388"/>
                      </a:lnTo>
                      <a:lnTo>
                        <a:pt x="5740" y="6045"/>
                      </a:lnTo>
                      <a:lnTo>
                        <a:pt x="5930" y="5143"/>
                      </a:lnTo>
                      <a:lnTo>
                        <a:pt x="4584" y="4000"/>
                      </a:lnTo>
                      <a:lnTo>
                        <a:pt x="3111" y="5003"/>
                      </a:lnTo>
                      <a:lnTo>
                        <a:pt x="2768" y="6184"/>
                      </a:lnTo>
                      <a:lnTo>
                        <a:pt x="2540" y="7048"/>
                      </a:lnTo>
                      <a:lnTo>
                        <a:pt x="3581" y="8394"/>
                      </a:lnTo>
                      <a:lnTo>
                        <a:pt x="3111" y="9182"/>
                      </a:lnTo>
                      <a:lnTo>
                        <a:pt x="2616" y="10071"/>
                      </a:lnTo>
                      <a:lnTo>
                        <a:pt x="1917" y="9283"/>
                      </a:lnTo>
                      <a:lnTo>
                        <a:pt x="1689" y="9461"/>
                      </a:lnTo>
                      <a:lnTo>
                        <a:pt x="990" y="10528"/>
                      </a:lnTo>
                      <a:lnTo>
                        <a:pt x="990" y="10782"/>
                      </a:lnTo>
                      <a:lnTo>
                        <a:pt x="0" y="10858"/>
                      </a:lnTo>
                      <a:lnTo>
                        <a:pt x="3467" y="11493"/>
                      </a:lnTo>
                      <a:lnTo>
                        <a:pt x="5461" y="11557"/>
                      </a:lnTo>
                      <a:lnTo>
                        <a:pt x="7391" y="11747"/>
                      </a:lnTo>
                      <a:lnTo>
                        <a:pt x="10871" y="11823"/>
                      </a:lnTo>
                      <a:close/>
                    </a:path>
                    <a:path w="336550" h="243204">
                      <a:moveTo>
                        <a:pt x="90754" y="13995"/>
                      </a:moveTo>
                      <a:lnTo>
                        <a:pt x="90068" y="14325"/>
                      </a:lnTo>
                      <a:lnTo>
                        <a:pt x="89522" y="14833"/>
                      </a:lnTo>
                      <a:lnTo>
                        <a:pt x="88950" y="15303"/>
                      </a:lnTo>
                      <a:lnTo>
                        <a:pt x="89636" y="15011"/>
                      </a:lnTo>
                      <a:lnTo>
                        <a:pt x="90373" y="14630"/>
                      </a:lnTo>
                      <a:lnTo>
                        <a:pt x="90754" y="13995"/>
                      </a:lnTo>
                      <a:close/>
                    </a:path>
                    <a:path w="336550" h="243204">
                      <a:moveTo>
                        <a:pt x="97358" y="0"/>
                      </a:moveTo>
                      <a:lnTo>
                        <a:pt x="95859" y="1930"/>
                      </a:lnTo>
                      <a:lnTo>
                        <a:pt x="94703" y="4140"/>
                      </a:lnTo>
                      <a:lnTo>
                        <a:pt x="93433" y="6210"/>
                      </a:lnTo>
                      <a:lnTo>
                        <a:pt x="95669" y="4584"/>
                      </a:lnTo>
                      <a:lnTo>
                        <a:pt x="96634" y="2463"/>
                      </a:lnTo>
                      <a:lnTo>
                        <a:pt x="97358" y="0"/>
                      </a:lnTo>
                      <a:close/>
                    </a:path>
                    <a:path w="336550" h="243204">
                      <a:moveTo>
                        <a:pt x="139814" y="79921"/>
                      </a:moveTo>
                      <a:lnTo>
                        <a:pt x="139738" y="79641"/>
                      </a:lnTo>
                      <a:lnTo>
                        <a:pt x="139268" y="77698"/>
                      </a:lnTo>
                      <a:lnTo>
                        <a:pt x="133146" y="79654"/>
                      </a:lnTo>
                      <a:lnTo>
                        <a:pt x="132829" y="80365"/>
                      </a:lnTo>
                      <a:lnTo>
                        <a:pt x="131445" y="82283"/>
                      </a:lnTo>
                      <a:lnTo>
                        <a:pt x="132448" y="83502"/>
                      </a:lnTo>
                      <a:lnTo>
                        <a:pt x="132981" y="83096"/>
                      </a:lnTo>
                      <a:lnTo>
                        <a:pt x="134112" y="82816"/>
                      </a:lnTo>
                      <a:lnTo>
                        <a:pt x="135420" y="81902"/>
                      </a:lnTo>
                      <a:lnTo>
                        <a:pt x="136575" y="79794"/>
                      </a:lnTo>
                      <a:lnTo>
                        <a:pt x="137502" y="79641"/>
                      </a:lnTo>
                      <a:lnTo>
                        <a:pt x="137528" y="80530"/>
                      </a:lnTo>
                      <a:lnTo>
                        <a:pt x="138074" y="80505"/>
                      </a:lnTo>
                      <a:lnTo>
                        <a:pt x="138264" y="80149"/>
                      </a:lnTo>
                      <a:lnTo>
                        <a:pt x="139077" y="80124"/>
                      </a:lnTo>
                      <a:lnTo>
                        <a:pt x="139814" y="79921"/>
                      </a:lnTo>
                      <a:close/>
                    </a:path>
                    <a:path w="336550" h="243204">
                      <a:moveTo>
                        <a:pt x="305092" y="187642"/>
                      </a:moveTo>
                      <a:lnTo>
                        <a:pt x="304673" y="185343"/>
                      </a:lnTo>
                      <a:lnTo>
                        <a:pt x="304253" y="184683"/>
                      </a:lnTo>
                      <a:lnTo>
                        <a:pt x="303784" y="184010"/>
                      </a:lnTo>
                      <a:lnTo>
                        <a:pt x="302323" y="183756"/>
                      </a:lnTo>
                      <a:lnTo>
                        <a:pt x="301447" y="183375"/>
                      </a:lnTo>
                      <a:lnTo>
                        <a:pt x="301891" y="184873"/>
                      </a:lnTo>
                      <a:lnTo>
                        <a:pt x="302907" y="186194"/>
                      </a:lnTo>
                      <a:lnTo>
                        <a:pt x="303682" y="187553"/>
                      </a:lnTo>
                      <a:lnTo>
                        <a:pt x="304139" y="187972"/>
                      </a:lnTo>
                      <a:lnTo>
                        <a:pt x="304406" y="188175"/>
                      </a:lnTo>
                      <a:lnTo>
                        <a:pt x="305092" y="187642"/>
                      </a:lnTo>
                      <a:close/>
                    </a:path>
                    <a:path w="336550" h="243204">
                      <a:moveTo>
                        <a:pt x="335991" y="238937"/>
                      </a:moveTo>
                      <a:lnTo>
                        <a:pt x="335457" y="240398"/>
                      </a:lnTo>
                      <a:lnTo>
                        <a:pt x="335648" y="243078"/>
                      </a:lnTo>
                      <a:lnTo>
                        <a:pt x="335991" y="238937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70" name="object 110">
                  <a:extLst>
                    <a:ext uri="{FF2B5EF4-FFF2-40B4-BE49-F238E27FC236}">
                      <a16:creationId xmlns:a16="http://schemas.microsoft.com/office/drawing/2014/main" id="{7D30B8DE-26B0-D9B9-1228-BB108F99F810}"/>
                    </a:ext>
                  </a:extLst>
                </p:cNvPr>
                <p:cNvSpPr/>
                <p:nvPr/>
              </p:nvSpPr>
              <p:spPr>
                <a:xfrm>
                  <a:off x="4800663" y="3477018"/>
                  <a:ext cx="62865" cy="546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864" h="54610">
                      <a:moveTo>
                        <a:pt x="4394" y="7226"/>
                      </a:moveTo>
                      <a:lnTo>
                        <a:pt x="4165" y="3606"/>
                      </a:lnTo>
                      <a:lnTo>
                        <a:pt x="3975" y="2857"/>
                      </a:lnTo>
                      <a:lnTo>
                        <a:pt x="3657" y="1295"/>
                      </a:lnTo>
                      <a:lnTo>
                        <a:pt x="3314" y="1079"/>
                      </a:lnTo>
                      <a:lnTo>
                        <a:pt x="2006" y="0"/>
                      </a:lnTo>
                      <a:lnTo>
                        <a:pt x="850" y="2082"/>
                      </a:lnTo>
                      <a:lnTo>
                        <a:pt x="0" y="3403"/>
                      </a:lnTo>
                      <a:lnTo>
                        <a:pt x="76" y="5842"/>
                      </a:lnTo>
                      <a:lnTo>
                        <a:pt x="114" y="6261"/>
                      </a:lnTo>
                      <a:lnTo>
                        <a:pt x="355" y="8026"/>
                      </a:lnTo>
                      <a:lnTo>
                        <a:pt x="1231" y="8775"/>
                      </a:lnTo>
                      <a:lnTo>
                        <a:pt x="3467" y="8343"/>
                      </a:lnTo>
                      <a:lnTo>
                        <a:pt x="4394" y="7226"/>
                      </a:lnTo>
                      <a:close/>
                    </a:path>
                    <a:path w="62864" h="54610">
                      <a:moveTo>
                        <a:pt x="17513" y="19240"/>
                      </a:moveTo>
                      <a:lnTo>
                        <a:pt x="16814" y="18313"/>
                      </a:lnTo>
                      <a:lnTo>
                        <a:pt x="15354" y="17106"/>
                      </a:lnTo>
                      <a:lnTo>
                        <a:pt x="15278" y="19050"/>
                      </a:lnTo>
                      <a:lnTo>
                        <a:pt x="16116" y="19342"/>
                      </a:lnTo>
                      <a:lnTo>
                        <a:pt x="16662" y="18923"/>
                      </a:lnTo>
                      <a:lnTo>
                        <a:pt x="17513" y="19240"/>
                      </a:lnTo>
                      <a:close/>
                    </a:path>
                    <a:path w="62864" h="54610">
                      <a:moveTo>
                        <a:pt x="62661" y="52882"/>
                      </a:moveTo>
                      <a:lnTo>
                        <a:pt x="61569" y="51549"/>
                      </a:lnTo>
                      <a:lnTo>
                        <a:pt x="60845" y="52298"/>
                      </a:lnTo>
                      <a:lnTo>
                        <a:pt x="60388" y="53314"/>
                      </a:lnTo>
                      <a:lnTo>
                        <a:pt x="59842" y="54229"/>
                      </a:lnTo>
                      <a:lnTo>
                        <a:pt x="61036" y="54127"/>
                      </a:lnTo>
                      <a:lnTo>
                        <a:pt x="61150" y="53060"/>
                      </a:lnTo>
                      <a:lnTo>
                        <a:pt x="61302" y="52743"/>
                      </a:lnTo>
                      <a:lnTo>
                        <a:pt x="61506" y="52336"/>
                      </a:lnTo>
                      <a:lnTo>
                        <a:pt x="62661" y="52882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71" name="object 111">
                  <a:extLst>
                    <a:ext uri="{FF2B5EF4-FFF2-40B4-BE49-F238E27FC236}">
                      <a16:creationId xmlns:a16="http://schemas.microsoft.com/office/drawing/2014/main" id="{7B33C980-4A2D-2568-B172-8CD81B0556FF}"/>
                    </a:ext>
                  </a:extLst>
                </p:cNvPr>
                <p:cNvSpPr/>
                <p:nvPr/>
              </p:nvSpPr>
              <p:spPr>
                <a:xfrm>
                  <a:off x="3509505" y="1333398"/>
                  <a:ext cx="1464945" cy="2324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64945" h="2324100">
                      <a:moveTo>
                        <a:pt x="6591" y="1193025"/>
                      </a:moveTo>
                      <a:lnTo>
                        <a:pt x="2311" y="1191602"/>
                      </a:lnTo>
                      <a:lnTo>
                        <a:pt x="1041" y="1192542"/>
                      </a:lnTo>
                      <a:lnTo>
                        <a:pt x="0" y="1193076"/>
                      </a:lnTo>
                      <a:lnTo>
                        <a:pt x="698" y="1193457"/>
                      </a:lnTo>
                      <a:lnTo>
                        <a:pt x="1435" y="1193634"/>
                      </a:lnTo>
                      <a:lnTo>
                        <a:pt x="2197" y="1193863"/>
                      </a:lnTo>
                      <a:lnTo>
                        <a:pt x="3390" y="1193850"/>
                      </a:lnTo>
                      <a:lnTo>
                        <a:pt x="6591" y="1193025"/>
                      </a:lnTo>
                      <a:close/>
                    </a:path>
                    <a:path w="1464945" h="2324100">
                      <a:moveTo>
                        <a:pt x="37985" y="1150734"/>
                      </a:moveTo>
                      <a:lnTo>
                        <a:pt x="37503" y="1150594"/>
                      </a:lnTo>
                      <a:lnTo>
                        <a:pt x="35610" y="1150454"/>
                      </a:lnTo>
                      <a:lnTo>
                        <a:pt x="34696" y="1150480"/>
                      </a:lnTo>
                      <a:lnTo>
                        <a:pt x="33820" y="1150658"/>
                      </a:lnTo>
                      <a:lnTo>
                        <a:pt x="30657" y="1150975"/>
                      </a:lnTo>
                      <a:lnTo>
                        <a:pt x="29857" y="1151572"/>
                      </a:lnTo>
                      <a:lnTo>
                        <a:pt x="31394" y="1152639"/>
                      </a:lnTo>
                      <a:lnTo>
                        <a:pt x="28638" y="1153693"/>
                      </a:lnTo>
                      <a:lnTo>
                        <a:pt x="25882" y="1154531"/>
                      </a:lnTo>
                      <a:lnTo>
                        <a:pt x="24155" y="1155115"/>
                      </a:lnTo>
                      <a:lnTo>
                        <a:pt x="23952" y="1157008"/>
                      </a:lnTo>
                      <a:lnTo>
                        <a:pt x="25057" y="1156550"/>
                      </a:lnTo>
                      <a:lnTo>
                        <a:pt x="27343" y="1155560"/>
                      </a:lnTo>
                      <a:lnTo>
                        <a:pt x="29972" y="1154366"/>
                      </a:lnTo>
                      <a:lnTo>
                        <a:pt x="32524" y="1153998"/>
                      </a:lnTo>
                      <a:lnTo>
                        <a:pt x="32867" y="1154188"/>
                      </a:lnTo>
                      <a:lnTo>
                        <a:pt x="33274" y="1154328"/>
                      </a:lnTo>
                      <a:lnTo>
                        <a:pt x="34163" y="1154023"/>
                      </a:lnTo>
                      <a:lnTo>
                        <a:pt x="34861" y="1153477"/>
                      </a:lnTo>
                      <a:lnTo>
                        <a:pt x="36258" y="1152118"/>
                      </a:lnTo>
                      <a:lnTo>
                        <a:pt x="36410" y="1151051"/>
                      </a:lnTo>
                      <a:lnTo>
                        <a:pt x="37985" y="1150734"/>
                      </a:lnTo>
                      <a:close/>
                    </a:path>
                    <a:path w="1464945" h="2324100">
                      <a:moveTo>
                        <a:pt x="173939" y="169202"/>
                      </a:moveTo>
                      <a:lnTo>
                        <a:pt x="110413" y="169202"/>
                      </a:lnTo>
                      <a:lnTo>
                        <a:pt x="110413" y="188252"/>
                      </a:lnTo>
                      <a:lnTo>
                        <a:pt x="109550" y="186855"/>
                      </a:lnTo>
                      <a:lnTo>
                        <a:pt x="110083" y="187363"/>
                      </a:lnTo>
                      <a:lnTo>
                        <a:pt x="110413" y="188252"/>
                      </a:lnTo>
                      <a:lnTo>
                        <a:pt x="110413" y="169202"/>
                      </a:lnTo>
                      <a:lnTo>
                        <a:pt x="86829" y="169202"/>
                      </a:lnTo>
                      <a:lnTo>
                        <a:pt x="81089" y="169202"/>
                      </a:lnTo>
                      <a:lnTo>
                        <a:pt x="79324" y="170599"/>
                      </a:lnTo>
                      <a:lnTo>
                        <a:pt x="75971" y="171234"/>
                      </a:lnTo>
                      <a:lnTo>
                        <a:pt x="74955" y="170980"/>
                      </a:lnTo>
                      <a:lnTo>
                        <a:pt x="70789" y="173393"/>
                      </a:lnTo>
                      <a:lnTo>
                        <a:pt x="68630" y="175171"/>
                      </a:lnTo>
                      <a:lnTo>
                        <a:pt x="65011" y="176060"/>
                      </a:lnTo>
                      <a:lnTo>
                        <a:pt x="63322" y="176060"/>
                      </a:lnTo>
                      <a:lnTo>
                        <a:pt x="62318" y="177457"/>
                      </a:lnTo>
                      <a:lnTo>
                        <a:pt x="64973" y="177584"/>
                      </a:lnTo>
                      <a:lnTo>
                        <a:pt x="65557" y="179489"/>
                      </a:lnTo>
                      <a:lnTo>
                        <a:pt x="61849" y="179489"/>
                      </a:lnTo>
                      <a:lnTo>
                        <a:pt x="59461" y="180124"/>
                      </a:lnTo>
                      <a:lnTo>
                        <a:pt x="57950" y="180251"/>
                      </a:lnTo>
                      <a:lnTo>
                        <a:pt x="55067" y="181775"/>
                      </a:lnTo>
                      <a:lnTo>
                        <a:pt x="57111" y="183299"/>
                      </a:lnTo>
                      <a:lnTo>
                        <a:pt x="58191" y="185331"/>
                      </a:lnTo>
                      <a:lnTo>
                        <a:pt x="58953" y="185839"/>
                      </a:lnTo>
                      <a:lnTo>
                        <a:pt x="57531" y="186855"/>
                      </a:lnTo>
                      <a:lnTo>
                        <a:pt x="55880" y="186347"/>
                      </a:lnTo>
                      <a:lnTo>
                        <a:pt x="53936" y="185204"/>
                      </a:lnTo>
                      <a:lnTo>
                        <a:pt x="53721" y="185077"/>
                      </a:lnTo>
                      <a:lnTo>
                        <a:pt x="53022" y="185204"/>
                      </a:lnTo>
                      <a:lnTo>
                        <a:pt x="49860" y="184988"/>
                      </a:lnTo>
                      <a:lnTo>
                        <a:pt x="49860" y="228053"/>
                      </a:lnTo>
                      <a:lnTo>
                        <a:pt x="45656" y="229400"/>
                      </a:lnTo>
                      <a:lnTo>
                        <a:pt x="42418" y="227622"/>
                      </a:lnTo>
                      <a:lnTo>
                        <a:pt x="45618" y="227241"/>
                      </a:lnTo>
                      <a:lnTo>
                        <a:pt x="49466" y="228003"/>
                      </a:lnTo>
                      <a:lnTo>
                        <a:pt x="49860" y="228053"/>
                      </a:lnTo>
                      <a:lnTo>
                        <a:pt x="49860" y="184988"/>
                      </a:lnTo>
                      <a:lnTo>
                        <a:pt x="49441" y="184950"/>
                      </a:lnTo>
                      <a:lnTo>
                        <a:pt x="48818" y="184823"/>
                      </a:lnTo>
                      <a:lnTo>
                        <a:pt x="45656" y="185839"/>
                      </a:lnTo>
                      <a:lnTo>
                        <a:pt x="43726" y="186855"/>
                      </a:lnTo>
                      <a:lnTo>
                        <a:pt x="48387" y="188633"/>
                      </a:lnTo>
                      <a:lnTo>
                        <a:pt x="44030" y="191681"/>
                      </a:lnTo>
                      <a:lnTo>
                        <a:pt x="42494" y="193078"/>
                      </a:lnTo>
                      <a:lnTo>
                        <a:pt x="41922" y="193332"/>
                      </a:lnTo>
                      <a:lnTo>
                        <a:pt x="40259" y="194602"/>
                      </a:lnTo>
                      <a:lnTo>
                        <a:pt x="40919" y="193332"/>
                      </a:lnTo>
                      <a:lnTo>
                        <a:pt x="40805" y="193205"/>
                      </a:lnTo>
                      <a:lnTo>
                        <a:pt x="40563" y="192951"/>
                      </a:lnTo>
                      <a:lnTo>
                        <a:pt x="40322" y="192570"/>
                      </a:lnTo>
                      <a:lnTo>
                        <a:pt x="39751" y="191681"/>
                      </a:lnTo>
                      <a:lnTo>
                        <a:pt x="39649" y="191300"/>
                      </a:lnTo>
                      <a:lnTo>
                        <a:pt x="39522" y="190030"/>
                      </a:lnTo>
                      <a:lnTo>
                        <a:pt x="35788" y="192570"/>
                      </a:lnTo>
                      <a:lnTo>
                        <a:pt x="36283" y="189903"/>
                      </a:lnTo>
                      <a:lnTo>
                        <a:pt x="33705" y="189522"/>
                      </a:lnTo>
                      <a:lnTo>
                        <a:pt x="29616" y="191935"/>
                      </a:lnTo>
                      <a:lnTo>
                        <a:pt x="30657" y="193840"/>
                      </a:lnTo>
                      <a:lnTo>
                        <a:pt x="32359" y="193205"/>
                      </a:lnTo>
                      <a:lnTo>
                        <a:pt x="33451" y="194602"/>
                      </a:lnTo>
                      <a:lnTo>
                        <a:pt x="33489" y="194856"/>
                      </a:lnTo>
                      <a:lnTo>
                        <a:pt x="32664" y="196380"/>
                      </a:lnTo>
                      <a:lnTo>
                        <a:pt x="35585" y="195872"/>
                      </a:lnTo>
                      <a:lnTo>
                        <a:pt x="36677" y="195364"/>
                      </a:lnTo>
                      <a:lnTo>
                        <a:pt x="40449" y="194995"/>
                      </a:lnTo>
                      <a:lnTo>
                        <a:pt x="40563" y="194856"/>
                      </a:lnTo>
                      <a:lnTo>
                        <a:pt x="40601" y="194983"/>
                      </a:lnTo>
                      <a:lnTo>
                        <a:pt x="40449" y="194995"/>
                      </a:lnTo>
                      <a:lnTo>
                        <a:pt x="38912" y="197015"/>
                      </a:lnTo>
                      <a:lnTo>
                        <a:pt x="39408" y="197142"/>
                      </a:lnTo>
                      <a:lnTo>
                        <a:pt x="39763" y="197269"/>
                      </a:lnTo>
                      <a:lnTo>
                        <a:pt x="41148" y="197269"/>
                      </a:lnTo>
                      <a:lnTo>
                        <a:pt x="44272" y="196380"/>
                      </a:lnTo>
                      <a:lnTo>
                        <a:pt x="41948" y="198539"/>
                      </a:lnTo>
                      <a:lnTo>
                        <a:pt x="39331" y="198539"/>
                      </a:lnTo>
                      <a:lnTo>
                        <a:pt x="36753" y="199047"/>
                      </a:lnTo>
                      <a:lnTo>
                        <a:pt x="35585" y="199428"/>
                      </a:lnTo>
                      <a:lnTo>
                        <a:pt x="33477" y="200444"/>
                      </a:lnTo>
                      <a:lnTo>
                        <a:pt x="29972" y="200698"/>
                      </a:lnTo>
                      <a:lnTo>
                        <a:pt x="34124" y="202730"/>
                      </a:lnTo>
                      <a:lnTo>
                        <a:pt x="40259" y="200317"/>
                      </a:lnTo>
                      <a:lnTo>
                        <a:pt x="41490" y="203492"/>
                      </a:lnTo>
                      <a:lnTo>
                        <a:pt x="42075" y="204381"/>
                      </a:lnTo>
                      <a:lnTo>
                        <a:pt x="44996" y="204889"/>
                      </a:lnTo>
                      <a:lnTo>
                        <a:pt x="46228" y="204000"/>
                      </a:lnTo>
                      <a:lnTo>
                        <a:pt x="47625" y="204508"/>
                      </a:lnTo>
                      <a:lnTo>
                        <a:pt x="45046" y="206540"/>
                      </a:lnTo>
                      <a:lnTo>
                        <a:pt x="43548" y="205651"/>
                      </a:lnTo>
                      <a:lnTo>
                        <a:pt x="40767" y="204000"/>
                      </a:lnTo>
                      <a:lnTo>
                        <a:pt x="37058" y="204254"/>
                      </a:lnTo>
                      <a:lnTo>
                        <a:pt x="35826" y="204635"/>
                      </a:lnTo>
                      <a:lnTo>
                        <a:pt x="34048" y="205143"/>
                      </a:lnTo>
                      <a:lnTo>
                        <a:pt x="33477" y="205397"/>
                      </a:lnTo>
                      <a:lnTo>
                        <a:pt x="32004" y="205651"/>
                      </a:lnTo>
                      <a:lnTo>
                        <a:pt x="32080" y="205016"/>
                      </a:lnTo>
                      <a:lnTo>
                        <a:pt x="30657" y="204762"/>
                      </a:lnTo>
                      <a:lnTo>
                        <a:pt x="28308" y="204889"/>
                      </a:lnTo>
                      <a:lnTo>
                        <a:pt x="26835" y="206921"/>
                      </a:lnTo>
                      <a:lnTo>
                        <a:pt x="29578" y="208826"/>
                      </a:lnTo>
                      <a:lnTo>
                        <a:pt x="32080" y="209207"/>
                      </a:lnTo>
                      <a:lnTo>
                        <a:pt x="33197" y="208572"/>
                      </a:lnTo>
                      <a:lnTo>
                        <a:pt x="35280" y="209588"/>
                      </a:lnTo>
                      <a:lnTo>
                        <a:pt x="35521" y="210096"/>
                      </a:lnTo>
                      <a:lnTo>
                        <a:pt x="36372" y="210477"/>
                      </a:lnTo>
                      <a:lnTo>
                        <a:pt x="37376" y="210223"/>
                      </a:lnTo>
                      <a:lnTo>
                        <a:pt x="37642" y="210223"/>
                      </a:lnTo>
                      <a:lnTo>
                        <a:pt x="34556" y="212128"/>
                      </a:lnTo>
                      <a:lnTo>
                        <a:pt x="30073" y="210858"/>
                      </a:lnTo>
                      <a:lnTo>
                        <a:pt x="25565" y="212128"/>
                      </a:lnTo>
                      <a:lnTo>
                        <a:pt x="21285" y="213017"/>
                      </a:lnTo>
                      <a:lnTo>
                        <a:pt x="26301" y="214795"/>
                      </a:lnTo>
                      <a:lnTo>
                        <a:pt x="28879" y="214414"/>
                      </a:lnTo>
                      <a:lnTo>
                        <a:pt x="29972" y="215684"/>
                      </a:lnTo>
                      <a:lnTo>
                        <a:pt x="28257" y="215811"/>
                      </a:lnTo>
                      <a:lnTo>
                        <a:pt x="26682" y="216319"/>
                      </a:lnTo>
                      <a:lnTo>
                        <a:pt x="23139" y="216192"/>
                      </a:lnTo>
                      <a:lnTo>
                        <a:pt x="22796" y="215430"/>
                      </a:lnTo>
                      <a:lnTo>
                        <a:pt x="21132" y="216700"/>
                      </a:lnTo>
                      <a:lnTo>
                        <a:pt x="21945" y="217335"/>
                      </a:lnTo>
                      <a:lnTo>
                        <a:pt x="27419" y="218478"/>
                      </a:lnTo>
                      <a:lnTo>
                        <a:pt x="28117" y="219494"/>
                      </a:lnTo>
                      <a:lnTo>
                        <a:pt x="29883" y="220129"/>
                      </a:lnTo>
                      <a:lnTo>
                        <a:pt x="31242" y="220002"/>
                      </a:lnTo>
                      <a:lnTo>
                        <a:pt x="31851" y="221272"/>
                      </a:lnTo>
                      <a:lnTo>
                        <a:pt x="27762" y="220764"/>
                      </a:lnTo>
                      <a:lnTo>
                        <a:pt x="26339" y="220383"/>
                      </a:lnTo>
                      <a:lnTo>
                        <a:pt x="23444" y="220002"/>
                      </a:lnTo>
                      <a:lnTo>
                        <a:pt x="22669" y="219113"/>
                      </a:lnTo>
                      <a:lnTo>
                        <a:pt x="19710" y="219367"/>
                      </a:lnTo>
                      <a:lnTo>
                        <a:pt x="19126" y="220002"/>
                      </a:lnTo>
                      <a:lnTo>
                        <a:pt x="17894" y="220764"/>
                      </a:lnTo>
                      <a:lnTo>
                        <a:pt x="16929" y="221272"/>
                      </a:lnTo>
                      <a:lnTo>
                        <a:pt x="15582" y="221653"/>
                      </a:lnTo>
                      <a:lnTo>
                        <a:pt x="14922" y="222542"/>
                      </a:lnTo>
                      <a:lnTo>
                        <a:pt x="13690" y="224066"/>
                      </a:lnTo>
                      <a:lnTo>
                        <a:pt x="14579" y="223558"/>
                      </a:lnTo>
                      <a:lnTo>
                        <a:pt x="16776" y="224955"/>
                      </a:lnTo>
                      <a:lnTo>
                        <a:pt x="14503" y="225463"/>
                      </a:lnTo>
                      <a:lnTo>
                        <a:pt x="11341" y="226098"/>
                      </a:lnTo>
                      <a:lnTo>
                        <a:pt x="9613" y="226860"/>
                      </a:lnTo>
                      <a:lnTo>
                        <a:pt x="5943" y="228130"/>
                      </a:lnTo>
                      <a:lnTo>
                        <a:pt x="5321" y="229654"/>
                      </a:lnTo>
                      <a:lnTo>
                        <a:pt x="2705" y="230797"/>
                      </a:lnTo>
                      <a:lnTo>
                        <a:pt x="850" y="229400"/>
                      </a:lnTo>
                      <a:lnTo>
                        <a:pt x="152" y="229908"/>
                      </a:lnTo>
                      <a:lnTo>
                        <a:pt x="4597" y="232956"/>
                      </a:lnTo>
                      <a:lnTo>
                        <a:pt x="10718" y="232448"/>
                      </a:lnTo>
                      <a:lnTo>
                        <a:pt x="18402" y="232067"/>
                      </a:lnTo>
                      <a:lnTo>
                        <a:pt x="21361" y="231813"/>
                      </a:lnTo>
                      <a:lnTo>
                        <a:pt x="24142" y="232067"/>
                      </a:lnTo>
                      <a:lnTo>
                        <a:pt x="22479" y="232575"/>
                      </a:lnTo>
                      <a:lnTo>
                        <a:pt x="17780" y="233591"/>
                      </a:lnTo>
                      <a:lnTo>
                        <a:pt x="16662" y="233464"/>
                      </a:lnTo>
                      <a:lnTo>
                        <a:pt x="15163" y="234099"/>
                      </a:lnTo>
                      <a:lnTo>
                        <a:pt x="14808" y="234734"/>
                      </a:lnTo>
                      <a:lnTo>
                        <a:pt x="12230" y="235242"/>
                      </a:lnTo>
                      <a:lnTo>
                        <a:pt x="10922" y="236258"/>
                      </a:lnTo>
                      <a:lnTo>
                        <a:pt x="8826" y="237782"/>
                      </a:lnTo>
                      <a:lnTo>
                        <a:pt x="8064" y="238036"/>
                      </a:lnTo>
                      <a:lnTo>
                        <a:pt x="7645" y="240830"/>
                      </a:lnTo>
                      <a:lnTo>
                        <a:pt x="6985" y="240703"/>
                      </a:lnTo>
                      <a:lnTo>
                        <a:pt x="5715" y="241338"/>
                      </a:lnTo>
                      <a:lnTo>
                        <a:pt x="12230" y="241719"/>
                      </a:lnTo>
                      <a:lnTo>
                        <a:pt x="14122" y="241211"/>
                      </a:lnTo>
                      <a:lnTo>
                        <a:pt x="14909" y="240830"/>
                      </a:lnTo>
                      <a:lnTo>
                        <a:pt x="17005" y="239814"/>
                      </a:lnTo>
                      <a:lnTo>
                        <a:pt x="18935" y="240195"/>
                      </a:lnTo>
                      <a:lnTo>
                        <a:pt x="20713" y="240576"/>
                      </a:lnTo>
                      <a:lnTo>
                        <a:pt x="22250" y="241973"/>
                      </a:lnTo>
                      <a:lnTo>
                        <a:pt x="26225" y="242862"/>
                      </a:lnTo>
                      <a:lnTo>
                        <a:pt x="28765" y="242481"/>
                      </a:lnTo>
                      <a:lnTo>
                        <a:pt x="32080" y="242735"/>
                      </a:lnTo>
                      <a:lnTo>
                        <a:pt x="32207" y="243497"/>
                      </a:lnTo>
                      <a:lnTo>
                        <a:pt x="32867" y="242481"/>
                      </a:lnTo>
                      <a:lnTo>
                        <a:pt x="33121" y="242100"/>
                      </a:lnTo>
                      <a:lnTo>
                        <a:pt x="32854" y="240830"/>
                      </a:lnTo>
                      <a:lnTo>
                        <a:pt x="32664" y="240322"/>
                      </a:lnTo>
                      <a:lnTo>
                        <a:pt x="34163" y="241465"/>
                      </a:lnTo>
                      <a:lnTo>
                        <a:pt x="34353" y="243751"/>
                      </a:lnTo>
                      <a:lnTo>
                        <a:pt x="37719" y="244132"/>
                      </a:lnTo>
                      <a:lnTo>
                        <a:pt x="39103" y="244132"/>
                      </a:lnTo>
                      <a:lnTo>
                        <a:pt x="41376" y="244640"/>
                      </a:lnTo>
                      <a:lnTo>
                        <a:pt x="44157" y="245656"/>
                      </a:lnTo>
                      <a:lnTo>
                        <a:pt x="45123" y="242862"/>
                      </a:lnTo>
                      <a:lnTo>
                        <a:pt x="44881" y="241846"/>
                      </a:lnTo>
                      <a:lnTo>
                        <a:pt x="47459" y="240322"/>
                      </a:lnTo>
                      <a:lnTo>
                        <a:pt x="48323" y="239814"/>
                      </a:lnTo>
                      <a:lnTo>
                        <a:pt x="50126" y="239052"/>
                      </a:lnTo>
                      <a:lnTo>
                        <a:pt x="51396" y="237782"/>
                      </a:lnTo>
                      <a:lnTo>
                        <a:pt x="50165" y="237147"/>
                      </a:lnTo>
                      <a:lnTo>
                        <a:pt x="48780" y="236385"/>
                      </a:lnTo>
                      <a:lnTo>
                        <a:pt x="47015" y="235623"/>
                      </a:lnTo>
                      <a:lnTo>
                        <a:pt x="45923" y="235623"/>
                      </a:lnTo>
                      <a:lnTo>
                        <a:pt x="44805" y="234988"/>
                      </a:lnTo>
                      <a:lnTo>
                        <a:pt x="45186" y="234353"/>
                      </a:lnTo>
                      <a:lnTo>
                        <a:pt x="44310" y="233591"/>
                      </a:lnTo>
                      <a:lnTo>
                        <a:pt x="46926" y="233972"/>
                      </a:lnTo>
                      <a:lnTo>
                        <a:pt x="48933" y="236131"/>
                      </a:lnTo>
                      <a:lnTo>
                        <a:pt x="53365" y="236639"/>
                      </a:lnTo>
                      <a:lnTo>
                        <a:pt x="55892" y="233591"/>
                      </a:lnTo>
                      <a:lnTo>
                        <a:pt x="55778" y="232575"/>
                      </a:lnTo>
                      <a:lnTo>
                        <a:pt x="55600" y="231813"/>
                      </a:lnTo>
                      <a:lnTo>
                        <a:pt x="55486" y="231305"/>
                      </a:lnTo>
                      <a:lnTo>
                        <a:pt x="55016" y="230797"/>
                      </a:lnTo>
                      <a:lnTo>
                        <a:pt x="54063" y="229781"/>
                      </a:lnTo>
                      <a:lnTo>
                        <a:pt x="53276" y="229400"/>
                      </a:lnTo>
                      <a:lnTo>
                        <a:pt x="51092" y="228231"/>
                      </a:lnTo>
                      <a:lnTo>
                        <a:pt x="54025" y="228638"/>
                      </a:lnTo>
                      <a:lnTo>
                        <a:pt x="54787" y="229019"/>
                      </a:lnTo>
                      <a:lnTo>
                        <a:pt x="56299" y="230162"/>
                      </a:lnTo>
                      <a:lnTo>
                        <a:pt x="57378" y="231940"/>
                      </a:lnTo>
                      <a:lnTo>
                        <a:pt x="60261" y="232067"/>
                      </a:lnTo>
                      <a:lnTo>
                        <a:pt x="60337" y="227876"/>
                      </a:lnTo>
                      <a:lnTo>
                        <a:pt x="60299" y="227241"/>
                      </a:lnTo>
                      <a:lnTo>
                        <a:pt x="60198" y="226733"/>
                      </a:lnTo>
                      <a:lnTo>
                        <a:pt x="60109" y="226479"/>
                      </a:lnTo>
                      <a:lnTo>
                        <a:pt x="61036" y="226225"/>
                      </a:lnTo>
                      <a:lnTo>
                        <a:pt x="60198" y="225717"/>
                      </a:lnTo>
                      <a:lnTo>
                        <a:pt x="59842" y="225590"/>
                      </a:lnTo>
                      <a:lnTo>
                        <a:pt x="59651" y="225336"/>
                      </a:lnTo>
                      <a:lnTo>
                        <a:pt x="59385" y="225082"/>
                      </a:lnTo>
                      <a:lnTo>
                        <a:pt x="58648" y="224828"/>
                      </a:lnTo>
                      <a:lnTo>
                        <a:pt x="57531" y="223939"/>
                      </a:lnTo>
                      <a:lnTo>
                        <a:pt x="57264" y="223558"/>
                      </a:lnTo>
                      <a:lnTo>
                        <a:pt x="56489" y="222415"/>
                      </a:lnTo>
                      <a:lnTo>
                        <a:pt x="54483" y="222415"/>
                      </a:lnTo>
                      <a:lnTo>
                        <a:pt x="53403" y="222034"/>
                      </a:lnTo>
                      <a:lnTo>
                        <a:pt x="52285" y="222034"/>
                      </a:lnTo>
                      <a:lnTo>
                        <a:pt x="52946" y="221272"/>
                      </a:lnTo>
                      <a:lnTo>
                        <a:pt x="55651" y="220510"/>
                      </a:lnTo>
                      <a:lnTo>
                        <a:pt x="55041" y="220002"/>
                      </a:lnTo>
                      <a:lnTo>
                        <a:pt x="54292" y="219367"/>
                      </a:lnTo>
                      <a:lnTo>
                        <a:pt x="57264" y="220256"/>
                      </a:lnTo>
                      <a:lnTo>
                        <a:pt x="58915" y="224193"/>
                      </a:lnTo>
                      <a:lnTo>
                        <a:pt x="62395" y="224066"/>
                      </a:lnTo>
                      <a:lnTo>
                        <a:pt x="63779" y="224447"/>
                      </a:lnTo>
                      <a:lnTo>
                        <a:pt x="64782" y="224066"/>
                      </a:lnTo>
                      <a:lnTo>
                        <a:pt x="64909" y="222542"/>
                      </a:lnTo>
                      <a:lnTo>
                        <a:pt x="64935" y="220637"/>
                      </a:lnTo>
                      <a:lnTo>
                        <a:pt x="64935" y="220446"/>
                      </a:lnTo>
                      <a:lnTo>
                        <a:pt x="64935" y="219875"/>
                      </a:lnTo>
                      <a:lnTo>
                        <a:pt x="64935" y="220446"/>
                      </a:lnTo>
                      <a:lnTo>
                        <a:pt x="65392" y="219875"/>
                      </a:lnTo>
                      <a:lnTo>
                        <a:pt x="65798" y="219367"/>
                      </a:lnTo>
                      <a:lnTo>
                        <a:pt x="66522" y="218478"/>
                      </a:lnTo>
                      <a:lnTo>
                        <a:pt x="66319" y="217970"/>
                      </a:lnTo>
                      <a:lnTo>
                        <a:pt x="69329" y="219240"/>
                      </a:lnTo>
                      <a:lnTo>
                        <a:pt x="70065" y="219748"/>
                      </a:lnTo>
                      <a:lnTo>
                        <a:pt x="71374" y="217970"/>
                      </a:lnTo>
                      <a:lnTo>
                        <a:pt x="71755" y="217462"/>
                      </a:lnTo>
                      <a:lnTo>
                        <a:pt x="71996" y="216319"/>
                      </a:lnTo>
                      <a:lnTo>
                        <a:pt x="72021" y="215430"/>
                      </a:lnTo>
                      <a:lnTo>
                        <a:pt x="71780" y="214414"/>
                      </a:lnTo>
                      <a:lnTo>
                        <a:pt x="71716" y="214160"/>
                      </a:lnTo>
                      <a:lnTo>
                        <a:pt x="71107" y="213652"/>
                      </a:lnTo>
                      <a:lnTo>
                        <a:pt x="70713" y="212636"/>
                      </a:lnTo>
                      <a:lnTo>
                        <a:pt x="72072" y="212636"/>
                      </a:lnTo>
                      <a:lnTo>
                        <a:pt x="71323" y="212128"/>
                      </a:lnTo>
                      <a:lnTo>
                        <a:pt x="70954" y="211874"/>
                      </a:lnTo>
                      <a:lnTo>
                        <a:pt x="70180" y="211493"/>
                      </a:lnTo>
                      <a:lnTo>
                        <a:pt x="68999" y="210223"/>
                      </a:lnTo>
                      <a:lnTo>
                        <a:pt x="68757" y="209969"/>
                      </a:lnTo>
                      <a:lnTo>
                        <a:pt x="66941" y="209588"/>
                      </a:lnTo>
                      <a:lnTo>
                        <a:pt x="65786" y="209207"/>
                      </a:lnTo>
                      <a:lnTo>
                        <a:pt x="65290" y="208572"/>
                      </a:lnTo>
                      <a:lnTo>
                        <a:pt x="65087" y="208318"/>
                      </a:lnTo>
                      <a:lnTo>
                        <a:pt x="69824" y="208318"/>
                      </a:lnTo>
                      <a:lnTo>
                        <a:pt x="73037" y="211366"/>
                      </a:lnTo>
                      <a:lnTo>
                        <a:pt x="77431" y="211747"/>
                      </a:lnTo>
                      <a:lnTo>
                        <a:pt x="79286" y="211874"/>
                      </a:lnTo>
                      <a:lnTo>
                        <a:pt x="78600" y="210477"/>
                      </a:lnTo>
                      <a:lnTo>
                        <a:pt x="78638" y="209588"/>
                      </a:lnTo>
                      <a:lnTo>
                        <a:pt x="78981" y="208318"/>
                      </a:lnTo>
                      <a:lnTo>
                        <a:pt x="79082" y="207937"/>
                      </a:lnTo>
                      <a:lnTo>
                        <a:pt x="80010" y="207683"/>
                      </a:lnTo>
                      <a:lnTo>
                        <a:pt x="79616" y="206540"/>
                      </a:lnTo>
                      <a:lnTo>
                        <a:pt x="79349" y="205905"/>
                      </a:lnTo>
                      <a:lnTo>
                        <a:pt x="77114" y="206540"/>
                      </a:lnTo>
                      <a:lnTo>
                        <a:pt x="80048" y="204635"/>
                      </a:lnTo>
                      <a:lnTo>
                        <a:pt x="78854" y="204127"/>
                      </a:lnTo>
                      <a:lnTo>
                        <a:pt x="78701" y="204000"/>
                      </a:lnTo>
                      <a:lnTo>
                        <a:pt x="78232" y="203619"/>
                      </a:lnTo>
                      <a:lnTo>
                        <a:pt x="81241" y="203873"/>
                      </a:lnTo>
                      <a:lnTo>
                        <a:pt x="83172" y="206667"/>
                      </a:lnTo>
                      <a:lnTo>
                        <a:pt x="87960" y="207937"/>
                      </a:lnTo>
                      <a:lnTo>
                        <a:pt x="88531" y="205397"/>
                      </a:lnTo>
                      <a:lnTo>
                        <a:pt x="88519" y="204762"/>
                      </a:lnTo>
                      <a:lnTo>
                        <a:pt x="87515" y="203746"/>
                      </a:lnTo>
                      <a:lnTo>
                        <a:pt x="87261" y="203492"/>
                      </a:lnTo>
                      <a:lnTo>
                        <a:pt x="86334" y="203746"/>
                      </a:lnTo>
                      <a:lnTo>
                        <a:pt x="86093" y="203619"/>
                      </a:lnTo>
                      <a:lnTo>
                        <a:pt x="85369" y="203238"/>
                      </a:lnTo>
                      <a:lnTo>
                        <a:pt x="84950" y="202476"/>
                      </a:lnTo>
                      <a:lnTo>
                        <a:pt x="84480" y="201968"/>
                      </a:lnTo>
                      <a:lnTo>
                        <a:pt x="87490" y="202476"/>
                      </a:lnTo>
                      <a:lnTo>
                        <a:pt x="89573" y="204254"/>
                      </a:lnTo>
                      <a:lnTo>
                        <a:pt x="94856" y="203111"/>
                      </a:lnTo>
                      <a:lnTo>
                        <a:pt x="94005" y="203111"/>
                      </a:lnTo>
                      <a:lnTo>
                        <a:pt x="94170" y="201968"/>
                      </a:lnTo>
                      <a:lnTo>
                        <a:pt x="94424" y="200317"/>
                      </a:lnTo>
                      <a:lnTo>
                        <a:pt x="94665" y="198666"/>
                      </a:lnTo>
                      <a:lnTo>
                        <a:pt x="97942" y="198666"/>
                      </a:lnTo>
                      <a:lnTo>
                        <a:pt x="99517" y="196761"/>
                      </a:lnTo>
                      <a:lnTo>
                        <a:pt x="93586" y="196761"/>
                      </a:lnTo>
                      <a:lnTo>
                        <a:pt x="91694" y="196380"/>
                      </a:lnTo>
                      <a:lnTo>
                        <a:pt x="90424" y="196126"/>
                      </a:lnTo>
                      <a:lnTo>
                        <a:pt x="92849" y="195237"/>
                      </a:lnTo>
                      <a:lnTo>
                        <a:pt x="95821" y="195364"/>
                      </a:lnTo>
                      <a:lnTo>
                        <a:pt x="98755" y="195237"/>
                      </a:lnTo>
                      <a:lnTo>
                        <a:pt x="101688" y="195110"/>
                      </a:lnTo>
                      <a:lnTo>
                        <a:pt x="101409" y="194856"/>
                      </a:lnTo>
                      <a:lnTo>
                        <a:pt x="101142" y="194602"/>
                      </a:lnTo>
                      <a:lnTo>
                        <a:pt x="104305" y="191300"/>
                      </a:lnTo>
                      <a:lnTo>
                        <a:pt x="110680" y="188937"/>
                      </a:lnTo>
                      <a:lnTo>
                        <a:pt x="110858" y="189395"/>
                      </a:lnTo>
                      <a:lnTo>
                        <a:pt x="113055" y="189649"/>
                      </a:lnTo>
                      <a:lnTo>
                        <a:pt x="114020" y="187236"/>
                      </a:lnTo>
                      <a:lnTo>
                        <a:pt x="116751" y="183934"/>
                      </a:lnTo>
                      <a:lnTo>
                        <a:pt x="130517" y="180505"/>
                      </a:lnTo>
                      <a:lnTo>
                        <a:pt x="139547" y="178981"/>
                      </a:lnTo>
                      <a:lnTo>
                        <a:pt x="151193" y="175806"/>
                      </a:lnTo>
                      <a:lnTo>
                        <a:pt x="156121" y="173266"/>
                      </a:lnTo>
                      <a:lnTo>
                        <a:pt x="165963" y="172250"/>
                      </a:lnTo>
                      <a:lnTo>
                        <a:pt x="168160" y="171234"/>
                      </a:lnTo>
                      <a:lnTo>
                        <a:pt x="170357" y="170218"/>
                      </a:lnTo>
                      <a:lnTo>
                        <a:pt x="173939" y="169202"/>
                      </a:lnTo>
                      <a:close/>
                    </a:path>
                    <a:path w="1464945" h="2324100">
                      <a:moveTo>
                        <a:pt x="217589" y="2312644"/>
                      </a:moveTo>
                      <a:lnTo>
                        <a:pt x="216979" y="2312962"/>
                      </a:lnTo>
                      <a:lnTo>
                        <a:pt x="217525" y="2312720"/>
                      </a:lnTo>
                      <a:close/>
                    </a:path>
                    <a:path w="1464945" h="2324100">
                      <a:moveTo>
                        <a:pt x="218668" y="2305443"/>
                      </a:moveTo>
                      <a:lnTo>
                        <a:pt x="217970" y="2305837"/>
                      </a:lnTo>
                      <a:lnTo>
                        <a:pt x="218516" y="2305647"/>
                      </a:lnTo>
                      <a:lnTo>
                        <a:pt x="218668" y="2305443"/>
                      </a:lnTo>
                      <a:close/>
                    </a:path>
                    <a:path w="1464945" h="2324100">
                      <a:moveTo>
                        <a:pt x="220827" y="146723"/>
                      </a:moveTo>
                      <a:lnTo>
                        <a:pt x="219519" y="145072"/>
                      </a:lnTo>
                      <a:lnTo>
                        <a:pt x="218592" y="143802"/>
                      </a:lnTo>
                      <a:lnTo>
                        <a:pt x="217855" y="143548"/>
                      </a:lnTo>
                      <a:lnTo>
                        <a:pt x="216077" y="142151"/>
                      </a:lnTo>
                      <a:lnTo>
                        <a:pt x="217157" y="141643"/>
                      </a:lnTo>
                      <a:lnTo>
                        <a:pt x="216662" y="141008"/>
                      </a:lnTo>
                      <a:lnTo>
                        <a:pt x="214033" y="139992"/>
                      </a:lnTo>
                      <a:lnTo>
                        <a:pt x="212572" y="139230"/>
                      </a:lnTo>
                      <a:lnTo>
                        <a:pt x="212813" y="138468"/>
                      </a:lnTo>
                      <a:lnTo>
                        <a:pt x="212852" y="138341"/>
                      </a:lnTo>
                      <a:lnTo>
                        <a:pt x="209804" y="138468"/>
                      </a:lnTo>
                      <a:lnTo>
                        <a:pt x="208457" y="138214"/>
                      </a:lnTo>
                      <a:lnTo>
                        <a:pt x="204330" y="136817"/>
                      </a:lnTo>
                      <a:lnTo>
                        <a:pt x="200736" y="136182"/>
                      </a:lnTo>
                      <a:lnTo>
                        <a:pt x="195719" y="138214"/>
                      </a:lnTo>
                      <a:lnTo>
                        <a:pt x="193484" y="138341"/>
                      </a:lnTo>
                      <a:lnTo>
                        <a:pt x="189166" y="139103"/>
                      </a:lnTo>
                      <a:lnTo>
                        <a:pt x="182499" y="142024"/>
                      </a:lnTo>
                      <a:lnTo>
                        <a:pt x="177761" y="143167"/>
                      </a:lnTo>
                      <a:lnTo>
                        <a:pt x="175133" y="146596"/>
                      </a:lnTo>
                      <a:lnTo>
                        <a:pt x="175564" y="149771"/>
                      </a:lnTo>
                      <a:lnTo>
                        <a:pt x="177330" y="150533"/>
                      </a:lnTo>
                      <a:lnTo>
                        <a:pt x="175094" y="151041"/>
                      </a:lnTo>
                      <a:lnTo>
                        <a:pt x="172897" y="149898"/>
                      </a:lnTo>
                      <a:lnTo>
                        <a:pt x="168427" y="149517"/>
                      </a:lnTo>
                      <a:lnTo>
                        <a:pt x="166001" y="152311"/>
                      </a:lnTo>
                      <a:lnTo>
                        <a:pt x="163830" y="152819"/>
                      </a:lnTo>
                      <a:lnTo>
                        <a:pt x="162648" y="150787"/>
                      </a:lnTo>
                      <a:lnTo>
                        <a:pt x="156400" y="154597"/>
                      </a:lnTo>
                      <a:lnTo>
                        <a:pt x="155155" y="155105"/>
                      </a:lnTo>
                      <a:lnTo>
                        <a:pt x="154051" y="155740"/>
                      </a:lnTo>
                      <a:lnTo>
                        <a:pt x="150037" y="158153"/>
                      </a:lnTo>
                      <a:lnTo>
                        <a:pt x="147408" y="156756"/>
                      </a:lnTo>
                      <a:lnTo>
                        <a:pt x="148031" y="156629"/>
                      </a:lnTo>
                      <a:lnTo>
                        <a:pt x="143014" y="157137"/>
                      </a:lnTo>
                      <a:lnTo>
                        <a:pt x="140360" y="158153"/>
                      </a:lnTo>
                      <a:lnTo>
                        <a:pt x="136271" y="159677"/>
                      </a:lnTo>
                      <a:lnTo>
                        <a:pt x="134759" y="160820"/>
                      </a:lnTo>
                      <a:lnTo>
                        <a:pt x="132334" y="160566"/>
                      </a:lnTo>
                      <a:lnTo>
                        <a:pt x="132448" y="159423"/>
                      </a:lnTo>
                      <a:lnTo>
                        <a:pt x="129552" y="158788"/>
                      </a:lnTo>
                      <a:lnTo>
                        <a:pt x="126517" y="162090"/>
                      </a:lnTo>
                      <a:lnTo>
                        <a:pt x="124739" y="160312"/>
                      </a:lnTo>
                      <a:lnTo>
                        <a:pt x="125488" y="159677"/>
                      </a:lnTo>
                      <a:lnTo>
                        <a:pt x="125641" y="159550"/>
                      </a:lnTo>
                      <a:lnTo>
                        <a:pt x="126403" y="158915"/>
                      </a:lnTo>
                      <a:lnTo>
                        <a:pt x="123964" y="159296"/>
                      </a:lnTo>
                      <a:lnTo>
                        <a:pt x="123355" y="159550"/>
                      </a:lnTo>
                      <a:lnTo>
                        <a:pt x="121881" y="159296"/>
                      </a:lnTo>
                      <a:lnTo>
                        <a:pt x="120891" y="159677"/>
                      </a:lnTo>
                      <a:lnTo>
                        <a:pt x="119646" y="159169"/>
                      </a:lnTo>
                      <a:lnTo>
                        <a:pt x="119278" y="158661"/>
                      </a:lnTo>
                      <a:lnTo>
                        <a:pt x="118999" y="158280"/>
                      </a:lnTo>
                      <a:lnTo>
                        <a:pt x="118033" y="158026"/>
                      </a:lnTo>
                      <a:lnTo>
                        <a:pt x="117373" y="158661"/>
                      </a:lnTo>
                      <a:lnTo>
                        <a:pt x="116611" y="158407"/>
                      </a:lnTo>
                      <a:lnTo>
                        <a:pt x="115760" y="158153"/>
                      </a:lnTo>
                      <a:lnTo>
                        <a:pt x="115557" y="157645"/>
                      </a:lnTo>
                      <a:lnTo>
                        <a:pt x="112788" y="158280"/>
                      </a:lnTo>
                      <a:lnTo>
                        <a:pt x="110934" y="158534"/>
                      </a:lnTo>
                      <a:lnTo>
                        <a:pt x="107188" y="158915"/>
                      </a:lnTo>
                      <a:lnTo>
                        <a:pt x="105270" y="158915"/>
                      </a:lnTo>
                      <a:lnTo>
                        <a:pt x="106426" y="163233"/>
                      </a:lnTo>
                      <a:lnTo>
                        <a:pt x="107657" y="162217"/>
                      </a:lnTo>
                      <a:lnTo>
                        <a:pt x="107505" y="164503"/>
                      </a:lnTo>
                      <a:lnTo>
                        <a:pt x="104800" y="165138"/>
                      </a:lnTo>
                      <a:lnTo>
                        <a:pt x="102577" y="165773"/>
                      </a:lnTo>
                      <a:lnTo>
                        <a:pt x="101409" y="166789"/>
                      </a:lnTo>
                      <a:lnTo>
                        <a:pt x="99174" y="166916"/>
                      </a:lnTo>
                      <a:lnTo>
                        <a:pt x="98806" y="166535"/>
                      </a:lnTo>
                      <a:lnTo>
                        <a:pt x="98679" y="166408"/>
                      </a:lnTo>
                      <a:lnTo>
                        <a:pt x="97980" y="166535"/>
                      </a:lnTo>
                      <a:lnTo>
                        <a:pt x="98945" y="164757"/>
                      </a:lnTo>
                      <a:lnTo>
                        <a:pt x="101371" y="162852"/>
                      </a:lnTo>
                      <a:lnTo>
                        <a:pt x="96240" y="163487"/>
                      </a:lnTo>
                      <a:lnTo>
                        <a:pt x="94818" y="163614"/>
                      </a:lnTo>
                      <a:lnTo>
                        <a:pt x="93662" y="165011"/>
                      </a:lnTo>
                      <a:lnTo>
                        <a:pt x="94310" y="165646"/>
                      </a:lnTo>
                      <a:lnTo>
                        <a:pt x="95008" y="166154"/>
                      </a:lnTo>
                      <a:lnTo>
                        <a:pt x="95897" y="166408"/>
                      </a:lnTo>
                      <a:lnTo>
                        <a:pt x="94627" y="167297"/>
                      </a:lnTo>
                      <a:lnTo>
                        <a:pt x="92659" y="167043"/>
                      </a:lnTo>
                      <a:lnTo>
                        <a:pt x="90424" y="167678"/>
                      </a:lnTo>
                      <a:lnTo>
                        <a:pt x="89611" y="168186"/>
                      </a:lnTo>
                      <a:lnTo>
                        <a:pt x="88912" y="168440"/>
                      </a:lnTo>
                      <a:lnTo>
                        <a:pt x="176618" y="168440"/>
                      </a:lnTo>
                      <a:lnTo>
                        <a:pt x="177063" y="168313"/>
                      </a:lnTo>
                      <a:lnTo>
                        <a:pt x="178879" y="168313"/>
                      </a:lnTo>
                      <a:lnTo>
                        <a:pt x="181813" y="167297"/>
                      </a:lnTo>
                      <a:lnTo>
                        <a:pt x="182918" y="166916"/>
                      </a:lnTo>
                      <a:lnTo>
                        <a:pt x="183654" y="166662"/>
                      </a:lnTo>
                      <a:lnTo>
                        <a:pt x="186702" y="165519"/>
                      </a:lnTo>
                      <a:lnTo>
                        <a:pt x="195338" y="163487"/>
                      </a:lnTo>
                      <a:lnTo>
                        <a:pt x="197358" y="162217"/>
                      </a:lnTo>
                      <a:lnTo>
                        <a:pt x="197561" y="162090"/>
                      </a:lnTo>
                      <a:lnTo>
                        <a:pt x="199567" y="160820"/>
                      </a:lnTo>
                      <a:lnTo>
                        <a:pt x="200380" y="160312"/>
                      </a:lnTo>
                      <a:lnTo>
                        <a:pt x="206756" y="158788"/>
                      </a:lnTo>
                      <a:lnTo>
                        <a:pt x="208216" y="158661"/>
                      </a:lnTo>
                      <a:lnTo>
                        <a:pt x="210108" y="158534"/>
                      </a:lnTo>
                      <a:lnTo>
                        <a:pt x="208762" y="158534"/>
                      </a:lnTo>
                      <a:lnTo>
                        <a:pt x="209016" y="158153"/>
                      </a:lnTo>
                      <a:lnTo>
                        <a:pt x="211112" y="154978"/>
                      </a:lnTo>
                      <a:lnTo>
                        <a:pt x="217347" y="152819"/>
                      </a:lnTo>
                      <a:lnTo>
                        <a:pt x="218084" y="152565"/>
                      </a:lnTo>
                      <a:lnTo>
                        <a:pt x="217830" y="151041"/>
                      </a:lnTo>
                      <a:lnTo>
                        <a:pt x="217233" y="147739"/>
                      </a:lnTo>
                      <a:lnTo>
                        <a:pt x="220827" y="146723"/>
                      </a:lnTo>
                      <a:close/>
                    </a:path>
                    <a:path w="1464945" h="2324100">
                      <a:moveTo>
                        <a:pt x="221361" y="2303945"/>
                      </a:moveTo>
                      <a:lnTo>
                        <a:pt x="219710" y="2302218"/>
                      </a:lnTo>
                      <a:lnTo>
                        <a:pt x="218795" y="2305100"/>
                      </a:lnTo>
                      <a:lnTo>
                        <a:pt x="218668" y="2305443"/>
                      </a:lnTo>
                      <a:lnTo>
                        <a:pt x="221361" y="2303945"/>
                      </a:lnTo>
                      <a:close/>
                    </a:path>
                    <a:path w="1464945" h="2324100">
                      <a:moveTo>
                        <a:pt x="232778" y="2322385"/>
                      </a:moveTo>
                      <a:lnTo>
                        <a:pt x="232524" y="2322131"/>
                      </a:lnTo>
                      <a:lnTo>
                        <a:pt x="232778" y="2322385"/>
                      </a:lnTo>
                      <a:close/>
                    </a:path>
                    <a:path w="1464945" h="2324100">
                      <a:moveTo>
                        <a:pt x="242773" y="2312238"/>
                      </a:moveTo>
                      <a:lnTo>
                        <a:pt x="242506" y="2311958"/>
                      </a:lnTo>
                      <a:lnTo>
                        <a:pt x="241617" y="2311031"/>
                      </a:lnTo>
                      <a:lnTo>
                        <a:pt x="238721" y="2310333"/>
                      </a:lnTo>
                      <a:lnTo>
                        <a:pt x="238252" y="2310765"/>
                      </a:lnTo>
                      <a:lnTo>
                        <a:pt x="236372" y="2311958"/>
                      </a:lnTo>
                      <a:lnTo>
                        <a:pt x="236016" y="2311501"/>
                      </a:lnTo>
                      <a:lnTo>
                        <a:pt x="233553" y="2312238"/>
                      </a:lnTo>
                      <a:lnTo>
                        <a:pt x="232778" y="2313597"/>
                      </a:lnTo>
                      <a:lnTo>
                        <a:pt x="231355" y="2314664"/>
                      </a:lnTo>
                      <a:lnTo>
                        <a:pt x="231165" y="2314435"/>
                      </a:lnTo>
                      <a:lnTo>
                        <a:pt x="229463" y="2315260"/>
                      </a:lnTo>
                      <a:lnTo>
                        <a:pt x="228384" y="2315070"/>
                      </a:lnTo>
                      <a:lnTo>
                        <a:pt x="228587" y="2314892"/>
                      </a:lnTo>
                      <a:lnTo>
                        <a:pt x="228688" y="2314651"/>
                      </a:lnTo>
                      <a:lnTo>
                        <a:pt x="228930" y="2314384"/>
                      </a:lnTo>
                      <a:lnTo>
                        <a:pt x="227926" y="2314333"/>
                      </a:lnTo>
                      <a:lnTo>
                        <a:pt x="226885" y="2314651"/>
                      </a:lnTo>
                      <a:lnTo>
                        <a:pt x="225882" y="2314562"/>
                      </a:lnTo>
                      <a:lnTo>
                        <a:pt x="227037" y="2313787"/>
                      </a:lnTo>
                      <a:lnTo>
                        <a:pt x="226707" y="2313216"/>
                      </a:lnTo>
                      <a:lnTo>
                        <a:pt x="226606" y="2313038"/>
                      </a:lnTo>
                      <a:lnTo>
                        <a:pt x="226453" y="2312771"/>
                      </a:lnTo>
                      <a:lnTo>
                        <a:pt x="225386" y="2313038"/>
                      </a:lnTo>
                      <a:lnTo>
                        <a:pt x="225653" y="2312822"/>
                      </a:lnTo>
                      <a:lnTo>
                        <a:pt x="225996" y="2312238"/>
                      </a:lnTo>
                      <a:lnTo>
                        <a:pt x="226275" y="2311997"/>
                      </a:lnTo>
                      <a:lnTo>
                        <a:pt x="225539" y="2311946"/>
                      </a:lnTo>
                      <a:lnTo>
                        <a:pt x="224878" y="2312378"/>
                      </a:lnTo>
                      <a:lnTo>
                        <a:pt x="224180" y="2312759"/>
                      </a:lnTo>
                      <a:lnTo>
                        <a:pt x="224828" y="2311666"/>
                      </a:lnTo>
                      <a:lnTo>
                        <a:pt x="224955" y="2311450"/>
                      </a:lnTo>
                      <a:lnTo>
                        <a:pt x="225298" y="2311463"/>
                      </a:lnTo>
                      <a:lnTo>
                        <a:pt x="225463" y="2310828"/>
                      </a:lnTo>
                      <a:lnTo>
                        <a:pt x="226009" y="2311247"/>
                      </a:lnTo>
                      <a:lnTo>
                        <a:pt x="228003" y="2312809"/>
                      </a:lnTo>
                      <a:lnTo>
                        <a:pt x="229857" y="2310841"/>
                      </a:lnTo>
                      <a:lnTo>
                        <a:pt x="228346" y="2310015"/>
                      </a:lnTo>
                      <a:lnTo>
                        <a:pt x="228752" y="2309253"/>
                      </a:lnTo>
                      <a:lnTo>
                        <a:pt x="228854" y="2309076"/>
                      </a:lnTo>
                      <a:lnTo>
                        <a:pt x="228650" y="2309139"/>
                      </a:lnTo>
                      <a:lnTo>
                        <a:pt x="228269" y="2309139"/>
                      </a:lnTo>
                      <a:lnTo>
                        <a:pt x="228041" y="2309253"/>
                      </a:lnTo>
                      <a:lnTo>
                        <a:pt x="228117" y="2309050"/>
                      </a:lnTo>
                      <a:lnTo>
                        <a:pt x="228346" y="2308593"/>
                      </a:lnTo>
                      <a:lnTo>
                        <a:pt x="227418" y="2308847"/>
                      </a:lnTo>
                      <a:lnTo>
                        <a:pt x="227457" y="2309050"/>
                      </a:lnTo>
                      <a:lnTo>
                        <a:pt x="227558" y="2310333"/>
                      </a:lnTo>
                      <a:lnTo>
                        <a:pt x="226110" y="2311247"/>
                      </a:lnTo>
                      <a:lnTo>
                        <a:pt x="226199" y="2310752"/>
                      </a:lnTo>
                      <a:lnTo>
                        <a:pt x="226314" y="2310206"/>
                      </a:lnTo>
                      <a:lnTo>
                        <a:pt x="225577" y="2310434"/>
                      </a:lnTo>
                      <a:lnTo>
                        <a:pt x="227330" y="2304110"/>
                      </a:lnTo>
                      <a:lnTo>
                        <a:pt x="223100" y="2311298"/>
                      </a:lnTo>
                      <a:lnTo>
                        <a:pt x="224701" y="2311425"/>
                      </a:lnTo>
                      <a:lnTo>
                        <a:pt x="224650" y="2311666"/>
                      </a:lnTo>
                      <a:lnTo>
                        <a:pt x="221792" y="2311450"/>
                      </a:lnTo>
                      <a:lnTo>
                        <a:pt x="221818" y="2311184"/>
                      </a:lnTo>
                      <a:lnTo>
                        <a:pt x="222072" y="2308796"/>
                      </a:lnTo>
                      <a:lnTo>
                        <a:pt x="222643" y="2308568"/>
                      </a:lnTo>
                      <a:lnTo>
                        <a:pt x="222110" y="2308415"/>
                      </a:lnTo>
                      <a:lnTo>
                        <a:pt x="222211" y="2307552"/>
                      </a:lnTo>
                      <a:lnTo>
                        <a:pt x="221754" y="2308314"/>
                      </a:lnTo>
                      <a:lnTo>
                        <a:pt x="221322" y="2308199"/>
                      </a:lnTo>
                      <a:lnTo>
                        <a:pt x="221322" y="2309063"/>
                      </a:lnTo>
                      <a:lnTo>
                        <a:pt x="220091" y="2311184"/>
                      </a:lnTo>
                      <a:lnTo>
                        <a:pt x="219875" y="2310396"/>
                      </a:lnTo>
                      <a:lnTo>
                        <a:pt x="219710" y="2309761"/>
                      </a:lnTo>
                      <a:lnTo>
                        <a:pt x="221234" y="2309139"/>
                      </a:lnTo>
                      <a:lnTo>
                        <a:pt x="221322" y="2308199"/>
                      </a:lnTo>
                      <a:lnTo>
                        <a:pt x="221018" y="2308110"/>
                      </a:lnTo>
                      <a:lnTo>
                        <a:pt x="221284" y="2307552"/>
                      </a:lnTo>
                      <a:lnTo>
                        <a:pt x="222250" y="2307056"/>
                      </a:lnTo>
                      <a:lnTo>
                        <a:pt x="222478" y="2306307"/>
                      </a:lnTo>
                      <a:lnTo>
                        <a:pt x="222605" y="2305913"/>
                      </a:lnTo>
                      <a:lnTo>
                        <a:pt x="221221" y="2306307"/>
                      </a:lnTo>
                      <a:lnTo>
                        <a:pt x="221945" y="2305100"/>
                      </a:lnTo>
                      <a:lnTo>
                        <a:pt x="220980" y="2305481"/>
                      </a:lnTo>
                      <a:lnTo>
                        <a:pt x="219163" y="2306675"/>
                      </a:lnTo>
                      <a:lnTo>
                        <a:pt x="218668" y="2307437"/>
                      </a:lnTo>
                      <a:lnTo>
                        <a:pt x="218706" y="2306129"/>
                      </a:lnTo>
                      <a:lnTo>
                        <a:pt x="220637" y="2305342"/>
                      </a:lnTo>
                      <a:lnTo>
                        <a:pt x="221640" y="2304592"/>
                      </a:lnTo>
                      <a:lnTo>
                        <a:pt x="218516" y="2305647"/>
                      </a:lnTo>
                      <a:lnTo>
                        <a:pt x="218287" y="2305951"/>
                      </a:lnTo>
                      <a:lnTo>
                        <a:pt x="217055" y="2306497"/>
                      </a:lnTo>
                      <a:lnTo>
                        <a:pt x="216979" y="2309533"/>
                      </a:lnTo>
                      <a:lnTo>
                        <a:pt x="217551" y="2310396"/>
                      </a:lnTo>
                      <a:lnTo>
                        <a:pt x="215353" y="2309533"/>
                      </a:lnTo>
                      <a:lnTo>
                        <a:pt x="217017" y="2312022"/>
                      </a:lnTo>
                      <a:lnTo>
                        <a:pt x="217779" y="2312619"/>
                      </a:lnTo>
                      <a:lnTo>
                        <a:pt x="217525" y="2312720"/>
                      </a:lnTo>
                      <a:lnTo>
                        <a:pt x="217170" y="2313216"/>
                      </a:lnTo>
                      <a:lnTo>
                        <a:pt x="216979" y="2313190"/>
                      </a:lnTo>
                      <a:lnTo>
                        <a:pt x="216814" y="2313025"/>
                      </a:lnTo>
                      <a:lnTo>
                        <a:pt x="216674" y="2313038"/>
                      </a:lnTo>
                      <a:lnTo>
                        <a:pt x="216471" y="2314092"/>
                      </a:lnTo>
                      <a:lnTo>
                        <a:pt x="217551" y="2314651"/>
                      </a:lnTo>
                      <a:lnTo>
                        <a:pt x="217817" y="2315324"/>
                      </a:lnTo>
                      <a:lnTo>
                        <a:pt x="217665" y="2315857"/>
                      </a:lnTo>
                      <a:lnTo>
                        <a:pt x="217601" y="2316416"/>
                      </a:lnTo>
                      <a:lnTo>
                        <a:pt x="217944" y="2317635"/>
                      </a:lnTo>
                      <a:lnTo>
                        <a:pt x="218287" y="2317077"/>
                      </a:lnTo>
                      <a:lnTo>
                        <a:pt x="218211" y="2317902"/>
                      </a:lnTo>
                      <a:lnTo>
                        <a:pt x="217500" y="2318728"/>
                      </a:lnTo>
                      <a:lnTo>
                        <a:pt x="217373" y="2319528"/>
                      </a:lnTo>
                      <a:lnTo>
                        <a:pt x="217208" y="2320302"/>
                      </a:lnTo>
                      <a:lnTo>
                        <a:pt x="216547" y="2320899"/>
                      </a:lnTo>
                      <a:lnTo>
                        <a:pt x="216433" y="2321179"/>
                      </a:lnTo>
                      <a:lnTo>
                        <a:pt x="217170" y="2323820"/>
                      </a:lnTo>
                      <a:lnTo>
                        <a:pt x="220294" y="2319782"/>
                      </a:lnTo>
                      <a:lnTo>
                        <a:pt x="223723" y="2318461"/>
                      </a:lnTo>
                      <a:lnTo>
                        <a:pt x="224243" y="2319693"/>
                      </a:lnTo>
                      <a:lnTo>
                        <a:pt x="224383" y="2319794"/>
                      </a:lnTo>
                      <a:lnTo>
                        <a:pt x="226758" y="2321179"/>
                      </a:lnTo>
                      <a:lnTo>
                        <a:pt x="227965" y="2321776"/>
                      </a:lnTo>
                      <a:lnTo>
                        <a:pt x="229387" y="2321496"/>
                      </a:lnTo>
                      <a:lnTo>
                        <a:pt x="229857" y="2322195"/>
                      </a:lnTo>
                      <a:lnTo>
                        <a:pt x="229781" y="2321496"/>
                      </a:lnTo>
                      <a:lnTo>
                        <a:pt x="229539" y="2319528"/>
                      </a:lnTo>
                      <a:lnTo>
                        <a:pt x="229120" y="2318969"/>
                      </a:lnTo>
                      <a:lnTo>
                        <a:pt x="230581" y="2319528"/>
                      </a:lnTo>
                      <a:lnTo>
                        <a:pt x="230886" y="2320480"/>
                      </a:lnTo>
                      <a:lnTo>
                        <a:pt x="232524" y="2322131"/>
                      </a:lnTo>
                      <a:lnTo>
                        <a:pt x="236296" y="2322855"/>
                      </a:lnTo>
                      <a:lnTo>
                        <a:pt x="238455" y="2322550"/>
                      </a:lnTo>
                      <a:lnTo>
                        <a:pt x="238823" y="2320925"/>
                      </a:lnTo>
                      <a:lnTo>
                        <a:pt x="239102" y="2319718"/>
                      </a:lnTo>
                      <a:lnTo>
                        <a:pt x="238099" y="2319794"/>
                      </a:lnTo>
                      <a:lnTo>
                        <a:pt x="236334" y="2320099"/>
                      </a:lnTo>
                      <a:lnTo>
                        <a:pt x="236258" y="2320925"/>
                      </a:lnTo>
                      <a:lnTo>
                        <a:pt x="234899" y="2320607"/>
                      </a:lnTo>
                      <a:lnTo>
                        <a:pt x="230886" y="2317864"/>
                      </a:lnTo>
                      <a:lnTo>
                        <a:pt x="230784" y="2317661"/>
                      </a:lnTo>
                      <a:lnTo>
                        <a:pt x="229958" y="2317204"/>
                      </a:lnTo>
                      <a:lnTo>
                        <a:pt x="231013" y="2317191"/>
                      </a:lnTo>
                      <a:lnTo>
                        <a:pt x="231978" y="2317508"/>
                      </a:lnTo>
                      <a:lnTo>
                        <a:pt x="233019" y="2317724"/>
                      </a:lnTo>
                      <a:lnTo>
                        <a:pt x="232752" y="2317191"/>
                      </a:lnTo>
                      <a:lnTo>
                        <a:pt x="232321" y="2316416"/>
                      </a:lnTo>
                      <a:lnTo>
                        <a:pt x="231813" y="2315921"/>
                      </a:lnTo>
                      <a:lnTo>
                        <a:pt x="232943" y="2315857"/>
                      </a:lnTo>
                      <a:lnTo>
                        <a:pt x="234022" y="2316264"/>
                      </a:lnTo>
                      <a:lnTo>
                        <a:pt x="235915" y="2316162"/>
                      </a:lnTo>
                      <a:lnTo>
                        <a:pt x="236143" y="2315857"/>
                      </a:lnTo>
                      <a:lnTo>
                        <a:pt x="236359" y="2315578"/>
                      </a:lnTo>
                      <a:lnTo>
                        <a:pt x="238023" y="2316111"/>
                      </a:lnTo>
                      <a:lnTo>
                        <a:pt x="237985" y="2316823"/>
                      </a:lnTo>
                      <a:lnTo>
                        <a:pt x="239255" y="2317546"/>
                      </a:lnTo>
                      <a:lnTo>
                        <a:pt x="239877" y="2317546"/>
                      </a:lnTo>
                      <a:lnTo>
                        <a:pt x="240804" y="2317661"/>
                      </a:lnTo>
                      <a:lnTo>
                        <a:pt x="240449" y="2317204"/>
                      </a:lnTo>
                      <a:lnTo>
                        <a:pt x="240144" y="2316543"/>
                      </a:lnTo>
                      <a:lnTo>
                        <a:pt x="239991" y="2316022"/>
                      </a:lnTo>
                      <a:lnTo>
                        <a:pt x="241071" y="2316353"/>
                      </a:lnTo>
                      <a:lnTo>
                        <a:pt x="241376" y="2316022"/>
                      </a:lnTo>
                      <a:lnTo>
                        <a:pt x="241795" y="2315578"/>
                      </a:lnTo>
                      <a:lnTo>
                        <a:pt x="241998" y="2315375"/>
                      </a:lnTo>
                      <a:lnTo>
                        <a:pt x="242201" y="2314664"/>
                      </a:lnTo>
                      <a:lnTo>
                        <a:pt x="242760" y="2312771"/>
                      </a:lnTo>
                      <a:lnTo>
                        <a:pt x="242773" y="2312238"/>
                      </a:lnTo>
                      <a:close/>
                    </a:path>
                    <a:path w="1464945" h="2324100">
                      <a:moveTo>
                        <a:pt x="376021" y="1417193"/>
                      </a:moveTo>
                      <a:lnTo>
                        <a:pt x="375399" y="1416494"/>
                      </a:lnTo>
                      <a:lnTo>
                        <a:pt x="374675" y="1415897"/>
                      </a:lnTo>
                      <a:lnTo>
                        <a:pt x="373976" y="1415275"/>
                      </a:lnTo>
                      <a:lnTo>
                        <a:pt x="374586" y="1415973"/>
                      </a:lnTo>
                      <a:lnTo>
                        <a:pt x="375170" y="1416837"/>
                      </a:lnTo>
                      <a:lnTo>
                        <a:pt x="376021" y="1417193"/>
                      </a:lnTo>
                      <a:close/>
                    </a:path>
                    <a:path w="1464945" h="2324100">
                      <a:moveTo>
                        <a:pt x="378231" y="1411338"/>
                      </a:moveTo>
                      <a:lnTo>
                        <a:pt x="378066" y="1411465"/>
                      </a:lnTo>
                      <a:lnTo>
                        <a:pt x="378231" y="1411338"/>
                      </a:lnTo>
                      <a:close/>
                    </a:path>
                    <a:path w="1464945" h="2324100">
                      <a:moveTo>
                        <a:pt x="403555" y="1437055"/>
                      </a:moveTo>
                      <a:lnTo>
                        <a:pt x="402856" y="1436331"/>
                      </a:lnTo>
                      <a:lnTo>
                        <a:pt x="402209" y="1435011"/>
                      </a:lnTo>
                      <a:lnTo>
                        <a:pt x="402475" y="1436255"/>
                      </a:lnTo>
                      <a:lnTo>
                        <a:pt x="402856" y="1437474"/>
                      </a:lnTo>
                      <a:lnTo>
                        <a:pt x="403250" y="1438694"/>
                      </a:lnTo>
                      <a:lnTo>
                        <a:pt x="403555" y="1437055"/>
                      </a:lnTo>
                      <a:close/>
                    </a:path>
                    <a:path w="1464945" h="2324100">
                      <a:moveTo>
                        <a:pt x="404279" y="1441450"/>
                      </a:moveTo>
                      <a:lnTo>
                        <a:pt x="404088" y="1439202"/>
                      </a:lnTo>
                      <a:lnTo>
                        <a:pt x="403415" y="1439202"/>
                      </a:lnTo>
                      <a:lnTo>
                        <a:pt x="403263" y="1439151"/>
                      </a:lnTo>
                      <a:lnTo>
                        <a:pt x="398170" y="1428623"/>
                      </a:lnTo>
                      <a:lnTo>
                        <a:pt x="397941" y="1428064"/>
                      </a:lnTo>
                      <a:lnTo>
                        <a:pt x="397840" y="1427911"/>
                      </a:lnTo>
                      <a:lnTo>
                        <a:pt x="397256" y="1426616"/>
                      </a:lnTo>
                      <a:lnTo>
                        <a:pt x="396532" y="1425435"/>
                      </a:lnTo>
                      <a:lnTo>
                        <a:pt x="395020" y="1423187"/>
                      </a:lnTo>
                      <a:lnTo>
                        <a:pt x="391782" y="1418742"/>
                      </a:lnTo>
                      <a:lnTo>
                        <a:pt x="390245" y="1416519"/>
                      </a:lnTo>
                      <a:lnTo>
                        <a:pt x="387731" y="1411973"/>
                      </a:lnTo>
                      <a:lnTo>
                        <a:pt x="386334" y="1410246"/>
                      </a:lnTo>
                      <a:lnTo>
                        <a:pt x="385749" y="1409649"/>
                      </a:lnTo>
                      <a:lnTo>
                        <a:pt x="384797" y="1408963"/>
                      </a:lnTo>
                      <a:lnTo>
                        <a:pt x="384238" y="1408379"/>
                      </a:lnTo>
                      <a:lnTo>
                        <a:pt x="383222" y="1407337"/>
                      </a:lnTo>
                      <a:lnTo>
                        <a:pt x="382193" y="1406144"/>
                      </a:lnTo>
                      <a:lnTo>
                        <a:pt x="380682" y="1405013"/>
                      </a:lnTo>
                      <a:lnTo>
                        <a:pt x="380149" y="1404759"/>
                      </a:lnTo>
                      <a:lnTo>
                        <a:pt x="379717" y="1404912"/>
                      </a:lnTo>
                      <a:lnTo>
                        <a:pt x="380136" y="1405216"/>
                      </a:lnTo>
                      <a:lnTo>
                        <a:pt x="380453" y="1405559"/>
                      </a:lnTo>
                      <a:lnTo>
                        <a:pt x="381749" y="1406753"/>
                      </a:lnTo>
                      <a:lnTo>
                        <a:pt x="382638" y="1407680"/>
                      </a:lnTo>
                      <a:lnTo>
                        <a:pt x="383730" y="1408379"/>
                      </a:lnTo>
                      <a:lnTo>
                        <a:pt x="382320" y="1407871"/>
                      </a:lnTo>
                      <a:lnTo>
                        <a:pt x="382079" y="1407528"/>
                      </a:lnTo>
                      <a:lnTo>
                        <a:pt x="381609" y="1406906"/>
                      </a:lnTo>
                      <a:lnTo>
                        <a:pt x="380453" y="1405851"/>
                      </a:lnTo>
                      <a:lnTo>
                        <a:pt x="379564" y="1405102"/>
                      </a:lnTo>
                      <a:lnTo>
                        <a:pt x="378599" y="1405064"/>
                      </a:lnTo>
                      <a:lnTo>
                        <a:pt x="377291" y="1404950"/>
                      </a:lnTo>
                      <a:lnTo>
                        <a:pt x="377444" y="1405216"/>
                      </a:lnTo>
                      <a:lnTo>
                        <a:pt x="378383" y="1406664"/>
                      </a:lnTo>
                      <a:lnTo>
                        <a:pt x="379793" y="1408176"/>
                      </a:lnTo>
                      <a:lnTo>
                        <a:pt x="380326" y="1408506"/>
                      </a:lnTo>
                      <a:lnTo>
                        <a:pt x="380301" y="1407528"/>
                      </a:lnTo>
                      <a:lnTo>
                        <a:pt x="381254" y="1407998"/>
                      </a:lnTo>
                      <a:lnTo>
                        <a:pt x="382257" y="1408760"/>
                      </a:lnTo>
                      <a:lnTo>
                        <a:pt x="384073" y="1409471"/>
                      </a:lnTo>
                      <a:lnTo>
                        <a:pt x="385076" y="1409547"/>
                      </a:lnTo>
                      <a:lnTo>
                        <a:pt x="386118" y="1410246"/>
                      </a:lnTo>
                      <a:lnTo>
                        <a:pt x="385076" y="1410004"/>
                      </a:lnTo>
                      <a:lnTo>
                        <a:pt x="384149" y="1409573"/>
                      </a:lnTo>
                      <a:lnTo>
                        <a:pt x="382892" y="1409649"/>
                      </a:lnTo>
                      <a:lnTo>
                        <a:pt x="382587" y="1409763"/>
                      </a:lnTo>
                      <a:lnTo>
                        <a:pt x="382168" y="1409954"/>
                      </a:lnTo>
                      <a:lnTo>
                        <a:pt x="381800" y="1410246"/>
                      </a:lnTo>
                      <a:lnTo>
                        <a:pt x="381304" y="1410119"/>
                      </a:lnTo>
                      <a:lnTo>
                        <a:pt x="380949" y="1410055"/>
                      </a:lnTo>
                      <a:lnTo>
                        <a:pt x="381482" y="1409674"/>
                      </a:lnTo>
                      <a:lnTo>
                        <a:pt x="381419" y="1409547"/>
                      </a:lnTo>
                      <a:lnTo>
                        <a:pt x="380365" y="1409115"/>
                      </a:lnTo>
                      <a:lnTo>
                        <a:pt x="379476" y="1408569"/>
                      </a:lnTo>
                      <a:lnTo>
                        <a:pt x="378434" y="1408214"/>
                      </a:lnTo>
                      <a:lnTo>
                        <a:pt x="378942" y="1408684"/>
                      </a:lnTo>
                      <a:lnTo>
                        <a:pt x="380530" y="1409547"/>
                      </a:lnTo>
                      <a:lnTo>
                        <a:pt x="378371" y="1411236"/>
                      </a:lnTo>
                      <a:lnTo>
                        <a:pt x="378269" y="1411465"/>
                      </a:lnTo>
                      <a:lnTo>
                        <a:pt x="379056" y="1413891"/>
                      </a:lnTo>
                      <a:lnTo>
                        <a:pt x="378256" y="1414983"/>
                      </a:lnTo>
                      <a:lnTo>
                        <a:pt x="376669" y="1416392"/>
                      </a:lnTo>
                      <a:lnTo>
                        <a:pt x="375907" y="1418742"/>
                      </a:lnTo>
                      <a:lnTo>
                        <a:pt x="376072" y="1420291"/>
                      </a:lnTo>
                      <a:lnTo>
                        <a:pt x="376224" y="1422552"/>
                      </a:lnTo>
                      <a:lnTo>
                        <a:pt x="374053" y="1431378"/>
                      </a:lnTo>
                      <a:lnTo>
                        <a:pt x="373659" y="1431124"/>
                      </a:lnTo>
                      <a:lnTo>
                        <a:pt x="373545" y="1430566"/>
                      </a:lnTo>
                      <a:lnTo>
                        <a:pt x="373583" y="1427480"/>
                      </a:lnTo>
                      <a:lnTo>
                        <a:pt x="373164" y="1428064"/>
                      </a:lnTo>
                      <a:lnTo>
                        <a:pt x="373087" y="1428343"/>
                      </a:lnTo>
                      <a:lnTo>
                        <a:pt x="373545" y="1430896"/>
                      </a:lnTo>
                      <a:lnTo>
                        <a:pt x="375335" y="1443418"/>
                      </a:lnTo>
                      <a:lnTo>
                        <a:pt x="375551" y="1445145"/>
                      </a:lnTo>
                      <a:lnTo>
                        <a:pt x="375767" y="1446377"/>
                      </a:lnTo>
                      <a:lnTo>
                        <a:pt x="376059" y="1448396"/>
                      </a:lnTo>
                      <a:lnTo>
                        <a:pt x="376555" y="1450809"/>
                      </a:lnTo>
                      <a:lnTo>
                        <a:pt x="376961" y="1452219"/>
                      </a:lnTo>
                      <a:lnTo>
                        <a:pt x="377774" y="1454492"/>
                      </a:lnTo>
                      <a:lnTo>
                        <a:pt x="378053" y="1455331"/>
                      </a:lnTo>
                      <a:lnTo>
                        <a:pt x="378714" y="1456639"/>
                      </a:lnTo>
                      <a:lnTo>
                        <a:pt x="379501" y="1458480"/>
                      </a:lnTo>
                      <a:lnTo>
                        <a:pt x="379933" y="1459268"/>
                      </a:lnTo>
                      <a:lnTo>
                        <a:pt x="381228" y="1459788"/>
                      </a:lnTo>
                      <a:lnTo>
                        <a:pt x="383273" y="1460461"/>
                      </a:lnTo>
                      <a:lnTo>
                        <a:pt x="384403" y="1460792"/>
                      </a:lnTo>
                      <a:lnTo>
                        <a:pt x="385978" y="1461147"/>
                      </a:lnTo>
                      <a:lnTo>
                        <a:pt x="386473" y="1461046"/>
                      </a:lnTo>
                      <a:lnTo>
                        <a:pt x="388658" y="1460284"/>
                      </a:lnTo>
                      <a:lnTo>
                        <a:pt x="390804" y="1458747"/>
                      </a:lnTo>
                      <a:lnTo>
                        <a:pt x="401307" y="1453045"/>
                      </a:lnTo>
                      <a:lnTo>
                        <a:pt x="402132" y="1452613"/>
                      </a:lnTo>
                      <a:lnTo>
                        <a:pt x="402704" y="1451444"/>
                      </a:lnTo>
                      <a:lnTo>
                        <a:pt x="403542" y="1449019"/>
                      </a:lnTo>
                      <a:lnTo>
                        <a:pt x="403821" y="1447761"/>
                      </a:lnTo>
                      <a:lnTo>
                        <a:pt x="404202" y="1446377"/>
                      </a:lnTo>
                      <a:lnTo>
                        <a:pt x="404279" y="1441450"/>
                      </a:lnTo>
                      <a:close/>
                    </a:path>
                    <a:path w="1464945" h="2324100">
                      <a:moveTo>
                        <a:pt x="634593" y="19939"/>
                      </a:moveTo>
                      <a:lnTo>
                        <a:pt x="603592" y="584"/>
                      </a:lnTo>
                      <a:lnTo>
                        <a:pt x="599732" y="165"/>
                      </a:lnTo>
                      <a:lnTo>
                        <a:pt x="597801" y="393"/>
                      </a:lnTo>
                      <a:lnTo>
                        <a:pt x="593559" y="0"/>
                      </a:lnTo>
                      <a:lnTo>
                        <a:pt x="592861" y="2946"/>
                      </a:lnTo>
                      <a:lnTo>
                        <a:pt x="594563" y="2908"/>
                      </a:lnTo>
                      <a:lnTo>
                        <a:pt x="588937" y="6400"/>
                      </a:lnTo>
                      <a:lnTo>
                        <a:pt x="586041" y="6184"/>
                      </a:lnTo>
                      <a:lnTo>
                        <a:pt x="581456" y="6604"/>
                      </a:lnTo>
                      <a:lnTo>
                        <a:pt x="580301" y="7442"/>
                      </a:lnTo>
                      <a:lnTo>
                        <a:pt x="577176" y="8166"/>
                      </a:lnTo>
                      <a:lnTo>
                        <a:pt x="575284" y="7937"/>
                      </a:lnTo>
                      <a:lnTo>
                        <a:pt x="572744" y="8382"/>
                      </a:lnTo>
                      <a:lnTo>
                        <a:pt x="572782" y="8953"/>
                      </a:lnTo>
                      <a:lnTo>
                        <a:pt x="570814" y="8597"/>
                      </a:lnTo>
                      <a:lnTo>
                        <a:pt x="568159" y="9232"/>
                      </a:lnTo>
                      <a:lnTo>
                        <a:pt x="566724" y="9347"/>
                      </a:lnTo>
                      <a:lnTo>
                        <a:pt x="562914" y="11061"/>
                      </a:lnTo>
                      <a:lnTo>
                        <a:pt x="566572" y="11023"/>
                      </a:lnTo>
                      <a:lnTo>
                        <a:pt x="565073" y="13373"/>
                      </a:lnTo>
                      <a:lnTo>
                        <a:pt x="561327" y="13093"/>
                      </a:lnTo>
                      <a:lnTo>
                        <a:pt x="558673" y="14414"/>
                      </a:lnTo>
                      <a:lnTo>
                        <a:pt x="560095" y="14058"/>
                      </a:lnTo>
                      <a:lnTo>
                        <a:pt x="559320" y="15417"/>
                      </a:lnTo>
                      <a:lnTo>
                        <a:pt x="558584" y="15760"/>
                      </a:lnTo>
                      <a:lnTo>
                        <a:pt x="557898" y="16713"/>
                      </a:lnTo>
                      <a:lnTo>
                        <a:pt x="556818" y="16725"/>
                      </a:lnTo>
                      <a:lnTo>
                        <a:pt x="556158" y="18440"/>
                      </a:lnTo>
                      <a:lnTo>
                        <a:pt x="558444" y="19481"/>
                      </a:lnTo>
                      <a:lnTo>
                        <a:pt x="561136" y="21247"/>
                      </a:lnTo>
                      <a:lnTo>
                        <a:pt x="560590" y="21348"/>
                      </a:lnTo>
                      <a:lnTo>
                        <a:pt x="560870" y="24282"/>
                      </a:lnTo>
                      <a:lnTo>
                        <a:pt x="559981" y="27012"/>
                      </a:lnTo>
                      <a:lnTo>
                        <a:pt x="557441" y="26390"/>
                      </a:lnTo>
                      <a:lnTo>
                        <a:pt x="553694" y="26466"/>
                      </a:lnTo>
                      <a:lnTo>
                        <a:pt x="547636" y="28028"/>
                      </a:lnTo>
                      <a:lnTo>
                        <a:pt x="550113" y="29756"/>
                      </a:lnTo>
                      <a:lnTo>
                        <a:pt x="550494" y="30187"/>
                      </a:lnTo>
                      <a:lnTo>
                        <a:pt x="546176" y="30327"/>
                      </a:lnTo>
                      <a:lnTo>
                        <a:pt x="542556" y="31318"/>
                      </a:lnTo>
                      <a:lnTo>
                        <a:pt x="541934" y="31788"/>
                      </a:lnTo>
                      <a:lnTo>
                        <a:pt x="540473" y="33147"/>
                      </a:lnTo>
                      <a:lnTo>
                        <a:pt x="560247" y="33020"/>
                      </a:lnTo>
                      <a:lnTo>
                        <a:pt x="566991" y="31699"/>
                      </a:lnTo>
                      <a:lnTo>
                        <a:pt x="567956" y="34137"/>
                      </a:lnTo>
                      <a:lnTo>
                        <a:pt x="566496" y="34302"/>
                      </a:lnTo>
                      <a:lnTo>
                        <a:pt x="552348" y="33489"/>
                      </a:lnTo>
                      <a:lnTo>
                        <a:pt x="552157" y="35280"/>
                      </a:lnTo>
                      <a:lnTo>
                        <a:pt x="559358" y="36791"/>
                      </a:lnTo>
                      <a:lnTo>
                        <a:pt x="560908" y="36728"/>
                      </a:lnTo>
                      <a:lnTo>
                        <a:pt x="561797" y="37541"/>
                      </a:lnTo>
                      <a:lnTo>
                        <a:pt x="559015" y="37719"/>
                      </a:lnTo>
                      <a:lnTo>
                        <a:pt x="556310" y="36944"/>
                      </a:lnTo>
                      <a:lnTo>
                        <a:pt x="553580" y="36766"/>
                      </a:lnTo>
                      <a:lnTo>
                        <a:pt x="555701" y="38468"/>
                      </a:lnTo>
                      <a:lnTo>
                        <a:pt x="560019" y="38735"/>
                      </a:lnTo>
                      <a:lnTo>
                        <a:pt x="564565" y="40081"/>
                      </a:lnTo>
                      <a:lnTo>
                        <a:pt x="566305" y="41681"/>
                      </a:lnTo>
                      <a:lnTo>
                        <a:pt x="569963" y="42456"/>
                      </a:lnTo>
                      <a:lnTo>
                        <a:pt x="572312" y="43357"/>
                      </a:lnTo>
                      <a:lnTo>
                        <a:pt x="579869" y="42875"/>
                      </a:lnTo>
                      <a:lnTo>
                        <a:pt x="585965" y="40500"/>
                      </a:lnTo>
                      <a:lnTo>
                        <a:pt x="596607" y="38011"/>
                      </a:lnTo>
                      <a:lnTo>
                        <a:pt x="601814" y="36220"/>
                      </a:lnTo>
                      <a:lnTo>
                        <a:pt x="616280" y="36004"/>
                      </a:lnTo>
                      <a:lnTo>
                        <a:pt x="624370" y="35318"/>
                      </a:lnTo>
                      <a:lnTo>
                        <a:pt x="623836" y="33489"/>
                      </a:lnTo>
                      <a:lnTo>
                        <a:pt x="623404" y="29248"/>
                      </a:lnTo>
                      <a:lnTo>
                        <a:pt x="623404" y="27368"/>
                      </a:lnTo>
                      <a:lnTo>
                        <a:pt x="620712" y="25603"/>
                      </a:lnTo>
                      <a:lnTo>
                        <a:pt x="620903" y="22910"/>
                      </a:lnTo>
                      <a:lnTo>
                        <a:pt x="626338" y="20231"/>
                      </a:lnTo>
                      <a:lnTo>
                        <a:pt x="630732" y="20396"/>
                      </a:lnTo>
                      <a:lnTo>
                        <a:pt x="634593" y="19939"/>
                      </a:lnTo>
                      <a:close/>
                    </a:path>
                    <a:path w="1464945" h="2324100">
                      <a:moveTo>
                        <a:pt x="641642" y="1431848"/>
                      </a:moveTo>
                      <a:lnTo>
                        <a:pt x="640219" y="1429702"/>
                      </a:lnTo>
                      <a:lnTo>
                        <a:pt x="639876" y="1428826"/>
                      </a:lnTo>
                      <a:lnTo>
                        <a:pt x="638873" y="1429893"/>
                      </a:lnTo>
                      <a:lnTo>
                        <a:pt x="638797" y="1432052"/>
                      </a:lnTo>
                      <a:lnTo>
                        <a:pt x="638949" y="1433093"/>
                      </a:lnTo>
                      <a:lnTo>
                        <a:pt x="639254" y="1434490"/>
                      </a:lnTo>
                      <a:lnTo>
                        <a:pt x="639686" y="1434642"/>
                      </a:lnTo>
                      <a:lnTo>
                        <a:pt x="641223" y="1433309"/>
                      </a:lnTo>
                      <a:lnTo>
                        <a:pt x="641337" y="1432902"/>
                      </a:lnTo>
                      <a:lnTo>
                        <a:pt x="641642" y="1431848"/>
                      </a:lnTo>
                      <a:close/>
                    </a:path>
                    <a:path w="1464945" h="2324100">
                      <a:moveTo>
                        <a:pt x="643572" y="1432560"/>
                      </a:moveTo>
                      <a:lnTo>
                        <a:pt x="643534" y="1432140"/>
                      </a:lnTo>
                      <a:lnTo>
                        <a:pt x="643420" y="1431734"/>
                      </a:lnTo>
                      <a:lnTo>
                        <a:pt x="643293" y="1431328"/>
                      </a:lnTo>
                      <a:lnTo>
                        <a:pt x="643267" y="1431810"/>
                      </a:lnTo>
                      <a:lnTo>
                        <a:pt x="643153" y="1432191"/>
                      </a:lnTo>
                      <a:lnTo>
                        <a:pt x="643572" y="1432560"/>
                      </a:lnTo>
                      <a:close/>
                    </a:path>
                    <a:path w="1464945" h="2324100">
                      <a:moveTo>
                        <a:pt x="644118" y="1428762"/>
                      </a:moveTo>
                      <a:lnTo>
                        <a:pt x="643851" y="1429956"/>
                      </a:lnTo>
                      <a:lnTo>
                        <a:pt x="643928" y="1429562"/>
                      </a:lnTo>
                      <a:lnTo>
                        <a:pt x="644042" y="1429156"/>
                      </a:lnTo>
                      <a:lnTo>
                        <a:pt x="644118" y="1428762"/>
                      </a:lnTo>
                      <a:close/>
                    </a:path>
                    <a:path w="1464945" h="2324100">
                      <a:moveTo>
                        <a:pt x="650938" y="1438897"/>
                      </a:moveTo>
                      <a:lnTo>
                        <a:pt x="650633" y="1437919"/>
                      </a:lnTo>
                      <a:lnTo>
                        <a:pt x="650786" y="1436916"/>
                      </a:lnTo>
                      <a:lnTo>
                        <a:pt x="649859" y="1436382"/>
                      </a:lnTo>
                      <a:lnTo>
                        <a:pt x="650125" y="1437259"/>
                      </a:lnTo>
                      <a:lnTo>
                        <a:pt x="650544" y="1438071"/>
                      </a:lnTo>
                      <a:lnTo>
                        <a:pt x="650938" y="1438897"/>
                      </a:lnTo>
                      <a:close/>
                    </a:path>
                    <a:path w="1464945" h="2324100">
                      <a:moveTo>
                        <a:pt x="655599" y="80721"/>
                      </a:moveTo>
                      <a:lnTo>
                        <a:pt x="628459" y="80721"/>
                      </a:lnTo>
                      <a:lnTo>
                        <a:pt x="627303" y="80721"/>
                      </a:lnTo>
                      <a:lnTo>
                        <a:pt x="626833" y="80975"/>
                      </a:lnTo>
                      <a:lnTo>
                        <a:pt x="629272" y="81521"/>
                      </a:lnTo>
                      <a:lnTo>
                        <a:pt x="632383" y="81419"/>
                      </a:lnTo>
                      <a:lnTo>
                        <a:pt x="636739" y="81470"/>
                      </a:lnTo>
                      <a:lnTo>
                        <a:pt x="638632" y="82257"/>
                      </a:lnTo>
                      <a:lnTo>
                        <a:pt x="644575" y="82207"/>
                      </a:lnTo>
                      <a:lnTo>
                        <a:pt x="647141" y="81419"/>
                      </a:lnTo>
                      <a:lnTo>
                        <a:pt x="648703" y="80937"/>
                      </a:lnTo>
                      <a:lnTo>
                        <a:pt x="655485" y="80759"/>
                      </a:lnTo>
                      <a:close/>
                    </a:path>
                    <a:path w="1464945" h="2324100">
                      <a:moveTo>
                        <a:pt x="658926" y="1449819"/>
                      </a:moveTo>
                      <a:lnTo>
                        <a:pt x="658355" y="1451343"/>
                      </a:lnTo>
                      <a:lnTo>
                        <a:pt x="657694" y="1451406"/>
                      </a:lnTo>
                      <a:lnTo>
                        <a:pt x="658736" y="1452778"/>
                      </a:lnTo>
                      <a:lnTo>
                        <a:pt x="658926" y="1451813"/>
                      </a:lnTo>
                      <a:lnTo>
                        <a:pt x="658888" y="1450809"/>
                      </a:lnTo>
                      <a:lnTo>
                        <a:pt x="658926" y="1449819"/>
                      </a:lnTo>
                      <a:close/>
                    </a:path>
                    <a:path w="1464945" h="2324100">
                      <a:moveTo>
                        <a:pt x="664743" y="50088"/>
                      </a:moveTo>
                      <a:lnTo>
                        <a:pt x="662076" y="47612"/>
                      </a:lnTo>
                      <a:lnTo>
                        <a:pt x="660146" y="46977"/>
                      </a:lnTo>
                      <a:lnTo>
                        <a:pt x="658647" y="45859"/>
                      </a:lnTo>
                      <a:lnTo>
                        <a:pt x="658114" y="45491"/>
                      </a:lnTo>
                      <a:lnTo>
                        <a:pt x="657377" y="44399"/>
                      </a:lnTo>
                      <a:lnTo>
                        <a:pt x="656983" y="44170"/>
                      </a:lnTo>
                      <a:lnTo>
                        <a:pt x="656717" y="44018"/>
                      </a:lnTo>
                      <a:lnTo>
                        <a:pt x="656069" y="44170"/>
                      </a:lnTo>
                      <a:lnTo>
                        <a:pt x="655637" y="43827"/>
                      </a:lnTo>
                      <a:lnTo>
                        <a:pt x="654697" y="43230"/>
                      </a:lnTo>
                      <a:lnTo>
                        <a:pt x="654862" y="42938"/>
                      </a:lnTo>
                      <a:lnTo>
                        <a:pt x="652322" y="41668"/>
                      </a:lnTo>
                      <a:lnTo>
                        <a:pt x="651433" y="41617"/>
                      </a:lnTo>
                      <a:lnTo>
                        <a:pt x="634707" y="46240"/>
                      </a:lnTo>
                      <a:lnTo>
                        <a:pt x="633742" y="47866"/>
                      </a:lnTo>
                      <a:lnTo>
                        <a:pt x="632815" y="48006"/>
                      </a:lnTo>
                      <a:lnTo>
                        <a:pt x="631736" y="49199"/>
                      </a:lnTo>
                      <a:lnTo>
                        <a:pt x="631139" y="49834"/>
                      </a:lnTo>
                      <a:lnTo>
                        <a:pt x="631037" y="50507"/>
                      </a:lnTo>
                      <a:lnTo>
                        <a:pt x="628497" y="52158"/>
                      </a:lnTo>
                      <a:lnTo>
                        <a:pt x="625944" y="52324"/>
                      </a:lnTo>
                      <a:lnTo>
                        <a:pt x="624217" y="52870"/>
                      </a:lnTo>
                      <a:lnTo>
                        <a:pt x="626135" y="49733"/>
                      </a:lnTo>
                      <a:lnTo>
                        <a:pt x="629424" y="46977"/>
                      </a:lnTo>
                      <a:lnTo>
                        <a:pt x="632612" y="43929"/>
                      </a:lnTo>
                      <a:lnTo>
                        <a:pt x="634276" y="43141"/>
                      </a:lnTo>
                      <a:lnTo>
                        <a:pt x="637514" y="41605"/>
                      </a:lnTo>
                      <a:lnTo>
                        <a:pt x="633628" y="40246"/>
                      </a:lnTo>
                      <a:lnTo>
                        <a:pt x="632853" y="39979"/>
                      </a:lnTo>
                      <a:lnTo>
                        <a:pt x="632282" y="39090"/>
                      </a:lnTo>
                      <a:lnTo>
                        <a:pt x="631304" y="37553"/>
                      </a:lnTo>
                      <a:lnTo>
                        <a:pt x="626262" y="37553"/>
                      </a:lnTo>
                      <a:lnTo>
                        <a:pt x="623785" y="37261"/>
                      </a:lnTo>
                      <a:lnTo>
                        <a:pt x="620712" y="38176"/>
                      </a:lnTo>
                      <a:lnTo>
                        <a:pt x="619633" y="38900"/>
                      </a:lnTo>
                      <a:lnTo>
                        <a:pt x="616546" y="39090"/>
                      </a:lnTo>
                      <a:lnTo>
                        <a:pt x="615657" y="38811"/>
                      </a:lnTo>
                      <a:lnTo>
                        <a:pt x="613537" y="39357"/>
                      </a:lnTo>
                      <a:lnTo>
                        <a:pt x="612990" y="39878"/>
                      </a:lnTo>
                      <a:lnTo>
                        <a:pt x="612025" y="39903"/>
                      </a:lnTo>
                      <a:lnTo>
                        <a:pt x="611378" y="39903"/>
                      </a:lnTo>
                      <a:lnTo>
                        <a:pt x="610870" y="39420"/>
                      </a:lnTo>
                      <a:lnTo>
                        <a:pt x="609523" y="39522"/>
                      </a:lnTo>
                      <a:lnTo>
                        <a:pt x="609180" y="40246"/>
                      </a:lnTo>
                      <a:lnTo>
                        <a:pt x="608291" y="40195"/>
                      </a:lnTo>
                      <a:lnTo>
                        <a:pt x="607631" y="40132"/>
                      </a:lnTo>
                      <a:lnTo>
                        <a:pt x="607618" y="39738"/>
                      </a:lnTo>
                      <a:lnTo>
                        <a:pt x="607593" y="39446"/>
                      </a:lnTo>
                      <a:lnTo>
                        <a:pt x="605091" y="39738"/>
                      </a:lnTo>
                      <a:lnTo>
                        <a:pt x="603592" y="39662"/>
                      </a:lnTo>
                      <a:lnTo>
                        <a:pt x="600659" y="39649"/>
                      </a:lnTo>
                      <a:lnTo>
                        <a:pt x="598614" y="39230"/>
                      </a:lnTo>
                      <a:lnTo>
                        <a:pt x="597535" y="40436"/>
                      </a:lnTo>
                      <a:lnTo>
                        <a:pt x="596341" y="41833"/>
                      </a:lnTo>
                      <a:lnTo>
                        <a:pt x="597268" y="43141"/>
                      </a:lnTo>
                      <a:lnTo>
                        <a:pt x="593674" y="41148"/>
                      </a:lnTo>
                      <a:lnTo>
                        <a:pt x="592594" y="39433"/>
                      </a:lnTo>
                      <a:lnTo>
                        <a:pt x="590702" y="40182"/>
                      </a:lnTo>
                      <a:lnTo>
                        <a:pt x="589711" y="41706"/>
                      </a:lnTo>
                      <a:lnTo>
                        <a:pt x="588746" y="42468"/>
                      </a:lnTo>
                      <a:lnTo>
                        <a:pt x="588505" y="42760"/>
                      </a:lnTo>
                      <a:lnTo>
                        <a:pt x="586473" y="43929"/>
                      </a:lnTo>
                      <a:lnTo>
                        <a:pt x="584339" y="43421"/>
                      </a:lnTo>
                      <a:lnTo>
                        <a:pt x="582726" y="44297"/>
                      </a:lnTo>
                      <a:lnTo>
                        <a:pt x="581533" y="45859"/>
                      </a:lnTo>
                      <a:lnTo>
                        <a:pt x="581418" y="46240"/>
                      </a:lnTo>
                      <a:lnTo>
                        <a:pt x="582155" y="47815"/>
                      </a:lnTo>
                      <a:lnTo>
                        <a:pt x="584225" y="48247"/>
                      </a:lnTo>
                      <a:lnTo>
                        <a:pt x="584695" y="49834"/>
                      </a:lnTo>
                      <a:lnTo>
                        <a:pt x="582155" y="50190"/>
                      </a:lnTo>
                      <a:lnTo>
                        <a:pt x="580110" y="50431"/>
                      </a:lnTo>
                      <a:lnTo>
                        <a:pt x="575983" y="52578"/>
                      </a:lnTo>
                      <a:lnTo>
                        <a:pt x="575284" y="53416"/>
                      </a:lnTo>
                      <a:lnTo>
                        <a:pt x="572516" y="56007"/>
                      </a:lnTo>
                      <a:lnTo>
                        <a:pt x="570230" y="56591"/>
                      </a:lnTo>
                      <a:lnTo>
                        <a:pt x="565988" y="58394"/>
                      </a:lnTo>
                      <a:lnTo>
                        <a:pt x="564489" y="57035"/>
                      </a:lnTo>
                      <a:lnTo>
                        <a:pt x="562025" y="57315"/>
                      </a:lnTo>
                      <a:lnTo>
                        <a:pt x="562178" y="58191"/>
                      </a:lnTo>
                      <a:lnTo>
                        <a:pt x="564603" y="60553"/>
                      </a:lnTo>
                      <a:lnTo>
                        <a:pt x="566953" y="61366"/>
                      </a:lnTo>
                      <a:lnTo>
                        <a:pt x="568655" y="59880"/>
                      </a:lnTo>
                      <a:lnTo>
                        <a:pt x="570826" y="58394"/>
                      </a:lnTo>
                      <a:lnTo>
                        <a:pt x="571195" y="58140"/>
                      </a:lnTo>
                      <a:lnTo>
                        <a:pt x="573354" y="55981"/>
                      </a:lnTo>
                      <a:lnTo>
                        <a:pt x="575983" y="57632"/>
                      </a:lnTo>
                      <a:lnTo>
                        <a:pt x="575894" y="59182"/>
                      </a:lnTo>
                      <a:lnTo>
                        <a:pt x="577557" y="59651"/>
                      </a:lnTo>
                      <a:lnTo>
                        <a:pt x="576478" y="60388"/>
                      </a:lnTo>
                      <a:lnTo>
                        <a:pt x="575017" y="60274"/>
                      </a:lnTo>
                      <a:lnTo>
                        <a:pt x="573862" y="60820"/>
                      </a:lnTo>
                      <a:lnTo>
                        <a:pt x="575208" y="60960"/>
                      </a:lnTo>
                      <a:lnTo>
                        <a:pt x="576402" y="61595"/>
                      </a:lnTo>
                      <a:lnTo>
                        <a:pt x="578866" y="61683"/>
                      </a:lnTo>
                      <a:lnTo>
                        <a:pt x="583361" y="60388"/>
                      </a:lnTo>
                      <a:lnTo>
                        <a:pt x="583615" y="60312"/>
                      </a:lnTo>
                      <a:lnTo>
                        <a:pt x="582295" y="62941"/>
                      </a:lnTo>
                      <a:lnTo>
                        <a:pt x="582498" y="63830"/>
                      </a:lnTo>
                      <a:lnTo>
                        <a:pt x="582422" y="66586"/>
                      </a:lnTo>
                      <a:lnTo>
                        <a:pt x="582803" y="68097"/>
                      </a:lnTo>
                      <a:lnTo>
                        <a:pt x="583882" y="68110"/>
                      </a:lnTo>
                      <a:lnTo>
                        <a:pt x="585571" y="68770"/>
                      </a:lnTo>
                      <a:lnTo>
                        <a:pt x="586511" y="68732"/>
                      </a:lnTo>
                      <a:lnTo>
                        <a:pt x="586854" y="69176"/>
                      </a:lnTo>
                      <a:lnTo>
                        <a:pt x="587387" y="69951"/>
                      </a:lnTo>
                      <a:lnTo>
                        <a:pt x="586511" y="70573"/>
                      </a:lnTo>
                      <a:lnTo>
                        <a:pt x="586854" y="71272"/>
                      </a:lnTo>
                      <a:lnTo>
                        <a:pt x="587159" y="71805"/>
                      </a:lnTo>
                      <a:lnTo>
                        <a:pt x="588746" y="72440"/>
                      </a:lnTo>
                      <a:lnTo>
                        <a:pt x="590092" y="73545"/>
                      </a:lnTo>
                      <a:lnTo>
                        <a:pt x="592899" y="74041"/>
                      </a:lnTo>
                      <a:lnTo>
                        <a:pt x="595680" y="74485"/>
                      </a:lnTo>
                      <a:lnTo>
                        <a:pt x="598728" y="72986"/>
                      </a:lnTo>
                      <a:lnTo>
                        <a:pt x="601535" y="73190"/>
                      </a:lnTo>
                      <a:lnTo>
                        <a:pt x="600570" y="77635"/>
                      </a:lnTo>
                      <a:lnTo>
                        <a:pt x="609295" y="74612"/>
                      </a:lnTo>
                      <a:lnTo>
                        <a:pt x="611606" y="74828"/>
                      </a:lnTo>
                      <a:lnTo>
                        <a:pt x="611416" y="74955"/>
                      </a:lnTo>
                      <a:lnTo>
                        <a:pt x="611098" y="75336"/>
                      </a:lnTo>
                      <a:lnTo>
                        <a:pt x="610755" y="75514"/>
                      </a:lnTo>
                      <a:lnTo>
                        <a:pt x="612800" y="75907"/>
                      </a:lnTo>
                      <a:lnTo>
                        <a:pt x="615543" y="75006"/>
                      </a:lnTo>
                      <a:lnTo>
                        <a:pt x="618388" y="76047"/>
                      </a:lnTo>
                      <a:lnTo>
                        <a:pt x="618350" y="76847"/>
                      </a:lnTo>
                      <a:lnTo>
                        <a:pt x="619239" y="77470"/>
                      </a:lnTo>
                      <a:lnTo>
                        <a:pt x="620128" y="77597"/>
                      </a:lnTo>
                      <a:lnTo>
                        <a:pt x="621868" y="78447"/>
                      </a:lnTo>
                      <a:lnTo>
                        <a:pt x="623100" y="79489"/>
                      </a:lnTo>
                      <a:lnTo>
                        <a:pt x="625792" y="80391"/>
                      </a:lnTo>
                      <a:lnTo>
                        <a:pt x="627608" y="79844"/>
                      </a:lnTo>
                      <a:lnTo>
                        <a:pt x="629234" y="80391"/>
                      </a:lnTo>
                      <a:lnTo>
                        <a:pt x="628751" y="80594"/>
                      </a:lnTo>
                      <a:lnTo>
                        <a:pt x="655942" y="80594"/>
                      </a:lnTo>
                      <a:lnTo>
                        <a:pt x="656958" y="80225"/>
                      </a:lnTo>
                      <a:lnTo>
                        <a:pt x="657567" y="79844"/>
                      </a:lnTo>
                      <a:lnTo>
                        <a:pt x="659028" y="78930"/>
                      </a:lnTo>
                      <a:lnTo>
                        <a:pt x="660082" y="78308"/>
                      </a:lnTo>
                      <a:lnTo>
                        <a:pt x="661733" y="77901"/>
                      </a:lnTo>
                      <a:lnTo>
                        <a:pt x="664197" y="75565"/>
                      </a:lnTo>
                      <a:lnTo>
                        <a:pt x="663562" y="75006"/>
                      </a:lnTo>
                      <a:lnTo>
                        <a:pt x="663117" y="74612"/>
                      </a:lnTo>
                      <a:lnTo>
                        <a:pt x="661263" y="72986"/>
                      </a:lnTo>
                      <a:lnTo>
                        <a:pt x="660692" y="72491"/>
                      </a:lnTo>
                      <a:lnTo>
                        <a:pt x="656907" y="71043"/>
                      </a:lnTo>
                      <a:lnTo>
                        <a:pt x="653364" y="69176"/>
                      </a:lnTo>
                      <a:lnTo>
                        <a:pt x="652983" y="68732"/>
                      </a:lnTo>
                      <a:lnTo>
                        <a:pt x="651433" y="66941"/>
                      </a:lnTo>
                      <a:lnTo>
                        <a:pt x="650748" y="66103"/>
                      </a:lnTo>
                      <a:lnTo>
                        <a:pt x="650278" y="65925"/>
                      </a:lnTo>
                      <a:lnTo>
                        <a:pt x="653097" y="65862"/>
                      </a:lnTo>
                      <a:lnTo>
                        <a:pt x="654367" y="66586"/>
                      </a:lnTo>
                      <a:lnTo>
                        <a:pt x="655866" y="67487"/>
                      </a:lnTo>
                      <a:lnTo>
                        <a:pt x="656755" y="67030"/>
                      </a:lnTo>
                      <a:lnTo>
                        <a:pt x="658444" y="65862"/>
                      </a:lnTo>
                      <a:lnTo>
                        <a:pt x="659536" y="65074"/>
                      </a:lnTo>
                      <a:lnTo>
                        <a:pt x="660044" y="64122"/>
                      </a:lnTo>
                      <a:lnTo>
                        <a:pt x="659650" y="61302"/>
                      </a:lnTo>
                      <a:lnTo>
                        <a:pt x="659409" y="60960"/>
                      </a:lnTo>
                      <a:lnTo>
                        <a:pt x="659485" y="60312"/>
                      </a:lnTo>
                      <a:lnTo>
                        <a:pt x="659688" y="59359"/>
                      </a:lnTo>
                      <a:lnTo>
                        <a:pt x="660463" y="59232"/>
                      </a:lnTo>
                      <a:lnTo>
                        <a:pt x="660730" y="57480"/>
                      </a:lnTo>
                      <a:lnTo>
                        <a:pt x="660107" y="56807"/>
                      </a:lnTo>
                      <a:lnTo>
                        <a:pt x="660349" y="55981"/>
                      </a:lnTo>
                      <a:lnTo>
                        <a:pt x="660768" y="54660"/>
                      </a:lnTo>
                      <a:lnTo>
                        <a:pt x="660501" y="54495"/>
                      </a:lnTo>
                      <a:lnTo>
                        <a:pt x="661352" y="53860"/>
                      </a:lnTo>
                      <a:lnTo>
                        <a:pt x="662190" y="53200"/>
                      </a:lnTo>
                      <a:lnTo>
                        <a:pt x="661924" y="52870"/>
                      </a:lnTo>
                      <a:lnTo>
                        <a:pt x="661543" y="52425"/>
                      </a:lnTo>
                      <a:lnTo>
                        <a:pt x="662470" y="51346"/>
                      </a:lnTo>
                      <a:lnTo>
                        <a:pt x="663270" y="51498"/>
                      </a:lnTo>
                      <a:lnTo>
                        <a:pt x="663435" y="51346"/>
                      </a:lnTo>
                      <a:lnTo>
                        <a:pt x="664743" y="50088"/>
                      </a:lnTo>
                      <a:close/>
                    </a:path>
                    <a:path w="1464945" h="2324100">
                      <a:moveTo>
                        <a:pt x="664933" y="50241"/>
                      </a:moveTo>
                      <a:lnTo>
                        <a:pt x="664768" y="50088"/>
                      </a:lnTo>
                      <a:lnTo>
                        <a:pt x="664933" y="50241"/>
                      </a:lnTo>
                      <a:close/>
                    </a:path>
                    <a:path w="1464945" h="2324100">
                      <a:moveTo>
                        <a:pt x="665099" y="1406169"/>
                      </a:moveTo>
                      <a:lnTo>
                        <a:pt x="664743" y="1405140"/>
                      </a:lnTo>
                      <a:lnTo>
                        <a:pt x="663663" y="1405293"/>
                      </a:lnTo>
                      <a:lnTo>
                        <a:pt x="664044" y="1405966"/>
                      </a:lnTo>
                      <a:lnTo>
                        <a:pt x="664514" y="1406575"/>
                      </a:lnTo>
                      <a:lnTo>
                        <a:pt x="664972" y="1407198"/>
                      </a:lnTo>
                      <a:lnTo>
                        <a:pt x="665099" y="1406169"/>
                      </a:lnTo>
                      <a:close/>
                    </a:path>
                    <a:path w="1464945" h="2324100">
                      <a:moveTo>
                        <a:pt x="665251" y="1409420"/>
                      </a:moveTo>
                      <a:lnTo>
                        <a:pt x="664972" y="1408747"/>
                      </a:lnTo>
                      <a:lnTo>
                        <a:pt x="664705" y="1408150"/>
                      </a:lnTo>
                      <a:lnTo>
                        <a:pt x="664133" y="1408315"/>
                      </a:lnTo>
                      <a:lnTo>
                        <a:pt x="663359" y="1408404"/>
                      </a:lnTo>
                      <a:lnTo>
                        <a:pt x="662203" y="1408544"/>
                      </a:lnTo>
                      <a:lnTo>
                        <a:pt x="663130" y="1409941"/>
                      </a:lnTo>
                      <a:lnTo>
                        <a:pt x="663397" y="1410779"/>
                      </a:lnTo>
                      <a:lnTo>
                        <a:pt x="663867" y="1410652"/>
                      </a:lnTo>
                      <a:lnTo>
                        <a:pt x="665251" y="1409420"/>
                      </a:lnTo>
                      <a:close/>
                    </a:path>
                    <a:path w="1464945" h="2324100">
                      <a:moveTo>
                        <a:pt x="669328" y="1469034"/>
                      </a:moveTo>
                      <a:lnTo>
                        <a:pt x="668286" y="1468081"/>
                      </a:lnTo>
                      <a:lnTo>
                        <a:pt x="667664" y="1467510"/>
                      </a:lnTo>
                      <a:lnTo>
                        <a:pt x="666978" y="1468755"/>
                      </a:lnTo>
                      <a:lnTo>
                        <a:pt x="666470" y="1469326"/>
                      </a:lnTo>
                      <a:lnTo>
                        <a:pt x="667753" y="1470088"/>
                      </a:lnTo>
                      <a:lnTo>
                        <a:pt x="669328" y="1469034"/>
                      </a:lnTo>
                      <a:close/>
                    </a:path>
                    <a:path w="1464945" h="2324100">
                      <a:moveTo>
                        <a:pt x="698487" y="1373365"/>
                      </a:moveTo>
                      <a:lnTo>
                        <a:pt x="697674" y="1372654"/>
                      </a:lnTo>
                      <a:lnTo>
                        <a:pt x="696861" y="1371917"/>
                      </a:lnTo>
                      <a:lnTo>
                        <a:pt x="695972" y="1371231"/>
                      </a:lnTo>
                      <a:lnTo>
                        <a:pt x="696366" y="1372108"/>
                      </a:lnTo>
                      <a:lnTo>
                        <a:pt x="696518" y="1373098"/>
                      </a:lnTo>
                      <a:lnTo>
                        <a:pt x="696823" y="1373911"/>
                      </a:lnTo>
                      <a:lnTo>
                        <a:pt x="697090" y="1373632"/>
                      </a:lnTo>
                      <a:lnTo>
                        <a:pt x="697865" y="1373403"/>
                      </a:lnTo>
                      <a:lnTo>
                        <a:pt x="698487" y="1373365"/>
                      </a:lnTo>
                      <a:close/>
                    </a:path>
                    <a:path w="1464945" h="2324100">
                      <a:moveTo>
                        <a:pt x="700798" y="1379651"/>
                      </a:moveTo>
                      <a:lnTo>
                        <a:pt x="700760" y="1378724"/>
                      </a:lnTo>
                      <a:lnTo>
                        <a:pt x="700532" y="1377810"/>
                      </a:lnTo>
                      <a:lnTo>
                        <a:pt x="700379" y="1376895"/>
                      </a:lnTo>
                      <a:lnTo>
                        <a:pt x="699719" y="1377962"/>
                      </a:lnTo>
                      <a:lnTo>
                        <a:pt x="699871" y="1379220"/>
                      </a:lnTo>
                      <a:lnTo>
                        <a:pt x="700798" y="1379651"/>
                      </a:lnTo>
                      <a:close/>
                    </a:path>
                    <a:path w="1464945" h="2324100">
                      <a:moveTo>
                        <a:pt x="722617" y="1398473"/>
                      </a:moveTo>
                      <a:lnTo>
                        <a:pt x="722198" y="1397228"/>
                      </a:lnTo>
                      <a:lnTo>
                        <a:pt x="721385" y="1394904"/>
                      </a:lnTo>
                      <a:lnTo>
                        <a:pt x="720267" y="1397165"/>
                      </a:lnTo>
                      <a:lnTo>
                        <a:pt x="718731" y="1396911"/>
                      </a:lnTo>
                      <a:lnTo>
                        <a:pt x="719353" y="1398473"/>
                      </a:lnTo>
                      <a:lnTo>
                        <a:pt x="720191" y="1399959"/>
                      </a:lnTo>
                      <a:lnTo>
                        <a:pt x="720966" y="1401457"/>
                      </a:lnTo>
                      <a:lnTo>
                        <a:pt x="721664" y="1400492"/>
                      </a:lnTo>
                      <a:lnTo>
                        <a:pt x="722617" y="1398473"/>
                      </a:lnTo>
                      <a:close/>
                    </a:path>
                    <a:path w="1464945" h="2324100">
                      <a:moveTo>
                        <a:pt x="757478" y="1408125"/>
                      </a:moveTo>
                      <a:lnTo>
                        <a:pt x="756526" y="1404416"/>
                      </a:lnTo>
                      <a:lnTo>
                        <a:pt x="750316" y="1400022"/>
                      </a:lnTo>
                      <a:lnTo>
                        <a:pt x="743356" y="1396352"/>
                      </a:lnTo>
                      <a:lnTo>
                        <a:pt x="740194" y="1394828"/>
                      </a:lnTo>
                      <a:lnTo>
                        <a:pt x="740549" y="1395945"/>
                      </a:lnTo>
                      <a:lnTo>
                        <a:pt x="741819" y="1396377"/>
                      </a:lnTo>
                      <a:lnTo>
                        <a:pt x="742365" y="1397482"/>
                      </a:lnTo>
                      <a:lnTo>
                        <a:pt x="743089" y="1398219"/>
                      </a:lnTo>
                      <a:lnTo>
                        <a:pt x="743851" y="1398854"/>
                      </a:lnTo>
                      <a:lnTo>
                        <a:pt x="745375" y="1400276"/>
                      </a:lnTo>
                      <a:lnTo>
                        <a:pt x="753503" y="1406474"/>
                      </a:lnTo>
                      <a:lnTo>
                        <a:pt x="756323" y="1409192"/>
                      </a:lnTo>
                      <a:lnTo>
                        <a:pt x="757478" y="1408125"/>
                      </a:lnTo>
                      <a:close/>
                    </a:path>
                    <a:path w="1464945" h="2324100">
                      <a:moveTo>
                        <a:pt x="759053" y="1420139"/>
                      </a:moveTo>
                      <a:lnTo>
                        <a:pt x="758253" y="1420622"/>
                      </a:lnTo>
                      <a:lnTo>
                        <a:pt x="757364" y="1420888"/>
                      </a:lnTo>
                      <a:lnTo>
                        <a:pt x="757859" y="1421688"/>
                      </a:lnTo>
                      <a:lnTo>
                        <a:pt x="758291" y="1421218"/>
                      </a:lnTo>
                      <a:lnTo>
                        <a:pt x="758710" y="1420698"/>
                      </a:lnTo>
                      <a:lnTo>
                        <a:pt x="759053" y="1420139"/>
                      </a:lnTo>
                      <a:close/>
                    </a:path>
                    <a:path w="1464945" h="2324100">
                      <a:moveTo>
                        <a:pt x="760488" y="1399882"/>
                      </a:moveTo>
                      <a:lnTo>
                        <a:pt x="758291" y="1398498"/>
                      </a:lnTo>
                      <a:lnTo>
                        <a:pt x="755586" y="1398244"/>
                      </a:lnTo>
                      <a:lnTo>
                        <a:pt x="754824" y="1398219"/>
                      </a:lnTo>
                      <a:lnTo>
                        <a:pt x="754824" y="1399247"/>
                      </a:lnTo>
                      <a:lnTo>
                        <a:pt x="753833" y="1398790"/>
                      </a:lnTo>
                      <a:lnTo>
                        <a:pt x="754138" y="1398790"/>
                      </a:lnTo>
                      <a:lnTo>
                        <a:pt x="754621" y="1398892"/>
                      </a:lnTo>
                      <a:lnTo>
                        <a:pt x="754824" y="1399247"/>
                      </a:lnTo>
                      <a:lnTo>
                        <a:pt x="754824" y="1398219"/>
                      </a:lnTo>
                      <a:lnTo>
                        <a:pt x="753046" y="1398130"/>
                      </a:lnTo>
                      <a:lnTo>
                        <a:pt x="752690" y="1398219"/>
                      </a:lnTo>
                      <a:lnTo>
                        <a:pt x="752386" y="1398320"/>
                      </a:lnTo>
                      <a:lnTo>
                        <a:pt x="752119" y="1398524"/>
                      </a:lnTo>
                      <a:lnTo>
                        <a:pt x="752640" y="1398816"/>
                      </a:lnTo>
                      <a:lnTo>
                        <a:pt x="753110" y="1398765"/>
                      </a:lnTo>
                      <a:lnTo>
                        <a:pt x="753618" y="1398790"/>
                      </a:lnTo>
                      <a:lnTo>
                        <a:pt x="753211" y="1398828"/>
                      </a:lnTo>
                      <a:lnTo>
                        <a:pt x="752805" y="1399057"/>
                      </a:lnTo>
                      <a:lnTo>
                        <a:pt x="751725" y="1398879"/>
                      </a:lnTo>
                      <a:lnTo>
                        <a:pt x="751001" y="1398498"/>
                      </a:lnTo>
                      <a:lnTo>
                        <a:pt x="750303" y="1398295"/>
                      </a:lnTo>
                      <a:lnTo>
                        <a:pt x="751497" y="1400441"/>
                      </a:lnTo>
                      <a:lnTo>
                        <a:pt x="754697" y="1402181"/>
                      </a:lnTo>
                      <a:lnTo>
                        <a:pt x="756818" y="1403921"/>
                      </a:lnTo>
                      <a:lnTo>
                        <a:pt x="759904" y="1406194"/>
                      </a:lnTo>
                      <a:lnTo>
                        <a:pt x="759485" y="1403883"/>
                      </a:lnTo>
                      <a:lnTo>
                        <a:pt x="759447" y="1403489"/>
                      </a:lnTo>
                      <a:lnTo>
                        <a:pt x="758558" y="1403388"/>
                      </a:lnTo>
                      <a:lnTo>
                        <a:pt x="758278" y="1403159"/>
                      </a:lnTo>
                      <a:lnTo>
                        <a:pt x="757745" y="1402651"/>
                      </a:lnTo>
                      <a:lnTo>
                        <a:pt x="757047" y="1402410"/>
                      </a:lnTo>
                      <a:lnTo>
                        <a:pt x="755472" y="1401102"/>
                      </a:lnTo>
                      <a:lnTo>
                        <a:pt x="755142" y="1399768"/>
                      </a:lnTo>
                      <a:lnTo>
                        <a:pt x="756094" y="1401381"/>
                      </a:lnTo>
                      <a:lnTo>
                        <a:pt x="757250" y="1402194"/>
                      </a:lnTo>
                      <a:lnTo>
                        <a:pt x="759066" y="1402943"/>
                      </a:lnTo>
                      <a:lnTo>
                        <a:pt x="758977" y="1402029"/>
                      </a:lnTo>
                      <a:lnTo>
                        <a:pt x="758825" y="1401114"/>
                      </a:lnTo>
                      <a:lnTo>
                        <a:pt x="758825" y="1400187"/>
                      </a:lnTo>
                      <a:lnTo>
                        <a:pt x="759409" y="1400276"/>
                      </a:lnTo>
                      <a:lnTo>
                        <a:pt x="759980" y="1399959"/>
                      </a:lnTo>
                      <a:lnTo>
                        <a:pt x="760488" y="1399882"/>
                      </a:lnTo>
                      <a:close/>
                    </a:path>
                    <a:path w="1464945" h="2324100">
                      <a:moveTo>
                        <a:pt x="762317" y="1394879"/>
                      </a:moveTo>
                      <a:lnTo>
                        <a:pt x="762000" y="1394079"/>
                      </a:lnTo>
                      <a:lnTo>
                        <a:pt x="761758" y="1394333"/>
                      </a:lnTo>
                      <a:lnTo>
                        <a:pt x="761466" y="1394523"/>
                      </a:lnTo>
                      <a:lnTo>
                        <a:pt x="761161" y="1394714"/>
                      </a:lnTo>
                      <a:lnTo>
                        <a:pt x="761415" y="1395450"/>
                      </a:lnTo>
                      <a:lnTo>
                        <a:pt x="761707" y="1396187"/>
                      </a:lnTo>
                      <a:lnTo>
                        <a:pt x="762101" y="1396885"/>
                      </a:lnTo>
                      <a:lnTo>
                        <a:pt x="762254" y="1395971"/>
                      </a:lnTo>
                      <a:lnTo>
                        <a:pt x="762317" y="1394879"/>
                      </a:lnTo>
                      <a:close/>
                    </a:path>
                    <a:path w="1464945" h="2324100">
                      <a:moveTo>
                        <a:pt x="765340" y="1243901"/>
                      </a:moveTo>
                      <a:lnTo>
                        <a:pt x="764844" y="1243291"/>
                      </a:lnTo>
                      <a:lnTo>
                        <a:pt x="764197" y="1242936"/>
                      </a:lnTo>
                      <a:lnTo>
                        <a:pt x="763384" y="1243114"/>
                      </a:lnTo>
                      <a:lnTo>
                        <a:pt x="763803" y="1243838"/>
                      </a:lnTo>
                      <a:lnTo>
                        <a:pt x="764235" y="1244549"/>
                      </a:lnTo>
                      <a:lnTo>
                        <a:pt x="764654" y="1245260"/>
                      </a:lnTo>
                      <a:lnTo>
                        <a:pt x="764921" y="1244473"/>
                      </a:lnTo>
                      <a:lnTo>
                        <a:pt x="765340" y="1243901"/>
                      </a:lnTo>
                      <a:close/>
                    </a:path>
                    <a:path w="1464945" h="2324100">
                      <a:moveTo>
                        <a:pt x="771931" y="1240447"/>
                      </a:moveTo>
                      <a:lnTo>
                        <a:pt x="771156" y="1241069"/>
                      </a:lnTo>
                      <a:lnTo>
                        <a:pt x="770470" y="1241717"/>
                      </a:lnTo>
                      <a:lnTo>
                        <a:pt x="769734" y="1242352"/>
                      </a:lnTo>
                      <a:lnTo>
                        <a:pt x="771232" y="1242529"/>
                      </a:lnTo>
                      <a:lnTo>
                        <a:pt x="771652" y="1241602"/>
                      </a:lnTo>
                      <a:lnTo>
                        <a:pt x="771931" y="1240447"/>
                      </a:lnTo>
                      <a:close/>
                    </a:path>
                    <a:path w="1464945" h="2324100">
                      <a:moveTo>
                        <a:pt x="778141" y="1235024"/>
                      </a:moveTo>
                      <a:lnTo>
                        <a:pt x="777443" y="1235163"/>
                      </a:lnTo>
                      <a:lnTo>
                        <a:pt x="776097" y="1235557"/>
                      </a:lnTo>
                      <a:lnTo>
                        <a:pt x="776833" y="1235595"/>
                      </a:lnTo>
                      <a:lnTo>
                        <a:pt x="777557" y="1235392"/>
                      </a:lnTo>
                      <a:lnTo>
                        <a:pt x="778141" y="1235024"/>
                      </a:lnTo>
                      <a:close/>
                    </a:path>
                    <a:path w="1464945" h="2324100">
                      <a:moveTo>
                        <a:pt x="814349" y="1241844"/>
                      </a:moveTo>
                      <a:lnTo>
                        <a:pt x="814311" y="1241145"/>
                      </a:lnTo>
                      <a:lnTo>
                        <a:pt x="813930" y="1240548"/>
                      </a:lnTo>
                      <a:lnTo>
                        <a:pt x="813384" y="1240053"/>
                      </a:lnTo>
                      <a:lnTo>
                        <a:pt x="812355" y="1240548"/>
                      </a:lnTo>
                      <a:lnTo>
                        <a:pt x="811225" y="1240955"/>
                      </a:lnTo>
                      <a:lnTo>
                        <a:pt x="810298" y="1241628"/>
                      </a:lnTo>
                      <a:lnTo>
                        <a:pt x="810920" y="1241602"/>
                      </a:lnTo>
                      <a:lnTo>
                        <a:pt x="811466" y="1240891"/>
                      </a:lnTo>
                      <a:lnTo>
                        <a:pt x="811923" y="1240878"/>
                      </a:lnTo>
                      <a:lnTo>
                        <a:pt x="812736" y="1240866"/>
                      </a:lnTo>
                      <a:lnTo>
                        <a:pt x="813574" y="1241628"/>
                      </a:lnTo>
                      <a:lnTo>
                        <a:pt x="814349" y="1241844"/>
                      </a:lnTo>
                      <a:close/>
                    </a:path>
                    <a:path w="1464945" h="2324100">
                      <a:moveTo>
                        <a:pt x="814616" y="1239202"/>
                      </a:moveTo>
                      <a:lnTo>
                        <a:pt x="814578" y="1238796"/>
                      </a:lnTo>
                      <a:lnTo>
                        <a:pt x="814578" y="1238338"/>
                      </a:lnTo>
                      <a:lnTo>
                        <a:pt x="814501" y="1237945"/>
                      </a:lnTo>
                      <a:lnTo>
                        <a:pt x="813955" y="1237945"/>
                      </a:lnTo>
                      <a:lnTo>
                        <a:pt x="813422" y="1238135"/>
                      </a:lnTo>
                      <a:lnTo>
                        <a:pt x="812914" y="1238211"/>
                      </a:lnTo>
                      <a:lnTo>
                        <a:pt x="813384" y="1238719"/>
                      </a:lnTo>
                      <a:lnTo>
                        <a:pt x="813955" y="1239126"/>
                      </a:lnTo>
                      <a:lnTo>
                        <a:pt x="814616" y="1239202"/>
                      </a:lnTo>
                      <a:close/>
                    </a:path>
                    <a:path w="1464945" h="2324100">
                      <a:moveTo>
                        <a:pt x="821550" y="1261237"/>
                      </a:moveTo>
                      <a:lnTo>
                        <a:pt x="821334" y="1260043"/>
                      </a:lnTo>
                      <a:lnTo>
                        <a:pt x="821093" y="1258163"/>
                      </a:lnTo>
                      <a:lnTo>
                        <a:pt x="820978" y="1257871"/>
                      </a:lnTo>
                      <a:lnTo>
                        <a:pt x="820839" y="1257566"/>
                      </a:lnTo>
                      <a:lnTo>
                        <a:pt x="819835" y="1255217"/>
                      </a:lnTo>
                      <a:lnTo>
                        <a:pt x="817194" y="1255217"/>
                      </a:lnTo>
                      <a:lnTo>
                        <a:pt x="816660" y="1253578"/>
                      </a:lnTo>
                      <a:lnTo>
                        <a:pt x="814654" y="1256639"/>
                      </a:lnTo>
                      <a:lnTo>
                        <a:pt x="812139" y="1255699"/>
                      </a:lnTo>
                      <a:lnTo>
                        <a:pt x="810983" y="1255407"/>
                      </a:lnTo>
                      <a:lnTo>
                        <a:pt x="808634" y="1254252"/>
                      </a:lnTo>
                      <a:lnTo>
                        <a:pt x="808990" y="1255839"/>
                      </a:lnTo>
                      <a:lnTo>
                        <a:pt x="807059" y="1256792"/>
                      </a:lnTo>
                      <a:lnTo>
                        <a:pt x="806754" y="1256639"/>
                      </a:lnTo>
                      <a:lnTo>
                        <a:pt x="805268" y="1256398"/>
                      </a:lnTo>
                      <a:lnTo>
                        <a:pt x="804240" y="1256233"/>
                      </a:lnTo>
                      <a:lnTo>
                        <a:pt x="804506" y="1255915"/>
                      </a:lnTo>
                      <a:lnTo>
                        <a:pt x="803351" y="1256398"/>
                      </a:lnTo>
                      <a:lnTo>
                        <a:pt x="802894" y="1255953"/>
                      </a:lnTo>
                      <a:lnTo>
                        <a:pt x="801966" y="1255915"/>
                      </a:lnTo>
                      <a:lnTo>
                        <a:pt x="800011" y="1257134"/>
                      </a:lnTo>
                      <a:lnTo>
                        <a:pt x="800811" y="1257693"/>
                      </a:lnTo>
                      <a:lnTo>
                        <a:pt x="799007" y="1257871"/>
                      </a:lnTo>
                      <a:lnTo>
                        <a:pt x="798880" y="1257871"/>
                      </a:lnTo>
                      <a:lnTo>
                        <a:pt x="798499" y="1257858"/>
                      </a:lnTo>
                      <a:lnTo>
                        <a:pt x="798029" y="1257757"/>
                      </a:lnTo>
                      <a:lnTo>
                        <a:pt x="797991" y="1257554"/>
                      </a:lnTo>
                      <a:lnTo>
                        <a:pt x="796785" y="1257363"/>
                      </a:lnTo>
                      <a:lnTo>
                        <a:pt x="796696" y="1257757"/>
                      </a:lnTo>
                      <a:lnTo>
                        <a:pt x="796569" y="1259268"/>
                      </a:lnTo>
                      <a:lnTo>
                        <a:pt x="796950" y="1260043"/>
                      </a:lnTo>
                      <a:lnTo>
                        <a:pt x="795185" y="1261262"/>
                      </a:lnTo>
                      <a:lnTo>
                        <a:pt x="788936" y="1265224"/>
                      </a:lnTo>
                      <a:lnTo>
                        <a:pt x="787819" y="1265389"/>
                      </a:lnTo>
                      <a:lnTo>
                        <a:pt x="787311" y="1268374"/>
                      </a:lnTo>
                      <a:lnTo>
                        <a:pt x="787120" y="1269365"/>
                      </a:lnTo>
                      <a:lnTo>
                        <a:pt x="787425" y="1269784"/>
                      </a:lnTo>
                      <a:lnTo>
                        <a:pt x="787476" y="1274406"/>
                      </a:lnTo>
                      <a:lnTo>
                        <a:pt x="788123" y="1276527"/>
                      </a:lnTo>
                      <a:lnTo>
                        <a:pt x="788200" y="1276870"/>
                      </a:lnTo>
                      <a:lnTo>
                        <a:pt x="787831" y="1277112"/>
                      </a:lnTo>
                      <a:lnTo>
                        <a:pt x="787819" y="1277378"/>
                      </a:lnTo>
                      <a:lnTo>
                        <a:pt x="789127" y="1279817"/>
                      </a:lnTo>
                      <a:lnTo>
                        <a:pt x="795413" y="1281277"/>
                      </a:lnTo>
                      <a:lnTo>
                        <a:pt x="798804" y="1282509"/>
                      </a:lnTo>
                      <a:lnTo>
                        <a:pt x="801116" y="1283220"/>
                      </a:lnTo>
                      <a:lnTo>
                        <a:pt x="802386" y="1282458"/>
                      </a:lnTo>
                      <a:lnTo>
                        <a:pt x="802932" y="1282153"/>
                      </a:lnTo>
                      <a:lnTo>
                        <a:pt x="803236" y="1280795"/>
                      </a:lnTo>
                      <a:lnTo>
                        <a:pt x="803541" y="1279817"/>
                      </a:lnTo>
                      <a:lnTo>
                        <a:pt x="803744" y="1279245"/>
                      </a:lnTo>
                      <a:lnTo>
                        <a:pt x="806018" y="1279245"/>
                      </a:lnTo>
                      <a:lnTo>
                        <a:pt x="807326" y="1279029"/>
                      </a:lnTo>
                      <a:lnTo>
                        <a:pt x="808024" y="1278026"/>
                      </a:lnTo>
                      <a:lnTo>
                        <a:pt x="808672" y="1277378"/>
                      </a:lnTo>
                      <a:lnTo>
                        <a:pt x="808875" y="1277112"/>
                      </a:lnTo>
                      <a:lnTo>
                        <a:pt x="809828" y="1276286"/>
                      </a:lnTo>
                      <a:lnTo>
                        <a:pt x="812571" y="1274406"/>
                      </a:lnTo>
                      <a:lnTo>
                        <a:pt x="812685" y="1275702"/>
                      </a:lnTo>
                      <a:lnTo>
                        <a:pt x="812990" y="1275257"/>
                      </a:lnTo>
                      <a:lnTo>
                        <a:pt x="813104" y="1274610"/>
                      </a:lnTo>
                      <a:lnTo>
                        <a:pt x="813257" y="1274406"/>
                      </a:lnTo>
                      <a:lnTo>
                        <a:pt x="813612" y="1273911"/>
                      </a:lnTo>
                      <a:lnTo>
                        <a:pt x="814158" y="1274127"/>
                      </a:lnTo>
                      <a:lnTo>
                        <a:pt x="814273" y="1273911"/>
                      </a:lnTo>
                      <a:lnTo>
                        <a:pt x="815263" y="1272197"/>
                      </a:lnTo>
                      <a:lnTo>
                        <a:pt x="814806" y="1269314"/>
                      </a:lnTo>
                      <a:lnTo>
                        <a:pt x="816584" y="1265135"/>
                      </a:lnTo>
                      <a:lnTo>
                        <a:pt x="817968" y="1263916"/>
                      </a:lnTo>
                      <a:lnTo>
                        <a:pt x="818934" y="1261478"/>
                      </a:lnTo>
                      <a:lnTo>
                        <a:pt x="819048" y="1262799"/>
                      </a:lnTo>
                      <a:lnTo>
                        <a:pt x="819785" y="1262265"/>
                      </a:lnTo>
                      <a:lnTo>
                        <a:pt x="820331" y="1261478"/>
                      </a:lnTo>
                      <a:lnTo>
                        <a:pt x="820559" y="1261148"/>
                      </a:lnTo>
                      <a:lnTo>
                        <a:pt x="821550" y="1261237"/>
                      </a:lnTo>
                      <a:close/>
                    </a:path>
                    <a:path w="1464945" h="2324100">
                      <a:moveTo>
                        <a:pt x="925830" y="1187818"/>
                      </a:moveTo>
                      <a:lnTo>
                        <a:pt x="922972" y="1187488"/>
                      </a:lnTo>
                      <a:lnTo>
                        <a:pt x="922972" y="1191171"/>
                      </a:lnTo>
                      <a:lnTo>
                        <a:pt x="925830" y="1187818"/>
                      </a:lnTo>
                      <a:close/>
                    </a:path>
                    <a:path w="1464945" h="2324100">
                      <a:moveTo>
                        <a:pt x="928903" y="1190155"/>
                      </a:moveTo>
                      <a:lnTo>
                        <a:pt x="927595" y="1187983"/>
                      </a:lnTo>
                      <a:lnTo>
                        <a:pt x="926439" y="1188885"/>
                      </a:lnTo>
                      <a:lnTo>
                        <a:pt x="925512" y="1188402"/>
                      </a:lnTo>
                      <a:lnTo>
                        <a:pt x="925703" y="1189710"/>
                      </a:lnTo>
                      <a:lnTo>
                        <a:pt x="927315" y="1189837"/>
                      </a:lnTo>
                      <a:lnTo>
                        <a:pt x="928903" y="1190155"/>
                      </a:lnTo>
                      <a:close/>
                    </a:path>
                    <a:path w="1464945" h="2324100">
                      <a:moveTo>
                        <a:pt x="945210" y="1202575"/>
                      </a:moveTo>
                      <a:lnTo>
                        <a:pt x="944600" y="1202423"/>
                      </a:lnTo>
                      <a:lnTo>
                        <a:pt x="943889" y="1202563"/>
                      </a:lnTo>
                      <a:lnTo>
                        <a:pt x="943241" y="1202791"/>
                      </a:lnTo>
                      <a:lnTo>
                        <a:pt x="943889" y="1202690"/>
                      </a:lnTo>
                      <a:lnTo>
                        <a:pt x="944549" y="1202626"/>
                      </a:lnTo>
                      <a:lnTo>
                        <a:pt x="945210" y="1202575"/>
                      </a:lnTo>
                      <a:close/>
                    </a:path>
                    <a:path w="1464945" h="2324100">
                      <a:moveTo>
                        <a:pt x="948029" y="1172286"/>
                      </a:moveTo>
                      <a:lnTo>
                        <a:pt x="947801" y="1171651"/>
                      </a:lnTo>
                      <a:lnTo>
                        <a:pt x="946759" y="1171435"/>
                      </a:lnTo>
                      <a:lnTo>
                        <a:pt x="946873" y="1170609"/>
                      </a:lnTo>
                      <a:lnTo>
                        <a:pt x="946327" y="1171702"/>
                      </a:lnTo>
                      <a:lnTo>
                        <a:pt x="946099" y="1172908"/>
                      </a:lnTo>
                      <a:lnTo>
                        <a:pt x="945718" y="1174064"/>
                      </a:lnTo>
                      <a:lnTo>
                        <a:pt x="946404" y="1173772"/>
                      </a:lnTo>
                      <a:lnTo>
                        <a:pt x="947064" y="1173505"/>
                      </a:lnTo>
                      <a:lnTo>
                        <a:pt x="947762" y="1173568"/>
                      </a:lnTo>
                      <a:lnTo>
                        <a:pt x="947369" y="1172857"/>
                      </a:lnTo>
                      <a:lnTo>
                        <a:pt x="947839" y="1171829"/>
                      </a:lnTo>
                      <a:lnTo>
                        <a:pt x="948029" y="1172286"/>
                      </a:lnTo>
                      <a:close/>
                    </a:path>
                    <a:path w="1464945" h="2324100">
                      <a:moveTo>
                        <a:pt x="971486" y="1176566"/>
                      </a:moveTo>
                      <a:lnTo>
                        <a:pt x="971296" y="1176464"/>
                      </a:lnTo>
                      <a:lnTo>
                        <a:pt x="971169" y="1176439"/>
                      </a:lnTo>
                      <a:lnTo>
                        <a:pt x="971359" y="1176540"/>
                      </a:lnTo>
                      <a:lnTo>
                        <a:pt x="971486" y="1176566"/>
                      </a:lnTo>
                      <a:close/>
                    </a:path>
                    <a:path w="1464945" h="2324100">
                      <a:moveTo>
                        <a:pt x="978649" y="1180414"/>
                      </a:moveTo>
                      <a:lnTo>
                        <a:pt x="977011" y="1179436"/>
                      </a:lnTo>
                      <a:lnTo>
                        <a:pt x="973620" y="1177683"/>
                      </a:lnTo>
                      <a:lnTo>
                        <a:pt x="974267" y="1178382"/>
                      </a:lnTo>
                      <a:lnTo>
                        <a:pt x="974674" y="1179296"/>
                      </a:lnTo>
                      <a:lnTo>
                        <a:pt x="974674" y="1182446"/>
                      </a:lnTo>
                      <a:lnTo>
                        <a:pt x="972934" y="1184186"/>
                      </a:lnTo>
                      <a:lnTo>
                        <a:pt x="968629" y="1184186"/>
                      </a:lnTo>
                      <a:lnTo>
                        <a:pt x="966889" y="1182446"/>
                      </a:lnTo>
                      <a:lnTo>
                        <a:pt x="966889" y="1179969"/>
                      </a:lnTo>
                      <a:lnTo>
                        <a:pt x="967079" y="1179360"/>
                      </a:lnTo>
                      <a:lnTo>
                        <a:pt x="963993" y="1181328"/>
                      </a:lnTo>
                      <a:lnTo>
                        <a:pt x="963269" y="1181760"/>
                      </a:lnTo>
                      <a:lnTo>
                        <a:pt x="962875" y="1183513"/>
                      </a:lnTo>
                      <a:lnTo>
                        <a:pt x="962177" y="1185367"/>
                      </a:lnTo>
                      <a:lnTo>
                        <a:pt x="960869" y="1186408"/>
                      </a:lnTo>
                      <a:lnTo>
                        <a:pt x="957059" y="1190929"/>
                      </a:lnTo>
                      <a:lnTo>
                        <a:pt x="954201" y="1196200"/>
                      </a:lnTo>
                      <a:lnTo>
                        <a:pt x="951699" y="1203325"/>
                      </a:lnTo>
                      <a:lnTo>
                        <a:pt x="951890" y="1205839"/>
                      </a:lnTo>
                      <a:lnTo>
                        <a:pt x="951039" y="1210513"/>
                      </a:lnTo>
                      <a:lnTo>
                        <a:pt x="952703" y="1213383"/>
                      </a:lnTo>
                      <a:lnTo>
                        <a:pt x="954582" y="1217841"/>
                      </a:lnTo>
                      <a:lnTo>
                        <a:pt x="956132" y="1218946"/>
                      </a:lnTo>
                      <a:lnTo>
                        <a:pt x="958748" y="1224191"/>
                      </a:lnTo>
                      <a:lnTo>
                        <a:pt x="959065" y="1226629"/>
                      </a:lnTo>
                      <a:lnTo>
                        <a:pt x="962101" y="1227302"/>
                      </a:lnTo>
                      <a:lnTo>
                        <a:pt x="962533" y="1223060"/>
                      </a:lnTo>
                      <a:lnTo>
                        <a:pt x="963460" y="1220698"/>
                      </a:lnTo>
                      <a:lnTo>
                        <a:pt x="967232" y="1212697"/>
                      </a:lnTo>
                      <a:lnTo>
                        <a:pt x="969505" y="1208608"/>
                      </a:lnTo>
                      <a:lnTo>
                        <a:pt x="972794" y="1200200"/>
                      </a:lnTo>
                      <a:lnTo>
                        <a:pt x="973861" y="1195743"/>
                      </a:lnTo>
                      <a:lnTo>
                        <a:pt x="975791" y="1189596"/>
                      </a:lnTo>
                      <a:lnTo>
                        <a:pt x="977061" y="1184351"/>
                      </a:lnTo>
                      <a:lnTo>
                        <a:pt x="977188" y="1181061"/>
                      </a:lnTo>
                      <a:lnTo>
                        <a:pt x="978649" y="1180414"/>
                      </a:lnTo>
                      <a:close/>
                    </a:path>
                    <a:path w="1464945" h="2324100">
                      <a:moveTo>
                        <a:pt x="1043114" y="981202"/>
                      </a:moveTo>
                      <a:lnTo>
                        <a:pt x="1043038" y="980008"/>
                      </a:lnTo>
                      <a:lnTo>
                        <a:pt x="1042568" y="978852"/>
                      </a:lnTo>
                      <a:lnTo>
                        <a:pt x="1042263" y="977709"/>
                      </a:lnTo>
                      <a:lnTo>
                        <a:pt x="1040955" y="978877"/>
                      </a:lnTo>
                      <a:lnTo>
                        <a:pt x="1040803" y="981748"/>
                      </a:lnTo>
                      <a:lnTo>
                        <a:pt x="1043114" y="981202"/>
                      </a:lnTo>
                      <a:close/>
                    </a:path>
                    <a:path w="1464945" h="2324100">
                      <a:moveTo>
                        <a:pt x="1207173" y="291807"/>
                      </a:moveTo>
                      <a:lnTo>
                        <a:pt x="1202702" y="291757"/>
                      </a:lnTo>
                      <a:lnTo>
                        <a:pt x="1198232" y="291668"/>
                      </a:lnTo>
                      <a:lnTo>
                        <a:pt x="1193761" y="291769"/>
                      </a:lnTo>
                      <a:lnTo>
                        <a:pt x="1194803" y="292125"/>
                      </a:lnTo>
                      <a:lnTo>
                        <a:pt x="1195654" y="293255"/>
                      </a:lnTo>
                      <a:lnTo>
                        <a:pt x="1197571" y="293077"/>
                      </a:lnTo>
                      <a:lnTo>
                        <a:pt x="1197152" y="291884"/>
                      </a:lnTo>
                      <a:lnTo>
                        <a:pt x="1198854" y="292569"/>
                      </a:lnTo>
                      <a:lnTo>
                        <a:pt x="1199388" y="292455"/>
                      </a:lnTo>
                      <a:lnTo>
                        <a:pt x="1200785" y="292963"/>
                      </a:lnTo>
                      <a:lnTo>
                        <a:pt x="1202359" y="294589"/>
                      </a:lnTo>
                      <a:lnTo>
                        <a:pt x="1204937" y="293674"/>
                      </a:lnTo>
                      <a:lnTo>
                        <a:pt x="1205941" y="292773"/>
                      </a:lnTo>
                      <a:lnTo>
                        <a:pt x="1207173" y="291807"/>
                      </a:lnTo>
                      <a:close/>
                    </a:path>
                    <a:path w="1464945" h="2324100">
                      <a:moveTo>
                        <a:pt x="1249705" y="166712"/>
                      </a:moveTo>
                      <a:lnTo>
                        <a:pt x="1248892" y="167309"/>
                      </a:lnTo>
                      <a:lnTo>
                        <a:pt x="1249616" y="167030"/>
                      </a:lnTo>
                      <a:lnTo>
                        <a:pt x="1249705" y="166712"/>
                      </a:lnTo>
                      <a:close/>
                    </a:path>
                    <a:path w="1464945" h="2324100">
                      <a:moveTo>
                        <a:pt x="1287157" y="244462"/>
                      </a:moveTo>
                      <a:lnTo>
                        <a:pt x="1286497" y="244830"/>
                      </a:lnTo>
                      <a:lnTo>
                        <a:pt x="1286370" y="243281"/>
                      </a:lnTo>
                      <a:lnTo>
                        <a:pt x="1285875" y="242938"/>
                      </a:lnTo>
                      <a:lnTo>
                        <a:pt x="1286256" y="241249"/>
                      </a:lnTo>
                      <a:lnTo>
                        <a:pt x="1286802" y="240233"/>
                      </a:lnTo>
                      <a:lnTo>
                        <a:pt x="1285798" y="237223"/>
                      </a:lnTo>
                      <a:lnTo>
                        <a:pt x="1283055" y="235026"/>
                      </a:lnTo>
                      <a:lnTo>
                        <a:pt x="1278940" y="232905"/>
                      </a:lnTo>
                      <a:lnTo>
                        <a:pt x="1276769" y="231648"/>
                      </a:lnTo>
                      <a:lnTo>
                        <a:pt x="1271841" y="228168"/>
                      </a:lnTo>
                      <a:lnTo>
                        <a:pt x="1267180" y="226187"/>
                      </a:lnTo>
                      <a:lnTo>
                        <a:pt x="1260627" y="226656"/>
                      </a:lnTo>
                      <a:lnTo>
                        <a:pt x="1257147" y="227850"/>
                      </a:lnTo>
                      <a:lnTo>
                        <a:pt x="1250099" y="227342"/>
                      </a:lnTo>
                      <a:lnTo>
                        <a:pt x="1229194" y="239941"/>
                      </a:lnTo>
                      <a:lnTo>
                        <a:pt x="1232204" y="241973"/>
                      </a:lnTo>
                      <a:lnTo>
                        <a:pt x="1233055" y="242557"/>
                      </a:lnTo>
                      <a:lnTo>
                        <a:pt x="1236052" y="242074"/>
                      </a:lnTo>
                      <a:lnTo>
                        <a:pt x="1238643" y="241528"/>
                      </a:lnTo>
                      <a:lnTo>
                        <a:pt x="1240764" y="240080"/>
                      </a:lnTo>
                      <a:lnTo>
                        <a:pt x="1246276" y="239242"/>
                      </a:lnTo>
                      <a:lnTo>
                        <a:pt x="1248397" y="239509"/>
                      </a:lnTo>
                      <a:lnTo>
                        <a:pt x="1256030" y="242316"/>
                      </a:lnTo>
                      <a:lnTo>
                        <a:pt x="1260817" y="243725"/>
                      </a:lnTo>
                      <a:lnTo>
                        <a:pt x="1267472" y="244055"/>
                      </a:lnTo>
                      <a:lnTo>
                        <a:pt x="1268564" y="244665"/>
                      </a:lnTo>
                      <a:lnTo>
                        <a:pt x="1271219" y="245211"/>
                      </a:lnTo>
                      <a:lnTo>
                        <a:pt x="1272298" y="244703"/>
                      </a:lnTo>
                      <a:lnTo>
                        <a:pt x="1276350" y="244525"/>
                      </a:lnTo>
                      <a:lnTo>
                        <a:pt x="1279550" y="245719"/>
                      </a:lnTo>
                      <a:lnTo>
                        <a:pt x="1282217" y="246151"/>
                      </a:lnTo>
                      <a:lnTo>
                        <a:pt x="1283093" y="245999"/>
                      </a:lnTo>
                      <a:lnTo>
                        <a:pt x="1285989" y="246037"/>
                      </a:lnTo>
                      <a:lnTo>
                        <a:pt x="1287157" y="244462"/>
                      </a:lnTo>
                      <a:close/>
                    </a:path>
                    <a:path w="1464945" h="2324100">
                      <a:moveTo>
                        <a:pt x="1288300" y="1671256"/>
                      </a:moveTo>
                      <a:lnTo>
                        <a:pt x="1287957" y="1668297"/>
                      </a:lnTo>
                      <a:lnTo>
                        <a:pt x="1283855" y="1667903"/>
                      </a:lnTo>
                      <a:lnTo>
                        <a:pt x="1282052" y="1666722"/>
                      </a:lnTo>
                      <a:lnTo>
                        <a:pt x="1283982" y="1668386"/>
                      </a:lnTo>
                      <a:lnTo>
                        <a:pt x="1286217" y="1669770"/>
                      </a:lnTo>
                      <a:lnTo>
                        <a:pt x="1288300" y="1671256"/>
                      </a:lnTo>
                      <a:close/>
                    </a:path>
                    <a:path w="1464945" h="2324100">
                      <a:moveTo>
                        <a:pt x="1288338" y="1665224"/>
                      </a:moveTo>
                      <a:lnTo>
                        <a:pt x="1285214" y="1665986"/>
                      </a:lnTo>
                      <a:lnTo>
                        <a:pt x="1283830" y="1665998"/>
                      </a:lnTo>
                      <a:lnTo>
                        <a:pt x="1284947" y="1666748"/>
                      </a:lnTo>
                      <a:lnTo>
                        <a:pt x="1286217" y="1667217"/>
                      </a:lnTo>
                      <a:lnTo>
                        <a:pt x="1287462" y="1667789"/>
                      </a:lnTo>
                      <a:lnTo>
                        <a:pt x="1288338" y="1665224"/>
                      </a:lnTo>
                      <a:close/>
                    </a:path>
                    <a:path w="1464945" h="2324100">
                      <a:moveTo>
                        <a:pt x="1313167" y="181063"/>
                      </a:moveTo>
                      <a:lnTo>
                        <a:pt x="1313040" y="180962"/>
                      </a:lnTo>
                      <a:lnTo>
                        <a:pt x="1308303" y="177419"/>
                      </a:lnTo>
                      <a:lnTo>
                        <a:pt x="1302524" y="176288"/>
                      </a:lnTo>
                      <a:lnTo>
                        <a:pt x="1296606" y="173748"/>
                      </a:lnTo>
                      <a:lnTo>
                        <a:pt x="1294053" y="172656"/>
                      </a:lnTo>
                      <a:lnTo>
                        <a:pt x="1291539" y="171399"/>
                      </a:lnTo>
                      <a:lnTo>
                        <a:pt x="1270508" y="166814"/>
                      </a:lnTo>
                      <a:lnTo>
                        <a:pt x="1263269" y="165239"/>
                      </a:lnTo>
                      <a:lnTo>
                        <a:pt x="1262545" y="164465"/>
                      </a:lnTo>
                      <a:lnTo>
                        <a:pt x="1259890" y="162979"/>
                      </a:lnTo>
                      <a:lnTo>
                        <a:pt x="1257922" y="162902"/>
                      </a:lnTo>
                      <a:lnTo>
                        <a:pt x="1256372" y="161798"/>
                      </a:lnTo>
                      <a:lnTo>
                        <a:pt x="1256220" y="162610"/>
                      </a:lnTo>
                      <a:lnTo>
                        <a:pt x="1256995" y="164211"/>
                      </a:lnTo>
                      <a:lnTo>
                        <a:pt x="1259268" y="166801"/>
                      </a:lnTo>
                      <a:lnTo>
                        <a:pt x="1254836" y="166776"/>
                      </a:lnTo>
                      <a:lnTo>
                        <a:pt x="1251940" y="166154"/>
                      </a:lnTo>
                      <a:lnTo>
                        <a:pt x="1249616" y="167030"/>
                      </a:lnTo>
                      <a:lnTo>
                        <a:pt x="1248816" y="169773"/>
                      </a:lnTo>
                      <a:lnTo>
                        <a:pt x="1249235" y="171030"/>
                      </a:lnTo>
                      <a:lnTo>
                        <a:pt x="1248892" y="174802"/>
                      </a:lnTo>
                      <a:lnTo>
                        <a:pt x="1249083" y="174383"/>
                      </a:lnTo>
                      <a:lnTo>
                        <a:pt x="1251394" y="176745"/>
                      </a:lnTo>
                      <a:lnTo>
                        <a:pt x="1251458" y="176974"/>
                      </a:lnTo>
                      <a:lnTo>
                        <a:pt x="1251089" y="178257"/>
                      </a:lnTo>
                      <a:lnTo>
                        <a:pt x="1247355" y="178142"/>
                      </a:lnTo>
                      <a:lnTo>
                        <a:pt x="1246009" y="177723"/>
                      </a:lnTo>
                      <a:lnTo>
                        <a:pt x="1245552" y="176745"/>
                      </a:lnTo>
                      <a:lnTo>
                        <a:pt x="1244193" y="173964"/>
                      </a:lnTo>
                      <a:lnTo>
                        <a:pt x="1244142" y="173748"/>
                      </a:lnTo>
                      <a:lnTo>
                        <a:pt x="1243990" y="173126"/>
                      </a:lnTo>
                      <a:lnTo>
                        <a:pt x="1239723" y="172377"/>
                      </a:lnTo>
                      <a:lnTo>
                        <a:pt x="1237792" y="172326"/>
                      </a:lnTo>
                      <a:lnTo>
                        <a:pt x="1234821" y="171754"/>
                      </a:lnTo>
                      <a:lnTo>
                        <a:pt x="1233398" y="170129"/>
                      </a:lnTo>
                      <a:lnTo>
                        <a:pt x="1226921" y="165125"/>
                      </a:lnTo>
                      <a:lnTo>
                        <a:pt x="1221447" y="160896"/>
                      </a:lnTo>
                      <a:lnTo>
                        <a:pt x="1218933" y="162306"/>
                      </a:lnTo>
                      <a:lnTo>
                        <a:pt x="1216469" y="163728"/>
                      </a:lnTo>
                      <a:lnTo>
                        <a:pt x="1213954" y="165125"/>
                      </a:lnTo>
                      <a:lnTo>
                        <a:pt x="1213548" y="164211"/>
                      </a:lnTo>
                      <a:lnTo>
                        <a:pt x="1213078" y="163182"/>
                      </a:lnTo>
                      <a:lnTo>
                        <a:pt x="1213345" y="162394"/>
                      </a:lnTo>
                      <a:lnTo>
                        <a:pt x="1210754" y="162902"/>
                      </a:lnTo>
                      <a:lnTo>
                        <a:pt x="1210183" y="163182"/>
                      </a:lnTo>
                      <a:lnTo>
                        <a:pt x="1208989" y="163893"/>
                      </a:lnTo>
                      <a:lnTo>
                        <a:pt x="1208443" y="164655"/>
                      </a:lnTo>
                      <a:lnTo>
                        <a:pt x="1207604" y="165087"/>
                      </a:lnTo>
                      <a:lnTo>
                        <a:pt x="1209446" y="164211"/>
                      </a:lnTo>
                      <a:lnTo>
                        <a:pt x="1208062" y="166319"/>
                      </a:lnTo>
                      <a:lnTo>
                        <a:pt x="1204976" y="166357"/>
                      </a:lnTo>
                      <a:lnTo>
                        <a:pt x="1202893" y="166649"/>
                      </a:lnTo>
                      <a:lnTo>
                        <a:pt x="1199807" y="167525"/>
                      </a:lnTo>
                      <a:lnTo>
                        <a:pt x="1198841" y="169824"/>
                      </a:lnTo>
                      <a:lnTo>
                        <a:pt x="1200734" y="172707"/>
                      </a:lnTo>
                      <a:lnTo>
                        <a:pt x="1199464" y="173507"/>
                      </a:lnTo>
                      <a:lnTo>
                        <a:pt x="1199032" y="173748"/>
                      </a:lnTo>
                      <a:lnTo>
                        <a:pt x="1197343" y="172923"/>
                      </a:lnTo>
                      <a:lnTo>
                        <a:pt x="1193901" y="173863"/>
                      </a:lnTo>
                      <a:lnTo>
                        <a:pt x="1195146" y="177063"/>
                      </a:lnTo>
                      <a:lnTo>
                        <a:pt x="1193177" y="178104"/>
                      </a:lnTo>
                      <a:lnTo>
                        <a:pt x="1195412" y="177228"/>
                      </a:lnTo>
                      <a:lnTo>
                        <a:pt x="1196111" y="176745"/>
                      </a:lnTo>
                      <a:lnTo>
                        <a:pt x="1196301" y="181711"/>
                      </a:lnTo>
                      <a:lnTo>
                        <a:pt x="1197838" y="181495"/>
                      </a:lnTo>
                      <a:lnTo>
                        <a:pt x="1192834" y="183692"/>
                      </a:lnTo>
                      <a:lnTo>
                        <a:pt x="1199997" y="184619"/>
                      </a:lnTo>
                      <a:lnTo>
                        <a:pt x="1195336" y="187223"/>
                      </a:lnTo>
                      <a:lnTo>
                        <a:pt x="1194523" y="184277"/>
                      </a:lnTo>
                      <a:lnTo>
                        <a:pt x="1190091" y="185547"/>
                      </a:lnTo>
                      <a:lnTo>
                        <a:pt x="1197190" y="193979"/>
                      </a:lnTo>
                      <a:lnTo>
                        <a:pt x="1201166" y="195668"/>
                      </a:lnTo>
                      <a:lnTo>
                        <a:pt x="1205052" y="198412"/>
                      </a:lnTo>
                      <a:lnTo>
                        <a:pt x="1205166" y="199377"/>
                      </a:lnTo>
                      <a:lnTo>
                        <a:pt x="1206754" y="200774"/>
                      </a:lnTo>
                      <a:lnTo>
                        <a:pt x="1208405" y="200990"/>
                      </a:lnTo>
                      <a:lnTo>
                        <a:pt x="1219822" y="204800"/>
                      </a:lnTo>
                      <a:lnTo>
                        <a:pt x="1221549" y="205727"/>
                      </a:lnTo>
                      <a:lnTo>
                        <a:pt x="1224915" y="206032"/>
                      </a:lnTo>
                      <a:lnTo>
                        <a:pt x="1226756" y="204965"/>
                      </a:lnTo>
                      <a:lnTo>
                        <a:pt x="1229233" y="202552"/>
                      </a:lnTo>
                      <a:lnTo>
                        <a:pt x="1229385" y="200520"/>
                      </a:lnTo>
                      <a:lnTo>
                        <a:pt x="1229652" y="200342"/>
                      </a:lnTo>
                      <a:lnTo>
                        <a:pt x="1230617" y="199669"/>
                      </a:lnTo>
                      <a:lnTo>
                        <a:pt x="1227721" y="200342"/>
                      </a:lnTo>
                      <a:lnTo>
                        <a:pt x="1229423" y="197040"/>
                      </a:lnTo>
                      <a:lnTo>
                        <a:pt x="1231392" y="196443"/>
                      </a:lnTo>
                      <a:lnTo>
                        <a:pt x="1233474" y="196723"/>
                      </a:lnTo>
                      <a:lnTo>
                        <a:pt x="1234198" y="197078"/>
                      </a:lnTo>
                      <a:lnTo>
                        <a:pt x="1235760" y="198767"/>
                      </a:lnTo>
                      <a:lnTo>
                        <a:pt x="1236814" y="199796"/>
                      </a:lnTo>
                      <a:lnTo>
                        <a:pt x="1236903" y="200253"/>
                      </a:lnTo>
                      <a:lnTo>
                        <a:pt x="1236751" y="200545"/>
                      </a:lnTo>
                      <a:lnTo>
                        <a:pt x="1240637" y="201066"/>
                      </a:lnTo>
                      <a:lnTo>
                        <a:pt x="1244028" y="199618"/>
                      </a:lnTo>
                      <a:lnTo>
                        <a:pt x="1249210" y="198767"/>
                      </a:lnTo>
                      <a:lnTo>
                        <a:pt x="1257490" y="197599"/>
                      </a:lnTo>
                      <a:lnTo>
                        <a:pt x="1259954" y="196621"/>
                      </a:lnTo>
                      <a:lnTo>
                        <a:pt x="1260741" y="196443"/>
                      </a:lnTo>
                      <a:lnTo>
                        <a:pt x="1263815" y="195745"/>
                      </a:lnTo>
                      <a:lnTo>
                        <a:pt x="1265745" y="195681"/>
                      </a:lnTo>
                      <a:lnTo>
                        <a:pt x="1268437" y="196049"/>
                      </a:lnTo>
                      <a:lnTo>
                        <a:pt x="1268247" y="196862"/>
                      </a:lnTo>
                      <a:lnTo>
                        <a:pt x="1269796" y="197510"/>
                      </a:lnTo>
                      <a:lnTo>
                        <a:pt x="1268717" y="197726"/>
                      </a:lnTo>
                      <a:lnTo>
                        <a:pt x="1263853" y="196519"/>
                      </a:lnTo>
                      <a:lnTo>
                        <a:pt x="1265669" y="199377"/>
                      </a:lnTo>
                      <a:lnTo>
                        <a:pt x="1269834" y="200914"/>
                      </a:lnTo>
                      <a:lnTo>
                        <a:pt x="1272374" y="201269"/>
                      </a:lnTo>
                      <a:lnTo>
                        <a:pt x="1273390" y="200914"/>
                      </a:lnTo>
                      <a:lnTo>
                        <a:pt x="1275727" y="200253"/>
                      </a:lnTo>
                      <a:lnTo>
                        <a:pt x="1274838" y="198666"/>
                      </a:lnTo>
                      <a:lnTo>
                        <a:pt x="1277848" y="199796"/>
                      </a:lnTo>
                      <a:lnTo>
                        <a:pt x="1281049" y="199021"/>
                      </a:lnTo>
                      <a:lnTo>
                        <a:pt x="1284909" y="198666"/>
                      </a:lnTo>
                      <a:lnTo>
                        <a:pt x="1286624" y="198412"/>
                      </a:lnTo>
                      <a:lnTo>
                        <a:pt x="1288796" y="197840"/>
                      </a:lnTo>
                      <a:lnTo>
                        <a:pt x="1288592" y="197726"/>
                      </a:lnTo>
                      <a:lnTo>
                        <a:pt x="1285024" y="195783"/>
                      </a:lnTo>
                      <a:lnTo>
                        <a:pt x="1284490" y="195681"/>
                      </a:lnTo>
                      <a:lnTo>
                        <a:pt x="1280363" y="194894"/>
                      </a:lnTo>
                      <a:lnTo>
                        <a:pt x="1272641" y="192722"/>
                      </a:lnTo>
                      <a:lnTo>
                        <a:pt x="1271752" y="188874"/>
                      </a:lnTo>
                      <a:lnTo>
                        <a:pt x="1269428" y="187223"/>
                      </a:lnTo>
                      <a:lnTo>
                        <a:pt x="1268247" y="186385"/>
                      </a:lnTo>
                      <a:lnTo>
                        <a:pt x="1267282" y="185585"/>
                      </a:lnTo>
                      <a:lnTo>
                        <a:pt x="1266939" y="184023"/>
                      </a:lnTo>
                      <a:lnTo>
                        <a:pt x="1267714" y="183184"/>
                      </a:lnTo>
                      <a:lnTo>
                        <a:pt x="1267523" y="182410"/>
                      </a:lnTo>
                      <a:lnTo>
                        <a:pt x="1267244" y="181495"/>
                      </a:lnTo>
                      <a:lnTo>
                        <a:pt x="1266202" y="181317"/>
                      </a:lnTo>
                      <a:lnTo>
                        <a:pt x="1266088" y="180314"/>
                      </a:lnTo>
                      <a:lnTo>
                        <a:pt x="1266012" y="179374"/>
                      </a:lnTo>
                      <a:lnTo>
                        <a:pt x="1267599" y="179019"/>
                      </a:lnTo>
                      <a:lnTo>
                        <a:pt x="1266558" y="178257"/>
                      </a:lnTo>
                      <a:lnTo>
                        <a:pt x="1266278" y="178054"/>
                      </a:lnTo>
                      <a:lnTo>
                        <a:pt x="1266672" y="178015"/>
                      </a:lnTo>
                      <a:lnTo>
                        <a:pt x="1267129" y="177736"/>
                      </a:lnTo>
                      <a:lnTo>
                        <a:pt x="1267599" y="177761"/>
                      </a:lnTo>
                      <a:lnTo>
                        <a:pt x="1267358" y="177546"/>
                      </a:lnTo>
                      <a:lnTo>
                        <a:pt x="1267040" y="176974"/>
                      </a:lnTo>
                      <a:lnTo>
                        <a:pt x="1266672" y="176784"/>
                      </a:lnTo>
                      <a:lnTo>
                        <a:pt x="1267828" y="176936"/>
                      </a:lnTo>
                      <a:lnTo>
                        <a:pt x="1272755" y="176974"/>
                      </a:lnTo>
                      <a:lnTo>
                        <a:pt x="1272476" y="176784"/>
                      </a:lnTo>
                      <a:lnTo>
                        <a:pt x="1270101" y="175234"/>
                      </a:lnTo>
                      <a:lnTo>
                        <a:pt x="1272603" y="175399"/>
                      </a:lnTo>
                      <a:lnTo>
                        <a:pt x="1273048" y="175234"/>
                      </a:lnTo>
                      <a:lnTo>
                        <a:pt x="1275346" y="174383"/>
                      </a:lnTo>
                      <a:lnTo>
                        <a:pt x="1277048" y="173748"/>
                      </a:lnTo>
                      <a:lnTo>
                        <a:pt x="1280325" y="178485"/>
                      </a:lnTo>
                      <a:lnTo>
                        <a:pt x="1278470" y="179095"/>
                      </a:lnTo>
                      <a:lnTo>
                        <a:pt x="1275118" y="180086"/>
                      </a:lnTo>
                      <a:lnTo>
                        <a:pt x="1274724" y="180797"/>
                      </a:lnTo>
                      <a:lnTo>
                        <a:pt x="1272755" y="182562"/>
                      </a:lnTo>
                      <a:lnTo>
                        <a:pt x="1271752" y="183362"/>
                      </a:lnTo>
                      <a:lnTo>
                        <a:pt x="1272413" y="186131"/>
                      </a:lnTo>
                      <a:lnTo>
                        <a:pt x="1273721" y="186461"/>
                      </a:lnTo>
                      <a:lnTo>
                        <a:pt x="1274724" y="187858"/>
                      </a:lnTo>
                      <a:lnTo>
                        <a:pt x="1274838" y="188887"/>
                      </a:lnTo>
                      <a:lnTo>
                        <a:pt x="1275270" y="189179"/>
                      </a:lnTo>
                      <a:lnTo>
                        <a:pt x="1275994" y="189725"/>
                      </a:lnTo>
                      <a:lnTo>
                        <a:pt x="1276616" y="189941"/>
                      </a:lnTo>
                      <a:lnTo>
                        <a:pt x="1278089" y="191389"/>
                      </a:lnTo>
                      <a:lnTo>
                        <a:pt x="1277620" y="191820"/>
                      </a:lnTo>
                      <a:lnTo>
                        <a:pt x="1280515" y="192747"/>
                      </a:lnTo>
                      <a:lnTo>
                        <a:pt x="1281976" y="193243"/>
                      </a:lnTo>
                      <a:lnTo>
                        <a:pt x="1286027" y="193941"/>
                      </a:lnTo>
                      <a:lnTo>
                        <a:pt x="1289113" y="192887"/>
                      </a:lnTo>
                      <a:lnTo>
                        <a:pt x="1292923" y="195351"/>
                      </a:lnTo>
                      <a:lnTo>
                        <a:pt x="1293850" y="194919"/>
                      </a:lnTo>
                      <a:lnTo>
                        <a:pt x="1296822" y="194170"/>
                      </a:lnTo>
                      <a:lnTo>
                        <a:pt x="1298092" y="194818"/>
                      </a:lnTo>
                      <a:lnTo>
                        <a:pt x="1299171" y="194170"/>
                      </a:lnTo>
                      <a:lnTo>
                        <a:pt x="1300251" y="193548"/>
                      </a:lnTo>
                      <a:lnTo>
                        <a:pt x="1301165" y="192887"/>
                      </a:lnTo>
                      <a:lnTo>
                        <a:pt x="1302181" y="192138"/>
                      </a:lnTo>
                      <a:lnTo>
                        <a:pt x="1304302" y="190233"/>
                      </a:lnTo>
                      <a:lnTo>
                        <a:pt x="1303375" y="188887"/>
                      </a:lnTo>
                      <a:lnTo>
                        <a:pt x="1308620" y="187960"/>
                      </a:lnTo>
                      <a:lnTo>
                        <a:pt x="1302829" y="184912"/>
                      </a:lnTo>
                      <a:lnTo>
                        <a:pt x="1305420" y="182524"/>
                      </a:lnTo>
                      <a:lnTo>
                        <a:pt x="1307922" y="181952"/>
                      </a:lnTo>
                      <a:lnTo>
                        <a:pt x="1310322" y="181102"/>
                      </a:lnTo>
                      <a:lnTo>
                        <a:pt x="1311668" y="180962"/>
                      </a:lnTo>
                      <a:lnTo>
                        <a:pt x="1313167" y="181063"/>
                      </a:lnTo>
                      <a:close/>
                    </a:path>
                    <a:path w="1464945" h="2324100">
                      <a:moveTo>
                        <a:pt x="1323594" y="1611769"/>
                      </a:moveTo>
                      <a:lnTo>
                        <a:pt x="1322120" y="1610906"/>
                      </a:lnTo>
                      <a:lnTo>
                        <a:pt x="1321663" y="1611909"/>
                      </a:lnTo>
                      <a:lnTo>
                        <a:pt x="1321663" y="1613077"/>
                      </a:lnTo>
                      <a:lnTo>
                        <a:pt x="1321498" y="1614157"/>
                      </a:lnTo>
                      <a:lnTo>
                        <a:pt x="1323009" y="1613687"/>
                      </a:lnTo>
                      <a:lnTo>
                        <a:pt x="1323594" y="1611769"/>
                      </a:lnTo>
                      <a:close/>
                    </a:path>
                    <a:path w="1464945" h="2324100">
                      <a:moveTo>
                        <a:pt x="1340205" y="1623682"/>
                      </a:moveTo>
                      <a:lnTo>
                        <a:pt x="1340015" y="1621726"/>
                      </a:lnTo>
                      <a:lnTo>
                        <a:pt x="1339049" y="1620939"/>
                      </a:lnTo>
                      <a:lnTo>
                        <a:pt x="1338224" y="1620304"/>
                      </a:lnTo>
                      <a:lnTo>
                        <a:pt x="1335582" y="1621447"/>
                      </a:lnTo>
                      <a:lnTo>
                        <a:pt x="1338046" y="1623580"/>
                      </a:lnTo>
                      <a:lnTo>
                        <a:pt x="1338427" y="1624012"/>
                      </a:lnTo>
                      <a:lnTo>
                        <a:pt x="1340205" y="1623682"/>
                      </a:lnTo>
                      <a:close/>
                    </a:path>
                    <a:path w="1464945" h="2324100">
                      <a:moveTo>
                        <a:pt x="1342326" y="1575104"/>
                      </a:moveTo>
                      <a:lnTo>
                        <a:pt x="1341208" y="1575054"/>
                      </a:lnTo>
                      <a:lnTo>
                        <a:pt x="1339354" y="1574177"/>
                      </a:lnTo>
                      <a:lnTo>
                        <a:pt x="1338668" y="1574647"/>
                      </a:lnTo>
                      <a:lnTo>
                        <a:pt x="1337462" y="1573352"/>
                      </a:lnTo>
                      <a:lnTo>
                        <a:pt x="1334884" y="1574215"/>
                      </a:lnTo>
                      <a:lnTo>
                        <a:pt x="1332369" y="1574266"/>
                      </a:lnTo>
                      <a:lnTo>
                        <a:pt x="1330985" y="1573923"/>
                      </a:lnTo>
                      <a:lnTo>
                        <a:pt x="1330452" y="1574825"/>
                      </a:lnTo>
                      <a:lnTo>
                        <a:pt x="1330261" y="1575092"/>
                      </a:lnTo>
                      <a:lnTo>
                        <a:pt x="1331188" y="1575663"/>
                      </a:lnTo>
                      <a:lnTo>
                        <a:pt x="1330718" y="1576717"/>
                      </a:lnTo>
                      <a:lnTo>
                        <a:pt x="1328407" y="1576082"/>
                      </a:lnTo>
                      <a:lnTo>
                        <a:pt x="1330337" y="1577936"/>
                      </a:lnTo>
                      <a:lnTo>
                        <a:pt x="1332801" y="1575854"/>
                      </a:lnTo>
                      <a:lnTo>
                        <a:pt x="1333957" y="1576425"/>
                      </a:lnTo>
                      <a:lnTo>
                        <a:pt x="1339710" y="1577289"/>
                      </a:lnTo>
                      <a:lnTo>
                        <a:pt x="1340319" y="1576806"/>
                      </a:lnTo>
                      <a:lnTo>
                        <a:pt x="1342326" y="1575104"/>
                      </a:lnTo>
                      <a:close/>
                    </a:path>
                    <a:path w="1464945" h="2324100">
                      <a:moveTo>
                        <a:pt x="1349032" y="1578800"/>
                      </a:moveTo>
                      <a:lnTo>
                        <a:pt x="1348447" y="1579016"/>
                      </a:lnTo>
                      <a:lnTo>
                        <a:pt x="1347876" y="1579283"/>
                      </a:lnTo>
                      <a:lnTo>
                        <a:pt x="1347343" y="1579600"/>
                      </a:lnTo>
                      <a:lnTo>
                        <a:pt x="1348066" y="1579600"/>
                      </a:lnTo>
                      <a:lnTo>
                        <a:pt x="1348651" y="1579321"/>
                      </a:lnTo>
                      <a:lnTo>
                        <a:pt x="1349032" y="1578800"/>
                      </a:lnTo>
                      <a:close/>
                    </a:path>
                    <a:path w="1464945" h="2324100">
                      <a:moveTo>
                        <a:pt x="1353654" y="1627530"/>
                      </a:moveTo>
                      <a:lnTo>
                        <a:pt x="1350416" y="1624520"/>
                      </a:lnTo>
                      <a:lnTo>
                        <a:pt x="1347914" y="1624571"/>
                      </a:lnTo>
                      <a:lnTo>
                        <a:pt x="1348498" y="1626438"/>
                      </a:lnTo>
                      <a:lnTo>
                        <a:pt x="1349730" y="1628140"/>
                      </a:lnTo>
                      <a:lnTo>
                        <a:pt x="1350695" y="1629829"/>
                      </a:lnTo>
                      <a:lnTo>
                        <a:pt x="1353654" y="1627530"/>
                      </a:lnTo>
                      <a:close/>
                    </a:path>
                    <a:path w="1464945" h="2324100">
                      <a:moveTo>
                        <a:pt x="1373060" y="1613535"/>
                      </a:moveTo>
                      <a:lnTo>
                        <a:pt x="1372590" y="1613268"/>
                      </a:lnTo>
                      <a:lnTo>
                        <a:pt x="1372209" y="1612976"/>
                      </a:lnTo>
                      <a:lnTo>
                        <a:pt x="1371752" y="1612823"/>
                      </a:lnTo>
                      <a:lnTo>
                        <a:pt x="1372133" y="1613154"/>
                      </a:lnTo>
                      <a:lnTo>
                        <a:pt x="1372552" y="1613319"/>
                      </a:lnTo>
                      <a:lnTo>
                        <a:pt x="1373060" y="1613535"/>
                      </a:lnTo>
                      <a:close/>
                    </a:path>
                    <a:path w="1464945" h="2324100">
                      <a:moveTo>
                        <a:pt x="1376172" y="1567053"/>
                      </a:moveTo>
                      <a:lnTo>
                        <a:pt x="1375054" y="1565554"/>
                      </a:lnTo>
                      <a:lnTo>
                        <a:pt x="1373365" y="1565287"/>
                      </a:lnTo>
                      <a:lnTo>
                        <a:pt x="1373936" y="1566570"/>
                      </a:lnTo>
                      <a:lnTo>
                        <a:pt x="1374825" y="1567700"/>
                      </a:lnTo>
                      <a:lnTo>
                        <a:pt x="1375600" y="1568869"/>
                      </a:lnTo>
                      <a:lnTo>
                        <a:pt x="1376172" y="1567053"/>
                      </a:lnTo>
                      <a:close/>
                    </a:path>
                    <a:path w="1464945" h="2324100">
                      <a:moveTo>
                        <a:pt x="1379651" y="1620126"/>
                      </a:moveTo>
                      <a:lnTo>
                        <a:pt x="1379461" y="1620215"/>
                      </a:lnTo>
                      <a:lnTo>
                        <a:pt x="1379626" y="1620659"/>
                      </a:lnTo>
                      <a:lnTo>
                        <a:pt x="1379651" y="1620126"/>
                      </a:lnTo>
                      <a:close/>
                    </a:path>
                    <a:path w="1464945" h="2324100">
                      <a:moveTo>
                        <a:pt x="1383512" y="1618361"/>
                      </a:moveTo>
                      <a:lnTo>
                        <a:pt x="1379740" y="1616125"/>
                      </a:lnTo>
                      <a:lnTo>
                        <a:pt x="1379651" y="1620126"/>
                      </a:lnTo>
                      <a:lnTo>
                        <a:pt x="1383512" y="1618361"/>
                      </a:lnTo>
                      <a:close/>
                    </a:path>
                    <a:path w="1464945" h="2324100">
                      <a:moveTo>
                        <a:pt x="1385112" y="1679549"/>
                      </a:moveTo>
                      <a:lnTo>
                        <a:pt x="1383423" y="1678559"/>
                      </a:lnTo>
                      <a:lnTo>
                        <a:pt x="1382572" y="1678063"/>
                      </a:lnTo>
                      <a:lnTo>
                        <a:pt x="1382077" y="1677822"/>
                      </a:lnTo>
                      <a:lnTo>
                        <a:pt x="1381340" y="1679041"/>
                      </a:lnTo>
                      <a:lnTo>
                        <a:pt x="1380299" y="1680845"/>
                      </a:lnTo>
                      <a:lnTo>
                        <a:pt x="1382839" y="1681695"/>
                      </a:lnTo>
                      <a:lnTo>
                        <a:pt x="1384236" y="1682686"/>
                      </a:lnTo>
                      <a:lnTo>
                        <a:pt x="1384541" y="1681060"/>
                      </a:lnTo>
                      <a:lnTo>
                        <a:pt x="1385112" y="1679549"/>
                      </a:lnTo>
                      <a:close/>
                    </a:path>
                    <a:path w="1464945" h="2324100">
                      <a:moveTo>
                        <a:pt x="1386471" y="1582572"/>
                      </a:moveTo>
                      <a:lnTo>
                        <a:pt x="1385544" y="1581073"/>
                      </a:lnTo>
                      <a:lnTo>
                        <a:pt x="1383893" y="1580515"/>
                      </a:lnTo>
                      <a:lnTo>
                        <a:pt x="1382229" y="1580146"/>
                      </a:lnTo>
                      <a:lnTo>
                        <a:pt x="1381772" y="1579994"/>
                      </a:lnTo>
                      <a:lnTo>
                        <a:pt x="1380617" y="1580489"/>
                      </a:lnTo>
                      <a:lnTo>
                        <a:pt x="1379804" y="1580832"/>
                      </a:lnTo>
                      <a:lnTo>
                        <a:pt x="1379410" y="1581429"/>
                      </a:lnTo>
                      <a:lnTo>
                        <a:pt x="1378800" y="1581226"/>
                      </a:lnTo>
                      <a:lnTo>
                        <a:pt x="1380655" y="1582445"/>
                      </a:lnTo>
                      <a:lnTo>
                        <a:pt x="1382737" y="1583359"/>
                      </a:lnTo>
                      <a:lnTo>
                        <a:pt x="1384706" y="1584388"/>
                      </a:lnTo>
                      <a:lnTo>
                        <a:pt x="1385862" y="1584185"/>
                      </a:lnTo>
                      <a:lnTo>
                        <a:pt x="1386471" y="1582572"/>
                      </a:lnTo>
                      <a:close/>
                    </a:path>
                    <a:path w="1464945" h="2324100">
                      <a:moveTo>
                        <a:pt x="1392529" y="1588528"/>
                      </a:moveTo>
                      <a:lnTo>
                        <a:pt x="1391869" y="1588376"/>
                      </a:lnTo>
                      <a:lnTo>
                        <a:pt x="1391170" y="1588414"/>
                      </a:lnTo>
                      <a:lnTo>
                        <a:pt x="1390523" y="1588668"/>
                      </a:lnTo>
                      <a:lnTo>
                        <a:pt x="1391170" y="1588617"/>
                      </a:lnTo>
                      <a:lnTo>
                        <a:pt x="1391869" y="1588579"/>
                      </a:lnTo>
                      <a:lnTo>
                        <a:pt x="1392529" y="1588528"/>
                      </a:lnTo>
                      <a:close/>
                    </a:path>
                    <a:path w="1464945" h="2324100">
                      <a:moveTo>
                        <a:pt x="1392720" y="1697659"/>
                      </a:moveTo>
                      <a:lnTo>
                        <a:pt x="1392021" y="1697101"/>
                      </a:lnTo>
                      <a:lnTo>
                        <a:pt x="1390904" y="1697329"/>
                      </a:lnTo>
                      <a:lnTo>
                        <a:pt x="1391170" y="1697913"/>
                      </a:lnTo>
                      <a:lnTo>
                        <a:pt x="1391589" y="1698472"/>
                      </a:lnTo>
                      <a:lnTo>
                        <a:pt x="1392059" y="1698967"/>
                      </a:lnTo>
                      <a:lnTo>
                        <a:pt x="1392720" y="1697659"/>
                      </a:lnTo>
                      <a:close/>
                    </a:path>
                    <a:path w="1464945" h="2324100">
                      <a:moveTo>
                        <a:pt x="1392961" y="1684921"/>
                      </a:moveTo>
                      <a:lnTo>
                        <a:pt x="1392923" y="1683969"/>
                      </a:lnTo>
                      <a:lnTo>
                        <a:pt x="1391793" y="1683385"/>
                      </a:lnTo>
                      <a:lnTo>
                        <a:pt x="1392186" y="1682889"/>
                      </a:lnTo>
                      <a:lnTo>
                        <a:pt x="1391615" y="1681607"/>
                      </a:lnTo>
                      <a:lnTo>
                        <a:pt x="1390916" y="1681289"/>
                      </a:lnTo>
                      <a:lnTo>
                        <a:pt x="1390065" y="1680933"/>
                      </a:lnTo>
                      <a:lnTo>
                        <a:pt x="1389646" y="1681480"/>
                      </a:lnTo>
                      <a:lnTo>
                        <a:pt x="1388795" y="1681302"/>
                      </a:lnTo>
                      <a:lnTo>
                        <a:pt x="1388402" y="1681200"/>
                      </a:lnTo>
                      <a:lnTo>
                        <a:pt x="1388173" y="1680667"/>
                      </a:lnTo>
                      <a:lnTo>
                        <a:pt x="1387754" y="1680514"/>
                      </a:lnTo>
                      <a:lnTo>
                        <a:pt x="1385125" y="1679663"/>
                      </a:lnTo>
                      <a:lnTo>
                        <a:pt x="1386255" y="1680603"/>
                      </a:lnTo>
                      <a:lnTo>
                        <a:pt x="1386674" y="1683194"/>
                      </a:lnTo>
                      <a:lnTo>
                        <a:pt x="1386751" y="1683499"/>
                      </a:lnTo>
                      <a:lnTo>
                        <a:pt x="1385595" y="1683829"/>
                      </a:lnTo>
                      <a:lnTo>
                        <a:pt x="1386090" y="1684985"/>
                      </a:lnTo>
                      <a:lnTo>
                        <a:pt x="1390408" y="1685213"/>
                      </a:lnTo>
                      <a:lnTo>
                        <a:pt x="1391564" y="1685442"/>
                      </a:lnTo>
                      <a:lnTo>
                        <a:pt x="1392961" y="1684921"/>
                      </a:lnTo>
                      <a:close/>
                    </a:path>
                    <a:path w="1464945" h="2324100">
                      <a:moveTo>
                        <a:pt x="1393647" y="1588427"/>
                      </a:moveTo>
                      <a:lnTo>
                        <a:pt x="1393444" y="1588452"/>
                      </a:lnTo>
                      <a:lnTo>
                        <a:pt x="1393101" y="1588503"/>
                      </a:lnTo>
                      <a:lnTo>
                        <a:pt x="1393647" y="1588427"/>
                      </a:lnTo>
                      <a:close/>
                    </a:path>
                    <a:path w="1464945" h="2324100">
                      <a:moveTo>
                        <a:pt x="1393990" y="1588503"/>
                      </a:moveTo>
                      <a:lnTo>
                        <a:pt x="1393837" y="1588503"/>
                      </a:lnTo>
                      <a:lnTo>
                        <a:pt x="1393647" y="1588516"/>
                      </a:lnTo>
                      <a:lnTo>
                        <a:pt x="1393494" y="1588477"/>
                      </a:lnTo>
                      <a:lnTo>
                        <a:pt x="1393710" y="1588541"/>
                      </a:lnTo>
                      <a:lnTo>
                        <a:pt x="1393710" y="1588731"/>
                      </a:lnTo>
                      <a:lnTo>
                        <a:pt x="1393990" y="1588503"/>
                      </a:lnTo>
                      <a:close/>
                    </a:path>
                    <a:path w="1464945" h="2324100">
                      <a:moveTo>
                        <a:pt x="1394764" y="1699450"/>
                      </a:moveTo>
                      <a:lnTo>
                        <a:pt x="1394726" y="1698231"/>
                      </a:lnTo>
                      <a:lnTo>
                        <a:pt x="1394028" y="1698548"/>
                      </a:lnTo>
                      <a:lnTo>
                        <a:pt x="1393367" y="1698993"/>
                      </a:lnTo>
                      <a:lnTo>
                        <a:pt x="1392720" y="1699412"/>
                      </a:lnTo>
                      <a:lnTo>
                        <a:pt x="1393799" y="1699450"/>
                      </a:lnTo>
                      <a:lnTo>
                        <a:pt x="1394764" y="1699450"/>
                      </a:lnTo>
                      <a:close/>
                    </a:path>
                    <a:path w="1464945" h="2324100">
                      <a:moveTo>
                        <a:pt x="1395806" y="1668094"/>
                      </a:moveTo>
                      <a:lnTo>
                        <a:pt x="1395222" y="1667738"/>
                      </a:lnTo>
                      <a:lnTo>
                        <a:pt x="1395539" y="1666735"/>
                      </a:lnTo>
                      <a:lnTo>
                        <a:pt x="1392377" y="1667979"/>
                      </a:lnTo>
                      <a:lnTo>
                        <a:pt x="1394714" y="1670304"/>
                      </a:lnTo>
                      <a:lnTo>
                        <a:pt x="1394993" y="1670888"/>
                      </a:lnTo>
                      <a:lnTo>
                        <a:pt x="1395768" y="1670380"/>
                      </a:lnTo>
                      <a:lnTo>
                        <a:pt x="1395806" y="1668894"/>
                      </a:lnTo>
                      <a:lnTo>
                        <a:pt x="1395806" y="1668094"/>
                      </a:lnTo>
                      <a:close/>
                    </a:path>
                    <a:path w="1464945" h="2324100">
                      <a:moveTo>
                        <a:pt x="1398498" y="1689023"/>
                      </a:moveTo>
                      <a:lnTo>
                        <a:pt x="1397812" y="1688477"/>
                      </a:lnTo>
                      <a:lnTo>
                        <a:pt x="1396885" y="1687753"/>
                      </a:lnTo>
                      <a:lnTo>
                        <a:pt x="1395539" y="1690090"/>
                      </a:lnTo>
                      <a:lnTo>
                        <a:pt x="1394650" y="1689963"/>
                      </a:lnTo>
                      <a:lnTo>
                        <a:pt x="1394498" y="1689481"/>
                      </a:lnTo>
                      <a:lnTo>
                        <a:pt x="1394193" y="1689227"/>
                      </a:lnTo>
                      <a:lnTo>
                        <a:pt x="1393494" y="1688198"/>
                      </a:lnTo>
                      <a:lnTo>
                        <a:pt x="1392885" y="1687436"/>
                      </a:lnTo>
                      <a:lnTo>
                        <a:pt x="1392529" y="1687118"/>
                      </a:lnTo>
                      <a:lnTo>
                        <a:pt x="1391958" y="1686572"/>
                      </a:lnTo>
                      <a:lnTo>
                        <a:pt x="1391183" y="1685721"/>
                      </a:lnTo>
                      <a:lnTo>
                        <a:pt x="1390446" y="1685290"/>
                      </a:lnTo>
                      <a:lnTo>
                        <a:pt x="1391183" y="1686941"/>
                      </a:lnTo>
                      <a:lnTo>
                        <a:pt x="1391996" y="1689163"/>
                      </a:lnTo>
                      <a:lnTo>
                        <a:pt x="1393888" y="1691538"/>
                      </a:lnTo>
                      <a:lnTo>
                        <a:pt x="1395615" y="1691919"/>
                      </a:lnTo>
                      <a:lnTo>
                        <a:pt x="1397050" y="1692427"/>
                      </a:lnTo>
                      <a:lnTo>
                        <a:pt x="1397076" y="1691881"/>
                      </a:lnTo>
                      <a:lnTo>
                        <a:pt x="1398498" y="1689023"/>
                      </a:lnTo>
                      <a:close/>
                    </a:path>
                    <a:path w="1464945" h="2324100">
                      <a:moveTo>
                        <a:pt x="1408379" y="1584985"/>
                      </a:moveTo>
                      <a:lnTo>
                        <a:pt x="1407261" y="1584718"/>
                      </a:lnTo>
                      <a:lnTo>
                        <a:pt x="1407223" y="1585353"/>
                      </a:lnTo>
                      <a:lnTo>
                        <a:pt x="1407299" y="1586039"/>
                      </a:lnTo>
                      <a:lnTo>
                        <a:pt x="1407490" y="1586661"/>
                      </a:lnTo>
                      <a:lnTo>
                        <a:pt x="1408341" y="1585798"/>
                      </a:lnTo>
                      <a:lnTo>
                        <a:pt x="1408379" y="1584985"/>
                      </a:lnTo>
                      <a:close/>
                    </a:path>
                    <a:path w="1464945" h="2324100">
                      <a:moveTo>
                        <a:pt x="1409115" y="1606270"/>
                      </a:moveTo>
                      <a:close/>
                    </a:path>
                    <a:path w="1464945" h="2324100">
                      <a:moveTo>
                        <a:pt x="1414475" y="1612773"/>
                      </a:moveTo>
                      <a:lnTo>
                        <a:pt x="1412900" y="1610766"/>
                      </a:lnTo>
                      <a:lnTo>
                        <a:pt x="1414056" y="1608188"/>
                      </a:lnTo>
                      <a:lnTo>
                        <a:pt x="1413281" y="1607985"/>
                      </a:lnTo>
                      <a:lnTo>
                        <a:pt x="1408963" y="1607934"/>
                      </a:lnTo>
                      <a:lnTo>
                        <a:pt x="1409611" y="1607299"/>
                      </a:lnTo>
                      <a:lnTo>
                        <a:pt x="1410563" y="1606372"/>
                      </a:lnTo>
                      <a:lnTo>
                        <a:pt x="1412201" y="1604835"/>
                      </a:lnTo>
                      <a:lnTo>
                        <a:pt x="1409115" y="1606283"/>
                      </a:lnTo>
                      <a:lnTo>
                        <a:pt x="1408887" y="1606372"/>
                      </a:lnTo>
                      <a:lnTo>
                        <a:pt x="1408531" y="1605927"/>
                      </a:lnTo>
                      <a:lnTo>
                        <a:pt x="1407617" y="1606334"/>
                      </a:lnTo>
                      <a:lnTo>
                        <a:pt x="1406994" y="1606943"/>
                      </a:lnTo>
                      <a:lnTo>
                        <a:pt x="1406220" y="1607299"/>
                      </a:lnTo>
                      <a:lnTo>
                        <a:pt x="1406080" y="1606169"/>
                      </a:lnTo>
                      <a:lnTo>
                        <a:pt x="1406029" y="1605661"/>
                      </a:lnTo>
                      <a:lnTo>
                        <a:pt x="1402867" y="1606169"/>
                      </a:lnTo>
                      <a:lnTo>
                        <a:pt x="1401597" y="1605851"/>
                      </a:lnTo>
                      <a:lnTo>
                        <a:pt x="1401902" y="1609534"/>
                      </a:lnTo>
                      <a:lnTo>
                        <a:pt x="1402524" y="1613166"/>
                      </a:lnTo>
                      <a:lnTo>
                        <a:pt x="1403057" y="1616811"/>
                      </a:lnTo>
                      <a:lnTo>
                        <a:pt x="1397546" y="1614639"/>
                      </a:lnTo>
                      <a:lnTo>
                        <a:pt x="1394904" y="1620659"/>
                      </a:lnTo>
                      <a:lnTo>
                        <a:pt x="1394802" y="1620837"/>
                      </a:lnTo>
                      <a:lnTo>
                        <a:pt x="1391805" y="1624520"/>
                      </a:lnTo>
                      <a:lnTo>
                        <a:pt x="1390726" y="1622869"/>
                      </a:lnTo>
                      <a:lnTo>
                        <a:pt x="1389684" y="1625752"/>
                      </a:lnTo>
                      <a:lnTo>
                        <a:pt x="1389087" y="1625638"/>
                      </a:lnTo>
                      <a:lnTo>
                        <a:pt x="1387563" y="1625346"/>
                      </a:lnTo>
                      <a:lnTo>
                        <a:pt x="1387525" y="1623847"/>
                      </a:lnTo>
                      <a:lnTo>
                        <a:pt x="1384592" y="1624228"/>
                      </a:lnTo>
                      <a:lnTo>
                        <a:pt x="1384211" y="1625638"/>
                      </a:lnTo>
                      <a:lnTo>
                        <a:pt x="1381163" y="1625409"/>
                      </a:lnTo>
                      <a:lnTo>
                        <a:pt x="1381302" y="1625104"/>
                      </a:lnTo>
                      <a:lnTo>
                        <a:pt x="1381188" y="1624330"/>
                      </a:lnTo>
                      <a:lnTo>
                        <a:pt x="1380197" y="1622171"/>
                      </a:lnTo>
                      <a:lnTo>
                        <a:pt x="1379791" y="1621104"/>
                      </a:lnTo>
                      <a:lnTo>
                        <a:pt x="1379626" y="1620659"/>
                      </a:lnTo>
                      <a:lnTo>
                        <a:pt x="1379613" y="1621104"/>
                      </a:lnTo>
                      <a:lnTo>
                        <a:pt x="1379118" y="1620837"/>
                      </a:lnTo>
                      <a:lnTo>
                        <a:pt x="1378813" y="1621929"/>
                      </a:lnTo>
                      <a:lnTo>
                        <a:pt x="1378470" y="1621929"/>
                      </a:lnTo>
                      <a:lnTo>
                        <a:pt x="1378267" y="1622933"/>
                      </a:lnTo>
                      <a:lnTo>
                        <a:pt x="1379156" y="1623441"/>
                      </a:lnTo>
                      <a:lnTo>
                        <a:pt x="1378737" y="1625307"/>
                      </a:lnTo>
                      <a:lnTo>
                        <a:pt x="1376883" y="1625168"/>
                      </a:lnTo>
                      <a:lnTo>
                        <a:pt x="1375956" y="1625244"/>
                      </a:lnTo>
                      <a:lnTo>
                        <a:pt x="1374914" y="1626374"/>
                      </a:lnTo>
                      <a:lnTo>
                        <a:pt x="1374914" y="1626082"/>
                      </a:lnTo>
                      <a:lnTo>
                        <a:pt x="1374952" y="1624330"/>
                      </a:lnTo>
                      <a:lnTo>
                        <a:pt x="1372793" y="1625346"/>
                      </a:lnTo>
                      <a:lnTo>
                        <a:pt x="1371600" y="1625841"/>
                      </a:lnTo>
                      <a:lnTo>
                        <a:pt x="1370901" y="1626082"/>
                      </a:lnTo>
                      <a:lnTo>
                        <a:pt x="1368094" y="1626019"/>
                      </a:lnTo>
                      <a:lnTo>
                        <a:pt x="1367739" y="1625561"/>
                      </a:lnTo>
                      <a:lnTo>
                        <a:pt x="1367066" y="1625282"/>
                      </a:lnTo>
                      <a:lnTo>
                        <a:pt x="1364462" y="1624215"/>
                      </a:lnTo>
                      <a:lnTo>
                        <a:pt x="1364500" y="1625155"/>
                      </a:lnTo>
                      <a:lnTo>
                        <a:pt x="1362151" y="1625282"/>
                      </a:lnTo>
                      <a:lnTo>
                        <a:pt x="1361960" y="1624990"/>
                      </a:lnTo>
                      <a:lnTo>
                        <a:pt x="1361770" y="1624660"/>
                      </a:lnTo>
                      <a:lnTo>
                        <a:pt x="1360576" y="1624571"/>
                      </a:lnTo>
                      <a:lnTo>
                        <a:pt x="1359992" y="1624990"/>
                      </a:lnTo>
                      <a:lnTo>
                        <a:pt x="1358303" y="1624965"/>
                      </a:lnTo>
                      <a:lnTo>
                        <a:pt x="1358912" y="1624711"/>
                      </a:lnTo>
                      <a:lnTo>
                        <a:pt x="1357337" y="1624304"/>
                      </a:lnTo>
                      <a:lnTo>
                        <a:pt x="1357020" y="1623860"/>
                      </a:lnTo>
                      <a:lnTo>
                        <a:pt x="1355128" y="1625003"/>
                      </a:lnTo>
                      <a:lnTo>
                        <a:pt x="1355001" y="1625752"/>
                      </a:lnTo>
                      <a:lnTo>
                        <a:pt x="1355242" y="1627733"/>
                      </a:lnTo>
                      <a:lnTo>
                        <a:pt x="1357680" y="1629778"/>
                      </a:lnTo>
                      <a:lnTo>
                        <a:pt x="1360271" y="1629816"/>
                      </a:lnTo>
                      <a:lnTo>
                        <a:pt x="1363192" y="1631353"/>
                      </a:lnTo>
                      <a:lnTo>
                        <a:pt x="1364081" y="1631886"/>
                      </a:lnTo>
                      <a:lnTo>
                        <a:pt x="1365770" y="1632673"/>
                      </a:lnTo>
                      <a:lnTo>
                        <a:pt x="1366050" y="1632953"/>
                      </a:lnTo>
                      <a:lnTo>
                        <a:pt x="1366469" y="1633715"/>
                      </a:lnTo>
                      <a:lnTo>
                        <a:pt x="1365859" y="1634172"/>
                      </a:lnTo>
                      <a:lnTo>
                        <a:pt x="1368704" y="1633448"/>
                      </a:lnTo>
                      <a:lnTo>
                        <a:pt x="1369783" y="1632661"/>
                      </a:lnTo>
                      <a:lnTo>
                        <a:pt x="1372946" y="1634642"/>
                      </a:lnTo>
                      <a:lnTo>
                        <a:pt x="1372984" y="1635417"/>
                      </a:lnTo>
                      <a:lnTo>
                        <a:pt x="1375410" y="1637144"/>
                      </a:lnTo>
                      <a:lnTo>
                        <a:pt x="1379423" y="1636598"/>
                      </a:lnTo>
                      <a:lnTo>
                        <a:pt x="1385100" y="1635239"/>
                      </a:lnTo>
                      <a:lnTo>
                        <a:pt x="1388795" y="1634871"/>
                      </a:lnTo>
                      <a:lnTo>
                        <a:pt x="1392580" y="1632800"/>
                      </a:lnTo>
                      <a:lnTo>
                        <a:pt x="1393837" y="1632661"/>
                      </a:lnTo>
                      <a:lnTo>
                        <a:pt x="1394726" y="1632267"/>
                      </a:lnTo>
                      <a:lnTo>
                        <a:pt x="1396580" y="1631353"/>
                      </a:lnTo>
                      <a:lnTo>
                        <a:pt x="1397546" y="1630108"/>
                      </a:lnTo>
                      <a:lnTo>
                        <a:pt x="1398320" y="1629956"/>
                      </a:lnTo>
                      <a:lnTo>
                        <a:pt x="1400289" y="1628279"/>
                      </a:lnTo>
                      <a:lnTo>
                        <a:pt x="1401178" y="1626730"/>
                      </a:lnTo>
                      <a:lnTo>
                        <a:pt x="1401699" y="1626374"/>
                      </a:lnTo>
                      <a:lnTo>
                        <a:pt x="1402600" y="1625752"/>
                      </a:lnTo>
                      <a:lnTo>
                        <a:pt x="1404061" y="1624711"/>
                      </a:lnTo>
                      <a:lnTo>
                        <a:pt x="1404569" y="1626031"/>
                      </a:lnTo>
                      <a:lnTo>
                        <a:pt x="1406766" y="1625815"/>
                      </a:lnTo>
                      <a:lnTo>
                        <a:pt x="1408684" y="1624711"/>
                      </a:lnTo>
                      <a:lnTo>
                        <a:pt x="1409026" y="1624520"/>
                      </a:lnTo>
                      <a:lnTo>
                        <a:pt x="1411389" y="1621231"/>
                      </a:lnTo>
                      <a:lnTo>
                        <a:pt x="1406182" y="1619872"/>
                      </a:lnTo>
                      <a:lnTo>
                        <a:pt x="1408137" y="1616811"/>
                      </a:lnTo>
                      <a:lnTo>
                        <a:pt x="1409573" y="1617726"/>
                      </a:lnTo>
                      <a:lnTo>
                        <a:pt x="1411744" y="1617357"/>
                      </a:lnTo>
                      <a:lnTo>
                        <a:pt x="1412240" y="1616735"/>
                      </a:lnTo>
                      <a:lnTo>
                        <a:pt x="1412506" y="1616417"/>
                      </a:lnTo>
                      <a:lnTo>
                        <a:pt x="1413090" y="1615376"/>
                      </a:lnTo>
                      <a:lnTo>
                        <a:pt x="1414475" y="1612773"/>
                      </a:lnTo>
                      <a:close/>
                    </a:path>
                    <a:path w="1464945" h="2324100">
                      <a:moveTo>
                        <a:pt x="1417624" y="1591386"/>
                      </a:moveTo>
                      <a:lnTo>
                        <a:pt x="1417510" y="1590395"/>
                      </a:lnTo>
                      <a:lnTo>
                        <a:pt x="1417320" y="1589582"/>
                      </a:lnTo>
                      <a:lnTo>
                        <a:pt x="1415161" y="1589659"/>
                      </a:lnTo>
                      <a:lnTo>
                        <a:pt x="1416507" y="1591233"/>
                      </a:lnTo>
                      <a:lnTo>
                        <a:pt x="1417243" y="1592160"/>
                      </a:lnTo>
                      <a:lnTo>
                        <a:pt x="1417624" y="1591386"/>
                      </a:lnTo>
                      <a:close/>
                    </a:path>
                    <a:path w="1464945" h="2324100">
                      <a:moveTo>
                        <a:pt x="1420571" y="1699260"/>
                      </a:moveTo>
                      <a:lnTo>
                        <a:pt x="1419098" y="1698879"/>
                      </a:lnTo>
                      <a:lnTo>
                        <a:pt x="1417408" y="1698764"/>
                      </a:lnTo>
                      <a:lnTo>
                        <a:pt x="1415897" y="1698599"/>
                      </a:lnTo>
                      <a:lnTo>
                        <a:pt x="1416786" y="1699094"/>
                      </a:lnTo>
                      <a:lnTo>
                        <a:pt x="1417789" y="1699488"/>
                      </a:lnTo>
                      <a:lnTo>
                        <a:pt x="1418755" y="1699895"/>
                      </a:lnTo>
                      <a:lnTo>
                        <a:pt x="1419377" y="1699780"/>
                      </a:lnTo>
                      <a:lnTo>
                        <a:pt x="1420025" y="1699590"/>
                      </a:lnTo>
                      <a:lnTo>
                        <a:pt x="1420571" y="1699260"/>
                      </a:lnTo>
                      <a:close/>
                    </a:path>
                    <a:path w="1464945" h="2324100">
                      <a:moveTo>
                        <a:pt x="1423187" y="1678089"/>
                      </a:moveTo>
                      <a:lnTo>
                        <a:pt x="1422692" y="1677301"/>
                      </a:lnTo>
                      <a:lnTo>
                        <a:pt x="1422031" y="1676234"/>
                      </a:lnTo>
                      <a:lnTo>
                        <a:pt x="1421472" y="1675803"/>
                      </a:lnTo>
                      <a:lnTo>
                        <a:pt x="1419783" y="1674837"/>
                      </a:lnTo>
                      <a:lnTo>
                        <a:pt x="1418678" y="1674533"/>
                      </a:lnTo>
                      <a:lnTo>
                        <a:pt x="1416405" y="1674266"/>
                      </a:lnTo>
                      <a:lnTo>
                        <a:pt x="1415275" y="1675320"/>
                      </a:lnTo>
                      <a:lnTo>
                        <a:pt x="1416748" y="1676539"/>
                      </a:lnTo>
                      <a:lnTo>
                        <a:pt x="1418450" y="1677466"/>
                      </a:lnTo>
                      <a:lnTo>
                        <a:pt x="1420025" y="1678482"/>
                      </a:lnTo>
                      <a:lnTo>
                        <a:pt x="1420723" y="1678089"/>
                      </a:lnTo>
                      <a:lnTo>
                        <a:pt x="1421371" y="1677924"/>
                      </a:lnTo>
                      <a:lnTo>
                        <a:pt x="1421955" y="1678279"/>
                      </a:lnTo>
                      <a:lnTo>
                        <a:pt x="1421853" y="1677924"/>
                      </a:lnTo>
                      <a:lnTo>
                        <a:pt x="1421803" y="1677301"/>
                      </a:lnTo>
                      <a:lnTo>
                        <a:pt x="1423187" y="1678089"/>
                      </a:lnTo>
                      <a:close/>
                    </a:path>
                    <a:path w="1464945" h="2324100">
                      <a:moveTo>
                        <a:pt x="1424952" y="1609344"/>
                      </a:moveTo>
                      <a:lnTo>
                        <a:pt x="1424152" y="1606499"/>
                      </a:lnTo>
                      <a:lnTo>
                        <a:pt x="1423492" y="1606156"/>
                      </a:lnTo>
                      <a:lnTo>
                        <a:pt x="1422412" y="1604492"/>
                      </a:lnTo>
                      <a:lnTo>
                        <a:pt x="1421371" y="1601952"/>
                      </a:lnTo>
                      <a:lnTo>
                        <a:pt x="1419555" y="1601241"/>
                      </a:lnTo>
                      <a:lnTo>
                        <a:pt x="1418983" y="1601825"/>
                      </a:lnTo>
                      <a:lnTo>
                        <a:pt x="1416939" y="1600974"/>
                      </a:lnTo>
                      <a:lnTo>
                        <a:pt x="1415275" y="1598752"/>
                      </a:lnTo>
                      <a:lnTo>
                        <a:pt x="1412963" y="1596415"/>
                      </a:lnTo>
                      <a:lnTo>
                        <a:pt x="1411579" y="1595335"/>
                      </a:lnTo>
                      <a:lnTo>
                        <a:pt x="1408531" y="1592110"/>
                      </a:lnTo>
                      <a:lnTo>
                        <a:pt x="1406753" y="1592224"/>
                      </a:lnTo>
                      <a:lnTo>
                        <a:pt x="1403248" y="1589760"/>
                      </a:lnTo>
                      <a:lnTo>
                        <a:pt x="1401445" y="1588223"/>
                      </a:lnTo>
                      <a:lnTo>
                        <a:pt x="1399120" y="1587169"/>
                      </a:lnTo>
                      <a:lnTo>
                        <a:pt x="1398003" y="1587284"/>
                      </a:lnTo>
                      <a:lnTo>
                        <a:pt x="1395349" y="1585468"/>
                      </a:lnTo>
                      <a:lnTo>
                        <a:pt x="1390980" y="1582724"/>
                      </a:lnTo>
                      <a:lnTo>
                        <a:pt x="1392110" y="1584401"/>
                      </a:lnTo>
                      <a:lnTo>
                        <a:pt x="1390332" y="1585607"/>
                      </a:lnTo>
                      <a:lnTo>
                        <a:pt x="1390523" y="1585683"/>
                      </a:lnTo>
                      <a:lnTo>
                        <a:pt x="1390789" y="1585645"/>
                      </a:lnTo>
                      <a:lnTo>
                        <a:pt x="1391640" y="1586090"/>
                      </a:lnTo>
                      <a:lnTo>
                        <a:pt x="1392262" y="1585417"/>
                      </a:lnTo>
                      <a:lnTo>
                        <a:pt x="1410576" y="1596555"/>
                      </a:lnTo>
                      <a:lnTo>
                        <a:pt x="1414208" y="1598396"/>
                      </a:lnTo>
                      <a:lnTo>
                        <a:pt x="1417091" y="1604149"/>
                      </a:lnTo>
                      <a:lnTo>
                        <a:pt x="1417866" y="1605445"/>
                      </a:lnTo>
                      <a:lnTo>
                        <a:pt x="1418132" y="1607439"/>
                      </a:lnTo>
                      <a:lnTo>
                        <a:pt x="1417942" y="1608035"/>
                      </a:lnTo>
                      <a:lnTo>
                        <a:pt x="1418209" y="1611045"/>
                      </a:lnTo>
                      <a:lnTo>
                        <a:pt x="1419783" y="1613141"/>
                      </a:lnTo>
                      <a:lnTo>
                        <a:pt x="1421028" y="1615313"/>
                      </a:lnTo>
                      <a:lnTo>
                        <a:pt x="1421993" y="1613344"/>
                      </a:lnTo>
                      <a:lnTo>
                        <a:pt x="1424952" y="1609344"/>
                      </a:lnTo>
                      <a:close/>
                    </a:path>
                    <a:path w="1464945" h="2324100">
                      <a:moveTo>
                        <a:pt x="1433487" y="1712861"/>
                      </a:moveTo>
                      <a:lnTo>
                        <a:pt x="1431671" y="1710588"/>
                      </a:lnTo>
                      <a:lnTo>
                        <a:pt x="1427772" y="1710143"/>
                      </a:lnTo>
                      <a:lnTo>
                        <a:pt x="1425384" y="1708708"/>
                      </a:lnTo>
                      <a:lnTo>
                        <a:pt x="1427048" y="1710283"/>
                      </a:lnTo>
                      <a:lnTo>
                        <a:pt x="1430515" y="1713306"/>
                      </a:lnTo>
                      <a:lnTo>
                        <a:pt x="1431594" y="1713217"/>
                      </a:lnTo>
                      <a:lnTo>
                        <a:pt x="1432483" y="1712925"/>
                      </a:lnTo>
                      <a:lnTo>
                        <a:pt x="1433487" y="1712861"/>
                      </a:lnTo>
                      <a:close/>
                    </a:path>
                    <a:path w="1464945" h="2324100">
                      <a:moveTo>
                        <a:pt x="1440878" y="1710067"/>
                      </a:moveTo>
                      <a:lnTo>
                        <a:pt x="1440802" y="1709635"/>
                      </a:lnTo>
                      <a:lnTo>
                        <a:pt x="1440649" y="1708645"/>
                      </a:lnTo>
                      <a:lnTo>
                        <a:pt x="1437106" y="1707324"/>
                      </a:lnTo>
                      <a:lnTo>
                        <a:pt x="1438300" y="1710372"/>
                      </a:lnTo>
                      <a:lnTo>
                        <a:pt x="1438948" y="1710042"/>
                      </a:lnTo>
                      <a:lnTo>
                        <a:pt x="1440878" y="1710067"/>
                      </a:lnTo>
                      <a:close/>
                    </a:path>
                    <a:path w="1464945" h="2324100">
                      <a:moveTo>
                        <a:pt x="1447050" y="1622107"/>
                      </a:moveTo>
                      <a:lnTo>
                        <a:pt x="1446974" y="1620354"/>
                      </a:lnTo>
                      <a:lnTo>
                        <a:pt x="1446631" y="1620405"/>
                      </a:lnTo>
                      <a:lnTo>
                        <a:pt x="1446466" y="1619732"/>
                      </a:lnTo>
                      <a:lnTo>
                        <a:pt x="1446352" y="1619300"/>
                      </a:lnTo>
                      <a:lnTo>
                        <a:pt x="1446847" y="1618183"/>
                      </a:lnTo>
                      <a:lnTo>
                        <a:pt x="1446123" y="1617891"/>
                      </a:lnTo>
                      <a:lnTo>
                        <a:pt x="1445742" y="1617726"/>
                      </a:lnTo>
                      <a:lnTo>
                        <a:pt x="1444459" y="1618818"/>
                      </a:lnTo>
                      <a:lnTo>
                        <a:pt x="1443964" y="1620418"/>
                      </a:lnTo>
                      <a:lnTo>
                        <a:pt x="1445501" y="1623098"/>
                      </a:lnTo>
                      <a:lnTo>
                        <a:pt x="1445806" y="1624126"/>
                      </a:lnTo>
                      <a:lnTo>
                        <a:pt x="1446428" y="1623606"/>
                      </a:lnTo>
                      <a:lnTo>
                        <a:pt x="1447050" y="1622107"/>
                      </a:lnTo>
                      <a:close/>
                    </a:path>
                    <a:path w="1464945" h="2324100">
                      <a:moveTo>
                        <a:pt x="1464906" y="1642275"/>
                      </a:moveTo>
                      <a:lnTo>
                        <a:pt x="1464449" y="1639811"/>
                      </a:lnTo>
                      <a:lnTo>
                        <a:pt x="1463751" y="1638236"/>
                      </a:lnTo>
                      <a:lnTo>
                        <a:pt x="1462405" y="1637309"/>
                      </a:lnTo>
                      <a:lnTo>
                        <a:pt x="1461668" y="1636560"/>
                      </a:lnTo>
                      <a:lnTo>
                        <a:pt x="1461287" y="1636166"/>
                      </a:lnTo>
                      <a:lnTo>
                        <a:pt x="1460207" y="1634363"/>
                      </a:lnTo>
                      <a:lnTo>
                        <a:pt x="1458277" y="1633397"/>
                      </a:lnTo>
                      <a:lnTo>
                        <a:pt x="1458087" y="1634642"/>
                      </a:lnTo>
                      <a:lnTo>
                        <a:pt x="1456880" y="1632813"/>
                      </a:lnTo>
                      <a:lnTo>
                        <a:pt x="1456423" y="1632064"/>
                      </a:lnTo>
                      <a:lnTo>
                        <a:pt x="1456651" y="1631873"/>
                      </a:lnTo>
                      <a:lnTo>
                        <a:pt x="1455648" y="1630781"/>
                      </a:lnTo>
                      <a:lnTo>
                        <a:pt x="1454772" y="1630502"/>
                      </a:lnTo>
                      <a:lnTo>
                        <a:pt x="1453680" y="1629295"/>
                      </a:lnTo>
                      <a:lnTo>
                        <a:pt x="1453845" y="1629003"/>
                      </a:lnTo>
                      <a:lnTo>
                        <a:pt x="1451991" y="1625625"/>
                      </a:lnTo>
                      <a:lnTo>
                        <a:pt x="1449324" y="1624698"/>
                      </a:lnTo>
                      <a:lnTo>
                        <a:pt x="1448257" y="1625155"/>
                      </a:lnTo>
                      <a:lnTo>
                        <a:pt x="1446974" y="1623491"/>
                      </a:lnTo>
                      <a:lnTo>
                        <a:pt x="1446860" y="1625701"/>
                      </a:lnTo>
                      <a:lnTo>
                        <a:pt x="1446822" y="1627543"/>
                      </a:lnTo>
                      <a:lnTo>
                        <a:pt x="1447863" y="1633067"/>
                      </a:lnTo>
                      <a:lnTo>
                        <a:pt x="1451444" y="1636306"/>
                      </a:lnTo>
                      <a:lnTo>
                        <a:pt x="1453730" y="1639531"/>
                      </a:lnTo>
                      <a:lnTo>
                        <a:pt x="1452613" y="1639036"/>
                      </a:lnTo>
                      <a:lnTo>
                        <a:pt x="1454035" y="1640420"/>
                      </a:lnTo>
                      <a:lnTo>
                        <a:pt x="1456004" y="1642503"/>
                      </a:lnTo>
                      <a:lnTo>
                        <a:pt x="1458429" y="1643354"/>
                      </a:lnTo>
                      <a:lnTo>
                        <a:pt x="1461046" y="1644484"/>
                      </a:lnTo>
                      <a:lnTo>
                        <a:pt x="1461897" y="1643494"/>
                      </a:lnTo>
                      <a:lnTo>
                        <a:pt x="1462405" y="1643227"/>
                      </a:lnTo>
                      <a:lnTo>
                        <a:pt x="1463370" y="1642833"/>
                      </a:lnTo>
                      <a:lnTo>
                        <a:pt x="1464792" y="1642402"/>
                      </a:lnTo>
                      <a:lnTo>
                        <a:pt x="1464564" y="1642745"/>
                      </a:lnTo>
                      <a:lnTo>
                        <a:pt x="1464906" y="1642275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72" name="object 112">
                  <a:extLst>
                    <a:ext uri="{FF2B5EF4-FFF2-40B4-BE49-F238E27FC236}">
                      <a16:creationId xmlns:a16="http://schemas.microsoft.com/office/drawing/2014/main" id="{B6361179-429B-7AE5-5F0A-A6D07B2AEC87}"/>
                    </a:ext>
                  </a:extLst>
                </p:cNvPr>
                <p:cNvSpPr/>
                <p:nvPr/>
              </p:nvSpPr>
              <p:spPr>
                <a:xfrm>
                  <a:off x="2951632" y="1335633"/>
                  <a:ext cx="2402840" cy="20447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02840" h="2044700">
                      <a:moveTo>
                        <a:pt x="6731" y="662343"/>
                      </a:moveTo>
                      <a:lnTo>
                        <a:pt x="1257" y="659803"/>
                      </a:lnTo>
                      <a:lnTo>
                        <a:pt x="1104" y="660311"/>
                      </a:lnTo>
                      <a:lnTo>
                        <a:pt x="0" y="663181"/>
                      </a:lnTo>
                      <a:lnTo>
                        <a:pt x="2286" y="664095"/>
                      </a:lnTo>
                      <a:lnTo>
                        <a:pt x="5105" y="665200"/>
                      </a:lnTo>
                      <a:lnTo>
                        <a:pt x="5410" y="664375"/>
                      </a:lnTo>
                      <a:lnTo>
                        <a:pt x="6731" y="662343"/>
                      </a:lnTo>
                      <a:close/>
                    </a:path>
                    <a:path w="2402840" h="2044700">
                      <a:moveTo>
                        <a:pt x="285280" y="1010335"/>
                      </a:moveTo>
                      <a:lnTo>
                        <a:pt x="280797" y="1012088"/>
                      </a:lnTo>
                      <a:lnTo>
                        <a:pt x="271894" y="1015707"/>
                      </a:lnTo>
                      <a:lnTo>
                        <a:pt x="269087" y="1015619"/>
                      </a:lnTo>
                      <a:lnTo>
                        <a:pt x="264109" y="1016495"/>
                      </a:lnTo>
                      <a:lnTo>
                        <a:pt x="261581" y="1015072"/>
                      </a:lnTo>
                      <a:lnTo>
                        <a:pt x="261366" y="1016965"/>
                      </a:lnTo>
                      <a:lnTo>
                        <a:pt x="261988" y="1017066"/>
                      </a:lnTo>
                      <a:lnTo>
                        <a:pt x="258165" y="1018184"/>
                      </a:lnTo>
                      <a:lnTo>
                        <a:pt x="256679" y="1018324"/>
                      </a:lnTo>
                      <a:lnTo>
                        <a:pt x="255130" y="1020089"/>
                      </a:lnTo>
                      <a:lnTo>
                        <a:pt x="254698" y="1020711"/>
                      </a:lnTo>
                      <a:lnTo>
                        <a:pt x="253707" y="1020838"/>
                      </a:lnTo>
                      <a:lnTo>
                        <a:pt x="252285" y="1019873"/>
                      </a:lnTo>
                      <a:lnTo>
                        <a:pt x="251739" y="1020254"/>
                      </a:lnTo>
                      <a:lnTo>
                        <a:pt x="253606" y="1024953"/>
                      </a:lnTo>
                      <a:lnTo>
                        <a:pt x="255828" y="1027290"/>
                      </a:lnTo>
                      <a:lnTo>
                        <a:pt x="259232" y="1027099"/>
                      </a:lnTo>
                      <a:lnTo>
                        <a:pt x="264731" y="1027366"/>
                      </a:lnTo>
                      <a:lnTo>
                        <a:pt x="265201" y="1027099"/>
                      </a:lnTo>
                      <a:lnTo>
                        <a:pt x="268071" y="1025474"/>
                      </a:lnTo>
                      <a:lnTo>
                        <a:pt x="271957" y="1023823"/>
                      </a:lnTo>
                      <a:lnTo>
                        <a:pt x="272021" y="1022667"/>
                      </a:lnTo>
                      <a:lnTo>
                        <a:pt x="272694" y="1021892"/>
                      </a:lnTo>
                      <a:lnTo>
                        <a:pt x="275742" y="1022146"/>
                      </a:lnTo>
                      <a:lnTo>
                        <a:pt x="275729" y="1021892"/>
                      </a:lnTo>
                      <a:lnTo>
                        <a:pt x="275031" y="1021003"/>
                      </a:lnTo>
                      <a:lnTo>
                        <a:pt x="275056" y="1020838"/>
                      </a:lnTo>
                      <a:lnTo>
                        <a:pt x="275069" y="1020635"/>
                      </a:lnTo>
                      <a:lnTo>
                        <a:pt x="275767" y="1021842"/>
                      </a:lnTo>
                      <a:lnTo>
                        <a:pt x="275780" y="1022146"/>
                      </a:lnTo>
                      <a:lnTo>
                        <a:pt x="275717" y="1022273"/>
                      </a:lnTo>
                      <a:lnTo>
                        <a:pt x="276199" y="1022159"/>
                      </a:lnTo>
                      <a:lnTo>
                        <a:pt x="277393" y="1021867"/>
                      </a:lnTo>
                      <a:lnTo>
                        <a:pt x="278218" y="1022146"/>
                      </a:lnTo>
                      <a:lnTo>
                        <a:pt x="278079" y="1021867"/>
                      </a:lnTo>
                      <a:lnTo>
                        <a:pt x="277469" y="1020635"/>
                      </a:lnTo>
                      <a:lnTo>
                        <a:pt x="277291" y="1020279"/>
                      </a:lnTo>
                      <a:lnTo>
                        <a:pt x="274789" y="1018082"/>
                      </a:lnTo>
                      <a:lnTo>
                        <a:pt x="276250" y="1016495"/>
                      </a:lnTo>
                      <a:lnTo>
                        <a:pt x="276466" y="1016254"/>
                      </a:lnTo>
                      <a:lnTo>
                        <a:pt x="277609" y="1016203"/>
                      </a:lnTo>
                      <a:lnTo>
                        <a:pt x="277990" y="1015974"/>
                      </a:lnTo>
                      <a:lnTo>
                        <a:pt x="278117" y="1015707"/>
                      </a:lnTo>
                      <a:lnTo>
                        <a:pt x="278371" y="1015149"/>
                      </a:lnTo>
                      <a:lnTo>
                        <a:pt x="279361" y="1014272"/>
                      </a:lnTo>
                      <a:lnTo>
                        <a:pt x="280276" y="1014018"/>
                      </a:lnTo>
                      <a:lnTo>
                        <a:pt x="282155" y="1012990"/>
                      </a:lnTo>
                      <a:lnTo>
                        <a:pt x="284988" y="1011351"/>
                      </a:lnTo>
                      <a:lnTo>
                        <a:pt x="285280" y="1010335"/>
                      </a:lnTo>
                      <a:close/>
                    </a:path>
                    <a:path w="2402840" h="2044700">
                      <a:moveTo>
                        <a:pt x="513994" y="351421"/>
                      </a:moveTo>
                      <a:lnTo>
                        <a:pt x="507593" y="347306"/>
                      </a:lnTo>
                      <a:lnTo>
                        <a:pt x="504317" y="345694"/>
                      </a:lnTo>
                      <a:lnTo>
                        <a:pt x="498957" y="343052"/>
                      </a:lnTo>
                      <a:lnTo>
                        <a:pt x="494169" y="339763"/>
                      </a:lnTo>
                      <a:lnTo>
                        <a:pt x="484530" y="343687"/>
                      </a:lnTo>
                      <a:lnTo>
                        <a:pt x="481723" y="346125"/>
                      </a:lnTo>
                      <a:lnTo>
                        <a:pt x="480783" y="351409"/>
                      </a:lnTo>
                      <a:lnTo>
                        <a:pt x="480174" y="352856"/>
                      </a:lnTo>
                      <a:lnTo>
                        <a:pt x="480339" y="354368"/>
                      </a:lnTo>
                      <a:lnTo>
                        <a:pt x="480606" y="358152"/>
                      </a:lnTo>
                      <a:lnTo>
                        <a:pt x="485381" y="359422"/>
                      </a:lnTo>
                      <a:lnTo>
                        <a:pt x="488391" y="361061"/>
                      </a:lnTo>
                      <a:lnTo>
                        <a:pt x="492290" y="360400"/>
                      </a:lnTo>
                      <a:lnTo>
                        <a:pt x="496366" y="359638"/>
                      </a:lnTo>
                      <a:lnTo>
                        <a:pt x="501459" y="357060"/>
                      </a:lnTo>
                      <a:lnTo>
                        <a:pt x="503580" y="355663"/>
                      </a:lnTo>
                      <a:lnTo>
                        <a:pt x="505244" y="353339"/>
                      </a:lnTo>
                      <a:lnTo>
                        <a:pt x="505002" y="352793"/>
                      </a:lnTo>
                      <a:lnTo>
                        <a:pt x="506590" y="351434"/>
                      </a:lnTo>
                      <a:lnTo>
                        <a:pt x="507784" y="350596"/>
                      </a:lnTo>
                      <a:lnTo>
                        <a:pt x="508635" y="350354"/>
                      </a:lnTo>
                      <a:lnTo>
                        <a:pt x="508787" y="351701"/>
                      </a:lnTo>
                      <a:lnTo>
                        <a:pt x="507898" y="353034"/>
                      </a:lnTo>
                      <a:lnTo>
                        <a:pt x="507593" y="354241"/>
                      </a:lnTo>
                      <a:lnTo>
                        <a:pt x="513994" y="351421"/>
                      </a:lnTo>
                      <a:close/>
                    </a:path>
                    <a:path w="2402840" h="2044700">
                      <a:moveTo>
                        <a:pt x="608279" y="312724"/>
                      </a:moveTo>
                      <a:close/>
                    </a:path>
                    <a:path w="2402840" h="2044700">
                      <a:moveTo>
                        <a:pt x="615061" y="310146"/>
                      </a:moveTo>
                      <a:lnTo>
                        <a:pt x="608406" y="307238"/>
                      </a:lnTo>
                      <a:lnTo>
                        <a:pt x="604799" y="306222"/>
                      </a:lnTo>
                      <a:lnTo>
                        <a:pt x="600710" y="301853"/>
                      </a:lnTo>
                      <a:lnTo>
                        <a:pt x="600189" y="301485"/>
                      </a:lnTo>
                      <a:lnTo>
                        <a:pt x="598652" y="300405"/>
                      </a:lnTo>
                      <a:lnTo>
                        <a:pt x="592569" y="296151"/>
                      </a:lnTo>
                      <a:lnTo>
                        <a:pt x="591451" y="292468"/>
                      </a:lnTo>
                      <a:lnTo>
                        <a:pt x="591337" y="292176"/>
                      </a:lnTo>
                      <a:lnTo>
                        <a:pt x="591134" y="291909"/>
                      </a:lnTo>
                      <a:lnTo>
                        <a:pt x="588391" y="288315"/>
                      </a:lnTo>
                      <a:lnTo>
                        <a:pt x="587489" y="287134"/>
                      </a:lnTo>
                      <a:lnTo>
                        <a:pt x="587006" y="286448"/>
                      </a:lnTo>
                      <a:lnTo>
                        <a:pt x="586409" y="285623"/>
                      </a:lnTo>
                      <a:lnTo>
                        <a:pt x="584365" y="281228"/>
                      </a:lnTo>
                      <a:lnTo>
                        <a:pt x="584009" y="278574"/>
                      </a:lnTo>
                      <a:lnTo>
                        <a:pt x="581164" y="278485"/>
                      </a:lnTo>
                      <a:lnTo>
                        <a:pt x="582510" y="278079"/>
                      </a:lnTo>
                      <a:lnTo>
                        <a:pt x="582968" y="278003"/>
                      </a:lnTo>
                      <a:lnTo>
                        <a:pt x="583285" y="276009"/>
                      </a:lnTo>
                      <a:lnTo>
                        <a:pt x="583247" y="275259"/>
                      </a:lnTo>
                      <a:lnTo>
                        <a:pt x="583323" y="274066"/>
                      </a:lnTo>
                      <a:lnTo>
                        <a:pt x="583755" y="272516"/>
                      </a:lnTo>
                      <a:lnTo>
                        <a:pt x="583971" y="271767"/>
                      </a:lnTo>
                      <a:lnTo>
                        <a:pt x="586333" y="272567"/>
                      </a:lnTo>
                      <a:lnTo>
                        <a:pt x="585762" y="271767"/>
                      </a:lnTo>
                      <a:lnTo>
                        <a:pt x="585063" y="270814"/>
                      </a:lnTo>
                      <a:lnTo>
                        <a:pt x="583996" y="269341"/>
                      </a:lnTo>
                      <a:lnTo>
                        <a:pt x="583717" y="268960"/>
                      </a:lnTo>
                      <a:lnTo>
                        <a:pt x="582549" y="268960"/>
                      </a:lnTo>
                      <a:lnTo>
                        <a:pt x="583869" y="267119"/>
                      </a:lnTo>
                      <a:lnTo>
                        <a:pt x="584060" y="266852"/>
                      </a:lnTo>
                      <a:lnTo>
                        <a:pt x="584161" y="265925"/>
                      </a:lnTo>
                      <a:lnTo>
                        <a:pt x="582295" y="264769"/>
                      </a:lnTo>
                      <a:lnTo>
                        <a:pt x="581926" y="264541"/>
                      </a:lnTo>
                      <a:lnTo>
                        <a:pt x="580656" y="264769"/>
                      </a:lnTo>
                      <a:lnTo>
                        <a:pt x="579577" y="264515"/>
                      </a:lnTo>
                      <a:lnTo>
                        <a:pt x="580961" y="264045"/>
                      </a:lnTo>
                      <a:lnTo>
                        <a:pt x="585978" y="263994"/>
                      </a:lnTo>
                      <a:lnTo>
                        <a:pt x="584441" y="262013"/>
                      </a:lnTo>
                      <a:lnTo>
                        <a:pt x="583171" y="261099"/>
                      </a:lnTo>
                      <a:lnTo>
                        <a:pt x="582269" y="261023"/>
                      </a:lnTo>
                      <a:lnTo>
                        <a:pt x="581583" y="260896"/>
                      </a:lnTo>
                      <a:lnTo>
                        <a:pt x="583552" y="260553"/>
                      </a:lnTo>
                      <a:lnTo>
                        <a:pt x="585482" y="262763"/>
                      </a:lnTo>
                      <a:lnTo>
                        <a:pt x="587971" y="260553"/>
                      </a:lnTo>
                      <a:lnTo>
                        <a:pt x="588187" y="260350"/>
                      </a:lnTo>
                      <a:lnTo>
                        <a:pt x="588873" y="259740"/>
                      </a:lnTo>
                      <a:lnTo>
                        <a:pt x="587971" y="258914"/>
                      </a:lnTo>
                      <a:lnTo>
                        <a:pt x="587362" y="258368"/>
                      </a:lnTo>
                      <a:lnTo>
                        <a:pt x="590600" y="258648"/>
                      </a:lnTo>
                      <a:lnTo>
                        <a:pt x="590435" y="258368"/>
                      </a:lnTo>
                      <a:lnTo>
                        <a:pt x="589330" y="256540"/>
                      </a:lnTo>
                      <a:lnTo>
                        <a:pt x="586574" y="255409"/>
                      </a:lnTo>
                      <a:lnTo>
                        <a:pt x="586409" y="255346"/>
                      </a:lnTo>
                      <a:lnTo>
                        <a:pt x="584009" y="255409"/>
                      </a:lnTo>
                      <a:lnTo>
                        <a:pt x="585012" y="254685"/>
                      </a:lnTo>
                      <a:lnTo>
                        <a:pt x="588175" y="255790"/>
                      </a:lnTo>
                      <a:lnTo>
                        <a:pt x="588492" y="255143"/>
                      </a:lnTo>
                      <a:lnTo>
                        <a:pt x="590842" y="254952"/>
                      </a:lnTo>
                      <a:lnTo>
                        <a:pt x="592607" y="256286"/>
                      </a:lnTo>
                      <a:lnTo>
                        <a:pt x="594360" y="254952"/>
                      </a:lnTo>
                      <a:lnTo>
                        <a:pt x="594702" y="254685"/>
                      </a:lnTo>
                      <a:lnTo>
                        <a:pt x="595452" y="252882"/>
                      </a:lnTo>
                      <a:lnTo>
                        <a:pt x="595731" y="252133"/>
                      </a:lnTo>
                      <a:lnTo>
                        <a:pt x="595223" y="251155"/>
                      </a:lnTo>
                      <a:lnTo>
                        <a:pt x="594652" y="250139"/>
                      </a:lnTo>
                      <a:lnTo>
                        <a:pt x="592569" y="251091"/>
                      </a:lnTo>
                      <a:lnTo>
                        <a:pt x="590181" y="251028"/>
                      </a:lnTo>
                      <a:lnTo>
                        <a:pt x="587603" y="251155"/>
                      </a:lnTo>
                      <a:lnTo>
                        <a:pt x="586714" y="250647"/>
                      </a:lnTo>
                      <a:lnTo>
                        <a:pt x="588251" y="249910"/>
                      </a:lnTo>
                      <a:lnTo>
                        <a:pt x="591413" y="249682"/>
                      </a:lnTo>
                      <a:lnTo>
                        <a:pt x="592823" y="249529"/>
                      </a:lnTo>
                      <a:lnTo>
                        <a:pt x="595033" y="249288"/>
                      </a:lnTo>
                      <a:lnTo>
                        <a:pt x="596620" y="250126"/>
                      </a:lnTo>
                      <a:lnTo>
                        <a:pt x="597395" y="249288"/>
                      </a:lnTo>
                      <a:lnTo>
                        <a:pt x="598043" y="248589"/>
                      </a:lnTo>
                      <a:lnTo>
                        <a:pt x="596353" y="247878"/>
                      </a:lnTo>
                      <a:lnTo>
                        <a:pt x="595541" y="247535"/>
                      </a:lnTo>
                      <a:lnTo>
                        <a:pt x="592404" y="247878"/>
                      </a:lnTo>
                      <a:lnTo>
                        <a:pt x="589711" y="247865"/>
                      </a:lnTo>
                      <a:lnTo>
                        <a:pt x="591870" y="247205"/>
                      </a:lnTo>
                      <a:lnTo>
                        <a:pt x="599008" y="247523"/>
                      </a:lnTo>
                      <a:lnTo>
                        <a:pt x="599224" y="247205"/>
                      </a:lnTo>
                      <a:lnTo>
                        <a:pt x="600202" y="245719"/>
                      </a:lnTo>
                      <a:lnTo>
                        <a:pt x="580034" y="239687"/>
                      </a:lnTo>
                      <a:lnTo>
                        <a:pt x="579272" y="239458"/>
                      </a:lnTo>
                      <a:lnTo>
                        <a:pt x="574560" y="239687"/>
                      </a:lnTo>
                      <a:lnTo>
                        <a:pt x="570090" y="239433"/>
                      </a:lnTo>
                      <a:lnTo>
                        <a:pt x="557212" y="242658"/>
                      </a:lnTo>
                      <a:lnTo>
                        <a:pt x="552234" y="243001"/>
                      </a:lnTo>
                      <a:lnTo>
                        <a:pt x="550735" y="246062"/>
                      </a:lnTo>
                      <a:lnTo>
                        <a:pt x="550887" y="247307"/>
                      </a:lnTo>
                      <a:lnTo>
                        <a:pt x="552361" y="249529"/>
                      </a:lnTo>
                      <a:lnTo>
                        <a:pt x="550773" y="248666"/>
                      </a:lnTo>
                      <a:lnTo>
                        <a:pt x="550887" y="250863"/>
                      </a:lnTo>
                      <a:lnTo>
                        <a:pt x="553021" y="252882"/>
                      </a:lnTo>
                      <a:lnTo>
                        <a:pt x="549236" y="251625"/>
                      </a:lnTo>
                      <a:lnTo>
                        <a:pt x="548538" y="251726"/>
                      </a:lnTo>
                      <a:lnTo>
                        <a:pt x="545998" y="252476"/>
                      </a:lnTo>
                      <a:lnTo>
                        <a:pt x="544906" y="252996"/>
                      </a:lnTo>
                      <a:lnTo>
                        <a:pt x="543102" y="253326"/>
                      </a:lnTo>
                      <a:lnTo>
                        <a:pt x="541680" y="254952"/>
                      </a:lnTo>
                      <a:lnTo>
                        <a:pt x="540296" y="256755"/>
                      </a:lnTo>
                      <a:lnTo>
                        <a:pt x="540092" y="257949"/>
                      </a:lnTo>
                      <a:lnTo>
                        <a:pt x="545490" y="258152"/>
                      </a:lnTo>
                      <a:lnTo>
                        <a:pt x="548690" y="258178"/>
                      </a:lnTo>
                      <a:lnTo>
                        <a:pt x="549694" y="258622"/>
                      </a:lnTo>
                      <a:lnTo>
                        <a:pt x="551091" y="258851"/>
                      </a:lnTo>
                      <a:lnTo>
                        <a:pt x="549656" y="258914"/>
                      </a:lnTo>
                      <a:lnTo>
                        <a:pt x="547573" y="258318"/>
                      </a:lnTo>
                      <a:lnTo>
                        <a:pt x="545071" y="259715"/>
                      </a:lnTo>
                      <a:lnTo>
                        <a:pt x="545414" y="259880"/>
                      </a:lnTo>
                      <a:lnTo>
                        <a:pt x="545071" y="261099"/>
                      </a:lnTo>
                      <a:lnTo>
                        <a:pt x="546569" y="261378"/>
                      </a:lnTo>
                      <a:lnTo>
                        <a:pt x="548106" y="260350"/>
                      </a:lnTo>
                      <a:lnTo>
                        <a:pt x="549656" y="260451"/>
                      </a:lnTo>
                      <a:lnTo>
                        <a:pt x="549313" y="260921"/>
                      </a:lnTo>
                      <a:lnTo>
                        <a:pt x="547039" y="262318"/>
                      </a:lnTo>
                      <a:lnTo>
                        <a:pt x="546798" y="262445"/>
                      </a:lnTo>
                      <a:lnTo>
                        <a:pt x="545414" y="262724"/>
                      </a:lnTo>
                      <a:lnTo>
                        <a:pt x="545147" y="262902"/>
                      </a:lnTo>
                      <a:lnTo>
                        <a:pt x="543496" y="264172"/>
                      </a:lnTo>
                      <a:lnTo>
                        <a:pt x="544601" y="265315"/>
                      </a:lnTo>
                      <a:lnTo>
                        <a:pt x="544652" y="267119"/>
                      </a:lnTo>
                      <a:lnTo>
                        <a:pt x="544220" y="266954"/>
                      </a:lnTo>
                      <a:lnTo>
                        <a:pt x="543445" y="266928"/>
                      </a:lnTo>
                      <a:lnTo>
                        <a:pt x="543064" y="266852"/>
                      </a:lnTo>
                      <a:lnTo>
                        <a:pt x="545071" y="269278"/>
                      </a:lnTo>
                      <a:lnTo>
                        <a:pt x="541985" y="269341"/>
                      </a:lnTo>
                      <a:lnTo>
                        <a:pt x="540448" y="268986"/>
                      </a:lnTo>
                      <a:lnTo>
                        <a:pt x="540639" y="269608"/>
                      </a:lnTo>
                      <a:lnTo>
                        <a:pt x="540981" y="270256"/>
                      </a:lnTo>
                      <a:lnTo>
                        <a:pt x="541324" y="270814"/>
                      </a:lnTo>
                      <a:lnTo>
                        <a:pt x="539521" y="269849"/>
                      </a:lnTo>
                      <a:lnTo>
                        <a:pt x="541248" y="271767"/>
                      </a:lnTo>
                      <a:lnTo>
                        <a:pt x="541362" y="272516"/>
                      </a:lnTo>
                      <a:lnTo>
                        <a:pt x="539013" y="271132"/>
                      </a:lnTo>
                      <a:lnTo>
                        <a:pt x="540715" y="273545"/>
                      </a:lnTo>
                      <a:lnTo>
                        <a:pt x="539369" y="275259"/>
                      </a:lnTo>
                      <a:lnTo>
                        <a:pt x="538162" y="274294"/>
                      </a:lnTo>
                      <a:lnTo>
                        <a:pt x="537972" y="274142"/>
                      </a:lnTo>
                      <a:lnTo>
                        <a:pt x="535470" y="274066"/>
                      </a:lnTo>
                      <a:lnTo>
                        <a:pt x="534771" y="274294"/>
                      </a:lnTo>
                      <a:lnTo>
                        <a:pt x="532892" y="272859"/>
                      </a:lnTo>
                      <a:lnTo>
                        <a:pt x="525945" y="283248"/>
                      </a:lnTo>
                      <a:lnTo>
                        <a:pt x="528637" y="286283"/>
                      </a:lnTo>
                      <a:lnTo>
                        <a:pt x="527837" y="287883"/>
                      </a:lnTo>
                      <a:lnTo>
                        <a:pt x="530961" y="288391"/>
                      </a:lnTo>
                      <a:lnTo>
                        <a:pt x="534200" y="287883"/>
                      </a:lnTo>
                      <a:lnTo>
                        <a:pt x="538975" y="287807"/>
                      </a:lnTo>
                      <a:lnTo>
                        <a:pt x="542213" y="288975"/>
                      </a:lnTo>
                      <a:lnTo>
                        <a:pt x="542099" y="287807"/>
                      </a:lnTo>
                      <a:lnTo>
                        <a:pt x="541947" y="286448"/>
                      </a:lnTo>
                      <a:lnTo>
                        <a:pt x="543140" y="287629"/>
                      </a:lnTo>
                      <a:lnTo>
                        <a:pt x="542848" y="288925"/>
                      </a:lnTo>
                      <a:lnTo>
                        <a:pt x="542772" y="289750"/>
                      </a:lnTo>
                      <a:lnTo>
                        <a:pt x="543687" y="290995"/>
                      </a:lnTo>
                      <a:lnTo>
                        <a:pt x="545020" y="291680"/>
                      </a:lnTo>
                      <a:lnTo>
                        <a:pt x="541070" y="292061"/>
                      </a:lnTo>
                      <a:lnTo>
                        <a:pt x="537832" y="294182"/>
                      </a:lnTo>
                      <a:lnTo>
                        <a:pt x="541070" y="297738"/>
                      </a:lnTo>
                      <a:lnTo>
                        <a:pt x="545122" y="300520"/>
                      </a:lnTo>
                      <a:lnTo>
                        <a:pt x="548855" y="303517"/>
                      </a:lnTo>
                      <a:lnTo>
                        <a:pt x="550862" y="304190"/>
                      </a:lnTo>
                      <a:lnTo>
                        <a:pt x="550748" y="303136"/>
                      </a:lnTo>
                      <a:lnTo>
                        <a:pt x="549516" y="300228"/>
                      </a:lnTo>
                      <a:lnTo>
                        <a:pt x="550519" y="301256"/>
                      </a:lnTo>
                      <a:lnTo>
                        <a:pt x="550938" y="300520"/>
                      </a:lnTo>
                      <a:lnTo>
                        <a:pt x="551446" y="299707"/>
                      </a:lnTo>
                      <a:lnTo>
                        <a:pt x="552284" y="298069"/>
                      </a:lnTo>
                      <a:lnTo>
                        <a:pt x="551827" y="296468"/>
                      </a:lnTo>
                      <a:lnTo>
                        <a:pt x="548462" y="295986"/>
                      </a:lnTo>
                      <a:lnTo>
                        <a:pt x="545960" y="294754"/>
                      </a:lnTo>
                      <a:lnTo>
                        <a:pt x="545541" y="293395"/>
                      </a:lnTo>
                      <a:lnTo>
                        <a:pt x="547001" y="293865"/>
                      </a:lnTo>
                      <a:lnTo>
                        <a:pt x="547738" y="295313"/>
                      </a:lnTo>
                      <a:lnTo>
                        <a:pt x="549046" y="295719"/>
                      </a:lnTo>
                      <a:lnTo>
                        <a:pt x="547700" y="292239"/>
                      </a:lnTo>
                      <a:lnTo>
                        <a:pt x="548970" y="291846"/>
                      </a:lnTo>
                      <a:lnTo>
                        <a:pt x="548233" y="289648"/>
                      </a:lnTo>
                      <a:lnTo>
                        <a:pt x="551624" y="290080"/>
                      </a:lnTo>
                      <a:lnTo>
                        <a:pt x="551992" y="289648"/>
                      </a:lnTo>
                      <a:lnTo>
                        <a:pt x="552589" y="288925"/>
                      </a:lnTo>
                      <a:lnTo>
                        <a:pt x="553593" y="288315"/>
                      </a:lnTo>
                      <a:lnTo>
                        <a:pt x="554088" y="289750"/>
                      </a:lnTo>
                      <a:lnTo>
                        <a:pt x="552665" y="290588"/>
                      </a:lnTo>
                      <a:lnTo>
                        <a:pt x="552767" y="291846"/>
                      </a:lnTo>
                      <a:lnTo>
                        <a:pt x="552894" y="292176"/>
                      </a:lnTo>
                      <a:lnTo>
                        <a:pt x="553745" y="293839"/>
                      </a:lnTo>
                      <a:lnTo>
                        <a:pt x="555510" y="295630"/>
                      </a:lnTo>
                      <a:lnTo>
                        <a:pt x="555828" y="293954"/>
                      </a:lnTo>
                      <a:lnTo>
                        <a:pt x="557796" y="292354"/>
                      </a:lnTo>
                      <a:lnTo>
                        <a:pt x="558990" y="292176"/>
                      </a:lnTo>
                      <a:lnTo>
                        <a:pt x="559727" y="291909"/>
                      </a:lnTo>
                      <a:lnTo>
                        <a:pt x="558558" y="292468"/>
                      </a:lnTo>
                      <a:lnTo>
                        <a:pt x="558457" y="293395"/>
                      </a:lnTo>
                      <a:lnTo>
                        <a:pt x="557441" y="294741"/>
                      </a:lnTo>
                      <a:lnTo>
                        <a:pt x="555472" y="295833"/>
                      </a:lnTo>
                      <a:lnTo>
                        <a:pt x="554977" y="297726"/>
                      </a:lnTo>
                      <a:lnTo>
                        <a:pt x="562686" y="299821"/>
                      </a:lnTo>
                      <a:lnTo>
                        <a:pt x="563765" y="300405"/>
                      </a:lnTo>
                      <a:lnTo>
                        <a:pt x="562775" y="300291"/>
                      </a:lnTo>
                      <a:lnTo>
                        <a:pt x="561809" y="300253"/>
                      </a:lnTo>
                      <a:lnTo>
                        <a:pt x="560844" y="300037"/>
                      </a:lnTo>
                      <a:lnTo>
                        <a:pt x="561365" y="300558"/>
                      </a:lnTo>
                      <a:lnTo>
                        <a:pt x="561809" y="300951"/>
                      </a:lnTo>
                      <a:lnTo>
                        <a:pt x="562152" y="301485"/>
                      </a:lnTo>
                      <a:lnTo>
                        <a:pt x="560730" y="301459"/>
                      </a:lnTo>
                      <a:lnTo>
                        <a:pt x="559308" y="301053"/>
                      </a:lnTo>
                      <a:lnTo>
                        <a:pt x="556260" y="301053"/>
                      </a:lnTo>
                      <a:lnTo>
                        <a:pt x="555637" y="300558"/>
                      </a:lnTo>
                      <a:lnTo>
                        <a:pt x="557682" y="302666"/>
                      </a:lnTo>
                      <a:lnTo>
                        <a:pt x="559333" y="303123"/>
                      </a:lnTo>
                      <a:lnTo>
                        <a:pt x="559485" y="305409"/>
                      </a:lnTo>
                      <a:lnTo>
                        <a:pt x="557720" y="305689"/>
                      </a:lnTo>
                      <a:lnTo>
                        <a:pt x="558838" y="307098"/>
                      </a:lnTo>
                      <a:lnTo>
                        <a:pt x="556983" y="307238"/>
                      </a:lnTo>
                      <a:lnTo>
                        <a:pt x="555205" y="306184"/>
                      </a:lnTo>
                      <a:lnTo>
                        <a:pt x="553364" y="306514"/>
                      </a:lnTo>
                      <a:lnTo>
                        <a:pt x="554253" y="306781"/>
                      </a:lnTo>
                      <a:lnTo>
                        <a:pt x="554786" y="307428"/>
                      </a:lnTo>
                      <a:lnTo>
                        <a:pt x="557326" y="308508"/>
                      </a:lnTo>
                      <a:lnTo>
                        <a:pt x="559409" y="308698"/>
                      </a:lnTo>
                      <a:lnTo>
                        <a:pt x="564997" y="309930"/>
                      </a:lnTo>
                      <a:lnTo>
                        <a:pt x="569201" y="310311"/>
                      </a:lnTo>
                      <a:lnTo>
                        <a:pt x="572719" y="312013"/>
                      </a:lnTo>
                      <a:lnTo>
                        <a:pt x="572414" y="310705"/>
                      </a:lnTo>
                      <a:lnTo>
                        <a:pt x="570598" y="310438"/>
                      </a:lnTo>
                      <a:lnTo>
                        <a:pt x="570217" y="308813"/>
                      </a:lnTo>
                      <a:lnTo>
                        <a:pt x="570598" y="308152"/>
                      </a:lnTo>
                      <a:lnTo>
                        <a:pt x="570636" y="307949"/>
                      </a:lnTo>
                      <a:lnTo>
                        <a:pt x="572325" y="309346"/>
                      </a:lnTo>
                      <a:lnTo>
                        <a:pt x="573366" y="310934"/>
                      </a:lnTo>
                      <a:lnTo>
                        <a:pt x="576427" y="312280"/>
                      </a:lnTo>
                      <a:lnTo>
                        <a:pt x="577380" y="313296"/>
                      </a:lnTo>
                      <a:lnTo>
                        <a:pt x="580047" y="314172"/>
                      </a:lnTo>
                      <a:lnTo>
                        <a:pt x="579386" y="313651"/>
                      </a:lnTo>
                      <a:lnTo>
                        <a:pt x="581088" y="311632"/>
                      </a:lnTo>
                      <a:lnTo>
                        <a:pt x="582168" y="310705"/>
                      </a:lnTo>
                      <a:lnTo>
                        <a:pt x="583590" y="309930"/>
                      </a:lnTo>
                      <a:lnTo>
                        <a:pt x="583768" y="309930"/>
                      </a:lnTo>
                      <a:lnTo>
                        <a:pt x="585914" y="310578"/>
                      </a:lnTo>
                      <a:lnTo>
                        <a:pt x="587756" y="311543"/>
                      </a:lnTo>
                      <a:lnTo>
                        <a:pt x="588746" y="312356"/>
                      </a:lnTo>
                      <a:lnTo>
                        <a:pt x="588289" y="312445"/>
                      </a:lnTo>
                      <a:lnTo>
                        <a:pt x="587794" y="312775"/>
                      </a:lnTo>
                      <a:lnTo>
                        <a:pt x="587324" y="312902"/>
                      </a:lnTo>
                      <a:lnTo>
                        <a:pt x="588492" y="313410"/>
                      </a:lnTo>
                      <a:lnTo>
                        <a:pt x="590334" y="314007"/>
                      </a:lnTo>
                      <a:lnTo>
                        <a:pt x="591642" y="314032"/>
                      </a:lnTo>
                      <a:lnTo>
                        <a:pt x="591070" y="312966"/>
                      </a:lnTo>
                      <a:lnTo>
                        <a:pt x="589902" y="312293"/>
                      </a:lnTo>
                      <a:lnTo>
                        <a:pt x="589140" y="311277"/>
                      </a:lnTo>
                      <a:lnTo>
                        <a:pt x="590842" y="311721"/>
                      </a:lnTo>
                      <a:lnTo>
                        <a:pt x="592188" y="312940"/>
                      </a:lnTo>
                      <a:lnTo>
                        <a:pt x="595426" y="313753"/>
                      </a:lnTo>
                      <a:lnTo>
                        <a:pt x="597090" y="313664"/>
                      </a:lnTo>
                      <a:lnTo>
                        <a:pt x="598703" y="313728"/>
                      </a:lnTo>
                      <a:lnTo>
                        <a:pt x="598474" y="311543"/>
                      </a:lnTo>
                      <a:lnTo>
                        <a:pt x="598093" y="310972"/>
                      </a:lnTo>
                      <a:lnTo>
                        <a:pt x="595579" y="311467"/>
                      </a:lnTo>
                      <a:lnTo>
                        <a:pt x="595274" y="311277"/>
                      </a:lnTo>
                      <a:lnTo>
                        <a:pt x="595122" y="311188"/>
                      </a:lnTo>
                      <a:lnTo>
                        <a:pt x="594804" y="310730"/>
                      </a:lnTo>
                      <a:lnTo>
                        <a:pt x="594842" y="310045"/>
                      </a:lnTo>
                      <a:lnTo>
                        <a:pt x="599821" y="311188"/>
                      </a:lnTo>
                      <a:lnTo>
                        <a:pt x="604799" y="314159"/>
                      </a:lnTo>
                      <a:lnTo>
                        <a:pt x="610044" y="314159"/>
                      </a:lnTo>
                      <a:lnTo>
                        <a:pt x="608342" y="312775"/>
                      </a:lnTo>
                      <a:lnTo>
                        <a:pt x="604481" y="312547"/>
                      </a:lnTo>
                      <a:lnTo>
                        <a:pt x="603834" y="311873"/>
                      </a:lnTo>
                      <a:lnTo>
                        <a:pt x="602602" y="311048"/>
                      </a:lnTo>
                      <a:lnTo>
                        <a:pt x="605180" y="311391"/>
                      </a:lnTo>
                      <a:lnTo>
                        <a:pt x="608203" y="312293"/>
                      </a:lnTo>
                      <a:lnTo>
                        <a:pt x="611733" y="313258"/>
                      </a:lnTo>
                      <a:lnTo>
                        <a:pt x="611860" y="312204"/>
                      </a:lnTo>
                      <a:lnTo>
                        <a:pt x="612254" y="311048"/>
                      </a:lnTo>
                      <a:lnTo>
                        <a:pt x="612597" y="310045"/>
                      </a:lnTo>
                      <a:lnTo>
                        <a:pt x="612698" y="309727"/>
                      </a:lnTo>
                      <a:lnTo>
                        <a:pt x="583082" y="309727"/>
                      </a:lnTo>
                      <a:lnTo>
                        <a:pt x="612698" y="309714"/>
                      </a:lnTo>
                      <a:lnTo>
                        <a:pt x="613930" y="310146"/>
                      </a:lnTo>
                      <a:lnTo>
                        <a:pt x="615061" y="310146"/>
                      </a:lnTo>
                      <a:close/>
                    </a:path>
                    <a:path w="2402840" h="2044700">
                      <a:moveTo>
                        <a:pt x="656310" y="336194"/>
                      </a:moveTo>
                      <a:lnTo>
                        <a:pt x="655574" y="334937"/>
                      </a:lnTo>
                      <a:lnTo>
                        <a:pt x="655078" y="330631"/>
                      </a:lnTo>
                      <a:lnTo>
                        <a:pt x="654888" y="330377"/>
                      </a:lnTo>
                      <a:lnTo>
                        <a:pt x="648017" y="325945"/>
                      </a:lnTo>
                      <a:lnTo>
                        <a:pt x="642505" y="321741"/>
                      </a:lnTo>
                      <a:lnTo>
                        <a:pt x="634987" y="316318"/>
                      </a:lnTo>
                      <a:lnTo>
                        <a:pt x="632053" y="317842"/>
                      </a:lnTo>
                      <a:lnTo>
                        <a:pt x="631634" y="317766"/>
                      </a:lnTo>
                      <a:lnTo>
                        <a:pt x="630631" y="317982"/>
                      </a:lnTo>
                      <a:lnTo>
                        <a:pt x="631164" y="318490"/>
                      </a:lnTo>
                      <a:lnTo>
                        <a:pt x="630288" y="319125"/>
                      </a:lnTo>
                      <a:lnTo>
                        <a:pt x="629005" y="319684"/>
                      </a:lnTo>
                      <a:lnTo>
                        <a:pt x="627507" y="320103"/>
                      </a:lnTo>
                      <a:lnTo>
                        <a:pt x="628929" y="321081"/>
                      </a:lnTo>
                      <a:lnTo>
                        <a:pt x="630783" y="321919"/>
                      </a:lnTo>
                      <a:lnTo>
                        <a:pt x="631863" y="323303"/>
                      </a:lnTo>
                      <a:lnTo>
                        <a:pt x="631126" y="323176"/>
                      </a:lnTo>
                      <a:lnTo>
                        <a:pt x="630047" y="322567"/>
                      </a:lnTo>
                      <a:lnTo>
                        <a:pt x="627278" y="322503"/>
                      </a:lnTo>
                      <a:lnTo>
                        <a:pt x="627697" y="324104"/>
                      </a:lnTo>
                      <a:lnTo>
                        <a:pt x="629285" y="328803"/>
                      </a:lnTo>
                      <a:lnTo>
                        <a:pt x="633095" y="331419"/>
                      </a:lnTo>
                      <a:lnTo>
                        <a:pt x="635520" y="332562"/>
                      </a:lnTo>
                      <a:lnTo>
                        <a:pt x="635381" y="331685"/>
                      </a:lnTo>
                      <a:lnTo>
                        <a:pt x="634453" y="331241"/>
                      </a:lnTo>
                      <a:lnTo>
                        <a:pt x="634174" y="330377"/>
                      </a:lnTo>
                      <a:lnTo>
                        <a:pt x="635876" y="330771"/>
                      </a:lnTo>
                      <a:lnTo>
                        <a:pt x="637654" y="331266"/>
                      </a:lnTo>
                      <a:lnTo>
                        <a:pt x="640461" y="332397"/>
                      </a:lnTo>
                      <a:lnTo>
                        <a:pt x="643813" y="333070"/>
                      </a:lnTo>
                      <a:lnTo>
                        <a:pt x="642962" y="336080"/>
                      </a:lnTo>
                      <a:lnTo>
                        <a:pt x="643318" y="336054"/>
                      </a:lnTo>
                      <a:lnTo>
                        <a:pt x="644359" y="336321"/>
                      </a:lnTo>
                      <a:lnTo>
                        <a:pt x="646671" y="336816"/>
                      </a:lnTo>
                      <a:lnTo>
                        <a:pt x="647319" y="337286"/>
                      </a:lnTo>
                      <a:lnTo>
                        <a:pt x="648131" y="337121"/>
                      </a:lnTo>
                      <a:lnTo>
                        <a:pt x="647827" y="336715"/>
                      </a:lnTo>
                      <a:lnTo>
                        <a:pt x="649173" y="336397"/>
                      </a:lnTo>
                      <a:lnTo>
                        <a:pt x="649097" y="336130"/>
                      </a:lnTo>
                      <a:lnTo>
                        <a:pt x="651497" y="336448"/>
                      </a:lnTo>
                      <a:lnTo>
                        <a:pt x="651687" y="336842"/>
                      </a:lnTo>
                      <a:lnTo>
                        <a:pt x="656310" y="336194"/>
                      </a:lnTo>
                      <a:close/>
                    </a:path>
                    <a:path w="2402840" h="2044700">
                      <a:moveTo>
                        <a:pt x="758799" y="1193050"/>
                      </a:moveTo>
                      <a:lnTo>
                        <a:pt x="758774" y="1192263"/>
                      </a:lnTo>
                      <a:lnTo>
                        <a:pt x="757377" y="1193076"/>
                      </a:lnTo>
                      <a:lnTo>
                        <a:pt x="755954" y="1192796"/>
                      </a:lnTo>
                      <a:lnTo>
                        <a:pt x="756107" y="1194282"/>
                      </a:lnTo>
                      <a:lnTo>
                        <a:pt x="756259" y="1195590"/>
                      </a:lnTo>
                      <a:lnTo>
                        <a:pt x="757415" y="1195793"/>
                      </a:lnTo>
                      <a:lnTo>
                        <a:pt x="758494" y="1194612"/>
                      </a:lnTo>
                      <a:lnTo>
                        <a:pt x="758799" y="1193050"/>
                      </a:lnTo>
                      <a:close/>
                    </a:path>
                    <a:path w="2402840" h="2044700">
                      <a:moveTo>
                        <a:pt x="764082" y="1195438"/>
                      </a:moveTo>
                      <a:lnTo>
                        <a:pt x="763854" y="1194866"/>
                      </a:lnTo>
                      <a:lnTo>
                        <a:pt x="763473" y="1193444"/>
                      </a:lnTo>
                      <a:lnTo>
                        <a:pt x="761669" y="1194333"/>
                      </a:lnTo>
                      <a:lnTo>
                        <a:pt x="762114" y="1194015"/>
                      </a:lnTo>
                      <a:lnTo>
                        <a:pt x="761707" y="1193888"/>
                      </a:lnTo>
                      <a:lnTo>
                        <a:pt x="761250" y="1193800"/>
                      </a:lnTo>
                      <a:lnTo>
                        <a:pt x="760818" y="1193673"/>
                      </a:lnTo>
                      <a:lnTo>
                        <a:pt x="761326" y="1193774"/>
                      </a:lnTo>
                      <a:lnTo>
                        <a:pt x="761885" y="1193838"/>
                      </a:lnTo>
                      <a:lnTo>
                        <a:pt x="762419" y="1193825"/>
                      </a:lnTo>
                      <a:lnTo>
                        <a:pt x="761657" y="1193419"/>
                      </a:lnTo>
                      <a:lnTo>
                        <a:pt x="760920" y="1192974"/>
                      </a:lnTo>
                      <a:lnTo>
                        <a:pt x="760069" y="1192733"/>
                      </a:lnTo>
                      <a:lnTo>
                        <a:pt x="760107" y="1193165"/>
                      </a:lnTo>
                      <a:lnTo>
                        <a:pt x="760349" y="1193330"/>
                      </a:lnTo>
                      <a:lnTo>
                        <a:pt x="760628" y="1193596"/>
                      </a:lnTo>
                      <a:lnTo>
                        <a:pt x="760361" y="1193507"/>
                      </a:lnTo>
                      <a:lnTo>
                        <a:pt x="760095" y="1193431"/>
                      </a:lnTo>
                      <a:lnTo>
                        <a:pt x="759879" y="1193292"/>
                      </a:lnTo>
                      <a:lnTo>
                        <a:pt x="759561" y="1194396"/>
                      </a:lnTo>
                      <a:lnTo>
                        <a:pt x="759561" y="1195578"/>
                      </a:lnTo>
                      <a:lnTo>
                        <a:pt x="759485" y="1196708"/>
                      </a:lnTo>
                      <a:lnTo>
                        <a:pt x="762304" y="1196454"/>
                      </a:lnTo>
                      <a:lnTo>
                        <a:pt x="760412" y="1195222"/>
                      </a:lnTo>
                      <a:lnTo>
                        <a:pt x="760857" y="1194904"/>
                      </a:lnTo>
                      <a:lnTo>
                        <a:pt x="761657" y="1195527"/>
                      </a:lnTo>
                      <a:lnTo>
                        <a:pt x="763816" y="1197076"/>
                      </a:lnTo>
                      <a:lnTo>
                        <a:pt x="764082" y="1195438"/>
                      </a:lnTo>
                      <a:close/>
                    </a:path>
                    <a:path w="2402840" h="2044700">
                      <a:moveTo>
                        <a:pt x="816787" y="243967"/>
                      </a:moveTo>
                      <a:lnTo>
                        <a:pt x="814247" y="241249"/>
                      </a:lnTo>
                      <a:lnTo>
                        <a:pt x="811657" y="239763"/>
                      </a:lnTo>
                      <a:lnTo>
                        <a:pt x="811237" y="242658"/>
                      </a:lnTo>
                      <a:lnTo>
                        <a:pt x="809040" y="240169"/>
                      </a:lnTo>
                      <a:lnTo>
                        <a:pt x="807961" y="237820"/>
                      </a:lnTo>
                      <a:lnTo>
                        <a:pt x="808380" y="236956"/>
                      </a:lnTo>
                      <a:lnTo>
                        <a:pt x="809421" y="237515"/>
                      </a:lnTo>
                      <a:lnTo>
                        <a:pt x="810234" y="237337"/>
                      </a:lnTo>
                      <a:lnTo>
                        <a:pt x="808888" y="236118"/>
                      </a:lnTo>
                      <a:lnTo>
                        <a:pt x="806843" y="235623"/>
                      </a:lnTo>
                      <a:lnTo>
                        <a:pt x="800785" y="236156"/>
                      </a:lnTo>
                      <a:lnTo>
                        <a:pt x="796429" y="237337"/>
                      </a:lnTo>
                      <a:lnTo>
                        <a:pt x="792187" y="238163"/>
                      </a:lnTo>
                      <a:lnTo>
                        <a:pt x="792187" y="245338"/>
                      </a:lnTo>
                      <a:lnTo>
                        <a:pt x="791222" y="245986"/>
                      </a:lnTo>
                      <a:lnTo>
                        <a:pt x="790028" y="248526"/>
                      </a:lnTo>
                      <a:lnTo>
                        <a:pt x="790714" y="248577"/>
                      </a:lnTo>
                      <a:lnTo>
                        <a:pt x="791921" y="248742"/>
                      </a:lnTo>
                      <a:lnTo>
                        <a:pt x="793381" y="248945"/>
                      </a:lnTo>
                      <a:lnTo>
                        <a:pt x="793762" y="248437"/>
                      </a:lnTo>
                      <a:lnTo>
                        <a:pt x="794346" y="247294"/>
                      </a:lnTo>
                      <a:lnTo>
                        <a:pt x="795502" y="250190"/>
                      </a:lnTo>
                      <a:lnTo>
                        <a:pt x="799592" y="247650"/>
                      </a:lnTo>
                      <a:lnTo>
                        <a:pt x="803948" y="246164"/>
                      </a:lnTo>
                      <a:lnTo>
                        <a:pt x="806030" y="246519"/>
                      </a:lnTo>
                      <a:lnTo>
                        <a:pt x="810082" y="245872"/>
                      </a:lnTo>
                      <a:lnTo>
                        <a:pt x="810933" y="245033"/>
                      </a:lnTo>
                      <a:lnTo>
                        <a:pt x="813282" y="244500"/>
                      </a:lnTo>
                      <a:lnTo>
                        <a:pt x="815022" y="245364"/>
                      </a:lnTo>
                      <a:lnTo>
                        <a:pt x="816787" y="243967"/>
                      </a:lnTo>
                      <a:close/>
                    </a:path>
                    <a:path w="2402840" h="2044700">
                      <a:moveTo>
                        <a:pt x="1016647" y="200964"/>
                      </a:moveTo>
                      <a:lnTo>
                        <a:pt x="1015682" y="199161"/>
                      </a:lnTo>
                      <a:lnTo>
                        <a:pt x="1015720" y="199656"/>
                      </a:lnTo>
                      <a:lnTo>
                        <a:pt x="1013637" y="198920"/>
                      </a:lnTo>
                      <a:lnTo>
                        <a:pt x="1012050" y="199491"/>
                      </a:lnTo>
                      <a:lnTo>
                        <a:pt x="1010005" y="199821"/>
                      </a:lnTo>
                      <a:lnTo>
                        <a:pt x="1008697" y="200926"/>
                      </a:lnTo>
                      <a:lnTo>
                        <a:pt x="1010970" y="201231"/>
                      </a:lnTo>
                      <a:lnTo>
                        <a:pt x="1014476" y="201460"/>
                      </a:lnTo>
                      <a:lnTo>
                        <a:pt x="1016647" y="200964"/>
                      </a:lnTo>
                      <a:close/>
                    </a:path>
                    <a:path w="2402840" h="2044700">
                      <a:moveTo>
                        <a:pt x="1094752" y="1214678"/>
                      </a:moveTo>
                      <a:lnTo>
                        <a:pt x="1092022" y="1212608"/>
                      </a:lnTo>
                      <a:lnTo>
                        <a:pt x="1091171" y="1211554"/>
                      </a:lnTo>
                      <a:lnTo>
                        <a:pt x="1091628" y="1212888"/>
                      </a:lnTo>
                      <a:lnTo>
                        <a:pt x="1092136" y="1214221"/>
                      </a:lnTo>
                      <a:lnTo>
                        <a:pt x="1092593" y="1215542"/>
                      </a:lnTo>
                      <a:lnTo>
                        <a:pt x="1094752" y="1214678"/>
                      </a:lnTo>
                      <a:close/>
                    </a:path>
                    <a:path w="2402840" h="2044700">
                      <a:moveTo>
                        <a:pt x="1101039" y="3136"/>
                      </a:moveTo>
                      <a:lnTo>
                        <a:pt x="1099654" y="2070"/>
                      </a:lnTo>
                      <a:lnTo>
                        <a:pt x="1099070" y="1028"/>
                      </a:lnTo>
                      <a:lnTo>
                        <a:pt x="1094879" y="127"/>
                      </a:lnTo>
                      <a:lnTo>
                        <a:pt x="1092288" y="0"/>
                      </a:lnTo>
                      <a:lnTo>
                        <a:pt x="1087386" y="50"/>
                      </a:lnTo>
                      <a:lnTo>
                        <a:pt x="1079322" y="520"/>
                      </a:lnTo>
                      <a:lnTo>
                        <a:pt x="1076871" y="1028"/>
                      </a:lnTo>
                      <a:lnTo>
                        <a:pt x="1078445" y="4406"/>
                      </a:lnTo>
                      <a:lnTo>
                        <a:pt x="1101039" y="3136"/>
                      </a:lnTo>
                      <a:close/>
                    </a:path>
                    <a:path w="2402840" h="2044700">
                      <a:moveTo>
                        <a:pt x="1131760" y="1272616"/>
                      </a:moveTo>
                      <a:lnTo>
                        <a:pt x="1131646" y="1271866"/>
                      </a:lnTo>
                      <a:lnTo>
                        <a:pt x="1131557" y="1271231"/>
                      </a:lnTo>
                      <a:lnTo>
                        <a:pt x="1131189" y="1270508"/>
                      </a:lnTo>
                      <a:lnTo>
                        <a:pt x="1130541" y="1270139"/>
                      </a:lnTo>
                      <a:lnTo>
                        <a:pt x="1129842" y="1270241"/>
                      </a:lnTo>
                      <a:lnTo>
                        <a:pt x="1129157" y="1270292"/>
                      </a:lnTo>
                      <a:lnTo>
                        <a:pt x="1128458" y="1270330"/>
                      </a:lnTo>
                      <a:lnTo>
                        <a:pt x="1128610" y="1271003"/>
                      </a:lnTo>
                      <a:lnTo>
                        <a:pt x="1129499" y="1272451"/>
                      </a:lnTo>
                      <a:lnTo>
                        <a:pt x="1130236" y="1272832"/>
                      </a:lnTo>
                      <a:lnTo>
                        <a:pt x="1130363" y="1272908"/>
                      </a:lnTo>
                      <a:lnTo>
                        <a:pt x="1130566" y="1272946"/>
                      </a:lnTo>
                      <a:lnTo>
                        <a:pt x="1131417" y="1273200"/>
                      </a:lnTo>
                      <a:lnTo>
                        <a:pt x="1131760" y="1272616"/>
                      </a:lnTo>
                      <a:close/>
                    </a:path>
                    <a:path w="2402840" h="2044700">
                      <a:moveTo>
                        <a:pt x="1133513" y="45720"/>
                      </a:moveTo>
                      <a:lnTo>
                        <a:pt x="1132433" y="43383"/>
                      </a:lnTo>
                      <a:lnTo>
                        <a:pt x="1129461" y="42570"/>
                      </a:lnTo>
                      <a:lnTo>
                        <a:pt x="1126845" y="41643"/>
                      </a:lnTo>
                      <a:lnTo>
                        <a:pt x="1124648" y="41376"/>
                      </a:lnTo>
                      <a:lnTo>
                        <a:pt x="1122680" y="40855"/>
                      </a:lnTo>
                      <a:lnTo>
                        <a:pt x="1090828" y="38976"/>
                      </a:lnTo>
                      <a:lnTo>
                        <a:pt x="1093609" y="39166"/>
                      </a:lnTo>
                      <a:lnTo>
                        <a:pt x="1093177" y="42087"/>
                      </a:lnTo>
                      <a:lnTo>
                        <a:pt x="1093685" y="46278"/>
                      </a:lnTo>
                      <a:lnTo>
                        <a:pt x="1095184" y="46189"/>
                      </a:lnTo>
                      <a:lnTo>
                        <a:pt x="1099934" y="47294"/>
                      </a:lnTo>
                      <a:lnTo>
                        <a:pt x="1103896" y="47561"/>
                      </a:lnTo>
                      <a:lnTo>
                        <a:pt x="1107097" y="47244"/>
                      </a:lnTo>
                      <a:lnTo>
                        <a:pt x="1106982" y="48272"/>
                      </a:lnTo>
                      <a:lnTo>
                        <a:pt x="1105903" y="50584"/>
                      </a:lnTo>
                      <a:lnTo>
                        <a:pt x="1106792" y="51422"/>
                      </a:lnTo>
                      <a:lnTo>
                        <a:pt x="1106982" y="51625"/>
                      </a:lnTo>
                      <a:lnTo>
                        <a:pt x="1108684" y="51498"/>
                      </a:lnTo>
                      <a:lnTo>
                        <a:pt x="1110996" y="52120"/>
                      </a:lnTo>
                      <a:lnTo>
                        <a:pt x="1113231" y="52082"/>
                      </a:lnTo>
                      <a:lnTo>
                        <a:pt x="1118082" y="51511"/>
                      </a:lnTo>
                      <a:lnTo>
                        <a:pt x="1121016" y="50622"/>
                      </a:lnTo>
                      <a:lnTo>
                        <a:pt x="1125143" y="48628"/>
                      </a:lnTo>
                      <a:lnTo>
                        <a:pt x="1133513" y="45720"/>
                      </a:lnTo>
                      <a:close/>
                    </a:path>
                    <a:path w="2402840" h="2044700">
                      <a:moveTo>
                        <a:pt x="1213472" y="78486"/>
                      </a:moveTo>
                      <a:lnTo>
                        <a:pt x="1186332" y="78486"/>
                      </a:lnTo>
                      <a:lnTo>
                        <a:pt x="1185176" y="78486"/>
                      </a:lnTo>
                      <a:lnTo>
                        <a:pt x="1184706" y="78740"/>
                      </a:lnTo>
                      <a:lnTo>
                        <a:pt x="1187145" y="79286"/>
                      </a:lnTo>
                      <a:lnTo>
                        <a:pt x="1190256" y="79184"/>
                      </a:lnTo>
                      <a:lnTo>
                        <a:pt x="1194612" y="79235"/>
                      </a:lnTo>
                      <a:lnTo>
                        <a:pt x="1196505" y="80022"/>
                      </a:lnTo>
                      <a:lnTo>
                        <a:pt x="1202448" y="79971"/>
                      </a:lnTo>
                      <a:lnTo>
                        <a:pt x="1205014" y="79184"/>
                      </a:lnTo>
                      <a:lnTo>
                        <a:pt x="1206576" y="78701"/>
                      </a:lnTo>
                      <a:lnTo>
                        <a:pt x="1213358" y="78524"/>
                      </a:lnTo>
                      <a:close/>
                    </a:path>
                    <a:path w="2402840" h="2044700">
                      <a:moveTo>
                        <a:pt x="1222616" y="47853"/>
                      </a:moveTo>
                      <a:lnTo>
                        <a:pt x="1219949" y="45377"/>
                      </a:lnTo>
                      <a:lnTo>
                        <a:pt x="1218018" y="44742"/>
                      </a:lnTo>
                      <a:lnTo>
                        <a:pt x="1216520" y="43624"/>
                      </a:lnTo>
                      <a:lnTo>
                        <a:pt x="1215986" y="43256"/>
                      </a:lnTo>
                      <a:lnTo>
                        <a:pt x="1215250" y="42164"/>
                      </a:lnTo>
                      <a:lnTo>
                        <a:pt x="1214856" y="41935"/>
                      </a:lnTo>
                      <a:lnTo>
                        <a:pt x="1214589" y="41783"/>
                      </a:lnTo>
                      <a:lnTo>
                        <a:pt x="1213942" y="41935"/>
                      </a:lnTo>
                      <a:lnTo>
                        <a:pt x="1213510" y="41592"/>
                      </a:lnTo>
                      <a:lnTo>
                        <a:pt x="1212570" y="40995"/>
                      </a:lnTo>
                      <a:lnTo>
                        <a:pt x="1212735" y="40703"/>
                      </a:lnTo>
                      <a:lnTo>
                        <a:pt x="1210195" y="39433"/>
                      </a:lnTo>
                      <a:lnTo>
                        <a:pt x="1209306" y="39382"/>
                      </a:lnTo>
                      <a:lnTo>
                        <a:pt x="1192580" y="44005"/>
                      </a:lnTo>
                      <a:lnTo>
                        <a:pt x="1191615" y="45631"/>
                      </a:lnTo>
                      <a:lnTo>
                        <a:pt x="1190688" y="45770"/>
                      </a:lnTo>
                      <a:lnTo>
                        <a:pt x="1189609" y="46964"/>
                      </a:lnTo>
                      <a:lnTo>
                        <a:pt x="1189012" y="47599"/>
                      </a:lnTo>
                      <a:lnTo>
                        <a:pt x="1188910" y="48272"/>
                      </a:lnTo>
                      <a:lnTo>
                        <a:pt x="1186370" y="49923"/>
                      </a:lnTo>
                      <a:lnTo>
                        <a:pt x="1183817" y="50088"/>
                      </a:lnTo>
                      <a:lnTo>
                        <a:pt x="1182090" y="50634"/>
                      </a:lnTo>
                      <a:lnTo>
                        <a:pt x="1184008" y="47498"/>
                      </a:lnTo>
                      <a:lnTo>
                        <a:pt x="1187297" y="44742"/>
                      </a:lnTo>
                      <a:lnTo>
                        <a:pt x="1190485" y="41694"/>
                      </a:lnTo>
                      <a:lnTo>
                        <a:pt x="1192149" y="40906"/>
                      </a:lnTo>
                      <a:lnTo>
                        <a:pt x="1195387" y="39370"/>
                      </a:lnTo>
                      <a:lnTo>
                        <a:pt x="1191501" y="38011"/>
                      </a:lnTo>
                      <a:lnTo>
                        <a:pt x="1190726" y="37744"/>
                      </a:lnTo>
                      <a:lnTo>
                        <a:pt x="1190155" y="36855"/>
                      </a:lnTo>
                      <a:lnTo>
                        <a:pt x="1189177" y="35318"/>
                      </a:lnTo>
                      <a:lnTo>
                        <a:pt x="1184135" y="35318"/>
                      </a:lnTo>
                      <a:lnTo>
                        <a:pt x="1181658" y="35026"/>
                      </a:lnTo>
                      <a:lnTo>
                        <a:pt x="1178585" y="35941"/>
                      </a:lnTo>
                      <a:lnTo>
                        <a:pt x="1177505" y="36664"/>
                      </a:lnTo>
                      <a:lnTo>
                        <a:pt x="1174419" y="36855"/>
                      </a:lnTo>
                      <a:lnTo>
                        <a:pt x="1173530" y="36576"/>
                      </a:lnTo>
                      <a:lnTo>
                        <a:pt x="1171409" y="37122"/>
                      </a:lnTo>
                      <a:lnTo>
                        <a:pt x="1170863" y="37642"/>
                      </a:lnTo>
                      <a:lnTo>
                        <a:pt x="1169898" y="37668"/>
                      </a:lnTo>
                      <a:lnTo>
                        <a:pt x="1169250" y="37668"/>
                      </a:lnTo>
                      <a:lnTo>
                        <a:pt x="1168742" y="37185"/>
                      </a:lnTo>
                      <a:lnTo>
                        <a:pt x="1167396" y="37287"/>
                      </a:lnTo>
                      <a:lnTo>
                        <a:pt x="1167053" y="38011"/>
                      </a:lnTo>
                      <a:lnTo>
                        <a:pt x="1166164" y="37960"/>
                      </a:lnTo>
                      <a:lnTo>
                        <a:pt x="1165504" y="37896"/>
                      </a:lnTo>
                      <a:lnTo>
                        <a:pt x="1165491" y="37503"/>
                      </a:lnTo>
                      <a:lnTo>
                        <a:pt x="1165466" y="37211"/>
                      </a:lnTo>
                      <a:lnTo>
                        <a:pt x="1162964" y="37503"/>
                      </a:lnTo>
                      <a:lnTo>
                        <a:pt x="1161465" y="37426"/>
                      </a:lnTo>
                      <a:lnTo>
                        <a:pt x="1158532" y="37414"/>
                      </a:lnTo>
                      <a:lnTo>
                        <a:pt x="1156487" y="36995"/>
                      </a:lnTo>
                      <a:lnTo>
                        <a:pt x="1155407" y="38201"/>
                      </a:lnTo>
                      <a:lnTo>
                        <a:pt x="1154214" y="39598"/>
                      </a:lnTo>
                      <a:lnTo>
                        <a:pt x="1155141" y="40906"/>
                      </a:lnTo>
                      <a:lnTo>
                        <a:pt x="1151547" y="38912"/>
                      </a:lnTo>
                      <a:lnTo>
                        <a:pt x="1150467" y="37198"/>
                      </a:lnTo>
                      <a:lnTo>
                        <a:pt x="1148575" y="37947"/>
                      </a:lnTo>
                      <a:lnTo>
                        <a:pt x="1147584" y="39471"/>
                      </a:lnTo>
                      <a:lnTo>
                        <a:pt x="1146619" y="40233"/>
                      </a:lnTo>
                      <a:lnTo>
                        <a:pt x="1146378" y="40525"/>
                      </a:lnTo>
                      <a:lnTo>
                        <a:pt x="1144346" y="41694"/>
                      </a:lnTo>
                      <a:lnTo>
                        <a:pt x="1142212" y="41186"/>
                      </a:lnTo>
                      <a:lnTo>
                        <a:pt x="1140599" y="42062"/>
                      </a:lnTo>
                      <a:lnTo>
                        <a:pt x="1139405" y="43624"/>
                      </a:lnTo>
                      <a:lnTo>
                        <a:pt x="1139291" y="44005"/>
                      </a:lnTo>
                      <a:lnTo>
                        <a:pt x="1140028" y="45580"/>
                      </a:lnTo>
                      <a:lnTo>
                        <a:pt x="1142098" y="46012"/>
                      </a:lnTo>
                      <a:lnTo>
                        <a:pt x="1142568" y="47599"/>
                      </a:lnTo>
                      <a:lnTo>
                        <a:pt x="1140028" y="47955"/>
                      </a:lnTo>
                      <a:lnTo>
                        <a:pt x="1137983" y="48196"/>
                      </a:lnTo>
                      <a:lnTo>
                        <a:pt x="1133856" y="50342"/>
                      </a:lnTo>
                      <a:lnTo>
                        <a:pt x="1133157" y="51181"/>
                      </a:lnTo>
                      <a:lnTo>
                        <a:pt x="1130388" y="53771"/>
                      </a:lnTo>
                      <a:lnTo>
                        <a:pt x="1128102" y="54356"/>
                      </a:lnTo>
                      <a:lnTo>
                        <a:pt x="1123861" y="56159"/>
                      </a:lnTo>
                      <a:lnTo>
                        <a:pt x="1122362" y="54800"/>
                      </a:lnTo>
                      <a:lnTo>
                        <a:pt x="1119898" y="55079"/>
                      </a:lnTo>
                      <a:lnTo>
                        <a:pt x="1120051" y="55956"/>
                      </a:lnTo>
                      <a:lnTo>
                        <a:pt x="1122476" y="58318"/>
                      </a:lnTo>
                      <a:lnTo>
                        <a:pt x="1124826" y="59131"/>
                      </a:lnTo>
                      <a:lnTo>
                        <a:pt x="1126528" y="57645"/>
                      </a:lnTo>
                      <a:lnTo>
                        <a:pt x="1128699" y="56159"/>
                      </a:lnTo>
                      <a:lnTo>
                        <a:pt x="1129068" y="55905"/>
                      </a:lnTo>
                      <a:lnTo>
                        <a:pt x="1131227" y="53746"/>
                      </a:lnTo>
                      <a:lnTo>
                        <a:pt x="1133856" y="55397"/>
                      </a:lnTo>
                      <a:lnTo>
                        <a:pt x="1133767" y="56946"/>
                      </a:lnTo>
                      <a:lnTo>
                        <a:pt x="1135430" y="57416"/>
                      </a:lnTo>
                      <a:lnTo>
                        <a:pt x="1134351" y="58153"/>
                      </a:lnTo>
                      <a:lnTo>
                        <a:pt x="1132890" y="58039"/>
                      </a:lnTo>
                      <a:lnTo>
                        <a:pt x="1131735" y="58585"/>
                      </a:lnTo>
                      <a:lnTo>
                        <a:pt x="1133081" y="58724"/>
                      </a:lnTo>
                      <a:lnTo>
                        <a:pt x="1134275" y="59359"/>
                      </a:lnTo>
                      <a:lnTo>
                        <a:pt x="1136738" y="59448"/>
                      </a:lnTo>
                      <a:lnTo>
                        <a:pt x="1141234" y="58153"/>
                      </a:lnTo>
                      <a:lnTo>
                        <a:pt x="1141488" y="58077"/>
                      </a:lnTo>
                      <a:lnTo>
                        <a:pt x="1140167" y="60706"/>
                      </a:lnTo>
                      <a:lnTo>
                        <a:pt x="1140371" y="61595"/>
                      </a:lnTo>
                      <a:lnTo>
                        <a:pt x="1140294" y="64350"/>
                      </a:lnTo>
                      <a:lnTo>
                        <a:pt x="1140675" y="65862"/>
                      </a:lnTo>
                      <a:lnTo>
                        <a:pt x="1141755" y="65874"/>
                      </a:lnTo>
                      <a:lnTo>
                        <a:pt x="1143444" y="66535"/>
                      </a:lnTo>
                      <a:lnTo>
                        <a:pt x="1144384" y="66497"/>
                      </a:lnTo>
                      <a:lnTo>
                        <a:pt x="1144727" y="66941"/>
                      </a:lnTo>
                      <a:lnTo>
                        <a:pt x="1145260" y="67716"/>
                      </a:lnTo>
                      <a:lnTo>
                        <a:pt x="1144384" y="68338"/>
                      </a:lnTo>
                      <a:lnTo>
                        <a:pt x="1144727" y="69037"/>
                      </a:lnTo>
                      <a:lnTo>
                        <a:pt x="1145032" y="69570"/>
                      </a:lnTo>
                      <a:lnTo>
                        <a:pt x="1146619" y="70205"/>
                      </a:lnTo>
                      <a:lnTo>
                        <a:pt x="1147965" y="71310"/>
                      </a:lnTo>
                      <a:lnTo>
                        <a:pt x="1150772" y="71805"/>
                      </a:lnTo>
                      <a:lnTo>
                        <a:pt x="1153553" y="72250"/>
                      </a:lnTo>
                      <a:lnTo>
                        <a:pt x="1156601" y="70751"/>
                      </a:lnTo>
                      <a:lnTo>
                        <a:pt x="1159408" y="70954"/>
                      </a:lnTo>
                      <a:lnTo>
                        <a:pt x="1158443" y="75399"/>
                      </a:lnTo>
                      <a:lnTo>
                        <a:pt x="1167168" y="72377"/>
                      </a:lnTo>
                      <a:lnTo>
                        <a:pt x="1169479" y="72593"/>
                      </a:lnTo>
                      <a:lnTo>
                        <a:pt x="1169289" y="72720"/>
                      </a:lnTo>
                      <a:lnTo>
                        <a:pt x="1168971" y="73101"/>
                      </a:lnTo>
                      <a:lnTo>
                        <a:pt x="1168628" y="73279"/>
                      </a:lnTo>
                      <a:lnTo>
                        <a:pt x="1170673" y="73672"/>
                      </a:lnTo>
                      <a:lnTo>
                        <a:pt x="1173416" y="72771"/>
                      </a:lnTo>
                      <a:lnTo>
                        <a:pt x="1176261" y="73812"/>
                      </a:lnTo>
                      <a:lnTo>
                        <a:pt x="1176223" y="74612"/>
                      </a:lnTo>
                      <a:lnTo>
                        <a:pt x="1177112" y="75234"/>
                      </a:lnTo>
                      <a:lnTo>
                        <a:pt x="1178001" y="75361"/>
                      </a:lnTo>
                      <a:lnTo>
                        <a:pt x="1179741" y="76212"/>
                      </a:lnTo>
                      <a:lnTo>
                        <a:pt x="1180973" y="77254"/>
                      </a:lnTo>
                      <a:lnTo>
                        <a:pt x="1183665" y="78155"/>
                      </a:lnTo>
                      <a:lnTo>
                        <a:pt x="1185481" y="77609"/>
                      </a:lnTo>
                      <a:lnTo>
                        <a:pt x="1187107" y="78155"/>
                      </a:lnTo>
                      <a:lnTo>
                        <a:pt x="1186624" y="78359"/>
                      </a:lnTo>
                      <a:lnTo>
                        <a:pt x="1213815" y="78359"/>
                      </a:lnTo>
                      <a:lnTo>
                        <a:pt x="1214831" y="77990"/>
                      </a:lnTo>
                      <a:lnTo>
                        <a:pt x="1215440" y="77609"/>
                      </a:lnTo>
                      <a:lnTo>
                        <a:pt x="1216901" y="76695"/>
                      </a:lnTo>
                      <a:lnTo>
                        <a:pt x="1217955" y="76073"/>
                      </a:lnTo>
                      <a:lnTo>
                        <a:pt x="1219606" y="75666"/>
                      </a:lnTo>
                      <a:lnTo>
                        <a:pt x="1222070" y="73329"/>
                      </a:lnTo>
                      <a:lnTo>
                        <a:pt x="1221435" y="72771"/>
                      </a:lnTo>
                      <a:lnTo>
                        <a:pt x="1220990" y="72377"/>
                      </a:lnTo>
                      <a:lnTo>
                        <a:pt x="1219136" y="70751"/>
                      </a:lnTo>
                      <a:lnTo>
                        <a:pt x="1218565" y="70256"/>
                      </a:lnTo>
                      <a:lnTo>
                        <a:pt x="1214780" y="68808"/>
                      </a:lnTo>
                      <a:lnTo>
                        <a:pt x="1211237" y="66941"/>
                      </a:lnTo>
                      <a:lnTo>
                        <a:pt x="1210856" y="66497"/>
                      </a:lnTo>
                      <a:lnTo>
                        <a:pt x="1209306" y="64706"/>
                      </a:lnTo>
                      <a:lnTo>
                        <a:pt x="1208620" y="63868"/>
                      </a:lnTo>
                      <a:lnTo>
                        <a:pt x="1208151" y="63690"/>
                      </a:lnTo>
                      <a:lnTo>
                        <a:pt x="1210970" y="63627"/>
                      </a:lnTo>
                      <a:lnTo>
                        <a:pt x="1212240" y="64350"/>
                      </a:lnTo>
                      <a:lnTo>
                        <a:pt x="1213739" y="65252"/>
                      </a:lnTo>
                      <a:lnTo>
                        <a:pt x="1214628" y="64795"/>
                      </a:lnTo>
                      <a:lnTo>
                        <a:pt x="1216317" y="63627"/>
                      </a:lnTo>
                      <a:lnTo>
                        <a:pt x="1217409" y="62839"/>
                      </a:lnTo>
                      <a:lnTo>
                        <a:pt x="1217917" y="61887"/>
                      </a:lnTo>
                      <a:lnTo>
                        <a:pt x="1217523" y="59067"/>
                      </a:lnTo>
                      <a:lnTo>
                        <a:pt x="1217282" y="58724"/>
                      </a:lnTo>
                      <a:lnTo>
                        <a:pt x="1217358" y="58077"/>
                      </a:lnTo>
                      <a:lnTo>
                        <a:pt x="1217561" y="57124"/>
                      </a:lnTo>
                      <a:lnTo>
                        <a:pt x="1218336" y="56997"/>
                      </a:lnTo>
                      <a:lnTo>
                        <a:pt x="1218603" y="55245"/>
                      </a:lnTo>
                      <a:lnTo>
                        <a:pt x="1217980" y="54571"/>
                      </a:lnTo>
                      <a:lnTo>
                        <a:pt x="1218222" y="53746"/>
                      </a:lnTo>
                      <a:lnTo>
                        <a:pt x="1218641" y="52425"/>
                      </a:lnTo>
                      <a:lnTo>
                        <a:pt x="1218374" y="52260"/>
                      </a:lnTo>
                      <a:lnTo>
                        <a:pt x="1219225" y="51625"/>
                      </a:lnTo>
                      <a:lnTo>
                        <a:pt x="1220063" y="50965"/>
                      </a:lnTo>
                      <a:lnTo>
                        <a:pt x="1219796" y="50634"/>
                      </a:lnTo>
                      <a:lnTo>
                        <a:pt x="1219415" y="50190"/>
                      </a:lnTo>
                      <a:lnTo>
                        <a:pt x="1220343" y="49110"/>
                      </a:lnTo>
                      <a:lnTo>
                        <a:pt x="1221143" y="49263"/>
                      </a:lnTo>
                      <a:lnTo>
                        <a:pt x="1221308" y="49110"/>
                      </a:lnTo>
                      <a:lnTo>
                        <a:pt x="1222616" y="47853"/>
                      </a:lnTo>
                      <a:close/>
                    </a:path>
                    <a:path w="2402840" h="2044700">
                      <a:moveTo>
                        <a:pt x="1222806" y="48006"/>
                      </a:moveTo>
                      <a:lnTo>
                        <a:pt x="1222641" y="47853"/>
                      </a:lnTo>
                      <a:lnTo>
                        <a:pt x="1222806" y="48006"/>
                      </a:lnTo>
                      <a:close/>
                    </a:path>
                    <a:path w="2402840" h="2044700">
                      <a:moveTo>
                        <a:pt x="1301165" y="88315"/>
                      </a:moveTo>
                      <a:lnTo>
                        <a:pt x="1300886" y="84861"/>
                      </a:lnTo>
                      <a:lnTo>
                        <a:pt x="1299616" y="83654"/>
                      </a:lnTo>
                      <a:lnTo>
                        <a:pt x="1298727" y="81648"/>
                      </a:lnTo>
                      <a:lnTo>
                        <a:pt x="1298727" y="81153"/>
                      </a:lnTo>
                      <a:lnTo>
                        <a:pt x="1298727" y="81000"/>
                      </a:lnTo>
                      <a:lnTo>
                        <a:pt x="1298232" y="79971"/>
                      </a:lnTo>
                      <a:lnTo>
                        <a:pt x="1297851" y="79209"/>
                      </a:lnTo>
                      <a:lnTo>
                        <a:pt x="1297495" y="78511"/>
                      </a:lnTo>
                      <a:lnTo>
                        <a:pt x="1296149" y="75819"/>
                      </a:lnTo>
                      <a:lnTo>
                        <a:pt x="1289558" y="78511"/>
                      </a:lnTo>
                      <a:lnTo>
                        <a:pt x="1285887" y="77635"/>
                      </a:lnTo>
                      <a:lnTo>
                        <a:pt x="1287132" y="77025"/>
                      </a:lnTo>
                      <a:lnTo>
                        <a:pt x="1288364" y="77025"/>
                      </a:lnTo>
                      <a:lnTo>
                        <a:pt x="1287551" y="75234"/>
                      </a:lnTo>
                      <a:lnTo>
                        <a:pt x="1287056" y="74091"/>
                      </a:lnTo>
                      <a:lnTo>
                        <a:pt x="1286281" y="73672"/>
                      </a:lnTo>
                      <a:lnTo>
                        <a:pt x="1285481" y="73418"/>
                      </a:lnTo>
                      <a:lnTo>
                        <a:pt x="1284084" y="72974"/>
                      </a:lnTo>
                      <a:lnTo>
                        <a:pt x="1282192" y="73418"/>
                      </a:lnTo>
                      <a:lnTo>
                        <a:pt x="1281798" y="73202"/>
                      </a:lnTo>
                      <a:lnTo>
                        <a:pt x="1281925" y="73266"/>
                      </a:lnTo>
                      <a:lnTo>
                        <a:pt x="1281658" y="72948"/>
                      </a:lnTo>
                      <a:lnTo>
                        <a:pt x="1280401" y="71386"/>
                      </a:lnTo>
                      <a:lnTo>
                        <a:pt x="1280058" y="70954"/>
                      </a:lnTo>
                      <a:lnTo>
                        <a:pt x="1279994" y="70726"/>
                      </a:lnTo>
                      <a:lnTo>
                        <a:pt x="1281074" y="69303"/>
                      </a:lnTo>
                      <a:lnTo>
                        <a:pt x="1278686" y="68491"/>
                      </a:lnTo>
                      <a:lnTo>
                        <a:pt x="1277023" y="68021"/>
                      </a:lnTo>
                      <a:lnTo>
                        <a:pt x="1270825" y="67525"/>
                      </a:lnTo>
                      <a:lnTo>
                        <a:pt x="1265186" y="69621"/>
                      </a:lnTo>
                      <a:lnTo>
                        <a:pt x="1260182" y="70726"/>
                      </a:lnTo>
                      <a:lnTo>
                        <a:pt x="1260563" y="70192"/>
                      </a:lnTo>
                      <a:lnTo>
                        <a:pt x="1261071" y="69875"/>
                      </a:lnTo>
                      <a:lnTo>
                        <a:pt x="1261656" y="69303"/>
                      </a:lnTo>
                      <a:lnTo>
                        <a:pt x="1262380" y="68554"/>
                      </a:lnTo>
                      <a:lnTo>
                        <a:pt x="1261173" y="68427"/>
                      </a:lnTo>
                      <a:lnTo>
                        <a:pt x="1261516" y="67398"/>
                      </a:lnTo>
                      <a:lnTo>
                        <a:pt x="1261605" y="67170"/>
                      </a:lnTo>
                      <a:lnTo>
                        <a:pt x="1262494" y="66802"/>
                      </a:lnTo>
                      <a:lnTo>
                        <a:pt x="1263027" y="66052"/>
                      </a:lnTo>
                      <a:lnTo>
                        <a:pt x="1262875" y="65430"/>
                      </a:lnTo>
                      <a:lnTo>
                        <a:pt x="1263840" y="64389"/>
                      </a:lnTo>
                      <a:lnTo>
                        <a:pt x="1269542" y="62636"/>
                      </a:lnTo>
                      <a:lnTo>
                        <a:pt x="1264234" y="62420"/>
                      </a:lnTo>
                      <a:lnTo>
                        <a:pt x="1263992" y="60985"/>
                      </a:lnTo>
                      <a:lnTo>
                        <a:pt x="1260602" y="60413"/>
                      </a:lnTo>
                      <a:lnTo>
                        <a:pt x="1257592" y="59055"/>
                      </a:lnTo>
                      <a:lnTo>
                        <a:pt x="1252855" y="60642"/>
                      </a:lnTo>
                      <a:lnTo>
                        <a:pt x="1255395" y="67398"/>
                      </a:lnTo>
                      <a:lnTo>
                        <a:pt x="1249883" y="64681"/>
                      </a:lnTo>
                      <a:lnTo>
                        <a:pt x="1249184" y="64312"/>
                      </a:lnTo>
                      <a:lnTo>
                        <a:pt x="1248765" y="61315"/>
                      </a:lnTo>
                      <a:lnTo>
                        <a:pt x="1244447" y="61455"/>
                      </a:lnTo>
                      <a:lnTo>
                        <a:pt x="1242326" y="62826"/>
                      </a:lnTo>
                      <a:lnTo>
                        <a:pt x="1238618" y="67335"/>
                      </a:lnTo>
                      <a:lnTo>
                        <a:pt x="1237335" y="70192"/>
                      </a:lnTo>
                      <a:lnTo>
                        <a:pt x="1237208" y="70726"/>
                      </a:lnTo>
                      <a:lnTo>
                        <a:pt x="1240637" y="72517"/>
                      </a:lnTo>
                      <a:lnTo>
                        <a:pt x="1243114" y="73202"/>
                      </a:lnTo>
                      <a:lnTo>
                        <a:pt x="1239126" y="72136"/>
                      </a:lnTo>
                      <a:lnTo>
                        <a:pt x="1236243" y="71488"/>
                      </a:lnTo>
                      <a:lnTo>
                        <a:pt x="1235075" y="74815"/>
                      </a:lnTo>
                      <a:lnTo>
                        <a:pt x="1234414" y="76276"/>
                      </a:lnTo>
                      <a:lnTo>
                        <a:pt x="1233995" y="79324"/>
                      </a:lnTo>
                      <a:lnTo>
                        <a:pt x="1236154" y="80187"/>
                      </a:lnTo>
                      <a:lnTo>
                        <a:pt x="1237195" y="79971"/>
                      </a:lnTo>
                      <a:lnTo>
                        <a:pt x="1238084" y="80530"/>
                      </a:lnTo>
                      <a:lnTo>
                        <a:pt x="1235265" y="81153"/>
                      </a:lnTo>
                      <a:lnTo>
                        <a:pt x="1231493" y="78740"/>
                      </a:lnTo>
                      <a:lnTo>
                        <a:pt x="1225397" y="82118"/>
                      </a:lnTo>
                      <a:lnTo>
                        <a:pt x="1223543" y="87718"/>
                      </a:lnTo>
                      <a:lnTo>
                        <a:pt x="1221613" y="91211"/>
                      </a:lnTo>
                      <a:lnTo>
                        <a:pt x="1221041" y="94373"/>
                      </a:lnTo>
                      <a:lnTo>
                        <a:pt x="1220343" y="95872"/>
                      </a:lnTo>
                      <a:lnTo>
                        <a:pt x="1216215" y="98513"/>
                      </a:lnTo>
                      <a:lnTo>
                        <a:pt x="1213446" y="101041"/>
                      </a:lnTo>
                      <a:lnTo>
                        <a:pt x="1213523" y="104127"/>
                      </a:lnTo>
                      <a:lnTo>
                        <a:pt x="1213637" y="106984"/>
                      </a:lnTo>
                      <a:lnTo>
                        <a:pt x="1220851" y="106057"/>
                      </a:lnTo>
                      <a:lnTo>
                        <a:pt x="1225740" y="104127"/>
                      </a:lnTo>
                      <a:lnTo>
                        <a:pt x="1230490" y="102171"/>
                      </a:lnTo>
                      <a:lnTo>
                        <a:pt x="1232916" y="101206"/>
                      </a:lnTo>
                      <a:lnTo>
                        <a:pt x="1235151" y="100711"/>
                      </a:lnTo>
                      <a:lnTo>
                        <a:pt x="1240243" y="97624"/>
                      </a:lnTo>
                      <a:lnTo>
                        <a:pt x="1244485" y="98475"/>
                      </a:lnTo>
                      <a:lnTo>
                        <a:pt x="1248575" y="98069"/>
                      </a:lnTo>
                      <a:lnTo>
                        <a:pt x="1250848" y="98615"/>
                      </a:lnTo>
                      <a:lnTo>
                        <a:pt x="1251953" y="98069"/>
                      </a:lnTo>
                      <a:lnTo>
                        <a:pt x="1252702" y="97701"/>
                      </a:lnTo>
                      <a:lnTo>
                        <a:pt x="1254429" y="97967"/>
                      </a:lnTo>
                      <a:lnTo>
                        <a:pt x="1257592" y="97777"/>
                      </a:lnTo>
                      <a:lnTo>
                        <a:pt x="1257744" y="97701"/>
                      </a:lnTo>
                      <a:lnTo>
                        <a:pt x="1257896" y="97624"/>
                      </a:lnTo>
                      <a:lnTo>
                        <a:pt x="1259941" y="96621"/>
                      </a:lnTo>
                      <a:lnTo>
                        <a:pt x="1260525" y="98780"/>
                      </a:lnTo>
                      <a:lnTo>
                        <a:pt x="1260906" y="100279"/>
                      </a:lnTo>
                      <a:lnTo>
                        <a:pt x="1263688" y="97459"/>
                      </a:lnTo>
                      <a:lnTo>
                        <a:pt x="1264564" y="96621"/>
                      </a:lnTo>
                      <a:lnTo>
                        <a:pt x="1265148" y="96075"/>
                      </a:lnTo>
                      <a:lnTo>
                        <a:pt x="1267155" y="96850"/>
                      </a:lnTo>
                      <a:lnTo>
                        <a:pt x="1270165" y="96685"/>
                      </a:lnTo>
                      <a:lnTo>
                        <a:pt x="1274572" y="96075"/>
                      </a:lnTo>
                      <a:lnTo>
                        <a:pt x="1275410" y="95961"/>
                      </a:lnTo>
                      <a:lnTo>
                        <a:pt x="1277175" y="96380"/>
                      </a:lnTo>
                      <a:lnTo>
                        <a:pt x="1278610" y="95961"/>
                      </a:lnTo>
                      <a:lnTo>
                        <a:pt x="1280312" y="95465"/>
                      </a:lnTo>
                      <a:lnTo>
                        <a:pt x="1281455" y="94767"/>
                      </a:lnTo>
                      <a:lnTo>
                        <a:pt x="1284427" y="93967"/>
                      </a:lnTo>
                      <a:lnTo>
                        <a:pt x="1286014" y="93853"/>
                      </a:lnTo>
                      <a:lnTo>
                        <a:pt x="1289367" y="93383"/>
                      </a:lnTo>
                      <a:lnTo>
                        <a:pt x="1290675" y="94081"/>
                      </a:lnTo>
                      <a:lnTo>
                        <a:pt x="1293749" y="93383"/>
                      </a:lnTo>
                      <a:lnTo>
                        <a:pt x="1294307" y="93256"/>
                      </a:lnTo>
                      <a:lnTo>
                        <a:pt x="1296454" y="90449"/>
                      </a:lnTo>
                      <a:lnTo>
                        <a:pt x="1299933" y="88633"/>
                      </a:lnTo>
                      <a:lnTo>
                        <a:pt x="1301165" y="88315"/>
                      </a:lnTo>
                      <a:close/>
                    </a:path>
                    <a:path w="2402840" h="2044700">
                      <a:moveTo>
                        <a:pt x="1409280" y="1910816"/>
                      </a:moveTo>
                      <a:lnTo>
                        <a:pt x="1409242" y="1909762"/>
                      </a:lnTo>
                      <a:lnTo>
                        <a:pt x="1408785" y="1912112"/>
                      </a:lnTo>
                      <a:lnTo>
                        <a:pt x="1408582" y="1913280"/>
                      </a:lnTo>
                      <a:lnTo>
                        <a:pt x="1408899" y="1912213"/>
                      </a:lnTo>
                      <a:lnTo>
                        <a:pt x="1409280" y="1910816"/>
                      </a:lnTo>
                      <a:close/>
                    </a:path>
                    <a:path w="2402840" h="2044700">
                      <a:moveTo>
                        <a:pt x="1410855" y="1924202"/>
                      </a:moveTo>
                      <a:lnTo>
                        <a:pt x="1409966" y="1924672"/>
                      </a:lnTo>
                      <a:lnTo>
                        <a:pt x="1409319" y="1923389"/>
                      </a:lnTo>
                      <a:lnTo>
                        <a:pt x="1409166" y="1923161"/>
                      </a:lnTo>
                      <a:lnTo>
                        <a:pt x="1409357" y="1922729"/>
                      </a:lnTo>
                      <a:lnTo>
                        <a:pt x="1409204" y="1922399"/>
                      </a:lnTo>
                      <a:lnTo>
                        <a:pt x="1409052" y="1921992"/>
                      </a:lnTo>
                      <a:lnTo>
                        <a:pt x="1409052" y="1921573"/>
                      </a:lnTo>
                      <a:lnTo>
                        <a:pt x="1408353" y="1920024"/>
                      </a:lnTo>
                      <a:lnTo>
                        <a:pt x="1407083" y="1917712"/>
                      </a:lnTo>
                      <a:lnTo>
                        <a:pt x="1407731" y="1916607"/>
                      </a:lnTo>
                      <a:lnTo>
                        <a:pt x="1407579" y="1916569"/>
                      </a:lnTo>
                      <a:lnTo>
                        <a:pt x="1407121" y="1916518"/>
                      </a:lnTo>
                      <a:lnTo>
                        <a:pt x="1406537" y="1920709"/>
                      </a:lnTo>
                      <a:lnTo>
                        <a:pt x="1408430" y="1923135"/>
                      </a:lnTo>
                      <a:lnTo>
                        <a:pt x="1410627" y="1926513"/>
                      </a:lnTo>
                      <a:lnTo>
                        <a:pt x="1410855" y="1924202"/>
                      </a:lnTo>
                      <a:close/>
                    </a:path>
                    <a:path w="2402840" h="2044700">
                      <a:moveTo>
                        <a:pt x="1414754" y="209372"/>
                      </a:moveTo>
                      <a:lnTo>
                        <a:pt x="1411198" y="208254"/>
                      </a:lnTo>
                      <a:lnTo>
                        <a:pt x="1406918" y="207645"/>
                      </a:lnTo>
                      <a:lnTo>
                        <a:pt x="1404302" y="207886"/>
                      </a:lnTo>
                      <a:lnTo>
                        <a:pt x="1399679" y="207213"/>
                      </a:lnTo>
                      <a:lnTo>
                        <a:pt x="1394383" y="205346"/>
                      </a:lnTo>
                      <a:lnTo>
                        <a:pt x="1392262" y="208534"/>
                      </a:lnTo>
                      <a:lnTo>
                        <a:pt x="1393659" y="209816"/>
                      </a:lnTo>
                      <a:lnTo>
                        <a:pt x="1391348" y="212966"/>
                      </a:lnTo>
                      <a:lnTo>
                        <a:pt x="1387487" y="212217"/>
                      </a:lnTo>
                      <a:lnTo>
                        <a:pt x="1385366" y="213156"/>
                      </a:lnTo>
                      <a:lnTo>
                        <a:pt x="1386598" y="214896"/>
                      </a:lnTo>
                      <a:lnTo>
                        <a:pt x="1388414" y="215049"/>
                      </a:lnTo>
                      <a:lnTo>
                        <a:pt x="1392262" y="215811"/>
                      </a:lnTo>
                      <a:lnTo>
                        <a:pt x="1392923" y="216458"/>
                      </a:lnTo>
                      <a:lnTo>
                        <a:pt x="1396047" y="218351"/>
                      </a:lnTo>
                      <a:lnTo>
                        <a:pt x="1397584" y="217970"/>
                      </a:lnTo>
                      <a:lnTo>
                        <a:pt x="1402918" y="219240"/>
                      </a:lnTo>
                      <a:lnTo>
                        <a:pt x="1404874" y="219240"/>
                      </a:lnTo>
                      <a:lnTo>
                        <a:pt x="1407617" y="216649"/>
                      </a:lnTo>
                      <a:lnTo>
                        <a:pt x="1410627" y="214210"/>
                      </a:lnTo>
                      <a:lnTo>
                        <a:pt x="1414754" y="209372"/>
                      </a:lnTo>
                      <a:close/>
                    </a:path>
                    <a:path w="2402840" h="2044700">
                      <a:moveTo>
                        <a:pt x="1414957" y="1208925"/>
                      </a:moveTo>
                      <a:lnTo>
                        <a:pt x="1414818" y="1208430"/>
                      </a:lnTo>
                      <a:lnTo>
                        <a:pt x="1414627" y="1208874"/>
                      </a:lnTo>
                      <a:lnTo>
                        <a:pt x="1414348" y="1209268"/>
                      </a:lnTo>
                      <a:lnTo>
                        <a:pt x="1414018" y="1209611"/>
                      </a:lnTo>
                      <a:lnTo>
                        <a:pt x="1414576" y="1209306"/>
                      </a:lnTo>
                      <a:lnTo>
                        <a:pt x="1414957" y="1208925"/>
                      </a:lnTo>
                      <a:close/>
                    </a:path>
                    <a:path w="2402840" h="2044700">
                      <a:moveTo>
                        <a:pt x="1421892" y="1216799"/>
                      </a:moveTo>
                      <a:lnTo>
                        <a:pt x="1421511" y="1217269"/>
                      </a:lnTo>
                      <a:lnTo>
                        <a:pt x="1421142" y="1217752"/>
                      </a:lnTo>
                      <a:lnTo>
                        <a:pt x="1420888" y="1218311"/>
                      </a:lnTo>
                      <a:lnTo>
                        <a:pt x="1421041" y="1218260"/>
                      </a:lnTo>
                      <a:lnTo>
                        <a:pt x="1421384" y="1218260"/>
                      </a:lnTo>
                      <a:lnTo>
                        <a:pt x="1421460" y="1217726"/>
                      </a:lnTo>
                      <a:lnTo>
                        <a:pt x="1421625" y="1217244"/>
                      </a:lnTo>
                      <a:lnTo>
                        <a:pt x="1421892" y="1216799"/>
                      </a:lnTo>
                      <a:close/>
                    </a:path>
                    <a:path w="2402840" h="2044700">
                      <a:moveTo>
                        <a:pt x="1588566" y="1660398"/>
                      </a:moveTo>
                      <a:lnTo>
                        <a:pt x="1587881" y="1661134"/>
                      </a:lnTo>
                      <a:lnTo>
                        <a:pt x="1586331" y="1661820"/>
                      </a:lnTo>
                      <a:lnTo>
                        <a:pt x="1586915" y="1662747"/>
                      </a:lnTo>
                      <a:lnTo>
                        <a:pt x="1587563" y="1662061"/>
                      </a:lnTo>
                      <a:lnTo>
                        <a:pt x="1588033" y="1661198"/>
                      </a:lnTo>
                      <a:lnTo>
                        <a:pt x="1588566" y="1660398"/>
                      </a:lnTo>
                      <a:close/>
                    </a:path>
                    <a:path w="2402840" h="2044700">
                      <a:moveTo>
                        <a:pt x="1739722" y="175768"/>
                      </a:moveTo>
                      <a:lnTo>
                        <a:pt x="1735442" y="173901"/>
                      </a:lnTo>
                      <a:lnTo>
                        <a:pt x="1733892" y="171348"/>
                      </a:lnTo>
                      <a:lnTo>
                        <a:pt x="1733892" y="169583"/>
                      </a:lnTo>
                      <a:lnTo>
                        <a:pt x="1732356" y="168605"/>
                      </a:lnTo>
                      <a:lnTo>
                        <a:pt x="1732280" y="170878"/>
                      </a:lnTo>
                      <a:lnTo>
                        <a:pt x="1730349" y="172656"/>
                      </a:lnTo>
                      <a:lnTo>
                        <a:pt x="1730425" y="174917"/>
                      </a:lnTo>
                      <a:lnTo>
                        <a:pt x="1730502" y="176314"/>
                      </a:lnTo>
                      <a:lnTo>
                        <a:pt x="1731124" y="176555"/>
                      </a:lnTo>
                      <a:lnTo>
                        <a:pt x="1730159" y="179679"/>
                      </a:lnTo>
                      <a:lnTo>
                        <a:pt x="1729422" y="181025"/>
                      </a:lnTo>
                      <a:lnTo>
                        <a:pt x="1729003" y="182791"/>
                      </a:lnTo>
                      <a:lnTo>
                        <a:pt x="1731860" y="182486"/>
                      </a:lnTo>
                      <a:lnTo>
                        <a:pt x="1735861" y="182905"/>
                      </a:lnTo>
                      <a:lnTo>
                        <a:pt x="1738757" y="178346"/>
                      </a:lnTo>
                      <a:lnTo>
                        <a:pt x="1739722" y="175768"/>
                      </a:lnTo>
                      <a:close/>
                    </a:path>
                    <a:path w="2402840" h="2044700">
                      <a:moveTo>
                        <a:pt x="1741919" y="222580"/>
                      </a:moveTo>
                      <a:lnTo>
                        <a:pt x="1739760" y="221361"/>
                      </a:lnTo>
                      <a:lnTo>
                        <a:pt x="1735366" y="217843"/>
                      </a:lnTo>
                      <a:lnTo>
                        <a:pt x="1731848" y="215874"/>
                      </a:lnTo>
                      <a:lnTo>
                        <a:pt x="1728584" y="214909"/>
                      </a:lnTo>
                      <a:lnTo>
                        <a:pt x="1729854" y="216217"/>
                      </a:lnTo>
                      <a:lnTo>
                        <a:pt x="1737525" y="226021"/>
                      </a:lnTo>
                      <a:lnTo>
                        <a:pt x="1739455" y="224510"/>
                      </a:lnTo>
                      <a:lnTo>
                        <a:pt x="1741919" y="222580"/>
                      </a:lnTo>
                      <a:close/>
                    </a:path>
                    <a:path w="2402840" h="2044700">
                      <a:moveTo>
                        <a:pt x="1753908" y="662317"/>
                      </a:moveTo>
                      <a:lnTo>
                        <a:pt x="1753222" y="663155"/>
                      </a:lnTo>
                      <a:lnTo>
                        <a:pt x="1753006" y="663117"/>
                      </a:lnTo>
                      <a:lnTo>
                        <a:pt x="1751711" y="663181"/>
                      </a:lnTo>
                      <a:lnTo>
                        <a:pt x="1749552" y="664019"/>
                      </a:lnTo>
                      <a:lnTo>
                        <a:pt x="1747735" y="664997"/>
                      </a:lnTo>
                      <a:lnTo>
                        <a:pt x="1747507" y="667550"/>
                      </a:lnTo>
                      <a:lnTo>
                        <a:pt x="1750745" y="666940"/>
                      </a:lnTo>
                      <a:lnTo>
                        <a:pt x="1752600" y="666991"/>
                      </a:lnTo>
                      <a:lnTo>
                        <a:pt x="1753666" y="663155"/>
                      </a:lnTo>
                      <a:lnTo>
                        <a:pt x="1753908" y="662317"/>
                      </a:lnTo>
                      <a:close/>
                    </a:path>
                    <a:path w="2402840" h="2044700">
                      <a:moveTo>
                        <a:pt x="1768068" y="664171"/>
                      </a:moveTo>
                      <a:lnTo>
                        <a:pt x="1767725" y="664083"/>
                      </a:lnTo>
                      <a:lnTo>
                        <a:pt x="1766481" y="664235"/>
                      </a:lnTo>
                      <a:lnTo>
                        <a:pt x="1766290" y="664108"/>
                      </a:lnTo>
                      <a:lnTo>
                        <a:pt x="1765909" y="663867"/>
                      </a:lnTo>
                      <a:lnTo>
                        <a:pt x="1765706" y="664641"/>
                      </a:lnTo>
                      <a:lnTo>
                        <a:pt x="1765363" y="663600"/>
                      </a:lnTo>
                      <a:lnTo>
                        <a:pt x="1765173" y="662749"/>
                      </a:lnTo>
                      <a:lnTo>
                        <a:pt x="1764131" y="662139"/>
                      </a:lnTo>
                      <a:lnTo>
                        <a:pt x="1762671" y="662597"/>
                      </a:lnTo>
                      <a:lnTo>
                        <a:pt x="1759775" y="661720"/>
                      </a:lnTo>
                      <a:lnTo>
                        <a:pt x="1759305" y="661174"/>
                      </a:lnTo>
                      <a:lnTo>
                        <a:pt x="1758391" y="662851"/>
                      </a:lnTo>
                      <a:lnTo>
                        <a:pt x="1758149" y="663244"/>
                      </a:lnTo>
                      <a:lnTo>
                        <a:pt x="1758391" y="663790"/>
                      </a:lnTo>
                      <a:lnTo>
                        <a:pt x="1758035" y="664235"/>
                      </a:lnTo>
                      <a:lnTo>
                        <a:pt x="1757692" y="664730"/>
                      </a:lnTo>
                      <a:lnTo>
                        <a:pt x="1757222" y="664781"/>
                      </a:lnTo>
                      <a:lnTo>
                        <a:pt x="1756879" y="665111"/>
                      </a:lnTo>
                      <a:lnTo>
                        <a:pt x="1756105" y="665949"/>
                      </a:lnTo>
                      <a:lnTo>
                        <a:pt x="1754797" y="667308"/>
                      </a:lnTo>
                      <a:lnTo>
                        <a:pt x="1754720" y="668566"/>
                      </a:lnTo>
                      <a:lnTo>
                        <a:pt x="1754530" y="671017"/>
                      </a:lnTo>
                      <a:lnTo>
                        <a:pt x="1755876" y="668375"/>
                      </a:lnTo>
                      <a:lnTo>
                        <a:pt x="1758962" y="667613"/>
                      </a:lnTo>
                      <a:lnTo>
                        <a:pt x="1760042" y="671296"/>
                      </a:lnTo>
                      <a:lnTo>
                        <a:pt x="1761350" y="672782"/>
                      </a:lnTo>
                      <a:lnTo>
                        <a:pt x="1763636" y="669975"/>
                      </a:lnTo>
                      <a:lnTo>
                        <a:pt x="1766252" y="667283"/>
                      </a:lnTo>
                      <a:lnTo>
                        <a:pt x="1768068" y="664171"/>
                      </a:lnTo>
                      <a:close/>
                    </a:path>
                    <a:path w="2402840" h="2044700">
                      <a:moveTo>
                        <a:pt x="1811134" y="220306"/>
                      </a:moveTo>
                      <a:lnTo>
                        <a:pt x="1810004" y="215112"/>
                      </a:lnTo>
                      <a:lnTo>
                        <a:pt x="1804695" y="213741"/>
                      </a:lnTo>
                      <a:lnTo>
                        <a:pt x="1801876" y="213741"/>
                      </a:lnTo>
                      <a:lnTo>
                        <a:pt x="1796935" y="214985"/>
                      </a:lnTo>
                      <a:lnTo>
                        <a:pt x="1795818" y="216154"/>
                      </a:lnTo>
                      <a:lnTo>
                        <a:pt x="1795360" y="218706"/>
                      </a:lnTo>
                      <a:lnTo>
                        <a:pt x="1794814" y="221449"/>
                      </a:lnTo>
                      <a:lnTo>
                        <a:pt x="1798828" y="223266"/>
                      </a:lnTo>
                      <a:lnTo>
                        <a:pt x="1800606" y="224599"/>
                      </a:lnTo>
                      <a:lnTo>
                        <a:pt x="1802104" y="224332"/>
                      </a:lnTo>
                      <a:lnTo>
                        <a:pt x="1803641" y="223507"/>
                      </a:lnTo>
                      <a:lnTo>
                        <a:pt x="1805152" y="223100"/>
                      </a:lnTo>
                      <a:lnTo>
                        <a:pt x="1806079" y="222859"/>
                      </a:lnTo>
                      <a:lnTo>
                        <a:pt x="1807845" y="222707"/>
                      </a:lnTo>
                      <a:lnTo>
                        <a:pt x="1811134" y="220306"/>
                      </a:lnTo>
                      <a:close/>
                    </a:path>
                    <a:path w="2402840" h="2044700">
                      <a:moveTo>
                        <a:pt x="1840509" y="698144"/>
                      </a:moveTo>
                      <a:lnTo>
                        <a:pt x="1840318" y="698004"/>
                      </a:lnTo>
                      <a:lnTo>
                        <a:pt x="1840407" y="698207"/>
                      </a:lnTo>
                      <a:close/>
                    </a:path>
                    <a:path w="2402840" h="2044700">
                      <a:moveTo>
                        <a:pt x="1841982" y="706704"/>
                      </a:moveTo>
                      <a:lnTo>
                        <a:pt x="1841677" y="702729"/>
                      </a:lnTo>
                      <a:lnTo>
                        <a:pt x="1840585" y="698614"/>
                      </a:lnTo>
                      <a:lnTo>
                        <a:pt x="1840407" y="698207"/>
                      </a:lnTo>
                      <a:lnTo>
                        <a:pt x="1839087" y="699135"/>
                      </a:lnTo>
                      <a:lnTo>
                        <a:pt x="1839544" y="700709"/>
                      </a:lnTo>
                      <a:lnTo>
                        <a:pt x="1840712" y="701255"/>
                      </a:lnTo>
                      <a:lnTo>
                        <a:pt x="1841550" y="703656"/>
                      </a:lnTo>
                      <a:lnTo>
                        <a:pt x="1841360" y="705231"/>
                      </a:lnTo>
                      <a:lnTo>
                        <a:pt x="1841982" y="706704"/>
                      </a:lnTo>
                      <a:close/>
                    </a:path>
                    <a:path w="2402840" h="2044700">
                      <a:moveTo>
                        <a:pt x="1843493" y="774611"/>
                      </a:moveTo>
                      <a:lnTo>
                        <a:pt x="1843316" y="774585"/>
                      </a:lnTo>
                      <a:lnTo>
                        <a:pt x="1843493" y="774611"/>
                      </a:lnTo>
                      <a:close/>
                    </a:path>
                    <a:path w="2402840" h="2044700">
                      <a:moveTo>
                        <a:pt x="1846453" y="774319"/>
                      </a:moveTo>
                      <a:lnTo>
                        <a:pt x="1845106" y="774103"/>
                      </a:lnTo>
                      <a:lnTo>
                        <a:pt x="1843493" y="774611"/>
                      </a:lnTo>
                      <a:lnTo>
                        <a:pt x="1844446" y="774738"/>
                      </a:lnTo>
                      <a:lnTo>
                        <a:pt x="1846453" y="774319"/>
                      </a:lnTo>
                      <a:close/>
                    </a:path>
                    <a:path w="2402840" h="2044700">
                      <a:moveTo>
                        <a:pt x="1861604" y="782142"/>
                      </a:moveTo>
                      <a:lnTo>
                        <a:pt x="1859876" y="781646"/>
                      </a:lnTo>
                      <a:lnTo>
                        <a:pt x="1858441" y="780516"/>
                      </a:lnTo>
                      <a:lnTo>
                        <a:pt x="1857209" y="779500"/>
                      </a:lnTo>
                      <a:lnTo>
                        <a:pt x="1856816" y="778471"/>
                      </a:lnTo>
                      <a:lnTo>
                        <a:pt x="1856168" y="777011"/>
                      </a:lnTo>
                      <a:lnTo>
                        <a:pt x="1854847" y="773684"/>
                      </a:lnTo>
                      <a:lnTo>
                        <a:pt x="1854708" y="772820"/>
                      </a:lnTo>
                      <a:lnTo>
                        <a:pt x="1854581" y="772020"/>
                      </a:lnTo>
                      <a:lnTo>
                        <a:pt x="1854784" y="771067"/>
                      </a:lnTo>
                      <a:lnTo>
                        <a:pt x="1854581" y="770420"/>
                      </a:lnTo>
                      <a:lnTo>
                        <a:pt x="1854390" y="769708"/>
                      </a:lnTo>
                      <a:lnTo>
                        <a:pt x="1853666" y="769124"/>
                      </a:lnTo>
                      <a:lnTo>
                        <a:pt x="1853311" y="768032"/>
                      </a:lnTo>
                      <a:lnTo>
                        <a:pt x="1844522" y="737336"/>
                      </a:lnTo>
                      <a:lnTo>
                        <a:pt x="1843709" y="737717"/>
                      </a:lnTo>
                      <a:lnTo>
                        <a:pt x="1842477" y="735330"/>
                      </a:lnTo>
                      <a:lnTo>
                        <a:pt x="1843519" y="734110"/>
                      </a:lnTo>
                      <a:lnTo>
                        <a:pt x="1843417" y="733323"/>
                      </a:lnTo>
                      <a:lnTo>
                        <a:pt x="1843290" y="732370"/>
                      </a:lnTo>
                      <a:lnTo>
                        <a:pt x="1842604" y="730580"/>
                      </a:lnTo>
                      <a:lnTo>
                        <a:pt x="1841639" y="730732"/>
                      </a:lnTo>
                      <a:lnTo>
                        <a:pt x="1841982" y="731520"/>
                      </a:lnTo>
                      <a:lnTo>
                        <a:pt x="1841322" y="732370"/>
                      </a:lnTo>
                      <a:lnTo>
                        <a:pt x="1843062" y="733323"/>
                      </a:lnTo>
                      <a:lnTo>
                        <a:pt x="1839823" y="732650"/>
                      </a:lnTo>
                      <a:lnTo>
                        <a:pt x="1840039" y="731520"/>
                      </a:lnTo>
                      <a:lnTo>
                        <a:pt x="1840090" y="730580"/>
                      </a:lnTo>
                      <a:lnTo>
                        <a:pt x="1839468" y="727367"/>
                      </a:lnTo>
                      <a:lnTo>
                        <a:pt x="1837855" y="723239"/>
                      </a:lnTo>
                      <a:lnTo>
                        <a:pt x="1838782" y="720953"/>
                      </a:lnTo>
                      <a:lnTo>
                        <a:pt x="1838858" y="721093"/>
                      </a:lnTo>
                      <a:lnTo>
                        <a:pt x="1839087" y="721334"/>
                      </a:lnTo>
                      <a:lnTo>
                        <a:pt x="1839201" y="721499"/>
                      </a:lnTo>
                      <a:lnTo>
                        <a:pt x="1839302" y="720953"/>
                      </a:lnTo>
                      <a:lnTo>
                        <a:pt x="1839620" y="719366"/>
                      </a:lnTo>
                      <a:lnTo>
                        <a:pt x="1838706" y="717702"/>
                      </a:lnTo>
                      <a:lnTo>
                        <a:pt x="1839544" y="715657"/>
                      </a:lnTo>
                      <a:lnTo>
                        <a:pt x="1840674" y="713016"/>
                      </a:lnTo>
                      <a:lnTo>
                        <a:pt x="1840712" y="705535"/>
                      </a:lnTo>
                      <a:lnTo>
                        <a:pt x="1838083" y="696353"/>
                      </a:lnTo>
                      <a:lnTo>
                        <a:pt x="1840318" y="698004"/>
                      </a:lnTo>
                      <a:lnTo>
                        <a:pt x="1839607" y="696353"/>
                      </a:lnTo>
                      <a:lnTo>
                        <a:pt x="1838744" y="694347"/>
                      </a:lnTo>
                      <a:lnTo>
                        <a:pt x="1838515" y="693826"/>
                      </a:lnTo>
                      <a:lnTo>
                        <a:pt x="1838007" y="692632"/>
                      </a:lnTo>
                      <a:lnTo>
                        <a:pt x="1837766" y="692251"/>
                      </a:lnTo>
                      <a:lnTo>
                        <a:pt x="1836635" y="690460"/>
                      </a:lnTo>
                      <a:lnTo>
                        <a:pt x="1835035" y="687349"/>
                      </a:lnTo>
                      <a:lnTo>
                        <a:pt x="1835454" y="686739"/>
                      </a:lnTo>
                      <a:lnTo>
                        <a:pt x="1836585" y="684517"/>
                      </a:lnTo>
                      <a:lnTo>
                        <a:pt x="1837118" y="683044"/>
                      </a:lnTo>
                      <a:lnTo>
                        <a:pt x="1836737" y="681913"/>
                      </a:lnTo>
                      <a:lnTo>
                        <a:pt x="1836420" y="681050"/>
                      </a:lnTo>
                      <a:lnTo>
                        <a:pt x="1835429" y="680059"/>
                      </a:lnTo>
                      <a:lnTo>
                        <a:pt x="1835035" y="679577"/>
                      </a:lnTo>
                      <a:lnTo>
                        <a:pt x="1834108" y="678446"/>
                      </a:lnTo>
                      <a:lnTo>
                        <a:pt x="1833803" y="676109"/>
                      </a:lnTo>
                      <a:lnTo>
                        <a:pt x="1832457" y="676998"/>
                      </a:lnTo>
                      <a:lnTo>
                        <a:pt x="1832165" y="678573"/>
                      </a:lnTo>
                      <a:lnTo>
                        <a:pt x="1832063" y="679538"/>
                      </a:lnTo>
                      <a:lnTo>
                        <a:pt x="1831301" y="678573"/>
                      </a:lnTo>
                      <a:lnTo>
                        <a:pt x="1831035" y="679348"/>
                      </a:lnTo>
                      <a:lnTo>
                        <a:pt x="1828825" y="679399"/>
                      </a:lnTo>
                      <a:lnTo>
                        <a:pt x="1828330" y="679577"/>
                      </a:lnTo>
                      <a:lnTo>
                        <a:pt x="1826780" y="679157"/>
                      </a:lnTo>
                      <a:lnTo>
                        <a:pt x="1828368" y="680935"/>
                      </a:lnTo>
                      <a:lnTo>
                        <a:pt x="1832800" y="684390"/>
                      </a:lnTo>
                      <a:lnTo>
                        <a:pt x="1833181" y="688022"/>
                      </a:lnTo>
                      <a:lnTo>
                        <a:pt x="1831492" y="689432"/>
                      </a:lnTo>
                      <a:lnTo>
                        <a:pt x="1831759" y="690460"/>
                      </a:lnTo>
                      <a:lnTo>
                        <a:pt x="1831873" y="690803"/>
                      </a:lnTo>
                      <a:lnTo>
                        <a:pt x="1835696" y="691489"/>
                      </a:lnTo>
                      <a:lnTo>
                        <a:pt x="1832381" y="692251"/>
                      </a:lnTo>
                      <a:lnTo>
                        <a:pt x="1832305" y="691197"/>
                      </a:lnTo>
                      <a:lnTo>
                        <a:pt x="1830717" y="691743"/>
                      </a:lnTo>
                      <a:lnTo>
                        <a:pt x="1830336" y="693293"/>
                      </a:lnTo>
                      <a:lnTo>
                        <a:pt x="1830247" y="693928"/>
                      </a:lnTo>
                      <a:lnTo>
                        <a:pt x="1830870" y="693826"/>
                      </a:lnTo>
                      <a:lnTo>
                        <a:pt x="1831530" y="693991"/>
                      </a:lnTo>
                      <a:lnTo>
                        <a:pt x="1831936" y="694258"/>
                      </a:lnTo>
                      <a:lnTo>
                        <a:pt x="1832063" y="694347"/>
                      </a:lnTo>
                      <a:lnTo>
                        <a:pt x="1831936" y="694258"/>
                      </a:lnTo>
                      <a:lnTo>
                        <a:pt x="1829562" y="696950"/>
                      </a:lnTo>
                      <a:lnTo>
                        <a:pt x="1827479" y="697966"/>
                      </a:lnTo>
                      <a:lnTo>
                        <a:pt x="1826831" y="697217"/>
                      </a:lnTo>
                      <a:lnTo>
                        <a:pt x="1826323" y="695985"/>
                      </a:lnTo>
                      <a:lnTo>
                        <a:pt x="1825688" y="694347"/>
                      </a:lnTo>
                      <a:lnTo>
                        <a:pt x="1825891" y="694232"/>
                      </a:lnTo>
                      <a:lnTo>
                        <a:pt x="1822932" y="695337"/>
                      </a:lnTo>
                      <a:lnTo>
                        <a:pt x="1819363" y="696950"/>
                      </a:lnTo>
                      <a:lnTo>
                        <a:pt x="1819389" y="697217"/>
                      </a:lnTo>
                      <a:lnTo>
                        <a:pt x="1820468" y="700468"/>
                      </a:lnTo>
                      <a:lnTo>
                        <a:pt x="1821637" y="702729"/>
                      </a:lnTo>
                      <a:lnTo>
                        <a:pt x="1821078" y="707097"/>
                      </a:lnTo>
                      <a:lnTo>
                        <a:pt x="1820811" y="708787"/>
                      </a:lnTo>
                      <a:lnTo>
                        <a:pt x="1820430" y="712482"/>
                      </a:lnTo>
                      <a:lnTo>
                        <a:pt x="1819960" y="714298"/>
                      </a:lnTo>
                      <a:lnTo>
                        <a:pt x="1819071" y="719429"/>
                      </a:lnTo>
                      <a:lnTo>
                        <a:pt x="1816874" y="724865"/>
                      </a:lnTo>
                      <a:lnTo>
                        <a:pt x="1821014" y="731520"/>
                      </a:lnTo>
                      <a:lnTo>
                        <a:pt x="1823605" y="735330"/>
                      </a:lnTo>
                      <a:lnTo>
                        <a:pt x="1826552" y="740638"/>
                      </a:lnTo>
                      <a:lnTo>
                        <a:pt x="1826831" y="741235"/>
                      </a:lnTo>
                      <a:lnTo>
                        <a:pt x="1826133" y="742734"/>
                      </a:lnTo>
                      <a:lnTo>
                        <a:pt x="1825129" y="744994"/>
                      </a:lnTo>
                      <a:lnTo>
                        <a:pt x="1824050" y="745807"/>
                      </a:lnTo>
                      <a:lnTo>
                        <a:pt x="1824507" y="752411"/>
                      </a:lnTo>
                      <a:lnTo>
                        <a:pt x="1825167" y="756310"/>
                      </a:lnTo>
                      <a:lnTo>
                        <a:pt x="1825091" y="764565"/>
                      </a:lnTo>
                      <a:lnTo>
                        <a:pt x="1824342" y="768413"/>
                      </a:lnTo>
                      <a:lnTo>
                        <a:pt x="1822615" y="775995"/>
                      </a:lnTo>
                      <a:lnTo>
                        <a:pt x="1820672" y="780516"/>
                      </a:lnTo>
                      <a:lnTo>
                        <a:pt x="1820583" y="782688"/>
                      </a:lnTo>
                      <a:lnTo>
                        <a:pt x="1820773" y="785520"/>
                      </a:lnTo>
                      <a:lnTo>
                        <a:pt x="1821116" y="786333"/>
                      </a:lnTo>
                      <a:lnTo>
                        <a:pt x="1822081" y="788327"/>
                      </a:lnTo>
                      <a:lnTo>
                        <a:pt x="1823313" y="789457"/>
                      </a:lnTo>
                      <a:lnTo>
                        <a:pt x="1823897" y="790841"/>
                      </a:lnTo>
                      <a:lnTo>
                        <a:pt x="1824812" y="793140"/>
                      </a:lnTo>
                      <a:lnTo>
                        <a:pt x="1825866" y="798017"/>
                      </a:lnTo>
                      <a:lnTo>
                        <a:pt x="1825015" y="800214"/>
                      </a:lnTo>
                      <a:lnTo>
                        <a:pt x="1824316" y="801903"/>
                      </a:lnTo>
                      <a:lnTo>
                        <a:pt x="1822005" y="803821"/>
                      </a:lnTo>
                      <a:lnTo>
                        <a:pt x="1822272" y="805878"/>
                      </a:lnTo>
                      <a:lnTo>
                        <a:pt x="1822742" y="808926"/>
                      </a:lnTo>
                      <a:lnTo>
                        <a:pt x="1824088" y="812939"/>
                      </a:lnTo>
                      <a:lnTo>
                        <a:pt x="1823466" y="816013"/>
                      </a:lnTo>
                      <a:lnTo>
                        <a:pt x="1822818" y="819429"/>
                      </a:lnTo>
                      <a:lnTo>
                        <a:pt x="1820710" y="822020"/>
                      </a:lnTo>
                      <a:lnTo>
                        <a:pt x="1820595" y="827532"/>
                      </a:lnTo>
                      <a:lnTo>
                        <a:pt x="1820760" y="827963"/>
                      </a:lnTo>
                      <a:lnTo>
                        <a:pt x="1821129" y="829322"/>
                      </a:lnTo>
                      <a:lnTo>
                        <a:pt x="1821764" y="832167"/>
                      </a:lnTo>
                      <a:lnTo>
                        <a:pt x="1821891" y="833069"/>
                      </a:lnTo>
                      <a:lnTo>
                        <a:pt x="1821802" y="833920"/>
                      </a:lnTo>
                      <a:lnTo>
                        <a:pt x="1824050" y="836637"/>
                      </a:lnTo>
                      <a:lnTo>
                        <a:pt x="1826145" y="831113"/>
                      </a:lnTo>
                      <a:lnTo>
                        <a:pt x="1827174" y="828306"/>
                      </a:lnTo>
                      <a:lnTo>
                        <a:pt x="1829727" y="822299"/>
                      </a:lnTo>
                      <a:lnTo>
                        <a:pt x="1831263" y="822020"/>
                      </a:lnTo>
                      <a:lnTo>
                        <a:pt x="1833067" y="821283"/>
                      </a:lnTo>
                      <a:lnTo>
                        <a:pt x="1833689" y="822934"/>
                      </a:lnTo>
                      <a:lnTo>
                        <a:pt x="1833651" y="823404"/>
                      </a:lnTo>
                      <a:lnTo>
                        <a:pt x="1836813" y="824839"/>
                      </a:lnTo>
                      <a:lnTo>
                        <a:pt x="1840052" y="823633"/>
                      </a:lnTo>
                      <a:lnTo>
                        <a:pt x="1843011" y="825563"/>
                      </a:lnTo>
                      <a:lnTo>
                        <a:pt x="1842058" y="825677"/>
                      </a:lnTo>
                      <a:lnTo>
                        <a:pt x="1842160" y="828090"/>
                      </a:lnTo>
                      <a:lnTo>
                        <a:pt x="1842477" y="828738"/>
                      </a:lnTo>
                      <a:lnTo>
                        <a:pt x="1843252" y="831113"/>
                      </a:lnTo>
                      <a:lnTo>
                        <a:pt x="1843138" y="832485"/>
                      </a:lnTo>
                      <a:lnTo>
                        <a:pt x="1843443" y="833920"/>
                      </a:lnTo>
                      <a:lnTo>
                        <a:pt x="1844065" y="833069"/>
                      </a:lnTo>
                      <a:lnTo>
                        <a:pt x="1843709" y="832167"/>
                      </a:lnTo>
                      <a:lnTo>
                        <a:pt x="1844306" y="831113"/>
                      </a:lnTo>
                      <a:lnTo>
                        <a:pt x="1844713" y="830287"/>
                      </a:lnTo>
                      <a:lnTo>
                        <a:pt x="1845411" y="829322"/>
                      </a:lnTo>
                      <a:lnTo>
                        <a:pt x="1845932" y="828014"/>
                      </a:lnTo>
                      <a:lnTo>
                        <a:pt x="1846148" y="827532"/>
                      </a:lnTo>
                      <a:lnTo>
                        <a:pt x="1845411" y="828014"/>
                      </a:lnTo>
                      <a:lnTo>
                        <a:pt x="1845297" y="827214"/>
                      </a:lnTo>
                      <a:lnTo>
                        <a:pt x="1845221" y="826554"/>
                      </a:lnTo>
                      <a:lnTo>
                        <a:pt x="1844941" y="825500"/>
                      </a:lnTo>
                      <a:lnTo>
                        <a:pt x="1844586" y="823633"/>
                      </a:lnTo>
                      <a:lnTo>
                        <a:pt x="1844332" y="822350"/>
                      </a:lnTo>
                      <a:lnTo>
                        <a:pt x="1844116" y="821245"/>
                      </a:lnTo>
                      <a:lnTo>
                        <a:pt x="1844090" y="820686"/>
                      </a:lnTo>
                      <a:lnTo>
                        <a:pt x="1844941" y="818997"/>
                      </a:lnTo>
                      <a:lnTo>
                        <a:pt x="1839709" y="819772"/>
                      </a:lnTo>
                      <a:lnTo>
                        <a:pt x="1840585" y="820686"/>
                      </a:lnTo>
                      <a:lnTo>
                        <a:pt x="1841741" y="821245"/>
                      </a:lnTo>
                      <a:lnTo>
                        <a:pt x="1842604" y="822210"/>
                      </a:lnTo>
                      <a:lnTo>
                        <a:pt x="1839036" y="820686"/>
                      </a:lnTo>
                      <a:lnTo>
                        <a:pt x="1839277" y="819645"/>
                      </a:lnTo>
                      <a:lnTo>
                        <a:pt x="1839468" y="818870"/>
                      </a:lnTo>
                      <a:lnTo>
                        <a:pt x="1839010" y="819645"/>
                      </a:lnTo>
                      <a:lnTo>
                        <a:pt x="1838350" y="816800"/>
                      </a:lnTo>
                      <a:lnTo>
                        <a:pt x="1837817" y="813777"/>
                      </a:lnTo>
                      <a:lnTo>
                        <a:pt x="1833499" y="808824"/>
                      </a:lnTo>
                      <a:lnTo>
                        <a:pt x="1829066" y="803986"/>
                      </a:lnTo>
                      <a:lnTo>
                        <a:pt x="1836343" y="782688"/>
                      </a:lnTo>
                      <a:lnTo>
                        <a:pt x="1837270" y="777824"/>
                      </a:lnTo>
                      <a:lnTo>
                        <a:pt x="1841017" y="774280"/>
                      </a:lnTo>
                      <a:lnTo>
                        <a:pt x="1843316" y="774585"/>
                      </a:lnTo>
                      <a:lnTo>
                        <a:pt x="1843252" y="774280"/>
                      </a:lnTo>
                      <a:lnTo>
                        <a:pt x="1842985" y="772820"/>
                      </a:lnTo>
                      <a:lnTo>
                        <a:pt x="1844217" y="774192"/>
                      </a:lnTo>
                      <a:lnTo>
                        <a:pt x="1845716" y="773684"/>
                      </a:lnTo>
                      <a:lnTo>
                        <a:pt x="1847456" y="774052"/>
                      </a:lnTo>
                      <a:lnTo>
                        <a:pt x="1846948" y="774369"/>
                      </a:lnTo>
                      <a:lnTo>
                        <a:pt x="1849386" y="775220"/>
                      </a:lnTo>
                      <a:lnTo>
                        <a:pt x="1851583" y="774915"/>
                      </a:lnTo>
                      <a:lnTo>
                        <a:pt x="1854708" y="777392"/>
                      </a:lnTo>
                      <a:lnTo>
                        <a:pt x="1855241" y="778548"/>
                      </a:lnTo>
                      <a:lnTo>
                        <a:pt x="1857209" y="780237"/>
                      </a:lnTo>
                      <a:lnTo>
                        <a:pt x="1858289" y="780681"/>
                      </a:lnTo>
                      <a:lnTo>
                        <a:pt x="1860016" y="782878"/>
                      </a:lnTo>
                      <a:lnTo>
                        <a:pt x="1860486" y="784275"/>
                      </a:lnTo>
                      <a:lnTo>
                        <a:pt x="1861337" y="785431"/>
                      </a:lnTo>
                      <a:lnTo>
                        <a:pt x="1861375" y="785025"/>
                      </a:lnTo>
                      <a:lnTo>
                        <a:pt x="1861489" y="784593"/>
                      </a:lnTo>
                      <a:lnTo>
                        <a:pt x="1861604" y="782142"/>
                      </a:lnTo>
                      <a:close/>
                    </a:path>
                    <a:path w="2402840" h="2044700">
                      <a:moveTo>
                        <a:pt x="1888121" y="862177"/>
                      </a:moveTo>
                      <a:lnTo>
                        <a:pt x="1885937" y="863219"/>
                      </a:lnTo>
                      <a:lnTo>
                        <a:pt x="1882343" y="861136"/>
                      </a:lnTo>
                      <a:lnTo>
                        <a:pt x="1871738" y="872769"/>
                      </a:lnTo>
                      <a:lnTo>
                        <a:pt x="1870773" y="874306"/>
                      </a:lnTo>
                      <a:lnTo>
                        <a:pt x="1873669" y="876109"/>
                      </a:lnTo>
                      <a:lnTo>
                        <a:pt x="1873783" y="875741"/>
                      </a:lnTo>
                      <a:lnTo>
                        <a:pt x="1873783" y="875271"/>
                      </a:lnTo>
                      <a:lnTo>
                        <a:pt x="1874164" y="874102"/>
                      </a:lnTo>
                      <a:lnTo>
                        <a:pt x="1873745" y="873264"/>
                      </a:lnTo>
                      <a:lnTo>
                        <a:pt x="1874862" y="871753"/>
                      </a:lnTo>
                      <a:lnTo>
                        <a:pt x="1875751" y="872083"/>
                      </a:lnTo>
                      <a:lnTo>
                        <a:pt x="1877555" y="870623"/>
                      </a:lnTo>
                      <a:lnTo>
                        <a:pt x="1877949" y="869340"/>
                      </a:lnTo>
                      <a:lnTo>
                        <a:pt x="1881492" y="865289"/>
                      </a:lnTo>
                      <a:lnTo>
                        <a:pt x="1885124" y="865124"/>
                      </a:lnTo>
                      <a:lnTo>
                        <a:pt x="1888121" y="862177"/>
                      </a:lnTo>
                      <a:close/>
                    </a:path>
                    <a:path w="2402840" h="2044700">
                      <a:moveTo>
                        <a:pt x="1892604" y="872464"/>
                      </a:moveTo>
                      <a:lnTo>
                        <a:pt x="1891563" y="872350"/>
                      </a:lnTo>
                      <a:lnTo>
                        <a:pt x="1888401" y="872998"/>
                      </a:lnTo>
                      <a:lnTo>
                        <a:pt x="1888667" y="874395"/>
                      </a:lnTo>
                      <a:lnTo>
                        <a:pt x="1890052" y="874026"/>
                      </a:lnTo>
                      <a:lnTo>
                        <a:pt x="1891334" y="873150"/>
                      </a:lnTo>
                      <a:lnTo>
                        <a:pt x="1892604" y="872464"/>
                      </a:lnTo>
                      <a:close/>
                    </a:path>
                    <a:path w="2402840" h="2044700">
                      <a:moveTo>
                        <a:pt x="1911883" y="848880"/>
                      </a:moveTo>
                      <a:lnTo>
                        <a:pt x="1908302" y="847547"/>
                      </a:lnTo>
                      <a:lnTo>
                        <a:pt x="1908378" y="844804"/>
                      </a:lnTo>
                      <a:lnTo>
                        <a:pt x="1906485" y="845921"/>
                      </a:lnTo>
                      <a:lnTo>
                        <a:pt x="1906866" y="846404"/>
                      </a:lnTo>
                      <a:lnTo>
                        <a:pt x="1906473" y="846924"/>
                      </a:lnTo>
                      <a:lnTo>
                        <a:pt x="1906308" y="847547"/>
                      </a:lnTo>
                      <a:lnTo>
                        <a:pt x="1904238" y="849223"/>
                      </a:lnTo>
                      <a:lnTo>
                        <a:pt x="1902625" y="850366"/>
                      </a:lnTo>
                      <a:lnTo>
                        <a:pt x="1900745" y="852487"/>
                      </a:lnTo>
                      <a:lnTo>
                        <a:pt x="1894459" y="856399"/>
                      </a:lnTo>
                      <a:lnTo>
                        <a:pt x="1896186" y="857186"/>
                      </a:lnTo>
                      <a:lnTo>
                        <a:pt x="1895805" y="857631"/>
                      </a:lnTo>
                      <a:lnTo>
                        <a:pt x="1890280" y="861961"/>
                      </a:lnTo>
                      <a:lnTo>
                        <a:pt x="1893874" y="863650"/>
                      </a:lnTo>
                      <a:lnTo>
                        <a:pt x="1893989" y="861720"/>
                      </a:lnTo>
                      <a:lnTo>
                        <a:pt x="1895614" y="860425"/>
                      </a:lnTo>
                      <a:lnTo>
                        <a:pt x="1896795" y="860793"/>
                      </a:lnTo>
                      <a:lnTo>
                        <a:pt x="1897189" y="860425"/>
                      </a:lnTo>
                      <a:lnTo>
                        <a:pt x="1898624" y="859078"/>
                      </a:lnTo>
                      <a:lnTo>
                        <a:pt x="1898853" y="858100"/>
                      </a:lnTo>
                      <a:lnTo>
                        <a:pt x="1899894" y="857351"/>
                      </a:lnTo>
                      <a:lnTo>
                        <a:pt x="1900821" y="856653"/>
                      </a:lnTo>
                      <a:lnTo>
                        <a:pt x="1901926" y="856272"/>
                      </a:lnTo>
                      <a:lnTo>
                        <a:pt x="1903323" y="853846"/>
                      </a:lnTo>
                      <a:lnTo>
                        <a:pt x="1902396" y="853224"/>
                      </a:lnTo>
                      <a:lnTo>
                        <a:pt x="1904555" y="852868"/>
                      </a:lnTo>
                      <a:lnTo>
                        <a:pt x="1905292" y="853224"/>
                      </a:lnTo>
                      <a:lnTo>
                        <a:pt x="1906295" y="853135"/>
                      </a:lnTo>
                      <a:lnTo>
                        <a:pt x="1908530" y="851496"/>
                      </a:lnTo>
                      <a:lnTo>
                        <a:pt x="1911184" y="849071"/>
                      </a:lnTo>
                      <a:lnTo>
                        <a:pt x="1911883" y="848880"/>
                      </a:lnTo>
                      <a:close/>
                    </a:path>
                    <a:path w="2402840" h="2044700">
                      <a:moveTo>
                        <a:pt x="1913775" y="848347"/>
                      </a:moveTo>
                      <a:lnTo>
                        <a:pt x="1911883" y="848880"/>
                      </a:lnTo>
                      <a:lnTo>
                        <a:pt x="1912797" y="849223"/>
                      </a:lnTo>
                      <a:lnTo>
                        <a:pt x="1913775" y="848347"/>
                      </a:lnTo>
                      <a:close/>
                    </a:path>
                    <a:path w="2402840" h="2044700">
                      <a:moveTo>
                        <a:pt x="1921637" y="846340"/>
                      </a:moveTo>
                      <a:lnTo>
                        <a:pt x="1919935" y="845134"/>
                      </a:lnTo>
                      <a:lnTo>
                        <a:pt x="1920125" y="843318"/>
                      </a:lnTo>
                      <a:lnTo>
                        <a:pt x="1917852" y="844727"/>
                      </a:lnTo>
                      <a:lnTo>
                        <a:pt x="1913775" y="848347"/>
                      </a:lnTo>
                      <a:lnTo>
                        <a:pt x="1917319" y="846924"/>
                      </a:lnTo>
                      <a:lnTo>
                        <a:pt x="1918131" y="847280"/>
                      </a:lnTo>
                      <a:lnTo>
                        <a:pt x="1919452" y="846924"/>
                      </a:lnTo>
                      <a:lnTo>
                        <a:pt x="1921637" y="846340"/>
                      </a:lnTo>
                      <a:close/>
                    </a:path>
                    <a:path w="2402840" h="2044700">
                      <a:moveTo>
                        <a:pt x="1929104" y="141528"/>
                      </a:moveTo>
                      <a:lnTo>
                        <a:pt x="1927834" y="141325"/>
                      </a:lnTo>
                      <a:lnTo>
                        <a:pt x="1926526" y="142201"/>
                      </a:lnTo>
                      <a:lnTo>
                        <a:pt x="1925180" y="142201"/>
                      </a:lnTo>
                      <a:lnTo>
                        <a:pt x="1923910" y="142189"/>
                      </a:lnTo>
                      <a:lnTo>
                        <a:pt x="1918703" y="142748"/>
                      </a:lnTo>
                      <a:lnTo>
                        <a:pt x="1916239" y="143471"/>
                      </a:lnTo>
                      <a:lnTo>
                        <a:pt x="1914423" y="145821"/>
                      </a:lnTo>
                      <a:lnTo>
                        <a:pt x="1929104" y="141528"/>
                      </a:lnTo>
                      <a:close/>
                    </a:path>
                    <a:path w="2402840" h="2044700">
                      <a:moveTo>
                        <a:pt x="1945170" y="831062"/>
                      </a:moveTo>
                      <a:lnTo>
                        <a:pt x="1943735" y="831430"/>
                      </a:lnTo>
                      <a:lnTo>
                        <a:pt x="1942934" y="830580"/>
                      </a:lnTo>
                      <a:lnTo>
                        <a:pt x="1941461" y="831380"/>
                      </a:lnTo>
                      <a:lnTo>
                        <a:pt x="1940763" y="831773"/>
                      </a:lnTo>
                      <a:lnTo>
                        <a:pt x="1940610" y="832345"/>
                      </a:lnTo>
                      <a:lnTo>
                        <a:pt x="1939188" y="833234"/>
                      </a:lnTo>
                      <a:lnTo>
                        <a:pt x="1938223" y="833272"/>
                      </a:lnTo>
                      <a:lnTo>
                        <a:pt x="1937334" y="833856"/>
                      </a:lnTo>
                      <a:lnTo>
                        <a:pt x="1934679" y="836561"/>
                      </a:lnTo>
                      <a:lnTo>
                        <a:pt x="1931936" y="839203"/>
                      </a:lnTo>
                      <a:lnTo>
                        <a:pt x="1929472" y="842048"/>
                      </a:lnTo>
                      <a:lnTo>
                        <a:pt x="1930285" y="842238"/>
                      </a:lnTo>
                      <a:lnTo>
                        <a:pt x="1931047" y="842048"/>
                      </a:lnTo>
                      <a:lnTo>
                        <a:pt x="1931289" y="841222"/>
                      </a:lnTo>
                      <a:lnTo>
                        <a:pt x="1932559" y="842581"/>
                      </a:lnTo>
                      <a:lnTo>
                        <a:pt x="1945170" y="831062"/>
                      </a:lnTo>
                      <a:close/>
                    </a:path>
                    <a:path w="2402840" h="2044700">
                      <a:moveTo>
                        <a:pt x="1950250" y="189801"/>
                      </a:moveTo>
                      <a:lnTo>
                        <a:pt x="1947710" y="189357"/>
                      </a:lnTo>
                      <a:lnTo>
                        <a:pt x="1945093" y="189979"/>
                      </a:lnTo>
                      <a:lnTo>
                        <a:pt x="1941499" y="189318"/>
                      </a:lnTo>
                      <a:lnTo>
                        <a:pt x="1940966" y="188798"/>
                      </a:lnTo>
                      <a:lnTo>
                        <a:pt x="1939798" y="189090"/>
                      </a:lnTo>
                      <a:lnTo>
                        <a:pt x="1942312" y="187413"/>
                      </a:lnTo>
                      <a:lnTo>
                        <a:pt x="1934870" y="186690"/>
                      </a:lnTo>
                      <a:lnTo>
                        <a:pt x="1932203" y="186232"/>
                      </a:lnTo>
                      <a:lnTo>
                        <a:pt x="1929269" y="185229"/>
                      </a:lnTo>
                      <a:lnTo>
                        <a:pt x="1923173" y="186093"/>
                      </a:lnTo>
                      <a:lnTo>
                        <a:pt x="1919249" y="188645"/>
                      </a:lnTo>
                      <a:lnTo>
                        <a:pt x="1914194" y="185089"/>
                      </a:lnTo>
                      <a:lnTo>
                        <a:pt x="1915896" y="185369"/>
                      </a:lnTo>
                      <a:lnTo>
                        <a:pt x="1917052" y="182270"/>
                      </a:lnTo>
                      <a:lnTo>
                        <a:pt x="1915350" y="181749"/>
                      </a:lnTo>
                      <a:lnTo>
                        <a:pt x="1911273" y="181330"/>
                      </a:lnTo>
                      <a:lnTo>
                        <a:pt x="1908187" y="182435"/>
                      </a:lnTo>
                      <a:lnTo>
                        <a:pt x="1902815" y="180378"/>
                      </a:lnTo>
                      <a:lnTo>
                        <a:pt x="1899704" y="180784"/>
                      </a:lnTo>
                      <a:lnTo>
                        <a:pt x="1895805" y="183756"/>
                      </a:lnTo>
                      <a:lnTo>
                        <a:pt x="1895729" y="184175"/>
                      </a:lnTo>
                      <a:lnTo>
                        <a:pt x="1892452" y="183451"/>
                      </a:lnTo>
                      <a:lnTo>
                        <a:pt x="1890445" y="182854"/>
                      </a:lnTo>
                      <a:lnTo>
                        <a:pt x="1889061" y="180289"/>
                      </a:lnTo>
                      <a:lnTo>
                        <a:pt x="1891296" y="179031"/>
                      </a:lnTo>
                      <a:lnTo>
                        <a:pt x="1887791" y="176580"/>
                      </a:lnTo>
                      <a:lnTo>
                        <a:pt x="1886127" y="176149"/>
                      </a:lnTo>
                      <a:lnTo>
                        <a:pt x="1884781" y="178104"/>
                      </a:lnTo>
                      <a:lnTo>
                        <a:pt x="1884934" y="179222"/>
                      </a:lnTo>
                      <a:lnTo>
                        <a:pt x="1884311" y="180721"/>
                      </a:lnTo>
                      <a:lnTo>
                        <a:pt x="1883740" y="181292"/>
                      </a:lnTo>
                      <a:lnTo>
                        <a:pt x="1883156" y="182435"/>
                      </a:lnTo>
                      <a:lnTo>
                        <a:pt x="1882698" y="182283"/>
                      </a:lnTo>
                      <a:lnTo>
                        <a:pt x="1882228" y="183438"/>
                      </a:lnTo>
                      <a:lnTo>
                        <a:pt x="1882470" y="184251"/>
                      </a:lnTo>
                      <a:lnTo>
                        <a:pt x="1882000" y="185889"/>
                      </a:lnTo>
                      <a:lnTo>
                        <a:pt x="1881733" y="186359"/>
                      </a:lnTo>
                      <a:lnTo>
                        <a:pt x="1881073" y="187058"/>
                      </a:lnTo>
                      <a:lnTo>
                        <a:pt x="1912772" y="199796"/>
                      </a:lnTo>
                      <a:lnTo>
                        <a:pt x="1918639" y="199974"/>
                      </a:lnTo>
                      <a:lnTo>
                        <a:pt x="1925345" y="200507"/>
                      </a:lnTo>
                      <a:lnTo>
                        <a:pt x="1927771" y="200088"/>
                      </a:lnTo>
                      <a:lnTo>
                        <a:pt x="1930704" y="201015"/>
                      </a:lnTo>
                      <a:lnTo>
                        <a:pt x="1934057" y="200050"/>
                      </a:lnTo>
                      <a:lnTo>
                        <a:pt x="1934743" y="199186"/>
                      </a:lnTo>
                      <a:lnTo>
                        <a:pt x="1937105" y="198793"/>
                      </a:lnTo>
                      <a:lnTo>
                        <a:pt x="1938108" y="198132"/>
                      </a:lnTo>
                      <a:lnTo>
                        <a:pt x="1941182" y="197535"/>
                      </a:lnTo>
                      <a:lnTo>
                        <a:pt x="1944319" y="197548"/>
                      </a:lnTo>
                      <a:lnTo>
                        <a:pt x="1947430" y="196202"/>
                      </a:lnTo>
                      <a:lnTo>
                        <a:pt x="1947367" y="193484"/>
                      </a:lnTo>
                      <a:lnTo>
                        <a:pt x="1948357" y="191503"/>
                      </a:lnTo>
                      <a:lnTo>
                        <a:pt x="1949170" y="190207"/>
                      </a:lnTo>
                      <a:lnTo>
                        <a:pt x="1950250" y="189801"/>
                      </a:lnTo>
                      <a:close/>
                    </a:path>
                    <a:path w="2402840" h="2044700">
                      <a:moveTo>
                        <a:pt x="1956460" y="2043645"/>
                      </a:moveTo>
                      <a:lnTo>
                        <a:pt x="1956384" y="2043849"/>
                      </a:lnTo>
                      <a:lnTo>
                        <a:pt x="1956193" y="2044052"/>
                      </a:lnTo>
                      <a:lnTo>
                        <a:pt x="1956079" y="2044255"/>
                      </a:lnTo>
                      <a:lnTo>
                        <a:pt x="1956295" y="2044344"/>
                      </a:lnTo>
                      <a:lnTo>
                        <a:pt x="1956422" y="2044141"/>
                      </a:lnTo>
                      <a:lnTo>
                        <a:pt x="1956447" y="2043887"/>
                      </a:lnTo>
                      <a:lnTo>
                        <a:pt x="1956460" y="2043645"/>
                      </a:lnTo>
                      <a:close/>
                    </a:path>
                    <a:path w="2402840" h="2044700">
                      <a:moveTo>
                        <a:pt x="1968906" y="814412"/>
                      </a:moveTo>
                      <a:lnTo>
                        <a:pt x="1966595" y="816343"/>
                      </a:lnTo>
                      <a:lnTo>
                        <a:pt x="1963940" y="818121"/>
                      </a:lnTo>
                      <a:lnTo>
                        <a:pt x="1962048" y="820458"/>
                      </a:lnTo>
                      <a:lnTo>
                        <a:pt x="1964245" y="822134"/>
                      </a:lnTo>
                      <a:lnTo>
                        <a:pt x="1968258" y="815898"/>
                      </a:lnTo>
                      <a:lnTo>
                        <a:pt x="1968906" y="814412"/>
                      </a:lnTo>
                      <a:close/>
                    </a:path>
                    <a:path w="2402840" h="2044700">
                      <a:moveTo>
                        <a:pt x="1974570" y="810920"/>
                      </a:moveTo>
                      <a:lnTo>
                        <a:pt x="1972881" y="808761"/>
                      </a:lnTo>
                      <a:lnTo>
                        <a:pt x="1971992" y="811187"/>
                      </a:lnTo>
                      <a:lnTo>
                        <a:pt x="1974570" y="810920"/>
                      </a:lnTo>
                      <a:close/>
                    </a:path>
                    <a:path w="2402840" h="2044700">
                      <a:moveTo>
                        <a:pt x="1982177" y="802652"/>
                      </a:moveTo>
                      <a:lnTo>
                        <a:pt x="1981060" y="800912"/>
                      </a:lnTo>
                      <a:lnTo>
                        <a:pt x="1979980" y="803554"/>
                      </a:lnTo>
                      <a:lnTo>
                        <a:pt x="1982177" y="802652"/>
                      </a:lnTo>
                      <a:close/>
                    </a:path>
                    <a:path w="2402840" h="2044700">
                      <a:moveTo>
                        <a:pt x="1997595" y="781799"/>
                      </a:moveTo>
                      <a:lnTo>
                        <a:pt x="1996211" y="781431"/>
                      </a:lnTo>
                      <a:lnTo>
                        <a:pt x="1995131" y="784059"/>
                      </a:lnTo>
                      <a:lnTo>
                        <a:pt x="1994281" y="785025"/>
                      </a:lnTo>
                      <a:lnTo>
                        <a:pt x="1995398" y="784034"/>
                      </a:lnTo>
                      <a:lnTo>
                        <a:pt x="1996871" y="783107"/>
                      </a:lnTo>
                      <a:lnTo>
                        <a:pt x="1997595" y="781799"/>
                      </a:lnTo>
                      <a:close/>
                    </a:path>
                    <a:path w="2402840" h="2044700">
                      <a:moveTo>
                        <a:pt x="2007857" y="767130"/>
                      </a:moveTo>
                      <a:lnTo>
                        <a:pt x="2005736" y="768883"/>
                      </a:lnTo>
                      <a:lnTo>
                        <a:pt x="2004695" y="769759"/>
                      </a:lnTo>
                      <a:lnTo>
                        <a:pt x="2003501" y="773163"/>
                      </a:lnTo>
                      <a:lnTo>
                        <a:pt x="2003082" y="774763"/>
                      </a:lnTo>
                      <a:lnTo>
                        <a:pt x="2006168" y="774484"/>
                      </a:lnTo>
                      <a:lnTo>
                        <a:pt x="2006206" y="774611"/>
                      </a:lnTo>
                      <a:lnTo>
                        <a:pt x="2006701" y="771867"/>
                      </a:lnTo>
                      <a:lnTo>
                        <a:pt x="2006930" y="770458"/>
                      </a:lnTo>
                      <a:lnTo>
                        <a:pt x="2007857" y="767130"/>
                      </a:lnTo>
                      <a:close/>
                    </a:path>
                    <a:path w="2402840" h="2044700">
                      <a:moveTo>
                        <a:pt x="2025548" y="749211"/>
                      </a:moveTo>
                      <a:lnTo>
                        <a:pt x="2025167" y="746810"/>
                      </a:lnTo>
                      <a:lnTo>
                        <a:pt x="2020925" y="747953"/>
                      </a:lnTo>
                      <a:lnTo>
                        <a:pt x="2020925" y="751382"/>
                      </a:lnTo>
                      <a:lnTo>
                        <a:pt x="2019757" y="752983"/>
                      </a:lnTo>
                      <a:lnTo>
                        <a:pt x="2018880" y="754227"/>
                      </a:lnTo>
                      <a:lnTo>
                        <a:pt x="2014867" y="754811"/>
                      </a:lnTo>
                      <a:lnTo>
                        <a:pt x="2014715" y="755523"/>
                      </a:lnTo>
                      <a:lnTo>
                        <a:pt x="2013407" y="756094"/>
                      </a:lnTo>
                      <a:lnTo>
                        <a:pt x="2011946" y="756767"/>
                      </a:lnTo>
                      <a:lnTo>
                        <a:pt x="2011946" y="755726"/>
                      </a:lnTo>
                      <a:lnTo>
                        <a:pt x="2011781" y="757021"/>
                      </a:lnTo>
                      <a:lnTo>
                        <a:pt x="2012403" y="758063"/>
                      </a:lnTo>
                      <a:lnTo>
                        <a:pt x="2012518" y="759129"/>
                      </a:lnTo>
                      <a:lnTo>
                        <a:pt x="2011705" y="759625"/>
                      </a:lnTo>
                      <a:lnTo>
                        <a:pt x="2011984" y="760361"/>
                      </a:lnTo>
                      <a:lnTo>
                        <a:pt x="2014143" y="761403"/>
                      </a:lnTo>
                      <a:lnTo>
                        <a:pt x="2014334" y="761695"/>
                      </a:lnTo>
                      <a:lnTo>
                        <a:pt x="2019554" y="756983"/>
                      </a:lnTo>
                      <a:lnTo>
                        <a:pt x="2019820" y="756767"/>
                      </a:lnTo>
                      <a:lnTo>
                        <a:pt x="2024811" y="753605"/>
                      </a:lnTo>
                      <a:lnTo>
                        <a:pt x="2025243" y="750912"/>
                      </a:lnTo>
                      <a:lnTo>
                        <a:pt x="2025548" y="749211"/>
                      </a:lnTo>
                      <a:close/>
                    </a:path>
                    <a:path w="2402840" h="2044700">
                      <a:moveTo>
                        <a:pt x="2079802" y="1821802"/>
                      </a:moveTo>
                      <a:lnTo>
                        <a:pt x="2079650" y="1820710"/>
                      </a:lnTo>
                      <a:lnTo>
                        <a:pt x="2079269" y="1821764"/>
                      </a:lnTo>
                      <a:lnTo>
                        <a:pt x="2079345" y="1822932"/>
                      </a:lnTo>
                      <a:lnTo>
                        <a:pt x="2079650" y="1824024"/>
                      </a:lnTo>
                      <a:lnTo>
                        <a:pt x="2079688" y="1822919"/>
                      </a:lnTo>
                      <a:lnTo>
                        <a:pt x="2079802" y="1821802"/>
                      </a:lnTo>
                      <a:close/>
                    </a:path>
                    <a:path w="2402840" h="2044700">
                      <a:moveTo>
                        <a:pt x="2132673" y="1828876"/>
                      </a:moveTo>
                      <a:lnTo>
                        <a:pt x="2132431" y="1828761"/>
                      </a:lnTo>
                      <a:lnTo>
                        <a:pt x="2132292" y="1828406"/>
                      </a:lnTo>
                      <a:lnTo>
                        <a:pt x="2132520" y="1829041"/>
                      </a:lnTo>
                      <a:lnTo>
                        <a:pt x="2132596" y="1829371"/>
                      </a:lnTo>
                      <a:lnTo>
                        <a:pt x="2132673" y="1828876"/>
                      </a:lnTo>
                      <a:close/>
                    </a:path>
                    <a:path w="2402840" h="2044700">
                      <a:moveTo>
                        <a:pt x="2149170" y="584720"/>
                      </a:moveTo>
                      <a:lnTo>
                        <a:pt x="2147163" y="581240"/>
                      </a:lnTo>
                      <a:lnTo>
                        <a:pt x="2146198" y="579081"/>
                      </a:lnTo>
                      <a:lnTo>
                        <a:pt x="2145385" y="577303"/>
                      </a:lnTo>
                      <a:lnTo>
                        <a:pt x="2141994" y="580656"/>
                      </a:lnTo>
                      <a:lnTo>
                        <a:pt x="2138527" y="582155"/>
                      </a:lnTo>
                      <a:lnTo>
                        <a:pt x="2136330" y="582256"/>
                      </a:lnTo>
                      <a:lnTo>
                        <a:pt x="2134057" y="583018"/>
                      </a:lnTo>
                      <a:lnTo>
                        <a:pt x="2134819" y="583031"/>
                      </a:lnTo>
                      <a:lnTo>
                        <a:pt x="2136330" y="583323"/>
                      </a:lnTo>
                      <a:lnTo>
                        <a:pt x="2132660" y="585457"/>
                      </a:lnTo>
                      <a:lnTo>
                        <a:pt x="2133866" y="591350"/>
                      </a:lnTo>
                      <a:lnTo>
                        <a:pt x="2128926" y="592582"/>
                      </a:lnTo>
                      <a:lnTo>
                        <a:pt x="2129929" y="594563"/>
                      </a:lnTo>
                      <a:lnTo>
                        <a:pt x="2135060" y="591337"/>
                      </a:lnTo>
                      <a:lnTo>
                        <a:pt x="2140877" y="588949"/>
                      </a:lnTo>
                      <a:lnTo>
                        <a:pt x="2149170" y="584720"/>
                      </a:lnTo>
                      <a:close/>
                    </a:path>
                    <a:path w="2402840" h="2044700">
                      <a:moveTo>
                        <a:pt x="2176500" y="668413"/>
                      </a:moveTo>
                      <a:lnTo>
                        <a:pt x="2174316" y="667486"/>
                      </a:lnTo>
                      <a:lnTo>
                        <a:pt x="2172500" y="665721"/>
                      </a:lnTo>
                      <a:lnTo>
                        <a:pt x="2170493" y="663714"/>
                      </a:lnTo>
                      <a:lnTo>
                        <a:pt x="2169490" y="661568"/>
                      </a:lnTo>
                      <a:lnTo>
                        <a:pt x="2169871" y="658622"/>
                      </a:lnTo>
                      <a:lnTo>
                        <a:pt x="2167559" y="658926"/>
                      </a:lnTo>
                      <a:lnTo>
                        <a:pt x="2165172" y="659041"/>
                      </a:lnTo>
                      <a:lnTo>
                        <a:pt x="2162937" y="659663"/>
                      </a:lnTo>
                      <a:lnTo>
                        <a:pt x="2166251" y="660057"/>
                      </a:lnTo>
                      <a:lnTo>
                        <a:pt x="2166709" y="663117"/>
                      </a:lnTo>
                      <a:lnTo>
                        <a:pt x="2168601" y="665353"/>
                      </a:lnTo>
                      <a:lnTo>
                        <a:pt x="2170760" y="667969"/>
                      </a:lnTo>
                      <a:lnTo>
                        <a:pt x="2172881" y="669467"/>
                      </a:lnTo>
                      <a:lnTo>
                        <a:pt x="2175776" y="671372"/>
                      </a:lnTo>
                      <a:lnTo>
                        <a:pt x="2176500" y="668413"/>
                      </a:lnTo>
                      <a:close/>
                    </a:path>
                    <a:path w="2402840" h="2044700">
                      <a:moveTo>
                        <a:pt x="2176805" y="1841004"/>
                      </a:moveTo>
                      <a:lnTo>
                        <a:pt x="2175154" y="1839645"/>
                      </a:lnTo>
                      <a:lnTo>
                        <a:pt x="2174379" y="1841157"/>
                      </a:lnTo>
                      <a:lnTo>
                        <a:pt x="2173998" y="1842858"/>
                      </a:lnTo>
                      <a:lnTo>
                        <a:pt x="2173503" y="1844471"/>
                      </a:lnTo>
                      <a:lnTo>
                        <a:pt x="2175776" y="1843176"/>
                      </a:lnTo>
                      <a:lnTo>
                        <a:pt x="2174570" y="1842985"/>
                      </a:lnTo>
                      <a:lnTo>
                        <a:pt x="2174887" y="1841284"/>
                      </a:lnTo>
                      <a:lnTo>
                        <a:pt x="2175040" y="1840242"/>
                      </a:lnTo>
                      <a:lnTo>
                        <a:pt x="2176805" y="1841004"/>
                      </a:lnTo>
                      <a:close/>
                    </a:path>
                    <a:path w="2402840" h="2044700">
                      <a:moveTo>
                        <a:pt x="2181288" y="1865452"/>
                      </a:moveTo>
                      <a:lnTo>
                        <a:pt x="2177465" y="1863471"/>
                      </a:lnTo>
                      <a:lnTo>
                        <a:pt x="2172919" y="1860410"/>
                      </a:lnTo>
                      <a:lnTo>
                        <a:pt x="2170341" y="1857857"/>
                      </a:lnTo>
                      <a:lnTo>
                        <a:pt x="2163445" y="1853869"/>
                      </a:lnTo>
                      <a:lnTo>
                        <a:pt x="2159812" y="1851621"/>
                      </a:lnTo>
                      <a:lnTo>
                        <a:pt x="2154758" y="1845348"/>
                      </a:lnTo>
                      <a:lnTo>
                        <a:pt x="2151062" y="1843366"/>
                      </a:lnTo>
                      <a:lnTo>
                        <a:pt x="2142960" y="1837372"/>
                      </a:lnTo>
                      <a:lnTo>
                        <a:pt x="2143544" y="1838820"/>
                      </a:lnTo>
                      <a:lnTo>
                        <a:pt x="2141766" y="1838553"/>
                      </a:lnTo>
                      <a:lnTo>
                        <a:pt x="2139873" y="1837169"/>
                      </a:lnTo>
                      <a:lnTo>
                        <a:pt x="2139531" y="1836623"/>
                      </a:lnTo>
                      <a:lnTo>
                        <a:pt x="2138845" y="1835962"/>
                      </a:lnTo>
                      <a:lnTo>
                        <a:pt x="2138222" y="1834946"/>
                      </a:lnTo>
                      <a:lnTo>
                        <a:pt x="2137257" y="1835264"/>
                      </a:lnTo>
                      <a:lnTo>
                        <a:pt x="2142147" y="1843201"/>
                      </a:lnTo>
                      <a:lnTo>
                        <a:pt x="2148052" y="1848853"/>
                      </a:lnTo>
                      <a:lnTo>
                        <a:pt x="2152446" y="1856079"/>
                      </a:lnTo>
                      <a:lnTo>
                        <a:pt x="2161667" y="1860067"/>
                      </a:lnTo>
                      <a:lnTo>
                        <a:pt x="2162289" y="1859343"/>
                      </a:lnTo>
                      <a:lnTo>
                        <a:pt x="2163635" y="1860727"/>
                      </a:lnTo>
                      <a:lnTo>
                        <a:pt x="2164207" y="1861477"/>
                      </a:lnTo>
                      <a:lnTo>
                        <a:pt x="2167064" y="1863115"/>
                      </a:lnTo>
                      <a:lnTo>
                        <a:pt x="2168995" y="1864309"/>
                      </a:lnTo>
                      <a:lnTo>
                        <a:pt x="2180132" y="1871992"/>
                      </a:lnTo>
                      <a:lnTo>
                        <a:pt x="2180945" y="1867560"/>
                      </a:lnTo>
                      <a:lnTo>
                        <a:pt x="2181288" y="1865452"/>
                      </a:lnTo>
                      <a:close/>
                    </a:path>
                    <a:path w="2402840" h="2044700">
                      <a:moveTo>
                        <a:pt x="2187651" y="1849081"/>
                      </a:moveTo>
                      <a:lnTo>
                        <a:pt x="2186609" y="1848002"/>
                      </a:lnTo>
                      <a:lnTo>
                        <a:pt x="2185416" y="1845398"/>
                      </a:lnTo>
                      <a:lnTo>
                        <a:pt x="2185149" y="1844840"/>
                      </a:lnTo>
                      <a:lnTo>
                        <a:pt x="2184831" y="1844306"/>
                      </a:lnTo>
                      <a:lnTo>
                        <a:pt x="2183561" y="1843811"/>
                      </a:lnTo>
                      <a:lnTo>
                        <a:pt x="2181021" y="1844255"/>
                      </a:lnTo>
                      <a:lnTo>
                        <a:pt x="2181250" y="1845310"/>
                      </a:lnTo>
                      <a:lnTo>
                        <a:pt x="2182876" y="1845030"/>
                      </a:lnTo>
                      <a:lnTo>
                        <a:pt x="2183879" y="1846643"/>
                      </a:lnTo>
                      <a:lnTo>
                        <a:pt x="2181669" y="1847265"/>
                      </a:lnTo>
                      <a:lnTo>
                        <a:pt x="2180983" y="1847596"/>
                      </a:lnTo>
                      <a:lnTo>
                        <a:pt x="2181568" y="1848180"/>
                      </a:lnTo>
                      <a:lnTo>
                        <a:pt x="2181669" y="1849031"/>
                      </a:lnTo>
                      <a:lnTo>
                        <a:pt x="2182914" y="1849958"/>
                      </a:lnTo>
                      <a:lnTo>
                        <a:pt x="2183409" y="1849755"/>
                      </a:lnTo>
                      <a:lnTo>
                        <a:pt x="2184565" y="1850377"/>
                      </a:lnTo>
                      <a:lnTo>
                        <a:pt x="2184997" y="1851101"/>
                      </a:lnTo>
                      <a:lnTo>
                        <a:pt x="2185835" y="1851431"/>
                      </a:lnTo>
                      <a:lnTo>
                        <a:pt x="2187651" y="1849081"/>
                      </a:lnTo>
                      <a:close/>
                    </a:path>
                    <a:path w="2402840" h="2044700">
                      <a:moveTo>
                        <a:pt x="2187765" y="1873796"/>
                      </a:moveTo>
                      <a:lnTo>
                        <a:pt x="2187498" y="1873135"/>
                      </a:lnTo>
                      <a:lnTo>
                        <a:pt x="2187194" y="1872488"/>
                      </a:lnTo>
                      <a:lnTo>
                        <a:pt x="2186762" y="1871929"/>
                      </a:lnTo>
                      <a:lnTo>
                        <a:pt x="2186571" y="1872691"/>
                      </a:lnTo>
                      <a:lnTo>
                        <a:pt x="2187105" y="1873338"/>
                      </a:lnTo>
                      <a:lnTo>
                        <a:pt x="2187765" y="1873796"/>
                      </a:lnTo>
                      <a:close/>
                    </a:path>
                    <a:path w="2402840" h="2044700">
                      <a:moveTo>
                        <a:pt x="2196947" y="1855292"/>
                      </a:moveTo>
                      <a:lnTo>
                        <a:pt x="2195639" y="1855939"/>
                      </a:lnTo>
                      <a:lnTo>
                        <a:pt x="2195753" y="1854161"/>
                      </a:lnTo>
                      <a:lnTo>
                        <a:pt x="2194712" y="1853819"/>
                      </a:lnTo>
                      <a:lnTo>
                        <a:pt x="2192477" y="1854492"/>
                      </a:lnTo>
                      <a:lnTo>
                        <a:pt x="2192286" y="1854542"/>
                      </a:lnTo>
                      <a:lnTo>
                        <a:pt x="2192744" y="1855266"/>
                      </a:lnTo>
                      <a:lnTo>
                        <a:pt x="2193442" y="1856930"/>
                      </a:lnTo>
                      <a:lnTo>
                        <a:pt x="2192972" y="1857679"/>
                      </a:lnTo>
                      <a:lnTo>
                        <a:pt x="2193709" y="1857616"/>
                      </a:lnTo>
                      <a:lnTo>
                        <a:pt x="2194407" y="1858022"/>
                      </a:lnTo>
                      <a:lnTo>
                        <a:pt x="2194903" y="1858581"/>
                      </a:lnTo>
                      <a:lnTo>
                        <a:pt x="2195588" y="1857527"/>
                      </a:lnTo>
                      <a:lnTo>
                        <a:pt x="2196439" y="1856473"/>
                      </a:lnTo>
                      <a:lnTo>
                        <a:pt x="2196947" y="1855292"/>
                      </a:lnTo>
                      <a:close/>
                    </a:path>
                    <a:path w="2402840" h="2044700">
                      <a:moveTo>
                        <a:pt x="2215096" y="332740"/>
                      </a:moveTo>
                      <a:lnTo>
                        <a:pt x="2213483" y="331292"/>
                      </a:lnTo>
                      <a:lnTo>
                        <a:pt x="2212136" y="331266"/>
                      </a:lnTo>
                      <a:lnTo>
                        <a:pt x="2206155" y="330365"/>
                      </a:lnTo>
                      <a:lnTo>
                        <a:pt x="2200300" y="326872"/>
                      </a:lnTo>
                      <a:lnTo>
                        <a:pt x="2194166" y="330466"/>
                      </a:lnTo>
                      <a:lnTo>
                        <a:pt x="2190927" y="332422"/>
                      </a:lnTo>
                      <a:lnTo>
                        <a:pt x="2192312" y="334149"/>
                      </a:lnTo>
                      <a:lnTo>
                        <a:pt x="2194166" y="334429"/>
                      </a:lnTo>
                      <a:lnTo>
                        <a:pt x="2194623" y="334606"/>
                      </a:lnTo>
                      <a:lnTo>
                        <a:pt x="2195626" y="335038"/>
                      </a:lnTo>
                      <a:lnTo>
                        <a:pt x="2195855" y="335419"/>
                      </a:lnTo>
                      <a:lnTo>
                        <a:pt x="2199525" y="338086"/>
                      </a:lnTo>
                      <a:lnTo>
                        <a:pt x="2204770" y="339585"/>
                      </a:lnTo>
                      <a:lnTo>
                        <a:pt x="2208238" y="339826"/>
                      </a:lnTo>
                      <a:lnTo>
                        <a:pt x="2211324" y="339547"/>
                      </a:lnTo>
                      <a:lnTo>
                        <a:pt x="2212898" y="339826"/>
                      </a:lnTo>
                      <a:lnTo>
                        <a:pt x="2214130" y="335407"/>
                      </a:lnTo>
                      <a:lnTo>
                        <a:pt x="2215096" y="332740"/>
                      </a:lnTo>
                      <a:close/>
                    </a:path>
                    <a:path w="2402840" h="2044700">
                      <a:moveTo>
                        <a:pt x="2402573" y="296557"/>
                      </a:moveTo>
                      <a:lnTo>
                        <a:pt x="2399982" y="294868"/>
                      </a:lnTo>
                      <a:lnTo>
                        <a:pt x="2396985" y="293293"/>
                      </a:lnTo>
                      <a:lnTo>
                        <a:pt x="2394521" y="291274"/>
                      </a:lnTo>
                      <a:lnTo>
                        <a:pt x="2394445" y="290601"/>
                      </a:lnTo>
                      <a:lnTo>
                        <a:pt x="2392438" y="289788"/>
                      </a:lnTo>
                      <a:lnTo>
                        <a:pt x="2389619" y="288264"/>
                      </a:lnTo>
                      <a:lnTo>
                        <a:pt x="2387930" y="288620"/>
                      </a:lnTo>
                      <a:lnTo>
                        <a:pt x="2366759" y="288836"/>
                      </a:lnTo>
                      <a:lnTo>
                        <a:pt x="2348865" y="298208"/>
                      </a:lnTo>
                      <a:lnTo>
                        <a:pt x="2347010" y="301180"/>
                      </a:lnTo>
                      <a:lnTo>
                        <a:pt x="2347480" y="303720"/>
                      </a:lnTo>
                      <a:lnTo>
                        <a:pt x="2348242" y="304800"/>
                      </a:lnTo>
                      <a:lnTo>
                        <a:pt x="2348903" y="306730"/>
                      </a:lnTo>
                      <a:lnTo>
                        <a:pt x="2348903" y="308394"/>
                      </a:lnTo>
                      <a:lnTo>
                        <a:pt x="2350020" y="308051"/>
                      </a:lnTo>
                      <a:lnTo>
                        <a:pt x="2366060" y="303225"/>
                      </a:lnTo>
                      <a:lnTo>
                        <a:pt x="2366416" y="302945"/>
                      </a:lnTo>
                      <a:lnTo>
                        <a:pt x="2366645" y="302577"/>
                      </a:lnTo>
                      <a:lnTo>
                        <a:pt x="2366772" y="303022"/>
                      </a:lnTo>
                      <a:lnTo>
                        <a:pt x="2368918" y="303707"/>
                      </a:lnTo>
                      <a:lnTo>
                        <a:pt x="2371115" y="304850"/>
                      </a:lnTo>
                      <a:lnTo>
                        <a:pt x="2374696" y="305612"/>
                      </a:lnTo>
                      <a:lnTo>
                        <a:pt x="2376246" y="305015"/>
                      </a:lnTo>
                      <a:lnTo>
                        <a:pt x="2379637" y="305511"/>
                      </a:lnTo>
                      <a:lnTo>
                        <a:pt x="2381516" y="304812"/>
                      </a:lnTo>
                      <a:lnTo>
                        <a:pt x="2397493" y="301434"/>
                      </a:lnTo>
                      <a:lnTo>
                        <a:pt x="2399449" y="299847"/>
                      </a:lnTo>
                      <a:lnTo>
                        <a:pt x="2402573" y="296557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73" name="object 113">
                  <a:extLst>
                    <a:ext uri="{FF2B5EF4-FFF2-40B4-BE49-F238E27FC236}">
                      <a16:creationId xmlns:a16="http://schemas.microsoft.com/office/drawing/2014/main" id="{2B793940-E134-11B8-2FD1-E50092DEE2D4}"/>
                    </a:ext>
                  </a:extLst>
                </p:cNvPr>
                <p:cNvSpPr/>
                <p:nvPr/>
              </p:nvSpPr>
              <p:spPr>
                <a:xfrm>
                  <a:off x="4361188" y="3034216"/>
                  <a:ext cx="579755" cy="4356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79754" h="435610">
                      <a:moveTo>
                        <a:pt x="474103" y="430529"/>
                      </a:moveTo>
                      <a:lnTo>
                        <a:pt x="471487" y="430529"/>
                      </a:lnTo>
                      <a:lnTo>
                        <a:pt x="472948" y="431799"/>
                      </a:lnTo>
                      <a:lnTo>
                        <a:pt x="474103" y="433069"/>
                      </a:lnTo>
                      <a:lnTo>
                        <a:pt x="474954" y="434339"/>
                      </a:lnTo>
                      <a:lnTo>
                        <a:pt x="474840" y="435609"/>
                      </a:lnTo>
                      <a:lnTo>
                        <a:pt x="476034" y="435609"/>
                      </a:lnTo>
                      <a:lnTo>
                        <a:pt x="476224" y="434339"/>
                      </a:lnTo>
                      <a:lnTo>
                        <a:pt x="476034" y="433069"/>
                      </a:lnTo>
                      <a:lnTo>
                        <a:pt x="474535" y="433069"/>
                      </a:lnTo>
                      <a:lnTo>
                        <a:pt x="474103" y="430529"/>
                      </a:lnTo>
                      <a:close/>
                    </a:path>
                    <a:path w="579754" h="435610">
                      <a:moveTo>
                        <a:pt x="481279" y="427989"/>
                      </a:moveTo>
                      <a:lnTo>
                        <a:pt x="464705" y="427989"/>
                      </a:lnTo>
                      <a:lnTo>
                        <a:pt x="466051" y="429259"/>
                      </a:lnTo>
                      <a:lnTo>
                        <a:pt x="469023" y="433069"/>
                      </a:lnTo>
                      <a:lnTo>
                        <a:pt x="471487" y="430529"/>
                      </a:lnTo>
                      <a:lnTo>
                        <a:pt x="474103" y="430529"/>
                      </a:lnTo>
                      <a:lnTo>
                        <a:pt x="473214" y="429259"/>
                      </a:lnTo>
                      <a:lnTo>
                        <a:pt x="474840" y="429259"/>
                      </a:lnTo>
                      <a:lnTo>
                        <a:pt x="481279" y="427989"/>
                      </a:lnTo>
                      <a:close/>
                    </a:path>
                    <a:path w="579754" h="435610">
                      <a:moveTo>
                        <a:pt x="475653" y="431799"/>
                      </a:moveTo>
                      <a:lnTo>
                        <a:pt x="474535" y="433069"/>
                      </a:lnTo>
                      <a:lnTo>
                        <a:pt x="476034" y="433069"/>
                      </a:lnTo>
                      <a:lnTo>
                        <a:pt x="475653" y="431799"/>
                      </a:lnTo>
                      <a:close/>
                    </a:path>
                    <a:path w="579754" h="435610">
                      <a:moveTo>
                        <a:pt x="446218" y="422909"/>
                      </a:moveTo>
                      <a:lnTo>
                        <a:pt x="418236" y="422909"/>
                      </a:lnTo>
                      <a:lnTo>
                        <a:pt x="421665" y="424179"/>
                      </a:lnTo>
                      <a:lnTo>
                        <a:pt x="424332" y="426719"/>
                      </a:lnTo>
                      <a:lnTo>
                        <a:pt x="426910" y="427989"/>
                      </a:lnTo>
                      <a:lnTo>
                        <a:pt x="435279" y="431799"/>
                      </a:lnTo>
                      <a:lnTo>
                        <a:pt x="439597" y="427989"/>
                      </a:lnTo>
                      <a:lnTo>
                        <a:pt x="442722" y="425449"/>
                      </a:lnTo>
                      <a:lnTo>
                        <a:pt x="446218" y="422909"/>
                      </a:lnTo>
                      <a:close/>
                    </a:path>
                    <a:path w="579754" h="435610">
                      <a:moveTo>
                        <a:pt x="490493" y="421639"/>
                      </a:moveTo>
                      <a:lnTo>
                        <a:pt x="463296" y="421639"/>
                      </a:lnTo>
                      <a:lnTo>
                        <a:pt x="463346" y="422909"/>
                      </a:lnTo>
                      <a:lnTo>
                        <a:pt x="463080" y="424179"/>
                      </a:lnTo>
                      <a:lnTo>
                        <a:pt x="462534" y="425449"/>
                      </a:lnTo>
                      <a:lnTo>
                        <a:pt x="461657" y="425449"/>
                      </a:lnTo>
                      <a:lnTo>
                        <a:pt x="462229" y="426719"/>
                      </a:lnTo>
                      <a:lnTo>
                        <a:pt x="463042" y="426719"/>
                      </a:lnTo>
                      <a:lnTo>
                        <a:pt x="464312" y="427989"/>
                      </a:lnTo>
                      <a:lnTo>
                        <a:pt x="482434" y="427989"/>
                      </a:lnTo>
                      <a:lnTo>
                        <a:pt x="485216" y="426719"/>
                      </a:lnTo>
                      <a:lnTo>
                        <a:pt x="487451" y="424179"/>
                      </a:lnTo>
                      <a:lnTo>
                        <a:pt x="490493" y="421639"/>
                      </a:lnTo>
                      <a:close/>
                    </a:path>
                    <a:path w="579754" h="435610">
                      <a:moveTo>
                        <a:pt x="497357" y="415289"/>
                      </a:moveTo>
                      <a:lnTo>
                        <a:pt x="454977" y="415289"/>
                      </a:lnTo>
                      <a:lnTo>
                        <a:pt x="458190" y="419099"/>
                      </a:lnTo>
                      <a:lnTo>
                        <a:pt x="457403" y="420369"/>
                      </a:lnTo>
                      <a:lnTo>
                        <a:pt x="455447" y="422909"/>
                      </a:lnTo>
                      <a:lnTo>
                        <a:pt x="454520" y="424179"/>
                      </a:lnTo>
                      <a:lnTo>
                        <a:pt x="453631" y="424179"/>
                      </a:lnTo>
                      <a:lnTo>
                        <a:pt x="455015" y="425449"/>
                      </a:lnTo>
                      <a:lnTo>
                        <a:pt x="456793" y="425449"/>
                      </a:lnTo>
                      <a:lnTo>
                        <a:pt x="460184" y="422909"/>
                      </a:lnTo>
                      <a:lnTo>
                        <a:pt x="460654" y="421639"/>
                      </a:lnTo>
                      <a:lnTo>
                        <a:pt x="490493" y="421639"/>
                      </a:lnTo>
                      <a:lnTo>
                        <a:pt x="493534" y="419099"/>
                      </a:lnTo>
                      <a:lnTo>
                        <a:pt x="497357" y="415289"/>
                      </a:lnTo>
                      <a:close/>
                    </a:path>
                    <a:path w="579754" h="435610">
                      <a:moveTo>
                        <a:pt x="447929" y="417829"/>
                      </a:moveTo>
                      <a:lnTo>
                        <a:pt x="398500" y="417829"/>
                      </a:lnTo>
                      <a:lnTo>
                        <a:pt x="398500" y="419099"/>
                      </a:lnTo>
                      <a:lnTo>
                        <a:pt x="403428" y="420369"/>
                      </a:lnTo>
                      <a:lnTo>
                        <a:pt x="404241" y="421639"/>
                      </a:lnTo>
                      <a:lnTo>
                        <a:pt x="404622" y="422909"/>
                      </a:lnTo>
                      <a:lnTo>
                        <a:pt x="404202" y="422909"/>
                      </a:lnTo>
                      <a:lnTo>
                        <a:pt x="405358" y="424179"/>
                      </a:lnTo>
                      <a:lnTo>
                        <a:pt x="408673" y="422909"/>
                      </a:lnTo>
                      <a:lnTo>
                        <a:pt x="411759" y="421639"/>
                      </a:lnTo>
                      <a:lnTo>
                        <a:pt x="450894" y="421639"/>
                      </a:lnTo>
                      <a:lnTo>
                        <a:pt x="451980" y="420369"/>
                      </a:lnTo>
                      <a:lnTo>
                        <a:pt x="446303" y="420369"/>
                      </a:lnTo>
                      <a:lnTo>
                        <a:pt x="447929" y="417829"/>
                      </a:lnTo>
                      <a:close/>
                    </a:path>
                    <a:path w="579754" h="435610">
                      <a:moveTo>
                        <a:pt x="447967" y="421639"/>
                      </a:moveTo>
                      <a:lnTo>
                        <a:pt x="412026" y="421639"/>
                      </a:lnTo>
                      <a:lnTo>
                        <a:pt x="416966" y="424179"/>
                      </a:lnTo>
                      <a:lnTo>
                        <a:pt x="418236" y="422909"/>
                      </a:lnTo>
                      <a:lnTo>
                        <a:pt x="446218" y="422909"/>
                      </a:lnTo>
                      <a:lnTo>
                        <a:pt x="447967" y="421639"/>
                      </a:lnTo>
                      <a:close/>
                    </a:path>
                    <a:path w="579754" h="435610">
                      <a:moveTo>
                        <a:pt x="452704" y="422909"/>
                      </a:moveTo>
                      <a:lnTo>
                        <a:pt x="453097" y="424179"/>
                      </a:lnTo>
                      <a:lnTo>
                        <a:pt x="454520" y="424179"/>
                      </a:lnTo>
                      <a:lnTo>
                        <a:pt x="452704" y="422909"/>
                      </a:lnTo>
                      <a:close/>
                    </a:path>
                    <a:path w="579754" h="435610">
                      <a:moveTo>
                        <a:pt x="450894" y="421639"/>
                      </a:moveTo>
                      <a:lnTo>
                        <a:pt x="447967" y="421639"/>
                      </a:lnTo>
                      <a:lnTo>
                        <a:pt x="449808" y="422909"/>
                      </a:lnTo>
                      <a:lnTo>
                        <a:pt x="450894" y="421639"/>
                      </a:lnTo>
                      <a:close/>
                    </a:path>
                    <a:path w="579754" h="435610">
                      <a:moveTo>
                        <a:pt x="452666" y="419099"/>
                      </a:moveTo>
                      <a:lnTo>
                        <a:pt x="450507" y="419099"/>
                      </a:lnTo>
                      <a:lnTo>
                        <a:pt x="446303" y="420369"/>
                      </a:lnTo>
                      <a:lnTo>
                        <a:pt x="451980" y="420369"/>
                      </a:lnTo>
                      <a:lnTo>
                        <a:pt x="452666" y="419099"/>
                      </a:lnTo>
                      <a:close/>
                    </a:path>
                    <a:path w="579754" h="435610">
                      <a:moveTo>
                        <a:pt x="369912" y="377189"/>
                      </a:moveTo>
                      <a:lnTo>
                        <a:pt x="369150" y="377189"/>
                      </a:lnTo>
                      <a:lnTo>
                        <a:pt x="377202" y="386079"/>
                      </a:lnTo>
                      <a:lnTo>
                        <a:pt x="379526" y="387349"/>
                      </a:lnTo>
                      <a:lnTo>
                        <a:pt x="381215" y="391159"/>
                      </a:lnTo>
                      <a:lnTo>
                        <a:pt x="382524" y="393699"/>
                      </a:lnTo>
                      <a:lnTo>
                        <a:pt x="382727" y="397509"/>
                      </a:lnTo>
                      <a:lnTo>
                        <a:pt x="380758" y="400049"/>
                      </a:lnTo>
                      <a:lnTo>
                        <a:pt x="380873" y="401319"/>
                      </a:lnTo>
                      <a:lnTo>
                        <a:pt x="380987" y="405129"/>
                      </a:lnTo>
                      <a:lnTo>
                        <a:pt x="383540" y="407669"/>
                      </a:lnTo>
                      <a:lnTo>
                        <a:pt x="387972" y="410209"/>
                      </a:lnTo>
                      <a:lnTo>
                        <a:pt x="389356" y="414019"/>
                      </a:lnTo>
                      <a:lnTo>
                        <a:pt x="391858" y="417829"/>
                      </a:lnTo>
                      <a:lnTo>
                        <a:pt x="451739" y="417829"/>
                      </a:lnTo>
                      <a:lnTo>
                        <a:pt x="453669" y="415289"/>
                      </a:lnTo>
                      <a:lnTo>
                        <a:pt x="497357" y="415289"/>
                      </a:lnTo>
                      <a:lnTo>
                        <a:pt x="515200" y="414019"/>
                      </a:lnTo>
                      <a:lnTo>
                        <a:pt x="520217" y="414019"/>
                      </a:lnTo>
                      <a:lnTo>
                        <a:pt x="521843" y="411479"/>
                      </a:lnTo>
                      <a:lnTo>
                        <a:pt x="523379" y="408939"/>
                      </a:lnTo>
                      <a:lnTo>
                        <a:pt x="527473" y="408939"/>
                      </a:lnTo>
                      <a:lnTo>
                        <a:pt x="528091" y="406399"/>
                      </a:lnTo>
                      <a:lnTo>
                        <a:pt x="528510" y="405129"/>
                      </a:lnTo>
                      <a:lnTo>
                        <a:pt x="528110" y="403859"/>
                      </a:lnTo>
                      <a:lnTo>
                        <a:pt x="527088" y="403859"/>
                      </a:lnTo>
                      <a:lnTo>
                        <a:pt x="525856" y="401319"/>
                      </a:lnTo>
                      <a:lnTo>
                        <a:pt x="526237" y="400049"/>
                      </a:lnTo>
                      <a:lnTo>
                        <a:pt x="526592" y="397509"/>
                      </a:lnTo>
                      <a:lnTo>
                        <a:pt x="527710" y="394969"/>
                      </a:lnTo>
                      <a:lnTo>
                        <a:pt x="529513" y="388619"/>
                      </a:lnTo>
                      <a:lnTo>
                        <a:pt x="530098" y="383539"/>
                      </a:lnTo>
                      <a:lnTo>
                        <a:pt x="532155" y="379729"/>
                      </a:lnTo>
                      <a:lnTo>
                        <a:pt x="373075" y="379729"/>
                      </a:lnTo>
                      <a:lnTo>
                        <a:pt x="369912" y="377189"/>
                      </a:lnTo>
                      <a:close/>
                    </a:path>
                    <a:path w="579754" h="435610">
                      <a:moveTo>
                        <a:pt x="527473" y="408939"/>
                      </a:moveTo>
                      <a:lnTo>
                        <a:pt x="526313" y="408939"/>
                      </a:lnTo>
                      <a:lnTo>
                        <a:pt x="527164" y="410209"/>
                      </a:lnTo>
                      <a:lnTo>
                        <a:pt x="527473" y="408939"/>
                      </a:lnTo>
                      <a:close/>
                    </a:path>
                    <a:path w="579754" h="435610">
                      <a:moveTo>
                        <a:pt x="527710" y="402589"/>
                      </a:moveTo>
                      <a:lnTo>
                        <a:pt x="527088" y="403859"/>
                      </a:lnTo>
                      <a:lnTo>
                        <a:pt x="528110" y="403859"/>
                      </a:lnTo>
                      <a:lnTo>
                        <a:pt x="527710" y="402589"/>
                      </a:lnTo>
                      <a:close/>
                    </a:path>
                    <a:path w="579754" h="435610">
                      <a:moveTo>
                        <a:pt x="373545" y="378459"/>
                      </a:moveTo>
                      <a:lnTo>
                        <a:pt x="372313" y="378459"/>
                      </a:lnTo>
                      <a:lnTo>
                        <a:pt x="373075" y="379729"/>
                      </a:lnTo>
                      <a:lnTo>
                        <a:pt x="374015" y="379729"/>
                      </a:lnTo>
                      <a:lnTo>
                        <a:pt x="373545" y="378459"/>
                      </a:lnTo>
                      <a:close/>
                    </a:path>
                    <a:path w="579754" h="435610">
                      <a:moveTo>
                        <a:pt x="535465" y="373379"/>
                      </a:moveTo>
                      <a:lnTo>
                        <a:pt x="374434" y="373379"/>
                      </a:lnTo>
                      <a:lnTo>
                        <a:pt x="373938" y="374649"/>
                      </a:lnTo>
                      <a:lnTo>
                        <a:pt x="373354" y="375919"/>
                      </a:lnTo>
                      <a:lnTo>
                        <a:pt x="373786" y="377189"/>
                      </a:lnTo>
                      <a:lnTo>
                        <a:pt x="374015" y="379729"/>
                      </a:lnTo>
                      <a:lnTo>
                        <a:pt x="532155" y="379729"/>
                      </a:lnTo>
                      <a:lnTo>
                        <a:pt x="533527" y="377189"/>
                      </a:lnTo>
                      <a:lnTo>
                        <a:pt x="534835" y="374649"/>
                      </a:lnTo>
                      <a:lnTo>
                        <a:pt x="535465" y="373379"/>
                      </a:lnTo>
                      <a:close/>
                    </a:path>
                    <a:path w="579754" h="435610">
                      <a:moveTo>
                        <a:pt x="542848" y="354329"/>
                      </a:moveTo>
                      <a:lnTo>
                        <a:pt x="357581" y="354329"/>
                      </a:lnTo>
                      <a:lnTo>
                        <a:pt x="358736" y="355599"/>
                      </a:lnTo>
                      <a:lnTo>
                        <a:pt x="359816" y="358139"/>
                      </a:lnTo>
                      <a:lnTo>
                        <a:pt x="361289" y="360679"/>
                      </a:lnTo>
                      <a:lnTo>
                        <a:pt x="361708" y="361949"/>
                      </a:lnTo>
                      <a:lnTo>
                        <a:pt x="362902" y="363219"/>
                      </a:lnTo>
                      <a:lnTo>
                        <a:pt x="363562" y="363219"/>
                      </a:lnTo>
                      <a:lnTo>
                        <a:pt x="363753" y="364489"/>
                      </a:lnTo>
                      <a:lnTo>
                        <a:pt x="364210" y="365759"/>
                      </a:lnTo>
                      <a:lnTo>
                        <a:pt x="363258" y="368299"/>
                      </a:lnTo>
                      <a:lnTo>
                        <a:pt x="362597" y="372109"/>
                      </a:lnTo>
                      <a:lnTo>
                        <a:pt x="362635" y="373379"/>
                      </a:lnTo>
                      <a:lnTo>
                        <a:pt x="360819" y="374649"/>
                      </a:lnTo>
                      <a:lnTo>
                        <a:pt x="359892" y="375919"/>
                      </a:lnTo>
                      <a:lnTo>
                        <a:pt x="357746" y="375919"/>
                      </a:lnTo>
                      <a:lnTo>
                        <a:pt x="357428" y="378459"/>
                      </a:lnTo>
                      <a:lnTo>
                        <a:pt x="362826" y="378459"/>
                      </a:lnTo>
                      <a:lnTo>
                        <a:pt x="363982" y="377189"/>
                      </a:lnTo>
                      <a:lnTo>
                        <a:pt x="368884" y="377189"/>
                      </a:lnTo>
                      <a:lnTo>
                        <a:pt x="371690" y="374649"/>
                      </a:lnTo>
                      <a:lnTo>
                        <a:pt x="372503" y="374649"/>
                      </a:lnTo>
                      <a:lnTo>
                        <a:pt x="374434" y="373379"/>
                      </a:lnTo>
                      <a:lnTo>
                        <a:pt x="535465" y="373379"/>
                      </a:lnTo>
                      <a:lnTo>
                        <a:pt x="536727" y="370839"/>
                      </a:lnTo>
                      <a:lnTo>
                        <a:pt x="540461" y="370839"/>
                      </a:lnTo>
                      <a:lnTo>
                        <a:pt x="537654" y="369569"/>
                      </a:lnTo>
                      <a:lnTo>
                        <a:pt x="540042" y="369569"/>
                      </a:lnTo>
                      <a:lnTo>
                        <a:pt x="539496" y="368299"/>
                      </a:lnTo>
                      <a:lnTo>
                        <a:pt x="539457" y="367029"/>
                      </a:lnTo>
                      <a:lnTo>
                        <a:pt x="538619" y="365759"/>
                      </a:lnTo>
                      <a:lnTo>
                        <a:pt x="538962" y="364489"/>
                      </a:lnTo>
                      <a:lnTo>
                        <a:pt x="540270" y="361949"/>
                      </a:lnTo>
                      <a:lnTo>
                        <a:pt x="539927" y="360679"/>
                      </a:lnTo>
                      <a:lnTo>
                        <a:pt x="539457" y="360679"/>
                      </a:lnTo>
                      <a:lnTo>
                        <a:pt x="540499" y="359409"/>
                      </a:lnTo>
                      <a:lnTo>
                        <a:pt x="542848" y="354329"/>
                      </a:lnTo>
                      <a:close/>
                    </a:path>
                    <a:path w="579754" h="435610">
                      <a:moveTo>
                        <a:pt x="373049" y="374649"/>
                      </a:moveTo>
                      <a:lnTo>
                        <a:pt x="371309" y="377189"/>
                      </a:lnTo>
                      <a:lnTo>
                        <a:pt x="370814" y="377189"/>
                      </a:lnTo>
                      <a:lnTo>
                        <a:pt x="371525" y="378459"/>
                      </a:lnTo>
                      <a:lnTo>
                        <a:pt x="373849" y="378459"/>
                      </a:lnTo>
                      <a:lnTo>
                        <a:pt x="373049" y="374649"/>
                      </a:lnTo>
                      <a:close/>
                    </a:path>
                    <a:path w="579754" h="435610">
                      <a:moveTo>
                        <a:pt x="561327" y="328929"/>
                      </a:moveTo>
                      <a:lnTo>
                        <a:pt x="352539" y="328929"/>
                      </a:lnTo>
                      <a:lnTo>
                        <a:pt x="353542" y="330199"/>
                      </a:lnTo>
                      <a:lnTo>
                        <a:pt x="354114" y="331469"/>
                      </a:lnTo>
                      <a:lnTo>
                        <a:pt x="355727" y="335279"/>
                      </a:lnTo>
                      <a:lnTo>
                        <a:pt x="356616" y="337819"/>
                      </a:lnTo>
                      <a:lnTo>
                        <a:pt x="354571" y="337819"/>
                      </a:lnTo>
                      <a:lnTo>
                        <a:pt x="354304" y="339089"/>
                      </a:lnTo>
                      <a:lnTo>
                        <a:pt x="353568" y="339089"/>
                      </a:lnTo>
                      <a:lnTo>
                        <a:pt x="353225" y="340359"/>
                      </a:lnTo>
                      <a:lnTo>
                        <a:pt x="354812" y="341629"/>
                      </a:lnTo>
                      <a:lnTo>
                        <a:pt x="353339" y="346709"/>
                      </a:lnTo>
                      <a:lnTo>
                        <a:pt x="351993" y="347979"/>
                      </a:lnTo>
                      <a:lnTo>
                        <a:pt x="350723" y="349249"/>
                      </a:lnTo>
                      <a:lnTo>
                        <a:pt x="350024" y="351789"/>
                      </a:lnTo>
                      <a:lnTo>
                        <a:pt x="348183" y="356869"/>
                      </a:lnTo>
                      <a:lnTo>
                        <a:pt x="349910" y="361949"/>
                      </a:lnTo>
                      <a:lnTo>
                        <a:pt x="347370" y="367029"/>
                      </a:lnTo>
                      <a:lnTo>
                        <a:pt x="340969" y="367029"/>
                      </a:lnTo>
                      <a:lnTo>
                        <a:pt x="340855" y="370839"/>
                      </a:lnTo>
                      <a:lnTo>
                        <a:pt x="339737" y="370839"/>
                      </a:lnTo>
                      <a:lnTo>
                        <a:pt x="339344" y="372109"/>
                      </a:lnTo>
                      <a:lnTo>
                        <a:pt x="342468" y="372109"/>
                      </a:lnTo>
                      <a:lnTo>
                        <a:pt x="345554" y="370839"/>
                      </a:lnTo>
                      <a:lnTo>
                        <a:pt x="350215" y="369569"/>
                      </a:lnTo>
                      <a:lnTo>
                        <a:pt x="353504" y="369569"/>
                      </a:lnTo>
                      <a:lnTo>
                        <a:pt x="353612" y="367029"/>
                      </a:lnTo>
                      <a:lnTo>
                        <a:pt x="341934" y="367029"/>
                      </a:lnTo>
                      <a:lnTo>
                        <a:pt x="342468" y="365759"/>
                      </a:lnTo>
                      <a:lnTo>
                        <a:pt x="353666" y="365759"/>
                      </a:lnTo>
                      <a:lnTo>
                        <a:pt x="353720" y="364489"/>
                      </a:lnTo>
                      <a:lnTo>
                        <a:pt x="354507" y="360679"/>
                      </a:lnTo>
                      <a:lnTo>
                        <a:pt x="355257" y="358139"/>
                      </a:lnTo>
                      <a:lnTo>
                        <a:pt x="357149" y="354329"/>
                      </a:lnTo>
                      <a:lnTo>
                        <a:pt x="543318" y="354329"/>
                      </a:lnTo>
                      <a:lnTo>
                        <a:pt x="543814" y="353059"/>
                      </a:lnTo>
                      <a:lnTo>
                        <a:pt x="542366" y="353059"/>
                      </a:lnTo>
                      <a:lnTo>
                        <a:pt x="541312" y="351789"/>
                      </a:lnTo>
                      <a:lnTo>
                        <a:pt x="541312" y="347979"/>
                      </a:lnTo>
                      <a:lnTo>
                        <a:pt x="543039" y="345439"/>
                      </a:lnTo>
                      <a:lnTo>
                        <a:pt x="546328" y="345439"/>
                      </a:lnTo>
                      <a:lnTo>
                        <a:pt x="545795" y="344169"/>
                      </a:lnTo>
                      <a:lnTo>
                        <a:pt x="546823" y="344169"/>
                      </a:lnTo>
                      <a:lnTo>
                        <a:pt x="548678" y="341629"/>
                      </a:lnTo>
                      <a:lnTo>
                        <a:pt x="550379" y="339089"/>
                      </a:lnTo>
                      <a:lnTo>
                        <a:pt x="551497" y="337819"/>
                      </a:lnTo>
                      <a:lnTo>
                        <a:pt x="552767" y="335279"/>
                      </a:lnTo>
                      <a:lnTo>
                        <a:pt x="553339" y="334009"/>
                      </a:lnTo>
                      <a:lnTo>
                        <a:pt x="560895" y="331469"/>
                      </a:lnTo>
                      <a:lnTo>
                        <a:pt x="557504" y="331469"/>
                      </a:lnTo>
                      <a:lnTo>
                        <a:pt x="559358" y="330199"/>
                      </a:lnTo>
                      <a:lnTo>
                        <a:pt x="561327" y="328929"/>
                      </a:lnTo>
                      <a:close/>
                    </a:path>
                    <a:path w="579754" h="435610">
                      <a:moveTo>
                        <a:pt x="353504" y="369569"/>
                      </a:moveTo>
                      <a:lnTo>
                        <a:pt x="350215" y="369569"/>
                      </a:lnTo>
                      <a:lnTo>
                        <a:pt x="350520" y="370839"/>
                      </a:lnTo>
                      <a:lnTo>
                        <a:pt x="353504" y="369569"/>
                      </a:lnTo>
                      <a:close/>
                    </a:path>
                    <a:path w="579754" h="435610">
                      <a:moveTo>
                        <a:pt x="27292" y="344169"/>
                      </a:moveTo>
                      <a:lnTo>
                        <a:pt x="26835" y="344169"/>
                      </a:lnTo>
                      <a:lnTo>
                        <a:pt x="26060" y="346709"/>
                      </a:lnTo>
                      <a:lnTo>
                        <a:pt x="25984" y="350519"/>
                      </a:lnTo>
                      <a:lnTo>
                        <a:pt x="26441" y="354329"/>
                      </a:lnTo>
                      <a:lnTo>
                        <a:pt x="26758" y="355599"/>
                      </a:lnTo>
                      <a:lnTo>
                        <a:pt x="27724" y="356869"/>
                      </a:lnTo>
                      <a:lnTo>
                        <a:pt x="30073" y="358139"/>
                      </a:lnTo>
                      <a:lnTo>
                        <a:pt x="35623" y="360679"/>
                      </a:lnTo>
                      <a:lnTo>
                        <a:pt x="38328" y="361949"/>
                      </a:lnTo>
                      <a:lnTo>
                        <a:pt x="42837" y="367029"/>
                      </a:lnTo>
                      <a:lnTo>
                        <a:pt x="46723" y="367029"/>
                      </a:lnTo>
                      <a:lnTo>
                        <a:pt x="52133" y="369569"/>
                      </a:lnTo>
                      <a:lnTo>
                        <a:pt x="55333" y="368299"/>
                      </a:lnTo>
                      <a:lnTo>
                        <a:pt x="72059" y="368299"/>
                      </a:lnTo>
                      <a:lnTo>
                        <a:pt x="77228" y="364489"/>
                      </a:lnTo>
                      <a:lnTo>
                        <a:pt x="80581" y="361949"/>
                      </a:lnTo>
                      <a:lnTo>
                        <a:pt x="84823" y="358139"/>
                      </a:lnTo>
                      <a:lnTo>
                        <a:pt x="90500" y="358139"/>
                      </a:lnTo>
                      <a:lnTo>
                        <a:pt x="91414" y="353059"/>
                      </a:lnTo>
                      <a:lnTo>
                        <a:pt x="94462" y="353059"/>
                      </a:lnTo>
                      <a:lnTo>
                        <a:pt x="101473" y="351789"/>
                      </a:lnTo>
                      <a:lnTo>
                        <a:pt x="106146" y="349249"/>
                      </a:lnTo>
                      <a:lnTo>
                        <a:pt x="126009" y="349249"/>
                      </a:lnTo>
                      <a:lnTo>
                        <a:pt x="127127" y="347979"/>
                      </a:lnTo>
                      <a:lnTo>
                        <a:pt x="151739" y="347979"/>
                      </a:lnTo>
                      <a:lnTo>
                        <a:pt x="152565" y="346709"/>
                      </a:lnTo>
                      <a:lnTo>
                        <a:pt x="153860" y="345439"/>
                      </a:lnTo>
                      <a:lnTo>
                        <a:pt x="27838" y="345439"/>
                      </a:lnTo>
                      <a:lnTo>
                        <a:pt x="27292" y="344169"/>
                      </a:lnTo>
                      <a:close/>
                    </a:path>
                    <a:path w="579754" h="435610">
                      <a:moveTo>
                        <a:pt x="67310" y="368299"/>
                      </a:moveTo>
                      <a:lnTo>
                        <a:pt x="55333" y="368299"/>
                      </a:lnTo>
                      <a:lnTo>
                        <a:pt x="69748" y="369569"/>
                      </a:lnTo>
                      <a:lnTo>
                        <a:pt x="67310" y="368299"/>
                      </a:lnTo>
                      <a:close/>
                    </a:path>
                    <a:path w="579754" h="435610">
                      <a:moveTo>
                        <a:pt x="326809" y="364489"/>
                      </a:moveTo>
                      <a:lnTo>
                        <a:pt x="326047" y="364489"/>
                      </a:lnTo>
                      <a:lnTo>
                        <a:pt x="325348" y="365759"/>
                      </a:lnTo>
                      <a:lnTo>
                        <a:pt x="324307" y="365759"/>
                      </a:lnTo>
                      <a:lnTo>
                        <a:pt x="325462" y="367029"/>
                      </a:lnTo>
                      <a:lnTo>
                        <a:pt x="326771" y="367029"/>
                      </a:lnTo>
                      <a:lnTo>
                        <a:pt x="326275" y="368299"/>
                      </a:lnTo>
                      <a:lnTo>
                        <a:pt x="327888" y="367029"/>
                      </a:lnTo>
                      <a:lnTo>
                        <a:pt x="326809" y="364489"/>
                      </a:lnTo>
                      <a:close/>
                    </a:path>
                    <a:path w="579754" h="435610">
                      <a:moveTo>
                        <a:pt x="324307" y="365759"/>
                      </a:moveTo>
                      <a:lnTo>
                        <a:pt x="321792" y="365759"/>
                      </a:lnTo>
                      <a:lnTo>
                        <a:pt x="321957" y="367029"/>
                      </a:lnTo>
                      <a:lnTo>
                        <a:pt x="323303" y="367029"/>
                      </a:lnTo>
                      <a:lnTo>
                        <a:pt x="324307" y="365759"/>
                      </a:lnTo>
                      <a:close/>
                    </a:path>
                    <a:path w="579754" h="435610">
                      <a:moveTo>
                        <a:pt x="299212" y="330199"/>
                      </a:moveTo>
                      <a:lnTo>
                        <a:pt x="299859" y="331469"/>
                      </a:lnTo>
                      <a:lnTo>
                        <a:pt x="300863" y="334009"/>
                      </a:lnTo>
                      <a:lnTo>
                        <a:pt x="299745" y="334009"/>
                      </a:lnTo>
                      <a:lnTo>
                        <a:pt x="299859" y="335279"/>
                      </a:lnTo>
                      <a:lnTo>
                        <a:pt x="301942" y="337819"/>
                      </a:lnTo>
                      <a:lnTo>
                        <a:pt x="307492" y="337819"/>
                      </a:lnTo>
                      <a:lnTo>
                        <a:pt x="307492" y="338306"/>
                      </a:lnTo>
                      <a:lnTo>
                        <a:pt x="308457" y="340359"/>
                      </a:lnTo>
                      <a:lnTo>
                        <a:pt x="309422" y="344169"/>
                      </a:lnTo>
                      <a:lnTo>
                        <a:pt x="311048" y="345439"/>
                      </a:lnTo>
                      <a:lnTo>
                        <a:pt x="312661" y="347979"/>
                      </a:lnTo>
                      <a:lnTo>
                        <a:pt x="315747" y="349249"/>
                      </a:lnTo>
                      <a:lnTo>
                        <a:pt x="316750" y="353059"/>
                      </a:lnTo>
                      <a:lnTo>
                        <a:pt x="316826" y="354329"/>
                      </a:lnTo>
                      <a:lnTo>
                        <a:pt x="317449" y="354329"/>
                      </a:lnTo>
                      <a:lnTo>
                        <a:pt x="317715" y="355599"/>
                      </a:lnTo>
                      <a:lnTo>
                        <a:pt x="318757" y="356869"/>
                      </a:lnTo>
                      <a:lnTo>
                        <a:pt x="317677" y="360679"/>
                      </a:lnTo>
                      <a:lnTo>
                        <a:pt x="319532" y="361949"/>
                      </a:lnTo>
                      <a:lnTo>
                        <a:pt x="317906" y="361949"/>
                      </a:lnTo>
                      <a:lnTo>
                        <a:pt x="317639" y="363219"/>
                      </a:lnTo>
                      <a:lnTo>
                        <a:pt x="319493" y="363219"/>
                      </a:lnTo>
                      <a:lnTo>
                        <a:pt x="319798" y="364489"/>
                      </a:lnTo>
                      <a:lnTo>
                        <a:pt x="320878" y="365759"/>
                      </a:lnTo>
                      <a:lnTo>
                        <a:pt x="325348" y="365759"/>
                      </a:lnTo>
                      <a:lnTo>
                        <a:pt x="324612" y="364489"/>
                      </a:lnTo>
                      <a:lnTo>
                        <a:pt x="327202" y="359409"/>
                      </a:lnTo>
                      <a:lnTo>
                        <a:pt x="331368" y="355599"/>
                      </a:lnTo>
                      <a:lnTo>
                        <a:pt x="335064" y="351789"/>
                      </a:lnTo>
                      <a:lnTo>
                        <a:pt x="337146" y="349249"/>
                      </a:lnTo>
                      <a:lnTo>
                        <a:pt x="344665" y="346709"/>
                      </a:lnTo>
                      <a:lnTo>
                        <a:pt x="345084" y="345439"/>
                      </a:lnTo>
                      <a:lnTo>
                        <a:pt x="347052" y="341629"/>
                      </a:lnTo>
                      <a:lnTo>
                        <a:pt x="348488" y="339089"/>
                      </a:lnTo>
                      <a:lnTo>
                        <a:pt x="350215" y="335279"/>
                      </a:lnTo>
                      <a:lnTo>
                        <a:pt x="351523" y="335279"/>
                      </a:lnTo>
                      <a:lnTo>
                        <a:pt x="352103" y="334009"/>
                      </a:lnTo>
                      <a:lnTo>
                        <a:pt x="300863" y="334009"/>
                      </a:lnTo>
                      <a:lnTo>
                        <a:pt x="299631" y="332739"/>
                      </a:lnTo>
                      <a:lnTo>
                        <a:pt x="301523" y="332739"/>
                      </a:lnTo>
                      <a:lnTo>
                        <a:pt x="299212" y="330199"/>
                      </a:lnTo>
                      <a:close/>
                    </a:path>
                    <a:path w="579754" h="435610">
                      <a:moveTo>
                        <a:pt x="317055" y="360679"/>
                      </a:moveTo>
                      <a:lnTo>
                        <a:pt x="314782" y="360679"/>
                      </a:lnTo>
                      <a:lnTo>
                        <a:pt x="314858" y="361949"/>
                      </a:lnTo>
                      <a:lnTo>
                        <a:pt x="318566" y="361949"/>
                      </a:lnTo>
                      <a:lnTo>
                        <a:pt x="317055" y="360679"/>
                      </a:lnTo>
                      <a:close/>
                    </a:path>
                    <a:path w="579754" h="435610">
                      <a:moveTo>
                        <a:pt x="91909" y="358139"/>
                      </a:moveTo>
                      <a:lnTo>
                        <a:pt x="84823" y="358139"/>
                      </a:lnTo>
                      <a:lnTo>
                        <a:pt x="87134" y="360679"/>
                      </a:lnTo>
                      <a:lnTo>
                        <a:pt x="88265" y="359409"/>
                      </a:lnTo>
                      <a:lnTo>
                        <a:pt x="88988" y="359409"/>
                      </a:lnTo>
                      <a:lnTo>
                        <a:pt x="91909" y="358139"/>
                      </a:lnTo>
                      <a:close/>
                    </a:path>
                    <a:path w="579754" h="435610">
                      <a:moveTo>
                        <a:pt x="315820" y="359455"/>
                      </a:moveTo>
                      <a:lnTo>
                        <a:pt x="314706" y="360679"/>
                      </a:lnTo>
                      <a:lnTo>
                        <a:pt x="316750" y="360679"/>
                      </a:lnTo>
                      <a:lnTo>
                        <a:pt x="315820" y="359455"/>
                      </a:lnTo>
                      <a:close/>
                    </a:path>
                    <a:path w="579754" h="435610">
                      <a:moveTo>
                        <a:pt x="315861" y="359409"/>
                      </a:moveTo>
                      <a:close/>
                    </a:path>
                    <a:path w="579754" h="435610">
                      <a:moveTo>
                        <a:pt x="151739" y="347979"/>
                      </a:moveTo>
                      <a:lnTo>
                        <a:pt x="127127" y="347979"/>
                      </a:lnTo>
                      <a:lnTo>
                        <a:pt x="128816" y="351789"/>
                      </a:lnTo>
                      <a:lnTo>
                        <a:pt x="127546" y="351789"/>
                      </a:lnTo>
                      <a:lnTo>
                        <a:pt x="130822" y="353059"/>
                      </a:lnTo>
                      <a:lnTo>
                        <a:pt x="135369" y="350519"/>
                      </a:lnTo>
                      <a:lnTo>
                        <a:pt x="138455" y="350519"/>
                      </a:lnTo>
                      <a:lnTo>
                        <a:pt x="141465" y="349249"/>
                      </a:lnTo>
                      <a:lnTo>
                        <a:pt x="150914" y="349249"/>
                      </a:lnTo>
                      <a:lnTo>
                        <a:pt x="151739" y="347979"/>
                      </a:lnTo>
                      <a:close/>
                    </a:path>
                    <a:path w="579754" h="435610">
                      <a:moveTo>
                        <a:pt x="150914" y="349249"/>
                      </a:moveTo>
                      <a:lnTo>
                        <a:pt x="141465" y="349249"/>
                      </a:lnTo>
                      <a:lnTo>
                        <a:pt x="143129" y="350519"/>
                      </a:lnTo>
                      <a:lnTo>
                        <a:pt x="142900" y="351789"/>
                      </a:lnTo>
                      <a:lnTo>
                        <a:pt x="144246" y="351789"/>
                      </a:lnTo>
                      <a:lnTo>
                        <a:pt x="146443" y="350519"/>
                      </a:lnTo>
                      <a:lnTo>
                        <a:pt x="148094" y="350519"/>
                      </a:lnTo>
                      <a:lnTo>
                        <a:pt x="150914" y="349249"/>
                      </a:lnTo>
                      <a:close/>
                    </a:path>
                    <a:path w="579754" h="435610">
                      <a:moveTo>
                        <a:pt x="126009" y="349249"/>
                      </a:moveTo>
                      <a:lnTo>
                        <a:pt x="118872" y="349249"/>
                      </a:lnTo>
                      <a:lnTo>
                        <a:pt x="124891" y="350519"/>
                      </a:lnTo>
                      <a:lnTo>
                        <a:pt x="126009" y="349249"/>
                      </a:lnTo>
                      <a:close/>
                    </a:path>
                    <a:path w="579754" h="435610">
                      <a:moveTo>
                        <a:pt x="546426" y="345188"/>
                      </a:moveTo>
                      <a:lnTo>
                        <a:pt x="546328" y="345439"/>
                      </a:lnTo>
                      <a:lnTo>
                        <a:pt x="545655" y="345439"/>
                      </a:lnTo>
                      <a:lnTo>
                        <a:pt x="546100" y="346709"/>
                      </a:lnTo>
                      <a:lnTo>
                        <a:pt x="546519" y="346709"/>
                      </a:lnTo>
                      <a:lnTo>
                        <a:pt x="546582" y="345439"/>
                      </a:lnTo>
                      <a:lnTo>
                        <a:pt x="546426" y="345188"/>
                      </a:lnTo>
                      <a:close/>
                    </a:path>
                    <a:path w="579754" h="435610">
                      <a:moveTo>
                        <a:pt x="35737" y="328929"/>
                      </a:moveTo>
                      <a:lnTo>
                        <a:pt x="34963" y="330199"/>
                      </a:lnTo>
                      <a:lnTo>
                        <a:pt x="35623" y="331469"/>
                      </a:lnTo>
                      <a:lnTo>
                        <a:pt x="36436" y="335279"/>
                      </a:lnTo>
                      <a:lnTo>
                        <a:pt x="37592" y="340359"/>
                      </a:lnTo>
                      <a:lnTo>
                        <a:pt x="35128" y="342899"/>
                      </a:lnTo>
                      <a:lnTo>
                        <a:pt x="33693" y="344169"/>
                      </a:lnTo>
                      <a:lnTo>
                        <a:pt x="29527" y="345439"/>
                      </a:lnTo>
                      <a:lnTo>
                        <a:pt x="153860" y="345439"/>
                      </a:lnTo>
                      <a:lnTo>
                        <a:pt x="155155" y="344169"/>
                      </a:lnTo>
                      <a:lnTo>
                        <a:pt x="155727" y="342899"/>
                      </a:lnTo>
                      <a:lnTo>
                        <a:pt x="157010" y="340359"/>
                      </a:lnTo>
                      <a:lnTo>
                        <a:pt x="158165" y="336549"/>
                      </a:lnTo>
                      <a:lnTo>
                        <a:pt x="166433" y="332739"/>
                      </a:lnTo>
                      <a:lnTo>
                        <a:pt x="37020" y="332739"/>
                      </a:lnTo>
                      <a:lnTo>
                        <a:pt x="36436" y="331469"/>
                      </a:lnTo>
                      <a:lnTo>
                        <a:pt x="35737" y="330199"/>
                      </a:lnTo>
                      <a:lnTo>
                        <a:pt x="35737" y="328929"/>
                      </a:lnTo>
                      <a:close/>
                    </a:path>
                    <a:path w="579754" h="435610">
                      <a:moveTo>
                        <a:pt x="545795" y="344169"/>
                      </a:moveTo>
                      <a:lnTo>
                        <a:pt x="546328" y="345439"/>
                      </a:lnTo>
                      <a:lnTo>
                        <a:pt x="546426" y="345188"/>
                      </a:lnTo>
                      <a:lnTo>
                        <a:pt x="545795" y="344169"/>
                      </a:lnTo>
                      <a:close/>
                    </a:path>
                    <a:path w="579754" h="435610">
                      <a:moveTo>
                        <a:pt x="546823" y="344169"/>
                      </a:moveTo>
                      <a:lnTo>
                        <a:pt x="545795" y="344169"/>
                      </a:lnTo>
                      <a:lnTo>
                        <a:pt x="546426" y="345188"/>
                      </a:lnTo>
                      <a:lnTo>
                        <a:pt x="546823" y="344169"/>
                      </a:lnTo>
                      <a:close/>
                    </a:path>
                    <a:path w="579754" h="435610">
                      <a:moveTo>
                        <a:pt x="307263" y="337819"/>
                      </a:moveTo>
                      <a:lnTo>
                        <a:pt x="302641" y="337819"/>
                      </a:lnTo>
                      <a:lnTo>
                        <a:pt x="303911" y="339089"/>
                      </a:lnTo>
                      <a:lnTo>
                        <a:pt x="307492" y="339089"/>
                      </a:lnTo>
                      <a:lnTo>
                        <a:pt x="307492" y="338306"/>
                      </a:lnTo>
                      <a:lnTo>
                        <a:pt x="307263" y="337819"/>
                      </a:lnTo>
                      <a:close/>
                    </a:path>
                    <a:path w="579754" h="435610">
                      <a:moveTo>
                        <a:pt x="307492" y="337819"/>
                      </a:moveTo>
                      <a:lnTo>
                        <a:pt x="307263" y="337819"/>
                      </a:lnTo>
                      <a:lnTo>
                        <a:pt x="307492" y="338306"/>
                      </a:lnTo>
                      <a:lnTo>
                        <a:pt x="307492" y="337819"/>
                      </a:lnTo>
                      <a:close/>
                    </a:path>
                    <a:path w="579754" h="435610">
                      <a:moveTo>
                        <a:pt x="227152" y="314959"/>
                      </a:moveTo>
                      <a:lnTo>
                        <a:pt x="40830" y="314959"/>
                      </a:lnTo>
                      <a:lnTo>
                        <a:pt x="42595" y="316229"/>
                      </a:lnTo>
                      <a:lnTo>
                        <a:pt x="42595" y="321309"/>
                      </a:lnTo>
                      <a:lnTo>
                        <a:pt x="40830" y="322579"/>
                      </a:lnTo>
                      <a:lnTo>
                        <a:pt x="37655" y="322579"/>
                      </a:lnTo>
                      <a:lnTo>
                        <a:pt x="37752" y="323849"/>
                      </a:lnTo>
                      <a:lnTo>
                        <a:pt x="37839" y="327659"/>
                      </a:lnTo>
                      <a:lnTo>
                        <a:pt x="37731" y="328929"/>
                      </a:lnTo>
                      <a:lnTo>
                        <a:pt x="37020" y="332739"/>
                      </a:lnTo>
                      <a:lnTo>
                        <a:pt x="166433" y="332739"/>
                      </a:lnTo>
                      <a:lnTo>
                        <a:pt x="174701" y="328929"/>
                      </a:lnTo>
                      <a:lnTo>
                        <a:pt x="176898" y="328929"/>
                      </a:lnTo>
                      <a:lnTo>
                        <a:pt x="180060" y="326389"/>
                      </a:lnTo>
                      <a:lnTo>
                        <a:pt x="181254" y="325119"/>
                      </a:lnTo>
                      <a:lnTo>
                        <a:pt x="185534" y="323849"/>
                      </a:lnTo>
                      <a:lnTo>
                        <a:pt x="203238" y="323849"/>
                      </a:lnTo>
                      <a:lnTo>
                        <a:pt x="209285" y="322579"/>
                      </a:lnTo>
                      <a:lnTo>
                        <a:pt x="227152" y="314959"/>
                      </a:lnTo>
                      <a:close/>
                    </a:path>
                    <a:path w="579754" h="435610">
                      <a:moveTo>
                        <a:pt x="563295" y="327659"/>
                      </a:moveTo>
                      <a:lnTo>
                        <a:pt x="301599" y="327659"/>
                      </a:lnTo>
                      <a:lnTo>
                        <a:pt x="301790" y="328929"/>
                      </a:lnTo>
                      <a:lnTo>
                        <a:pt x="302488" y="331469"/>
                      </a:lnTo>
                      <a:lnTo>
                        <a:pt x="301790" y="332739"/>
                      </a:lnTo>
                      <a:lnTo>
                        <a:pt x="352683" y="332739"/>
                      </a:lnTo>
                      <a:lnTo>
                        <a:pt x="353263" y="331469"/>
                      </a:lnTo>
                      <a:lnTo>
                        <a:pt x="352577" y="330199"/>
                      </a:lnTo>
                      <a:lnTo>
                        <a:pt x="352539" y="328929"/>
                      </a:lnTo>
                      <a:lnTo>
                        <a:pt x="561327" y="328929"/>
                      </a:lnTo>
                      <a:lnTo>
                        <a:pt x="563295" y="327659"/>
                      </a:lnTo>
                      <a:close/>
                    </a:path>
                    <a:path w="579754" h="435610">
                      <a:moveTo>
                        <a:pt x="564172" y="321309"/>
                      </a:moveTo>
                      <a:lnTo>
                        <a:pt x="293738" y="321309"/>
                      </a:lnTo>
                      <a:lnTo>
                        <a:pt x="295160" y="322579"/>
                      </a:lnTo>
                      <a:lnTo>
                        <a:pt x="296697" y="325119"/>
                      </a:lnTo>
                      <a:lnTo>
                        <a:pt x="297434" y="326389"/>
                      </a:lnTo>
                      <a:lnTo>
                        <a:pt x="296583" y="326389"/>
                      </a:lnTo>
                      <a:lnTo>
                        <a:pt x="296621" y="328929"/>
                      </a:lnTo>
                      <a:lnTo>
                        <a:pt x="298284" y="328929"/>
                      </a:lnTo>
                      <a:lnTo>
                        <a:pt x="299935" y="327659"/>
                      </a:lnTo>
                      <a:lnTo>
                        <a:pt x="563295" y="327659"/>
                      </a:lnTo>
                      <a:lnTo>
                        <a:pt x="564299" y="326389"/>
                      </a:lnTo>
                      <a:lnTo>
                        <a:pt x="564146" y="325119"/>
                      </a:lnTo>
                      <a:lnTo>
                        <a:pt x="564222" y="323849"/>
                      </a:lnTo>
                      <a:lnTo>
                        <a:pt x="564172" y="321309"/>
                      </a:lnTo>
                      <a:close/>
                    </a:path>
                    <a:path w="579754" h="435610">
                      <a:moveTo>
                        <a:pt x="203238" y="323849"/>
                      </a:moveTo>
                      <a:lnTo>
                        <a:pt x="189077" y="323849"/>
                      </a:lnTo>
                      <a:lnTo>
                        <a:pt x="195643" y="325119"/>
                      </a:lnTo>
                      <a:lnTo>
                        <a:pt x="199923" y="325119"/>
                      </a:lnTo>
                      <a:lnTo>
                        <a:pt x="203238" y="323849"/>
                      </a:lnTo>
                      <a:close/>
                    </a:path>
                    <a:path w="579754" h="435610">
                      <a:moveTo>
                        <a:pt x="565797" y="318769"/>
                      </a:moveTo>
                      <a:lnTo>
                        <a:pt x="281051" y="318769"/>
                      </a:lnTo>
                      <a:lnTo>
                        <a:pt x="290449" y="323849"/>
                      </a:lnTo>
                      <a:lnTo>
                        <a:pt x="290410" y="321309"/>
                      </a:lnTo>
                      <a:lnTo>
                        <a:pt x="564019" y="321309"/>
                      </a:lnTo>
                      <a:lnTo>
                        <a:pt x="565797" y="318769"/>
                      </a:lnTo>
                      <a:close/>
                    </a:path>
                    <a:path w="579754" h="435610">
                      <a:moveTo>
                        <a:pt x="292773" y="321309"/>
                      </a:moveTo>
                      <a:lnTo>
                        <a:pt x="290410" y="321309"/>
                      </a:lnTo>
                      <a:lnTo>
                        <a:pt x="292849" y="322579"/>
                      </a:lnTo>
                      <a:lnTo>
                        <a:pt x="292773" y="321309"/>
                      </a:lnTo>
                      <a:close/>
                    </a:path>
                    <a:path w="579754" h="435610">
                      <a:moveTo>
                        <a:pt x="569882" y="311149"/>
                      </a:moveTo>
                      <a:lnTo>
                        <a:pt x="257213" y="311149"/>
                      </a:lnTo>
                      <a:lnTo>
                        <a:pt x="263893" y="314959"/>
                      </a:lnTo>
                      <a:lnTo>
                        <a:pt x="268554" y="316229"/>
                      </a:lnTo>
                      <a:lnTo>
                        <a:pt x="271983" y="318769"/>
                      </a:lnTo>
                      <a:lnTo>
                        <a:pt x="272249" y="320039"/>
                      </a:lnTo>
                      <a:lnTo>
                        <a:pt x="274104" y="321309"/>
                      </a:lnTo>
                      <a:lnTo>
                        <a:pt x="276110" y="318769"/>
                      </a:lnTo>
                      <a:lnTo>
                        <a:pt x="565797" y="318769"/>
                      </a:lnTo>
                      <a:lnTo>
                        <a:pt x="567575" y="316229"/>
                      </a:lnTo>
                      <a:lnTo>
                        <a:pt x="569264" y="313689"/>
                      </a:lnTo>
                      <a:lnTo>
                        <a:pt x="569882" y="311149"/>
                      </a:lnTo>
                      <a:close/>
                    </a:path>
                    <a:path w="579754" h="435610">
                      <a:moveTo>
                        <a:pt x="1270" y="228599"/>
                      </a:moveTo>
                      <a:lnTo>
                        <a:pt x="0" y="228599"/>
                      </a:lnTo>
                      <a:lnTo>
                        <a:pt x="7975" y="240029"/>
                      </a:lnTo>
                      <a:lnTo>
                        <a:pt x="9258" y="241299"/>
                      </a:lnTo>
                      <a:lnTo>
                        <a:pt x="11747" y="245109"/>
                      </a:lnTo>
                      <a:lnTo>
                        <a:pt x="12763" y="246379"/>
                      </a:lnTo>
                      <a:lnTo>
                        <a:pt x="12763" y="248919"/>
                      </a:lnTo>
                      <a:lnTo>
                        <a:pt x="13601" y="252729"/>
                      </a:lnTo>
                      <a:lnTo>
                        <a:pt x="13728" y="255269"/>
                      </a:lnTo>
                      <a:lnTo>
                        <a:pt x="16891" y="264159"/>
                      </a:lnTo>
                      <a:lnTo>
                        <a:pt x="23672" y="269239"/>
                      </a:lnTo>
                      <a:lnTo>
                        <a:pt x="24752" y="275589"/>
                      </a:lnTo>
                      <a:lnTo>
                        <a:pt x="25450" y="280669"/>
                      </a:lnTo>
                      <a:lnTo>
                        <a:pt x="25641" y="284479"/>
                      </a:lnTo>
                      <a:lnTo>
                        <a:pt x="26873" y="293369"/>
                      </a:lnTo>
                      <a:lnTo>
                        <a:pt x="28803" y="297179"/>
                      </a:lnTo>
                      <a:lnTo>
                        <a:pt x="31864" y="306069"/>
                      </a:lnTo>
                      <a:lnTo>
                        <a:pt x="34569" y="311149"/>
                      </a:lnTo>
                      <a:lnTo>
                        <a:pt x="36271" y="316229"/>
                      </a:lnTo>
                      <a:lnTo>
                        <a:pt x="36944" y="314959"/>
                      </a:lnTo>
                      <a:lnTo>
                        <a:pt x="232003" y="314959"/>
                      </a:lnTo>
                      <a:lnTo>
                        <a:pt x="245719" y="312419"/>
                      </a:lnTo>
                      <a:lnTo>
                        <a:pt x="257327" y="312419"/>
                      </a:lnTo>
                      <a:lnTo>
                        <a:pt x="257213" y="311149"/>
                      </a:lnTo>
                      <a:lnTo>
                        <a:pt x="569882" y="311149"/>
                      </a:lnTo>
                      <a:lnTo>
                        <a:pt x="570191" y="309879"/>
                      </a:lnTo>
                      <a:lnTo>
                        <a:pt x="570395" y="307339"/>
                      </a:lnTo>
                      <a:lnTo>
                        <a:pt x="570611" y="303529"/>
                      </a:lnTo>
                      <a:lnTo>
                        <a:pt x="570458" y="299719"/>
                      </a:lnTo>
                      <a:lnTo>
                        <a:pt x="572617" y="292099"/>
                      </a:lnTo>
                      <a:lnTo>
                        <a:pt x="573862" y="288289"/>
                      </a:lnTo>
                      <a:lnTo>
                        <a:pt x="575703" y="281939"/>
                      </a:lnTo>
                      <a:lnTo>
                        <a:pt x="575360" y="278129"/>
                      </a:lnTo>
                      <a:lnTo>
                        <a:pt x="576668" y="274319"/>
                      </a:lnTo>
                      <a:lnTo>
                        <a:pt x="577253" y="273049"/>
                      </a:lnTo>
                      <a:lnTo>
                        <a:pt x="578866" y="270509"/>
                      </a:lnTo>
                      <a:lnTo>
                        <a:pt x="579678" y="267969"/>
                      </a:lnTo>
                      <a:lnTo>
                        <a:pt x="579018" y="266699"/>
                      </a:lnTo>
                      <a:lnTo>
                        <a:pt x="578713" y="265429"/>
                      </a:lnTo>
                      <a:lnTo>
                        <a:pt x="577519" y="256539"/>
                      </a:lnTo>
                      <a:lnTo>
                        <a:pt x="575246" y="252729"/>
                      </a:lnTo>
                      <a:lnTo>
                        <a:pt x="574471" y="250189"/>
                      </a:lnTo>
                      <a:lnTo>
                        <a:pt x="571500" y="247649"/>
                      </a:lnTo>
                      <a:lnTo>
                        <a:pt x="571652" y="246379"/>
                      </a:lnTo>
                      <a:lnTo>
                        <a:pt x="572046" y="242569"/>
                      </a:lnTo>
                      <a:lnTo>
                        <a:pt x="573703" y="242569"/>
                      </a:lnTo>
                      <a:lnTo>
                        <a:pt x="574128" y="241299"/>
                      </a:lnTo>
                      <a:lnTo>
                        <a:pt x="572668" y="237489"/>
                      </a:lnTo>
                      <a:lnTo>
                        <a:pt x="572524" y="236219"/>
                      </a:lnTo>
                      <a:lnTo>
                        <a:pt x="6197" y="236219"/>
                      </a:lnTo>
                      <a:lnTo>
                        <a:pt x="5473" y="233679"/>
                      </a:lnTo>
                      <a:lnTo>
                        <a:pt x="5740" y="232409"/>
                      </a:lnTo>
                      <a:lnTo>
                        <a:pt x="3276" y="232409"/>
                      </a:lnTo>
                      <a:lnTo>
                        <a:pt x="1955" y="231139"/>
                      </a:lnTo>
                      <a:lnTo>
                        <a:pt x="2286" y="229869"/>
                      </a:lnTo>
                      <a:lnTo>
                        <a:pt x="1689" y="229869"/>
                      </a:lnTo>
                      <a:lnTo>
                        <a:pt x="1270" y="228599"/>
                      </a:lnTo>
                      <a:close/>
                    </a:path>
                    <a:path w="579754" h="435610">
                      <a:moveTo>
                        <a:pt x="257327" y="312419"/>
                      </a:moveTo>
                      <a:lnTo>
                        <a:pt x="245719" y="312419"/>
                      </a:lnTo>
                      <a:lnTo>
                        <a:pt x="250659" y="314959"/>
                      </a:lnTo>
                      <a:lnTo>
                        <a:pt x="257327" y="312419"/>
                      </a:lnTo>
                      <a:close/>
                    </a:path>
                    <a:path w="579754" h="435610">
                      <a:moveTo>
                        <a:pt x="573125" y="242569"/>
                      </a:moveTo>
                      <a:lnTo>
                        <a:pt x="572046" y="242569"/>
                      </a:lnTo>
                      <a:lnTo>
                        <a:pt x="572274" y="243839"/>
                      </a:lnTo>
                      <a:lnTo>
                        <a:pt x="572693" y="243839"/>
                      </a:lnTo>
                      <a:lnTo>
                        <a:pt x="573125" y="242569"/>
                      </a:lnTo>
                      <a:close/>
                    </a:path>
                    <a:path w="579754" h="435610">
                      <a:moveTo>
                        <a:pt x="573703" y="242569"/>
                      </a:moveTo>
                      <a:lnTo>
                        <a:pt x="573125" y="242569"/>
                      </a:lnTo>
                      <a:lnTo>
                        <a:pt x="573278" y="243839"/>
                      </a:lnTo>
                      <a:lnTo>
                        <a:pt x="573703" y="242569"/>
                      </a:lnTo>
                      <a:close/>
                    </a:path>
                    <a:path w="579754" h="435610">
                      <a:moveTo>
                        <a:pt x="6629" y="233679"/>
                      </a:moveTo>
                      <a:lnTo>
                        <a:pt x="6400" y="234949"/>
                      </a:lnTo>
                      <a:lnTo>
                        <a:pt x="6235" y="234949"/>
                      </a:lnTo>
                      <a:lnTo>
                        <a:pt x="6197" y="236219"/>
                      </a:lnTo>
                      <a:lnTo>
                        <a:pt x="6858" y="236219"/>
                      </a:lnTo>
                      <a:lnTo>
                        <a:pt x="6629" y="233679"/>
                      </a:lnTo>
                      <a:close/>
                    </a:path>
                    <a:path w="579754" h="435610">
                      <a:moveTo>
                        <a:pt x="9017" y="234949"/>
                      </a:moveTo>
                      <a:lnTo>
                        <a:pt x="7327" y="236219"/>
                      </a:lnTo>
                      <a:lnTo>
                        <a:pt x="9207" y="236219"/>
                      </a:lnTo>
                      <a:lnTo>
                        <a:pt x="9017" y="234949"/>
                      </a:lnTo>
                      <a:close/>
                    </a:path>
                    <a:path w="579754" h="435610">
                      <a:moveTo>
                        <a:pt x="10490" y="226059"/>
                      </a:moveTo>
                      <a:lnTo>
                        <a:pt x="10096" y="226059"/>
                      </a:lnTo>
                      <a:lnTo>
                        <a:pt x="9909" y="230216"/>
                      </a:lnTo>
                      <a:lnTo>
                        <a:pt x="10223" y="231139"/>
                      </a:lnTo>
                      <a:lnTo>
                        <a:pt x="10490" y="231139"/>
                      </a:lnTo>
                      <a:lnTo>
                        <a:pt x="10134" y="232409"/>
                      </a:lnTo>
                      <a:lnTo>
                        <a:pt x="9982" y="234949"/>
                      </a:lnTo>
                      <a:lnTo>
                        <a:pt x="9436" y="234949"/>
                      </a:lnTo>
                      <a:lnTo>
                        <a:pt x="9207" y="236219"/>
                      </a:lnTo>
                      <a:lnTo>
                        <a:pt x="572524" y="236219"/>
                      </a:lnTo>
                      <a:lnTo>
                        <a:pt x="572236" y="233679"/>
                      </a:lnTo>
                      <a:lnTo>
                        <a:pt x="571868" y="232409"/>
                      </a:lnTo>
                      <a:lnTo>
                        <a:pt x="12801" y="232409"/>
                      </a:lnTo>
                      <a:lnTo>
                        <a:pt x="10909" y="231139"/>
                      </a:lnTo>
                      <a:lnTo>
                        <a:pt x="11176" y="227329"/>
                      </a:lnTo>
                      <a:lnTo>
                        <a:pt x="10490" y="226059"/>
                      </a:lnTo>
                      <a:close/>
                    </a:path>
                    <a:path w="579754" h="435610">
                      <a:moveTo>
                        <a:pt x="3429" y="227329"/>
                      </a:moveTo>
                      <a:lnTo>
                        <a:pt x="3162" y="227329"/>
                      </a:lnTo>
                      <a:lnTo>
                        <a:pt x="2857" y="231139"/>
                      </a:lnTo>
                      <a:lnTo>
                        <a:pt x="3276" y="232409"/>
                      </a:lnTo>
                      <a:lnTo>
                        <a:pt x="5003" y="232409"/>
                      </a:lnTo>
                      <a:lnTo>
                        <a:pt x="4660" y="231139"/>
                      </a:lnTo>
                      <a:lnTo>
                        <a:pt x="4356" y="229869"/>
                      </a:lnTo>
                      <a:lnTo>
                        <a:pt x="3810" y="228599"/>
                      </a:lnTo>
                      <a:lnTo>
                        <a:pt x="3467" y="228599"/>
                      </a:lnTo>
                      <a:lnTo>
                        <a:pt x="3429" y="227329"/>
                      </a:lnTo>
                      <a:close/>
                    </a:path>
                    <a:path w="579754" h="435610">
                      <a:moveTo>
                        <a:pt x="5283" y="231139"/>
                      </a:moveTo>
                      <a:lnTo>
                        <a:pt x="5003" y="231139"/>
                      </a:lnTo>
                      <a:lnTo>
                        <a:pt x="5003" y="232409"/>
                      </a:lnTo>
                      <a:lnTo>
                        <a:pt x="5740" y="232409"/>
                      </a:lnTo>
                      <a:lnTo>
                        <a:pt x="5283" y="231139"/>
                      </a:lnTo>
                      <a:close/>
                    </a:path>
                    <a:path w="579754" h="435610">
                      <a:moveTo>
                        <a:pt x="572935" y="224789"/>
                      </a:moveTo>
                      <a:lnTo>
                        <a:pt x="15925" y="224789"/>
                      </a:lnTo>
                      <a:lnTo>
                        <a:pt x="15494" y="226059"/>
                      </a:lnTo>
                      <a:lnTo>
                        <a:pt x="14998" y="228599"/>
                      </a:lnTo>
                      <a:lnTo>
                        <a:pt x="14376" y="231139"/>
                      </a:lnTo>
                      <a:lnTo>
                        <a:pt x="12801" y="232409"/>
                      </a:lnTo>
                      <a:lnTo>
                        <a:pt x="571868" y="232409"/>
                      </a:lnTo>
                      <a:lnTo>
                        <a:pt x="571500" y="231139"/>
                      </a:lnTo>
                      <a:lnTo>
                        <a:pt x="572503" y="228599"/>
                      </a:lnTo>
                      <a:lnTo>
                        <a:pt x="572820" y="227329"/>
                      </a:lnTo>
                      <a:lnTo>
                        <a:pt x="573582" y="226059"/>
                      </a:lnTo>
                      <a:lnTo>
                        <a:pt x="572935" y="224789"/>
                      </a:lnTo>
                      <a:close/>
                    </a:path>
                    <a:path w="579754" h="435610">
                      <a:moveTo>
                        <a:pt x="9791" y="229869"/>
                      </a:moveTo>
                      <a:lnTo>
                        <a:pt x="8877" y="229869"/>
                      </a:lnTo>
                      <a:lnTo>
                        <a:pt x="9867" y="231139"/>
                      </a:lnTo>
                      <a:lnTo>
                        <a:pt x="9791" y="229869"/>
                      </a:lnTo>
                      <a:close/>
                    </a:path>
                    <a:path w="579754" h="435610">
                      <a:moveTo>
                        <a:pt x="2159" y="226059"/>
                      </a:moveTo>
                      <a:lnTo>
                        <a:pt x="1816" y="227329"/>
                      </a:lnTo>
                      <a:lnTo>
                        <a:pt x="1892" y="228599"/>
                      </a:lnTo>
                      <a:lnTo>
                        <a:pt x="1689" y="229869"/>
                      </a:lnTo>
                      <a:lnTo>
                        <a:pt x="2286" y="229869"/>
                      </a:lnTo>
                      <a:lnTo>
                        <a:pt x="2616" y="228599"/>
                      </a:lnTo>
                      <a:lnTo>
                        <a:pt x="2159" y="226059"/>
                      </a:lnTo>
                      <a:close/>
                    </a:path>
                    <a:path w="579754" h="435610">
                      <a:moveTo>
                        <a:pt x="7404" y="220979"/>
                      </a:moveTo>
                      <a:lnTo>
                        <a:pt x="3505" y="220979"/>
                      </a:lnTo>
                      <a:lnTo>
                        <a:pt x="5702" y="224789"/>
                      </a:lnTo>
                      <a:lnTo>
                        <a:pt x="6819" y="228599"/>
                      </a:lnTo>
                      <a:lnTo>
                        <a:pt x="8559" y="229869"/>
                      </a:lnTo>
                      <a:lnTo>
                        <a:pt x="8877" y="229869"/>
                      </a:lnTo>
                      <a:lnTo>
                        <a:pt x="6896" y="227329"/>
                      </a:lnTo>
                      <a:lnTo>
                        <a:pt x="8788" y="224789"/>
                      </a:lnTo>
                      <a:lnTo>
                        <a:pt x="7404" y="220979"/>
                      </a:lnTo>
                      <a:close/>
                    </a:path>
                    <a:path w="579754" h="435610">
                      <a:moveTo>
                        <a:pt x="544131" y="190499"/>
                      </a:moveTo>
                      <a:lnTo>
                        <a:pt x="7010" y="190499"/>
                      </a:lnTo>
                      <a:lnTo>
                        <a:pt x="5549" y="193039"/>
                      </a:lnTo>
                      <a:lnTo>
                        <a:pt x="5080" y="194309"/>
                      </a:lnTo>
                      <a:lnTo>
                        <a:pt x="4279" y="196849"/>
                      </a:lnTo>
                      <a:lnTo>
                        <a:pt x="3619" y="198119"/>
                      </a:lnTo>
                      <a:lnTo>
                        <a:pt x="3924" y="201929"/>
                      </a:lnTo>
                      <a:lnTo>
                        <a:pt x="6515" y="205739"/>
                      </a:lnTo>
                      <a:lnTo>
                        <a:pt x="13804" y="222249"/>
                      </a:lnTo>
                      <a:lnTo>
                        <a:pt x="15036" y="222249"/>
                      </a:lnTo>
                      <a:lnTo>
                        <a:pt x="15963" y="224789"/>
                      </a:lnTo>
                      <a:lnTo>
                        <a:pt x="571233" y="224789"/>
                      </a:lnTo>
                      <a:lnTo>
                        <a:pt x="570395" y="223519"/>
                      </a:lnTo>
                      <a:lnTo>
                        <a:pt x="569810" y="222249"/>
                      </a:lnTo>
                      <a:lnTo>
                        <a:pt x="569226" y="219709"/>
                      </a:lnTo>
                      <a:lnTo>
                        <a:pt x="568655" y="218439"/>
                      </a:lnTo>
                      <a:lnTo>
                        <a:pt x="569302" y="217169"/>
                      </a:lnTo>
                      <a:lnTo>
                        <a:pt x="569658" y="217169"/>
                      </a:lnTo>
                      <a:lnTo>
                        <a:pt x="569531" y="215899"/>
                      </a:lnTo>
                      <a:lnTo>
                        <a:pt x="569226" y="214629"/>
                      </a:lnTo>
                      <a:lnTo>
                        <a:pt x="566724" y="214629"/>
                      </a:lnTo>
                      <a:lnTo>
                        <a:pt x="563867" y="213359"/>
                      </a:lnTo>
                      <a:lnTo>
                        <a:pt x="563372" y="208279"/>
                      </a:lnTo>
                      <a:lnTo>
                        <a:pt x="561441" y="205739"/>
                      </a:lnTo>
                      <a:lnTo>
                        <a:pt x="559663" y="205739"/>
                      </a:lnTo>
                      <a:lnTo>
                        <a:pt x="557123" y="203199"/>
                      </a:lnTo>
                      <a:lnTo>
                        <a:pt x="556971" y="203199"/>
                      </a:lnTo>
                      <a:lnTo>
                        <a:pt x="556006" y="200659"/>
                      </a:lnTo>
                      <a:lnTo>
                        <a:pt x="555802" y="199389"/>
                      </a:lnTo>
                      <a:lnTo>
                        <a:pt x="555231" y="199389"/>
                      </a:lnTo>
                      <a:lnTo>
                        <a:pt x="554037" y="198119"/>
                      </a:lnTo>
                      <a:lnTo>
                        <a:pt x="553605" y="196849"/>
                      </a:lnTo>
                      <a:lnTo>
                        <a:pt x="549021" y="196849"/>
                      </a:lnTo>
                      <a:lnTo>
                        <a:pt x="547658" y="193039"/>
                      </a:lnTo>
                      <a:lnTo>
                        <a:pt x="545325" y="193039"/>
                      </a:lnTo>
                      <a:lnTo>
                        <a:pt x="544131" y="190499"/>
                      </a:lnTo>
                      <a:close/>
                    </a:path>
                    <a:path w="579754" h="435610">
                      <a:moveTo>
                        <a:pt x="5130" y="218439"/>
                      </a:moveTo>
                      <a:lnTo>
                        <a:pt x="4356" y="220979"/>
                      </a:lnTo>
                      <a:lnTo>
                        <a:pt x="5397" y="220979"/>
                      </a:lnTo>
                      <a:lnTo>
                        <a:pt x="5130" y="218439"/>
                      </a:lnTo>
                      <a:close/>
                    </a:path>
                    <a:path w="579754" h="435610">
                      <a:moveTo>
                        <a:pt x="547204" y="191769"/>
                      </a:moveTo>
                      <a:lnTo>
                        <a:pt x="545325" y="193039"/>
                      </a:lnTo>
                      <a:lnTo>
                        <a:pt x="547658" y="193039"/>
                      </a:lnTo>
                      <a:lnTo>
                        <a:pt x="547204" y="191769"/>
                      </a:lnTo>
                      <a:close/>
                    </a:path>
                    <a:path w="579754" h="435610">
                      <a:moveTo>
                        <a:pt x="12839" y="163829"/>
                      </a:moveTo>
                      <a:lnTo>
                        <a:pt x="11137" y="165099"/>
                      </a:lnTo>
                      <a:lnTo>
                        <a:pt x="10718" y="167639"/>
                      </a:lnTo>
                      <a:lnTo>
                        <a:pt x="9601" y="170179"/>
                      </a:lnTo>
                      <a:lnTo>
                        <a:pt x="9169" y="171449"/>
                      </a:lnTo>
                      <a:lnTo>
                        <a:pt x="7861" y="172719"/>
                      </a:lnTo>
                      <a:lnTo>
                        <a:pt x="7162" y="176529"/>
                      </a:lnTo>
                      <a:lnTo>
                        <a:pt x="9436" y="177799"/>
                      </a:lnTo>
                      <a:lnTo>
                        <a:pt x="9639" y="180339"/>
                      </a:lnTo>
                      <a:lnTo>
                        <a:pt x="9791" y="182879"/>
                      </a:lnTo>
                      <a:lnTo>
                        <a:pt x="9867" y="186689"/>
                      </a:lnTo>
                      <a:lnTo>
                        <a:pt x="8051" y="190499"/>
                      </a:lnTo>
                      <a:lnTo>
                        <a:pt x="541274" y="190499"/>
                      </a:lnTo>
                      <a:lnTo>
                        <a:pt x="538886" y="187959"/>
                      </a:lnTo>
                      <a:lnTo>
                        <a:pt x="538886" y="184149"/>
                      </a:lnTo>
                      <a:lnTo>
                        <a:pt x="538378" y="181609"/>
                      </a:lnTo>
                      <a:lnTo>
                        <a:pt x="538962" y="180339"/>
                      </a:lnTo>
                      <a:lnTo>
                        <a:pt x="538378" y="179069"/>
                      </a:lnTo>
                      <a:lnTo>
                        <a:pt x="540423" y="179069"/>
                      </a:lnTo>
                      <a:lnTo>
                        <a:pt x="538772" y="175259"/>
                      </a:lnTo>
                      <a:lnTo>
                        <a:pt x="528358" y="175259"/>
                      </a:lnTo>
                      <a:lnTo>
                        <a:pt x="526707" y="173989"/>
                      </a:lnTo>
                      <a:lnTo>
                        <a:pt x="14490" y="173989"/>
                      </a:lnTo>
                      <a:lnTo>
                        <a:pt x="13957" y="170179"/>
                      </a:lnTo>
                      <a:lnTo>
                        <a:pt x="13601" y="166369"/>
                      </a:lnTo>
                      <a:lnTo>
                        <a:pt x="12839" y="163829"/>
                      </a:lnTo>
                      <a:close/>
                    </a:path>
                    <a:path w="579754" h="435610">
                      <a:moveTo>
                        <a:pt x="528510" y="167639"/>
                      </a:moveTo>
                      <a:lnTo>
                        <a:pt x="527862" y="170179"/>
                      </a:lnTo>
                      <a:lnTo>
                        <a:pt x="527354" y="172719"/>
                      </a:lnTo>
                      <a:lnTo>
                        <a:pt x="528358" y="175259"/>
                      </a:lnTo>
                      <a:lnTo>
                        <a:pt x="536448" y="175259"/>
                      </a:lnTo>
                      <a:lnTo>
                        <a:pt x="535025" y="173989"/>
                      </a:lnTo>
                      <a:lnTo>
                        <a:pt x="533679" y="172719"/>
                      </a:lnTo>
                      <a:lnTo>
                        <a:pt x="530860" y="171449"/>
                      </a:lnTo>
                      <a:lnTo>
                        <a:pt x="531025" y="171449"/>
                      </a:lnTo>
                      <a:lnTo>
                        <a:pt x="529780" y="170179"/>
                      </a:lnTo>
                      <a:lnTo>
                        <a:pt x="529209" y="168909"/>
                      </a:lnTo>
                      <a:lnTo>
                        <a:pt x="528510" y="167639"/>
                      </a:lnTo>
                      <a:close/>
                    </a:path>
                    <a:path w="579754" h="435610">
                      <a:moveTo>
                        <a:pt x="537464" y="171449"/>
                      </a:moveTo>
                      <a:lnTo>
                        <a:pt x="535609" y="172719"/>
                      </a:lnTo>
                      <a:lnTo>
                        <a:pt x="536448" y="175259"/>
                      </a:lnTo>
                      <a:lnTo>
                        <a:pt x="537959" y="175259"/>
                      </a:lnTo>
                      <a:lnTo>
                        <a:pt x="537032" y="172719"/>
                      </a:lnTo>
                      <a:lnTo>
                        <a:pt x="537921" y="172719"/>
                      </a:lnTo>
                      <a:lnTo>
                        <a:pt x="537464" y="171449"/>
                      </a:lnTo>
                      <a:close/>
                    </a:path>
                    <a:path w="579754" h="435610">
                      <a:moveTo>
                        <a:pt x="538962" y="173989"/>
                      </a:moveTo>
                      <a:lnTo>
                        <a:pt x="538467" y="175259"/>
                      </a:lnTo>
                      <a:lnTo>
                        <a:pt x="538772" y="175259"/>
                      </a:lnTo>
                      <a:lnTo>
                        <a:pt x="538962" y="173989"/>
                      </a:lnTo>
                      <a:close/>
                    </a:path>
                    <a:path w="579754" h="435610">
                      <a:moveTo>
                        <a:pt x="53162" y="143509"/>
                      </a:moveTo>
                      <a:lnTo>
                        <a:pt x="51663" y="143509"/>
                      </a:lnTo>
                      <a:lnTo>
                        <a:pt x="49847" y="146049"/>
                      </a:lnTo>
                      <a:lnTo>
                        <a:pt x="32931" y="157479"/>
                      </a:lnTo>
                      <a:lnTo>
                        <a:pt x="29032" y="160019"/>
                      </a:lnTo>
                      <a:lnTo>
                        <a:pt x="22593" y="162559"/>
                      </a:lnTo>
                      <a:lnTo>
                        <a:pt x="19850" y="165099"/>
                      </a:lnTo>
                      <a:lnTo>
                        <a:pt x="19240" y="168909"/>
                      </a:lnTo>
                      <a:lnTo>
                        <a:pt x="17856" y="171449"/>
                      </a:lnTo>
                      <a:lnTo>
                        <a:pt x="17970" y="172719"/>
                      </a:lnTo>
                      <a:lnTo>
                        <a:pt x="17272" y="173989"/>
                      </a:lnTo>
                      <a:lnTo>
                        <a:pt x="526707" y="173989"/>
                      </a:lnTo>
                      <a:lnTo>
                        <a:pt x="526027" y="172719"/>
                      </a:lnTo>
                      <a:lnTo>
                        <a:pt x="523074" y="172719"/>
                      </a:lnTo>
                      <a:lnTo>
                        <a:pt x="521766" y="168909"/>
                      </a:lnTo>
                      <a:lnTo>
                        <a:pt x="521296" y="163829"/>
                      </a:lnTo>
                      <a:lnTo>
                        <a:pt x="518985" y="158749"/>
                      </a:lnTo>
                      <a:lnTo>
                        <a:pt x="516991" y="156209"/>
                      </a:lnTo>
                      <a:lnTo>
                        <a:pt x="516826" y="153669"/>
                      </a:lnTo>
                      <a:lnTo>
                        <a:pt x="516712" y="152399"/>
                      </a:lnTo>
                      <a:lnTo>
                        <a:pt x="512241" y="149859"/>
                      </a:lnTo>
                      <a:lnTo>
                        <a:pt x="511162" y="148589"/>
                      </a:lnTo>
                      <a:lnTo>
                        <a:pt x="510235" y="147319"/>
                      </a:lnTo>
                      <a:lnTo>
                        <a:pt x="50012" y="147319"/>
                      </a:lnTo>
                      <a:lnTo>
                        <a:pt x="53162" y="143509"/>
                      </a:lnTo>
                      <a:close/>
                    </a:path>
                    <a:path w="579754" h="435610">
                      <a:moveTo>
                        <a:pt x="538302" y="172719"/>
                      </a:moveTo>
                      <a:lnTo>
                        <a:pt x="537032" y="172719"/>
                      </a:lnTo>
                      <a:lnTo>
                        <a:pt x="538302" y="173989"/>
                      </a:lnTo>
                      <a:lnTo>
                        <a:pt x="538302" y="172719"/>
                      </a:lnTo>
                      <a:close/>
                    </a:path>
                    <a:path w="579754" h="435610">
                      <a:moveTo>
                        <a:pt x="525348" y="171449"/>
                      </a:moveTo>
                      <a:lnTo>
                        <a:pt x="523074" y="172719"/>
                      </a:lnTo>
                      <a:lnTo>
                        <a:pt x="526027" y="172719"/>
                      </a:lnTo>
                      <a:lnTo>
                        <a:pt x="525348" y="171449"/>
                      </a:lnTo>
                      <a:close/>
                    </a:path>
                    <a:path w="579754" h="435610">
                      <a:moveTo>
                        <a:pt x="57721" y="144779"/>
                      </a:moveTo>
                      <a:lnTo>
                        <a:pt x="56591" y="144779"/>
                      </a:lnTo>
                      <a:lnTo>
                        <a:pt x="50012" y="147319"/>
                      </a:lnTo>
                      <a:lnTo>
                        <a:pt x="510235" y="147319"/>
                      </a:lnTo>
                      <a:lnTo>
                        <a:pt x="509308" y="146049"/>
                      </a:lnTo>
                      <a:lnTo>
                        <a:pt x="57721" y="146049"/>
                      </a:lnTo>
                      <a:lnTo>
                        <a:pt x="57721" y="144779"/>
                      </a:lnTo>
                      <a:close/>
                    </a:path>
                    <a:path w="579754" h="435610">
                      <a:moveTo>
                        <a:pt x="507263" y="137159"/>
                      </a:moveTo>
                      <a:lnTo>
                        <a:pt x="506501" y="137159"/>
                      </a:lnTo>
                      <a:lnTo>
                        <a:pt x="504875" y="138429"/>
                      </a:lnTo>
                      <a:lnTo>
                        <a:pt x="505688" y="138429"/>
                      </a:lnTo>
                      <a:lnTo>
                        <a:pt x="504228" y="139699"/>
                      </a:lnTo>
                      <a:lnTo>
                        <a:pt x="79971" y="139699"/>
                      </a:lnTo>
                      <a:lnTo>
                        <a:pt x="75806" y="140969"/>
                      </a:lnTo>
                      <a:lnTo>
                        <a:pt x="72364" y="140969"/>
                      </a:lnTo>
                      <a:lnTo>
                        <a:pt x="70446" y="142239"/>
                      </a:lnTo>
                      <a:lnTo>
                        <a:pt x="68745" y="143509"/>
                      </a:lnTo>
                      <a:lnTo>
                        <a:pt x="65582" y="146049"/>
                      </a:lnTo>
                      <a:lnTo>
                        <a:pt x="509308" y="146049"/>
                      </a:lnTo>
                      <a:lnTo>
                        <a:pt x="509968" y="142239"/>
                      </a:lnTo>
                      <a:lnTo>
                        <a:pt x="511587" y="142239"/>
                      </a:lnTo>
                      <a:lnTo>
                        <a:pt x="510781" y="140969"/>
                      </a:lnTo>
                      <a:lnTo>
                        <a:pt x="508457" y="139699"/>
                      </a:lnTo>
                      <a:lnTo>
                        <a:pt x="507263" y="137159"/>
                      </a:lnTo>
                      <a:close/>
                    </a:path>
                    <a:path w="579754" h="435610">
                      <a:moveTo>
                        <a:pt x="511587" y="142239"/>
                      </a:moveTo>
                      <a:lnTo>
                        <a:pt x="511048" y="142239"/>
                      </a:lnTo>
                      <a:lnTo>
                        <a:pt x="511467" y="143509"/>
                      </a:lnTo>
                      <a:lnTo>
                        <a:pt x="512394" y="143509"/>
                      </a:lnTo>
                      <a:lnTo>
                        <a:pt x="511587" y="142239"/>
                      </a:lnTo>
                      <a:close/>
                    </a:path>
                    <a:path w="579754" h="435610">
                      <a:moveTo>
                        <a:pt x="86525" y="134619"/>
                      </a:moveTo>
                      <a:lnTo>
                        <a:pt x="85242" y="137159"/>
                      </a:lnTo>
                      <a:lnTo>
                        <a:pt x="81318" y="139699"/>
                      </a:lnTo>
                      <a:lnTo>
                        <a:pt x="504228" y="139699"/>
                      </a:lnTo>
                      <a:lnTo>
                        <a:pt x="503965" y="137159"/>
                      </a:lnTo>
                      <a:lnTo>
                        <a:pt x="91338" y="137159"/>
                      </a:lnTo>
                      <a:lnTo>
                        <a:pt x="89496" y="135889"/>
                      </a:lnTo>
                      <a:lnTo>
                        <a:pt x="86525" y="134619"/>
                      </a:lnTo>
                      <a:close/>
                    </a:path>
                    <a:path w="579754" h="435610">
                      <a:moveTo>
                        <a:pt x="474916" y="116839"/>
                      </a:moveTo>
                      <a:lnTo>
                        <a:pt x="122415" y="116839"/>
                      </a:lnTo>
                      <a:lnTo>
                        <a:pt x="120421" y="120649"/>
                      </a:lnTo>
                      <a:lnTo>
                        <a:pt x="119646" y="123189"/>
                      </a:lnTo>
                      <a:lnTo>
                        <a:pt x="117983" y="124459"/>
                      </a:lnTo>
                      <a:lnTo>
                        <a:pt x="113213" y="129539"/>
                      </a:lnTo>
                      <a:lnTo>
                        <a:pt x="107246" y="132079"/>
                      </a:lnTo>
                      <a:lnTo>
                        <a:pt x="100796" y="134619"/>
                      </a:lnTo>
                      <a:lnTo>
                        <a:pt x="93929" y="135889"/>
                      </a:lnTo>
                      <a:lnTo>
                        <a:pt x="93154" y="137159"/>
                      </a:lnTo>
                      <a:lnTo>
                        <a:pt x="503965" y="137159"/>
                      </a:lnTo>
                      <a:lnTo>
                        <a:pt x="503834" y="135889"/>
                      </a:lnTo>
                      <a:lnTo>
                        <a:pt x="501256" y="134619"/>
                      </a:lnTo>
                      <a:lnTo>
                        <a:pt x="499402" y="133349"/>
                      </a:lnTo>
                      <a:lnTo>
                        <a:pt x="494690" y="133349"/>
                      </a:lnTo>
                      <a:lnTo>
                        <a:pt x="493776" y="130809"/>
                      </a:lnTo>
                      <a:lnTo>
                        <a:pt x="491807" y="128269"/>
                      </a:lnTo>
                      <a:lnTo>
                        <a:pt x="491578" y="126999"/>
                      </a:lnTo>
                      <a:lnTo>
                        <a:pt x="487718" y="126999"/>
                      </a:lnTo>
                      <a:lnTo>
                        <a:pt x="486130" y="125729"/>
                      </a:lnTo>
                      <a:lnTo>
                        <a:pt x="483552" y="125729"/>
                      </a:lnTo>
                      <a:lnTo>
                        <a:pt x="481164" y="124459"/>
                      </a:lnTo>
                      <a:lnTo>
                        <a:pt x="478967" y="123189"/>
                      </a:lnTo>
                      <a:lnTo>
                        <a:pt x="475183" y="119379"/>
                      </a:lnTo>
                      <a:lnTo>
                        <a:pt x="474611" y="119379"/>
                      </a:lnTo>
                      <a:lnTo>
                        <a:pt x="474916" y="116839"/>
                      </a:lnTo>
                      <a:close/>
                    </a:path>
                    <a:path w="579754" h="435610">
                      <a:moveTo>
                        <a:pt x="496658" y="130809"/>
                      </a:moveTo>
                      <a:lnTo>
                        <a:pt x="494690" y="133349"/>
                      </a:lnTo>
                      <a:lnTo>
                        <a:pt x="499402" y="133349"/>
                      </a:lnTo>
                      <a:lnTo>
                        <a:pt x="496011" y="132079"/>
                      </a:lnTo>
                      <a:lnTo>
                        <a:pt x="496658" y="130809"/>
                      </a:lnTo>
                      <a:close/>
                    </a:path>
                    <a:path w="579754" h="435610">
                      <a:moveTo>
                        <a:pt x="491540" y="125729"/>
                      </a:moveTo>
                      <a:lnTo>
                        <a:pt x="490105" y="125729"/>
                      </a:lnTo>
                      <a:lnTo>
                        <a:pt x="489140" y="126999"/>
                      </a:lnTo>
                      <a:lnTo>
                        <a:pt x="491578" y="126999"/>
                      </a:lnTo>
                      <a:lnTo>
                        <a:pt x="491540" y="125729"/>
                      </a:lnTo>
                      <a:close/>
                    </a:path>
                    <a:path w="579754" h="435610">
                      <a:moveTo>
                        <a:pt x="484479" y="123189"/>
                      </a:moveTo>
                      <a:lnTo>
                        <a:pt x="483552" y="125729"/>
                      </a:lnTo>
                      <a:lnTo>
                        <a:pt x="485406" y="125729"/>
                      </a:lnTo>
                      <a:lnTo>
                        <a:pt x="485863" y="124459"/>
                      </a:lnTo>
                      <a:lnTo>
                        <a:pt x="484479" y="123189"/>
                      </a:lnTo>
                      <a:close/>
                    </a:path>
                    <a:path w="579754" h="435610">
                      <a:moveTo>
                        <a:pt x="471938" y="105409"/>
                      </a:moveTo>
                      <a:lnTo>
                        <a:pt x="132448" y="105409"/>
                      </a:lnTo>
                      <a:lnTo>
                        <a:pt x="131749" y="109219"/>
                      </a:lnTo>
                      <a:lnTo>
                        <a:pt x="126771" y="111759"/>
                      </a:lnTo>
                      <a:lnTo>
                        <a:pt x="124155" y="113029"/>
                      </a:lnTo>
                      <a:lnTo>
                        <a:pt x="123571" y="116839"/>
                      </a:lnTo>
                      <a:lnTo>
                        <a:pt x="474992" y="116839"/>
                      </a:lnTo>
                      <a:lnTo>
                        <a:pt x="475297" y="115569"/>
                      </a:lnTo>
                      <a:lnTo>
                        <a:pt x="475119" y="113029"/>
                      </a:lnTo>
                      <a:lnTo>
                        <a:pt x="471563" y="111759"/>
                      </a:lnTo>
                      <a:lnTo>
                        <a:pt x="471830" y="106679"/>
                      </a:lnTo>
                      <a:lnTo>
                        <a:pt x="471938" y="105409"/>
                      </a:lnTo>
                      <a:close/>
                    </a:path>
                    <a:path w="579754" h="435610">
                      <a:moveTo>
                        <a:pt x="131673" y="87629"/>
                      </a:moveTo>
                      <a:lnTo>
                        <a:pt x="128739" y="97789"/>
                      </a:lnTo>
                      <a:lnTo>
                        <a:pt x="129095" y="100329"/>
                      </a:lnTo>
                      <a:lnTo>
                        <a:pt x="129590" y="101599"/>
                      </a:lnTo>
                      <a:lnTo>
                        <a:pt x="129933" y="104139"/>
                      </a:lnTo>
                      <a:lnTo>
                        <a:pt x="129705" y="106679"/>
                      </a:lnTo>
                      <a:lnTo>
                        <a:pt x="130670" y="105409"/>
                      </a:lnTo>
                      <a:lnTo>
                        <a:pt x="471938" y="105409"/>
                      </a:lnTo>
                      <a:lnTo>
                        <a:pt x="472262" y="101599"/>
                      </a:lnTo>
                      <a:lnTo>
                        <a:pt x="383032" y="101599"/>
                      </a:lnTo>
                      <a:lnTo>
                        <a:pt x="381952" y="100329"/>
                      </a:lnTo>
                      <a:lnTo>
                        <a:pt x="149567" y="100329"/>
                      </a:lnTo>
                      <a:lnTo>
                        <a:pt x="147599" y="97789"/>
                      </a:lnTo>
                      <a:lnTo>
                        <a:pt x="146634" y="93979"/>
                      </a:lnTo>
                      <a:lnTo>
                        <a:pt x="144780" y="91439"/>
                      </a:lnTo>
                      <a:lnTo>
                        <a:pt x="135369" y="91439"/>
                      </a:lnTo>
                      <a:lnTo>
                        <a:pt x="131673" y="87629"/>
                      </a:lnTo>
                      <a:close/>
                    </a:path>
                    <a:path w="579754" h="435610">
                      <a:moveTo>
                        <a:pt x="411835" y="27939"/>
                      </a:moveTo>
                      <a:lnTo>
                        <a:pt x="410565" y="27939"/>
                      </a:lnTo>
                      <a:lnTo>
                        <a:pt x="409637" y="29280"/>
                      </a:lnTo>
                      <a:lnTo>
                        <a:pt x="408926" y="30548"/>
                      </a:lnTo>
                      <a:lnTo>
                        <a:pt x="408012" y="31749"/>
                      </a:lnTo>
                      <a:lnTo>
                        <a:pt x="408178" y="33019"/>
                      </a:lnTo>
                      <a:lnTo>
                        <a:pt x="408978" y="34289"/>
                      </a:lnTo>
                      <a:lnTo>
                        <a:pt x="408749" y="36829"/>
                      </a:lnTo>
                      <a:lnTo>
                        <a:pt x="408559" y="38099"/>
                      </a:lnTo>
                      <a:lnTo>
                        <a:pt x="407365" y="39369"/>
                      </a:lnTo>
                      <a:lnTo>
                        <a:pt x="406819" y="40639"/>
                      </a:lnTo>
                      <a:lnTo>
                        <a:pt x="406361" y="41909"/>
                      </a:lnTo>
                      <a:lnTo>
                        <a:pt x="406209" y="41909"/>
                      </a:lnTo>
                      <a:lnTo>
                        <a:pt x="406019" y="43179"/>
                      </a:lnTo>
                      <a:lnTo>
                        <a:pt x="405739" y="43179"/>
                      </a:lnTo>
                      <a:lnTo>
                        <a:pt x="405840" y="45992"/>
                      </a:lnTo>
                      <a:lnTo>
                        <a:pt x="406209" y="46989"/>
                      </a:lnTo>
                      <a:lnTo>
                        <a:pt x="407517" y="49529"/>
                      </a:lnTo>
                      <a:lnTo>
                        <a:pt x="407470" y="50979"/>
                      </a:lnTo>
                      <a:lnTo>
                        <a:pt x="407212" y="55879"/>
                      </a:lnTo>
                      <a:lnTo>
                        <a:pt x="406946" y="57149"/>
                      </a:lnTo>
                      <a:lnTo>
                        <a:pt x="407631" y="59689"/>
                      </a:lnTo>
                      <a:lnTo>
                        <a:pt x="408012" y="60959"/>
                      </a:lnTo>
                      <a:lnTo>
                        <a:pt x="408444" y="63499"/>
                      </a:lnTo>
                      <a:lnTo>
                        <a:pt x="408051" y="63499"/>
                      </a:lnTo>
                      <a:lnTo>
                        <a:pt x="406590" y="68579"/>
                      </a:lnTo>
                      <a:lnTo>
                        <a:pt x="405358" y="72389"/>
                      </a:lnTo>
                      <a:lnTo>
                        <a:pt x="404393" y="76199"/>
                      </a:lnTo>
                      <a:lnTo>
                        <a:pt x="405091" y="77469"/>
                      </a:lnTo>
                      <a:lnTo>
                        <a:pt x="405015" y="78739"/>
                      </a:lnTo>
                      <a:lnTo>
                        <a:pt x="404012" y="80009"/>
                      </a:lnTo>
                      <a:lnTo>
                        <a:pt x="401116" y="87629"/>
                      </a:lnTo>
                      <a:lnTo>
                        <a:pt x="399923" y="90169"/>
                      </a:lnTo>
                      <a:lnTo>
                        <a:pt x="398946" y="92751"/>
                      </a:lnTo>
                      <a:lnTo>
                        <a:pt x="398259" y="95249"/>
                      </a:lnTo>
                      <a:lnTo>
                        <a:pt x="394906" y="99059"/>
                      </a:lnTo>
                      <a:lnTo>
                        <a:pt x="392214" y="100329"/>
                      </a:lnTo>
                      <a:lnTo>
                        <a:pt x="386651" y="101599"/>
                      </a:lnTo>
                      <a:lnTo>
                        <a:pt x="472262" y="101599"/>
                      </a:lnTo>
                      <a:lnTo>
                        <a:pt x="471055" y="96519"/>
                      </a:lnTo>
                      <a:lnTo>
                        <a:pt x="469785" y="93979"/>
                      </a:lnTo>
                      <a:lnTo>
                        <a:pt x="469564" y="92751"/>
                      </a:lnTo>
                      <a:lnTo>
                        <a:pt x="469480" y="91439"/>
                      </a:lnTo>
                      <a:lnTo>
                        <a:pt x="469633" y="90169"/>
                      </a:lnTo>
                      <a:lnTo>
                        <a:pt x="467169" y="90169"/>
                      </a:lnTo>
                      <a:lnTo>
                        <a:pt x="467715" y="88899"/>
                      </a:lnTo>
                      <a:lnTo>
                        <a:pt x="463931" y="86359"/>
                      </a:lnTo>
                      <a:lnTo>
                        <a:pt x="462343" y="83819"/>
                      </a:lnTo>
                      <a:lnTo>
                        <a:pt x="462000" y="82549"/>
                      </a:lnTo>
                      <a:lnTo>
                        <a:pt x="461378" y="81279"/>
                      </a:lnTo>
                      <a:lnTo>
                        <a:pt x="461772" y="78739"/>
                      </a:lnTo>
                      <a:lnTo>
                        <a:pt x="461694" y="76169"/>
                      </a:lnTo>
                      <a:lnTo>
                        <a:pt x="461530" y="72389"/>
                      </a:lnTo>
                      <a:lnTo>
                        <a:pt x="459422" y="69849"/>
                      </a:lnTo>
                      <a:lnTo>
                        <a:pt x="460730" y="64769"/>
                      </a:lnTo>
                      <a:lnTo>
                        <a:pt x="460866" y="64769"/>
                      </a:lnTo>
                      <a:lnTo>
                        <a:pt x="459689" y="62229"/>
                      </a:lnTo>
                      <a:lnTo>
                        <a:pt x="460692" y="62229"/>
                      </a:lnTo>
                      <a:lnTo>
                        <a:pt x="460654" y="60959"/>
                      </a:lnTo>
                      <a:lnTo>
                        <a:pt x="459689" y="60959"/>
                      </a:lnTo>
                      <a:lnTo>
                        <a:pt x="457263" y="59689"/>
                      </a:lnTo>
                      <a:lnTo>
                        <a:pt x="456755" y="59689"/>
                      </a:lnTo>
                      <a:lnTo>
                        <a:pt x="455015" y="58419"/>
                      </a:lnTo>
                      <a:lnTo>
                        <a:pt x="453631" y="57149"/>
                      </a:lnTo>
                      <a:lnTo>
                        <a:pt x="452742" y="55879"/>
                      </a:lnTo>
                      <a:lnTo>
                        <a:pt x="451586" y="55879"/>
                      </a:lnTo>
                      <a:lnTo>
                        <a:pt x="450742" y="54609"/>
                      </a:lnTo>
                      <a:lnTo>
                        <a:pt x="440677" y="54609"/>
                      </a:lnTo>
                      <a:lnTo>
                        <a:pt x="438061" y="53339"/>
                      </a:lnTo>
                      <a:lnTo>
                        <a:pt x="438175" y="50799"/>
                      </a:lnTo>
                      <a:lnTo>
                        <a:pt x="437832" y="48259"/>
                      </a:lnTo>
                      <a:lnTo>
                        <a:pt x="437057" y="44449"/>
                      </a:lnTo>
                      <a:lnTo>
                        <a:pt x="436473" y="40639"/>
                      </a:lnTo>
                      <a:lnTo>
                        <a:pt x="434936" y="35559"/>
                      </a:lnTo>
                      <a:lnTo>
                        <a:pt x="434047" y="31749"/>
                      </a:lnTo>
                      <a:lnTo>
                        <a:pt x="412153" y="31749"/>
                      </a:lnTo>
                      <a:lnTo>
                        <a:pt x="411924" y="30548"/>
                      </a:lnTo>
                      <a:lnTo>
                        <a:pt x="411835" y="27939"/>
                      </a:lnTo>
                      <a:close/>
                    </a:path>
                    <a:path w="579754" h="435610">
                      <a:moveTo>
                        <a:pt x="150710" y="91439"/>
                      </a:moveTo>
                      <a:lnTo>
                        <a:pt x="149364" y="92709"/>
                      </a:lnTo>
                      <a:lnTo>
                        <a:pt x="150647" y="92709"/>
                      </a:lnTo>
                      <a:lnTo>
                        <a:pt x="150406" y="95249"/>
                      </a:lnTo>
                      <a:lnTo>
                        <a:pt x="149834" y="95249"/>
                      </a:lnTo>
                      <a:lnTo>
                        <a:pt x="149644" y="96519"/>
                      </a:lnTo>
                      <a:lnTo>
                        <a:pt x="149402" y="97789"/>
                      </a:lnTo>
                      <a:lnTo>
                        <a:pt x="149987" y="99059"/>
                      </a:lnTo>
                      <a:lnTo>
                        <a:pt x="149567" y="100329"/>
                      </a:lnTo>
                      <a:lnTo>
                        <a:pt x="381952" y="100329"/>
                      </a:lnTo>
                      <a:lnTo>
                        <a:pt x="380873" y="99059"/>
                      </a:lnTo>
                      <a:lnTo>
                        <a:pt x="377012" y="96519"/>
                      </a:lnTo>
                      <a:lnTo>
                        <a:pt x="373752" y="93979"/>
                      </a:lnTo>
                      <a:lnTo>
                        <a:pt x="153225" y="93979"/>
                      </a:lnTo>
                      <a:lnTo>
                        <a:pt x="151285" y="92689"/>
                      </a:lnTo>
                      <a:lnTo>
                        <a:pt x="150710" y="91439"/>
                      </a:lnTo>
                      <a:close/>
                    </a:path>
                    <a:path w="579754" h="435610">
                      <a:moveTo>
                        <a:pt x="366588" y="88899"/>
                      </a:moveTo>
                      <a:lnTo>
                        <a:pt x="154800" y="88899"/>
                      </a:lnTo>
                      <a:lnTo>
                        <a:pt x="154876" y="90169"/>
                      </a:lnTo>
                      <a:lnTo>
                        <a:pt x="151285" y="92689"/>
                      </a:lnTo>
                      <a:lnTo>
                        <a:pt x="154343" y="93979"/>
                      </a:lnTo>
                      <a:lnTo>
                        <a:pt x="373752" y="93979"/>
                      </a:lnTo>
                      <a:lnTo>
                        <a:pt x="372176" y="92751"/>
                      </a:lnTo>
                      <a:lnTo>
                        <a:pt x="372732" y="91439"/>
                      </a:lnTo>
                      <a:lnTo>
                        <a:pt x="370306" y="90169"/>
                      </a:lnTo>
                      <a:lnTo>
                        <a:pt x="370116" y="90169"/>
                      </a:lnTo>
                      <a:lnTo>
                        <a:pt x="366588" y="88899"/>
                      </a:lnTo>
                      <a:close/>
                    </a:path>
                    <a:path w="579754" h="435610">
                      <a:moveTo>
                        <a:pt x="133400" y="87629"/>
                      </a:moveTo>
                      <a:lnTo>
                        <a:pt x="135369" y="91439"/>
                      </a:lnTo>
                      <a:lnTo>
                        <a:pt x="144551" y="91439"/>
                      </a:lnTo>
                      <a:lnTo>
                        <a:pt x="143865" y="90169"/>
                      </a:lnTo>
                      <a:lnTo>
                        <a:pt x="143357" y="90169"/>
                      </a:lnTo>
                      <a:lnTo>
                        <a:pt x="142894" y="88899"/>
                      </a:lnTo>
                      <a:lnTo>
                        <a:pt x="136601" y="88899"/>
                      </a:lnTo>
                      <a:lnTo>
                        <a:pt x="133400" y="87629"/>
                      </a:lnTo>
                      <a:close/>
                    </a:path>
                    <a:path w="579754" h="435610">
                      <a:moveTo>
                        <a:pt x="152031" y="78739"/>
                      </a:moveTo>
                      <a:lnTo>
                        <a:pt x="150063" y="78739"/>
                      </a:lnTo>
                      <a:lnTo>
                        <a:pt x="150101" y="80009"/>
                      </a:lnTo>
                      <a:lnTo>
                        <a:pt x="151612" y="81279"/>
                      </a:lnTo>
                      <a:lnTo>
                        <a:pt x="151218" y="83819"/>
                      </a:lnTo>
                      <a:lnTo>
                        <a:pt x="147472" y="83819"/>
                      </a:lnTo>
                      <a:lnTo>
                        <a:pt x="148132" y="85089"/>
                      </a:lnTo>
                      <a:lnTo>
                        <a:pt x="149364" y="85089"/>
                      </a:lnTo>
                      <a:lnTo>
                        <a:pt x="149872" y="86359"/>
                      </a:lnTo>
                      <a:lnTo>
                        <a:pt x="150215" y="87629"/>
                      </a:lnTo>
                      <a:lnTo>
                        <a:pt x="151066" y="87629"/>
                      </a:lnTo>
                      <a:lnTo>
                        <a:pt x="151917" y="88899"/>
                      </a:lnTo>
                      <a:lnTo>
                        <a:pt x="151917" y="90169"/>
                      </a:lnTo>
                      <a:lnTo>
                        <a:pt x="153263" y="90169"/>
                      </a:lnTo>
                      <a:lnTo>
                        <a:pt x="154533" y="88899"/>
                      </a:lnTo>
                      <a:lnTo>
                        <a:pt x="366588" y="88899"/>
                      </a:lnTo>
                      <a:lnTo>
                        <a:pt x="356006" y="85089"/>
                      </a:lnTo>
                      <a:lnTo>
                        <a:pt x="356006" y="83819"/>
                      </a:lnTo>
                      <a:lnTo>
                        <a:pt x="352844" y="82549"/>
                      </a:lnTo>
                      <a:lnTo>
                        <a:pt x="153301" y="82549"/>
                      </a:lnTo>
                      <a:lnTo>
                        <a:pt x="153911" y="81279"/>
                      </a:lnTo>
                      <a:lnTo>
                        <a:pt x="152069" y="81279"/>
                      </a:lnTo>
                      <a:lnTo>
                        <a:pt x="151917" y="80009"/>
                      </a:lnTo>
                      <a:lnTo>
                        <a:pt x="152488" y="80009"/>
                      </a:lnTo>
                      <a:lnTo>
                        <a:pt x="152031" y="78739"/>
                      </a:lnTo>
                      <a:close/>
                    </a:path>
                    <a:path w="579754" h="435610">
                      <a:moveTo>
                        <a:pt x="143052" y="86359"/>
                      </a:moveTo>
                      <a:lnTo>
                        <a:pt x="141846" y="87629"/>
                      </a:lnTo>
                      <a:lnTo>
                        <a:pt x="138569" y="87629"/>
                      </a:lnTo>
                      <a:lnTo>
                        <a:pt x="136601" y="88899"/>
                      </a:lnTo>
                      <a:lnTo>
                        <a:pt x="142894" y="88899"/>
                      </a:lnTo>
                      <a:lnTo>
                        <a:pt x="142430" y="87629"/>
                      </a:lnTo>
                      <a:lnTo>
                        <a:pt x="143052" y="86359"/>
                      </a:lnTo>
                      <a:close/>
                    </a:path>
                    <a:path w="579754" h="435610">
                      <a:moveTo>
                        <a:pt x="139966" y="81279"/>
                      </a:moveTo>
                      <a:lnTo>
                        <a:pt x="138645" y="87629"/>
                      </a:lnTo>
                      <a:lnTo>
                        <a:pt x="141846" y="87629"/>
                      </a:lnTo>
                      <a:lnTo>
                        <a:pt x="142125" y="86359"/>
                      </a:lnTo>
                      <a:lnTo>
                        <a:pt x="141046" y="86359"/>
                      </a:lnTo>
                      <a:lnTo>
                        <a:pt x="140728" y="85089"/>
                      </a:lnTo>
                      <a:lnTo>
                        <a:pt x="141122" y="85089"/>
                      </a:lnTo>
                      <a:lnTo>
                        <a:pt x="141198" y="83819"/>
                      </a:lnTo>
                      <a:lnTo>
                        <a:pt x="141655" y="82549"/>
                      </a:lnTo>
                      <a:lnTo>
                        <a:pt x="139966" y="81279"/>
                      </a:lnTo>
                      <a:close/>
                    </a:path>
                    <a:path w="579754" h="435610">
                      <a:moveTo>
                        <a:pt x="140728" y="85089"/>
                      </a:moveTo>
                      <a:lnTo>
                        <a:pt x="141046" y="86359"/>
                      </a:lnTo>
                      <a:lnTo>
                        <a:pt x="141102" y="85429"/>
                      </a:lnTo>
                      <a:lnTo>
                        <a:pt x="140728" y="85089"/>
                      </a:lnTo>
                      <a:close/>
                    </a:path>
                    <a:path w="579754" h="435610">
                      <a:moveTo>
                        <a:pt x="141102" y="85429"/>
                      </a:moveTo>
                      <a:lnTo>
                        <a:pt x="141046" y="86359"/>
                      </a:lnTo>
                      <a:lnTo>
                        <a:pt x="142125" y="86359"/>
                      </a:lnTo>
                      <a:lnTo>
                        <a:pt x="141102" y="85429"/>
                      </a:lnTo>
                      <a:close/>
                    </a:path>
                    <a:path w="579754" h="435610">
                      <a:moveTo>
                        <a:pt x="141122" y="85089"/>
                      </a:moveTo>
                      <a:lnTo>
                        <a:pt x="140728" y="85089"/>
                      </a:lnTo>
                      <a:lnTo>
                        <a:pt x="141102" y="85429"/>
                      </a:lnTo>
                      <a:lnTo>
                        <a:pt x="141122" y="85089"/>
                      </a:lnTo>
                      <a:close/>
                    </a:path>
                    <a:path w="579754" h="435610">
                      <a:moveTo>
                        <a:pt x="149529" y="82549"/>
                      </a:moveTo>
                      <a:lnTo>
                        <a:pt x="148602" y="82549"/>
                      </a:lnTo>
                      <a:lnTo>
                        <a:pt x="149174" y="83819"/>
                      </a:lnTo>
                      <a:lnTo>
                        <a:pt x="151218" y="83819"/>
                      </a:lnTo>
                      <a:lnTo>
                        <a:pt x="149529" y="82549"/>
                      </a:lnTo>
                      <a:close/>
                    </a:path>
                    <a:path w="579754" h="435610">
                      <a:moveTo>
                        <a:pt x="154038" y="81279"/>
                      </a:moveTo>
                      <a:lnTo>
                        <a:pt x="153911" y="81279"/>
                      </a:lnTo>
                      <a:lnTo>
                        <a:pt x="153301" y="82549"/>
                      </a:lnTo>
                      <a:lnTo>
                        <a:pt x="154038" y="81279"/>
                      </a:lnTo>
                      <a:close/>
                    </a:path>
                    <a:path w="579754" h="435610">
                      <a:moveTo>
                        <a:pt x="154774" y="81279"/>
                      </a:moveTo>
                      <a:lnTo>
                        <a:pt x="154038" y="81279"/>
                      </a:lnTo>
                      <a:lnTo>
                        <a:pt x="153301" y="82549"/>
                      </a:lnTo>
                      <a:lnTo>
                        <a:pt x="155460" y="82549"/>
                      </a:lnTo>
                      <a:lnTo>
                        <a:pt x="154774" y="81279"/>
                      </a:lnTo>
                      <a:close/>
                    </a:path>
                    <a:path w="579754" h="435610">
                      <a:moveTo>
                        <a:pt x="156502" y="80009"/>
                      </a:moveTo>
                      <a:lnTo>
                        <a:pt x="155003" y="80009"/>
                      </a:lnTo>
                      <a:lnTo>
                        <a:pt x="155079" y="81279"/>
                      </a:lnTo>
                      <a:lnTo>
                        <a:pt x="155460" y="82549"/>
                      </a:lnTo>
                      <a:lnTo>
                        <a:pt x="158203" y="82549"/>
                      </a:lnTo>
                      <a:lnTo>
                        <a:pt x="158115" y="81279"/>
                      </a:lnTo>
                      <a:lnTo>
                        <a:pt x="156502" y="80009"/>
                      </a:lnTo>
                      <a:close/>
                    </a:path>
                    <a:path w="579754" h="435610">
                      <a:moveTo>
                        <a:pt x="161264" y="81279"/>
                      </a:moveTo>
                      <a:lnTo>
                        <a:pt x="160629" y="81279"/>
                      </a:lnTo>
                      <a:lnTo>
                        <a:pt x="159664" y="82549"/>
                      </a:lnTo>
                      <a:lnTo>
                        <a:pt x="161594" y="82549"/>
                      </a:lnTo>
                      <a:lnTo>
                        <a:pt x="161584" y="82384"/>
                      </a:lnTo>
                      <a:lnTo>
                        <a:pt x="161264" y="81279"/>
                      </a:lnTo>
                      <a:close/>
                    </a:path>
                    <a:path w="579754" h="435610">
                      <a:moveTo>
                        <a:pt x="162013" y="81279"/>
                      </a:moveTo>
                      <a:lnTo>
                        <a:pt x="161518" y="81279"/>
                      </a:lnTo>
                      <a:lnTo>
                        <a:pt x="161632" y="82549"/>
                      </a:lnTo>
                      <a:lnTo>
                        <a:pt x="162013" y="81279"/>
                      </a:lnTo>
                      <a:close/>
                    </a:path>
                    <a:path w="579754" h="435610">
                      <a:moveTo>
                        <a:pt x="349681" y="81279"/>
                      </a:moveTo>
                      <a:lnTo>
                        <a:pt x="164909" y="81279"/>
                      </a:lnTo>
                      <a:lnTo>
                        <a:pt x="166649" y="82549"/>
                      </a:lnTo>
                      <a:lnTo>
                        <a:pt x="352844" y="82549"/>
                      </a:lnTo>
                      <a:lnTo>
                        <a:pt x="349681" y="81279"/>
                      </a:lnTo>
                      <a:close/>
                    </a:path>
                    <a:path w="579754" h="435610">
                      <a:moveTo>
                        <a:pt x="162013" y="77469"/>
                      </a:moveTo>
                      <a:lnTo>
                        <a:pt x="160896" y="80009"/>
                      </a:lnTo>
                      <a:lnTo>
                        <a:pt x="161584" y="82384"/>
                      </a:lnTo>
                      <a:lnTo>
                        <a:pt x="161518" y="81279"/>
                      </a:lnTo>
                      <a:lnTo>
                        <a:pt x="349681" y="81279"/>
                      </a:lnTo>
                      <a:lnTo>
                        <a:pt x="348907" y="80009"/>
                      </a:lnTo>
                      <a:lnTo>
                        <a:pt x="346817" y="78739"/>
                      </a:lnTo>
                      <a:lnTo>
                        <a:pt x="163207" y="78739"/>
                      </a:lnTo>
                      <a:lnTo>
                        <a:pt x="162013" y="77469"/>
                      </a:lnTo>
                      <a:close/>
                    </a:path>
                    <a:path w="579754" h="435610">
                      <a:moveTo>
                        <a:pt x="334987" y="73659"/>
                      </a:moveTo>
                      <a:lnTo>
                        <a:pt x="165138" y="73659"/>
                      </a:lnTo>
                      <a:lnTo>
                        <a:pt x="163921" y="76169"/>
                      </a:lnTo>
                      <a:lnTo>
                        <a:pt x="164020" y="78739"/>
                      </a:lnTo>
                      <a:lnTo>
                        <a:pt x="346817" y="78739"/>
                      </a:lnTo>
                      <a:lnTo>
                        <a:pt x="342639" y="76199"/>
                      </a:lnTo>
                      <a:lnTo>
                        <a:pt x="338112" y="76199"/>
                      </a:lnTo>
                      <a:lnTo>
                        <a:pt x="334987" y="73659"/>
                      </a:lnTo>
                      <a:close/>
                    </a:path>
                    <a:path w="579754" h="435610">
                      <a:moveTo>
                        <a:pt x="214471" y="61266"/>
                      </a:moveTo>
                      <a:lnTo>
                        <a:pt x="214347" y="62229"/>
                      </a:lnTo>
                      <a:lnTo>
                        <a:pt x="217385" y="66039"/>
                      </a:lnTo>
                      <a:lnTo>
                        <a:pt x="217004" y="67309"/>
                      </a:lnTo>
                      <a:lnTo>
                        <a:pt x="214503" y="67309"/>
                      </a:lnTo>
                      <a:lnTo>
                        <a:pt x="214223" y="68579"/>
                      </a:lnTo>
                      <a:lnTo>
                        <a:pt x="213220" y="69849"/>
                      </a:lnTo>
                      <a:lnTo>
                        <a:pt x="161163" y="69849"/>
                      </a:lnTo>
                      <a:lnTo>
                        <a:pt x="160667" y="72389"/>
                      </a:lnTo>
                      <a:lnTo>
                        <a:pt x="161099" y="74929"/>
                      </a:lnTo>
                      <a:lnTo>
                        <a:pt x="162585" y="76199"/>
                      </a:lnTo>
                      <a:lnTo>
                        <a:pt x="163334" y="76199"/>
                      </a:lnTo>
                      <a:lnTo>
                        <a:pt x="163982" y="73659"/>
                      </a:lnTo>
                      <a:lnTo>
                        <a:pt x="334987" y="73659"/>
                      </a:lnTo>
                      <a:lnTo>
                        <a:pt x="331863" y="71119"/>
                      </a:lnTo>
                      <a:lnTo>
                        <a:pt x="326809" y="66039"/>
                      </a:lnTo>
                      <a:lnTo>
                        <a:pt x="230301" y="66039"/>
                      </a:lnTo>
                      <a:lnTo>
                        <a:pt x="229577" y="64769"/>
                      </a:lnTo>
                      <a:lnTo>
                        <a:pt x="229069" y="64769"/>
                      </a:lnTo>
                      <a:lnTo>
                        <a:pt x="229609" y="63499"/>
                      </a:lnTo>
                      <a:lnTo>
                        <a:pt x="220586" y="63499"/>
                      </a:lnTo>
                      <a:lnTo>
                        <a:pt x="217970" y="62229"/>
                      </a:lnTo>
                      <a:lnTo>
                        <a:pt x="214471" y="61266"/>
                      </a:lnTo>
                      <a:close/>
                    </a:path>
                    <a:path w="579754" h="435610">
                      <a:moveTo>
                        <a:pt x="339039" y="74929"/>
                      </a:moveTo>
                      <a:lnTo>
                        <a:pt x="338112" y="76199"/>
                      </a:lnTo>
                      <a:lnTo>
                        <a:pt x="340575" y="76199"/>
                      </a:lnTo>
                      <a:lnTo>
                        <a:pt x="339039" y="74929"/>
                      </a:lnTo>
                      <a:close/>
                    </a:path>
                    <a:path w="579754" h="435610">
                      <a:moveTo>
                        <a:pt x="340575" y="76169"/>
                      </a:moveTo>
                      <a:close/>
                    </a:path>
                    <a:path w="579754" h="435610">
                      <a:moveTo>
                        <a:pt x="340575" y="74945"/>
                      </a:moveTo>
                      <a:lnTo>
                        <a:pt x="340614" y="76199"/>
                      </a:lnTo>
                      <a:lnTo>
                        <a:pt x="342639" y="76199"/>
                      </a:lnTo>
                      <a:lnTo>
                        <a:pt x="340575" y="74945"/>
                      </a:lnTo>
                      <a:close/>
                    </a:path>
                    <a:path w="579754" h="435610">
                      <a:moveTo>
                        <a:pt x="340575" y="74929"/>
                      </a:moveTo>
                      <a:close/>
                    </a:path>
                    <a:path w="579754" h="435610">
                      <a:moveTo>
                        <a:pt x="170497" y="68579"/>
                      </a:moveTo>
                      <a:lnTo>
                        <a:pt x="162712" y="68579"/>
                      </a:lnTo>
                      <a:lnTo>
                        <a:pt x="161251" y="69849"/>
                      </a:lnTo>
                      <a:lnTo>
                        <a:pt x="172466" y="69849"/>
                      </a:lnTo>
                      <a:lnTo>
                        <a:pt x="170497" y="68579"/>
                      </a:lnTo>
                      <a:close/>
                    </a:path>
                    <a:path w="579754" h="435610">
                      <a:moveTo>
                        <a:pt x="171386" y="60959"/>
                      </a:moveTo>
                      <a:lnTo>
                        <a:pt x="170208" y="62138"/>
                      </a:lnTo>
                      <a:lnTo>
                        <a:pt x="170116" y="63499"/>
                      </a:lnTo>
                      <a:lnTo>
                        <a:pt x="170421" y="64769"/>
                      </a:lnTo>
                      <a:lnTo>
                        <a:pt x="169926" y="66039"/>
                      </a:lnTo>
                      <a:lnTo>
                        <a:pt x="172656" y="66039"/>
                      </a:lnTo>
                      <a:lnTo>
                        <a:pt x="170497" y="68579"/>
                      </a:lnTo>
                      <a:lnTo>
                        <a:pt x="172466" y="69849"/>
                      </a:lnTo>
                      <a:lnTo>
                        <a:pt x="171538" y="68579"/>
                      </a:lnTo>
                      <a:lnTo>
                        <a:pt x="213607" y="68579"/>
                      </a:lnTo>
                      <a:lnTo>
                        <a:pt x="213995" y="67309"/>
                      </a:lnTo>
                      <a:lnTo>
                        <a:pt x="213677" y="64769"/>
                      </a:lnTo>
                      <a:lnTo>
                        <a:pt x="174663" y="64769"/>
                      </a:lnTo>
                      <a:lnTo>
                        <a:pt x="172974" y="63499"/>
                      </a:lnTo>
                      <a:lnTo>
                        <a:pt x="170497" y="63499"/>
                      </a:lnTo>
                      <a:lnTo>
                        <a:pt x="171386" y="60959"/>
                      </a:lnTo>
                      <a:close/>
                    </a:path>
                    <a:path w="579754" h="435610">
                      <a:moveTo>
                        <a:pt x="213607" y="68579"/>
                      </a:moveTo>
                      <a:lnTo>
                        <a:pt x="171538" y="68579"/>
                      </a:lnTo>
                      <a:lnTo>
                        <a:pt x="172466" y="69849"/>
                      </a:lnTo>
                      <a:lnTo>
                        <a:pt x="213220" y="69849"/>
                      </a:lnTo>
                      <a:lnTo>
                        <a:pt x="213607" y="68579"/>
                      </a:lnTo>
                      <a:close/>
                    </a:path>
                    <a:path w="579754" h="435610">
                      <a:moveTo>
                        <a:pt x="168998" y="67309"/>
                      </a:moveTo>
                      <a:lnTo>
                        <a:pt x="165290" y="67309"/>
                      </a:lnTo>
                      <a:lnTo>
                        <a:pt x="163715" y="68579"/>
                      </a:lnTo>
                      <a:lnTo>
                        <a:pt x="169608" y="68579"/>
                      </a:lnTo>
                      <a:lnTo>
                        <a:pt x="168998" y="67309"/>
                      </a:lnTo>
                      <a:close/>
                    </a:path>
                    <a:path w="579754" h="435610">
                      <a:moveTo>
                        <a:pt x="167449" y="66039"/>
                      </a:moveTo>
                      <a:lnTo>
                        <a:pt x="165290" y="66039"/>
                      </a:lnTo>
                      <a:lnTo>
                        <a:pt x="164096" y="67309"/>
                      </a:lnTo>
                      <a:lnTo>
                        <a:pt x="167373" y="67309"/>
                      </a:lnTo>
                      <a:lnTo>
                        <a:pt x="167449" y="66039"/>
                      </a:lnTo>
                      <a:close/>
                    </a:path>
                    <a:path w="579754" h="435610">
                      <a:moveTo>
                        <a:pt x="233006" y="60959"/>
                      </a:moveTo>
                      <a:lnTo>
                        <a:pt x="231228" y="60959"/>
                      </a:lnTo>
                      <a:lnTo>
                        <a:pt x="230616" y="62138"/>
                      </a:lnTo>
                      <a:lnTo>
                        <a:pt x="230568" y="63499"/>
                      </a:lnTo>
                      <a:lnTo>
                        <a:pt x="230301" y="66039"/>
                      </a:lnTo>
                      <a:lnTo>
                        <a:pt x="326809" y="66039"/>
                      </a:lnTo>
                      <a:lnTo>
                        <a:pt x="324819" y="64769"/>
                      </a:lnTo>
                      <a:lnTo>
                        <a:pt x="235966" y="64769"/>
                      </a:lnTo>
                      <a:lnTo>
                        <a:pt x="235051" y="62229"/>
                      </a:lnTo>
                      <a:lnTo>
                        <a:pt x="233006" y="60959"/>
                      </a:lnTo>
                      <a:close/>
                    </a:path>
                    <a:path w="579754" h="435610">
                      <a:moveTo>
                        <a:pt x="460866" y="64769"/>
                      </a:moveTo>
                      <a:lnTo>
                        <a:pt x="460730" y="64769"/>
                      </a:lnTo>
                      <a:lnTo>
                        <a:pt x="461454" y="66039"/>
                      </a:lnTo>
                      <a:lnTo>
                        <a:pt x="460866" y="64769"/>
                      </a:lnTo>
                      <a:close/>
                    </a:path>
                    <a:path w="579754" h="435610">
                      <a:moveTo>
                        <a:pt x="213334" y="60959"/>
                      </a:moveTo>
                      <a:lnTo>
                        <a:pt x="173901" y="60959"/>
                      </a:lnTo>
                      <a:lnTo>
                        <a:pt x="174244" y="62229"/>
                      </a:lnTo>
                      <a:lnTo>
                        <a:pt x="175742" y="62229"/>
                      </a:lnTo>
                      <a:lnTo>
                        <a:pt x="175666" y="63499"/>
                      </a:lnTo>
                      <a:lnTo>
                        <a:pt x="176174" y="63499"/>
                      </a:lnTo>
                      <a:lnTo>
                        <a:pt x="174663" y="64769"/>
                      </a:lnTo>
                      <a:lnTo>
                        <a:pt x="213677" y="64769"/>
                      </a:lnTo>
                      <a:lnTo>
                        <a:pt x="214274" y="62138"/>
                      </a:lnTo>
                      <a:lnTo>
                        <a:pt x="213334" y="60959"/>
                      </a:lnTo>
                      <a:close/>
                    </a:path>
                    <a:path w="579754" h="435610">
                      <a:moveTo>
                        <a:pt x="319117" y="58419"/>
                      </a:moveTo>
                      <a:lnTo>
                        <a:pt x="239522" y="58419"/>
                      </a:lnTo>
                      <a:lnTo>
                        <a:pt x="241223" y="59689"/>
                      </a:lnTo>
                      <a:lnTo>
                        <a:pt x="236207" y="59689"/>
                      </a:lnTo>
                      <a:lnTo>
                        <a:pt x="236131" y="62229"/>
                      </a:lnTo>
                      <a:lnTo>
                        <a:pt x="236512" y="63499"/>
                      </a:lnTo>
                      <a:lnTo>
                        <a:pt x="236893" y="63499"/>
                      </a:lnTo>
                      <a:lnTo>
                        <a:pt x="238366" y="64769"/>
                      </a:lnTo>
                      <a:lnTo>
                        <a:pt x="324819" y="64769"/>
                      </a:lnTo>
                      <a:lnTo>
                        <a:pt x="320840" y="62229"/>
                      </a:lnTo>
                      <a:lnTo>
                        <a:pt x="320217" y="62229"/>
                      </a:lnTo>
                      <a:lnTo>
                        <a:pt x="319913" y="60959"/>
                      </a:lnTo>
                      <a:lnTo>
                        <a:pt x="319117" y="58419"/>
                      </a:lnTo>
                      <a:close/>
                    </a:path>
                    <a:path w="579754" h="435610">
                      <a:moveTo>
                        <a:pt x="172199" y="62229"/>
                      </a:moveTo>
                      <a:lnTo>
                        <a:pt x="170497" y="63499"/>
                      </a:lnTo>
                      <a:lnTo>
                        <a:pt x="172974" y="63499"/>
                      </a:lnTo>
                      <a:lnTo>
                        <a:pt x="172199" y="62229"/>
                      </a:lnTo>
                      <a:close/>
                    </a:path>
                    <a:path w="579754" h="435610">
                      <a:moveTo>
                        <a:pt x="227177" y="58419"/>
                      </a:moveTo>
                      <a:lnTo>
                        <a:pt x="224713" y="59689"/>
                      </a:lnTo>
                      <a:lnTo>
                        <a:pt x="218122" y="59689"/>
                      </a:lnTo>
                      <a:lnTo>
                        <a:pt x="220586" y="63499"/>
                      </a:lnTo>
                      <a:lnTo>
                        <a:pt x="229609" y="63499"/>
                      </a:lnTo>
                      <a:lnTo>
                        <a:pt x="230149" y="62229"/>
                      </a:lnTo>
                      <a:lnTo>
                        <a:pt x="229450" y="60959"/>
                      </a:lnTo>
                      <a:lnTo>
                        <a:pt x="227177" y="60959"/>
                      </a:lnTo>
                      <a:lnTo>
                        <a:pt x="227177" y="58419"/>
                      </a:lnTo>
                      <a:close/>
                    </a:path>
                    <a:path w="579754" h="435610">
                      <a:moveTo>
                        <a:pt x="460692" y="62229"/>
                      </a:moveTo>
                      <a:lnTo>
                        <a:pt x="459689" y="62229"/>
                      </a:lnTo>
                      <a:lnTo>
                        <a:pt x="460768" y="63499"/>
                      </a:lnTo>
                      <a:lnTo>
                        <a:pt x="460692" y="62229"/>
                      </a:lnTo>
                      <a:close/>
                    </a:path>
                    <a:path w="579754" h="435610">
                      <a:moveTo>
                        <a:pt x="213334" y="60959"/>
                      </a:moveTo>
                      <a:lnTo>
                        <a:pt x="214274" y="62138"/>
                      </a:lnTo>
                      <a:lnTo>
                        <a:pt x="214471" y="61266"/>
                      </a:lnTo>
                      <a:lnTo>
                        <a:pt x="213334" y="60959"/>
                      </a:lnTo>
                      <a:close/>
                    </a:path>
                    <a:path w="579754" h="435610">
                      <a:moveTo>
                        <a:pt x="214807" y="59689"/>
                      </a:moveTo>
                      <a:lnTo>
                        <a:pt x="174205" y="59689"/>
                      </a:lnTo>
                      <a:lnTo>
                        <a:pt x="174548" y="60959"/>
                      </a:lnTo>
                      <a:lnTo>
                        <a:pt x="213334" y="60959"/>
                      </a:lnTo>
                      <a:lnTo>
                        <a:pt x="214471" y="61266"/>
                      </a:lnTo>
                      <a:lnTo>
                        <a:pt x="214807" y="59689"/>
                      </a:lnTo>
                      <a:close/>
                    </a:path>
                    <a:path w="579754" h="435610">
                      <a:moveTo>
                        <a:pt x="227177" y="59689"/>
                      </a:moveTo>
                      <a:lnTo>
                        <a:pt x="227177" y="60959"/>
                      </a:lnTo>
                      <a:lnTo>
                        <a:pt x="227952" y="60959"/>
                      </a:lnTo>
                      <a:lnTo>
                        <a:pt x="227177" y="59689"/>
                      </a:lnTo>
                      <a:close/>
                    </a:path>
                    <a:path w="579754" h="435610">
                      <a:moveTo>
                        <a:pt x="187159" y="48259"/>
                      </a:moveTo>
                      <a:lnTo>
                        <a:pt x="186766" y="48259"/>
                      </a:lnTo>
                      <a:lnTo>
                        <a:pt x="186004" y="50799"/>
                      </a:lnTo>
                      <a:lnTo>
                        <a:pt x="185813" y="52069"/>
                      </a:lnTo>
                      <a:lnTo>
                        <a:pt x="184848" y="53339"/>
                      </a:lnTo>
                      <a:lnTo>
                        <a:pt x="184531" y="54609"/>
                      </a:lnTo>
                      <a:lnTo>
                        <a:pt x="184886" y="54609"/>
                      </a:lnTo>
                      <a:lnTo>
                        <a:pt x="184302" y="55879"/>
                      </a:lnTo>
                      <a:lnTo>
                        <a:pt x="172770" y="55879"/>
                      </a:lnTo>
                      <a:lnTo>
                        <a:pt x="172085" y="58419"/>
                      </a:lnTo>
                      <a:lnTo>
                        <a:pt x="172275" y="59689"/>
                      </a:lnTo>
                      <a:lnTo>
                        <a:pt x="215455" y="59689"/>
                      </a:lnTo>
                      <a:lnTo>
                        <a:pt x="215811" y="58419"/>
                      </a:lnTo>
                      <a:lnTo>
                        <a:pt x="216077" y="58419"/>
                      </a:lnTo>
                      <a:lnTo>
                        <a:pt x="216039" y="57149"/>
                      </a:lnTo>
                      <a:lnTo>
                        <a:pt x="214147" y="55879"/>
                      </a:lnTo>
                      <a:lnTo>
                        <a:pt x="213258" y="54609"/>
                      </a:lnTo>
                      <a:lnTo>
                        <a:pt x="209153" y="50799"/>
                      </a:lnTo>
                      <a:lnTo>
                        <a:pt x="192138" y="50799"/>
                      </a:lnTo>
                      <a:lnTo>
                        <a:pt x="191274" y="49529"/>
                      </a:lnTo>
                      <a:lnTo>
                        <a:pt x="186969" y="49529"/>
                      </a:lnTo>
                      <a:lnTo>
                        <a:pt x="187159" y="48259"/>
                      </a:lnTo>
                      <a:close/>
                    </a:path>
                    <a:path w="579754" h="435610">
                      <a:moveTo>
                        <a:pt x="222745" y="58419"/>
                      </a:moveTo>
                      <a:lnTo>
                        <a:pt x="216687" y="58419"/>
                      </a:lnTo>
                      <a:lnTo>
                        <a:pt x="219163" y="59689"/>
                      </a:lnTo>
                      <a:lnTo>
                        <a:pt x="224713" y="59689"/>
                      </a:lnTo>
                      <a:lnTo>
                        <a:pt x="222745" y="58419"/>
                      </a:lnTo>
                      <a:close/>
                    </a:path>
                    <a:path w="579754" h="435610">
                      <a:moveTo>
                        <a:pt x="240017" y="39369"/>
                      </a:moveTo>
                      <a:lnTo>
                        <a:pt x="238709" y="40639"/>
                      </a:lnTo>
                      <a:lnTo>
                        <a:pt x="238671" y="41909"/>
                      </a:lnTo>
                      <a:lnTo>
                        <a:pt x="237666" y="45992"/>
                      </a:lnTo>
                      <a:lnTo>
                        <a:pt x="236664" y="49529"/>
                      </a:lnTo>
                      <a:lnTo>
                        <a:pt x="233349" y="49529"/>
                      </a:lnTo>
                      <a:lnTo>
                        <a:pt x="232537" y="53339"/>
                      </a:lnTo>
                      <a:lnTo>
                        <a:pt x="233235" y="53339"/>
                      </a:lnTo>
                      <a:lnTo>
                        <a:pt x="235280" y="55879"/>
                      </a:lnTo>
                      <a:lnTo>
                        <a:pt x="235775" y="57149"/>
                      </a:lnTo>
                      <a:lnTo>
                        <a:pt x="236512" y="58419"/>
                      </a:lnTo>
                      <a:lnTo>
                        <a:pt x="237553" y="59689"/>
                      </a:lnTo>
                      <a:lnTo>
                        <a:pt x="239522" y="58419"/>
                      </a:lnTo>
                      <a:lnTo>
                        <a:pt x="319117" y="58419"/>
                      </a:lnTo>
                      <a:lnTo>
                        <a:pt x="318719" y="57149"/>
                      </a:lnTo>
                      <a:lnTo>
                        <a:pt x="321144" y="55879"/>
                      </a:lnTo>
                      <a:lnTo>
                        <a:pt x="323507" y="52069"/>
                      </a:lnTo>
                      <a:lnTo>
                        <a:pt x="325158" y="50799"/>
                      </a:lnTo>
                      <a:lnTo>
                        <a:pt x="325653" y="48259"/>
                      </a:lnTo>
                      <a:lnTo>
                        <a:pt x="327507" y="44449"/>
                      </a:lnTo>
                      <a:lnTo>
                        <a:pt x="326974" y="44449"/>
                      </a:lnTo>
                      <a:lnTo>
                        <a:pt x="325386" y="43179"/>
                      </a:lnTo>
                      <a:lnTo>
                        <a:pt x="325310" y="40639"/>
                      </a:lnTo>
                      <a:lnTo>
                        <a:pt x="239826" y="40639"/>
                      </a:lnTo>
                      <a:lnTo>
                        <a:pt x="240017" y="39369"/>
                      </a:lnTo>
                      <a:close/>
                    </a:path>
                    <a:path w="579754" h="435610">
                      <a:moveTo>
                        <a:pt x="174891" y="54609"/>
                      </a:moveTo>
                      <a:lnTo>
                        <a:pt x="174244" y="55879"/>
                      </a:lnTo>
                      <a:lnTo>
                        <a:pt x="175006" y="55879"/>
                      </a:lnTo>
                      <a:lnTo>
                        <a:pt x="174891" y="54609"/>
                      </a:lnTo>
                      <a:close/>
                    </a:path>
                    <a:path w="579754" h="435610">
                      <a:moveTo>
                        <a:pt x="177177" y="54609"/>
                      </a:moveTo>
                      <a:lnTo>
                        <a:pt x="175831" y="55879"/>
                      </a:lnTo>
                      <a:lnTo>
                        <a:pt x="178866" y="55879"/>
                      </a:lnTo>
                      <a:lnTo>
                        <a:pt x="177177" y="54609"/>
                      </a:lnTo>
                      <a:close/>
                    </a:path>
                    <a:path w="579754" h="435610">
                      <a:moveTo>
                        <a:pt x="178572" y="50979"/>
                      </a:moveTo>
                      <a:lnTo>
                        <a:pt x="178866" y="55879"/>
                      </a:lnTo>
                      <a:lnTo>
                        <a:pt x="181762" y="55879"/>
                      </a:lnTo>
                      <a:lnTo>
                        <a:pt x="181648" y="54609"/>
                      </a:lnTo>
                      <a:lnTo>
                        <a:pt x="180441" y="54609"/>
                      </a:lnTo>
                      <a:lnTo>
                        <a:pt x="180682" y="53339"/>
                      </a:lnTo>
                      <a:lnTo>
                        <a:pt x="179133" y="53339"/>
                      </a:lnTo>
                      <a:lnTo>
                        <a:pt x="179324" y="52069"/>
                      </a:lnTo>
                      <a:lnTo>
                        <a:pt x="180022" y="52069"/>
                      </a:lnTo>
                      <a:lnTo>
                        <a:pt x="178572" y="50979"/>
                      </a:lnTo>
                      <a:close/>
                    </a:path>
                    <a:path w="579754" h="435610">
                      <a:moveTo>
                        <a:pt x="181521" y="53339"/>
                      </a:moveTo>
                      <a:lnTo>
                        <a:pt x="181330" y="53339"/>
                      </a:lnTo>
                      <a:lnTo>
                        <a:pt x="181102" y="54609"/>
                      </a:lnTo>
                      <a:lnTo>
                        <a:pt x="181914" y="54609"/>
                      </a:lnTo>
                      <a:lnTo>
                        <a:pt x="181521" y="53339"/>
                      </a:lnTo>
                      <a:close/>
                    </a:path>
                    <a:path w="579754" h="435610">
                      <a:moveTo>
                        <a:pt x="445223" y="50799"/>
                      </a:moveTo>
                      <a:lnTo>
                        <a:pt x="444487" y="50799"/>
                      </a:lnTo>
                      <a:lnTo>
                        <a:pt x="444106" y="53339"/>
                      </a:lnTo>
                      <a:lnTo>
                        <a:pt x="441985" y="54609"/>
                      </a:lnTo>
                      <a:lnTo>
                        <a:pt x="450742" y="54609"/>
                      </a:lnTo>
                      <a:lnTo>
                        <a:pt x="449897" y="53339"/>
                      </a:lnTo>
                      <a:lnTo>
                        <a:pt x="449313" y="52069"/>
                      </a:lnTo>
                      <a:lnTo>
                        <a:pt x="445960" y="52069"/>
                      </a:lnTo>
                      <a:lnTo>
                        <a:pt x="445223" y="50799"/>
                      </a:lnTo>
                      <a:close/>
                    </a:path>
                    <a:path w="579754" h="435610">
                      <a:moveTo>
                        <a:pt x="448233" y="50799"/>
                      </a:moveTo>
                      <a:lnTo>
                        <a:pt x="447154" y="52069"/>
                      </a:lnTo>
                      <a:lnTo>
                        <a:pt x="449313" y="52069"/>
                      </a:lnTo>
                      <a:lnTo>
                        <a:pt x="448233" y="50799"/>
                      </a:lnTo>
                      <a:close/>
                    </a:path>
                    <a:path w="579754" h="435610">
                      <a:moveTo>
                        <a:pt x="178562" y="50799"/>
                      </a:moveTo>
                      <a:lnTo>
                        <a:pt x="178333" y="50799"/>
                      </a:lnTo>
                      <a:lnTo>
                        <a:pt x="178572" y="50979"/>
                      </a:lnTo>
                      <a:lnTo>
                        <a:pt x="178562" y="50799"/>
                      </a:lnTo>
                      <a:close/>
                    </a:path>
                    <a:path w="579754" h="435610">
                      <a:moveTo>
                        <a:pt x="197878" y="43179"/>
                      </a:moveTo>
                      <a:lnTo>
                        <a:pt x="197231" y="44449"/>
                      </a:lnTo>
                      <a:lnTo>
                        <a:pt x="195021" y="50799"/>
                      </a:lnTo>
                      <a:lnTo>
                        <a:pt x="209153" y="50799"/>
                      </a:lnTo>
                      <a:lnTo>
                        <a:pt x="205003" y="46989"/>
                      </a:lnTo>
                      <a:lnTo>
                        <a:pt x="200888" y="46989"/>
                      </a:lnTo>
                      <a:lnTo>
                        <a:pt x="199186" y="45719"/>
                      </a:lnTo>
                      <a:lnTo>
                        <a:pt x="198462" y="44449"/>
                      </a:lnTo>
                      <a:lnTo>
                        <a:pt x="197878" y="43179"/>
                      </a:lnTo>
                      <a:close/>
                    </a:path>
                    <a:path w="579754" h="435610">
                      <a:moveTo>
                        <a:pt x="185153" y="46989"/>
                      </a:moveTo>
                      <a:lnTo>
                        <a:pt x="184073" y="46989"/>
                      </a:lnTo>
                      <a:lnTo>
                        <a:pt x="184531" y="49529"/>
                      </a:lnTo>
                      <a:lnTo>
                        <a:pt x="186766" y="48259"/>
                      </a:lnTo>
                      <a:lnTo>
                        <a:pt x="185496" y="48259"/>
                      </a:lnTo>
                      <a:lnTo>
                        <a:pt x="185153" y="46989"/>
                      </a:lnTo>
                      <a:close/>
                    </a:path>
                    <a:path w="579754" h="435610">
                      <a:moveTo>
                        <a:pt x="191516" y="45719"/>
                      </a:moveTo>
                      <a:lnTo>
                        <a:pt x="187274" y="49529"/>
                      </a:lnTo>
                      <a:lnTo>
                        <a:pt x="189318" y="49529"/>
                      </a:lnTo>
                      <a:lnTo>
                        <a:pt x="192278" y="46989"/>
                      </a:lnTo>
                      <a:lnTo>
                        <a:pt x="191516" y="45719"/>
                      </a:lnTo>
                      <a:close/>
                    </a:path>
                    <a:path w="579754" h="435610">
                      <a:moveTo>
                        <a:pt x="191630" y="48259"/>
                      </a:moveTo>
                      <a:lnTo>
                        <a:pt x="189318" y="49529"/>
                      </a:lnTo>
                      <a:lnTo>
                        <a:pt x="191274" y="49529"/>
                      </a:lnTo>
                      <a:lnTo>
                        <a:pt x="191630" y="48259"/>
                      </a:lnTo>
                      <a:close/>
                    </a:path>
                    <a:path w="579754" h="435610">
                      <a:moveTo>
                        <a:pt x="235737" y="46989"/>
                      </a:moveTo>
                      <a:lnTo>
                        <a:pt x="235585" y="48259"/>
                      </a:lnTo>
                      <a:lnTo>
                        <a:pt x="234124" y="48259"/>
                      </a:lnTo>
                      <a:lnTo>
                        <a:pt x="233807" y="49529"/>
                      </a:lnTo>
                      <a:lnTo>
                        <a:pt x="236664" y="49529"/>
                      </a:lnTo>
                      <a:lnTo>
                        <a:pt x="235737" y="46989"/>
                      </a:lnTo>
                      <a:close/>
                    </a:path>
                    <a:path w="579754" h="435610">
                      <a:moveTo>
                        <a:pt x="186080" y="46989"/>
                      </a:moveTo>
                      <a:lnTo>
                        <a:pt x="185305" y="46989"/>
                      </a:lnTo>
                      <a:lnTo>
                        <a:pt x="185496" y="48259"/>
                      </a:lnTo>
                      <a:lnTo>
                        <a:pt x="185851" y="48259"/>
                      </a:lnTo>
                      <a:lnTo>
                        <a:pt x="186080" y="46989"/>
                      </a:lnTo>
                      <a:close/>
                    </a:path>
                    <a:path w="579754" h="435610">
                      <a:moveTo>
                        <a:pt x="186969" y="46989"/>
                      </a:moveTo>
                      <a:lnTo>
                        <a:pt x="186156" y="46989"/>
                      </a:lnTo>
                      <a:lnTo>
                        <a:pt x="185851" y="48259"/>
                      </a:lnTo>
                      <a:lnTo>
                        <a:pt x="186931" y="48259"/>
                      </a:lnTo>
                      <a:lnTo>
                        <a:pt x="186969" y="46989"/>
                      </a:lnTo>
                      <a:close/>
                    </a:path>
                    <a:path w="579754" h="435610">
                      <a:moveTo>
                        <a:pt x="185458" y="45719"/>
                      </a:moveTo>
                      <a:lnTo>
                        <a:pt x="184607" y="45719"/>
                      </a:lnTo>
                      <a:lnTo>
                        <a:pt x="185039" y="46989"/>
                      </a:lnTo>
                      <a:lnTo>
                        <a:pt x="185889" y="46989"/>
                      </a:lnTo>
                      <a:lnTo>
                        <a:pt x="185458" y="45719"/>
                      </a:lnTo>
                      <a:close/>
                    </a:path>
                    <a:path w="579754" h="435610">
                      <a:moveTo>
                        <a:pt x="185458" y="45719"/>
                      </a:moveTo>
                      <a:lnTo>
                        <a:pt x="185889" y="46989"/>
                      </a:lnTo>
                      <a:lnTo>
                        <a:pt x="185640" y="45992"/>
                      </a:lnTo>
                      <a:lnTo>
                        <a:pt x="185458" y="45719"/>
                      </a:lnTo>
                      <a:close/>
                    </a:path>
                    <a:path w="579754" h="435610">
                      <a:moveTo>
                        <a:pt x="185640" y="45992"/>
                      </a:moveTo>
                      <a:lnTo>
                        <a:pt x="185889" y="46989"/>
                      </a:lnTo>
                      <a:lnTo>
                        <a:pt x="186309" y="46989"/>
                      </a:lnTo>
                      <a:lnTo>
                        <a:pt x="185640" y="45992"/>
                      </a:lnTo>
                      <a:close/>
                    </a:path>
                    <a:path w="579754" h="435610">
                      <a:moveTo>
                        <a:pt x="203936" y="45719"/>
                      </a:moveTo>
                      <a:lnTo>
                        <a:pt x="202120" y="46989"/>
                      </a:lnTo>
                      <a:lnTo>
                        <a:pt x="205003" y="46989"/>
                      </a:lnTo>
                      <a:lnTo>
                        <a:pt x="203936" y="45719"/>
                      </a:lnTo>
                      <a:close/>
                    </a:path>
                    <a:path w="579754" h="435610">
                      <a:moveTo>
                        <a:pt x="185572" y="45719"/>
                      </a:moveTo>
                      <a:lnTo>
                        <a:pt x="185640" y="45992"/>
                      </a:lnTo>
                      <a:lnTo>
                        <a:pt x="185572" y="45719"/>
                      </a:lnTo>
                      <a:close/>
                    </a:path>
                    <a:path w="579754" h="435610">
                      <a:moveTo>
                        <a:pt x="328206" y="41909"/>
                      </a:moveTo>
                      <a:lnTo>
                        <a:pt x="326923" y="43179"/>
                      </a:lnTo>
                      <a:lnTo>
                        <a:pt x="326974" y="44449"/>
                      </a:lnTo>
                      <a:lnTo>
                        <a:pt x="327507" y="44449"/>
                      </a:lnTo>
                      <a:lnTo>
                        <a:pt x="328053" y="43179"/>
                      </a:lnTo>
                      <a:lnTo>
                        <a:pt x="328206" y="41909"/>
                      </a:lnTo>
                      <a:close/>
                    </a:path>
                    <a:path w="579754" h="435610">
                      <a:moveTo>
                        <a:pt x="252133" y="24129"/>
                      </a:moveTo>
                      <a:lnTo>
                        <a:pt x="249161" y="24129"/>
                      </a:lnTo>
                      <a:lnTo>
                        <a:pt x="249897" y="25399"/>
                      </a:lnTo>
                      <a:lnTo>
                        <a:pt x="250291" y="27939"/>
                      </a:lnTo>
                      <a:lnTo>
                        <a:pt x="247154" y="27939"/>
                      </a:lnTo>
                      <a:lnTo>
                        <a:pt x="243446" y="31749"/>
                      </a:lnTo>
                      <a:lnTo>
                        <a:pt x="242874" y="34289"/>
                      </a:lnTo>
                      <a:lnTo>
                        <a:pt x="244995" y="36829"/>
                      </a:lnTo>
                      <a:lnTo>
                        <a:pt x="246189" y="38099"/>
                      </a:lnTo>
                      <a:lnTo>
                        <a:pt x="244373" y="38099"/>
                      </a:lnTo>
                      <a:lnTo>
                        <a:pt x="243840" y="39369"/>
                      </a:lnTo>
                      <a:lnTo>
                        <a:pt x="241642" y="40639"/>
                      </a:lnTo>
                      <a:lnTo>
                        <a:pt x="325348" y="40639"/>
                      </a:lnTo>
                      <a:lnTo>
                        <a:pt x="325539" y="36829"/>
                      </a:lnTo>
                      <a:lnTo>
                        <a:pt x="329057" y="36829"/>
                      </a:lnTo>
                      <a:lnTo>
                        <a:pt x="331127" y="35559"/>
                      </a:lnTo>
                      <a:lnTo>
                        <a:pt x="332714" y="34289"/>
                      </a:lnTo>
                      <a:lnTo>
                        <a:pt x="334260" y="34289"/>
                      </a:lnTo>
                      <a:lnTo>
                        <a:pt x="334137" y="30479"/>
                      </a:lnTo>
                      <a:lnTo>
                        <a:pt x="334060" y="29209"/>
                      </a:lnTo>
                      <a:lnTo>
                        <a:pt x="336710" y="29209"/>
                      </a:lnTo>
                      <a:lnTo>
                        <a:pt x="337126" y="27939"/>
                      </a:lnTo>
                      <a:lnTo>
                        <a:pt x="249542" y="27939"/>
                      </a:lnTo>
                      <a:lnTo>
                        <a:pt x="248983" y="26669"/>
                      </a:lnTo>
                      <a:lnTo>
                        <a:pt x="253098" y="26669"/>
                      </a:lnTo>
                      <a:lnTo>
                        <a:pt x="252895" y="25399"/>
                      </a:lnTo>
                      <a:lnTo>
                        <a:pt x="252285" y="25399"/>
                      </a:lnTo>
                      <a:lnTo>
                        <a:pt x="252133" y="24129"/>
                      </a:lnTo>
                      <a:close/>
                    </a:path>
                    <a:path w="579754" h="435610">
                      <a:moveTo>
                        <a:pt x="334260" y="34289"/>
                      </a:moveTo>
                      <a:lnTo>
                        <a:pt x="332714" y="34289"/>
                      </a:lnTo>
                      <a:lnTo>
                        <a:pt x="333019" y="35559"/>
                      </a:lnTo>
                      <a:lnTo>
                        <a:pt x="332295" y="36829"/>
                      </a:lnTo>
                      <a:lnTo>
                        <a:pt x="332295" y="38099"/>
                      </a:lnTo>
                      <a:lnTo>
                        <a:pt x="333451" y="36829"/>
                      </a:lnTo>
                      <a:lnTo>
                        <a:pt x="333984" y="36829"/>
                      </a:lnTo>
                      <a:lnTo>
                        <a:pt x="334289" y="35559"/>
                      </a:lnTo>
                      <a:lnTo>
                        <a:pt x="334260" y="34289"/>
                      </a:lnTo>
                      <a:close/>
                    </a:path>
                    <a:path w="579754" h="435610">
                      <a:moveTo>
                        <a:pt x="335838" y="31749"/>
                      </a:moveTo>
                      <a:lnTo>
                        <a:pt x="335413" y="31749"/>
                      </a:lnTo>
                      <a:lnTo>
                        <a:pt x="336651" y="33019"/>
                      </a:lnTo>
                      <a:lnTo>
                        <a:pt x="335838" y="31749"/>
                      </a:lnTo>
                      <a:close/>
                    </a:path>
                    <a:path w="579754" h="435610">
                      <a:moveTo>
                        <a:pt x="334175" y="30479"/>
                      </a:moveTo>
                      <a:lnTo>
                        <a:pt x="334873" y="31749"/>
                      </a:lnTo>
                      <a:lnTo>
                        <a:pt x="335413" y="31749"/>
                      </a:lnTo>
                      <a:lnTo>
                        <a:pt x="334175" y="30479"/>
                      </a:lnTo>
                      <a:close/>
                    </a:path>
                    <a:path w="579754" h="435610">
                      <a:moveTo>
                        <a:pt x="336710" y="29209"/>
                      </a:moveTo>
                      <a:lnTo>
                        <a:pt x="335991" y="29209"/>
                      </a:lnTo>
                      <a:lnTo>
                        <a:pt x="335876" y="31749"/>
                      </a:lnTo>
                      <a:lnTo>
                        <a:pt x="336710" y="29209"/>
                      </a:lnTo>
                      <a:close/>
                    </a:path>
                    <a:path w="579754" h="435610">
                      <a:moveTo>
                        <a:pt x="429806" y="22859"/>
                      </a:moveTo>
                      <a:lnTo>
                        <a:pt x="429348" y="24129"/>
                      </a:lnTo>
                      <a:lnTo>
                        <a:pt x="408863" y="24129"/>
                      </a:lnTo>
                      <a:lnTo>
                        <a:pt x="411187" y="26669"/>
                      </a:lnTo>
                      <a:lnTo>
                        <a:pt x="412153" y="26669"/>
                      </a:lnTo>
                      <a:lnTo>
                        <a:pt x="411949" y="27939"/>
                      </a:lnTo>
                      <a:lnTo>
                        <a:pt x="411875" y="29280"/>
                      </a:lnTo>
                      <a:lnTo>
                        <a:pt x="412559" y="30479"/>
                      </a:lnTo>
                      <a:lnTo>
                        <a:pt x="412153" y="31749"/>
                      </a:lnTo>
                      <a:lnTo>
                        <a:pt x="434047" y="31749"/>
                      </a:lnTo>
                      <a:lnTo>
                        <a:pt x="435279" y="30479"/>
                      </a:lnTo>
                      <a:lnTo>
                        <a:pt x="432739" y="30479"/>
                      </a:lnTo>
                      <a:lnTo>
                        <a:pt x="433235" y="27939"/>
                      </a:lnTo>
                      <a:lnTo>
                        <a:pt x="434086" y="27939"/>
                      </a:lnTo>
                      <a:lnTo>
                        <a:pt x="431622" y="25399"/>
                      </a:lnTo>
                      <a:lnTo>
                        <a:pt x="430961" y="24129"/>
                      </a:lnTo>
                      <a:lnTo>
                        <a:pt x="429806" y="22859"/>
                      </a:lnTo>
                      <a:close/>
                    </a:path>
                    <a:path w="579754" h="435610">
                      <a:moveTo>
                        <a:pt x="337959" y="25399"/>
                      </a:moveTo>
                      <a:lnTo>
                        <a:pt x="254901" y="25399"/>
                      </a:lnTo>
                      <a:lnTo>
                        <a:pt x="255054" y="26669"/>
                      </a:lnTo>
                      <a:lnTo>
                        <a:pt x="337543" y="26669"/>
                      </a:lnTo>
                      <a:lnTo>
                        <a:pt x="337959" y="25399"/>
                      </a:lnTo>
                      <a:close/>
                    </a:path>
                    <a:path w="579754" h="435610">
                      <a:moveTo>
                        <a:pt x="328472" y="22859"/>
                      </a:moveTo>
                      <a:lnTo>
                        <a:pt x="275996" y="22859"/>
                      </a:lnTo>
                      <a:lnTo>
                        <a:pt x="275729" y="24129"/>
                      </a:lnTo>
                      <a:lnTo>
                        <a:pt x="254279" y="24129"/>
                      </a:lnTo>
                      <a:lnTo>
                        <a:pt x="254215" y="25399"/>
                      </a:lnTo>
                      <a:lnTo>
                        <a:pt x="329476" y="25399"/>
                      </a:lnTo>
                      <a:lnTo>
                        <a:pt x="328974" y="24129"/>
                      </a:lnTo>
                      <a:lnTo>
                        <a:pt x="255371" y="24129"/>
                      </a:lnTo>
                      <a:lnTo>
                        <a:pt x="254406" y="22859"/>
                      </a:lnTo>
                      <a:lnTo>
                        <a:pt x="328472" y="22859"/>
                      </a:lnTo>
                      <a:close/>
                    </a:path>
                    <a:path w="579754" h="435610">
                      <a:moveTo>
                        <a:pt x="336283" y="20319"/>
                      </a:moveTo>
                      <a:lnTo>
                        <a:pt x="332092" y="20319"/>
                      </a:lnTo>
                      <a:lnTo>
                        <a:pt x="332752" y="22859"/>
                      </a:lnTo>
                      <a:lnTo>
                        <a:pt x="331482" y="24129"/>
                      </a:lnTo>
                      <a:lnTo>
                        <a:pt x="329476" y="25399"/>
                      </a:lnTo>
                      <a:lnTo>
                        <a:pt x="336689" y="25399"/>
                      </a:lnTo>
                      <a:lnTo>
                        <a:pt x="336283" y="20319"/>
                      </a:lnTo>
                      <a:close/>
                    </a:path>
                    <a:path w="579754" h="435610">
                      <a:moveTo>
                        <a:pt x="338645" y="20319"/>
                      </a:moveTo>
                      <a:lnTo>
                        <a:pt x="336689" y="25399"/>
                      </a:lnTo>
                      <a:lnTo>
                        <a:pt x="338226" y="25399"/>
                      </a:lnTo>
                      <a:lnTo>
                        <a:pt x="341464" y="22859"/>
                      </a:lnTo>
                      <a:lnTo>
                        <a:pt x="340474" y="21589"/>
                      </a:lnTo>
                      <a:lnTo>
                        <a:pt x="339801" y="21589"/>
                      </a:lnTo>
                      <a:lnTo>
                        <a:pt x="338645" y="20319"/>
                      </a:lnTo>
                      <a:close/>
                    </a:path>
                    <a:path w="579754" h="435610">
                      <a:moveTo>
                        <a:pt x="422783" y="0"/>
                      </a:moveTo>
                      <a:lnTo>
                        <a:pt x="420014" y="0"/>
                      </a:lnTo>
                      <a:lnTo>
                        <a:pt x="415455" y="2539"/>
                      </a:lnTo>
                      <a:lnTo>
                        <a:pt x="412953" y="13969"/>
                      </a:lnTo>
                      <a:lnTo>
                        <a:pt x="411759" y="19049"/>
                      </a:lnTo>
                      <a:lnTo>
                        <a:pt x="409333" y="19049"/>
                      </a:lnTo>
                      <a:lnTo>
                        <a:pt x="408673" y="24129"/>
                      </a:lnTo>
                      <a:lnTo>
                        <a:pt x="408077" y="25359"/>
                      </a:lnTo>
                      <a:lnTo>
                        <a:pt x="408863" y="24129"/>
                      </a:lnTo>
                      <a:lnTo>
                        <a:pt x="429348" y="24129"/>
                      </a:lnTo>
                      <a:lnTo>
                        <a:pt x="429069" y="22859"/>
                      </a:lnTo>
                      <a:lnTo>
                        <a:pt x="428421" y="22859"/>
                      </a:lnTo>
                      <a:lnTo>
                        <a:pt x="429050" y="19049"/>
                      </a:lnTo>
                      <a:lnTo>
                        <a:pt x="411759" y="19049"/>
                      </a:lnTo>
                      <a:lnTo>
                        <a:pt x="411645" y="17779"/>
                      </a:lnTo>
                      <a:lnTo>
                        <a:pt x="427532" y="17779"/>
                      </a:lnTo>
                      <a:lnTo>
                        <a:pt x="424637" y="15239"/>
                      </a:lnTo>
                      <a:lnTo>
                        <a:pt x="424713" y="10159"/>
                      </a:lnTo>
                      <a:lnTo>
                        <a:pt x="424129" y="6349"/>
                      </a:lnTo>
                      <a:lnTo>
                        <a:pt x="423832" y="2539"/>
                      </a:lnTo>
                      <a:lnTo>
                        <a:pt x="420585" y="2539"/>
                      </a:lnTo>
                      <a:lnTo>
                        <a:pt x="421195" y="1269"/>
                      </a:lnTo>
                      <a:lnTo>
                        <a:pt x="422783" y="0"/>
                      </a:lnTo>
                      <a:close/>
                    </a:path>
                    <a:path w="579754" h="435610">
                      <a:moveTo>
                        <a:pt x="256908" y="20319"/>
                      </a:moveTo>
                      <a:lnTo>
                        <a:pt x="255790" y="20319"/>
                      </a:lnTo>
                      <a:lnTo>
                        <a:pt x="256019" y="22859"/>
                      </a:lnTo>
                      <a:lnTo>
                        <a:pt x="256527" y="24129"/>
                      </a:lnTo>
                      <a:lnTo>
                        <a:pt x="275729" y="24129"/>
                      </a:lnTo>
                      <a:lnTo>
                        <a:pt x="275958" y="22859"/>
                      </a:lnTo>
                      <a:lnTo>
                        <a:pt x="261658" y="22859"/>
                      </a:lnTo>
                      <a:lnTo>
                        <a:pt x="261080" y="21589"/>
                      </a:lnTo>
                      <a:lnTo>
                        <a:pt x="259029" y="21589"/>
                      </a:lnTo>
                      <a:lnTo>
                        <a:pt x="256908" y="20319"/>
                      </a:lnTo>
                      <a:close/>
                    </a:path>
                    <a:path w="579754" h="435610">
                      <a:moveTo>
                        <a:pt x="272834" y="20319"/>
                      </a:moveTo>
                      <a:lnTo>
                        <a:pt x="273291" y="21589"/>
                      </a:lnTo>
                      <a:lnTo>
                        <a:pt x="269798" y="22859"/>
                      </a:lnTo>
                      <a:lnTo>
                        <a:pt x="275958" y="22859"/>
                      </a:lnTo>
                      <a:lnTo>
                        <a:pt x="276110" y="21589"/>
                      </a:lnTo>
                      <a:lnTo>
                        <a:pt x="272834" y="20319"/>
                      </a:lnTo>
                      <a:close/>
                    </a:path>
                    <a:path w="579754" h="435610">
                      <a:moveTo>
                        <a:pt x="273177" y="6349"/>
                      </a:moveTo>
                      <a:lnTo>
                        <a:pt x="272796" y="6349"/>
                      </a:lnTo>
                      <a:lnTo>
                        <a:pt x="272326" y="7619"/>
                      </a:lnTo>
                      <a:lnTo>
                        <a:pt x="273761" y="8889"/>
                      </a:lnTo>
                      <a:lnTo>
                        <a:pt x="273062" y="10159"/>
                      </a:lnTo>
                      <a:lnTo>
                        <a:pt x="277228" y="10159"/>
                      </a:lnTo>
                      <a:lnTo>
                        <a:pt x="277698" y="11429"/>
                      </a:lnTo>
                      <a:lnTo>
                        <a:pt x="277774" y="12699"/>
                      </a:lnTo>
                      <a:lnTo>
                        <a:pt x="279781" y="12699"/>
                      </a:lnTo>
                      <a:lnTo>
                        <a:pt x="280162" y="13969"/>
                      </a:lnTo>
                      <a:lnTo>
                        <a:pt x="279082" y="16509"/>
                      </a:lnTo>
                      <a:lnTo>
                        <a:pt x="279234" y="19049"/>
                      </a:lnTo>
                      <a:lnTo>
                        <a:pt x="279387" y="20319"/>
                      </a:lnTo>
                      <a:lnTo>
                        <a:pt x="280746" y="20319"/>
                      </a:lnTo>
                      <a:lnTo>
                        <a:pt x="277456" y="21589"/>
                      </a:lnTo>
                      <a:lnTo>
                        <a:pt x="276453" y="22859"/>
                      </a:lnTo>
                      <a:lnTo>
                        <a:pt x="315747" y="22859"/>
                      </a:lnTo>
                      <a:lnTo>
                        <a:pt x="314477" y="21589"/>
                      </a:lnTo>
                      <a:lnTo>
                        <a:pt x="311353" y="19049"/>
                      </a:lnTo>
                      <a:lnTo>
                        <a:pt x="301523" y="19049"/>
                      </a:lnTo>
                      <a:lnTo>
                        <a:pt x="300901" y="17779"/>
                      </a:lnTo>
                      <a:lnTo>
                        <a:pt x="301523" y="17779"/>
                      </a:lnTo>
                      <a:lnTo>
                        <a:pt x="300215" y="16509"/>
                      </a:lnTo>
                      <a:lnTo>
                        <a:pt x="292112" y="16509"/>
                      </a:lnTo>
                      <a:lnTo>
                        <a:pt x="292811" y="13969"/>
                      </a:lnTo>
                      <a:lnTo>
                        <a:pt x="288518" y="12699"/>
                      </a:lnTo>
                      <a:lnTo>
                        <a:pt x="285559" y="11429"/>
                      </a:lnTo>
                      <a:lnTo>
                        <a:pt x="279806" y="11429"/>
                      </a:lnTo>
                      <a:lnTo>
                        <a:pt x="278917" y="10159"/>
                      </a:lnTo>
                      <a:lnTo>
                        <a:pt x="277304" y="7619"/>
                      </a:lnTo>
                      <a:lnTo>
                        <a:pt x="273646" y="7619"/>
                      </a:lnTo>
                      <a:lnTo>
                        <a:pt x="273177" y="6349"/>
                      </a:lnTo>
                      <a:close/>
                    </a:path>
                    <a:path w="579754" h="435610">
                      <a:moveTo>
                        <a:pt x="324231" y="19049"/>
                      </a:moveTo>
                      <a:lnTo>
                        <a:pt x="322453" y="19049"/>
                      </a:lnTo>
                      <a:lnTo>
                        <a:pt x="320763" y="20319"/>
                      </a:lnTo>
                      <a:lnTo>
                        <a:pt x="318592" y="20319"/>
                      </a:lnTo>
                      <a:lnTo>
                        <a:pt x="316712" y="21589"/>
                      </a:lnTo>
                      <a:lnTo>
                        <a:pt x="318096" y="21589"/>
                      </a:lnTo>
                      <a:lnTo>
                        <a:pt x="315747" y="22859"/>
                      </a:lnTo>
                      <a:lnTo>
                        <a:pt x="323583" y="22859"/>
                      </a:lnTo>
                      <a:lnTo>
                        <a:pt x="321614" y="20319"/>
                      </a:lnTo>
                      <a:lnTo>
                        <a:pt x="324231" y="19049"/>
                      </a:lnTo>
                      <a:close/>
                    </a:path>
                    <a:path w="579754" h="435610">
                      <a:moveTo>
                        <a:pt x="328129" y="19049"/>
                      </a:moveTo>
                      <a:lnTo>
                        <a:pt x="326237" y="20319"/>
                      </a:lnTo>
                      <a:lnTo>
                        <a:pt x="324993" y="21589"/>
                      </a:lnTo>
                      <a:lnTo>
                        <a:pt x="323583" y="22859"/>
                      </a:lnTo>
                      <a:lnTo>
                        <a:pt x="328549" y="22859"/>
                      </a:lnTo>
                      <a:lnTo>
                        <a:pt x="327977" y="21589"/>
                      </a:lnTo>
                      <a:lnTo>
                        <a:pt x="326580" y="21589"/>
                      </a:lnTo>
                      <a:lnTo>
                        <a:pt x="327202" y="20319"/>
                      </a:lnTo>
                      <a:lnTo>
                        <a:pt x="327583" y="20319"/>
                      </a:lnTo>
                      <a:lnTo>
                        <a:pt x="328129" y="19049"/>
                      </a:lnTo>
                      <a:close/>
                    </a:path>
                    <a:path w="579754" h="435610">
                      <a:moveTo>
                        <a:pt x="260108" y="19049"/>
                      </a:moveTo>
                      <a:lnTo>
                        <a:pt x="259689" y="20319"/>
                      </a:lnTo>
                      <a:lnTo>
                        <a:pt x="259334" y="20319"/>
                      </a:lnTo>
                      <a:lnTo>
                        <a:pt x="259372" y="21589"/>
                      </a:lnTo>
                      <a:lnTo>
                        <a:pt x="261080" y="21589"/>
                      </a:lnTo>
                      <a:lnTo>
                        <a:pt x="260502" y="20319"/>
                      </a:lnTo>
                      <a:lnTo>
                        <a:pt x="260108" y="19049"/>
                      </a:lnTo>
                      <a:close/>
                    </a:path>
                    <a:path w="579754" h="435610">
                      <a:moveTo>
                        <a:pt x="335800" y="16509"/>
                      </a:moveTo>
                      <a:lnTo>
                        <a:pt x="333946" y="17779"/>
                      </a:lnTo>
                      <a:lnTo>
                        <a:pt x="332143" y="19049"/>
                      </a:lnTo>
                      <a:lnTo>
                        <a:pt x="328739" y="21589"/>
                      </a:lnTo>
                      <a:lnTo>
                        <a:pt x="332092" y="20319"/>
                      </a:lnTo>
                      <a:lnTo>
                        <a:pt x="336283" y="20319"/>
                      </a:lnTo>
                      <a:lnTo>
                        <a:pt x="336181" y="19049"/>
                      </a:lnTo>
                      <a:lnTo>
                        <a:pt x="334289" y="17779"/>
                      </a:lnTo>
                      <a:lnTo>
                        <a:pt x="335991" y="17779"/>
                      </a:lnTo>
                      <a:lnTo>
                        <a:pt x="335800" y="16509"/>
                      </a:lnTo>
                      <a:close/>
                    </a:path>
                    <a:path w="579754" h="435610">
                      <a:moveTo>
                        <a:pt x="326085" y="17779"/>
                      </a:moveTo>
                      <a:lnTo>
                        <a:pt x="322148" y="17779"/>
                      </a:lnTo>
                      <a:lnTo>
                        <a:pt x="319989" y="20319"/>
                      </a:lnTo>
                      <a:lnTo>
                        <a:pt x="322453" y="19049"/>
                      </a:lnTo>
                      <a:lnTo>
                        <a:pt x="324231" y="19049"/>
                      </a:lnTo>
                      <a:lnTo>
                        <a:pt x="326085" y="17779"/>
                      </a:lnTo>
                      <a:close/>
                    </a:path>
                    <a:path w="579754" h="435610">
                      <a:moveTo>
                        <a:pt x="309778" y="17779"/>
                      </a:moveTo>
                      <a:lnTo>
                        <a:pt x="307924" y="19049"/>
                      </a:lnTo>
                      <a:lnTo>
                        <a:pt x="309689" y="19049"/>
                      </a:lnTo>
                      <a:lnTo>
                        <a:pt x="309778" y="17779"/>
                      </a:lnTo>
                      <a:close/>
                    </a:path>
                    <a:path w="579754" h="435610">
                      <a:moveTo>
                        <a:pt x="323953" y="17600"/>
                      </a:moveTo>
                      <a:lnTo>
                        <a:pt x="323646" y="17779"/>
                      </a:lnTo>
                      <a:lnTo>
                        <a:pt x="323811" y="17779"/>
                      </a:lnTo>
                      <a:lnTo>
                        <a:pt x="323953" y="17600"/>
                      </a:lnTo>
                      <a:close/>
                    </a:path>
                    <a:path w="579754" h="435610">
                      <a:moveTo>
                        <a:pt x="429183" y="16509"/>
                      </a:moveTo>
                      <a:lnTo>
                        <a:pt x="427532" y="17779"/>
                      </a:lnTo>
                      <a:lnTo>
                        <a:pt x="430999" y="17779"/>
                      </a:lnTo>
                      <a:lnTo>
                        <a:pt x="429183" y="16509"/>
                      </a:lnTo>
                      <a:close/>
                    </a:path>
                    <a:path w="579754" h="435610">
                      <a:moveTo>
                        <a:pt x="326923" y="13969"/>
                      </a:moveTo>
                      <a:lnTo>
                        <a:pt x="325196" y="15239"/>
                      </a:lnTo>
                      <a:lnTo>
                        <a:pt x="324815" y="16509"/>
                      </a:lnTo>
                      <a:lnTo>
                        <a:pt x="323953" y="17600"/>
                      </a:lnTo>
                      <a:lnTo>
                        <a:pt x="325818" y="16509"/>
                      </a:lnTo>
                      <a:lnTo>
                        <a:pt x="326237" y="15239"/>
                      </a:lnTo>
                      <a:lnTo>
                        <a:pt x="326923" y="13969"/>
                      </a:lnTo>
                      <a:close/>
                    </a:path>
                    <a:path w="579754" h="435610">
                      <a:moveTo>
                        <a:pt x="298627" y="13969"/>
                      </a:moveTo>
                      <a:lnTo>
                        <a:pt x="294119" y="15239"/>
                      </a:lnTo>
                      <a:lnTo>
                        <a:pt x="293966" y="15239"/>
                      </a:lnTo>
                      <a:lnTo>
                        <a:pt x="292188" y="16509"/>
                      </a:lnTo>
                      <a:lnTo>
                        <a:pt x="298704" y="16509"/>
                      </a:lnTo>
                      <a:lnTo>
                        <a:pt x="297395" y="15239"/>
                      </a:lnTo>
                      <a:lnTo>
                        <a:pt x="298627" y="13969"/>
                      </a:lnTo>
                      <a:close/>
                    </a:path>
                    <a:path w="579754" h="435610">
                      <a:moveTo>
                        <a:pt x="272986" y="10159"/>
                      </a:moveTo>
                      <a:lnTo>
                        <a:pt x="271411" y="10159"/>
                      </a:lnTo>
                      <a:lnTo>
                        <a:pt x="270408" y="11429"/>
                      </a:lnTo>
                      <a:lnTo>
                        <a:pt x="272249" y="11429"/>
                      </a:lnTo>
                      <a:lnTo>
                        <a:pt x="272986" y="10159"/>
                      </a:lnTo>
                      <a:close/>
                    </a:path>
                    <a:path w="579754" h="435610">
                      <a:moveTo>
                        <a:pt x="283743" y="8889"/>
                      </a:moveTo>
                      <a:lnTo>
                        <a:pt x="282130" y="10159"/>
                      </a:lnTo>
                      <a:lnTo>
                        <a:pt x="281851" y="10159"/>
                      </a:lnTo>
                      <a:lnTo>
                        <a:pt x="281203" y="11429"/>
                      </a:lnTo>
                      <a:lnTo>
                        <a:pt x="285711" y="11429"/>
                      </a:lnTo>
                      <a:lnTo>
                        <a:pt x="283857" y="10159"/>
                      </a:lnTo>
                      <a:lnTo>
                        <a:pt x="283743" y="8889"/>
                      </a:lnTo>
                      <a:close/>
                    </a:path>
                    <a:path w="579754" h="435610">
                      <a:moveTo>
                        <a:pt x="271449" y="5079"/>
                      </a:moveTo>
                      <a:lnTo>
                        <a:pt x="267512" y="6349"/>
                      </a:lnTo>
                      <a:lnTo>
                        <a:pt x="268249" y="7619"/>
                      </a:lnTo>
                      <a:lnTo>
                        <a:pt x="268871" y="8889"/>
                      </a:lnTo>
                      <a:lnTo>
                        <a:pt x="269748" y="8889"/>
                      </a:lnTo>
                      <a:lnTo>
                        <a:pt x="269798" y="10159"/>
                      </a:lnTo>
                      <a:lnTo>
                        <a:pt x="273062" y="10159"/>
                      </a:lnTo>
                      <a:lnTo>
                        <a:pt x="270827" y="6349"/>
                      </a:lnTo>
                      <a:lnTo>
                        <a:pt x="271449" y="5079"/>
                      </a:lnTo>
                      <a:close/>
                    </a:path>
                    <a:path w="579754" h="435610">
                      <a:moveTo>
                        <a:pt x="275412" y="6349"/>
                      </a:moveTo>
                      <a:lnTo>
                        <a:pt x="274256" y="6349"/>
                      </a:lnTo>
                      <a:lnTo>
                        <a:pt x="274256" y="7619"/>
                      </a:lnTo>
                      <a:lnTo>
                        <a:pt x="277304" y="7619"/>
                      </a:lnTo>
                      <a:lnTo>
                        <a:pt x="275412" y="6349"/>
                      </a:lnTo>
                      <a:close/>
                    </a:path>
                    <a:path w="579754" h="435610">
                      <a:moveTo>
                        <a:pt x="423633" y="0"/>
                      </a:moveTo>
                      <a:lnTo>
                        <a:pt x="420585" y="2539"/>
                      </a:lnTo>
                      <a:lnTo>
                        <a:pt x="423832" y="2539"/>
                      </a:lnTo>
                      <a:lnTo>
                        <a:pt x="423633" y="0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74" name="object 114">
                  <a:extLst>
                    <a:ext uri="{FF2B5EF4-FFF2-40B4-BE49-F238E27FC236}">
                      <a16:creationId xmlns:a16="http://schemas.microsoft.com/office/drawing/2014/main" id="{4A94DE9E-2408-C837-5171-0945CA5911A2}"/>
                    </a:ext>
                  </a:extLst>
                </p:cNvPr>
                <p:cNvSpPr/>
                <p:nvPr/>
              </p:nvSpPr>
              <p:spPr>
                <a:xfrm>
                  <a:off x="3601351" y="1559242"/>
                  <a:ext cx="1466215" cy="15430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66214" h="1543050">
                      <a:moveTo>
                        <a:pt x="6172" y="611733"/>
                      </a:moveTo>
                      <a:lnTo>
                        <a:pt x="6134" y="610514"/>
                      </a:lnTo>
                      <a:lnTo>
                        <a:pt x="0" y="611479"/>
                      </a:lnTo>
                      <a:lnTo>
                        <a:pt x="0" y="612063"/>
                      </a:lnTo>
                      <a:lnTo>
                        <a:pt x="0" y="613371"/>
                      </a:lnTo>
                      <a:lnTo>
                        <a:pt x="1968" y="612813"/>
                      </a:lnTo>
                      <a:lnTo>
                        <a:pt x="2921" y="613283"/>
                      </a:lnTo>
                      <a:lnTo>
                        <a:pt x="4737" y="614133"/>
                      </a:lnTo>
                      <a:lnTo>
                        <a:pt x="5664" y="613308"/>
                      </a:lnTo>
                      <a:lnTo>
                        <a:pt x="6172" y="611733"/>
                      </a:lnTo>
                      <a:close/>
                    </a:path>
                    <a:path w="1466214" h="1543050">
                      <a:moveTo>
                        <a:pt x="465404" y="1165225"/>
                      </a:moveTo>
                      <a:lnTo>
                        <a:pt x="465378" y="1165059"/>
                      </a:lnTo>
                      <a:lnTo>
                        <a:pt x="464680" y="1162494"/>
                      </a:lnTo>
                      <a:lnTo>
                        <a:pt x="462610" y="1164501"/>
                      </a:lnTo>
                      <a:lnTo>
                        <a:pt x="462432" y="1165694"/>
                      </a:lnTo>
                      <a:lnTo>
                        <a:pt x="462381" y="1165974"/>
                      </a:lnTo>
                      <a:lnTo>
                        <a:pt x="462419" y="1166977"/>
                      </a:lnTo>
                      <a:lnTo>
                        <a:pt x="462508" y="1167968"/>
                      </a:lnTo>
                      <a:lnTo>
                        <a:pt x="462546" y="1168222"/>
                      </a:lnTo>
                      <a:lnTo>
                        <a:pt x="464477" y="1170914"/>
                      </a:lnTo>
                      <a:lnTo>
                        <a:pt x="465124" y="1166533"/>
                      </a:lnTo>
                      <a:lnTo>
                        <a:pt x="465404" y="1165225"/>
                      </a:lnTo>
                      <a:close/>
                    </a:path>
                    <a:path w="1466214" h="1543050">
                      <a:moveTo>
                        <a:pt x="467702" y="1155255"/>
                      </a:moveTo>
                      <a:lnTo>
                        <a:pt x="466661" y="1154645"/>
                      </a:lnTo>
                      <a:lnTo>
                        <a:pt x="466471" y="1155357"/>
                      </a:lnTo>
                      <a:lnTo>
                        <a:pt x="466432" y="1156119"/>
                      </a:lnTo>
                      <a:lnTo>
                        <a:pt x="466356" y="1156868"/>
                      </a:lnTo>
                      <a:lnTo>
                        <a:pt x="467093" y="1156169"/>
                      </a:lnTo>
                      <a:lnTo>
                        <a:pt x="467702" y="1155255"/>
                      </a:lnTo>
                      <a:close/>
                    </a:path>
                    <a:path w="1466214" h="1543050">
                      <a:moveTo>
                        <a:pt x="467906" y="1133525"/>
                      </a:moveTo>
                      <a:lnTo>
                        <a:pt x="467347" y="1134046"/>
                      </a:lnTo>
                      <a:lnTo>
                        <a:pt x="466991" y="1134605"/>
                      </a:lnTo>
                      <a:lnTo>
                        <a:pt x="467042" y="1135430"/>
                      </a:lnTo>
                      <a:lnTo>
                        <a:pt x="467080" y="1135634"/>
                      </a:lnTo>
                      <a:lnTo>
                        <a:pt x="467169" y="1135849"/>
                      </a:lnTo>
                      <a:lnTo>
                        <a:pt x="467321" y="1135494"/>
                      </a:lnTo>
                      <a:lnTo>
                        <a:pt x="467410" y="1135113"/>
                      </a:lnTo>
                      <a:lnTo>
                        <a:pt x="467525" y="1134745"/>
                      </a:lnTo>
                      <a:lnTo>
                        <a:pt x="467639" y="1134338"/>
                      </a:lnTo>
                      <a:lnTo>
                        <a:pt x="467779" y="1133944"/>
                      </a:lnTo>
                      <a:lnTo>
                        <a:pt x="467906" y="1133525"/>
                      </a:lnTo>
                      <a:close/>
                    </a:path>
                    <a:path w="1466214" h="1543050">
                      <a:moveTo>
                        <a:pt x="468642" y="1187462"/>
                      </a:moveTo>
                      <a:lnTo>
                        <a:pt x="467982" y="1187805"/>
                      </a:lnTo>
                      <a:lnTo>
                        <a:pt x="467525" y="1188339"/>
                      </a:lnTo>
                      <a:lnTo>
                        <a:pt x="467715" y="1188974"/>
                      </a:lnTo>
                      <a:lnTo>
                        <a:pt x="468096" y="1188554"/>
                      </a:lnTo>
                      <a:lnTo>
                        <a:pt x="468452" y="1188021"/>
                      </a:lnTo>
                      <a:lnTo>
                        <a:pt x="468642" y="1187462"/>
                      </a:lnTo>
                      <a:close/>
                    </a:path>
                    <a:path w="1466214" h="1543050">
                      <a:moveTo>
                        <a:pt x="472732" y="1130617"/>
                      </a:moveTo>
                      <a:lnTo>
                        <a:pt x="472668" y="1129969"/>
                      </a:lnTo>
                      <a:lnTo>
                        <a:pt x="472478" y="1129245"/>
                      </a:lnTo>
                      <a:lnTo>
                        <a:pt x="472274" y="1128877"/>
                      </a:lnTo>
                      <a:lnTo>
                        <a:pt x="472211" y="1128610"/>
                      </a:lnTo>
                      <a:lnTo>
                        <a:pt x="472109" y="1127988"/>
                      </a:lnTo>
                      <a:lnTo>
                        <a:pt x="471500" y="1128610"/>
                      </a:lnTo>
                      <a:lnTo>
                        <a:pt x="471957" y="1127785"/>
                      </a:lnTo>
                      <a:lnTo>
                        <a:pt x="472681" y="1126578"/>
                      </a:lnTo>
                      <a:lnTo>
                        <a:pt x="472528" y="1125143"/>
                      </a:lnTo>
                      <a:lnTo>
                        <a:pt x="472300" y="1124686"/>
                      </a:lnTo>
                      <a:lnTo>
                        <a:pt x="471297" y="1127302"/>
                      </a:lnTo>
                      <a:lnTo>
                        <a:pt x="470369" y="1130109"/>
                      </a:lnTo>
                      <a:lnTo>
                        <a:pt x="469023" y="1134478"/>
                      </a:lnTo>
                      <a:lnTo>
                        <a:pt x="469252" y="1134529"/>
                      </a:lnTo>
                      <a:lnTo>
                        <a:pt x="469582" y="1134529"/>
                      </a:lnTo>
                      <a:lnTo>
                        <a:pt x="468769" y="1135011"/>
                      </a:lnTo>
                      <a:lnTo>
                        <a:pt x="468680" y="1136040"/>
                      </a:lnTo>
                      <a:lnTo>
                        <a:pt x="468591" y="1142403"/>
                      </a:lnTo>
                      <a:lnTo>
                        <a:pt x="468693" y="1143076"/>
                      </a:lnTo>
                      <a:lnTo>
                        <a:pt x="468960" y="1143076"/>
                      </a:lnTo>
                      <a:lnTo>
                        <a:pt x="468388" y="1143381"/>
                      </a:lnTo>
                      <a:lnTo>
                        <a:pt x="468261" y="1144257"/>
                      </a:lnTo>
                      <a:lnTo>
                        <a:pt x="468223" y="1145146"/>
                      </a:lnTo>
                      <a:lnTo>
                        <a:pt x="467753" y="1144447"/>
                      </a:lnTo>
                      <a:lnTo>
                        <a:pt x="466661" y="1144435"/>
                      </a:lnTo>
                      <a:lnTo>
                        <a:pt x="466509" y="1146124"/>
                      </a:lnTo>
                      <a:lnTo>
                        <a:pt x="466267" y="1147737"/>
                      </a:lnTo>
                      <a:lnTo>
                        <a:pt x="466064" y="1149223"/>
                      </a:lnTo>
                      <a:lnTo>
                        <a:pt x="465632" y="1148422"/>
                      </a:lnTo>
                      <a:lnTo>
                        <a:pt x="465277" y="1148473"/>
                      </a:lnTo>
                      <a:lnTo>
                        <a:pt x="464515" y="1150772"/>
                      </a:lnTo>
                      <a:lnTo>
                        <a:pt x="465861" y="1151432"/>
                      </a:lnTo>
                      <a:lnTo>
                        <a:pt x="466153" y="1152207"/>
                      </a:lnTo>
                      <a:lnTo>
                        <a:pt x="466305" y="1152715"/>
                      </a:lnTo>
                      <a:lnTo>
                        <a:pt x="466699" y="1154239"/>
                      </a:lnTo>
                      <a:lnTo>
                        <a:pt x="467601" y="1154785"/>
                      </a:lnTo>
                      <a:lnTo>
                        <a:pt x="467753" y="1153566"/>
                      </a:lnTo>
                      <a:lnTo>
                        <a:pt x="467995" y="1149578"/>
                      </a:lnTo>
                      <a:lnTo>
                        <a:pt x="468071" y="1148041"/>
                      </a:lnTo>
                      <a:lnTo>
                        <a:pt x="468172" y="1146505"/>
                      </a:lnTo>
                      <a:lnTo>
                        <a:pt x="469912" y="1143038"/>
                      </a:lnTo>
                      <a:lnTo>
                        <a:pt x="469747" y="1142987"/>
                      </a:lnTo>
                      <a:lnTo>
                        <a:pt x="469480" y="1142987"/>
                      </a:lnTo>
                      <a:lnTo>
                        <a:pt x="470547" y="1142580"/>
                      </a:lnTo>
                      <a:lnTo>
                        <a:pt x="471411" y="1141056"/>
                      </a:lnTo>
                      <a:lnTo>
                        <a:pt x="471639" y="1139151"/>
                      </a:lnTo>
                      <a:lnTo>
                        <a:pt x="471322" y="1138047"/>
                      </a:lnTo>
                      <a:lnTo>
                        <a:pt x="470623" y="1136040"/>
                      </a:lnTo>
                      <a:lnTo>
                        <a:pt x="470255" y="1135138"/>
                      </a:lnTo>
                      <a:lnTo>
                        <a:pt x="470065" y="1134452"/>
                      </a:lnTo>
                      <a:lnTo>
                        <a:pt x="469938" y="1134452"/>
                      </a:lnTo>
                      <a:lnTo>
                        <a:pt x="470776" y="1134097"/>
                      </a:lnTo>
                      <a:lnTo>
                        <a:pt x="470255" y="1132624"/>
                      </a:lnTo>
                      <a:lnTo>
                        <a:pt x="471220" y="1131557"/>
                      </a:lnTo>
                      <a:lnTo>
                        <a:pt x="471957" y="1131747"/>
                      </a:lnTo>
                      <a:lnTo>
                        <a:pt x="472084" y="1131557"/>
                      </a:lnTo>
                      <a:lnTo>
                        <a:pt x="472732" y="1130617"/>
                      </a:lnTo>
                      <a:close/>
                    </a:path>
                    <a:path w="1466214" h="1543050">
                      <a:moveTo>
                        <a:pt x="474116" y="1202194"/>
                      </a:moveTo>
                      <a:lnTo>
                        <a:pt x="473875" y="1201864"/>
                      </a:lnTo>
                      <a:lnTo>
                        <a:pt x="473417" y="1201127"/>
                      </a:lnTo>
                      <a:lnTo>
                        <a:pt x="473303" y="1200950"/>
                      </a:lnTo>
                      <a:lnTo>
                        <a:pt x="473176" y="1200785"/>
                      </a:lnTo>
                      <a:lnTo>
                        <a:pt x="473075" y="1200607"/>
                      </a:lnTo>
                      <a:lnTo>
                        <a:pt x="473138" y="1200823"/>
                      </a:lnTo>
                      <a:lnTo>
                        <a:pt x="473252" y="1201000"/>
                      </a:lnTo>
                      <a:lnTo>
                        <a:pt x="473341" y="1201204"/>
                      </a:lnTo>
                      <a:lnTo>
                        <a:pt x="473544" y="1201585"/>
                      </a:lnTo>
                      <a:lnTo>
                        <a:pt x="473786" y="1201940"/>
                      </a:lnTo>
                      <a:lnTo>
                        <a:pt x="474116" y="1202194"/>
                      </a:lnTo>
                      <a:close/>
                    </a:path>
                    <a:path w="1466214" h="1543050">
                      <a:moveTo>
                        <a:pt x="478002" y="1207160"/>
                      </a:moveTo>
                      <a:lnTo>
                        <a:pt x="477850" y="1206461"/>
                      </a:lnTo>
                      <a:lnTo>
                        <a:pt x="477545" y="1205814"/>
                      </a:lnTo>
                      <a:lnTo>
                        <a:pt x="477278" y="1205141"/>
                      </a:lnTo>
                      <a:lnTo>
                        <a:pt x="475259" y="1205903"/>
                      </a:lnTo>
                      <a:lnTo>
                        <a:pt x="476465" y="1207376"/>
                      </a:lnTo>
                      <a:lnTo>
                        <a:pt x="478002" y="1207160"/>
                      </a:lnTo>
                      <a:close/>
                    </a:path>
                    <a:path w="1466214" h="1543050">
                      <a:moveTo>
                        <a:pt x="479310" y="1202309"/>
                      </a:moveTo>
                      <a:lnTo>
                        <a:pt x="477202" y="1202855"/>
                      </a:lnTo>
                      <a:lnTo>
                        <a:pt x="478663" y="1204239"/>
                      </a:lnTo>
                      <a:lnTo>
                        <a:pt x="478548" y="1205369"/>
                      </a:lnTo>
                      <a:lnTo>
                        <a:pt x="478891" y="1204366"/>
                      </a:lnTo>
                      <a:lnTo>
                        <a:pt x="479082" y="1203337"/>
                      </a:lnTo>
                      <a:lnTo>
                        <a:pt x="479310" y="1202309"/>
                      </a:lnTo>
                      <a:close/>
                    </a:path>
                    <a:path w="1466214" h="1543050">
                      <a:moveTo>
                        <a:pt x="481634" y="1213815"/>
                      </a:moveTo>
                      <a:lnTo>
                        <a:pt x="480555" y="1214208"/>
                      </a:lnTo>
                      <a:lnTo>
                        <a:pt x="480009" y="1215085"/>
                      </a:lnTo>
                      <a:lnTo>
                        <a:pt x="480517" y="1216037"/>
                      </a:lnTo>
                      <a:lnTo>
                        <a:pt x="480974" y="1215351"/>
                      </a:lnTo>
                      <a:lnTo>
                        <a:pt x="481279" y="1214577"/>
                      </a:lnTo>
                      <a:lnTo>
                        <a:pt x="481634" y="1213815"/>
                      </a:lnTo>
                      <a:close/>
                    </a:path>
                    <a:path w="1466214" h="1543050">
                      <a:moveTo>
                        <a:pt x="484098" y="1217091"/>
                      </a:moveTo>
                      <a:lnTo>
                        <a:pt x="482511" y="1216342"/>
                      </a:lnTo>
                      <a:lnTo>
                        <a:pt x="480199" y="1217104"/>
                      </a:lnTo>
                      <a:lnTo>
                        <a:pt x="480974" y="1219250"/>
                      </a:lnTo>
                      <a:lnTo>
                        <a:pt x="481101" y="1219657"/>
                      </a:lnTo>
                      <a:lnTo>
                        <a:pt x="481444" y="1220038"/>
                      </a:lnTo>
                      <a:lnTo>
                        <a:pt x="482638" y="1221257"/>
                      </a:lnTo>
                      <a:lnTo>
                        <a:pt x="482866" y="1221727"/>
                      </a:lnTo>
                      <a:lnTo>
                        <a:pt x="483095" y="1222273"/>
                      </a:lnTo>
                      <a:lnTo>
                        <a:pt x="483247" y="1222705"/>
                      </a:lnTo>
                      <a:lnTo>
                        <a:pt x="483362" y="1223314"/>
                      </a:lnTo>
                      <a:lnTo>
                        <a:pt x="483743" y="1221651"/>
                      </a:lnTo>
                      <a:lnTo>
                        <a:pt x="484022" y="1217841"/>
                      </a:lnTo>
                      <a:lnTo>
                        <a:pt x="484098" y="1217091"/>
                      </a:lnTo>
                      <a:close/>
                    </a:path>
                    <a:path w="1466214" h="1543050">
                      <a:moveTo>
                        <a:pt x="767194" y="7010"/>
                      </a:moveTo>
                      <a:lnTo>
                        <a:pt x="767041" y="6946"/>
                      </a:lnTo>
                      <a:lnTo>
                        <a:pt x="766914" y="6934"/>
                      </a:lnTo>
                      <a:lnTo>
                        <a:pt x="767194" y="7010"/>
                      </a:lnTo>
                      <a:close/>
                    </a:path>
                    <a:path w="1466214" h="1543050">
                      <a:moveTo>
                        <a:pt x="767537" y="7150"/>
                      </a:moveTo>
                      <a:lnTo>
                        <a:pt x="767384" y="7061"/>
                      </a:lnTo>
                      <a:lnTo>
                        <a:pt x="767194" y="7010"/>
                      </a:lnTo>
                      <a:lnTo>
                        <a:pt x="767384" y="7086"/>
                      </a:lnTo>
                      <a:lnTo>
                        <a:pt x="767537" y="7150"/>
                      </a:lnTo>
                      <a:close/>
                    </a:path>
                    <a:path w="1466214" h="1543050">
                      <a:moveTo>
                        <a:pt x="822604" y="1270368"/>
                      </a:moveTo>
                      <a:lnTo>
                        <a:pt x="821334" y="1269682"/>
                      </a:lnTo>
                      <a:lnTo>
                        <a:pt x="819937" y="1269301"/>
                      </a:lnTo>
                      <a:lnTo>
                        <a:pt x="818591" y="1268818"/>
                      </a:lnTo>
                      <a:lnTo>
                        <a:pt x="818934" y="1269212"/>
                      </a:lnTo>
                      <a:lnTo>
                        <a:pt x="819251" y="1269682"/>
                      </a:lnTo>
                      <a:lnTo>
                        <a:pt x="819632" y="1270025"/>
                      </a:lnTo>
                      <a:lnTo>
                        <a:pt x="819873" y="1270000"/>
                      </a:lnTo>
                      <a:lnTo>
                        <a:pt x="820102" y="1270038"/>
                      </a:lnTo>
                      <a:lnTo>
                        <a:pt x="820343" y="1270088"/>
                      </a:lnTo>
                      <a:lnTo>
                        <a:pt x="820851" y="1270304"/>
                      </a:lnTo>
                      <a:lnTo>
                        <a:pt x="821347" y="1270444"/>
                      </a:lnTo>
                      <a:lnTo>
                        <a:pt x="821791" y="1270469"/>
                      </a:lnTo>
                      <a:lnTo>
                        <a:pt x="822083" y="1270520"/>
                      </a:lnTo>
                      <a:lnTo>
                        <a:pt x="822363" y="1270533"/>
                      </a:lnTo>
                      <a:lnTo>
                        <a:pt x="822604" y="1270368"/>
                      </a:lnTo>
                      <a:close/>
                    </a:path>
                    <a:path w="1466214" h="1543050">
                      <a:moveTo>
                        <a:pt x="824445" y="1273606"/>
                      </a:moveTo>
                      <a:lnTo>
                        <a:pt x="824179" y="1272654"/>
                      </a:lnTo>
                      <a:lnTo>
                        <a:pt x="823645" y="1271790"/>
                      </a:lnTo>
                      <a:lnTo>
                        <a:pt x="823175" y="1270901"/>
                      </a:lnTo>
                      <a:lnTo>
                        <a:pt x="822756" y="1272425"/>
                      </a:lnTo>
                      <a:lnTo>
                        <a:pt x="823683" y="1272730"/>
                      </a:lnTo>
                      <a:lnTo>
                        <a:pt x="824445" y="1273606"/>
                      </a:lnTo>
                      <a:close/>
                    </a:path>
                    <a:path w="1466214" h="1543050">
                      <a:moveTo>
                        <a:pt x="827887" y="1270558"/>
                      </a:moveTo>
                      <a:lnTo>
                        <a:pt x="827544" y="1269923"/>
                      </a:lnTo>
                      <a:lnTo>
                        <a:pt x="826998" y="1269428"/>
                      </a:lnTo>
                      <a:lnTo>
                        <a:pt x="826503" y="1268882"/>
                      </a:lnTo>
                      <a:lnTo>
                        <a:pt x="826770" y="1269580"/>
                      </a:lnTo>
                      <a:lnTo>
                        <a:pt x="827227" y="1270266"/>
                      </a:lnTo>
                      <a:lnTo>
                        <a:pt x="827887" y="1270558"/>
                      </a:lnTo>
                      <a:close/>
                    </a:path>
                    <a:path w="1466214" h="1543050">
                      <a:moveTo>
                        <a:pt x="828154" y="1260284"/>
                      </a:moveTo>
                      <a:lnTo>
                        <a:pt x="827112" y="1260322"/>
                      </a:lnTo>
                      <a:lnTo>
                        <a:pt x="825068" y="1260373"/>
                      </a:lnTo>
                      <a:lnTo>
                        <a:pt x="825906" y="1261046"/>
                      </a:lnTo>
                      <a:lnTo>
                        <a:pt x="826516" y="1261719"/>
                      </a:lnTo>
                      <a:lnTo>
                        <a:pt x="826973" y="1261999"/>
                      </a:lnTo>
                      <a:lnTo>
                        <a:pt x="827824" y="1262722"/>
                      </a:lnTo>
                      <a:lnTo>
                        <a:pt x="827976" y="1261440"/>
                      </a:lnTo>
                      <a:lnTo>
                        <a:pt x="828154" y="1260284"/>
                      </a:lnTo>
                      <a:close/>
                    </a:path>
                    <a:path w="1466214" h="1543050">
                      <a:moveTo>
                        <a:pt x="888619" y="881710"/>
                      </a:moveTo>
                      <a:lnTo>
                        <a:pt x="888504" y="881151"/>
                      </a:lnTo>
                      <a:lnTo>
                        <a:pt x="887882" y="880948"/>
                      </a:lnTo>
                      <a:lnTo>
                        <a:pt x="887844" y="881468"/>
                      </a:lnTo>
                      <a:lnTo>
                        <a:pt x="888149" y="882002"/>
                      </a:lnTo>
                      <a:lnTo>
                        <a:pt x="888580" y="882408"/>
                      </a:lnTo>
                      <a:lnTo>
                        <a:pt x="888619" y="881710"/>
                      </a:lnTo>
                      <a:close/>
                    </a:path>
                    <a:path w="1466214" h="1543050">
                      <a:moveTo>
                        <a:pt x="892429" y="875982"/>
                      </a:moveTo>
                      <a:lnTo>
                        <a:pt x="888111" y="875271"/>
                      </a:lnTo>
                      <a:lnTo>
                        <a:pt x="886409" y="875258"/>
                      </a:lnTo>
                      <a:lnTo>
                        <a:pt x="887717" y="876566"/>
                      </a:lnTo>
                      <a:lnTo>
                        <a:pt x="889381" y="877544"/>
                      </a:lnTo>
                      <a:lnTo>
                        <a:pt x="890879" y="878624"/>
                      </a:lnTo>
                      <a:lnTo>
                        <a:pt x="892429" y="875982"/>
                      </a:lnTo>
                      <a:close/>
                    </a:path>
                    <a:path w="1466214" h="1543050">
                      <a:moveTo>
                        <a:pt x="924064" y="1541741"/>
                      </a:moveTo>
                      <a:lnTo>
                        <a:pt x="924052" y="1541551"/>
                      </a:lnTo>
                      <a:lnTo>
                        <a:pt x="923963" y="1541335"/>
                      </a:lnTo>
                      <a:lnTo>
                        <a:pt x="923772" y="1541081"/>
                      </a:lnTo>
                      <a:lnTo>
                        <a:pt x="923531" y="1540865"/>
                      </a:lnTo>
                      <a:lnTo>
                        <a:pt x="923353" y="1540687"/>
                      </a:lnTo>
                      <a:lnTo>
                        <a:pt x="922896" y="1542897"/>
                      </a:lnTo>
                      <a:lnTo>
                        <a:pt x="923175" y="1542846"/>
                      </a:lnTo>
                      <a:lnTo>
                        <a:pt x="923378" y="1542719"/>
                      </a:lnTo>
                      <a:lnTo>
                        <a:pt x="923632" y="1542542"/>
                      </a:lnTo>
                      <a:lnTo>
                        <a:pt x="923861" y="1542300"/>
                      </a:lnTo>
                      <a:lnTo>
                        <a:pt x="923937" y="1542173"/>
                      </a:lnTo>
                      <a:lnTo>
                        <a:pt x="924001" y="1541983"/>
                      </a:lnTo>
                      <a:lnTo>
                        <a:pt x="924064" y="1541741"/>
                      </a:lnTo>
                      <a:close/>
                    </a:path>
                    <a:path w="1466214" h="1543050">
                      <a:moveTo>
                        <a:pt x="924433" y="1587"/>
                      </a:moveTo>
                      <a:lnTo>
                        <a:pt x="923810" y="520"/>
                      </a:lnTo>
                      <a:lnTo>
                        <a:pt x="923582" y="342"/>
                      </a:lnTo>
                      <a:lnTo>
                        <a:pt x="923391" y="190"/>
                      </a:lnTo>
                      <a:lnTo>
                        <a:pt x="923175" y="127"/>
                      </a:lnTo>
                      <a:lnTo>
                        <a:pt x="922921" y="127"/>
                      </a:lnTo>
                      <a:lnTo>
                        <a:pt x="921994" y="0"/>
                      </a:lnTo>
                      <a:lnTo>
                        <a:pt x="920788" y="584"/>
                      </a:lnTo>
                      <a:lnTo>
                        <a:pt x="920229" y="1231"/>
                      </a:lnTo>
                      <a:lnTo>
                        <a:pt x="919797" y="1587"/>
                      </a:lnTo>
                      <a:lnTo>
                        <a:pt x="919619" y="1790"/>
                      </a:lnTo>
                      <a:lnTo>
                        <a:pt x="919848" y="1905"/>
                      </a:lnTo>
                      <a:lnTo>
                        <a:pt x="919962" y="2032"/>
                      </a:lnTo>
                      <a:lnTo>
                        <a:pt x="920140" y="2159"/>
                      </a:lnTo>
                      <a:lnTo>
                        <a:pt x="920369" y="2260"/>
                      </a:lnTo>
                      <a:lnTo>
                        <a:pt x="920623" y="2336"/>
                      </a:lnTo>
                      <a:lnTo>
                        <a:pt x="921283" y="2616"/>
                      </a:lnTo>
                      <a:lnTo>
                        <a:pt x="921981" y="2781"/>
                      </a:lnTo>
                      <a:lnTo>
                        <a:pt x="922743" y="2755"/>
                      </a:lnTo>
                      <a:lnTo>
                        <a:pt x="922870" y="2616"/>
                      </a:lnTo>
                      <a:lnTo>
                        <a:pt x="923010" y="2362"/>
                      </a:lnTo>
                      <a:lnTo>
                        <a:pt x="923874" y="2120"/>
                      </a:lnTo>
                      <a:lnTo>
                        <a:pt x="924433" y="1587"/>
                      </a:lnTo>
                      <a:close/>
                    </a:path>
                    <a:path w="1466214" h="1543050">
                      <a:moveTo>
                        <a:pt x="932637" y="1529245"/>
                      </a:moveTo>
                      <a:lnTo>
                        <a:pt x="932599" y="1528914"/>
                      </a:lnTo>
                      <a:lnTo>
                        <a:pt x="932535" y="1528635"/>
                      </a:lnTo>
                      <a:lnTo>
                        <a:pt x="932421" y="1528419"/>
                      </a:lnTo>
                      <a:lnTo>
                        <a:pt x="932192" y="1528229"/>
                      </a:lnTo>
                      <a:lnTo>
                        <a:pt x="931875" y="1529207"/>
                      </a:lnTo>
                      <a:lnTo>
                        <a:pt x="931837" y="1530235"/>
                      </a:lnTo>
                      <a:lnTo>
                        <a:pt x="931722" y="1531239"/>
                      </a:lnTo>
                      <a:lnTo>
                        <a:pt x="931989" y="1530870"/>
                      </a:lnTo>
                      <a:lnTo>
                        <a:pt x="932192" y="1530438"/>
                      </a:lnTo>
                      <a:lnTo>
                        <a:pt x="932345" y="1530032"/>
                      </a:lnTo>
                      <a:lnTo>
                        <a:pt x="932535" y="1529575"/>
                      </a:lnTo>
                      <a:lnTo>
                        <a:pt x="932637" y="1529245"/>
                      </a:lnTo>
                      <a:close/>
                    </a:path>
                    <a:path w="1466214" h="1543050">
                      <a:moveTo>
                        <a:pt x="1037983" y="1488617"/>
                      </a:moveTo>
                      <a:close/>
                    </a:path>
                    <a:path w="1466214" h="1543050">
                      <a:moveTo>
                        <a:pt x="1039063" y="1487779"/>
                      </a:moveTo>
                      <a:lnTo>
                        <a:pt x="1038809" y="1487957"/>
                      </a:lnTo>
                      <a:lnTo>
                        <a:pt x="1038656" y="1488071"/>
                      </a:lnTo>
                      <a:lnTo>
                        <a:pt x="1038402" y="1488249"/>
                      </a:lnTo>
                      <a:lnTo>
                        <a:pt x="1038136" y="1488452"/>
                      </a:lnTo>
                      <a:lnTo>
                        <a:pt x="1037983" y="1488617"/>
                      </a:lnTo>
                      <a:lnTo>
                        <a:pt x="1038402" y="1488351"/>
                      </a:lnTo>
                      <a:lnTo>
                        <a:pt x="1038733" y="1488059"/>
                      </a:lnTo>
                      <a:lnTo>
                        <a:pt x="1039063" y="1487779"/>
                      </a:lnTo>
                      <a:close/>
                    </a:path>
                    <a:path w="1466214" h="1543050">
                      <a:moveTo>
                        <a:pt x="1441030" y="84048"/>
                      </a:moveTo>
                      <a:lnTo>
                        <a:pt x="1439887" y="83388"/>
                      </a:lnTo>
                      <a:lnTo>
                        <a:pt x="1438706" y="82511"/>
                      </a:lnTo>
                      <a:lnTo>
                        <a:pt x="1437335" y="81978"/>
                      </a:lnTo>
                      <a:lnTo>
                        <a:pt x="1437195" y="81889"/>
                      </a:lnTo>
                      <a:lnTo>
                        <a:pt x="1437068" y="81826"/>
                      </a:lnTo>
                      <a:lnTo>
                        <a:pt x="1436878" y="81813"/>
                      </a:lnTo>
                      <a:lnTo>
                        <a:pt x="1436839" y="82016"/>
                      </a:lnTo>
                      <a:lnTo>
                        <a:pt x="1436306" y="82867"/>
                      </a:lnTo>
                      <a:lnTo>
                        <a:pt x="1436712" y="83324"/>
                      </a:lnTo>
                      <a:lnTo>
                        <a:pt x="1437500" y="83616"/>
                      </a:lnTo>
                      <a:lnTo>
                        <a:pt x="1438249" y="84315"/>
                      </a:lnTo>
                      <a:lnTo>
                        <a:pt x="1439519" y="84150"/>
                      </a:lnTo>
                      <a:lnTo>
                        <a:pt x="1441030" y="84048"/>
                      </a:lnTo>
                      <a:close/>
                    </a:path>
                    <a:path w="1466214" h="1543050">
                      <a:moveTo>
                        <a:pt x="1465668" y="88404"/>
                      </a:moveTo>
                      <a:lnTo>
                        <a:pt x="1463281" y="88214"/>
                      </a:lnTo>
                      <a:lnTo>
                        <a:pt x="1464056" y="88493"/>
                      </a:lnTo>
                      <a:lnTo>
                        <a:pt x="1464868" y="88620"/>
                      </a:lnTo>
                      <a:lnTo>
                        <a:pt x="1465668" y="88519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575" name="object 115">
                  <a:extLst>
                    <a:ext uri="{FF2B5EF4-FFF2-40B4-BE49-F238E27FC236}">
                      <a16:creationId xmlns:a16="http://schemas.microsoft.com/office/drawing/2014/main" id="{EFD73970-60FB-C127-5073-8BD3E0CE10AB}"/>
                    </a:ext>
                  </a:extLst>
                </p:cNvPr>
                <p:cNvPicPr/>
                <p:nvPr/>
              </p:nvPicPr>
              <p:blipFill>
                <a:blip r:embed="rId7" cstate="print"/>
                <a:stretch>
                  <a:fillRect/>
                </a:stretch>
              </p:blipFill>
              <p:spPr>
                <a:xfrm>
                  <a:off x="2914943" y="2077444"/>
                  <a:ext cx="252046" cy="182573"/>
                </a:xfrm>
                <a:prstGeom prst="rect">
                  <a:avLst/>
                </a:prstGeom>
              </p:spPr>
            </p:pic>
            <p:sp>
              <p:nvSpPr>
                <p:cNvPr id="576" name="object 116">
                  <a:extLst>
                    <a:ext uri="{FF2B5EF4-FFF2-40B4-BE49-F238E27FC236}">
                      <a16:creationId xmlns:a16="http://schemas.microsoft.com/office/drawing/2014/main" id="{1F0357B2-EEBD-0800-D49D-95D15D2C309A}"/>
                    </a:ext>
                  </a:extLst>
                </p:cNvPr>
                <p:cNvSpPr/>
                <p:nvPr/>
              </p:nvSpPr>
              <p:spPr>
                <a:xfrm>
                  <a:off x="2823895" y="1662468"/>
                  <a:ext cx="370205" cy="5175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0205" h="517525">
                      <a:moveTo>
                        <a:pt x="3365" y="505294"/>
                      </a:moveTo>
                      <a:close/>
                    </a:path>
                    <a:path w="370205" h="517525">
                      <a:moveTo>
                        <a:pt x="11518" y="440550"/>
                      </a:moveTo>
                      <a:lnTo>
                        <a:pt x="10223" y="438556"/>
                      </a:lnTo>
                      <a:lnTo>
                        <a:pt x="9601" y="438023"/>
                      </a:lnTo>
                      <a:lnTo>
                        <a:pt x="8636" y="437565"/>
                      </a:lnTo>
                      <a:lnTo>
                        <a:pt x="7289" y="436803"/>
                      </a:lnTo>
                      <a:lnTo>
                        <a:pt x="6210" y="435991"/>
                      </a:lnTo>
                      <a:lnTo>
                        <a:pt x="5842" y="433070"/>
                      </a:lnTo>
                      <a:lnTo>
                        <a:pt x="5562" y="432371"/>
                      </a:lnTo>
                      <a:lnTo>
                        <a:pt x="5156" y="431863"/>
                      </a:lnTo>
                      <a:lnTo>
                        <a:pt x="5016" y="431863"/>
                      </a:lnTo>
                      <a:lnTo>
                        <a:pt x="4533" y="431495"/>
                      </a:lnTo>
                      <a:lnTo>
                        <a:pt x="4191" y="431330"/>
                      </a:lnTo>
                      <a:lnTo>
                        <a:pt x="4025" y="431507"/>
                      </a:lnTo>
                      <a:lnTo>
                        <a:pt x="3619" y="431876"/>
                      </a:lnTo>
                      <a:lnTo>
                        <a:pt x="3175" y="432117"/>
                      </a:lnTo>
                      <a:lnTo>
                        <a:pt x="2755" y="432549"/>
                      </a:lnTo>
                      <a:lnTo>
                        <a:pt x="2374" y="433070"/>
                      </a:lnTo>
                      <a:lnTo>
                        <a:pt x="1854" y="433692"/>
                      </a:lnTo>
                      <a:lnTo>
                        <a:pt x="1714" y="434111"/>
                      </a:lnTo>
                      <a:lnTo>
                        <a:pt x="1130" y="435140"/>
                      </a:lnTo>
                      <a:lnTo>
                        <a:pt x="723" y="436245"/>
                      </a:lnTo>
                      <a:lnTo>
                        <a:pt x="622" y="436943"/>
                      </a:lnTo>
                      <a:lnTo>
                        <a:pt x="469" y="437197"/>
                      </a:lnTo>
                      <a:lnTo>
                        <a:pt x="0" y="437603"/>
                      </a:lnTo>
                      <a:lnTo>
                        <a:pt x="1460" y="439242"/>
                      </a:lnTo>
                      <a:lnTo>
                        <a:pt x="2019" y="440753"/>
                      </a:lnTo>
                      <a:lnTo>
                        <a:pt x="2146" y="441604"/>
                      </a:lnTo>
                      <a:lnTo>
                        <a:pt x="2006" y="442582"/>
                      </a:lnTo>
                      <a:lnTo>
                        <a:pt x="1346" y="443014"/>
                      </a:lnTo>
                      <a:lnTo>
                        <a:pt x="1079" y="443103"/>
                      </a:lnTo>
                      <a:lnTo>
                        <a:pt x="1536" y="443242"/>
                      </a:lnTo>
                      <a:lnTo>
                        <a:pt x="2336" y="443649"/>
                      </a:lnTo>
                      <a:lnTo>
                        <a:pt x="3467" y="443928"/>
                      </a:lnTo>
                      <a:lnTo>
                        <a:pt x="4572" y="443941"/>
                      </a:lnTo>
                      <a:lnTo>
                        <a:pt x="5664" y="444004"/>
                      </a:lnTo>
                      <a:lnTo>
                        <a:pt x="6527" y="443941"/>
                      </a:lnTo>
                      <a:lnTo>
                        <a:pt x="7353" y="443941"/>
                      </a:lnTo>
                      <a:lnTo>
                        <a:pt x="8991" y="444792"/>
                      </a:lnTo>
                      <a:lnTo>
                        <a:pt x="8915" y="444500"/>
                      </a:lnTo>
                      <a:lnTo>
                        <a:pt x="8724" y="444284"/>
                      </a:lnTo>
                      <a:lnTo>
                        <a:pt x="8432" y="443941"/>
                      </a:lnTo>
                      <a:lnTo>
                        <a:pt x="7835" y="443230"/>
                      </a:lnTo>
                      <a:lnTo>
                        <a:pt x="11518" y="440550"/>
                      </a:lnTo>
                      <a:close/>
                    </a:path>
                    <a:path w="370205" h="517525">
                      <a:moveTo>
                        <a:pt x="47866" y="505955"/>
                      </a:moveTo>
                      <a:lnTo>
                        <a:pt x="44386" y="505955"/>
                      </a:lnTo>
                      <a:lnTo>
                        <a:pt x="45085" y="507923"/>
                      </a:lnTo>
                      <a:lnTo>
                        <a:pt x="45427" y="508647"/>
                      </a:lnTo>
                      <a:lnTo>
                        <a:pt x="45542" y="510755"/>
                      </a:lnTo>
                      <a:lnTo>
                        <a:pt x="46240" y="509955"/>
                      </a:lnTo>
                      <a:lnTo>
                        <a:pt x="47015" y="509320"/>
                      </a:lnTo>
                      <a:lnTo>
                        <a:pt x="47866" y="505955"/>
                      </a:lnTo>
                      <a:close/>
                    </a:path>
                    <a:path w="370205" h="517525">
                      <a:moveTo>
                        <a:pt x="60210" y="479971"/>
                      </a:moveTo>
                      <a:lnTo>
                        <a:pt x="59359" y="479336"/>
                      </a:lnTo>
                      <a:lnTo>
                        <a:pt x="57607" y="479971"/>
                      </a:lnTo>
                      <a:lnTo>
                        <a:pt x="60210" y="479971"/>
                      </a:lnTo>
                      <a:close/>
                    </a:path>
                    <a:path w="370205" h="517525">
                      <a:moveTo>
                        <a:pt x="78600" y="255816"/>
                      </a:moveTo>
                      <a:close/>
                    </a:path>
                    <a:path w="370205" h="517525">
                      <a:moveTo>
                        <a:pt x="103936" y="330746"/>
                      </a:moveTo>
                      <a:lnTo>
                        <a:pt x="103809" y="329476"/>
                      </a:lnTo>
                      <a:lnTo>
                        <a:pt x="103593" y="330746"/>
                      </a:lnTo>
                      <a:lnTo>
                        <a:pt x="103936" y="330746"/>
                      </a:lnTo>
                      <a:close/>
                    </a:path>
                    <a:path w="370205" h="517525">
                      <a:moveTo>
                        <a:pt x="149580" y="310426"/>
                      </a:moveTo>
                      <a:lnTo>
                        <a:pt x="102870" y="310426"/>
                      </a:lnTo>
                      <a:lnTo>
                        <a:pt x="99237" y="310438"/>
                      </a:lnTo>
                      <a:lnTo>
                        <a:pt x="99593" y="311696"/>
                      </a:lnTo>
                      <a:lnTo>
                        <a:pt x="101066" y="311696"/>
                      </a:lnTo>
                      <a:lnTo>
                        <a:pt x="101130" y="314236"/>
                      </a:lnTo>
                      <a:lnTo>
                        <a:pt x="99847" y="314236"/>
                      </a:lnTo>
                      <a:lnTo>
                        <a:pt x="98374" y="312966"/>
                      </a:lnTo>
                      <a:lnTo>
                        <a:pt x="96862" y="312966"/>
                      </a:lnTo>
                      <a:lnTo>
                        <a:pt x="97891" y="314236"/>
                      </a:lnTo>
                      <a:lnTo>
                        <a:pt x="98412" y="315506"/>
                      </a:lnTo>
                      <a:lnTo>
                        <a:pt x="100279" y="318046"/>
                      </a:lnTo>
                      <a:lnTo>
                        <a:pt x="101028" y="319316"/>
                      </a:lnTo>
                      <a:lnTo>
                        <a:pt x="102209" y="321856"/>
                      </a:lnTo>
                      <a:lnTo>
                        <a:pt x="102501" y="323126"/>
                      </a:lnTo>
                      <a:lnTo>
                        <a:pt x="104419" y="324396"/>
                      </a:lnTo>
                      <a:lnTo>
                        <a:pt x="105206" y="325666"/>
                      </a:lnTo>
                      <a:lnTo>
                        <a:pt x="105067" y="326936"/>
                      </a:lnTo>
                      <a:lnTo>
                        <a:pt x="104178" y="326936"/>
                      </a:lnTo>
                      <a:lnTo>
                        <a:pt x="103695" y="328206"/>
                      </a:lnTo>
                      <a:lnTo>
                        <a:pt x="104000" y="329476"/>
                      </a:lnTo>
                      <a:lnTo>
                        <a:pt x="103936" y="330746"/>
                      </a:lnTo>
                      <a:lnTo>
                        <a:pt x="122313" y="330746"/>
                      </a:lnTo>
                      <a:lnTo>
                        <a:pt x="123520" y="328206"/>
                      </a:lnTo>
                      <a:lnTo>
                        <a:pt x="123901" y="328206"/>
                      </a:lnTo>
                      <a:lnTo>
                        <a:pt x="123190" y="326936"/>
                      </a:lnTo>
                      <a:lnTo>
                        <a:pt x="122377" y="324396"/>
                      </a:lnTo>
                      <a:lnTo>
                        <a:pt x="121500" y="323126"/>
                      </a:lnTo>
                      <a:lnTo>
                        <a:pt x="125095" y="316776"/>
                      </a:lnTo>
                      <a:lnTo>
                        <a:pt x="131597" y="316776"/>
                      </a:lnTo>
                      <a:lnTo>
                        <a:pt x="137680" y="315506"/>
                      </a:lnTo>
                      <a:lnTo>
                        <a:pt x="139966" y="314236"/>
                      </a:lnTo>
                      <a:lnTo>
                        <a:pt x="143471" y="315506"/>
                      </a:lnTo>
                      <a:lnTo>
                        <a:pt x="144018" y="316776"/>
                      </a:lnTo>
                      <a:lnTo>
                        <a:pt x="145186" y="316776"/>
                      </a:lnTo>
                      <a:lnTo>
                        <a:pt x="147929" y="314236"/>
                      </a:lnTo>
                      <a:lnTo>
                        <a:pt x="149580" y="310426"/>
                      </a:lnTo>
                      <a:close/>
                    </a:path>
                    <a:path w="370205" h="517525">
                      <a:moveTo>
                        <a:pt x="163550" y="471716"/>
                      </a:moveTo>
                      <a:lnTo>
                        <a:pt x="163271" y="471208"/>
                      </a:lnTo>
                      <a:lnTo>
                        <a:pt x="163195" y="470954"/>
                      </a:lnTo>
                      <a:lnTo>
                        <a:pt x="162826" y="470573"/>
                      </a:lnTo>
                      <a:lnTo>
                        <a:pt x="162547" y="470065"/>
                      </a:lnTo>
                      <a:lnTo>
                        <a:pt x="162369" y="469557"/>
                      </a:lnTo>
                      <a:lnTo>
                        <a:pt x="161975" y="469049"/>
                      </a:lnTo>
                      <a:lnTo>
                        <a:pt x="161607" y="468795"/>
                      </a:lnTo>
                      <a:lnTo>
                        <a:pt x="161074" y="468668"/>
                      </a:lnTo>
                      <a:lnTo>
                        <a:pt x="160566" y="468033"/>
                      </a:lnTo>
                      <a:lnTo>
                        <a:pt x="160870" y="467144"/>
                      </a:lnTo>
                      <a:lnTo>
                        <a:pt x="159880" y="466001"/>
                      </a:lnTo>
                      <a:lnTo>
                        <a:pt x="159727" y="465747"/>
                      </a:lnTo>
                      <a:lnTo>
                        <a:pt x="159410" y="465493"/>
                      </a:lnTo>
                      <a:lnTo>
                        <a:pt x="159308" y="465366"/>
                      </a:lnTo>
                      <a:lnTo>
                        <a:pt x="159334" y="463334"/>
                      </a:lnTo>
                      <a:lnTo>
                        <a:pt x="160147" y="462572"/>
                      </a:lnTo>
                      <a:lnTo>
                        <a:pt x="160286" y="462191"/>
                      </a:lnTo>
                      <a:lnTo>
                        <a:pt x="160477" y="461683"/>
                      </a:lnTo>
                      <a:lnTo>
                        <a:pt x="160540" y="461175"/>
                      </a:lnTo>
                      <a:lnTo>
                        <a:pt x="160528" y="460286"/>
                      </a:lnTo>
                      <a:lnTo>
                        <a:pt x="160375" y="460159"/>
                      </a:lnTo>
                      <a:lnTo>
                        <a:pt x="159639" y="459016"/>
                      </a:lnTo>
                      <a:lnTo>
                        <a:pt x="158673" y="458381"/>
                      </a:lnTo>
                      <a:lnTo>
                        <a:pt x="156171" y="456730"/>
                      </a:lnTo>
                      <a:lnTo>
                        <a:pt x="154508" y="456984"/>
                      </a:lnTo>
                      <a:lnTo>
                        <a:pt x="152946" y="457111"/>
                      </a:lnTo>
                      <a:lnTo>
                        <a:pt x="151307" y="458381"/>
                      </a:lnTo>
                      <a:lnTo>
                        <a:pt x="142608" y="455714"/>
                      </a:lnTo>
                      <a:lnTo>
                        <a:pt x="141287" y="455079"/>
                      </a:lnTo>
                      <a:lnTo>
                        <a:pt x="139534" y="454825"/>
                      </a:lnTo>
                      <a:lnTo>
                        <a:pt x="138150" y="454825"/>
                      </a:lnTo>
                      <a:lnTo>
                        <a:pt x="137795" y="454698"/>
                      </a:lnTo>
                      <a:lnTo>
                        <a:pt x="137071" y="454571"/>
                      </a:lnTo>
                      <a:lnTo>
                        <a:pt x="136347" y="454571"/>
                      </a:lnTo>
                      <a:lnTo>
                        <a:pt x="135623" y="454444"/>
                      </a:lnTo>
                      <a:lnTo>
                        <a:pt x="134950" y="454190"/>
                      </a:lnTo>
                      <a:lnTo>
                        <a:pt x="134404" y="453809"/>
                      </a:lnTo>
                      <a:lnTo>
                        <a:pt x="133832" y="453174"/>
                      </a:lnTo>
                      <a:lnTo>
                        <a:pt x="133731" y="453047"/>
                      </a:lnTo>
                      <a:lnTo>
                        <a:pt x="133350" y="453174"/>
                      </a:lnTo>
                      <a:lnTo>
                        <a:pt x="133159" y="453047"/>
                      </a:lnTo>
                      <a:lnTo>
                        <a:pt x="133019" y="453047"/>
                      </a:lnTo>
                      <a:lnTo>
                        <a:pt x="132334" y="453682"/>
                      </a:lnTo>
                      <a:lnTo>
                        <a:pt x="132283" y="455714"/>
                      </a:lnTo>
                      <a:lnTo>
                        <a:pt x="132016" y="458000"/>
                      </a:lnTo>
                      <a:lnTo>
                        <a:pt x="131064" y="458635"/>
                      </a:lnTo>
                      <a:lnTo>
                        <a:pt x="128981" y="460413"/>
                      </a:lnTo>
                      <a:lnTo>
                        <a:pt x="127952" y="460794"/>
                      </a:lnTo>
                      <a:lnTo>
                        <a:pt x="126834" y="461048"/>
                      </a:lnTo>
                      <a:lnTo>
                        <a:pt x="125691" y="461048"/>
                      </a:lnTo>
                      <a:lnTo>
                        <a:pt x="123532" y="461175"/>
                      </a:lnTo>
                      <a:lnTo>
                        <a:pt x="121526" y="460921"/>
                      </a:lnTo>
                      <a:lnTo>
                        <a:pt x="118960" y="459397"/>
                      </a:lnTo>
                      <a:lnTo>
                        <a:pt x="116789" y="458000"/>
                      </a:lnTo>
                      <a:lnTo>
                        <a:pt x="115735" y="457619"/>
                      </a:lnTo>
                      <a:lnTo>
                        <a:pt x="115633" y="458000"/>
                      </a:lnTo>
                      <a:lnTo>
                        <a:pt x="114871" y="459143"/>
                      </a:lnTo>
                      <a:lnTo>
                        <a:pt x="114769" y="460540"/>
                      </a:lnTo>
                      <a:lnTo>
                        <a:pt x="114642" y="461302"/>
                      </a:lnTo>
                      <a:lnTo>
                        <a:pt x="114414" y="462191"/>
                      </a:lnTo>
                      <a:lnTo>
                        <a:pt x="113817" y="461937"/>
                      </a:lnTo>
                      <a:lnTo>
                        <a:pt x="111937" y="460921"/>
                      </a:lnTo>
                      <a:lnTo>
                        <a:pt x="110515" y="461302"/>
                      </a:lnTo>
                      <a:lnTo>
                        <a:pt x="110299" y="461683"/>
                      </a:lnTo>
                      <a:lnTo>
                        <a:pt x="110172" y="463334"/>
                      </a:lnTo>
                      <a:lnTo>
                        <a:pt x="110363" y="464096"/>
                      </a:lnTo>
                      <a:lnTo>
                        <a:pt x="109740" y="464985"/>
                      </a:lnTo>
                      <a:lnTo>
                        <a:pt x="109588" y="464985"/>
                      </a:lnTo>
                      <a:lnTo>
                        <a:pt x="109016" y="465366"/>
                      </a:lnTo>
                      <a:lnTo>
                        <a:pt x="108165" y="465747"/>
                      </a:lnTo>
                      <a:lnTo>
                        <a:pt x="107149" y="466255"/>
                      </a:lnTo>
                      <a:lnTo>
                        <a:pt x="105956" y="466636"/>
                      </a:lnTo>
                      <a:lnTo>
                        <a:pt x="104749" y="467144"/>
                      </a:lnTo>
                      <a:lnTo>
                        <a:pt x="100736" y="468541"/>
                      </a:lnTo>
                      <a:lnTo>
                        <a:pt x="100368" y="470319"/>
                      </a:lnTo>
                      <a:lnTo>
                        <a:pt x="102984" y="472859"/>
                      </a:lnTo>
                      <a:lnTo>
                        <a:pt x="104444" y="474764"/>
                      </a:lnTo>
                      <a:lnTo>
                        <a:pt x="103352" y="475526"/>
                      </a:lnTo>
                      <a:lnTo>
                        <a:pt x="102755" y="476669"/>
                      </a:lnTo>
                      <a:lnTo>
                        <a:pt x="103682" y="476923"/>
                      </a:lnTo>
                      <a:lnTo>
                        <a:pt x="104622" y="476415"/>
                      </a:lnTo>
                      <a:lnTo>
                        <a:pt x="104609" y="479082"/>
                      </a:lnTo>
                      <a:lnTo>
                        <a:pt x="104711" y="480352"/>
                      </a:lnTo>
                      <a:lnTo>
                        <a:pt x="104127" y="481368"/>
                      </a:lnTo>
                      <a:lnTo>
                        <a:pt x="100596" y="478193"/>
                      </a:lnTo>
                      <a:lnTo>
                        <a:pt x="99758" y="477431"/>
                      </a:lnTo>
                      <a:lnTo>
                        <a:pt x="98679" y="477812"/>
                      </a:lnTo>
                      <a:lnTo>
                        <a:pt x="97815" y="478193"/>
                      </a:lnTo>
                      <a:lnTo>
                        <a:pt x="97116" y="478193"/>
                      </a:lnTo>
                      <a:lnTo>
                        <a:pt x="95631" y="477558"/>
                      </a:lnTo>
                      <a:lnTo>
                        <a:pt x="93675" y="476923"/>
                      </a:lnTo>
                      <a:lnTo>
                        <a:pt x="92227" y="478320"/>
                      </a:lnTo>
                      <a:lnTo>
                        <a:pt x="89154" y="479082"/>
                      </a:lnTo>
                      <a:lnTo>
                        <a:pt x="87223" y="479209"/>
                      </a:lnTo>
                      <a:lnTo>
                        <a:pt x="84391" y="479209"/>
                      </a:lnTo>
                      <a:lnTo>
                        <a:pt x="81559" y="479971"/>
                      </a:lnTo>
                      <a:lnTo>
                        <a:pt x="81076" y="482257"/>
                      </a:lnTo>
                      <a:lnTo>
                        <a:pt x="76987" y="482384"/>
                      </a:lnTo>
                      <a:lnTo>
                        <a:pt x="74168" y="482892"/>
                      </a:lnTo>
                      <a:lnTo>
                        <a:pt x="74726" y="480225"/>
                      </a:lnTo>
                      <a:lnTo>
                        <a:pt x="67805" y="479209"/>
                      </a:lnTo>
                      <a:lnTo>
                        <a:pt x="67856" y="482384"/>
                      </a:lnTo>
                      <a:lnTo>
                        <a:pt x="67729" y="482485"/>
                      </a:lnTo>
                      <a:lnTo>
                        <a:pt x="67729" y="492036"/>
                      </a:lnTo>
                      <a:lnTo>
                        <a:pt x="67729" y="482485"/>
                      </a:lnTo>
                      <a:lnTo>
                        <a:pt x="67221" y="482854"/>
                      </a:lnTo>
                      <a:lnTo>
                        <a:pt x="67221" y="490613"/>
                      </a:lnTo>
                      <a:lnTo>
                        <a:pt x="67094" y="490397"/>
                      </a:lnTo>
                      <a:lnTo>
                        <a:pt x="66814" y="490334"/>
                      </a:lnTo>
                      <a:lnTo>
                        <a:pt x="67106" y="490385"/>
                      </a:lnTo>
                      <a:lnTo>
                        <a:pt x="67221" y="490613"/>
                      </a:lnTo>
                      <a:lnTo>
                        <a:pt x="67221" y="482854"/>
                      </a:lnTo>
                      <a:lnTo>
                        <a:pt x="66979" y="483019"/>
                      </a:lnTo>
                      <a:lnTo>
                        <a:pt x="63550" y="484924"/>
                      </a:lnTo>
                      <a:lnTo>
                        <a:pt x="64198" y="483654"/>
                      </a:lnTo>
                      <a:lnTo>
                        <a:pt x="64147" y="483019"/>
                      </a:lnTo>
                      <a:lnTo>
                        <a:pt x="63436" y="482257"/>
                      </a:lnTo>
                      <a:lnTo>
                        <a:pt x="63131" y="481876"/>
                      </a:lnTo>
                      <a:lnTo>
                        <a:pt x="62115" y="481368"/>
                      </a:lnTo>
                      <a:lnTo>
                        <a:pt x="60553" y="480225"/>
                      </a:lnTo>
                      <a:lnTo>
                        <a:pt x="56908" y="480225"/>
                      </a:lnTo>
                      <a:lnTo>
                        <a:pt x="56451" y="480225"/>
                      </a:lnTo>
                      <a:lnTo>
                        <a:pt x="56451" y="482257"/>
                      </a:lnTo>
                      <a:lnTo>
                        <a:pt x="55511" y="483476"/>
                      </a:lnTo>
                      <a:lnTo>
                        <a:pt x="55511" y="487210"/>
                      </a:lnTo>
                      <a:lnTo>
                        <a:pt x="55486" y="488099"/>
                      </a:lnTo>
                      <a:lnTo>
                        <a:pt x="55372" y="488696"/>
                      </a:lnTo>
                      <a:lnTo>
                        <a:pt x="55321" y="488302"/>
                      </a:lnTo>
                      <a:lnTo>
                        <a:pt x="55473" y="488086"/>
                      </a:lnTo>
                      <a:lnTo>
                        <a:pt x="55486" y="487172"/>
                      </a:lnTo>
                      <a:lnTo>
                        <a:pt x="55511" y="483476"/>
                      </a:lnTo>
                      <a:lnTo>
                        <a:pt x="54102" y="485279"/>
                      </a:lnTo>
                      <a:lnTo>
                        <a:pt x="56248" y="482460"/>
                      </a:lnTo>
                      <a:lnTo>
                        <a:pt x="56426" y="482231"/>
                      </a:lnTo>
                      <a:lnTo>
                        <a:pt x="56451" y="480225"/>
                      </a:lnTo>
                      <a:lnTo>
                        <a:pt x="55016" y="480225"/>
                      </a:lnTo>
                      <a:lnTo>
                        <a:pt x="54902" y="479869"/>
                      </a:lnTo>
                      <a:lnTo>
                        <a:pt x="54749" y="479869"/>
                      </a:lnTo>
                      <a:lnTo>
                        <a:pt x="54597" y="479856"/>
                      </a:lnTo>
                      <a:lnTo>
                        <a:pt x="54229" y="479564"/>
                      </a:lnTo>
                      <a:lnTo>
                        <a:pt x="53924" y="479336"/>
                      </a:lnTo>
                      <a:lnTo>
                        <a:pt x="46469" y="477481"/>
                      </a:lnTo>
                      <a:lnTo>
                        <a:pt x="44716" y="478155"/>
                      </a:lnTo>
                      <a:lnTo>
                        <a:pt x="43954" y="477723"/>
                      </a:lnTo>
                      <a:lnTo>
                        <a:pt x="42837" y="477088"/>
                      </a:lnTo>
                      <a:lnTo>
                        <a:pt x="42265" y="476681"/>
                      </a:lnTo>
                      <a:lnTo>
                        <a:pt x="42024" y="476440"/>
                      </a:lnTo>
                      <a:lnTo>
                        <a:pt x="41795" y="476110"/>
                      </a:lnTo>
                      <a:lnTo>
                        <a:pt x="41465" y="475703"/>
                      </a:lnTo>
                      <a:lnTo>
                        <a:pt x="41275" y="475500"/>
                      </a:lnTo>
                      <a:lnTo>
                        <a:pt x="41148" y="475246"/>
                      </a:lnTo>
                      <a:lnTo>
                        <a:pt x="40017" y="475703"/>
                      </a:lnTo>
                      <a:lnTo>
                        <a:pt x="38658" y="475869"/>
                      </a:lnTo>
                      <a:lnTo>
                        <a:pt x="39306" y="477393"/>
                      </a:lnTo>
                      <a:lnTo>
                        <a:pt x="39446" y="477634"/>
                      </a:lnTo>
                      <a:lnTo>
                        <a:pt x="39522" y="477926"/>
                      </a:lnTo>
                      <a:lnTo>
                        <a:pt x="39700" y="477939"/>
                      </a:lnTo>
                      <a:lnTo>
                        <a:pt x="39903" y="477926"/>
                      </a:lnTo>
                      <a:lnTo>
                        <a:pt x="40220" y="477977"/>
                      </a:lnTo>
                      <a:lnTo>
                        <a:pt x="40386" y="477926"/>
                      </a:lnTo>
                      <a:lnTo>
                        <a:pt x="40614" y="477850"/>
                      </a:lnTo>
                      <a:lnTo>
                        <a:pt x="41173" y="477723"/>
                      </a:lnTo>
                      <a:lnTo>
                        <a:pt x="41135" y="478155"/>
                      </a:lnTo>
                      <a:lnTo>
                        <a:pt x="40906" y="478777"/>
                      </a:lnTo>
                      <a:lnTo>
                        <a:pt x="40690" y="479120"/>
                      </a:lnTo>
                      <a:lnTo>
                        <a:pt x="40030" y="478866"/>
                      </a:lnTo>
                      <a:lnTo>
                        <a:pt x="37744" y="479336"/>
                      </a:lnTo>
                      <a:lnTo>
                        <a:pt x="37592" y="479323"/>
                      </a:lnTo>
                      <a:lnTo>
                        <a:pt x="36614" y="479209"/>
                      </a:lnTo>
                      <a:lnTo>
                        <a:pt x="36461" y="479209"/>
                      </a:lnTo>
                      <a:lnTo>
                        <a:pt x="35115" y="479120"/>
                      </a:lnTo>
                      <a:lnTo>
                        <a:pt x="34074" y="479221"/>
                      </a:lnTo>
                      <a:lnTo>
                        <a:pt x="32893" y="479501"/>
                      </a:lnTo>
                      <a:lnTo>
                        <a:pt x="32245" y="479564"/>
                      </a:lnTo>
                      <a:lnTo>
                        <a:pt x="31610" y="479539"/>
                      </a:lnTo>
                      <a:lnTo>
                        <a:pt x="30848" y="479247"/>
                      </a:lnTo>
                      <a:lnTo>
                        <a:pt x="30683" y="479209"/>
                      </a:lnTo>
                      <a:lnTo>
                        <a:pt x="30530" y="479221"/>
                      </a:lnTo>
                      <a:lnTo>
                        <a:pt x="30302" y="479196"/>
                      </a:lnTo>
                      <a:lnTo>
                        <a:pt x="29273" y="479082"/>
                      </a:lnTo>
                      <a:lnTo>
                        <a:pt x="28155" y="480707"/>
                      </a:lnTo>
                      <a:lnTo>
                        <a:pt x="26784" y="479450"/>
                      </a:lnTo>
                      <a:lnTo>
                        <a:pt x="26670" y="479272"/>
                      </a:lnTo>
                      <a:lnTo>
                        <a:pt x="26162" y="479463"/>
                      </a:lnTo>
                      <a:lnTo>
                        <a:pt x="25908" y="479717"/>
                      </a:lnTo>
                      <a:lnTo>
                        <a:pt x="25565" y="479958"/>
                      </a:lnTo>
                      <a:lnTo>
                        <a:pt x="25349" y="480644"/>
                      </a:lnTo>
                      <a:lnTo>
                        <a:pt x="25247" y="480796"/>
                      </a:lnTo>
                      <a:lnTo>
                        <a:pt x="25107" y="480936"/>
                      </a:lnTo>
                      <a:lnTo>
                        <a:pt x="24853" y="481279"/>
                      </a:lnTo>
                      <a:lnTo>
                        <a:pt x="24549" y="481533"/>
                      </a:lnTo>
                      <a:lnTo>
                        <a:pt x="24117" y="481672"/>
                      </a:lnTo>
                      <a:lnTo>
                        <a:pt x="23139" y="482193"/>
                      </a:lnTo>
                      <a:lnTo>
                        <a:pt x="21831" y="482460"/>
                      </a:lnTo>
                      <a:lnTo>
                        <a:pt x="21234" y="481850"/>
                      </a:lnTo>
                      <a:lnTo>
                        <a:pt x="20967" y="481647"/>
                      </a:lnTo>
                      <a:lnTo>
                        <a:pt x="20370" y="481279"/>
                      </a:lnTo>
                      <a:lnTo>
                        <a:pt x="19862" y="480910"/>
                      </a:lnTo>
                      <a:lnTo>
                        <a:pt x="18935" y="480885"/>
                      </a:lnTo>
                      <a:lnTo>
                        <a:pt x="18034" y="481126"/>
                      </a:lnTo>
                      <a:lnTo>
                        <a:pt x="17297" y="482193"/>
                      </a:lnTo>
                      <a:lnTo>
                        <a:pt x="16433" y="483235"/>
                      </a:lnTo>
                      <a:lnTo>
                        <a:pt x="17246" y="483501"/>
                      </a:lnTo>
                      <a:lnTo>
                        <a:pt x="18097" y="483552"/>
                      </a:lnTo>
                      <a:lnTo>
                        <a:pt x="18948" y="483666"/>
                      </a:lnTo>
                      <a:lnTo>
                        <a:pt x="17399" y="485330"/>
                      </a:lnTo>
                      <a:lnTo>
                        <a:pt x="15938" y="487133"/>
                      </a:lnTo>
                      <a:lnTo>
                        <a:pt x="13754" y="488543"/>
                      </a:lnTo>
                      <a:lnTo>
                        <a:pt x="10528" y="492823"/>
                      </a:lnTo>
                      <a:lnTo>
                        <a:pt x="8255" y="495287"/>
                      </a:lnTo>
                      <a:lnTo>
                        <a:pt x="6578" y="496963"/>
                      </a:lnTo>
                      <a:lnTo>
                        <a:pt x="4533" y="500697"/>
                      </a:lnTo>
                      <a:lnTo>
                        <a:pt x="5778" y="500354"/>
                      </a:lnTo>
                      <a:lnTo>
                        <a:pt x="5651" y="501878"/>
                      </a:lnTo>
                      <a:lnTo>
                        <a:pt x="5524" y="502920"/>
                      </a:lnTo>
                      <a:lnTo>
                        <a:pt x="3937" y="504469"/>
                      </a:lnTo>
                      <a:lnTo>
                        <a:pt x="3365" y="505294"/>
                      </a:lnTo>
                      <a:lnTo>
                        <a:pt x="4457" y="504355"/>
                      </a:lnTo>
                      <a:lnTo>
                        <a:pt x="6997" y="502031"/>
                      </a:lnTo>
                      <a:lnTo>
                        <a:pt x="8648" y="500354"/>
                      </a:lnTo>
                      <a:lnTo>
                        <a:pt x="9728" y="499249"/>
                      </a:lnTo>
                      <a:lnTo>
                        <a:pt x="12954" y="499592"/>
                      </a:lnTo>
                      <a:lnTo>
                        <a:pt x="13931" y="499567"/>
                      </a:lnTo>
                      <a:lnTo>
                        <a:pt x="14833" y="499808"/>
                      </a:lnTo>
                      <a:lnTo>
                        <a:pt x="15938" y="501408"/>
                      </a:lnTo>
                      <a:lnTo>
                        <a:pt x="15849" y="502361"/>
                      </a:lnTo>
                      <a:lnTo>
                        <a:pt x="15748" y="504228"/>
                      </a:lnTo>
                      <a:lnTo>
                        <a:pt x="15875" y="505142"/>
                      </a:lnTo>
                      <a:lnTo>
                        <a:pt x="16865" y="506615"/>
                      </a:lnTo>
                      <a:lnTo>
                        <a:pt x="17500" y="507238"/>
                      </a:lnTo>
                      <a:lnTo>
                        <a:pt x="18084" y="507923"/>
                      </a:lnTo>
                      <a:lnTo>
                        <a:pt x="18211" y="508177"/>
                      </a:lnTo>
                      <a:lnTo>
                        <a:pt x="18288" y="508419"/>
                      </a:lnTo>
                      <a:lnTo>
                        <a:pt x="18415" y="508647"/>
                      </a:lnTo>
                      <a:lnTo>
                        <a:pt x="18732" y="509016"/>
                      </a:lnTo>
                      <a:lnTo>
                        <a:pt x="19634" y="508647"/>
                      </a:lnTo>
                      <a:lnTo>
                        <a:pt x="20015" y="508952"/>
                      </a:lnTo>
                      <a:lnTo>
                        <a:pt x="21729" y="508889"/>
                      </a:lnTo>
                      <a:lnTo>
                        <a:pt x="23558" y="508863"/>
                      </a:lnTo>
                      <a:lnTo>
                        <a:pt x="24320" y="508647"/>
                      </a:lnTo>
                      <a:lnTo>
                        <a:pt x="25158" y="508406"/>
                      </a:lnTo>
                      <a:lnTo>
                        <a:pt x="26327" y="508342"/>
                      </a:lnTo>
                      <a:lnTo>
                        <a:pt x="27482" y="508393"/>
                      </a:lnTo>
                      <a:lnTo>
                        <a:pt x="29387" y="508965"/>
                      </a:lnTo>
                      <a:lnTo>
                        <a:pt x="29806" y="509041"/>
                      </a:lnTo>
                      <a:lnTo>
                        <a:pt x="30340" y="509092"/>
                      </a:lnTo>
                      <a:lnTo>
                        <a:pt x="30568" y="508952"/>
                      </a:lnTo>
                      <a:lnTo>
                        <a:pt x="31140" y="508342"/>
                      </a:lnTo>
                      <a:lnTo>
                        <a:pt x="31483" y="507911"/>
                      </a:lnTo>
                      <a:lnTo>
                        <a:pt x="33020" y="506133"/>
                      </a:lnTo>
                      <a:lnTo>
                        <a:pt x="33185" y="505815"/>
                      </a:lnTo>
                      <a:lnTo>
                        <a:pt x="34201" y="503389"/>
                      </a:lnTo>
                      <a:lnTo>
                        <a:pt x="36093" y="500329"/>
                      </a:lnTo>
                      <a:lnTo>
                        <a:pt x="38036" y="499757"/>
                      </a:lnTo>
                      <a:lnTo>
                        <a:pt x="38671" y="499618"/>
                      </a:lnTo>
                      <a:lnTo>
                        <a:pt x="39001" y="499681"/>
                      </a:lnTo>
                      <a:lnTo>
                        <a:pt x="38912" y="500849"/>
                      </a:lnTo>
                      <a:lnTo>
                        <a:pt x="38722" y="501726"/>
                      </a:lnTo>
                      <a:lnTo>
                        <a:pt x="38620" y="502920"/>
                      </a:lnTo>
                      <a:lnTo>
                        <a:pt x="39255" y="504228"/>
                      </a:lnTo>
                      <a:lnTo>
                        <a:pt x="41681" y="505142"/>
                      </a:lnTo>
                      <a:lnTo>
                        <a:pt x="43319" y="506133"/>
                      </a:lnTo>
                      <a:lnTo>
                        <a:pt x="44386" y="505955"/>
                      </a:lnTo>
                      <a:lnTo>
                        <a:pt x="47866" y="505942"/>
                      </a:lnTo>
                      <a:lnTo>
                        <a:pt x="48094" y="505968"/>
                      </a:lnTo>
                      <a:lnTo>
                        <a:pt x="49187" y="504596"/>
                      </a:lnTo>
                      <a:lnTo>
                        <a:pt x="49301" y="504355"/>
                      </a:lnTo>
                      <a:lnTo>
                        <a:pt x="50571" y="502920"/>
                      </a:lnTo>
                      <a:lnTo>
                        <a:pt x="50685" y="500176"/>
                      </a:lnTo>
                      <a:lnTo>
                        <a:pt x="50761" y="499618"/>
                      </a:lnTo>
                      <a:lnTo>
                        <a:pt x="50812" y="499249"/>
                      </a:lnTo>
                      <a:lnTo>
                        <a:pt x="50863" y="498856"/>
                      </a:lnTo>
                      <a:lnTo>
                        <a:pt x="53555" y="500354"/>
                      </a:lnTo>
                      <a:lnTo>
                        <a:pt x="60261" y="503720"/>
                      </a:lnTo>
                      <a:lnTo>
                        <a:pt x="62674" y="503605"/>
                      </a:lnTo>
                      <a:lnTo>
                        <a:pt x="63309" y="503466"/>
                      </a:lnTo>
                      <a:lnTo>
                        <a:pt x="63423" y="503313"/>
                      </a:lnTo>
                      <a:lnTo>
                        <a:pt x="63652" y="502920"/>
                      </a:lnTo>
                      <a:lnTo>
                        <a:pt x="63182" y="502361"/>
                      </a:lnTo>
                      <a:lnTo>
                        <a:pt x="62890" y="501878"/>
                      </a:lnTo>
                      <a:lnTo>
                        <a:pt x="62776" y="501726"/>
                      </a:lnTo>
                      <a:lnTo>
                        <a:pt x="62674" y="501408"/>
                      </a:lnTo>
                      <a:lnTo>
                        <a:pt x="62598" y="501065"/>
                      </a:lnTo>
                      <a:lnTo>
                        <a:pt x="63449" y="500875"/>
                      </a:lnTo>
                      <a:lnTo>
                        <a:pt x="63500" y="500697"/>
                      </a:lnTo>
                      <a:lnTo>
                        <a:pt x="63347" y="500354"/>
                      </a:lnTo>
                      <a:lnTo>
                        <a:pt x="63258" y="500214"/>
                      </a:lnTo>
                      <a:lnTo>
                        <a:pt x="62852" y="500087"/>
                      </a:lnTo>
                      <a:lnTo>
                        <a:pt x="62572" y="500214"/>
                      </a:lnTo>
                      <a:lnTo>
                        <a:pt x="62318" y="500202"/>
                      </a:lnTo>
                      <a:lnTo>
                        <a:pt x="62090" y="500087"/>
                      </a:lnTo>
                      <a:lnTo>
                        <a:pt x="61937" y="499808"/>
                      </a:lnTo>
                      <a:lnTo>
                        <a:pt x="61874" y="499630"/>
                      </a:lnTo>
                      <a:lnTo>
                        <a:pt x="61709" y="498856"/>
                      </a:lnTo>
                      <a:lnTo>
                        <a:pt x="61823" y="497916"/>
                      </a:lnTo>
                      <a:lnTo>
                        <a:pt x="62014" y="497471"/>
                      </a:lnTo>
                      <a:lnTo>
                        <a:pt x="63182" y="496544"/>
                      </a:lnTo>
                      <a:lnTo>
                        <a:pt x="65659" y="497471"/>
                      </a:lnTo>
                      <a:lnTo>
                        <a:pt x="67614" y="498081"/>
                      </a:lnTo>
                      <a:lnTo>
                        <a:pt x="67703" y="496544"/>
                      </a:lnTo>
                      <a:lnTo>
                        <a:pt x="67945" y="494690"/>
                      </a:lnTo>
                      <a:lnTo>
                        <a:pt x="67818" y="493204"/>
                      </a:lnTo>
                      <a:lnTo>
                        <a:pt x="67843" y="492252"/>
                      </a:lnTo>
                      <a:lnTo>
                        <a:pt x="69507" y="492544"/>
                      </a:lnTo>
                      <a:lnTo>
                        <a:pt x="72097" y="493560"/>
                      </a:lnTo>
                      <a:lnTo>
                        <a:pt x="74129" y="493687"/>
                      </a:lnTo>
                      <a:lnTo>
                        <a:pt x="74714" y="493941"/>
                      </a:lnTo>
                      <a:lnTo>
                        <a:pt x="75323" y="494068"/>
                      </a:lnTo>
                      <a:lnTo>
                        <a:pt x="75742" y="493941"/>
                      </a:lnTo>
                      <a:lnTo>
                        <a:pt x="76288" y="493179"/>
                      </a:lnTo>
                      <a:lnTo>
                        <a:pt x="76619" y="492925"/>
                      </a:lnTo>
                      <a:lnTo>
                        <a:pt x="76911" y="492163"/>
                      </a:lnTo>
                      <a:lnTo>
                        <a:pt x="77495" y="491020"/>
                      </a:lnTo>
                      <a:lnTo>
                        <a:pt x="77698" y="490512"/>
                      </a:lnTo>
                      <a:lnTo>
                        <a:pt x="80619" y="490131"/>
                      </a:lnTo>
                      <a:lnTo>
                        <a:pt x="84518" y="489623"/>
                      </a:lnTo>
                      <a:lnTo>
                        <a:pt x="85001" y="489496"/>
                      </a:lnTo>
                      <a:lnTo>
                        <a:pt x="91401" y="488353"/>
                      </a:lnTo>
                      <a:lnTo>
                        <a:pt x="92494" y="488353"/>
                      </a:lnTo>
                      <a:lnTo>
                        <a:pt x="93014" y="488480"/>
                      </a:lnTo>
                      <a:lnTo>
                        <a:pt x="92227" y="490512"/>
                      </a:lnTo>
                      <a:lnTo>
                        <a:pt x="91935" y="490766"/>
                      </a:lnTo>
                      <a:lnTo>
                        <a:pt x="92621" y="491782"/>
                      </a:lnTo>
                      <a:lnTo>
                        <a:pt x="92697" y="492036"/>
                      </a:lnTo>
                      <a:lnTo>
                        <a:pt x="93510" y="493560"/>
                      </a:lnTo>
                      <a:lnTo>
                        <a:pt x="95631" y="495465"/>
                      </a:lnTo>
                      <a:lnTo>
                        <a:pt x="99225" y="495973"/>
                      </a:lnTo>
                      <a:lnTo>
                        <a:pt x="103632" y="497243"/>
                      </a:lnTo>
                      <a:lnTo>
                        <a:pt x="107835" y="497370"/>
                      </a:lnTo>
                      <a:lnTo>
                        <a:pt x="111988" y="497878"/>
                      </a:lnTo>
                      <a:lnTo>
                        <a:pt x="113296" y="498132"/>
                      </a:lnTo>
                      <a:lnTo>
                        <a:pt x="114312" y="498767"/>
                      </a:lnTo>
                      <a:lnTo>
                        <a:pt x="114541" y="498513"/>
                      </a:lnTo>
                      <a:lnTo>
                        <a:pt x="115277" y="498513"/>
                      </a:lnTo>
                      <a:lnTo>
                        <a:pt x="117779" y="498894"/>
                      </a:lnTo>
                      <a:lnTo>
                        <a:pt x="119507" y="499402"/>
                      </a:lnTo>
                      <a:lnTo>
                        <a:pt x="120307" y="499783"/>
                      </a:lnTo>
                      <a:lnTo>
                        <a:pt x="121196" y="499910"/>
                      </a:lnTo>
                      <a:lnTo>
                        <a:pt x="121412" y="500037"/>
                      </a:lnTo>
                      <a:lnTo>
                        <a:pt x="121653" y="500037"/>
                      </a:lnTo>
                      <a:lnTo>
                        <a:pt x="123037" y="499910"/>
                      </a:lnTo>
                      <a:lnTo>
                        <a:pt x="123964" y="500037"/>
                      </a:lnTo>
                      <a:lnTo>
                        <a:pt x="124764" y="500291"/>
                      </a:lnTo>
                      <a:lnTo>
                        <a:pt x="125272" y="500545"/>
                      </a:lnTo>
                      <a:lnTo>
                        <a:pt x="126123" y="500926"/>
                      </a:lnTo>
                      <a:lnTo>
                        <a:pt x="126695" y="500926"/>
                      </a:lnTo>
                      <a:lnTo>
                        <a:pt x="128054" y="500037"/>
                      </a:lnTo>
                      <a:lnTo>
                        <a:pt x="128219" y="499910"/>
                      </a:lnTo>
                      <a:lnTo>
                        <a:pt x="129044" y="499275"/>
                      </a:lnTo>
                      <a:lnTo>
                        <a:pt x="129755" y="498894"/>
                      </a:lnTo>
                      <a:lnTo>
                        <a:pt x="130111" y="498513"/>
                      </a:lnTo>
                      <a:lnTo>
                        <a:pt x="131432" y="497116"/>
                      </a:lnTo>
                      <a:lnTo>
                        <a:pt x="131152" y="496608"/>
                      </a:lnTo>
                      <a:lnTo>
                        <a:pt x="133578" y="496227"/>
                      </a:lnTo>
                      <a:lnTo>
                        <a:pt x="134988" y="496227"/>
                      </a:lnTo>
                      <a:lnTo>
                        <a:pt x="136461" y="496100"/>
                      </a:lnTo>
                      <a:lnTo>
                        <a:pt x="137528" y="496227"/>
                      </a:lnTo>
                      <a:lnTo>
                        <a:pt x="138887" y="496481"/>
                      </a:lnTo>
                      <a:lnTo>
                        <a:pt x="139687" y="496608"/>
                      </a:lnTo>
                      <a:lnTo>
                        <a:pt x="140081" y="496608"/>
                      </a:lnTo>
                      <a:lnTo>
                        <a:pt x="141097" y="496100"/>
                      </a:lnTo>
                      <a:lnTo>
                        <a:pt x="141859" y="495719"/>
                      </a:lnTo>
                      <a:lnTo>
                        <a:pt x="141744" y="495211"/>
                      </a:lnTo>
                      <a:lnTo>
                        <a:pt x="144183" y="495084"/>
                      </a:lnTo>
                      <a:lnTo>
                        <a:pt x="144767" y="495211"/>
                      </a:lnTo>
                      <a:lnTo>
                        <a:pt x="146189" y="495592"/>
                      </a:lnTo>
                      <a:lnTo>
                        <a:pt x="147116" y="495973"/>
                      </a:lnTo>
                      <a:lnTo>
                        <a:pt x="147548" y="496100"/>
                      </a:lnTo>
                      <a:lnTo>
                        <a:pt x="147193" y="495084"/>
                      </a:lnTo>
                      <a:lnTo>
                        <a:pt x="147104" y="494830"/>
                      </a:lnTo>
                      <a:lnTo>
                        <a:pt x="147205" y="493433"/>
                      </a:lnTo>
                      <a:lnTo>
                        <a:pt x="147396" y="493306"/>
                      </a:lnTo>
                      <a:lnTo>
                        <a:pt x="148132" y="492671"/>
                      </a:lnTo>
                      <a:lnTo>
                        <a:pt x="148348" y="492544"/>
                      </a:lnTo>
                      <a:lnTo>
                        <a:pt x="148882" y="492417"/>
                      </a:lnTo>
                      <a:lnTo>
                        <a:pt x="149606" y="491655"/>
                      </a:lnTo>
                      <a:lnTo>
                        <a:pt x="150368" y="490385"/>
                      </a:lnTo>
                      <a:lnTo>
                        <a:pt x="151193" y="489623"/>
                      </a:lnTo>
                      <a:lnTo>
                        <a:pt x="151384" y="489496"/>
                      </a:lnTo>
                      <a:lnTo>
                        <a:pt x="152120" y="489496"/>
                      </a:lnTo>
                      <a:lnTo>
                        <a:pt x="153924" y="489750"/>
                      </a:lnTo>
                      <a:lnTo>
                        <a:pt x="154216" y="489623"/>
                      </a:lnTo>
                      <a:lnTo>
                        <a:pt x="154203" y="489496"/>
                      </a:lnTo>
                      <a:lnTo>
                        <a:pt x="154178" y="488353"/>
                      </a:lnTo>
                      <a:lnTo>
                        <a:pt x="153581" y="486321"/>
                      </a:lnTo>
                      <a:lnTo>
                        <a:pt x="153479" y="485305"/>
                      </a:lnTo>
                      <a:lnTo>
                        <a:pt x="153416" y="482892"/>
                      </a:lnTo>
                      <a:lnTo>
                        <a:pt x="153428" y="482384"/>
                      </a:lnTo>
                      <a:lnTo>
                        <a:pt x="156349" y="482765"/>
                      </a:lnTo>
                      <a:lnTo>
                        <a:pt x="156337" y="482384"/>
                      </a:lnTo>
                      <a:lnTo>
                        <a:pt x="156337" y="481368"/>
                      </a:lnTo>
                      <a:lnTo>
                        <a:pt x="156298" y="481114"/>
                      </a:lnTo>
                      <a:lnTo>
                        <a:pt x="156387" y="479590"/>
                      </a:lnTo>
                      <a:lnTo>
                        <a:pt x="155359" y="478701"/>
                      </a:lnTo>
                      <a:lnTo>
                        <a:pt x="153860" y="478066"/>
                      </a:lnTo>
                      <a:lnTo>
                        <a:pt x="153098" y="477812"/>
                      </a:lnTo>
                      <a:lnTo>
                        <a:pt x="154495" y="476796"/>
                      </a:lnTo>
                      <a:lnTo>
                        <a:pt x="155079" y="476415"/>
                      </a:lnTo>
                      <a:lnTo>
                        <a:pt x="155625" y="476288"/>
                      </a:lnTo>
                      <a:lnTo>
                        <a:pt x="156235" y="476288"/>
                      </a:lnTo>
                      <a:lnTo>
                        <a:pt x="157238" y="476669"/>
                      </a:lnTo>
                      <a:lnTo>
                        <a:pt x="157391" y="476923"/>
                      </a:lnTo>
                      <a:lnTo>
                        <a:pt x="157797" y="478193"/>
                      </a:lnTo>
                      <a:lnTo>
                        <a:pt x="162547" y="476923"/>
                      </a:lnTo>
                      <a:lnTo>
                        <a:pt x="162394" y="476669"/>
                      </a:lnTo>
                      <a:lnTo>
                        <a:pt x="162267" y="476288"/>
                      </a:lnTo>
                      <a:lnTo>
                        <a:pt x="162356" y="475526"/>
                      </a:lnTo>
                      <a:lnTo>
                        <a:pt x="162801" y="473748"/>
                      </a:lnTo>
                      <a:lnTo>
                        <a:pt x="163372" y="472859"/>
                      </a:lnTo>
                      <a:lnTo>
                        <a:pt x="163372" y="471970"/>
                      </a:lnTo>
                      <a:lnTo>
                        <a:pt x="163550" y="471716"/>
                      </a:lnTo>
                      <a:close/>
                    </a:path>
                    <a:path w="370205" h="517525">
                      <a:moveTo>
                        <a:pt x="249974" y="237401"/>
                      </a:moveTo>
                      <a:lnTo>
                        <a:pt x="249745" y="237490"/>
                      </a:lnTo>
                      <a:lnTo>
                        <a:pt x="249948" y="237490"/>
                      </a:lnTo>
                      <a:close/>
                    </a:path>
                    <a:path w="370205" h="517525">
                      <a:moveTo>
                        <a:pt x="251498" y="236816"/>
                      </a:moveTo>
                      <a:lnTo>
                        <a:pt x="250571" y="237172"/>
                      </a:lnTo>
                      <a:lnTo>
                        <a:pt x="250456" y="237490"/>
                      </a:lnTo>
                      <a:lnTo>
                        <a:pt x="251307" y="237490"/>
                      </a:lnTo>
                      <a:lnTo>
                        <a:pt x="251498" y="236816"/>
                      </a:lnTo>
                      <a:close/>
                    </a:path>
                    <a:path w="370205" h="517525">
                      <a:moveTo>
                        <a:pt x="349211" y="500595"/>
                      </a:moveTo>
                      <a:lnTo>
                        <a:pt x="348805" y="500062"/>
                      </a:lnTo>
                      <a:lnTo>
                        <a:pt x="344766" y="497281"/>
                      </a:lnTo>
                      <a:lnTo>
                        <a:pt x="347256" y="496455"/>
                      </a:lnTo>
                      <a:lnTo>
                        <a:pt x="346367" y="493064"/>
                      </a:lnTo>
                      <a:lnTo>
                        <a:pt x="345236" y="492125"/>
                      </a:lnTo>
                      <a:lnTo>
                        <a:pt x="344779" y="492391"/>
                      </a:lnTo>
                      <a:lnTo>
                        <a:pt x="342709" y="490537"/>
                      </a:lnTo>
                      <a:lnTo>
                        <a:pt x="341376" y="489115"/>
                      </a:lnTo>
                      <a:lnTo>
                        <a:pt x="340169" y="487641"/>
                      </a:lnTo>
                      <a:lnTo>
                        <a:pt x="340423" y="487603"/>
                      </a:lnTo>
                      <a:lnTo>
                        <a:pt x="341160" y="486638"/>
                      </a:lnTo>
                      <a:lnTo>
                        <a:pt x="341363" y="485838"/>
                      </a:lnTo>
                      <a:lnTo>
                        <a:pt x="341363" y="484378"/>
                      </a:lnTo>
                      <a:lnTo>
                        <a:pt x="341261" y="483755"/>
                      </a:lnTo>
                      <a:lnTo>
                        <a:pt x="340614" y="483450"/>
                      </a:lnTo>
                      <a:lnTo>
                        <a:pt x="340004" y="483704"/>
                      </a:lnTo>
                      <a:lnTo>
                        <a:pt x="339966" y="484365"/>
                      </a:lnTo>
                      <a:lnTo>
                        <a:pt x="339077" y="484238"/>
                      </a:lnTo>
                      <a:lnTo>
                        <a:pt x="338302" y="483806"/>
                      </a:lnTo>
                      <a:lnTo>
                        <a:pt x="337312" y="483031"/>
                      </a:lnTo>
                      <a:lnTo>
                        <a:pt x="335661" y="481279"/>
                      </a:lnTo>
                      <a:lnTo>
                        <a:pt x="335000" y="480250"/>
                      </a:lnTo>
                      <a:lnTo>
                        <a:pt x="335089" y="479590"/>
                      </a:lnTo>
                      <a:lnTo>
                        <a:pt x="335330" y="479272"/>
                      </a:lnTo>
                      <a:lnTo>
                        <a:pt x="335775" y="479044"/>
                      </a:lnTo>
                      <a:lnTo>
                        <a:pt x="336270" y="477481"/>
                      </a:lnTo>
                      <a:lnTo>
                        <a:pt x="336753" y="475310"/>
                      </a:lnTo>
                      <a:lnTo>
                        <a:pt x="336207" y="473163"/>
                      </a:lnTo>
                      <a:lnTo>
                        <a:pt x="335559" y="472135"/>
                      </a:lnTo>
                      <a:lnTo>
                        <a:pt x="334403" y="471728"/>
                      </a:lnTo>
                      <a:lnTo>
                        <a:pt x="334225" y="472160"/>
                      </a:lnTo>
                      <a:lnTo>
                        <a:pt x="333959" y="472427"/>
                      </a:lnTo>
                      <a:lnTo>
                        <a:pt x="332930" y="472300"/>
                      </a:lnTo>
                      <a:lnTo>
                        <a:pt x="330060" y="471195"/>
                      </a:lnTo>
                      <a:lnTo>
                        <a:pt x="327914" y="470103"/>
                      </a:lnTo>
                      <a:lnTo>
                        <a:pt x="324408" y="468541"/>
                      </a:lnTo>
                      <a:lnTo>
                        <a:pt x="321246" y="466915"/>
                      </a:lnTo>
                      <a:lnTo>
                        <a:pt x="318033" y="465010"/>
                      </a:lnTo>
                      <a:lnTo>
                        <a:pt x="311848" y="463156"/>
                      </a:lnTo>
                      <a:lnTo>
                        <a:pt x="308356" y="464629"/>
                      </a:lnTo>
                      <a:lnTo>
                        <a:pt x="306489" y="464769"/>
                      </a:lnTo>
                      <a:lnTo>
                        <a:pt x="305308" y="464680"/>
                      </a:lnTo>
                      <a:lnTo>
                        <a:pt x="304126" y="464426"/>
                      </a:lnTo>
                      <a:lnTo>
                        <a:pt x="301599" y="464985"/>
                      </a:lnTo>
                      <a:lnTo>
                        <a:pt x="300431" y="466064"/>
                      </a:lnTo>
                      <a:lnTo>
                        <a:pt x="299288" y="466877"/>
                      </a:lnTo>
                      <a:lnTo>
                        <a:pt x="302018" y="468134"/>
                      </a:lnTo>
                      <a:lnTo>
                        <a:pt x="304673" y="469226"/>
                      </a:lnTo>
                      <a:lnTo>
                        <a:pt x="305181" y="469734"/>
                      </a:lnTo>
                      <a:lnTo>
                        <a:pt x="305981" y="470662"/>
                      </a:lnTo>
                      <a:lnTo>
                        <a:pt x="306552" y="472249"/>
                      </a:lnTo>
                      <a:lnTo>
                        <a:pt x="307327" y="473506"/>
                      </a:lnTo>
                      <a:lnTo>
                        <a:pt x="317969" y="487819"/>
                      </a:lnTo>
                      <a:lnTo>
                        <a:pt x="320243" y="490816"/>
                      </a:lnTo>
                      <a:lnTo>
                        <a:pt x="320141" y="492252"/>
                      </a:lnTo>
                      <a:lnTo>
                        <a:pt x="321703" y="495655"/>
                      </a:lnTo>
                      <a:lnTo>
                        <a:pt x="322313" y="497992"/>
                      </a:lnTo>
                      <a:lnTo>
                        <a:pt x="322453" y="499529"/>
                      </a:lnTo>
                      <a:lnTo>
                        <a:pt x="320205" y="506298"/>
                      </a:lnTo>
                      <a:lnTo>
                        <a:pt x="320040" y="510679"/>
                      </a:lnTo>
                      <a:lnTo>
                        <a:pt x="319671" y="512622"/>
                      </a:lnTo>
                      <a:lnTo>
                        <a:pt x="319836" y="515175"/>
                      </a:lnTo>
                      <a:lnTo>
                        <a:pt x="320217" y="516089"/>
                      </a:lnTo>
                      <a:lnTo>
                        <a:pt x="321157" y="517156"/>
                      </a:lnTo>
                      <a:lnTo>
                        <a:pt x="321678" y="517436"/>
                      </a:lnTo>
                      <a:lnTo>
                        <a:pt x="321983" y="517474"/>
                      </a:lnTo>
                      <a:lnTo>
                        <a:pt x="323380" y="516128"/>
                      </a:lnTo>
                      <a:lnTo>
                        <a:pt x="326529" y="515010"/>
                      </a:lnTo>
                      <a:lnTo>
                        <a:pt x="325780" y="514362"/>
                      </a:lnTo>
                      <a:lnTo>
                        <a:pt x="325805" y="513740"/>
                      </a:lnTo>
                      <a:lnTo>
                        <a:pt x="326758" y="512305"/>
                      </a:lnTo>
                      <a:lnTo>
                        <a:pt x="328142" y="511581"/>
                      </a:lnTo>
                      <a:lnTo>
                        <a:pt x="329184" y="510413"/>
                      </a:lnTo>
                      <a:lnTo>
                        <a:pt x="329882" y="509257"/>
                      </a:lnTo>
                      <a:lnTo>
                        <a:pt x="330441" y="507784"/>
                      </a:lnTo>
                      <a:lnTo>
                        <a:pt x="331533" y="508279"/>
                      </a:lnTo>
                      <a:lnTo>
                        <a:pt x="333032" y="503783"/>
                      </a:lnTo>
                      <a:lnTo>
                        <a:pt x="332816" y="503605"/>
                      </a:lnTo>
                      <a:lnTo>
                        <a:pt x="332689" y="503301"/>
                      </a:lnTo>
                      <a:lnTo>
                        <a:pt x="332689" y="502031"/>
                      </a:lnTo>
                      <a:lnTo>
                        <a:pt x="332930" y="500443"/>
                      </a:lnTo>
                      <a:lnTo>
                        <a:pt x="332816" y="499135"/>
                      </a:lnTo>
                      <a:lnTo>
                        <a:pt x="333730" y="498894"/>
                      </a:lnTo>
                      <a:lnTo>
                        <a:pt x="334302" y="498881"/>
                      </a:lnTo>
                      <a:lnTo>
                        <a:pt x="334759" y="499567"/>
                      </a:lnTo>
                      <a:lnTo>
                        <a:pt x="335635" y="500557"/>
                      </a:lnTo>
                      <a:lnTo>
                        <a:pt x="335953" y="500697"/>
                      </a:lnTo>
                      <a:lnTo>
                        <a:pt x="336105" y="500964"/>
                      </a:lnTo>
                      <a:lnTo>
                        <a:pt x="335661" y="501027"/>
                      </a:lnTo>
                      <a:lnTo>
                        <a:pt x="336689" y="501040"/>
                      </a:lnTo>
                      <a:lnTo>
                        <a:pt x="337794" y="500468"/>
                      </a:lnTo>
                      <a:lnTo>
                        <a:pt x="338924" y="499579"/>
                      </a:lnTo>
                      <a:lnTo>
                        <a:pt x="339826" y="499097"/>
                      </a:lnTo>
                      <a:lnTo>
                        <a:pt x="339902" y="499516"/>
                      </a:lnTo>
                      <a:lnTo>
                        <a:pt x="341223" y="500570"/>
                      </a:lnTo>
                      <a:lnTo>
                        <a:pt x="342493" y="501332"/>
                      </a:lnTo>
                      <a:lnTo>
                        <a:pt x="343255" y="500900"/>
                      </a:lnTo>
                      <a:lnTo>
                        <a:pt x="344919" y="500938"/>
                      </a:lnTo>
                      <a:lnTo>
                        <a:pt x="344919" y="501523"/>
                      </a:lnTo>
                      <a:lnTo>
                        <a:pt x="345440" y="501599"/>
                      </a:lnTo>
                      <a:lnTo>
                        <a:pt x="346710" y="501446"/>
                      </a:lnTo>
                      <a:lnTo>
                        <a:pt x="349211" y="500595"/>
                      </a:lnTo>
                      <a:close/>
                    </a:path>
                    <a:path w="370205" h="517525">
                      <a:moveTo>
                        <a:pt x="370205" y="171450"/>
                      </a:moveTo>
                      <a:lnTo>
                        <a:pt x="369303" y="171450"/>
                      </a:lnTo>
                      <a:lnTo>
                        <a:pt x="362572" y="162560"/>
                      </a:lnTo>
                      <a:lnTo>
                        <a:pt x="354012" y="157480"/>
                      </a:lnTo>
                      <a:lnTo>
                        <a:pt x="347281" y="153670"/>
                      </a:lnTo>
                      <a:lnTo>
                        <a:pt x="350494" y="152400"/>
                      </a:lnTo>
                      <a:lnTo>
                        <a:pt x="352082" y="149860"/>
                      </a:lnTo>
                      <a:lnTo>
                        <a:pt x="354672" y="147320"/>
                      </a:lnTo>
                      <a:lnTo>
                        <a:pt x="355968" y="146050"/>
                      </a:lnTo>
                      <a:lnTo>
                        <a:pt x="356768" y="144780"/>
                      </a:lnTo>
                      <a:lnTo>
                        <a:pt x="354749" y="140970"/>
                      </a:lnTo>
                      <a:lnTo>
                        <a:pt x="351624" y="139700"/>
                      </a:lnTo>
                      <a:lnTo>
                        <a:pt x="348754" y="138430"/>
                      </a:lnTo>
                      <a:lnTo>
                        <a:pt x="347929" y="135890"/>
                      </a:lnTo>
                      <a:lnTo>
                        <a:pt x="347243" y="134620"/>
                      </a:lnTo>
                      <a:lnTo>
                        <a:pt x="348234" y="133350"/>
                      </a:lnTo>
                      <a:lnTo>
                        <a:pt x="351180" y="133350"/>
                      </a:lnTo>
                      <a:lnTo>
                        <a:pt x="348170" y="129540"/>
                      </a:lnTo>
                      <a:lnTo>
                        <a:pt x="343941" y="129540"/>
                      </a:lnTo>
                      <a:lnTo>
                        <a:pt x="342366" y="127000"/>
                      </a:lnTo>
                      <a:lnTo>
                        <a:pt x="342112" y="125730"/>
                      </a:lnTo>
                      <a:lnTo>
                        <a:pt x="341337" y="121920"/>
                      </a:lnTo>
                      <a:lnTo>
                        <a:pt x="347408" y="123190"/>
                      </a:lnTo>
                      <a:lnTo>
                        <a:pt x="343509" y="119380"/>
                      </a:lnTo>
                      <a:lnTo>
                        <a:pt x="342201" y="118110"/>
                      </a:lnTo>
                      <a:lnTo>
                        <a:pt x="341299" y="119380"/>
                      </a:lnTo>
                      <a:lnTo>
                        <a:pt x="342366" y="116840"/>
                      </a:lnTo>
                      <a:lnTo>
                        <a:pt x="343115" y="114300"/>
                      </a:lnTo>
                      <a:lnTo>
                        <a:pt x="343979" y="113030"/>
                      </a:lnTo>
                      <a:lnTo>
                        <a:pt x="343954" y="110490"/>
                      </a:lnTo>
                      <a:lnTo>
                        <a:pt x="343801" y="110490"/>
                      </a:lnTo>
                      <a:lnTo>
                        <a:pt x="343433" y="109220"/>
                      </a:lnTo>
                      <a:lnTo>
                        <a:pt x="349123" y="109220"/>
                      </a:lnTo>
                      <a:lnTo>
                        <a:pt x="339242" y="86360"/>
                      </a:lnTo>
                      <a:lnTo>
                        <a:pt x="337616" y="83820"/>
                      </a:lnTo>
                      <a:lnTo>
                        <a:pt x="337185" y="83820"/>
                      </a:lnTo>
                      <a:lnTo>
                        <a:pt x="334848" y="81280"/>
                      </a:lnTo>
                      <a:lnTo>
                        <a:pt x="334251" y="80010"/>
                      </a:lnTo>
                      <a:lnTo>
                        <a:pt x="334124" y="80010"/>
                      </a:lnTo>
                      <a:lnTo>
                        <a:pt x="334086" y="78740"/>
                      </a:lnTo>
                      <a:lnTo>
                        <a:pt x="347446" y="60960"/>
                      </a:lnTo>
                      <a:lnTo>
                        <a:pt x="343992" y="58420"/>
                      </a:lnTo>
                      <a:lnTo>
                        <a:pt x="340398" y="54610"/>
                      </a:lnTo>
                      <a:lnTo>
                        <a:pt x="339890" y="50800"/>
                      </a:lnTo>
                      <a:lnTo>
                        <a:pt x="335737" y="49530"/>
                      </a:lnTo>
                      <a:lnTo>
                        <a:pt x="330009" y="49530"/>
                      </a:lnTo>
                      <a:lnTo>
                        <a:pt x="327621" y="46990"/>
                      </a:lnTo>
                      <a:lnTo>
                        <a:pt x="326936" y="43180"/>
                      </a:lnTo>
                      <a:lnTo>
                        <a:pt x="325564" y="40640"/>
                      </a:lnTo>
                      <a:lnTo>
                        <a:pt x="326313" y="39370"/>
                      </a:lnTo>
                      <a:lnTo>
                        <a:pt x="327063" y="38100"/>
                      </a:lnTo>
                      <a:lnTo>
                        <a:pt x="328193" y="34290"/>
                      </a:lnTo>
                      <a:lnTo>
                        <a:pt x="328828" y="33020"/>
                      </a:lnTo>
                      <a:lnTo>
                        <a:pt x="328942" y="31750"/>
                      </a:lnTo>
                      <a:lnTo>
                        <a:pt x="329044" y="30480"/>
                      </a:lnTo>
                      <a:lnTo>
                        <a:pt x="327774" y="30480"/>
                      </a:lnTo>
                      <a:lnTo>
                        <a:pt x="326059" y="31750"/>
                      </a:lnTo>
                      <a:lnTo>
                        <a:pt x="324942" y="30480"/>
                      </a:lnTo>
                      <a:lnTo>
                        <a:pt x="326212" y="30480"/>
                      </a:lnTo>
                      <a:lnTo>
                        <a:pt x="329412" y="29210"/>
                      </a:lnTo>
                      <a:lnTo>
                        <a:pt x="330187" y="29210"/>
                      </a:lnTo>
                      <a:lnTo>
                        <a:pt x="332168" y="27940"/>
                      </a:lnTo>
                      <a:lnTo>
                        <a:pt x="333209" y="27940"/>
                      </a:lnTo>
                      <a:lnTo>
                        <a:pt x="333070" y="26670"/>
                      </a:lnTo>
                      <a:lnTo>
                        <a:pt x="332574" y="25400"/>
                      </a:lnTo>
                      <a:lnTo>
                        <a:pt x="331851" y="22860"/>
                      </a:lnTo>
                      <a:lnTo>
                        <a:pt x="333502" y="21590"/>
                      </a:lnTo>
                      <a:lnTo>
                        <a:pt x="334187" y="20320"/>
                      </a:lnTo>
                      <a:lnTo>
                        <a:pt x="335089" y="19050"/>
                      </a:lnTo>
                      <a:lnTo>
                        <a:pt x="336118" y="17780"/>
                      </a:lnTo>
                      <a:lnTo>
                        <a:pt x="336715" y="17780"/>
                      </a:lnTo>
                      <a:lnTo>
                        <a:pt x="336842" y="16510"/>
                      </a:lnTo>
                      <a:lnTo>
                        <a:pt x="337426" y="16510"/>
                      </a:lnTo>
                      <a:lnTo>
                        <a:pt x="337413" y="15240"/>
                      </a:lnTo>
                      <a:lnTo>
                        <a:pt x="336715" y="12700"/>
                      </a:lnTo>
                      <a:lnTo>
                        <a:pt x="333108" y="10160"/>
                      </a:lnTo>
                      <a:lnTo>
                        <a:pt x="329577" y="8890"/>
                      </a:lnTo>
                      <a:lnTo>
                        <a:pt x="327812" y="7620"/>
                      </a:lnTo>
                      <a:lnTo>
                        <a:pt x="326097" y="6350"/>
                      </a:lnTo>
                      <a:lnTo>
                        <a:pt x="323329" y="6350"/>
                      </a:lnTo>
                      <a:lnTo>
                        <a:pt x="321932" y="5080"/>
                      </a:lnTo>
                      <a:lnTo>
                        <a:pt x="321576" y="3810"/>
                      </a:lnTo>
                      <a:lnTo>
                        <a:pt x="321208" y="3810"/>
                      </a:lnTo>
                      <a:lnTo>
                        <a:pt x="318808" y="2540"/>
                      </a:lnTo>
                      <a:lnTo>
                        <a:pt x="316445" y="0"/>
                      </a:lnTo>
                      <a:lnTo>
                        <a:pt x="313182" y="1270"/>
                      </a:lnTo>
                      <a:lnTo>
                        <a:pt x="312343" y="1270"/>
                      </a:lnTo>
                      <a:lnTo>
                        <a:pt x="311569" y="2540"/>
                      </a:lnTo>
                      <a:lnTo>
                        <a:pt x="310007" y="2540"/>
                      </a:lnTo>
                      <a:lnTo>
                        <a:pt x="309499" y="3810"/>
                      </a:lnTo>
                      <a:lnTo>
                        <a:pt x="297751" y="3810"/>
                      </a:lnTo>
                      <a:lnTo>
                        <a:pt x="295516" y="7620"/>
                      </a:lnTo>
                      <a:lnTo>
                        <a:pt x="294068" y="8890"/>
                      </a:lnTo>
                      <a:lnTo>
                        <a:pt x="292100" y="8890"/>
                      </a:lnTo>
                      <a:lnTo>
                        <a:pt x="290601" y="10160"/>
                      </a:lnTo>
                      <a:lnTo>
                        <a:pt x="290525" y="11430"/>
                      </a:lnTo>
                      <a:lnTo>
                        <a:pt x="289648" y="11430"/>
                      </a:lnTo>
                      <a:lnTo>
                        <a:pt x="289191" y="12700"/>
                      </a:lnTo>
                      <a:lnTo>
                        <a:pt x="287528" y="20320"/>
                      </a:lnTo>
                      <a:lnTo>
                        <a:pt x="287515" y="24130"/>
                      </a:lnTo>
                      <a:lnTo>
                        <a:pt x="286639" y="26670"/>
                      </a:lnTo>
                      <a:lnTo>
                        <a:pt x="286461" y="27940"/>
                      </a:lnTo>
                      <a:lnTo>
                        <a:pt x="286194" y="29210"/>
                      </a:lnTo>
                      <a:lnTo>
                        <a:pt x="285572" y="30480"/>
                      </a:lnTo>
                      <a:lnTo>
                        <a:pt x="284721" y="31750"/>
                      </a:lnTo>
                      <a:lnTo>
                        <a:pt x="283083" y="30480"/>
                      </a:lnTo>
                      <a:lnTo>
                        <a:pt x="277177" y="36830"/>
                      </a:lnTo>
                      <a:lnTo>
                        <a:pt x="275577" y="39370"/>
                      </a:lnTo>
                      <a:lnTo>
                        <a:pt x="267474" y="35560"/>
                      </a:lnTo>
                      <a:lnTo>
                        <a:pt x="264769" y="34290"/>
                      </a:lnTo>
                      <a:lnTo>
                        <a:pt x="261556" y="32143"/>
                      </a:lnTo>
                      <a:lnTo>
                        <a:pt x="261556" y="82550"/>
                      </a:lnTo>
                      <a:lnTo>
                        <a:pt x="260921" y="82550"/>
                      </a:lnTo>
                      <a:lnTo>
                        <a:pt x="261010" y="81826"/>
                      </a:lnTo>
                      <a:lnTo>
                        <a:pt x="261454" y="81826"/>
                      </a:lnTo>
                      <a:lnTo>
                        <a:pt x="261315" y="81280"/>
                      </a:lnTo>
                      <a:lnTo>
                        <a:pt x="261505" y="81280"/>
                      </a:lnTo>
                      <a:lnTo>
                        <a:pt x="261556" y="82550"/>
                      </a:lnTo>
                      <a:lnTo>
                        <a:pt x="261556" y="32143"/>
                      </a:lnTo>
                      <a:lnTo>
                        <a:pt x="260985" y="31750"/>
                      </a:lnTo>
                      <a:lnTo>
                        <a:pt x="260883" y="80556"/>
                      </a:lnTo>
                      <a:lnTo>
                        <a:pt x="260705" y="80556"/>
                      </a:lnTo>
                      <a:lnTo>
                        <a:pt x="260400" y="80035"/>
                      </a:lnTo>
                      <a:lnTo>
                        <a:pt x="260400" y="97637"/>
                      </a:lnTo>
                      <a:lnTo>
                        <a:pt x="260045" y="97066"/>
                      </a:lnTo>
                      <a:lnTo>
                        <a:pt x="258470" y="97066"/>
                      </a:lnTo>
                      <a:lnTo>
                        <a:pt x="257517" y="95796"/>
                      </a:lnTo>
                      <a:lnTo>
                        <a:pt x="257479" y="95313"/>
                      </a:lnTo>
                      <a:lnTo>
                        <a:pt x="258483" y="96520"/>
                      </a:lnTo>
                      <a:lnTo>
                        <a:pt x="260045" y="96520"/>
                      </a:lnTo>
                      <a:lnTo>
                        <a:pt x="260400" y="97637"/>
                      </a:lnTo>
                      <a:lnTo>
                        <a:pt x="260400" y="80035"/>
                      </a:lnTo>
                      <a:lnTo>
                        <a:pt x="260692" y="80010"/>
                      </a:lnTo>
                      <a:lnTo>
                        <a:pt x="260883" y="80556"/>
                      </a:lnTo>
                      <a:lnTo>
                        <a:pt x="260883" y="31813"/>
                      </a:lnTo>
                      <a:lnTo>
                        <a:pt x="259588" y="32537"/>
                      </a:lnTo>
                      <a:lnTo>
                        <a:pt x="259588" y="86271"/>
                      </a:lnTo>
                      <a:lnTo>
                        <a:pt x="259257" y="87630"/>
                      </a:lnTo>
                      <a:lnTo>
                        <a:pt x="258127" y="89077"/>
                      </a:lnTo>
                      <a:lnTo>
                        <a:pt x="259588" y="86271"/>
                      </a:lnTo>
                      <a:lnTo>
                        <a:pt x="259588" y="32537"/>
                      </a:lnTo>
                      <a:lnTo>
                        <a:pt x="258699" y="33020"/>
                      </a:lnTo>
                      <a:lnTo>
                        <a:pt x="258140" y="33020"/>
                      </a:lnTo>
                      <a:lnTo>
                        <a:pt x="258826" y="34290"/>
                      </a:lnTo>
                      <a:lnTo>
                        <a:pt x="258775" y="68580"/>
                      </a:lnTo>
                      <a:lnTo>
                        <a:pt x="258699" y="69037"/>
                      </a:lnTo>
                      <a:lnTo>
                        <a:pt x="258584" y="69850"/>
                      </a:lnTo>
                      <a:lnTo>
                        <a:pt x="257987" y="69850"/>
                      </a:lnTo>
                      <a:lnTo>
                        <a:pt x="258292" y="69126"/>
                      </a:lnTo>
                      <a:lnTo>
                        <a:pt x="258686" y="69126"/>
                      </a:lnTo>
                      <a:lnTo>
                        <a:pt x="258229" y="67856"/>
                      </a:lnTo>
                      <a:lnTo>
                        <a:pt x="257797" y="67310"/>
                      </a:lnTo>
                      <a:lnTo>
                        <a:pt x="258229" y="67310"/>
                      </a:lnTo>
                      <a:lnTo>
                        <a:pt x="258749" y="68580"/>
                      </a:lnTo>
                      <a:lnTo>
                        <a:pt x="258775" y="34290"/>
                      </a:lnTo>
                      <a:lnTo>
                        <a:pt x="257505" y="34290"/>
                      </a:lnTo>
                      <a:lnTo>
                        <a:pt x="257505" y="70396"/>
                      </a:lnTo>
                      <a:lnTo>
                        <a:pt x="257251" y="70954"/>
                      </a:lnTo>
                      <a:lnTo>
                        <a:pt x="257251" y="94526"/>
                      </a:lnTo>
                      <a:lnTo>
                        <a:pt x="257124" y="93980"/>
                      </a:lnTo>
                      <a:lnTo>
                        <a:pt x="257251" y="94526"/>
                      </a:lnTo>
                      <a:lnTo>
                        <a:pt x="257251" y="70954"/>
                      </a:lnTo>
                      <a:lnTo>
                        <a:pt x="257175" y="71120"/>
                      </a:lnTo>
                      <a:lnTo>
                        <a:pt x="254330" y="73317"/>
                      </a:lnTo>
                      <a:lnTo>
                        <a:pt x="253873" y="72936"/>
                      </a:lnTo>
                      <a:lnTo>
                        <a:pt x="257340" y="70396"/>
                      </a:lnTo>
                      <a:lnTo>
                        <a:pt x="257505" y="70396"/>
                      </a:lnTo>
                      <a:lnTo>
                        <a:pt x="257505" y="34290"/>
                      </a:lnTo>
                      <a:lnTo>
                        <a:pt x="256603" y="34290"/>
                      </a:lnTo>
                      <a:lnTo>
                        <a:pt x="256603" y="53886"/>
                      </a:lnTo>
                      <a:lnTo>
                        <a:pt x="256413" y="53606"/>
                      </a:lnTo>
                      <a:lnTo>
                        <a:pt x="256413" y="66586"/>
                      </a:lnTo>
                      <a:lnTo>
                        <a:pt x="255816" y="66586"/>
                      </a:lnTo>
                      <a:lnTo>
                        <a:pt x="255473" y="66040"/>
                      </a:lnTo>
                      <a:lnTo>
                        <a:pt x="255816" y="66040"/>
                      </a:lnTo>
                      <a:lnTo>
                        <a:pt x="256413" y="66586"/>
                      </a:lnTo>
                      <a:lnTo>
                        <a:pt x="256413" y="53606"/>
                      </a:lnTo>
                      <a:lnTo>
                        <a:pt x="256286" y="53340"/>
                      </a:lnTo>
                      <a:lnTo>
                        <a:pt x="256540" y="53340"/>
                      </a:lnTo>
                      <a:lnTo>
                        <a:pt x="256603" y="53886"/>
                      </a:lnTo>
                      <a:lnTo>
                        <a:pt x="256603" y="34290"/>
                      </a:lnTo>
                      <a:lnTo>
                        <a:pt x="255524" y="34290"/>
                      </a:lnTo>
                      <a:lnTo>
                        <a:pt x="255524" y="55156"/>
                      </a:lnTo>
                      <a:lnTo>
                        <a:pt x="255346" y="55880"/>
                      </a:lnTo>
                      <a:lnTo>
                        <a:pt x="255130" y="56083"/>
                      </a:lnTo>
                      <a:lnTo>
                        <a:pt x="255130" y="62230"/>
                      </a:lnTo>
                      <a:lnTo>
                        <a:pt x="255104" y="61671"/>
                      </a:lnTo>
                      <a:lnTo>
                        <a:pt x="255130" y="62230"/>
                      </a:lnTo>
                      <a:lnTo>
                        <a:pt x="255130" y="56083"/>
                      </a:lnTo>
                      <a:lnTo>
                        <a:pt x="254495" y="56959"/>
                      </a:lnTo>
                      <a:lnTo>
                        <a:pt x="254355" y="56426"/>
                      </a:lnTo>
                      <a:lnTo>
                        <a:pt x="255270" y="55156"/>
                      </a:lnTo>
                      <a:lnTo>
                        <a:pt x="255524" y="55156"/>
                      </a:lnTo>
                      <a:lnTo>
                        <a:pt x="255524" y="34290"/>
                      </a:lnTo>
                      <a:lnTo>
                        <a:pt x="255498" y="52616"/>
                      </a:lnTo>
                      <a:lnTo>
                        <a:pt x="254965" y="52616"/>
                      </a:lnTo>
                      <a:lnTo>
                        <a:pt x="254723" y="52070"/>
                      </a:lnTo>
                      <a:lnTo>
                        <a:pt x="255384" y="52070"/>
                      </a:lnTo>
                      <a:lnTo>
                        <a:pt x="255498" y="52616"/>
                      </a:lnTo>
                      <a:lnTo>
                        <a:pt x="255498" y="34290"/>
                      </a:lnTo>
                      <a:lnTo>
                        <a:pt x="253961" y="34290"/>
                      </a:lnTo>
                      <a:lnTo>
                        <a:pt x="253961" y="64046"/>
                      </a:lnTo>
                      <a:lnTo>
                        <a:pt x="253758" y="64770"/>
                      </a:lnTo>
                      <a:lnTo>
                        <a:pt x="253619" y="64770"/>
                      </a:lnTo>
                      <a:lnTo>
                        <a:pt x="253619" y="65316"/>
                      </a:lnTo>
                      <a:lnTo>
                        <a:pt x="253492" y="65316"/>
                      </a:lnTo>
                      <a:lnTo>
                        <a:pt x="253568" y="64897"/>
                      </a:lnTo>
                      <a:lnTo>
                        <a:pt x="253619" y="65316"/>
                      </a:lnTo>
                      <a:lnTo>
                        <a:pt x="253619" y="64770"/>
                      </a:lnTo>
                      <a:lnTo>
                        <a:pt x="253758" y="64046"/>
                      </a:lnTo>
                      <a:lnTo>
                        <a:pt x="253961" y="64046"/>
                      </a:lnTo>
                      <a:lnTo>
                        <a:pt x="253961" y="34290"/>
                      </a:lnTo>
                      <a:lnTo>
                        <a:pt x="253644" y="34290"/>
                      </a:lnTo>
                      <a:lnTo>
                        <a:pt x="253644" y="50736"/>
                      </a:lnTo>
                      <a:lnTo>
                        <a:pt x="252844" y="50076"/>
                      </a:lnTo>
                      <a:lnTo>
                        <a:pt x="252336" y="49530"/>
                      </a:lnTo>
                      <a:lnTo>
                        <a:pt x="252831" y="49530"/>
                      </a:lnTo>
                      <a:lnTo>
                        <a:pt x="253644" y="50736"/>
                      </a:lnTo>
                      <a:lnTo>
                        <a:pt x="253644" y="34290"/>
                      </a:lnTo>
                      <a:lnTo>
                        <a:pt x="240360" y="34290"/>
                      </a:lnTo>
                      <a:lnTo>
                        <a:pt x="239737" y="35560"/>
                      </a:lnTo>
                      <a:lnTo>
                        <a:pt x="239318" y="34290"/>
                      </a:lnTo>
                      <a:lnTo>
                        <a:pt x="238709" y="34290"/>
                      </a:lnTo>
                      <a:lnTo>
                        <a:pt x="237756" y="30480"/>
                      </a:lnTo>
                      <a:lnTo>
                        <a:pt x="233946" y="27940"/>
                      </a:lnTo>
                      <a:lnTo>
                        <a:pt x="232410" y="26670"/>
                      </a:lnTo>
                      <a:lnTo>
                        <a:pt x="232283" y="26670"/>
                      </a:lnTo>
                      <a:lnTo>
                        <a:pt x="224790" y="21590"/>
                      </a:lnTo>
                      <a:lnTo>
                        <a:pt x="224383" y="20320"/>
                      </a:lnTo>
                      <a:lnTo>
                        <a:pt x="222999" y="20320"/>
                      </a:lnTo>
                      <a:lnTo>
                        <a:pt x="221068" y="21590"/>
                      </a:lnTo>
                      <a:lnTo>
                        <a:pt x="220357" y="21590"/>
                      </a:lnTo>
                      <a:lnTo>
                        <a:pt x="219735" y="22860"/>
                      </a:lnTo>
                      <a:lnTo>
                        <a:pt x="220129" y="24130"/>
                      </a:lnTo>
                      <a:lnTo>
                        <a:pt x="219849" y="25400"/>
                      </a:lnTo>
                      <a:lnTo>
                        <a:pt x="219163" y="25400"/>
                      </a:lnTo>
                      <a:lnTo>
                        <a:pt x="219049" y="26670"/>
                      </a:lnTo>
                      <a:lnTo>
                        <a:pt x="213474" y="26670"/>
                      </a:lnTo>
                      <a:lnTo>
                        <a:pt x="229819" y="36461"/>
                      </a:lnTo>
                      <a:lnTo>
                        <a:pt x="213474" y="27216"/>
                      </a:lnTo>
                      <a:lnTo>
                        <a:pt x="206692" y="27216"/>
                      </a:lnTo>
                      <a:lnTo>
                        <a:pt x="207378" y="28486"/>
                      </a:lnTo>
                      <a:lnTo>
                        <a:pt x="208470" y="29756"/>
                      </a:lnTo>
                      <a:lnTo>
                        <a:pt x="208445" y="32296"/>
                      </a:lnTo>
                      <a:lnTo>
                        <a:pt x="208394" y="33566"/>
                      </a:lnTo>
                      <a:lnTo>
                        <a:pt x="205727" y="37376"/>
                      </a:lnTo>
                      <a:lnTo>
                        <a:pt x="205473" y="37376"/>
                      </a:lnTo>
                      <a:lnTo>
                        <a:pt x="205105" y="38646"/>
                      </a:lnTo>
                      <a:lnTo>
                        <a:pt x="205066" y="41186"/>
                      </a:lnTo>
                      <a:lnTo>
                        <a:pt x="205257" y="42456"/>
                      </a:lnTo>
                      <a:lnTo>
                        <a:pt x="204965" y="42456"/>
                      </a:lnTo>
                      <a:lnTo>
                        <a:pt x="204558" y="43726"/>
                      </a:lnTo>
                      <a:lnTo>
                        <a:pt x="203352" y="43726"/>
                      </a:lnTo>
                      <a:lnTo>
                        <a:pt x="178168" y="39916"/>
                      </a:lnTo>
                      <a:lnTo>
                        <a:pt x="178015" y="41186"/>
                      </a:lnTo>
                      <a:lnTo>
                        <a:pt x="178028" y="43726"/>
                      </a:lnTo>
                      <a:lnTo>
                        <a:pt x="177850" y="44996"/>
                      </a:lnTo>
                      <a:lnTo>
                        <a:pt x="177825" y="46266"/>
                      </a:lnTo>
                      <a:lnTo>
                        <a:pt x="177698" y="47536"/>
                      </a:lnTo>
                      <a:lnTo>
                        <a:pt x="176161" y="52616"/>
                      </a:lnTo>
                      <a:lnTo>
                        <a:pt x="173723" y="52616"/>
                      </a:lnTo>
                      <a:lnTo>
                        <a:pt x="171208" y="51346"/>
                      </a:lnTo>
                      <a:lnTo>
                        <a:pt x="168567" y="51346"/>
                      </a:lnTo>
                      <a:lnTo>
                        <a:pt x="166573" y="50076"/>
                      </a:lnTo>
                      <a:lnTo>
                        <a:pt x="165887" y="50076"/>
                      </a:lnTo>
                      <a:lnTo>
                        <a:pt x="165188" y="51346"/>
                      </a:lnTo>
                      <a:lnTo>
                        <a:pt x="162242" y="52616"/>
                      </a:lnTo>
                      <a:lnTo>
                        <a:pt x="161963" y="52616"/>
                      </a:lnTo>
                      <a:lnTo>
                        <a:pt x="159004" y="55156"/>
                      </a:lnTo>
                      <a:lnTo>
                        <a:pt x="158369" y="55156"/>
                      </a:lnTo>
                      <a:lnTo>
                        <a:pt x="157302" y="57696"/>
                      </a:lnTo>
                      <a:lnTo>
                        <a:pt x="156591" y="58966"/>
                      </a:lnTo>
                      <a:lnTo>
                        <a:pt x="156159" y="60236"/>
                      </a:lnTo>
                      <a:lnTo>
                        <a:pt x="155435" y="61506"/>
                      </a:lnTo>
                      <a:lnTo>
                        <a:pt x="154432" y="64046"/>
                      </a:lnTo>
                      <a:lnTo>
                        <a:pt x="145351" y="65316"/>
                      </a:lnTo>
                      <a:lnTo>
                        <a:pt x="154571" y="70396"/>
                      </a:lnTo>
                      <a:lnTo>
                        <a:pt x="154139" y="71183"/>
                      </a:lnTo>
                      <a:lnTo>
                        <a:pt x="154139" y="264706"/>
                      </a:lnTo>
                      <a:lnTo>
                        <a:pt x="152946" y="265976"/>
                      </a:lnTo>
                      <a:lnTo>
                        <a:pt x="151803" y="264706"/>
                      </a:lnTo>
                      <a:lnTo>
                        <a:pt x="154139" y="264706"/>
                      </a:lnTo>
                      <a:lnTo>
                        <a:pt x="154139" y="71183"/>
                      </a:lnTo>
                      <a:lnTo>
                        <a:pt x="153162" y="72936"/>
                      </a:lnTo>
                      <a:lnTo>
                        <a:pt x="152666" y="74206"/>
                      </a:lnTo>
                      <a:lnTo>
                        <a:pt x="151180" y="78016"/>
                      </a:lnTo>
                      <a:lnTo>
                        <a:pt x="147205" y="81826"/>
                      </a:lnTo>
                      <a:lnTo>
                        <a:pt x="144221" y="84366"/>
                      </a:lnTo>
                      <a:lnTo>
                        <a:pt x="142024" y="86906"/>
                      </a:lnTo>
                      <a:lnTo>
                        <a:pt x="140068" y="88176"/>
                      </a:lnTo>
                      <a:lnTo>
                        <a:pt x="139674" y="88176"/>
                      </a:lnTo>
                      <a:lnTo>
                        <a:pt x="139446" y="89446"/>
                      </a:lnTo>
                      <a:lnTo>
                        <a:pt x="138722" y="90716"/>
                      </a:lnTo>
                      <a:lnTo>
                        <a:pt x="140639" y="90716"/>
                      </a:lnTo>
                      <a:lnTo>
                        <a:pt x="139573" y="93256"/>
                      </a:lnTo>
                      <a:lnTo>
                        <a:pt x="138531" y="93256"/>
                      </a:lnTo>
                      <a:lnTo>
                        <a:pt x="137426" y="94526"/>
                      </a:lnTo>
                      <a:lnTo>
                        <a:pt x="134416" y="95796"/>
                      </a:lnTo>
                      <a:lnTo>
                        <a:pt x="129209" y="97066"/>
                      </a:lnTo>
                      <a:lnTo>
                        <a:pt x="125717" y="98336"/>
                      </a:lnTo>
                      <a:lnTo>
                        <a:pt x="126682" y="99606"/>
                      </a:lnTo>
                      <a:lnTo>
                        <a:pt x="127533" y="104686"/>
                      </a:lnTo>
                      <a:lnTo>
                        <a:pt x="127431" y="105956"/>
                      </a:lnTo>
                      <a:lnTo>
                        <a:pt x="126936" y="109766"/>
                      </a:lnTo>
                      <a:lnTo>
                        <a:pt x="126809" y="112306"/>
                      </a:lnTo>
                      <a:lnTo>
                        <a:pt x="126238" y="114846"/>
                      </a:lnTo>
                      <a:lnTo>
                        <a:pt x="125857" y="117386"/>
                      </a:lnTo>
                      <a:lnTo>
                        <a:pt x="124701" y="119926"/>
                      </a:lnTo>
                      <a:lnTo>
                        <a:pt x="123139" y="122466"/>
                      </a:lnTo>
                      <a:lnTo>
                        <a:pt x="121704" y="123736"/>
                      </a:lnTo>
                      <a:lnTo>
                        <a:pt x="120053" y="126276"/>
                      </a:lnTo>
                      <a:lnTo>
                        <a:pt x="118262" y="127546"/>
                      </a:lnTo>
                      <a:lnTo>
                        <a:pt x="116547" y="130086"/>
                      </a:lnTo>
                      <a:lnTo>
                        <a:pt x="117005" y="133896"/>
                      </a:lnTo>
                      <a:lnTo>
                        <a:pt x="117500" y="135166"/>
                      </a:lnTo>
                      <a:lnTo>
                        <a:pt x="118173" y="136436"/>
                      </a:lnTo>
                      <a:lnTo>
                        <a:pt x="119545" y="136436"/>
                      </a:lnTo>
                      <a:lnTo>
                        <a:pt x="120053" y="138976"/>
                      </a:lnTo>
                      <a:lnTo>
                        <a:pt x="120243" y="138976"/>
                      </a:lnTo>
                      <a:lnTo>
                        <a:pt x="120624" y="140246"/>
                      </a:lnTo>
                      <a:lnTo>
                        <a:pt x="120523" y="141516"/>
                      </a:lnTo>
                      <a:lnTo>
                        <a:pt x="120040" y="142786"/>
                      </a:lnTo>
                      <a:lnTo>
                        <a:pt x="119519" y="145326"/>
                      </a:lnTo>
                      <a:lnTo>
                        <a:pt x="118325" y="146596"/>
                      </a:lnTo>
                      <a:lnTo>
                        <a:pt x="106146" y="145326"/>
                      </a:lnTo>
                      <a:lnTo>
                        <a:pt x="104863" y="146596"/>
                      </a:lnTo>
                      <a:lnTo>
                        <a:pt x="103022" y="146596"/>
                      </a:lnTo>
                      <a:lnTo>
                        <a:pt x="102450" y="147866"/>
                      </a:lnTo>
                      <a:lnTo>
                        <a:pt x="101942" y="147866"/>
                      </a:lnTo>
                      <a:lnTo>
                        <a:pt x="90208" y="163106"/>
                      </a:lnTo>
                      <a:lnTo>
                        <a:pt x="90297" y="164376"/>
                      </a:lnTo>
                      <a:lnTo>
                        <a:pt x="90716" y="164376"/>
                      </a:lnTo>
                      <a:lnTo>
                        <a:pt x="92062" y="168186"/>
                      </a:lnTo>
                      <a:lnTo>
                        <a:pt x="93243" y="169456"/>
                      </a:lnTo>
                      <a:lnTo>
                        <a:pt x="92570" y="173266"/>
                      </a:lnTo>
                      <a:lnTo>
                        <a:pt x="92417" y="175806"/>
                      </a:lnTo>
                      <a:lnTo>
                        <a:pt x="91516" y="178346"/>
                      </a:lnTo>
                      <a:lnTo>
                        <a:pt x="91427" y="179616"/>
                      </a:lnTo>
                      <a:lnTo>
                        <a:pt x="92506" y="182156"/>
                      </a:lnTo>
                      <a:lnTo>
                        <a:pt x="94881" y="184696"/>
                      </a:lnTo>
                      <a:lnTo>
                        <a:pt x="92341" y="197396"/>
                      </a:lnTo>
                      <a:lnTo>
                        <a:pt x="92570" y="198666"/>
                      </a:lnTo>
                      <a:lnTo>
                        <a:pt x="93497" y="199936"/>
                      </a:lnTo>
                      <a:lnTo>
                        <a:pt x="93941" y="199936"/>
                      </a:lnTo>
                      <a:lnTo>
                        <a:pt x="95313" y="201206"/>
                      </a:lnTo>
                      <a:lnTo>
                        <a:pt x="96481" y="201206"/>
                      </a:lnTo>
                      <a:lnTo>
                        <a:pt x="97688" y="202476"/>
                      </a:lnTo>
                      <a:lnTo>
                        <a:pt x="99199" y="203746"/>
                      </a:lnTo>
                      <a:lnTo>
                        <a:pt x="100761" y="205016"/>
                      </a:lnTo>
                      <a:lnTo>
                        <a:pt x="101117" y="206286"/>
                      </a:lnTo>
                      <a:lnTo>
                        <a:pt x="101752" y="207556"/>
                      </a:lnTo>
                      <a:lnTo>
                        <a:pt x="102146" y="207556"/>
                      </a:lnTo>
                      <a:lnTo>
                        <a:pt x="101968" y="208826"/>
                      </a:lnTo>
                      <a:lnTo>
                        <a:pt x="99885" y="212636"/>
                      </a:lnTo>
                      <a:lnTo>
                        <a:pt x="99034" y="213906"/>
                      </a:lnTo>
                      <a:lnTo>
                        <a:pt x="93573" y="213906"/>
                      </a:lnTo>
                      <a:lnTo>
                        <a:pt x="94703" y="217716"/>
                      </a:lnTo>
                      <a:lnTo>
                        <a:pt x="98831" y="222796"/>
                      </a:lnTo>
                      <a:lnTo>
                        <a:pt x="95504" y="234226"/>
                      </a:lnTo>
                      <a:lnTo>
                        <a:pt x="95364" y="234226"/>
                      </a:lnTo>
                      <a:lnTo>
                        <a:pt x="94538" y="236766"/>
                      </a:lnTo>
                      <a:lnTo>
                        <a:pt x="93522" y="236766"/>
                      </a:lnTo>
                      <a:lnTo>
                        <a:pt x="88188" y="238036"/>
                      </a:lnTo>
                      <a:lnTo>
                        <a:pt x="88074" y="239306"/>
                      </a:lnTo>
                      <a:lnTo>
                        <a:pt x="88493" y="239306"/>
                      </a:lnTo>
                      <a:lnTo>
                        <a:pt x="88328" y="240576"/>
                      </a:lnTo>
                      <a:lnTo>
                        <a:pt x="87515" y="241846"/>
                      </a:lnTo>
                      <a:lnTo>
                        <a:pt x="86906" y="241846"/>
                      </a:lnTo>
                      <a:lnTo>
                        <a:pt x="86372" y="243116"/>
                      </a:lnTo>
                      <a:lnTo>
                        <a:pt x="86245" y="244386"/>
                      </a:lnTo>
                      <a:lnTo>
                        <a:pt x="86423" y="245656"/>
                      </a:lnTo>
                      <a:lnTo>
                        <a:pt x="86664" y="246926"/>
                      </a:lnTo>
                      <a:lnTo>
                        <a:pt x="87579" y="250736"/>
                      </a:lnTo>
                      <a:lnTo>
                        <a:pt x="87033" y="252006"/>
                      </a:lnTo>
                      <a:lnTo>
                        <a:pt x="85686" y="256692"/>
                      </a:lnTo>
                      <a:lnTo>
                        <a:pt x="85686" y="268516"/>
                      </a:lnTo>
                      <a:lnTo>
                        <a:pt x="84137" y="270878"/>
                      </a:lnTo>
                      <a:lnTo>
                        <a:pt x="83858" y="269786"/>
                      </a:lnTo>
                      <a:lnTo>
                        <a:pt x="83540" y="268516"/>
                      </a:lnTo>
                      <a:lnTo>
                        <a:pt x="85686" y="268516"/>
                      </a:lnTo>
                      <a:lnTo>
                        <a:pt x="85686" y="256692"/>
                      </a:lnTo>
                      <a:lnTo>
                        <a:pt x="85204" y="258356"/>
                      </a:lnTo>
                      <a:lnTo>
                        <a:pt x="84124" y="258356"/>
                      </a:lnTo>
                      <a:lnTo>
                        <a:pt x="79946" y="257086"/>
                      </a:lnTo>
                      <a:lnTo>
                        <a:pt x="78600" y="255841"/>
                      </a:lnTo>
                      <a:lnTo>
                        <a:pt x="77952" y="259626"/>
                      </a:lnTo>
                      <a:lnTo>
                        <a:pt x="79006" y="268516"/>
                      </a:lnTo>
                      <a:lnTo>
                        <a:pt x="79095" y="269786"/>
                      </a:lnTo>
                      <a:lnTo>
                        <a:pt x="79794" y="271056"/>
                      </a:lnTo>
                      <a:lnTo>
                        <a:pt x="80175" y="269786"/>
                      </a:lnTo>
                      <a:lnTo>
                        <a:pt x="81559" y="271056"/>
                      </a:lnTo>
                      <a:lnTo>
                        <a:pt x="81838" y="273596"/>
                      </a:lnTo>
                      <a:lnTo>
                        <a:pt x="83718" y="271551"/>
                      </a:lnTo>
                      <a:lnTo>
                        <a:pt x="83261" y="272326"/>
                      </a:lnTo>
                      <a:lnTo>
                        <a:pt x="86461" y="272326"/>
                      </a:lnTo>
                      <a:lnTo>
                        <a:pt x="88087" y="271056"/>
                      </a:lnTo>
                      <a:lnTo>
                        <a:pt x="88125" y="272326"/>
                      </a:lnTo>
                      <a:lnTo>
                        <a:pt x="88353" y="272326"/>
                      </a:lnTo>
                      <a:lnTo>
                        <a:pt x="88607" y="273596"/>
                      </a:lnTo>
                      <a:lnTo>
                        <a:pt x="88036" y="273596"/>
                      </a:lnTo>
                      <a:lnTo>
                        <a:pt x="87769" y="274866"/>
                      </a:lnTo>
                      <a:lnTo>
                        <a:pt x="87452" y="276136"/>
                      </a:lnTo>
                      <a:lnTo>
                        <a:pt x="87096" y="277406"/>
                      </a:lnTo>
                      <a:lnTo>
                        <a:pt x="87210" y="278676"/>
                      </a:lnTo>
                      <a:lnTo>
                        <a:pt x="86499" y="279946"/>
                      </a:lnTo>
                      <a:lnTo>
                        <a:pt x="85204" y="282486"/>
                      </a:lnTo>
                      <a:lnTo>
                        <a:pt x="87541" y="282486"/>
                      </a:lnTo>
                      <a:lnTo>
                        <a:pt x="86423" y="283756"/>
                      </a:lnTo>
                      <a:lnTo>
                        <a:pt x="86309" y="285026"/>
                      </a:lnTo>
                      <a:lnTo>
                        <a:pt x="87388" y="285026"/>
                      </a:lnTo>
                      <a:lnTo>
                        <a:pt x="89446" y="286296"/>
                      </a:lnTo>
                      <a:lnTo>
                        <a:pt x="88976" y="287566"/>
                      </a:lnTo>
                      <a:lnTo>
                        <a:pt x="88709" y="291376"/>
                      </a:lnTo>
                      <a:lnTo>
                        <a:pt x="90360" y="292646"/>
                      </a:lnTo>
                      <a:lnTo>
                        <a:pt x="92417" y="296456"/>
                      </a:lnTo>
                      <a:lnTo>
                        <a:pt x="93713" y="298996"/>
                      </a:lnTo>
                      <a:lnTo>
                        <a:pt x="96354" y="301536"/>
                      </a:lnTo>
                      <a:lnTo>
                        <a:pt x="97345" y="301536"/>
                      </a:lnTo>
                      <a:lnTo>
                        <a:pt x="98767" y="304076"/>
                      </a:lnTo>
                      <a:lnTo>
                        <a:pt x="99568" y="305346"/>
                      </a:lnTo>
                      <a:lnTo>
                        <a:pt x="102628" y="306616"/>
                      </a:lnTo>
                      <a:lnTo>
                        <a:pt x="103632" y="306616"/>
                      </a:lnTo>
                      <a:lnTo>
                        <a:pt x="103124" y="309156"/>
                      </a:lnTo>
                      <a:lnTo>
                        <a:pt x="150317" y="309156"/>
                      </a:lnTo>
                      <a:lnTo>
                        <a:pt x="152501" y="305346"/>
                      </a:lnTo>
                      <a:lnTo>
                        <a:pt x="154051" y="304076"/>
                      </a:lnTo>
                      <a:lnTo>
                        <a:pt x="154139" y="302806"/>
                      </a:lnTo>
                      <a:lnTo>
                        <a:pt x="153619" y="302806"/>
                      </a:lnTo>
                      <a:lnTo>
                        <a:pt x="153670" y="298996"/>
                      </a:lnTo>
                      <a:lnTo>
                        <a:pt x="153784" y="297726"/>
                      </a:lnTo>
                      <a:lnTo>
                        <a:pt x="155638" y="297726"/>
                      </a:lnTo>
                      <a:lnTo>
                        <a:pt x="153784" y="293916"/>
                      </a:lnTo>
                      <a:lnTo>
                        <a:pt x="155486" y="291376"/>
                      </a:lnTo>
                      <a:lnTo>
                        <a:pt x="157619" y="290106"/>
                      </a:lnTo>
                      <a:lnTo>
                        <a:pt x="156591" y="287566"/>
                      </a:lnTo>
                      <a:lnTo>
                        <a:pt x="155816" y="287566"/>
                      </a:lnTo>
                      <a:lnTo>
                        <a:pt x="155016" y="286296"/>
                      </a:lnTo>
                      <a:lnTo>
                        <a:pt x="156502" y="286296"/>
                      </a:lnTo>
                      <a:lnTo>
                        <a:pt x="156400" y="285026"/>
                      </a:lnTo>
                      <a:lnTo>
                        <a:pt x="155956" y="285026"/>
                      </a:lnTo>
                      <a:lnTo>
                        <a:pt x="155752" y="283756"/>
                      </a:lnTo>
                      <a:lnTo>
                        <a:pt x="157962" y="285026"/>
                      </a:lnTo>
                      <a:lnTo>
                        <a:pt x="157505" y="283756"/>
                      </a:lnTo>
                      <a:lnTo>
                        <a:pt x="155930" y="281216"/>
                      </a:lnTo>
                      <a:lnTo>
                        <a:pt x="154813" y="281216"/>
                      </a:lnTo>
                      <a:lnTo>
                        <a:pt x="154038" y="279946"/>
                      </a:lnTo>
                      <a:lnTo>
                        <a:pt x="156921" y="279946"/>
                      </a:lnTo>
                      <a:lnTo>
                        <a:pt x="157073" y="281216"/>
                      </a:lnTo>
                      <a:lnTo>
                        <a:pt x="158686" y="279946"/>
                      </a:lnTo>
                      <a:lnTo>
                        <a:pt x="158305" y="278676"/>
                      </a:lnTo>
                      <a:lnTo>
                        <a:pt x="156832" y="278676"/>
                      </a:lnTo>
                      <a:lnTo>
                        <a:pt x="157962" y="276136"/>
                      </a:lnTo>
                      <a:lnTo>
                        <a:pt x="159524" y="274866"/>
                      </a:lnTo>
                      <a:lnTo>
                        <a:pt x="158737" y="271056"/>
                      </a:lnTo>
                      <a:lnTo>
                        <a:pt x="158724" y="272326"/>
                      </a:lnTo>
                      <a:lnTo>
                        <a:pt x="156972" y="271056"/>
                      </a:lnTo>
                      <a:lnTo>
                        <a:pt x="157924" y="271056"/>
                      </a:lnTo>
                      <a:lnTo>
                        <a:pt x="158076" y="270929"/>
                      </a:lnTo>
                      <a:lnTo>
                        <a:pt x="159423" y="269786"/>
                      </a:lnTo>
                      <a:lnTo>
                        <a:pt x="160909" y="268516"/>
                      </a:lnTo>
                      <a:lnTo>
                        <a:pt x="158864" y="267246"/>
                      </a:lnTo>
                      <a:lnTo>
                        <a:pt x="157670" y="265976"/>
                      </a:lnTo>
                      <a:lnTo>
                        <a:pt x="157416" y="265849"/>
                      </a:lnTo>
                      <a:lnTo>
                        <a:pt x="157416" y="269786"/>
                      </a:lnTo>
                      <a:lnTo>
                        <a:pt x="156959" y="269786"/>
                      </a:lnTo>
                      <a:lnTo>
                        <a:pt x="155016" y="268516"/>
                      </a:lnTo>
                      <a:lnTo>
                        <a:pt x="153365" y="268516"/>
                      </a:lnTo>
                      <a:lnTo>
                        <a:pt x="156400" y="267246"/>
                      </a:lnTo>
                      <a:lnTo>
                        <a:pt x="157416" y="269786"/>
                      </a:lnTo>
                      <a:lnTo>
                        <a:pt x="157416" y="265849"/>
                      </a:lnTo>
                      <a:lnTo>
                        <a:pt x="155270" y="264706"/>
                      </a:lnTo>
                      <a:lnTo>
                        <a:pt x="160324" y="264706"/>
                      </a:lnTo>
                      <a:lnTo>
                        <a:pt x="164274" y="263436"/>
                      </a:lnTo>
                      <a:lnTo>
                        <a:pt x="169418" y="262166"/>
                      </a:lnTo>
                      <a:lnTo>
                        <a:pt x="169913" y="259626"/>
                      </a:lnTo>
                      <a:lnTo>
                        <a:pt x="169976" y="258356"/>
                      </a:lnTo>
                      <a:lnTo>
                        <a:pt x="170586" y="258356"/>
                      </a:lnTo>
                      <a:lnTo>
                        <a:pt x="171157" y="259626"/>
                      </a:lnTo>
                      <a:lnTo>
                        <a:pt x="171818" y="259626"/>
                      </a:lnTo>
                      <a:lnTo>
                        <a:pt x="171450" y="258356"/>
                      </a:lnTo>
                      <a:lnTo>
                        <a:pt x="171107" y="254546"/>
                      </a:lnTo>
                      <a:lnTo>
                        <a:pt x="173050" y="253276"/>
                      </a:lnTo>
                      <a:lnTo>
                        <a:pt x="172453" y="255816"/>
                      </a:lnTo>
                      <a:lnTo>
                        <a:pt x="172707" y="257086"/>
                      </a:lnTo>
                      <a:lnTo>
                        <a:pt x="172364" y="259626"/>
                      </a:lnTo>
                      <a:lnTo>
                        <a:pt x="173939" y="260896"/>
                      </a:lnTo>
                      <a:lnTo>
                        <a:pt x="175006" y="260896"/>
                      </a:lnTo>
                      <a:lnTo>
                        <a:pt x="174853" y="259626"/>
                      </a:lnTo>
                      <a:lnTo>
                        <a:pt x="177431" y="257086"/>
                      </a:lnTo>
                      <a:lnTo>
                        <a:pt x="180301" y="255816"/>
                      </a:lnTo>
                      <a:lnTo>
                        <a:pt x="181470" y="254546"/>
                      </a:lnTo>
                      <a:lnTo>
                        <a:pt x="181406" y="253276"/>
                      </a:lnTo>
                      <a:lnTo>
                        <a:pt x="181343" y="252006"/>
                      </a:lnTo>
                      <a:lnTo>
                        <a:pt x="180822" y="250736"/>
                      </a:lnTo>
                      <a:lnTo>
                        <a:pt x="182003" y="252006"/>
                      </a:lnTo>
                      <a:lnTo>
                        <a:pt x="183781" y="252006"/>
                      </a:lnTo>
                      <a:lnTo>
                        <a:pt x="182867" y="250736"/>
                      </a:lnTo>
                      <a:lnTo>
                        <a:pt x="183324" y="250736"/>
                      </a:lnTo>
                      <a:lnTo>
                        <a:pt x="185267" y="253276"/>
                      </a:lnTo>
                      <a:lnTo>
                        <a:pt x="185839" y="250736"/>
                      </a:lnTo>
                      <a:lnTo>
                        <a:pt x="185547" y="250736"/>
                      </a:lnTo>
                      <a:lnTo>
                        <a:pt x="184353" y="249466"/>
                      </a:lnTo>
                      <a:lnTo>
                        <a:pt x="182422" y="248526"/>
                      </a:lnTo>
                      <a:lnTo>
                        <a:pt x="182422" y="249466"/>
                      </a:lnTo>
                      <a:lnTo>
                        <a:pt x="182422" y="250736"/>
                      </a:lnTo>
                      <a:lnTo>
                        <a:pt x="182219" y="249466"/>
                      </a:lnTo>
                      <a:lnTo>
                        <a:pt x="182422" y="249466"/>
                      </a:lnTo>
                      <a:lnTo>
                        <a:pt x="182422" y="248526"/>
                      </a:lnTo>
                      <a:lnTo>
                        <a:pt x="181762" y="248196"/>
                      </a:lnTo>
                      <a:lnTo>
                        <a:pt x="182181" y="249466"/>
                      </a:lnTo>
                      <a:lnTo>
                        <a:pt x="180695" y="249466"/>
                      </a:lnTo>
                      <a:lnTo>
                        <a:pt x="179743" y="248196"/>
                      </a:lnTo>
                      <a:lnTo>
                        <a:pt x="179349" y="248196"/>
                      </a:lnTo>
                      <a:lnTo>
                        <a:pt x="179349" y="249466"/>
                      </a:lnTo>
                      <a:lnTo>
                        <a:pt x="178422" y="250736"/>
                      </a:lnTo>
                      <a:lnTo>
                        <a:pt x="178079" y="250736"/>
                      </a:lnTo>
                      <a:lnTo>
                        <a:pt x="177850" y="249466"/>
                      </a:lnTo>
                      <a:lnTo>
                        <a:pt x="176923" y="246926"/>
                      </a:lnTo>
                      <a:lnTo>
                        <a:pt x="178371" y="248196"/>
                      </a:lnTo>
                      <a:lnTo>
                        <a:pt x="178041" y="248196"/>
                      </a:lnTo>
                      <a:lnTo>
                        <a:pt x="178892" y="249466"/>
                      </a:lnTo>
                      <a:lnTo>
                        <a:pt x="179349" y="249466"/>
                      </a:lnTo>
                      <a:lnTo>
                        <a:pt x="179349" y="248196"/>
                      </a:lnTo>
                      <a:lnTo>
                        <a:pt x="181063" y="246926"/>
                      </a:lnTo>
                      <a:lnTo>
                        <a:pt x="182867" y="245656"/>
                      </a:lnTo>
                      <a:lnTo>
                        <a:pt x="186474" y="241846"/>
                      </a:lnTo>
                      <a:lnTo>
                        <a:pt x="188836" y="241846"/>
                      </a:lnTo>
                      <a:lnTo>
                        <a:pt x="191274" y="240576"/>
                      </a:lnTo>
                      <a:lnTo>
                        <a:pt x="190131" y="239306"/>
                      </a:lnTo>
                      <a:lnTo>
                        <a:pt x="189077" y="236766"/>
                      </a:lnTo>
                      <a:lnTo>
                        <a:pt x="187452" y="232956"/>
                      </a:lnTo>
                      <a:lnTo>
                        <a:pt x="183730" y="232956"/>
                      </a:lnTo>
                      <a:lnTo>
                        <a:pt x="184251" y="231686"/>
                      </a:lnTo>
                      <a:lnTo>
                        <a:pt x="184670" y="231686"/>
                      </a:lnTo>
                      <a:lnTo>
                        <a:pt x="183438" y="229146"/>
                      </a:lnTo>
                      <a:lnTo>
                        <a:pt x="181775" y="227876"/>
                      </a:lnTo>
                      <a:lnTo>
                        <a:pt x="179679" y="226606"/>
                      </a:lnTo>
                      <a:lnTo>
                        <a:pt x="178257" y="225336"/>
                      </a:lnTo>
                      <a:lnTo>
                        <a:pt x="176669" y="224066"/>
                      </a:lnTo>
                      <a:lnTo>
                        <a:pt x="175971" y="222796"/>
                      </a:lnTo>
                      <a:lnTo>
                        <a:pt x="173913" y="222796"/>
                      </a:lnTo>
                      <a:lnTo>
                        <a:pt x="172656" y="225336"/>
                      </a:lnTo>
                      <a:lnTo>
                        <a:pt x="168783" y="222796"/>
                      </a:lnTo>
                      <a:lnTo>
                        <a:pt x="167563" y="221526"/>
                      </a:lnTo>
                      <a:lnTo>
                        <a:pt x="166344" y="220256"/>
                      </a:lnTo>
                      <a:lnTo>
                        <a:pt x="164185" y="221526"/>
                      </a:lnTo>
                      <a:lnTo>
                        <a:pt x="164630" y="220256"/>
                      </a:lnTo>
                      <a:lnTo>
                        <a:pt x="165366" y="220256"/>
                      </a:lnTo>
                      <a:lnTo>
                        <a:pt x="166738" y="218986"/>
                      </a:lnTo>
                      <a:lnTo>
                        <a:pt x="165671" y="218986"/>
                      </a:lnTo>
                      <a:lnTo>
                        <a:pt x="165290" y="217716"/>
                      </a:lnTo>
                      <a:lnTo>
                        <a:pt x="163918" y="215176"/>
                      </a:lnTo>
                      <a:lnTo>
                        <a:pt x="163461" y="215176"/>
                      </a:lnTo>
                      <a:lnTo>
                        <a:pt x="163550" y="212636"/>
                      </a:lnTo>
                      <a:lnTo>
                        <a:pt x="163576" y="207556"/>
                      </a:lnTo>
                      <a:lnTo>
                        <a:pt x="166306" y="208826"/>
                      </a:lnTo>
                      <a:lnTo>
                        <a:pt x="163576" y="206286"/>
                      </a:lnTo>
                      <a:lnTo>
                        <a:pt x="162877" y="205016"/>
                      </a:lnTo>
                      <a:lnTo>
                        <a:pt x="163868" y="205016"/>
                      </a:lnTo>
                      <a:lnTo>
                        <a:pt x="163322" y="202476"/>
                      </a:lnTo>
                      <a:lnTo>
                        <a:pt x="163880" y="202476"/>
                      </a:lnTo>
                      <a:lnTo>
                        <a:pt x="163347" y="201206"/>
                      </a:lnTo>
                      <a:lnTo>
                        <a:pt x="163576" y="201206"/>
                      </a:lnTo>
                      <a:lnTo>
                        <a:pt x="163042" y="199936"/>
                      </a:lnTo>
                      <a:lnTo>
                        <a:pt x="164579" y="199936"/>
                      </a:lnTo>
                      <a:lnTo>
                        <a:pt x="164973" y="198666"/>
                      </a:lnTo>
                      <a:lnTo>
                        <a:pt x="166052" y="198666"/>
                      </a:lnTo>
                      <a:lnTo>
                        <a:pt x="167487" y="199936"/>
                      </a:lnTo>
                      <a:lnTo>
                        <a:pt x="167322" y="201206"/>
                      </a:lnTo>
                      <a:lnTo>
                        <a:pt x="168427" y="201206"/>
                      </a:lnTo>
                      <a:lnTo>
                        <a:pt x="167817" y="198666"/>
                      </a:lnTo>
                      <a:lnTo>
                        <a:pt x="166370" y="197396"/>
                      </a:lnTo>
                      <a:lnTo>
                        <a:pt x="166268" y="193586"/>
                      </a:lnTo>
                      <a:lnTo>
                        <a:pt x="168973" y="191046"/>
                      </a:lnTo>
                      <a:lnTo>
                        <a:pt x="168567" y="187236"/>
                      </a:lnTo>
                      <a:lnTo>
                        <a:pt x="168376" y="185966"/>
                      </a:lnTo>
                      <a:lnTo>
                        <a:pt x="168021" y="185966"/>
                      </a:lnTo>
                      <a:lnTo>
                        <a:pt x="166992" y="184696"/>
                      </a:lnTo>
                      <a:lnTo>
                        <a:pt x="166573" y="184696"/>
                      </a:lnTo>
                      <a:lnTo>
                        <a:pt x="167335" y="182156"/>
                      </a:lnTo>
                      <a:lnTo>
                        <a:pt x="173228" y="182156"/>
                      </a:lnTo>
                      <a:lnTo>
                        <a:pt x="173736" y="180886"/>
                      </a:lnTo>
                      <a:lnTo>
                        <a:pt x="174536" y="177076"/>
                      </a:lnTo>
                      <a:lnTo>
                        <a:pt x="174713" y="177076"/>
                      </a:lnTo>
                      <a:lnTo>
                        <a:pt x="175666" y="175806"/>
                      </a:lnTo>
                      <a:lnTo>
                        <a:pt x="174459" y="174536"/>
                      </a:lnTo>
                      <a:lnTo>
                        <a:pt x="173926" y="173266"/>
                      </a:lnTo>
                      <a:lnTo>
                        <a:pt x="174142" y="173266"/>
                      </a:lnTo>
                      <a:lnTo>
                        <a:pt x="172999" y="170726"/>
                      </a:lnTo>
                      <a:lnTo>
                        <a:pt x="170903" y="170726"/>
                      </a:lnTo>
                      <a:lnTo>
                        <a:pt x="172542" y="168186"/>
                      </a:lnTo>
                      <a:lnTo>
                        <a:pt x="173570" y="170726"/>
                      </a:lnTo>
                      <a:lnTo>
                        <a:pt x="174218" y="171996"/>
                      </a:lnTo>
                      <a:lnTo>
                        <a:pt x="174701" y="171996"/>
                      </a:lnTo>
                      <a:lnTo>
                        <a:pt x="174332" y="173266"/>
                      </a:lnTo>
                      <a:lnTo>
                        <a:pt x="175348" y="174536"/>
                      </a:lnTo>
                      <a:lnTo>
                        <a:pt x="176822" y="173266"/>
                      </a:lnTo>
                      <a:lnTo>
                        <a:pt x="177927" y="174536"/>
                      </a:lnTo>
                      <a:lnTo>
                        <a:pt x="176771" y="174536"/>
                      </a:lnTo>
                      <a:lnTo>
                        <a:pt x="177457" y="175806"/>
                      </a:lnTo>
                      <a:lnTo>
                        <a:pt x="178892" y="173266"/>
                      </a:lnTo>
                      <a:lnTo>
                        <a:pt x="179616" y="171996"/>
                      </a:lnTo>
                      <a:lnTo>
                        <a:pt x="179984" y="170726"/>
                      </a:lnTo>
                      <a:lnTo>
                        <a:pt x="179400" y="170726"/>
                      </a:lnTo>
                      <a:lnTo>
                        <a:pt x="180936" y="169456"/>
                      </a:lnTo>
                      <a:lnTo>
                        <a:pt x="183159" y="168186"/>
                      </a:lnTo>
                      <a:lnTo>
                        <a:pt x="189839" y="164376"/>
                      </a:lnTo>
                      <a:lnTo>
                        <a:pt x="190550" y="165646"/>
                      </a:lnTo>
                      <a:lnTo>
                        <a:pt x="191871" y="164376"/>
                      </a:lnTo>
                      <a:lnTo>
                        <a:pt x="192836" y="161836"/>
                      </a:lnTo>
                      <a:lnTo>
                        <a:pt x="194678" y="159296"/>
                      </a:lnTo>
                      <a:lnTo>
                        <a:pt x="196176" y="160566"/>
                      </a:lnTo>
                      <a:lnTo>
                        <a:pt x="197459" y="160566"/>
                      </a:lnTo>
                      <a:lnTo>
                        <a:pt x="197358" y="159296"/>
                      </a:lnTo>
                      <a:lnTo>
                        <a:pt x="196507" y="159296"/>
                      </a:lnTo>
                      <a:lnTo>
                        <a:pt x="196532" y="158026"/>
                      </a:lnTo>
                      <a:lnTo>
                        <a:pt x="199669" y="158026"/>
                      </a:lnTo>
                      <a:lnTo>
                        <a:pt x="198945" y="161836"/>
                      </a:lnTo>
                      <a:lnTo>
                        <a:pt x="202869" y="158026"/>
                      </a:lnTo>
                      <a:lnTo>
                        <a:pt x="204177" y="156756"/>
                      </a:lnTo>
                      <a:lnTo>
                        <a:pt x="206997" y="155486"/>
                      </a:lnTo>
                      <a:lnTo>
                        <a:pt x="209715" y="154216"/>
                      </a:lnTo>
                      <a:lnTo>
                        <a:pt x="210045" y="155486"/>
                      </a:lnTo>
                      <a:lnTo>
                        <a:pt x="211340" y="154216"/>
                      </a:lnTo>
                      <a:lnTo>
                        <a:pt x="213220" y="152946"/>
                      </a:lnTo>
                      <a:lnTo>
                        <a:pt x="214376" y="151676"/>
                      </a:lnTo>
                      <a:lnTo>
                        <a:pt x="217258" y="147866"/>
                      </a:lnTo>
                      <a:lnTo>
                        <a:pt x="218960" y="145326"/>
                      </a:lnTo>
                      <a:lnTo>
                        <a:pt x="222161" y="141516"/>
                      </a:lnTo>
                      <a:lnTo>
                        <a:pt x="223126" y="141516"/>
                      </a:lnTo>
                      <a:lnTo>
                        <a:pt x="224726" y="138976"/>
                      </a:lnTo>
                      <a:lnTo>
                        <a:pt x="226568" y="137706"/>
                      </a:lnTo>
                      <a:lnTo>
                        <a:pt x="225793" y="137706"/>
                      </a:lnTo>
                      <a:lnTo>
                        <a:pt x="225005" y="135166"/>
                      </a:lnTo>
                      <a:lnTo>
                        <a:pt x="226860" y="135166"/>
                      </a:lnTo>
                      <a:lnTo>
                        <a:pt x="226148" y="133896"/>
                      </a:lnTo>
                      <a:lnTo>
                        <a:pt x="222923" y="133896"/>
                      </a:lnTo>
                      <a:lnTo>
                        <a:pt x="221830" y="132626"/>
                      </a:lnTo>
                      <a:lnTo>
                        <a:pt x="220599" y="131356"/>
                      </a:lnTo>
                      <a:lnTo>
                        <a:pt x="221386" y="131356"/>
                      </a:lnTo>
                      <a:lnTo>
                        <a:pt x="222161" y="132626"/>
                      </a:lnTo>
                      <a:lnTo>
                        <a:pt x="222948" y="132626"/>
                      </a:lnTo>
                      <a:lnTo>
                        <a:pt x="222821" y="131356"/>
                      </a:lnTo>
                      <a:lnTo>
                        <a:pt x="222529" y="130086"/>
                      </a:lnTo>
                      <a:lnTo>
                        <a:pt x="220294" y="130086"/>
                      </a:lnTo>
                      <a:lnTo>
                        <a:pt x="217830" y="127546"/>
                      </a:lnTo>
                      <a:lnTo>
                        <a:pt x="225336" y="123736"/>
                      </a:lnTo>
                      <a:lnTo>
                        <a:pt x="228269" y="122466"/>
                      </a:lnTo>
                      <a:lnTo>
                        <a:pt x="225996" y="119926"/>
                      </a:lnTo>
                      <a:lnTo>
                        <a:pt x="228473" y="117386"/>
                      </a:lnTo>
                      <a:lnTo>
                        <a:pt x="228638" y="117386"/>
                      </a:lnTo>
                      <a:lnTo>
                        <a:pt x="227203" y="116116"/>
                      </a:lnTo>
                      <a:lnTo>
                        <a:pt x="222973" y="116116"/>
                      </a:lnTo>
                      <a:lnTo>
                        <a:pt x="229844" y="113576"/>
                      </a:lnTo>
                      <a:lnTo>
                        <a:pt x="231749" y="112306"/>
                      </a:lnTo>
                      <a:lnTo>
                        <a:pt x="233591" y="109766"/>
                      </a:lnTo>
                      <a:lnTo>
                        <a:pt x="236004" y="111036"/>
                      </a:lnTo>
                      <a:lnTo>
                        <a:pt x="239407" y="112306"/>
                      </a:lnTo>
                      <a:lnTo>
                        <a:pt x="238493" y="108496"/>
                      </a:lnTo>
                      <a:lnTo>
                        <a:pt x="236321" y="109766"/>
                      </a:lnTo>
                      <a:lnTo>
                        <a:pt x="237248" y="107226"/>
                      </a:lnTo>
                      <a:lnTo>
                        <a:pt x="238340" y="107226"/>
                      </a:lnTo>
                      <a:lnTo>
                        <a:pt x="237667" y="105956"/>
                      </a:lnTo>
                      <a:lnTo>
                        <a:pt x="237998" y="105956"/>
                      </a:lnTo>
                      <a:lnTo>
                        <a:pt x="238429" y="104686"/>
                      </a:lnTo>
                      <a:lnTo>
                        <a:pt x="239699" y="104686"/>
                      </a:lnTo>
                      <a:lnTo>
                        <a:pt x="240690" y="105956"/>
                      </a:lnTo>
                      <a:lnTo>
                        <a:pt x="243357" y="107226"/>
                      </a:lnTo>
                      <a:lnTo>
                        <a:pt x="243052" y="104686"/>
                      </a:lnTo>
                      <a:lnTo>
                        <a:pt x="244094" y="104686"/>
                      </a:lnTo>
                      <a:lnTo>
                        <a:pt x="248500" y="107226"/>
                      </a:lnTo>
                      <a:lnTo>
                        <a:pt x="248513" y="108496"/>
                      </a:lnTo>
                      <a:lnTo>
                        <a:pt x="249428" y="107226"/>
                      </a:lnTo>
                      <a:lnTo>
                        <a:pt x="250863" y="105956"/>
                      </a:lnTo>
                      <a:lnTo>
                        <a:pt x="249897" y="104686"/>
                      </a:lnTo>
                      <a:lnTo>
                        <a:pt x="258457" y="104686"/>
                      </a:lnTo>
                      <a:lnTo>
                        <a:pt x="262724" y="105956"/>
                      </a:lnTo>
                      <a:lnTo>
                        <a:pt x="263347" y="105956"/>
                      </a:lnTo>
                      <a:lnTo>
                        <a:pt x="263093" y="105168"/>
                      </a:lnTo>
                      <a:lnTo>
                        <a:pt x="262940" y="104686"/>
                      </a:lnTo>
                      <a:lnTo>
                        <a:pt x="262280" y="102666"/>
                      </a:lnTo>
                      <a:lnTo>
                        <a:pt x="263347" y="105410"/>
                      </a:lnTo>
                      <a:lnTo>
                        <a:pt x="264058" y="105410"/>
                      </a:lnTo>
                      <a:lnTo>
                        <a:pt x="264579" y="106680"/>
                      </a:lnTo>
                      <a:lnTo>
                        <a:pt x="267868" y="106680"/>
                      </a:lnTo>
                      <a:lnTo>
                        <a:pt x="270675" y="109220"/>
                      </a:lnTo>
                      <a:lnTo>
                        <a:pt x="271716" y="109220"/>
                      </a:lnTo>
                      <a:lnTo>
                        <a:pt x="279082" y="111760"/>
                      </a:lnTo>
                      <a:lnTo>
                        <a:pt x="280504" y="113030"/>
                      </a:lnTo>
                      <a:lnTo>
                        <a:pt x="280492" y="116840"/>
                      </a:lnTo>
                      <a:lnTo>
                        <a:pt x="279971" y="119380"/>
                      </a:lnTo>
                      <a:lnTo>
                        <a:pt x="278663" y="120650"/>
                      </a:lnTo>
                      <a:lnTo>
                        <a:pt x="280111" y="121920"/>
                      </a:lnTo>
                      <a:lnTo>
                        <a:pt x="281139" y="121920"/>
                      </a:lnTo>
                      <a:lnTo>
                        <a:pt x="282879" y="125730"/>
                      </a:lnTo>
                      <a:lnTo>
                        <a:pt x="279819" y="124460"/>
                      </a:lnTo>
                      <a:lnTo>
                        <a:pt x="278117" y="124460"/>
                      </a:lnTo>
                      <a:lnTo>
                        <a:pt x="281482" y="127000"/>
                      </a:lnTo>
                      <a:lnTo>
                        <a:pt x="279603" y="129540"/>
                      </a:lnTo>
                      <a:lnTo>
                        <a:pt x="278980" y="128270"/>
                      </a:lnTo>
                      <a:lnTo>
                        <a:pt x="275501" y="127000"/>
                      </a:lnTo>
                      <a:lnTo>
                        <a:pt x="273431" y="128270"/>
                      </a:lnTo>
                      <a:lnTo>
                        <a:pt x="269913" y="129540"/>
                      </a:lnTo>
                      <a:lnTo>
                        <a:pt x="268058" y="132080"/>
                      </a:lnTo>
                      <a:lnTo>
                        <a:pt x="267296" y="134620"/>
                      </a:lnTo>
                      <a:lnTo>
                        <a:pt x="263144" y="138430"/>
                      </a:lnTo>
                      <a:lnTo>
                        <a:pt x="260731" y="139700"/>
                      </a:lnTo>
                      <a:lnTo>
                        <a:pt x="257632" y="143510"/>
                      </a:lnTo>
                      <a:lnTo>
                        <a:pt x="256794" y="147320"/>
                      </a:lnTo>
                      <a:lnTo>
                        <a:pt x="255905" y="146050"/>
                      </a:lnTo>
                      <a:lnTo>
                        <a:pt x="253441" y="146050"/>
                      </a:lnTo>
                      <a:lnTo>
                        <a:pt x="252768" y="147320"/>
                      </a:lnTo>
                      <a:lnTo>
                        <a:pt x="253936" y="148590"/>
                      </a:lnTo>
                      <a:lnTo>
                        <a:pt x="250456" y="149860"/>
                      </a:lnTo>
                      <a:lnTo>
                        <a:pt x="249859" y="151130"/>
                      </a:lnTo>
                      <a:lnTo>
                        <a:pt x="247269" y="153670"/>
                      </a:lnTo>
                      <a:lnTo>
                        <a:pt x="246418" y="154940"/>
                      </a:lnTo>
                      <a:lnTo>
                        <a:pt x="243230" y="156210"/>
                      </a:lnTo>
                      <a:lnTo>
                        <a:pt x="241350" y="156210"/>
                      </a:lnTo>
                      <a:lnTo>
                        <a:pt x="238734" y="157480"/>
                      </a:lnTo>
                      <a:lnTo>
                        <a:pt x="235775" y="158750"/>
                      </a:lnTo>
                      <a:lnTo>
                        <a:pt x="238518" y="162560"/>
                      </a:lnTo>
                      <a:lnTo>
                        <a:pt x="239128" y="162560"/>
                      </a:lnTo>
                      <a:lnTo>
                        <a:pt x="235546" y="165100"/>
                      </a:lnTo>
                      <a:lnTo>
                        <a:pt x="234226" y="165100"/>
                      </a:lnTo>
                      <a:lnTo>
                        <a:pt x="233387" y="166370"/>
                      </a:lnTo>
                      <a:lnTo>
                        <a:pt x="233197" y="165100"/>
                      </a:lnTo>
                      <a:lnTo>
                        <a:pt x="233006" y="163830"/>
                      </a:lnTo>
                      <a:lnTo>
                        <a:pt x="228333" y="165100"/>
                      </a:lnTo>
                      <a:lnTo>
                        <a:pt x="228257" y="163830"/>
                      </a:lnTo>
                      <a:lnTo>
                        <a:pt x="226390" y="166370"/>
                      </a:lnTo>
                      <a:lnTo>
                        <a:pt x="226580" y="166370"/>
                      </a:lnTo>
                      <a:lnTo>
                        <a:pt x="228727" y="168910"/>
                      </a:lnTo>
                      <a:lnTo>
                        <a:pt x="228993" y="170180"/>
                      </a:lnTo>
                      <a:lnTo>
                        <a:pt x="227279" y="170180"/>
                      </a:lnTo>
                      <a:lnTo>
                        <a:pt x="223837" y="171450"/>
                      </a:lnTo>
                      <a:lnTo>
                        <a:pt x="222478" y="172720"/>
                      </a:lnTo>
                      <a:lnTo>
                        <a:pt x="220078" y="177800"/>
                      </a:lnTo>
                      <a:lnTo>
                        <a:pt x="220446" y="179070"/>
                      </a:lnTo>
                      <a:lnTo>
                        <a:pt x="220967" y="182880"/>
                      </a:lnTo>
                      <a:lnTo>
                        <a:pt x="221678" y="182880"/>
                      </a:lnTo>
                      <a:lnTo>
                        <a:pt x="222415" y="185420"/>
                      </a:lnTo>
                      <a:lnTo>
                        <a:pt x="223761" y="184150"/>
                      </a:lnTo>
                      <a:lnTo>
                        <a:pt x="225018" y="187960"/>
                      </a:lnTo>
                      <a:lnTo>
                        <a:pt x="224459" y="189230"/>
                      </a:lnTo>
                      <a:lnTo>
                        <a:pt x="222948" y="194310"/>
                      </a:lnTo>
                      <a:lnTo>
                        <a:pt x="224904" y="195580"/>
                      </a:lnTo>
                      <a:lnTo>
                        <a:pt x="227393" y="199390"/>
                      </a:lnTo>
                      <a:lnTo>
                        <a:pt x="227812" y="200660"/>
                      </a:lnTo>
                      <a:lnTo>
                        <a:pt x="228828" y="201930"/>
                      </a:lnTo>
                      <a:lnTo>
                        <a:pt x="225437" y="201930"/>
                      </a:lnTo>
                      <a:lnTo>
                        <a:pt x="225907" y="203200"/>
                      </a:lnTo>
                      <a:lnTo>
                        <a:pt x="225806" y="205740"/>
                      </a:lnTo>
                      <a:lnTo>
                        <a:pt x="226936" y="207010"/>
                      </a:lnTo>
                      <a:lnTo>
                        <a:pt x="226428" y="209550"/>
                      </a:lnTo>
                      <a:lnTo>
                        <a:pt x="226466" y="210820"/>
                      </a:lnTo>
                      <a:lnTo>
                        <a:pt x="223189" y="212090"/>
                      </a:lnTo>
                      <a:lnTo>
                        <a:pt x="224523" y="215900"/>
                      </a:lnTo>
                      <a:lnTo>
                        <a:pt x="224917" y="217170"/>
                      </a:lnTo>
                      <a:lnTo>
                        <a:pt x="224993" y="219710"/>
                      </a:lnTo>
                      <a:lnTo>
                        <a:pt x="224650" y="220980"/>
                      </a:lnTo>
                      <a:lnTo>
                        <a:pt x="225310" y="223520"/>
                      </a:lnTo>
                      <a:lnTo>
                        <a:pt x="226720" y="224790"/>
                      </a:lnTo>
                      <a:lnTo>
                        <a:pt x="228358" y="224790"/>
                      </a:lnTo>
                      <a:lnTo>
                        <a:pt x="229120" y="223520"/>
                      </a:lnTo>
                      <a:lnTo>
                        <a:pt x="228473" y="222250"/>
                      </a:lnTo>
                      <a:lnTo>
                        <a:pt x="230898" y="222250"/>
                      </a:lnTo>
                      <a:lnTo>
                        <a:pt x="232752" y="224790"/>
                      </a:lnTo>
                      <a:lnTo>
                        <a:pt x="235585" y="226060"/>
                      </a:lnTo>
                      <a:lnTo>
                        <a:pt x="241820" y="228600"/>
                      </a:lnTo>
                      <a:lnTo>
                        <a:pt x="241096" y="229870"/>
                      </a:lnTo>
                      <a:lnTo>
                        <a:pt x="240258" y="231140"/>
                      </a:lnTo>
                      <a:lnTo>
                        <a:pt x="244487" y="229870"/>
                      </a:lnTo>
                      <a:lnTo>
                        <a:pt x="246634" y="228600"/>
                      </a:lnTo>
                      <a:lnTo>
                        <a:pt x="248119" y="228600"/>
                      </a:lnTo>
                      <a:lnTo>
                        <a:pt x="247103" y="229870"/>
                      </a:lnTo>
                      <a:lnTo>
                        <a:pt x="246443" y="231140"/>
                      </a:lnTo>
                      <a:lnTo>
                        <a:pt x="246697" y="229870"/>
                      </a:lnTo>
                      <a:lnTo>
                        <a:pt x="245859" y="229870"/>
                      </a:lnTo>
                      <a:lnTo>
                        <a:pt x="245618" y="231140"/>
                      </a:lnTo>
                      <a:lnTo>
                        <a:pt x="240258" y="231140"/>
                      </a:lnTo>
                      <a:lnTo>
                        <a:pt x="239661" y="231140"/>
                      </a:lnTo>
                      <a:lnTo>
                        <a:pt x="238798" y="232410"/>
                      </a:lnTo>
                      <a:lnTo>
                        <a:pt x="239369" y="232410"/>
                      </a:lnTo>
                      <a:lnTo>
                        <a:pt x="239991" y="233680"/>
                      </a:lnTo>
                      <a:lnTo>
                        <a:pt x="238709" y="233680"/>
                      </a:lnTo>
                      <a:lnTo>
                        <a:pt x="238950" y="234950"/>
                      </a:lnTo>
                      <a:lnTo>
                        <a:pt x="238810" y="236220"/>
                      </a:lnTo>
                      <a:lnTo>
                        <a:pt x="243522" y="236220"/>
                      </a:lnTo>
                      <a:lnTo>
                        <a:pt x="245148" y="233680"/>
                      </a:lnTo>
                      <a:lnTo>
                        <a:pt x="245516" y="232410"/>
                      </a:lnTo>
                      <a:lnTo>
                        <a:pt x="245846" y="232410"/>
                      </a:lnTo>
                      <a:lnTo>
                        <a:pt x="246380" y="233680"/>
                      </a:lnTo>
                      <a:lnTo>
                        <a:pt x="249605" y="234950"/>
                      </a:lnTo>
                      <a:lnTo>
                        <a:pt x="250520" y="234950"/>
                      </a:lnTo>
                      <a:lnTo>
                        <a:pt x="249974" y="237401"/>
                      </a:lnTo>
                      <a:lnTo>
                        <a:pt x="250571" y="237172"/>
                      </a:lnTo>
                      <a:lnTo>
                        <a:pt x="250901" y="236220"/>
                      </a:lnTo>
                      <a:lnTo>
                        <a:pt x="251675" y="236220"/>
                      </a:lnTo>
                      <a:lnTo>
                        <a:pt x="251498" y="236816"/>
                      </a:lnTo>
                      <a:lnTo>
                        <a:pt x="253085" y="236220"/>
                      </a:lnTo>
                      <a:lnTo>
                        <a:pt x="264071" y="236220"/>
                      </a:lnTo>
                      <a:lnTo>
                        <a:pt x="267017" y="233680"/>
                      </a:lnTo>
                      <a:lnTo>
                        <a:pt x="267449" y="236220"/>
                      </a:lnTo>
                      <a:lnTo>
                        <a:pt x="270116" y="234950"/>
                      </a:lnTo>
                      <a:lnTo>
                        <a:pt x="269925" y="233680"/>
                      </a:lnTo>
                      <a:lnTo>
                        <a:pt x="269570" y="232410"/>
                      </a:lnTo>
                      <a:lnTo>
                        <a:pt x="272643" y="231140"/>
                      </a:lnTo>
                      <a:lnTo>
                        <a:pt x="275729" y="232410"/>
                      </a:lnTo>
                      <a:lnTo>
                        <a:pt x="279920" y="231140"/>
                      </a:lnTo>
                      <a:lnTo>
                        <a:pt x="282625" y="231140"/>
                      </a:lnTo>
                      <a:lnTo>
                        <a:pt x="284251" y="229870"/>
                      </a:lnTo>
                      <a:lnTo>
                        <a:pt x="284949" y="228600"/>
                      </a:lnTo>
                      <a:lnTo>
                        <a:pt x="285991" y="227330"/>
                      </a:lnTo>
                      <a:lnTo>
                        <a:pt x="286283" y="228600"/>
                      </a:lnTo>
                      <a:lnTo>
                        <a:pt x="288302" y="229870"/>
                      </a:lnTo>
                      <a:lnTo>
                        <a:pt x="289242" y="229870"/>
                      </a:lnTo>
                      <a:lnTo>
                        <a:pt x="289280" y="228600"/>
                      </a:lnTo>
                      <a:lnTo>
                        <a:pt x="291236" y="228600"/>
                      </a:lnTo>
                      <a:lnTo>
                        <a:pt x="290690" y="227330"/>
                      </a:lnTo>
                      <a:lnTo>
                        <a:pt x="289610" y="224790"/>
                      </a:lnTo>
                      <a:lnTo>
                        <a:pt x="293230" y="227330"/>
                      </a:lnTo>
                      <a:lnTo>
                        <a:pt x="299516" y="224790"/>
                      </a:lnTo>
                      <a:lnTo>
                        <a:pt x="310121" y="224790"/>
                      </a:lnTo>
                      <a:lnTo>
                        <a:pt x="310070" y="226060"/>
                      </a:lnTo>
                      <a:lnTo>
                        <a:pt x="312508" y="226060"/>
                      </a:lnTo>
                      <a:lnTo>
                        <a:pt x="315023" y="224790"/>
                      </a:lnTo>
                      <a:lnTo>
                        <a:pt x="316992" y="223520"/>
                      </a:lnTo>
                      <a:lnTo>
                        <a:pt x="318287" y="222250"/>
                      </a:lnTo>
                      <a:lnTo>
                        <a:pt x="322186" y="218440"/>
                      </a:lnTo>
                      <a:lnTo>
                        <a:pt x="328396" y="213360"/>
                      </a:lnTo>
                      <a:lnTo>
                        <a:pt x="334289" y="209550"/>
                      </a:lnTo>
                      <a:lnTo>
                        <a:pt x="340956" y="205740"/>
                      </a:lnTo>
                      <a:lnTo>
                        <a:pt x="346138" y="199390"/>
                      </a:lnTo>
                      <a:lnTo>
                        <a:pt x="351828" y="193040"/>
                      </a:lnTo>
                      <a:lnTo>
                        <a:pt x="357136" y="187960"/>
                      </a:lnTo>
                      <a:lnTo>
                        <a:pt x="361810" y="184150"/>
                      </a:lnTo>
                      <a:lnTo>
                        <a:pt x="364337" y="182880"/>
                      </a:lnTo>
                      <a:lnTo>
                        <a:pt x="366966" y="179070"/>
                      </a:lnTo>
                      <a:lnTo>
                        <a:pt x="367499" y="176530"/>
                      </a:lnTo>
                      <a:lnTo>
                        <a:pt x="370205" y="17145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577" name="object 117">
                  <a:extLst>
                    <a:ext uri="{FF2B5EF4-FFF2-40B4-BE49-F238E27FC236}">
                      <a16:creationId xmlns:a16="http://schemas.microsoft.com/office/drawing/2014/main" id="{5EA6CF1B-920D-7341-C999-CA6A4960F848}"/>
                    </a:ext>
                  </a:extLst>
                </p:cNvPr>
                <p:cNvPicPr/>
                <p:nvPr/>
              </p:nvPicPr>
              <p:blipFill>
                <a:blip r:embed="rId8" cstate="print"/>
                <a:stretch>
                  <a:fillRect/>
                </a:stretch>
              </p:blipFill>
              <p:spPr>
                <a:xfrm>
                  <a:off x="3073416" y="1977602"/>
                  <a:ext cx="138404" cy="96012"/>
                </a:xfrm>
                <a:prstGeom prst="rect">
                  <a:avLst/>
                </a:prstGeom>
              </p:spPr>
            </p:pic>
            <p:sp>
              <p:nvSpPr>
                <p:cNvPr id="578" name="object 118">
                  <a:extLst>
                    <a:ext uri="{FF2B5EF4-FFF2-40B4-BE49-F238E27FC236}">
                      <a16:creationId xmlns:a16="http://schemas.microsoft.com/office/drawing/2014/main" id="{912AF668-401C-A131-637A-6F0746B5D904}"/>
                    </a:ext>
                  </a:extLst>
                </p:cNvPr>
                <p:cNvSpPr/>
                <p:nvPr/>
              </p:nvSpPr>
              <p:spPr>
                <a:xfrm>
                  <a:off x="2933687" y="1905012"/>
                  <a:ext cx="383540" cy="3194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3539" h="319405">
                      <a:moveTo>
                        <a:pt x="85826" y="278879"/>
                      </a:moveTo>
                      <a:lnTo>
                        <a:pt x="84772" y="278193"/>
                      </a:lnTo>
                      <a:lnTo>
                        <a:pt x="82092" y="276453"/>
                      </a:lnTo>
                      <a:lnTo>
                        <a:pt x="80137" y="275183"/>
                      </a:lnTo>
                      <a:lnTo>
                        <a:pt x="80378" y="275094"/>
                      </a:lnTo>
                      <a:lnTo>
                        <a:pt x="80619" y="275005"/>
                      </a:lnTo>
                      <a:lnTo>
                        <a:pt x="81699" y="274612"/>
                      </a:lnTo>
                      <a:lnTo>
                        <a:pt x="81305" y="274332"/>
                      </a:lnTo>
                      <a:lnTo>
                        <a:pt x="80568" y="273900"/>
                      </a:lnTo>
                      <a:lnTo>
                        <a:pt x="79324" y="273621"/>
                      </a:lnTo>
                      <a:lnTo>
                        <a:pt x="78625" y="272897"/>
                      </a:lnTo>
                      <a:lnTo>
                        <a:pt x="78790" y="272313"/>
                      </a:lnTo>
                      <a:lnTo>
                        <a:pt x="79070" y="269798"/>
                      </a:lnTo>
                      <a:lnTo>
                        <a:pt x="78994" y="269024"/>
                      </a:lnTo>
                      <a:lnTo>
                        <a:pt x="78740" y="268732"/>
                      </a:lnTo>
                      <a:lnTo>
                        <a:pt x="78422" y="268465"/>
                      </a:lnTo>
                      <a:lnTo>
                        <a:pt x="78028" y="268224"/>
                      </a:lnTo>
                      <a:lnTo>
                        <a:pt x="78219" y="267741"/>
                      </a:lnTo>
                      <a:lnTo>
                        <a:pt x="78232" y="267296"/>
                      </a:lnTo>
                      <a:lnTo>
                        <a:pt x="78359" y="267004"/>
                      </a:lnTo>
                      <a:lnTo>
                        <a:pt x="78676" y="266522"/>
                      </a:lnTo>
                      <a:lnTo>
                        <a:pt x="78244" y="266903"/>
                      </a:lnTo>
                      <a:lnTo>
                        <a:pt x="78460" y="266687"/>
                      </a:lnTo>
                      <a:lnTo>
                        <a:pt x="78676" y="266522"/>
                      </a:lnTo>
                      <a:lnTo>
                        <a:pt x="78740" y="266382"/>
                      </a:lnTo>
                      <a:lnTo>
                        <a:pt x="75730" y="267411"/>
                      </a:lnTo>
                      <a:lnTo>
                        <a:pt x="71958" y="269798"/>
                      </a:lnTo>
                      <a:lnTo>
                        <a:pt x="68732" y="269443"/>
                      </a:lnTo>
                      <a:lnTo>
                        <a:pt x="67449" y="269417"/>
                      </a:lnTo>
                      <a:lnTo>
                        <a:pt x="66192" y="269176"/>
                      </a:lnTo>
                      <a:lnTo>
                        <a:pt x="62725" y="268808"/>
                      </a:lnTo>
                      <a:lnTo>
                        <a:pt x="58839" y="266776"/>
                      </a:lnTo>
                      <a:lnTo>
                        <a:pt x="58623" y="266687"/>
                      </a:lnTo>
                      <a:lnTo>
                        <a:pt x="57315" y="265988"/>
                      </a:lnTo>
                      <a:lnTo>
                        <a:pt x="54800" y="264807"/>
                      </a:lnTo>
                      <a:lnTo>
                        <a:pt x="51473" y="262458"/>
                      </a:lnTo>
                      <a:lnTo>
                        <a:pt x="50050" y="260223"/>
                      </a:lnTo>
                      <a:lnTo>
                        <a:pt x="48628" y="258495"/>
                      </a:lnTo>
                      <a:lnTo>
                        <a:pt x="48272" y="258089"/>
                      </a:lnTo>
                      <a:lnTo>
                        <a:pt x="47879" y="257860"/>
                      </a:lnTo>
                      <a:lnTo>
                        <a:pt x="45631" y="256667"/>
                      </a:lnTo>
                      <a:lnTo>
                        <a:pt x="45859" y="256730"/>
                      </a:lnTo>
                      <a:lnTo>
                        <a:pt x="45237" y="256336"/>
                      </a:lnTo>
                      <a:lnTo>
                        <a:pt x="43891" y="255549"/>
                      </a:lnTo>
                      <a:lnTo>
                        <a:pt x="42519" y="254635"/>
                      </a:lnTo>
                      <a:lnTo>
                        <a:pt x="42646" y="254025"/>
                      </a:lnTo>
                      <a:lnTo>
                        <a:pt x="42760" y="253479"/>
                      </a:lnTo>
                      <a:lnTo>
                        <a:pt x="42659" y="253123"/>
                      </a:lnTo>
                      <a:lnTo>
                        <a:pt x="42227" y="252463"/>
                      </a:lnTo>
                      <a:lnTo>
                        <a:pt x="41871" y="251650"/>
                      </a:lnTo>
                      <a:lnTo>
                        <a:pt x="41681" y="250901"/>
                      </a:lnTo>
                      <a:lnTo>
                        <a:pt x="41579" y="250634"/>
                      </a:lnTo>
                      <a:lnTo>
                        <a:pt x="41490" y="250177"/>
                      </a:lnTo>
                      <a:lnTo>
                        <a:pt x="41440" y="249974"/>
                      </a:lnTo>
                      <a:lnTo>
                        <a:pt x="41160" y="249745"/>
                      </a:lnTo>
                      <a:lnTo>
                        <a:pt x="40906" y="249707"/>
                      </a:lnTo>
                      <a:lnTo>
                        <a:pt x="40906" y="257238"/>
                      </a:lnTo>
                      <a:lnTo>
                        <a:pt x="40220" y="255549"/>
                      </a:lnTo>
                      <a:lnTo>
                        <a:pt x="40906" y="257238"/>
                      </a:lnTo>
                      <a:lnTo>
                        <a:pt x="40906" y="249707"/>
                      </a:lnTo>
                      <a:lnTo>
                        <a:pt x="39573" y="249796"/>
                      </a:lnTo>
                      <a:lnTo>
                        <a:pt x="39077" y="249885"/>
                      </a:lnTo>
                      <a:lnTo>
                        <a:pt x="38912" y="249923"/>
                      </a:lnTo>
                      <a:lnTo>
                        <a:pt x="38912" y="258089"/>
                      </a:lnTo>
                      <a:lnTo>
                        <a:pt x="38595" y="258229"/>
                      </a:lnTo>
                      <a:lnTo>
                        <a:pt x="38912" y="258089"/>
                      </a:lnTo>
                      <a:lnTo>
                        <a:pt x="38912" y="249923"/>
                      </a:lnTo>
                      <a:lnTo>
                        <a:pt x="38544" y="249974"/>
                      </a:lnTo>
                      <a:lnTo>
                        <a:pt x="38328" y="250050"/>
                      </a:lnTo>
                      <a:lnTo>
                        <a:pt x="37896" y="250431"/>
                      </a:lnTo>
                      <a:lnTo>
                        <a:pt x="37630" y="250634"/>
                      </a:lnTo>
                      <a:lnTo>
                        <a:pt x="37401" y="250901"/>
                      </a:lnTo>
                      <a:lnTo>
                        <a:pt x="37299" y="252234"/>
                      </a:lnTo>
                      <a:lnTo>
                        <a:pt x="37757" y="253479"/>
                      </a:lnTo>
                      <a:lnTo>
                        <a:pt x="37439" y="253390"/>
                      </a:lnTo>
                      <a:lnTo>
                        <a:pt x="37439" y="259829"/>
                      </a:lnTo>
                      <a:lnTo>
                        <a:pt x="37312" y="259880"/>
                      </a:lnTo>
                      <a:lnTo>
                        <a:pt x="37439" y="259829"/>
                      </a:lnTo>
                      <a:lnTo>
                        <a:pt x="37439" y="253390"/>
                      </a:lnTo>
                      <a:lnTo>
                        <a:pt x="35610" y="252857"/>
                      </a:lnTo>
                      <a:lnTo>
                        <a:pt x="35610" y="260502"/>
                      </a:lnTo>
                      <a:lnTo>
                        <a:pt x="35052" y="260578"/>
                      </a:lnTo>
                      <a:lnTo>
                        <a:pt x="35598" y="260502"/>
                      </a:lnTo>
                      <a:lnTo>
                        <a:pt x="35610" y="252857"/>
                      </a:lnTo>
                      <a:lnTo>
                        <a:pt x="34963" y="252653"/>
                      </a:lnTo>
                      <a:lnTo>
                        <a:pt x="34391" y="252526"/>
                      </a:lnTo>
                      <a:lnTo>
                        <a:pt x="33502" y="252552"/>
                      </a:lnTo>
                      <a:lnTo>
                        <a:pt x="33502" y="260896"/>
                      </a:lnTo>
                      <a:lnTo>
                        <a:pt x="33020" y="261099"/>
                      </a:lnTo>
                      <a:lnTo>
                        <a:pt x="33020" y="264807"/>
                      </a:lnTo>
                      <a:lnTo>
                        <a:pt x="32981" y="264350"/>
                      </a:lnTo>
                      <a:lnTo>
                        <a:pt x="32931" y="265150"/>
                      </a:lnTo>
                      <a:lnTo>
                        <a:pt x="32816" y="265582"/>
                      </a:lnTo>
                      <a:lnTo>
                        <a:pt x="32931" y="265150"/>
                      </a:lnTo>
                      <a:lnTo>
                        <a:pt x="32931" y="264325"/>
                      </a:lnTo>
                      <a:lnTo>
                        <a:pt x="32766" y="264236"/>
                      </a:lnTo>
                      <a:lnTo>
                        <a:pt x="32981" y="264350"/>
                      </a:lnTo>
                      <a:lnTo>
                        <a:pt x="33020" y="264807"/>
                      </a:lnTo>
                      <a:lnTo>
                        <a:pt x="33020" y="261099"/>
                      </a:lnTo>
                      <a:lnTo>
                        <a:pt x="32766" y="261200"/>
                      </a:lnTo>
                      <a:lnTo>
                        <a:pt x="32981" y="261086"/>
                      </a:lnTo>
                      <a:lnTo>
                        <a:pt x="33489" y="260896"/>
                      </a:lnTo>
                      <a:lnTo>
                        <a:pt x="33502" y="252552"/>
                      </a:lnTo>
                      <a:lnTo>
                        <a:pt x="32486" y="252577"/>
                      </a:lnTo>
                      <a:lnTo>
                        <a:pt x="32486" y="266065"/>
                      </a:lnTo>
                      <a:lnTo>
                        <a:pt x="30302" y="268579"/>
                      </a:lnTo>
                      <a:lnTo>
                        <a:pt x="29603" y="268681"/>
                      </a:lnTo>
                      <a:lnTo>
                        <a:pt x="29603" y="271475"/>
                      </a:lnTo>
                      <a:lnTo>
                        <a:pt x="28956" y="271221"/>
                      </a:lnTo>
                      <a:lnTo>
                        <a:pt x="27178" y="270510"/>
                      </a:lnTo>
                      <a:lnTo>
                        <a:pt x="27178" y="272910"/>
                      </a:lnTo>
                      <a:lnTo>
                        <a:pt x="27127" y="271716"/>
                      </a:lnTo>
                      <a:lnTo>
                        <a:pt x="27178" y="272910"/>
                      </a:lnTo>
                      <a:lnTo>
                        <a:pt x="27178" y="270510"/>
                      </a:lnTo>
                      <a:lnTo>
                        <a:pt x="26606" y="270268"/>
                      </a:lnTo>
                      <a:lnTo>
                        <a:pt x="28956" y="271221"/>
                      </a:lnTo>
                      <a:lnTo>
                        <a:pt x="29603" y="271475"/>
                      </a:lnTo>
                      <a:lnTo>
                        <a:pt x="29603" y="268681"/>
                      </a:lnTo>
                      <a:lnTo>
                        <a:pt x="28409" y="268833"/>
                      </a:lnTo>
                      <a:lnTo>
                        <a:pt x="30289" y="268579"/>
                      </a:lnTo>
                      <a:lnTo>
                        <a:pt x="32486" y="266065"/>
                      </a:lnTo>
                      <a:lnTo>
                        <a:pt x="32486" y="252577"/>
                      </a:lnTo>
                      <a:lnTo>
                        <a:pt x="32308" y="252577"/>
                      </a:lnTo>
                      <a:lnTo>
                        <a:pt x="32308" y="261480"/>
                      </a:lnTo>
                      <a:lnTo>
                        <a:pt x="32156" y="261721"/>
                      </a:lnTo>
                      <a:lnTo>
                        <a:pt x="31711" y="262331"/>
                      </a:lnTo>
                      <a:lnTo>
                        <a:pt x="31711" y="262864"/>
                      </a:lnTo>
                      <a:lnTo>
                        <a:pt x="31927" y="263309"/>
                      </a:lnTo>
                      <a:lnTo>
                        <a:pt x="31711" y="262864"/>
                      </a:lnTo>
                      <a:lnTo>
                        <a:pt x="31699" y="262331"/>
                      </a:lnTo>
                      <a:lnTo>
                        <a:pt x="32080" y="261734"/>
                      </a:lnTo>
                      <a:lnTo>
                        <a:pt x="32308" y="261480"/>
                      </a:lnTo>
                      <a:lnTo>
                        <a:pt x="32308" y="252577"/>
                      </a:lnTo>
                      <a:lnTo>
                        <a:pt x="31940" y="252577"/>
                      </a:lnTo>
                      <a:lnTo>
                        <a:pt x="32054" y="253123"/>
                      </a:lnTo>
                      <a:lnTo>
                        <a:pt x="30276" y="254025"/>
                      </a:lnTo>
                      <a:lnTo>
                        <a:pt x="29883" y="253974"/>
                      </a:lnTo>
                      <a:lnTo>
                        <a:pt x="29095" y="253923"/>
                      </a:lnTo>
                      <a:lnTo>
                        <a:pt x="27724" y="253606"/>
                      </a:lnTo>
                      <a:lnTo>
                        <a:pt x="26657" y="253542"/>
                      </a:lnTo>
                      <a:lnTo>
                        <a:pt x="24803" y="253606"/>
                      </a:lnTo>
                      <a:lnTo>
                        <a:pt x="23444" y="253720"/>
                      </a:lnTo>
                      <a:lnTo>
                        <a:pt x="22885" y="253809"/>
                      </a:lnTo>
                      <a:lnTo>
                        <a:pt x="22885" y="273913"/>
                      </a:lnTo>
                      <a:lnTo>
                        <a:pt x="22669" y="273939"/>
                      </a:lnTo>
                      <a:lnTo>
                        <a:pt x="22885" y="273913"/>
                      </a:lnTo>
                      <a:lnTo>
                        <a:pt x="22885" y="253809"/>
                      </a:lnTo>
                      <a:lnTo>
                        <a:pt x="21348" y="254050"/>
                      </a:lnTo>
                      <a:lnTo>
                        <a:pt x="21628" y="254571"/>
                      </a:lnTo>
                      <a:lnTo>
                        <a:pt x="19964" y="256260"/>
                      </a:lnTo>
                      <a:lnTo>
                        <a:pt x="19240" y="256641"/>
                      </a:lnTo>
                      <a:lnTo>
                        <a:pt x="18211" y="257441"/>
                      </a:lnTo>
                      <a:lnTo>
                        <a:pt x="16891" y="258330"/>
                      </a:lnTo>
                      <a:lnTo>
                        <a:pt x="16319" y="258394"/>
                      </a:lnTo>
                      <a:lnTo>
                        <a:pt x="15532" y="258038"/>
                      </a:lnTo>
                      <a:lnTo>
                        <a:pt x="15532" y="273380"/>
                      </a:lnTo>
                      <a:lnTo>
                        <a:pt x="14643" y="273786"/>
                      </a:lnTo>
                      <a:lnTo>
                        <a:pt x="15532" y="273380"/>
                      </a:lnTo>
                      <a:lnTo>
                        <a:pt x="15532" y="258038"/>
                      </a:lnTo>
                      <a:lnTo>
                        <a:pt x="14960" y="257644"/>
                      </a:lnTo>
                      <a:lnTo>
                        <a:pt x="14287" y="257441"/>
                      </a:lnTo>
                      <a:lnTo>
                        <a:pt x="14160" y="257403"/>
                      </a:lnTo>
                      <a:lnTo>
                        <a:pt x="13233" y="257378"/>
                      </a:lnTo>
                      <a:lnTo>
                        <a:pt x="11849" y="257441"/>
                      </a:lnTo>
                      <a:lnTo>
                        <a:pt x="11582" y="257378"/>
                      </a:lnTo>
                      <a:lnTo>
                        <a:pt x="11404" y="257314"/>
                      </a:lnTo>
                      <a:lnTo>
                        <a:pt x="10502" y="257149"/>
                      </a:lnTo>
                      <a:lnTo>
                        <a:pt x="9715" y="256819"/>
                      </a:lnTo>
                      <a:lnTo>
                        <a:pt x="8166" y="256387"/>
                      </a:lnTo>
                      <a:lnTo>
                        <a:pt x="8166" y="273786"/>
                      </a:lnTo>
                      <a:lnTo>
                        <a:pt x="4546" y="274205"/>
                      </a:lnTo>
                      <a:lnTo>
                        <a:pt x="8166" y="273786"/>
                      </a:lnTo>
                      <a:lnTo>
                        <a:pt x="8166" y="256387"/>
                      </a:lnTo>
                      <a:lnTo>
                        <a:pt x="7975" y="256324"/>
                      </a:lnTo>
                      <a:lnTo>
                        <a:pt x="7531" y="256260"/>
                      </a:lnTo>
                      <a:lnTo>
                        <a:pt x="7175" y="256209"/>
                      </a:lnTo>
                      <a:lnTo>
                        <a:pt x="6400" y="256044"/>
                      </a:lnTo>
                      <a:lnTo>
                        <a:pt x="5473" y="255955"/>
                      </a:lnTo>
                      <a:lnTo>
                        <a:pt x="4737" y="255955"/>
                      </a:lnTo>
                      <a:lnTo>
                        <a:pt x="4584" y="256171"/>
                      </a:lnTo>
                      <a:lnTo>
                        <a:pt x="4432" y="256171"/>
                      </a:lnTo>
                      <a:lnTo>
                        <a:pt x="4114" y="257733"/>
                      </a:lnTo>
                      <a:lnTo>
                        <a:pt x="2197" y="258635"/>
                      </a:lnTo>
                      <a:lnTo>
                        <a:pt x="0" y="259842"/>
                      </a:lnTo>
                      <a:lnTo>
                        <a:pt x="1282" y="260616"/>
                      </a:lnTo>
                      <a:lnTo>
                        <a:pt x="2501" y="261391"/>
                      </a:lnTo>
                      <a:lnTo>
                        <a:pt x="3797" y="262089"/>
                      </a:lnTo>
                      <a:lnTo>
                        <a:pt x="3022" y="262864"/>
                      </a:lnTo>
                      <a:lnTo>
                        <a:pt x="2311" y="263791"/>
                      </a:lnTo>
                      <a:lnTo>
                        <a:pt x="1333" y="264261"/>
                      </a:lnTo>
                      <a:lnTo>
                        <a:pt x="2298" y="264922"/>
                      </a:lnTo>
                      <a:lnTo>
                        <a:pt x="2768" y="265277"/>
                      </a:lnTo>
                      <a:lnTo>
                        <a:pt x="2882" y="265595"/>
                      </a:lnTo>
                      <a:lnTo>
                        <a:pt x="2984" y="266941"/>
                      </a:lnTo>
                      <a:lnTo>
                        <a:pt x="2870" y="268351"/>
                      </a:lnTo>
                      <a:lnTo>
                        <a:pt x="2971" y="268503"/>
                      </a:lnTo>
                      <a:lnTo>
                        <a:pt x="3403" y="268871"/>
                      </a:lnTo>
                      <a:lnTo>
                        <a:pt x="3759" y="269011"/>
                      </a:lnTo>
                      <a:lnTo>
                        <a:pt x="4241" y="269138"/>
                      </a:lnTo>
                      <a:lnTo>
                        <a:pt x="4902" y="269684"/>
                      </a:lnTo>
                      <a:lnTo>
                        <a:pt x="5676" y="270268"/>
                      </a:lnTo>
                      <a:lnTo>
                        <a:pt x="6413" y="270941"/>
                      </a:lnTo>
                      <a:lnTo>
                        <a:pt x="6616" y="271208"/>
                      </a:lnTo>
                      <a:lnTo>
                        <a:pt x="7200" y="271919"/>
                      </a:lnTo>
                      <a:lnTo>
                        <a:pt x="7315" y="272364"/>
                      </a:lnTo>
                      <a:lnTo>
                        <a:pt x="6565" y="272427"/>
                      </a:lnTo>
                      <a:lnTo>
                        <a:pt x="6159" y="272732"/>
                      </a:lnTo>
                      <a:lnTo>
                        <a:pt x="4902" y="272821"/>
                      </a:lnTo>
                      <a:lnTo>
                        <a:pt x="4152" y="272605"/>
                      </a:lnTo>
                      <a:lnTo>
                        <a:pt x="3962" y="272999"/>
                      </a:lnTo>
                      <a:lnTo>
                        <a:pt x="3606" y="273215"/>
                      </a:lnTo>
                      <a:lnTo>
                        <a:pt x="3022" y="273431"/>
                      </a:lnTo>
                      <a:lnTo>
                        <a:pt x="2705" y="273431"/>
                      </a:lnTo>
                      <a:lnTo>
                        <a:pt x="2730" y="274777"/>
                      </a:lnTo>
                      <a:lnTo>
                        <a:pt x="2654" y="275005"/>
                      </a:lnTo>
                      <a:lnTo>
                        <a:pt x="2489" y="275094"/>
                      </a:lnTo>
                      <a:lnTo>
                        <a:pt x="2286" y="275259"/>
                      </a:lnTo>
                      <a:lnTo>
                        <a:pt x="1498" y="276758"/>
                      </a:lnTo>
                      <a:lnTo>
                        <a:pt x="2501" y="277837"/>
                      </a:lnTo>
                      <a:lnTo>
                        <a:pt x="2794" y="279234"/>
                      </a:lnTo>
                      <a:lnTo>
                        <a:pt x="2895" y="279996"/>
                      </a:lnTo>
                      <a:lnTo>
                        <a:pt x="2705" y="280568"/>
                      </a:lnTo>
                      <a:lnTo>
                        <a:pt x="3949" y="282994"/>
                      </a:lnTo>
                      <a:lnTo>
                        <a:pt x="5702" y="283768"/>
                      </a:lnTo>
                      <a:lnTo>
                        <a:pt x="5829" y="285394"/>
                      </a:lnTo>
                      <a:lnTo>
                        <a:pt x="5600" y="285267"/>
                      </a:lnTo>
                      <a:lnTo>
                        <a:pt x="5638" y="285394"/>
                      </a:lnTo>
                      <a:lnTo>
                        <a:pt x="6057" y="285838"/>
                      </a:lnTo>
                      <a:lnTo>
                        <a:pt x="6642" y="286321"/>
                      </a:lnTo>
                      <a:lnTo>
                        <a:pt x="7073" y="286905"/>
                      </a:lnTo>
                      <a:lnTo>
                        <a:pt x="7899" y="285394"/>
                      </a:lnTo>
                      <a:lnTo>
                        <a:pt x="8026" y="284848"/>
                      </a:lnTo>
                      <a:lnTo>
                        <a:pt x="8496" y="281419"/>
                      </a:lnTo>
                      <a:lnTo>
                        <a:pt x="10922" y="283057"/>
                      </a:lnTo>
                      <a:lnTo>
                        <a:pt x="11188" y="282282"/>
                      </a:lnTo>
                      <a:lnTo>
                        <a:pt x="11315" y="281838"/>
                      </a:lnTo>
                      <a:lnTo>
                        <a:pt x="11353" y="281419"/>
                      </a:lnTo>
                      <a:lnTo>
                        <a:pt x="11658" y="278345"/>
                      </a:lnTo>
                      <a:lnTo>
                        <a:pt x="13843" y="276453"/>
                      </a:lnTo>
                      <a:lnTo>
                        <a:pt x="15024" y="278066"/>
                      </a:lnTo>
                      <a:lnTo>
                        <a:pt x="16395" y="279044"/>
                      </a:lnTo>
                      <a:lnTo>
                        <a:pt x="16764" y="278714"/>
                      </a:lnTo>
                      <a:lnTo>
                        <a:pt x="21209" y="282117"/>
                      </a:lnTo>
                      <a:lnTo>
                        <a:pt x="21932" y="285838"/>
                      </a:lnTo>
                      <a:lnTo>
                        <a:pt x="22059" y="287375"/>
                      </a:lnTo>
                      <a:lnTo>
                        <a:pt x="21945" y="289852"/>
                      </a:lnTo>
                      <a:lnTo>
                        <a:pt x="27089" y="294411"/>
                      </a:lnTo>
                      <a:lnTo>
                        <a:pt x="29946" y="295363"/>
                      </a:lnTo>
                      <a:lnTo>
                        <a:pt x="31521" y="298221"/>
                      </a:lnTo>
                      <a:lnTo>
                        <a:pt x="28841" y="296265"/>
                      </a:lnTo>
                      <a:lnTo>
                        <a:pt x="24942" y="293420"/>
                      </a:lnTo>
                      <a:lnTo>
                        <a:pt x="25730" y="296265"/>
                      </a:lnTo>
                      <a:lnTo>
                        <a:pt x="23876" y="294843"/>
                      </a:lnTo>
                      <a:lnTo>
                        <a:pt x="25260" y="297408"/>
                      </a:lnTo>
                      <a:lnTo>
                        <a:pt x="27635" y="300291"/>
                      </a:lnTo>
                      <a:lnTo>
                        <a:pt x="29756" y="302336"/>
                      </a:lnTo>
                      <a:lnTo>
                        <a:pt x="33261" y="304380"/>
                      </a:lnTo>
                      <a:lnTo>
                        <a:pt x="36233" y="305384"/>
                      </a:lnTo>
                      <a:lnTo>
                        <a:pt x="37211" y="309118"/>
                      </a:lnTo>
                      <a:lnTo>
                        <a:pt x="36842" y="309448"/>
                      </a:lnTo>
                      <a:lnTo>
                        <a:pt x="39827" y="309067"/>
                      </a:lnTo>
                      <a:lnTo>
                        <a:pt x="40513" y="309003"/>
                      </a:lnTo>
                      <a:lnTo>
                        <a:pt x="41529" y="308851"/>
                      </a:lnTo>
                      <a:lnTo>
                        <a:pt x="41732" y="308533"/>
                      </a:lnTo>
                      <a:lnTo>
                        <a:pt x="44843" y="308368"/>
                      </a:lnTo>
                      <a:lnTo>
                        <a:pt x="47485" y="310984"/>
                      </a:lnTo>
                      <a:lnTo>
                        <a:pt x="57099" y="316979"/>
                      </a:lnTo>
                      <a:lnTo>
                        <a:pt x="58394" y="318439"/>
                      </a:lnTo>
                      <a:lnTo>
                        <a:pt x="59385" y="318858"/>
                      </a:lnTo>
                      <a:lnTo>
                        <a:pt x="59474" y="319151"/>
                      </a:lnTo>
                      <a:lnTo>
                        <a:pt x="60172" y="318935"/>
                      </a:lnTo>
                      <a:lnTo>
                        <a:pt x="61061" y="318554"/>
                      </a:lnTo>
                      <a:lnTo>
                        <a:pt x="60985" y="317792"/>
                      </a:lnTo>
                      <a:lnTo>
                        <a:pt x="59855" y="316369"/>
                      </a:lnTo>
                      <a:lnTo>
                        <a:pt x="58381" y="316077"/>
                      </a:lnTo>
                      <a:lnTo>
                        <a:pt x="56426" y="311861"/>
                      </a:lnTo>
                      <a:lnTo>
                        <a:pt x="56388" y="311721"/>
                      </a:lnTo>
                      <a:lnTo>
                        <a:pt x="55956" y="310769"/>
                      </a:lnTo>
                      <a:lnTo>
                        <a:pt x="55232" y="309067"/>
                      </a:lnTo>
                      <a:lnTo>
                        <a:pt x="54025" y="308368"/>
                      </a:lnTo>
                      <a:lnTo>
                        <a:pt x="52895" y="307721"/>
                      </a:lnTo>
                      <a:lnTo>
                        <a:pt x="48285" y="303923"/>
                      </a:lnTo>
                      <a:lnTo>
                        <a:pt x="46723" y="302602"/>
                      </a:lnTo>
                      <a:lnTo>
                        <a:pt x="44970" y="301180"/>
                      </a:lnTo>
                      <a:lnTo>
                        <a:pt x="43865" y="300228"/>
                      </a:lnTo>
                      <a:lnTo>
                        <a:pt x="42989" y="299351"/>
                      </a:lnTo>
                      <a:lnTo>
                        <a:pt x="41719" y="298221"/>
                      </a:lnTo>
                      <a:lnTo>
                        <a:pt x="41198" y="297764"/>
                      </a:lnTo>
                      <a:lnTo>
                        <a:pt x="40576" y="296583"/>
                      </a:lnTo>
                      <a:lnTo>
                        <a:pt x="40093" y="295338"/>
                      </a:lnTo>
                      <a:lnTo>
                        <a:pt x="39916" y="294957"/>
                      </a:lnTo>
                      <a:lnTo>
                        <a:pt x="39700" y="294627"/>
                      </a:lnTo>
                      <a:lnTo>
                        <a:pt x="39052" y="292849"/>
                      </a:lnTo>
                      <a:lnTo>
                        <a:pt x="38671" y="291274"/>
                      </a:lnTo>
                      <a:lnTo>
                        <a:pt x="37680" y="289572"/>
                      </a:lnTo>
                      <a:lnTo>
                        <a:pt x="37414" y="289217"/>
                      </a:lnTo>
                      <a:lnTo>
                        <a:pt x="37261" y="289090"/>
                      </a:lnTo>
                      <a:lnTo>
                        <a:pt x="36664" y="288480"/>
                      </a:lnTo>
                      <a:lnTo>
                        <a:pt x="35775" y="288188"/>
                      </a:lnTo>
                      <a:lnTo>
                        <a:pt x="35331" y="287947"/>
                      </a:lnTo>
                      <a:lnTo>
                        <a:pt x="34950" y="287693"/>
                      </a:lnTo>
                      <a:lnTo>
                        <a:pt x="34607" y="287553"/>
                      </a:lnTo>
                      <a:lnTo>
                        <a:pt x="34264" y="287375"/>
                      </a:lnTo>
                      <a:lnTo>
                        <a:pt x="33426" y="286321"/>
                      </a:lnTo>
                      <a:lnTo>
                        <a:pt x="33540" y="285076"/>
                      </a:lnTo>
                      <a:lnTo>
                        <a:pt x="33642" y="284772"/>
                      </a:lnTo>
                      <a:lnTo>
                        <a:pt x="33743" y="284200"/>
                      </a:lnTo>
                      <a:lnTo>
                        <a:pt x="33820" y="283502"/>
                      </a:lnTo>
                      <a:lnTo>
                        <a:pt x="34061" y="282600"/>
                      </a:lnTo>
                      <a:lnTo>
                        <a:pt x="34188" y="281851"/>
                      </a:lnTo>
                      <a:lnTo>
                        <a:pt x="34442" y="279311"/>
                      </a:lnTo>
                      <a:lnTo>
                        <a:pt x="34531" y="279019"/>
                      </a:lnTo>
                      <a:lnTo>
                        <a:pt x="35585" y="278815"/>
                      </a:lnTo>
                      <a:lnTo>
                        <a:pt x="36931" y="279311"/>
                      </a:lnTo>
                      <a:lnTo>
                        <a:pt x="37388" y="279400"/>
                      </a:lnTo>
                      <a:lnTo>
                        <a:pt x="39382" y="280047"/>
                      </a:lnTo>
                      <a:lnTo>
                        <a:pt x="40830" y="281851"/>
                      </a:lnTo>
                      <a:lnTo>
                        <a:pt x="42176" y="282994"/>
                      </a:lnTo>
                      <a:lnTo>
                        <a:pt x="42633" y="282295"/>
                      </a:lnTo>
                      <a:lnTo>
                        <a:pt x="43103" y="281368"/>
                      </a:lnTo>
                      <a:lnTo>
                        <a:pt x="44145" y="279869"/>
                      </a:lnTo>
                      <a:lnTo>
                        <a:pt x="44640" y="279311"/>
                      </a:lnTo>
                      <a:lnTo>
                        <a:pt x="45389" y="279019"/>
                      </a:lnTo>
                      <a:lnTo>
                        <a:pt x="46456" y="278815"/>
                      </a:lnTo>
                      <a:lnTo>
                        <a:pt x="46723" y="278765"/>
                      </a:lnTo>
                      <a:lnTo>
                        <a:pt x="48018" y="279234"/>
                      </a:lnTo>
                      <a:lnTo>
                        <a:pt x="49225" y="278955"/>
                      </a:lnTo>
                      <a:lnTo>
                        <a:pt x="49403" y="278930"/>
                      </a:lnTo>
                      <a:lnTo>
                        <a:pt x="49631" y="278765"/>
                      </a:lnTo>
                      <a:lnTo>
                        <a:pt x="49961" y="278536"/>
                      </a:lnTo>
                      <a:lnTo>
                        <a:pt x="50114" y="278384"/>
                      </a:lnTo>
                      <a:lnTo>
                        <a:pt x="50228" y="278193"/>
                      </a:lnTo>
                      <a:lnTo>
                        <a:pt x="50558" y="278384"/>
                      </a:lnTo>
                      <a:lnTo>
                        <a:pt x="51054" y="278612"/>
                      </a:lnTo>
                      <a:lnTo>
                        <a:pt x="52705" y="279488"/>
                      </a:lnTo>
                      <a:lnTo>
                        <a:pt x="54229" y="279996"/>
                      </a:lnTo>
                      <a:lnTo>
                        <a:pt x="55778" y="280327"/>
                      </a:lnTo>
                      <a:lnTo>
                        <a:pt x="68046" y="281571"/>
                      </a:lnTo>
                      <a:lnTo>
                        <a:pt x="72390" y="281838"/>
                      </a:lnTo>
                      <a:lnTo>
                        <a:pt x="72859" y="281774"/>
                      </a:lnTo>
                      <a:lnTo>
                        <a:pt x="74066" y="281000"/>
                      </a:lnTo>
                      <a:lnTo>
                        <a:pt x="75577" y="283133"/>
                      </a:lnTo>
                      <a:lnTo>
                        <a:pt x="76911" y="283057"/>
                      </a:lnTo>
                      <a:lnTo>
                        <a:pt x="76314" y="284276"/>
                      </a:lnTo>
                      <a:lnTo>
                        <a:pt x="77901" y="284772"/>
                      </a:lnTo>
                      <a:lnTo>
                        <a:pt x="79248" y="285115"/>
                      </a:lnTo>
                      <a:lnTo>
                        <a:pt x="79743" y="285165"/>
                      </a:lnTo>
                      <a:lnTo>
                        <a:pt x="80797" y="285203"/>
                      </a:lnTo>
                      <a:lnTo>
                        <a:pt x="80848" y="285076"/>
                      </a:lnTo>
                      <a:lnTo>
                        <a:pt x="81026" y="284645"/>
                      </a:lnTo>
                      <a:lnTo>
                        <a:pt x="81203" y="284200"/>
                      </a:lnTo>
                      <a:lnTo>
                        <a:pt x="81343" y="283781"/>
                      </a:lnTo>
                      <a:lnTo>
                        <a:pt x="81394" y="283057"/>
                      </a:lnTo>
                      <a:lnTo>
                        <a:pt x="81330" y="281000"/>
                      </a:lnTo>
                      <a:lnTo>
                        <a:pt x="81445" y="280098"/>
                      </a:lnTo>
                      <a:lnTo>
                        <a:pt x="81864" y="279755"/>
                      </a:lnTo>
                      <a:lnTo>
                        <a:pt x="82651" y="279044"/>
                      </a:lnTo>
                      <a:lnTo>
                        <a:pt x="84988" y="279057"/>
                      </a:lnTo>
                      <a:lnTo>
                        <a:pt x="85826" y="278879"/>
                      </a:lnTo>
                      <a:close/>
                    </a:path>
                    <a:path w="383539" h="319405">
                      <a:moveTo>
                        <a:pt x="210832" y="5156"/>
                      </a:moveTo>
                      <a:lnTo>
                        <a:pt x="208800" y="3784"/>
                      </a:lnTo>
                      <a:lnTo>
                        <a:pt x="208191" y="4546"/>
                      </a:lnTo>
                      <a:lnTo>
                        <a:pt x="208407" y="4724"/>
                      </a:lnTo>
                      <a:lnTo>
                        <a:pt x="206476" y="5994"/>
                      </a:lnTo>
                      <a:lnTo>
                        <a:pt x="201968" y="4584"/>
                      </a:lnTo>
                      <a:lnTo>
                        <a:pt x="200088" y="4546"/>
                      </a:lnTo>
                      <a:lnTo>
                        <a:pt x="194462" y="4559"/>
                      </a:lnTo>
                      <a:lnTo>
                        <a:pt x="193167" y="4584"/>
                      </a:lnTo>
                      <a:lnTo>
                        <a:pt x="192049" y="3733"/>
                      </a:lnTo>
                      <a:lnTo>
                        <a:pt x="191604" y="3390"/>
                      </a:lnTo>
                      <a:lnTo>
                        <a:pt x="186385" y="2463"/>
                      </a:lnTo>
                      <a:lnTo>
                        <a:pt x="182511" y="2235"/>
                      </a:lnTo>
                      <a:lnTo>
                        <a:pt x="178003" y="1841"/>
                      </a:lnTo>
                      <a:lnTo>
                        <a:pt x="176415" y="1701"/>
                      </a:lnTo>
                      <a:lnTo>
                        <a:pt x="174777" y="1841"/>
                      </a:lnTo>
                      <a:lnTo>
                        <a:pt x="173113" y="0"/>
                      </a:lnTo>
                      <a:lnTo>
                        <a:pt x="173075" y="901"/>
                      </a:lnTo>
                      <a:lnTo>
                        <a:pt x="173532" y="1841"/>
                      </a:lnTo>
                      <a:lnTo>
                        <a:pt x="173799" y="2667"/>
                      </a:lnTo>
                      <a:lnTo>
                        <a:pt x="170091" y="3733"/>
                      </a:lnTo>
                      <a:lnTo>
                        <a:pt x="166573" y="2819"/>
                      </a:lnTo>
                      <a:lnTo>
                        <a:pt x="158750" y="4597"/>
                      </a:lnTo>
                      <a:lnTo>
                        <a:pt x="155194" y="5295"/>
                      </a:lnTo>
                      <a:lnTo>
                        <a:pt x="154533" y="6921"/>
                      </a:lnTo>
                      <a:lnTo>
                        <a:pt x="152895" y="7251"/>
                      </a:lnTo>
                      <a:lnTo>
                        <a:pt x="153123" y="7569"/>
                      </a:lnTo>
                      <a:lnTo>
                        <a:pt x="151752" y="7950"/>
                      </a:lnTo>
                      <a:lnTo>
                        <a:pt x="144119" y="9093"/>
                      </a:lnTo>
                      <a:lnTo>
                        <a:pt x="143916" y="10642"/>
                      </a:lnTo>
                      <a:lnTo>
                        <a:pt x="143243" y="12788"/>
                      </a:lnTo>
                      <a:lnTo>
                        <a:pt x="143878" y="13868"/>
                      </a:lnTo>
                      <a:lnTo>
                        <a:pt x="144703" y="13538"/>
                      </a:lnTo>
                      <a:lnTo>
                        <a:pt x="145415" y="13550"/>
                      </a:lnTo>
                      <a:lnTo>
                        <a:pt x="144995" y="13970"/>
                      </a:lnTo>
                      <a:lnTo>
                        <a:pt x="145122" y="14287"/>
                      </a:lnTo>
                      <a:lnTo>
                        <a:pt x="145783" y="13614"/>
                      </a:lnTo>
                      <a:lnTo>
                        <a:pt x="146113" y="13716"/>
                      </a:lnTo>
                      <a:lnTo>
                        <a:pt x="146392" y="13970"/>
                      </a:lnTo>
                      <a:lnTo>
                        <a:pt x="146494" y="14579"/>
                      </a:lnTo>
                      <a:lnTo>
                        <a:pt x="144576" y="15633"/>
                      </a:lnTo>
                      <a:lnTo>
                        <a:pt x="144272" y="14795"/>
                      </a:lnTo>
                      <a:lnTo>
                        <a:pt x="144208" y="17767"/>
                      </a:lnTo>
                      <a:lnTo>
                        <a:pt x="143929" y="18338"/>
                      </a:lnTo>
                      <a:lnTo>
                        <a:pt x="143687" y="18694"/>
                      </a:lnTo>
                      <a:lnTo>
                        <a:pt x="145846" y="18961"/>
                      </a:lnTo>
                      <a:lnTo>
                        <a:pt x="147662" y="18338"/>
                      </a:lnTo>
                      <a:lnTo>
                        <a:pt x="149885" y="18834"/>
                      </a:lnTo>
                      <a:lnTo>
                        <a:pt x="148844" y="19088"/>
                      </a:lnTo>
                      <a:lnTo>
                        <a:pt x="145796" y="19227"/>
                      </a:lnTo>
                      <a:lnTo>
                        <a:pt x="144678" y="20434"/>
                      </a:lnTo>
                      <a:lnTo>
                        <a:pt x="144678" y="22161"/>
                      </a:lnTo>
                      <a:lnTo>
                        <a:pt x="144462" y="23342"/>
                      </a:lnTo>
                      <a:lnTo>
                        <a:pt x="145465" y="23177"/>
                      </a:lnTo>
                      <a:lnTo>
                        <a:pt x="148221" y="26466"/>
                      </a:lnTo>
                      <a:lnTo>
                        <a:pt x="149174" y="27660"/>
                      </a:lnTo>
                      <a:lnTo>
                        <a:pt x="155067" y="29337"/>
                      </a:lnTo>
                      <a:lnTo>
                        <a:pt x="155105" y="29095"/>
                      </a:lnTo>
                      <a:lnTo>
                        <a:pt x="157975" y="27076"/>
                      </a:lnTo>
                      <a:lnTo>
                        <a:pt x="159715" y="26898"/>
                      </a:lnTo>
                      <a:lnTo>
                        <a:pt x="158623" y="31076"/>
                      </a:lnTo>
                      <a:lnTo>
                        <a:pt x="156768" y="35979"/>
                      </a:lnTo>
                      <a:lnTo>
                        <a:pt x="156375" y="36118"/>
                      </a:lnTo>
                      <a:lnTo>
                        <a:pt x="156006" y="36207"/>
                      </a:lnTo>
                      <a:lnTo>
                        <a:pt x="155600" y="36398"/>
                      </a:lnTo>
                      <a:lnTo>
                        <a:pt x="155956" y="37172"/>
                      </a:lnTo>
                      <a:lnTo>
                        <a:pt x="161429" y="35763"/>
                      </a:lnTo>
                      <a:lnTo>
                        <a:pt x="162521" y="35572"/>
                      </a:lnTo>
                      <a:lnTo>
                        <a:pt x="163576" y="35217"/>
                      </a:lnTo>
                      <a:lnTo>
                        <a:pt x="164414" y="34861"/>
                      </a:lnTo>
                      <a:lnTo>
                        <a:pt x="165582" y="34175"/>
                      </a:lnTo>
                      <a:lnTo>
                        <a:pt x="166141" y="33985"/>
                      </a:lnTo>
                      <a:lnTo>
                        <a:pt x="166535" y="33769"/>
                      </a:lnTo>
                      <a:lnTo>
                        <a:pt x="166916" y="33604"/>
                      </a:lnTo>
                      <a:lnTo>
                        <a:pt x="167335" y="33375"/>
                      </a:lnTo>
                      <a:lnTo>
                        <a:pt x="168681" y="34480"/>
                      </a:lnTo>
                      <a:lnTo>
                        <a:pt x="168846" y="34683"/>
                      </a:lnTo>
                      <a:lnTo>
                        <a:pt x="170764" y="34632"/>
                      </a:lnTo>
                      <a:lnTo>
                        <a:pt x="171069" y="34645"/>
                      </a:lnTo>
                      <a:lnTo>
                        <a:pt x="171208" y="34620"/>
                      </a:lnTo>
                      <a:lnTo>
                        <a:pt x="171996" y="34480"/>
                      </a:lnTo>
                      <a:lnTo>
                        <a:pt x="172605" y="34620"/>
                      </a:lnTo>
                      <a:lnTo>
                        <a:pt x="174625" y="35763"/>
                      </a:lnTo>
                      <a:lnTo>
                        <a:pt x="176733" y="36601"/>
                      </a:lnTo>
                      <a:lnTo>
                        <a:pt x="178523" y="37846"/>
                      </a:lnTo>
                      <a:lnTo>
                        <a:pt x="180962" y="38125"/>
                      </a:lnTo>
                      <a:lnTo>
                        <a:pt x="180924" y="38493"/>
                      </a:lnTo>
                      <a:lnTo>
                        <a:pt x="181102" y="38938"/>
                      </a:lnTo>
                      <a:lnTo>
                        <a:pt x="181356" y="39344"/>
                      </a:lnTo>
                      <a:lnTo>
                        <a:pt x="182156" y="40462"/>
                      </a:lnTo>
                      <a:lnTo>
                        <a:pt x="183819" y="41884"/>
                      </a:lnTo>
                      <a:lnTo>
                        <a:pt x="184696" y="42710"/>
                      </a:lnTo>
                      <a:lnTo>
                        <a:pt x="185534" y="43370"/>
                      </a:lnTo>
                      <a:lnTo>
                        <a:pt x="186321" y="43891"/>
                      </a:lnTo>
                      <a:lnTo>
                        <a:pt x="187007" y="44246"/>
                      </a:lnTo>
                      <a:lnTo>
                        <a:pt x="188137" y="44577"/>
                      </a:lnTo>
                      <a:lnTo>
                        <a:pt x="189318" y="44348"/>
                      </a:lnTo>
                      <a:lnTo>
                        <a:pt x="190754" y="43510"/>
                      </a:lnTo>
                      <a:lnTo>
                        <a:pt x="191173" y="43307"/>
                      </a:lnTo>
                      <a:lnTo>
                        <a:pt x="191820" y="43611"/>
                      </a:lnTo>
                      <a:lnTo>
                        <a:pt x="192506" y="43370"/>
                      </a:lnTo>
                      <a:lnTo>
                        <a:pt x="192671" y="42481"/>
                      </a:lnTo>
                      <a:lnTo>
                        <a:pt x="193128" y="42481"/>
                      </a:lnTo>
                      <a:lnTo>
                        <a:pt x="194665" y="42926"/>
                      </a:lnTo>
                      <a:lnTo>
                        <a:pt x="195922" y="43827"/>
                      </a:lnTo>
                      <a:lnTo>
                        <a:pt x="199618" y="44754"/>
                      </a:lnTo>
                      <a:lnTo>
                        <a:pt x="200075" y="44361"/>
                      </a:lnTo>
                      <a:lnTo>
                        <a:pt x="200279" y="42481"/>
                      </a:lnTo>
                      <a:lnTo>
                        <a:pt x="200723" y="38366"/>
                      </a:lnTo>
                      <a:lnTo>
                        <a:pt x="204343" y="38049"/>
                      </a:lnTo>
                      <a:lnTo>
                        <a:pt x="205841" y="38049"/>
                      </a:lnTo>
                      <a:lnTo>
                        <a:pt x="206324" y="37503"/>
                      </a:lnTo>
                      <a:lnTo>
                        <a:pt x="205714" y="35217"/>
                      </a:lnTo>
                      <a:lnTo>
                        <a:pt x="204825" y="34480"/>
                      </a:lnTo>
                      <a:lnTo>
                        <a:pt x="203504" y="33375"/>
                      </a:lnTo>
                      <a:lnTo>
                        <a:pt x="201256" y="31483"/>
                      </a:lnTo>
                      <a:lnTo>
                        <a:pt x="201104" y="29095"/>
                      </a:lnTo>
                      <a:lnTo>
                        <a:pt x="201155" y="26898"/>
                      </a:lnTo>
                      <a:lnTo>
                        <a:pt x="201193" y="26123"/>
                      </a:lnTo>
                      <a:lnTo>
                        <a:pt x="201587" y="23177"/>
                      </a:lnTo>
                      <a:lnTo>
                        <a:pt x="201612" y="22987"/>
                      </a:lnTo>
                      <a:lnTo>
                        <a:pt x="200787" y="19227"/>
                      </a:lnTo>
                      <a:lnTo>
                        <a:pt x="200914" y="18694"/>
                      </a:lnTo>
                      <a:lnTo>
                        <a:pt x="201028" y="18338"/>
                      </a:lnTo>
                      <a:lnTo>
                        <a:pt x="201256" y="17627"/>
                      </a:lnTo>
                      <a:lnTo>
                        <a:pt x="202819" y="16662"/>
                      </a:lnTo>
                      <a:lnTo>
                        <a:pt x="203796" y="15633"/>
                      </a:lnTo>
                      <a:lnTo>
                        <a:pt x="205295" y="14071"/>
                      </a:lnTo>
                      <a:lnTo>
                        <a:pt x="205447" y="13614"/>
                      </a:lnTo>
                      <a:lnTo>
                        <a:pt x="205498" y="13462"/>
                      </a:lnTo>
                      <a:lnTo>
                        <a:pt x="205574" y="13246"/>
                      </a:lnTo>
                      <a:lnTo>
                        <a:pt x="207225" y="8407"/>
                      </a:lnTo>
                      <a:lnTo>
                        <a:pt x="210172" y="7505"/>
                      </a:lnTo>
                      <a:lnTo>
                        <a:pt x="209207" y="6908"/>
                      </a:lnTo>
                      <a:lnTo>
                        <a:pt x="210286" y="6299"/>
                      </a:lnTo>
                      <a:lnTo>
                        <a:pt x="210426" y="5994"/>
                      </a:lnTo>
                      <a:lnTo>
                        <a:pt x="210832" y="5156"/>
                      </a:lnTo>
                      <a:close/>
                    </a:path>
                    <a:path w="383539" h="319405">
                      <a:moveTo>
                        <a:pt x="266039" y="248272"/>
                      </a:moveTo>
                      <a:lnTo>
                        <a:pt x="265087" y="248272"/>
                      </a:lnTo>
                      <a:lnTo>
                        <a:pt x="265391" y="249542"/>
                      </a:lnTo>
                      <a:lnTo>
                        <a:pt x="266039" y="248272"/>
                      </a:lnTo>
                      <a:close/>
                    </a:path>
                    <a:path w="383539" h="319405">
                      <a:moveTo>
                        <a:pt x="311937" y="261899"/>
                      </a:moveTo>
                      <a:lnTo>
                        <a:pt x="309130" y="263512"/>
                      </a:lnTo>
                      <a:lnTo>
                        <a:pt x="309549" y="263512"/>
                      </a:lnTo>
                      <a:lnTo>
                        <a:pt x="311937" y="261899"/>
                      </a:lnTo>
                      <a:close/>
                    </a:path>
                    <a:path w="383539" h="319405">
                      <a:moveTo>
                        <a:pt x="383501" y="203822"/>
                      </a:moveTo>
                      <a:lnTo>
                        <a:pt x="383159" y="202552"/>
                      </a:lnTo>
                      <a:lnTo>
                        <a:pt x="382473" y="200012"/>
                      </a:lnTo>
                      <a:lnTo>
                        <a:pt x="376872" y="202552"/>
                      </a:lnTo>
                      <a:lnTo>
                        <a:pt x="374764" y="198742"/>
                      </a:lnTo>
                      <a:lnTo>
                        <a:pt x="373316" y="197472"/>
                      </a:lnTo>
                      <a:lnTo>
                        <a:pt x="370420" y="194932"/>
                      </a:lnTo>
                      <a:lnTo>
                        <a:pt x="368617" y="194932"/>
                      </a:lnTo>
                      <a:lnTo>
                        <a:pt x="365480" y="197472"/>
                      </a:lnTo>
                      <a:lnTo>
                        <a:pt x="364286" y="196202"/>
                      </a:lnTo>
                      <a:lnTo>
                        <a:pt x="363626" y="194932"/>
                      </a:lnTo>
                      <a:lnTo>
                        <a:pt x="362953" y="193662"/>
                      </a:lnTo>
                      <a:lnTo>
                        <a:pt x="361683" y="192392"/>
                      </a:lnTo>
                      <a:lnTo>
                        <a:pt x="358190" y="192392"/>
                      </a:lnTo>
                      <a:lnTo>
                        <a:pt x="357111" y="191122"/>
                      </a:lnTo>
                      <a:lnTo>
                        <a:pt x="355066" y="191122"/>
                      </a:lnTo>
                      <a:lnTo>
                        <a:pt x="352348" y="194932"/>
                      </a:lnTo>
                      <a:lnTo>
                        <a:pt x="348678" y="189852"/>
                      </a:lnTo>
                      <a:lnTo>
                        <a:pt x="345059" y="184772"/>
                      </a:lnTo>
                      <a:lnTo>
                        <a:pt x="343852" y="184772"/>
                      </a:lnTo>
                      <a:lnTo>
                        <a:pt x="339940" y="186042"/>
                      </a:lnTo>
                      <a:lnTo>
                        <a:pt x="333667" y="188582"/>
                      </a:lnTo>
                      <a:lnTo>
                        <a:pt x="329577" y="187312"/>
                      </a:lnTo>
                      <a:lnTo>
                        <a:pt x="327837" y="186042"/>
                      </a:lnTo>
                      <a:lnTo>
                        <a:pt x="326085" y="184772"/>
                      </a:lnTo>
                      <a:lnTo>
                        <a:pt x="323735" y="184772"/>
                      </a:lnTo>
                      <a:lnTo>
                        <a:pt x="319392" y="186042"/>
                      </a:lnTo>
                      <a:lnTo>
                        <a:pt x="317881" y="186042"/>
                      </a:lnTo>
                      <a:lnTo>
                        <a:pt x="316445" y="184772"/>
                      </a:lnTo>
                      <a:lnTo>
                        <a:pt x="315480" y="183502"/>
                      </a:lnTo>
                      <a:lnTo>
                        <a:pt x="315836" y="180962"/>
                      </a:lnTo>
                      <a:lnTo>
                        <a:pt x="315302" y="178422"/>
                      </a:lnTo>
                      <a:lnTo>
                        <a:pt x="312889" y="174612"/>
                      </a:lnTo>
                      <a:lnTo>
                        <a:pt x="314388" y="173342"/>
                      </a:lnTo>
                      <a:lnTo>
                        <a:pt x="312826" y="172072"/>
                      </a:lnTo>
                      <a:lnTo>
                        <a:pt x="309575" y="170802"/>
                      </a:lnTo>
                      <a:lnTo>
                        <a:pt x="308241" y="169532"/>
                      </a:lnTo>
                      <a:lnTo>
                        <a:pt x="306438" y="170802"/>
                      </a:lnTo>
                      <a:lnTo>
                        <a:pt x="304571" y="170802"/>
                      </a:lnTo>
                      <a:lnTo>
                        <a:pt x="301917" y="169532"/>
                      </a:lnTo>
                      <a:lnTo>
                        <a:pt x="297345" y="169532"/>
                      </a:lnTo>
                      <a:lnTo>
                        <a:pt x="297700" y="166992"/>
                      </a:lnTo>
                      <a:lnTo>
                        <a:pt x="298424" y="164452"/>
                      </a:lnTo>
                      <a:lnTo>
                        <a:pt x="297281" y="161912"/>
                      </a:lnTo>
                      <a:lnTo>
                        <a:pt x="296138" y="161912"/>
                      </a:lnTo>
                      <a:lnTo>
                        <a:pt x="296494" y="160642"/>
                      </a:lnTo>
                      <a:lnTo>
                        <a:pt x="298729" y="159372"/>
                      </a:lnTo>
                      <a:lnTo>
                        <a:pt x="300951" y="159372"/>
                      </a:lnTo>
                      <a:lnTo>
                        <a:pt x="299389" y="156832"/>
                      </a:lnTo>
                      <a:lnTo>
                        <a:pt x="296621" y="155562"/>
                      </a:lnTo>
                      <a:lnTo>
                        <a:pt x="295897" y="154292"/>
                      </a:lnTo>
                      <a:lnTo>
                        <a:pt x="296621" y="151752"/>
                      </a:lnTo>
                      <a:lnTo>
                        <a:pt x="292646" y="149212"/>
                      </a:lnTo>
                      <a:lnTo>
                        <a:pt x="291553" y="147942"/>
                      </a:lnTo>
                      <a:lnTo>
                        <a:pt x="289699" y="146672"/>
                      </a:lnTo>
                      <a:lnTo>
                        <a:pt x="281495" y="149212"/>
                      </a:lnTo>
                      <a:lnTo>
                        <a:pt x="278599" y="149212"/>
                      </a:lnTo>
                      <a:lnTo>
                        <a:pt x="272948" y="147942"/>
                      </a:lnTo>
                      <a:lnTo>
                        <a:pt x="271500" y="150482"/>
                      </a:lnTo>
                      <a:lnTo>
                        <a:pt x="268846" y="154292"/>
                      </a:lnTo>
                      <a:lnTo>
                        <a:pt x="266407" y="154292"/>
                      </a:lnTo>
                      <a:lnTo>
                        <a:pt x="266407" y="250812"/>
                      </a:lnTo>
                      <a:lnTo>
                        <a:pt x="264871" y="251980"/>
                      </a:lnTo>
                      <a:lnTo>
                        <a:pt x="265544" y="250812"/>
                      </a:lnTo>
                      <a:lnTo>
                        <a:pt x="265887" y="249542"/>
                      </a:lnTo>
                      <a:lnTo>
                        <a:pt x="265391" y="249542"/>
                      </a:lnTo>
                      <a:lnTo>
                        <a:pt x="264845" y="248437"/>
                      </a:lnTo>
                      <a:lnTo>
                        <a:pt x="264820" y="248272"/>
                      </a:lnTo>
                      <a:lnTo>
                        <a:pt x="264693" y="248272"/>
                      </a:lnTo>
                      <a:lnTo>
                        <a:pt x="264236" y="248272"/>
                      </a:lnTo>
                      <a:lnTo>
                        <a:pt x="264083" y="247002"/>
                      </a:lnTo>
                      <a:lnTo>
                        <a:pt x="264337" y="247002"/>
                      </a:lnTo>
                      <a:lnTo>
                        <a:pt x="264223" y="245732"/>
                      </a:lnTo>
                      <a:lnTo>
                        <a:pt x="263575" y="245732"/>
                      </a:lnTo>
                      <a:lnTo>
                        <a:pt x="263372" y="244462"/>
                      </a:lnTo>
                      <a:lnTo>
                        <a:pt x="264160" y="244462"/>
                      </a:lnTo>
                      <a:lnTo>
                        <a:pt x="264274" y="245960"/>
                      </a:lnTo>
                      <a:lnTo>
                        <a:pt x="264337" y="247002"/>
                      </a:lnTo>
                      <a:lnTo>
                        <a:pt x="264731" y="248221"/>
                      </a:lnTo>
                      <a:lnTo>
                        <a:pt x="265645" y="247002"/>
                      </a:lnTo>
                      <a:lnTo>
                        <a:pt x="266141" y="248272"/>
                      </a:lnTo>
                      <a:lnTo>
                        <a:pt x="266065" y="248437"/>
                      </a:lnTo>
                      <a:lnTo>
                        <a:pt x="266407" y="250812"/>
                      </a:lnTo>
                      <a:lnTo>
                        <a:pt x="266407" y="154292"/>
                      </a:lnTo>
                      <a:lnTo>
                        <a:pt x="264871" y="154292"/>
                      </a:lnTo>
                      <a:lnTo>
                        <a:pt x="263118" y="153022"/>
                      </a:lnTo>
                      <a:lnTo>
                        <a:pt x="262839" y="151752"/>
                      </a:lnTo>
                      <a:lnTo>
                        <a:pt x="260845" y="153022"/>
                      </a:lnTo>
                      <a:lnTo>
                        <a:pt x="256044" y="153022"/>
                      </a:lnTo>
                      <a:lnTo>
                        <a:pt x="255587" y="154292"/>
                      </a:lnTo>
                      <a:lnTo>
                        <a:pt x="254914" y="154292"/>
                      </a:lnTo>
                      <a:lnTo>
                        <a:pt x="254088" y="153022"/>
                      </a:lnTo>
                      <a:lnTo>
                        <a:pt x="250761" y="153022"/>
                      </a:lnTo>
                      <a:lnTo>
                        <a:pt x="250190" y="154292"/>
                      </a:lnTo>
                      <a:lnTo>
                        <a:pt x="247713" y="158102"/>
                      </a:lnTo>
                      <a:lnTo>
                        <a:pt x="247383" y="158102"/>
                      </a:lnTo>
                      <a:lnTo>
                        <a:pt x="246799" y="159372"/>
                      </a:lnTo>
                      <a:lnTo>
                        <a:pt x="246164" y="160642"/>
                      </a:lnTo>
                      <a:lnTo>
                        <a:pt x="245452" y="161912"/>
                      </a:lnTo>
                      <a:lnTo>
                        <a:pt x="245237" y="161912"/>
                      </a:lnTo>
                      <a:lnTo>
                        <a:pt x="245478" y="163182"/>
                      </a:lnTo>
                      <a:lnTo>
                        <a:pt x="245872" y="165722"/>
                      </a:lnTo>
                      <a:lnTo>
                        <a:pt x="246418" y="166992"/>
                      </a:lnTo>
                      <a:lnTo>
                        <a:pt x="245452" y="169532"/>
                      </a:lnTo>
                      <a:lnTo>
                        <a:pt x="243941" y="168262"/>
                      </a:lnTo>
                      <a:lnTo>
                        <a:pt x="242709" y="165722"/>
                      </a:lnTo>
                      <a:lnTo>
                        <a:pt x="241452" y="165379"/>
                      </a:lnTo>
                      <a:lnTo>
                        <a:pt x="241452" y="258432"/>
                      </a:lnTo>
                      <a:lnTo>
                        <a:pt x="240347" y="260959"/>
                      </a:lnTo>
                      <a:lnTo>
                        <a:pt x="239877" y="259702"/>
                      </a:lnTo>
                      <a:lnTo>
                        <a:pt x="240195" y="259702"/>
                      </a:lnTo>
                      <a:lnTo>
                        <a:pt x="240296" y="258432"/>
                      </a:lnTo>
                      <a:lnTo>
                        <a:pt x="241452" y="258432"/>
                      </a:lnTo>
                      <a:lnTo>
                        <a:pt x="241452" y="165379"/>
                      </a:lnTo>
                      <a:lnTo>
                        <a:pt x="238137" y="164452"/>
                      </a:lnTo>
                      <a:lnTo>
                        <a:pt x="231648" y="168262"/>
                      </a:lnTo>
                      <a:lnTo>
                        <a:pt x="228714" y="166992"/>
                      </a:lnTo>
                      <a:lnTo>
                        <a:pt x="228092" y="166992"/>
                      </a:lnTo>
                      <a:lnTo>
                        <a:pt x="227736" y="165722"/>
                      </a:lnTo>
                      <a:lnTo>
                        <a:pt x="227355" y="165722"/>
                      </a:lnTo>
                      <a:lnTo>
                        <a:pt x="226237" y="164452"/>
                      </a:lnTo>
                      <a:lnTo>
                        <a:pt x="225539" y="161912"/>
                      </a:lnTo>
                      <a:lnTo>
                        <a:pt x="223685" y="161912"/>
                      </a:lnTo>
                      <a:lnTo>
                        <a:pt x="222732" y="163182"/>
                      </a:lnTo>
                      <a:lnTo>
                        <a:pt x="220560" y="164452"/>
                      </a:lnTo>
                      <a:lnTo>
                        <a:pt x="220891" y="163182"/>
                      </a:lnTo>
                      <a:lnTo>
                        <a:pt x="219468" y="165722"/>
                      </a:lnTo>
                      <a:lnTo>
                        <a:pt x="217309" y="164452"/>
                      </a:lnTo>
                      <a:lnTo>
                        <a:pt x="214896" y="164452"/>
                      </a:lnTo>
                      <a:lnTo>
                        <a:pt x="212013" y="160642"/>
                      </a:lnTo>
                      <a:lnTo>
                        <a:pt x="212483" y="161912"/>
                      </a:lnTo>
                      <a:lnTo>
                        <a:pt x="207238" y="161912"/>
                      </a:lnTo>
                      <a:lnTo>
                        <a:pt x="204393" y="164452"/>
                      </a:lnTo>
                      <a:lnTo>
                        <a:pt x="206159" y="161912"/>
                      </a:lnTo>
                      <a:lnTo>
                        <a:pt x="200431" y="161912"/>
                      </a:lnTo>
                      <a:lnTo>
                        <a:pt x="177787" y="156832"/>
                      </a:lnTo>
                      <a:lnTo>
                        <a:pt x="174282" y="156832"/>
                      </a:lnTo>
                      <a:lnTo>
                        <a:pt x="170040" y="155562"/>
                      </a:lnTo>
                      <a:lnTo>
                        <a:pt x="167081" y="155562"/>
                      </a:lnTo>
                      <a:lnTo>
                        <a:pt x="165506" y="156832"/>
                      </a:lnTo>
                      <a:lnTo>
                        <a:pt x="160108" y="156832"/>
                      </a:lnTo>
                      <a:lnTo>
                        <a:pt x="155917" y="158102"/>
                      </a:lnTo>
                      <a:lnTo>
                        <a:pt x="155016" y="160642"/>
                      </a:lnTo>
                      <a:lnTo>
                        <a:pt x="152857" y="161912"/>
                      </a:lnTo>
                      <a:lnTo>
                        <a:pt x="152069" y="161912"/>
                      </a:lnTo>
                      <a:lnTo>
                        <a:pt x="151231" y="163182"/>
                      </a:lnTo>
                      <a:lnTo>
                        <a:pt x="147002" y="163182"/>
                      </a:lnTo>
                      <a:lnTo>
                        <a:pt x="146253" y="164452"/>
                      </a:lnTo>
                      <a:lnTo>
                        <a:pt x="146024" y="164452"/>
                      </a:lnTo>
                      <a:lnTo>
                        <a:pt x="147929" y="168262"/>
                      </a:lnTo>
                      <a:lnTo>
                        <a:pt x="148983" y="172072"/>
                      </a:lnTo>
                      <a:lnTo>
                        <a:pt x="151180" y="174612"/>
                      </a:lnTo>
                      <a:lnTo>
                        <a:pt x="151930" y="175882"/>
                      </a:lnTo>
                      <a:lnTo>
                        <a:pt x="153123" y="175882"/>
                      </a:lnTo>
                      <a:lnTo>
                        <a:pt x="153631" y="177152"/>
                      </a:lnTo>
                      <a:lnTo>
                        <a:pt x="151130" y="177152"/>
                      </a:lnTo>
                      <a:lnTo>
                        <a:pt x="151218" y="178422"/>
                      </a:lnTo>
                      <a:lnTo>
                        <a:pt x="151460" y="178422"/>
                      </a:lnTo>
                      <a:lnTo>
                        <a:pt x="152006" y="179692"/>
                      </a:lnTo>
                      <a:lnTo>
                        <a:pt x="153123" y="179692"/>
                      </a:lnTo>
                      <a:lnTo>
                        <a:pt x="153301" y="180962"/>
                      </a:lnTo>
                      <a:lnTo>
                        <a:pt x="152323" y="184772"/>
                      </a:lnTo>
                      <a:lnTo>
                        <a:pt x="150482" y="186042"/>
                      </a:lnTo>
                      <a:lnTo>
                        <a:pt x="147218" y="187312"/>
                      </a:lnTo>
                      <a:lnTo>
                        <a:pt x="145415" y="188582"/>
                      </a:lnTo>
                      <a:lnTo>
                        <a:pt x="143586" y="188582"/>
                      </a:lnTo>
                      <a:lnTo>
                        <a:pt x="141986" y="191122"/>
                      </a:lnTo>
                      <a:lnTo>
                        <a:pt x="140220" y="193662"/>
                      </a:lnTo>
                      <a:lnTo>
                        <a:pt x="139522" y="193662"/>
                      </a:lnTo>
                      <a:lnTo>
                        <a:pt x="132092" y="201282"/>
                      </a:lnTo>
                      <a:lnTo>
                        <a:pt x="133159" y="205092"/>
                      </a:lnTo>
                      <a:lnTo>
                        <a:pt x="133159" y="207632"/>
                      </a:lnTo>
                      <a:lnTo>
                        <a:pt x="133616" y="208902"/>
                      </a:lnTo>
                      <a:lnTo>
                        <a:pt x="134454" y="210172"/>
                      </a:lnTo>
                      <a:lnTo>
                        <a:pt x="135686" y="211442"/>
                      </a:lnTo>
                      <a:lnTo>
                        <a:pt x="134239" y="211442"/>
                      </a:lnTo>
                      <a:lnTo>
                        <a:pt x="132613" y="210172"/>
                      </a:lnTo>
                      <a:lnTo>
                        <a:pt x="130340" y="210172"/>
                      </a:lnTo>
                      <a:lnTo>
                        <a:pt x="127723" y="215252"/>
                      </a:lnTo>
                      <a:lnTo>
                        <a:pt x="126365" y="216522"/>
                      </a:lnTo>
                      <a:lnTo>
                        <a:pt x="125691" y="219062"/>
                      </a:lnTo>
                      <a:lnTo>
                        <a:pt x="125399" y="219062"/>
                      </a:lnTo>
                      <a:lnTo>
                        <a:pt x="125272" y="221602"/>
                      </a:lnTo>
                      <a:lnTo>
                        <a:pt x="125234" y="222872"/>
                      </a:lnTo>
                      <a:lnTo>
                        <a:pt x="125742" y="222872"/>
                      </a:lnTo>
                      <a:lnTo>
                        <a:pt x="126682" y="224142"/>
                      </a:lnTo>
                      <a:lnTo>
                        <a:pt x="128854" y="225412"/>
                      </a:lnTo>
                      <a:lnTo>
                        <a:pt x="131356" y="226682"/>
                      </a:lnTo>
                      <a:lnTo>
                        <a:pt x="133375" y="229222"/>
                      </a:lnTo>
                      <a:lnTo>
                        <a:pt x="135166" y="230492"/>
                      </a:lnTo>
                      <a:lnTo>
                        <a:pt x="136575" y="230492"/>
                      </a:lnTo>
                      <a:lnTo>
                        <a:pt x="138201" y="229222"/>
                      </a:lnTo>
                      <a:lnTo>
                        <a:pt x="139344" y="227952"/>
                      </a:lnTo>
                      <a:lnTo>
                        <a:pt x="141185" y="227952"/>
                      </a:lnTo>
                      <a:lnTo>
                        <a:pt x="142582" y="229222"/>
                      </a:lnTo>
                      <a:lnTo>
                        <a:pt x="143586" y="230492"/>
                      </a:lnTo>
                      <a:lnTo>
                        <a:pt x="145884" y="229222"/>
                      </a:lnTo>
                      <a:lnTo>
                        <a:pt x="148729" y="229222"/>
                      </a:lnTo>
                      <a:lnTo>
                        <a:pt x="155409" y="230492"/>
                      </a:lnTo>
                      <a:lnTo>
                        <a:pt x="158216" y="230492"/>
                      </a:lnTo>
                      <a:lnTo>
                        <a:pt x="161023" y="231762"/>
                      </a:lnTo>
                      <a:lnTo>
                        <a:pt x="161836" y="231762"/>
                      </a:lnTo>
                      <a:lnTo>
                        <a:pt x="162712" y="233032"/>
                      </a:lnTo>
                      <a:lnTo>
                        <a:pt x="164172" y="234302"/>
                      </a:lnTo>
                      <a:lnTo>
                        <a:pt x="165785" y="234302"/>
                      </a:lnTo>
                      <a:lnTo>
                        <a:pt x="167944" y="233032"/>
                      </a:lnTo>
                      <a:lnTo>
                        <a:pt x="168897" y="233032"/>
                      </a:lnTo>
                      <a:lnTo>
                        <a:pt x="170129" y="231762"/>
                      </a:lnTo>
                      <a:lnTo>
                        <a:pt x="172694" y="231762"/>
                      </a:lnTo>
                      <a:lnTo>
                        <a:pt x="172796" y="230492"/>
                      </a:lnTo>
                      <a:lnTo>
                        <a:pt x="182041" y="230492"/>
                      </a:lnTo>
                      <a:lnTo>
                        <a:pt x="183908" y="229222"/>
                      </a:lnTo>
                      <a:lnTo>
                        <a:pt x="185775" y="227952"/>
                      </a:lnTo>
                      <a:lnTo>
                        <a:pt x="189496" y="225412"/>
                      </a:lnTo>
                      <a:lnTo>
                        <a:pt x="190652" y="224142"/>
                      </a:lnTo>
                      <a:lnTo>
                        <a:pt x="191808" y="222872"/>
                      </a:lnTo>
                      <a:lnTo>
                        <a:pt x="198564" y="222872"/>
                      </a:lnTo>
                      <a:lnTo>
                        <a:pt x="199885" y="221602"/>
                      </a:lnTo>
                      <a:lnTo>
                        <a:pt x="204343" y="221602"/>
                      </a:lnTo>
                      <a:lnTo>
                        <a:pt x="208241" y="222872"/>
                      </a:lnTo>
                      <a:lnTo>
                        <a:pt x="211455" y="225412"/>
                      </a:lnTo>
                      <a:lnTo>
                        <a:pt x="214617" y="226682"/>
                      </a:lnTo>
                      <a:lnTo>
                        <a:pt x="216916" y="227952"/>
                      </a:lnTo>
                      <a:lnTo>
                        <a:pt x="218617" y="227952"/>
                      </a:lnTo>
                      <a:lnTo>
                        <a:pt x="220268" y="229222"/>
                      </a:lnTo>
                      <a:lnTo>
                        <a:pt x="221716" y="230492"/>
                      </a:lnTo>
                      <a:lnTo>
                        <a:pt x="224434" y="230492"/>
                      </a:lnTo>
                      <a:lnTo>
                        <a:pt x="224612" y="229222"/>
                      </a:lnTo>
                      <a:lnTo>
                        <a:pt x="225767" y="230492"/>
                      </a:lnTo>
                      <a:lnTo>
                        <a:pt x="226250" y="230492"/>
                      </a:lnTo>
                      <a:lnTo>
                        <a:pt x="226415" y="231762"/>
                      </a:lnTo>
                      <a:lnTo>
                        <a:pt x="226961" y="233032"/>
                      </a:lnTo>
                      <a:lnTo>
                        <a:pt x="226479" y="235572"/>
                      </a:lnTo>
                      <a:lnTo>
                        <a:pt x="225983" y="236842"/>
                      </a:lnTo>
                      <a:lnTo>
                        <a:pt x="225526" y="236842"/>
                      </a:lnTo>
                      <a:lnTo>
                        <a:pt x="225259" y="238112"/>
                      </a:lnTo>
                      <a:lnTo>
                        <a:pt x="225856" y="239382"/>
                      </a:lnTo>
                      <a:lnTo>
                        <a:pt x="226682" y="240652"/>
                      </a:lnTo>
                      <a:lnTo>
                        <a:pt x="227520" y="240652"/>
                      </a:lnTo>
                      <a:lnTo>
                        <a:pt x="228511" y="241922"/>
                      </a:lnTo>
                      <a:lnTo>
                        <a:pt x="231571" y="241922"/>
                      </a:lnTo>
                      <a:lnTo>
                        <a:pt x="231559" y="244462"/>
                      </a:lnTo>
                      <a:lnTo>
                        <a:pt x="231368" y="244462"/>
                      </a:lnTo>
                      <a:lnTo>
                        <a:pt x="230847" y="245732"/>
                      </a:lnTo>
                      <a:lnTo>
                        <a:pt x="230378" y="245732"/>
                      </a:lnTo>
                      <a:lnTo>
                        <a:pt x="231584" y="247002"/>
                      </a:lnTo>
                      <a:lnTo>
                        <a:pt x="232905" y="248272"/>
                      </a:lnTo>
                      <a:lnTo>
                        <a:pt x="234416" y="249542"/>
                      </a:lnTo>
                      <a:lnTo>
                        <a:pt x="234988" y="250812"/>
                      </a:lnTo>
                      <a:lnTo>
                        <a:pt x="236575" y="250812"/>
                      </a:lnTo>
                      <a:lnTo>
                        <a:pt x="237464" y="254622"/>
                      </a:lnTo>
                      <a:lnTo>
                        <a:pt x="234962" y="255892"/>
                      </a:lnTo>
                      <a:lnTo>
                        <a:pt x="237667" y="257162"/>
                      </a:lnTo>
                      <a:lnTo>
                        <a:pt x="239014" y="258432"/>
                      </a:lnTo>
                      <a:lnTo>
                        <a:pt x="238188" y="258432"/>
                      </a:lnTo>
                      <a:lnTo>
                        <a:pt x="237680" y="259702"/>
                      </a:lnTo>
                      <a:lnTo>
                        <a:pt x="235127" y="259702"/>
                      </a:lnTo>
                      <a:lnTo>
                        <a:pt x="235127" y="258432"/>
                      </a:lnTo>
                      <a:lnTo>
                        <a:pt x="233984" y="258432"/>
                      </a:lnTo>
                      <a:lnTo>
                        <a:pt x="233984" y="269862"/>
                      </a:lnTo>
                      <a:lnTo>
                        <a:pt x="232752" y="272008"/>
                      </a:lnTo>
                      <a:lnTo>
                        <a:pt x="232537" y="272389"/>
                      </a:lnTo>
                      <a:lnTo>
                        <a:pt x="232638" y="271132"/>
                      </a:lnTo>
                      <a:lnTo>
                        <a:pt x="232308" y="268592"/>
                      </a:lnTo>
                      <a:lnTo>
                        <a:pt x="233984" y="269862"/>
                      </a:lnTo>
                      <a:lnTo>
                        <a:pt x="233984" y="258432"/>
                      </a:lnTo>
                      <a:lnTo>
                        <a:pt x="233464" y="258432"/>
                      </a:lnTo>
                      <a:lnTo>
                        <a:pt x="232702" y="259702"/>
                      </a:lnTo>
                      <a:lnTo>
                        <a:pt x="231330" y="258432"/>
                      </a:lnTo>
                      <a:lnTo>
                        <a:pt x="231063" y="258432"/>
                      </a:lnTo>
                      <a:lnTo>
                        <a:pt x="230111" y="257162"/>
                      </a:lnTo>
                      <a:lnTo>
                        <a:pt x="229133" y="257162"/>
                      </a:lnTo>
                      <a:lnTo>
                        <a:pt x="228003" y="258432"/>
                      </a:lnTo>
                      <a:lnTo>
                        <a:pt x="227164" y="258432"/>
                      </a:lnTo>
                      <a:lnTo>
                        <a:pt x="226898" y="259702"/>
                      </a:lnTo>
                      <a:lnTo>
                        <a:pt x="225869" y="259702"/>
                      </a:lnTo>
                      <a:lnTo>
                        <a:pt x="226314" y="258432"/>
                      </a:lnTo>
                      <a:lnTo>
                        <a:pt x="225450" y="258432"/>
                      </a:lnTo>
                      <a:lnTo>
                        <a:pt x="224967" y="257162"/>
                      </a:lnTo>
                      <a:lnTo>
                        <a:pt x="223024" y="257162"/>
                      </a:lnTo>
                      <a:lnTo>
                        <a:pt x="223024" y="262242"/>
                      </a:lnTo>
                      <a:lnTo>
                        <a:pt x="223240" y="262242"/>
                      </a:lnTo>
                      <a:lnTo>
                        <a:pt x="222885" y="263512"/>
                      </a:lnTo>
                      <a:lnTo>
                        <a:pt x="222529" y="263512"/>
                      </a:lnTo>
                      <a:lnTo>
                        <a:pt x="222440" y="264782"/>
                      </a:lnTo>
                      <a:lnTo>
                        <a:pt x="222173" y="264782"/>
                      </a:lnTo>
                      <a:lnTo>
                        <a:pt x="221742" y="266052"/>
                      </a:lnTo>
                      <a:lnTo>
                        <a:pt x="220649" y="266052"/>
                      </a:lnTo>
                      <a:lnTo>
                        <a:pt x="220091" y="267322"/>
                      </a:lnTo>
                      <a:lnTo>
                        <a:pt x="219811" y="267322"/>
                      </a:lnTo>
                      <a:lnTo>
                        <a:pt x="219405" y="268592"/>
                      </a:lnTo>
                      <a:lnTo>
                        <a:pt x="218948" y="268592"/>
                      </a:lnTo>
                      <a:lnTo>
                        <a:pt x="218351" y="269862"/>
                      </a:lnTo>
                      <a:lnTo>
                        <a:pt x="216966" y="269862"/>
                      </a:lnTo>
                      <a:lnTo>
                        <a:pt x="216382" y="271132"/>
                      </a:lnTo>
                      <a:lnTo>
                        <a:pt x="216014" y="272402"/>
                      </a:lnTo>
                      <a:lnTo>
                        <a:pt x="216077" y="272554"/>
                      </a:lnTo>
                      <a:lnTo>
                        <a:pt x="216725" y="273672"/>
                      </a:lnTo>
                      <a:lnTo>
                        <a:pt x="213588" y="273672"/>
                      </a:lnTo>
                      <a:lnTo>
                        <a:pt x="212191" y="274942"/>
                      </a:lnTo>
                      <a:lnTo>
                        <a:pt x="212001" y="276212"/>
                      </a:lnTo>
                      <a:lnTo>
                        <a:pt x="212458" y="276212"/>
                      </a:lnTo>
                      <a:lnTo>
                        <a:pt x="212852" y="276212"/>
                      </a:lnTo>
                      <a:lnTo>
                        <a:pt x="214223" y="277482"/>
                      </a:lnTo>
                      <a:lnTo>
                        <a:pt x="215684" y="278752"/>
                      </a:lnTo>
                      <a:lnTo>
                        <a:pt x="217614" y="278752"/>
                      </a:lnTo>
                      <a:lnTo>
                        <a:pt x="219163" y="280022"/>
                      </a:lnTo>
                      <a:lnTo>
                        <a:pt x="220357" y="280022"/>
                      </a:lnTo>
                      <a:lnTo>
                        <a:pt x="220141" y="278752"/>
                      </a:lnTo>
                      <a:lnTo>
                        <a:pt x="221996" y="278752"/>
                      </a:lnTo>
                      <a:lnTo>
                        <a:pt x="224840" y="277482"/>
                      </a:lnTo>
                      <a:lnTo>
                        <a:pt x="227545" y="276212"/>
                      </a:lnTo>
                      <a:lnTo>
                        <a:pt x="231876" y="276212"/>
                      </a:lnTo>
                      <a:lnTo>
                        <a:pt x="232676" y="277482"/>
                      </a:lnTo>
                      <a:lnTo>
                        <a:pt x="233095" y="278752"/>
                      </a:lnTo>
                      <a:lnTo>
                        <a:pt x="233400" y="280022"/>
                      </a:lnTo>
                      <a:lnTo>
                        <a:pt x="234175" y="278752"/>
                      </a:lnTo>
                      <a:lnTo>
                        <a:pt x="233819" y="277482"/>
                      </a:lnTo>
                      <a:lnTo>
                        <a:pt x="233514" y="277482"/>
                      </a:lnTo>
                      <a:lnTo>
                        <a:pt x="233845" y="274942"/>
                      </a:lnTo>
                      <a:lnTo>
                        <a:pt x="232867" y="272554"/>
                      </a:lnTo>
                      <a:lnTo>
                        <a:pt x="235432" y="269862"/>
                      </a:lnTo>
                      <a:lnTo>
                        <a:pt x="236524" y="268592"/>
                      </a:lnTo>
                      <a:lnTo>
                        <a:pt x="238506" y="268592"/>
                      </a:lnTo>
                      <a:lnTo>
                        <a:pt x="239090" y="269862"/>
                      </a:lnTo>
                      <a:lnTo>
                        <a:pt x="240525" y="268592"/>
                      </a:lnTo>
                      <a:lnTo>
                        <a:pt x="243522" y="266052"/>
                      </a:lnTo>
                      <a:lnTo>
                        <a:pt x="240347" y="260972"/>
                      </a:lnTo>
                      <a:lnTo>
                        <a:pt x="242074" y="259702"/>
                      </a:lnTo>
                      <a:lnTo>
                        <a:pt x="242125" y="260972"/>
                      </a:lnTo>
                      <a:lnTo>
                        <a:pt x="243713" y="260972"/>
                      </a:lnTo>
                      <a:lnTo>
                        <a:pt x="243522" y="262242"/>
                      </a:lnTo>
                      <a:lnTo>
                        <a:pt x="245833" y="259702"/>
                      </a:lnTo>
                      <a:lnTo>
                        <a:pt x="247497" y="257162"/>
                      </a:lnTo>
                      <a:lnTo>
                        <a:pt x="251371" y="255892"/>
                      </a:lnTo>
                      <a:lnTo>
                        <a:pt x="252145" y="254622"/>
                      </a:lnTo>
                      <a:lnTo>
                        <a:pt x="254736" y="254622"/>
                      </a:lnTo>
                      <a:lnTo>
                        <a:pt x="256273" y="255892"/>
                      </a:lnTo>
                      <a:lnTo>
                        <a:pt x="257390" y="254622"/>
                      </a:lnTo>
                      <a:lnTo>
                        <a:pt x="258495" y="253352"/>
                      </a:lnTo>
                      <a:lnTo>
                        <a:pt x="259562" y="251980"/>
                      </a:lnTo>
                      <a:lnTo>
                        <a:pt x="260591" y="250812"/>
                      </a:lnTo>
                      <a:lnTo>
                        <a:pt x="260045" y="252082"/>
                      </a:lnTo>
                      <a:lnTo>
                        <a:pt x="260223" y="253352"/>
                      </a:lnTo>
                      <a:lnTo>
                        <a:pt x="263499" y="253352"/>
                      </a:lnTo>
                      <a:lnTo>
                        <a:pt x="264909" y="254622"/>
                      </a:lnTo>
                      <a:lnTo>
                        <a:pt x="264680" y="252082"/>
                      </a:lnTo>
                      <a:lnTo>
                        <a:pt x="267792" y="255892"/>
                      </a:lnTo>
                      <a:lnTo>
                        <a:pt x="272707" y="255892"/>
                      </a:lnTo>
                      <a:lnTo>
                        <a:pt x="274015" y="254622"/>
                      </a:lnTo>
                      <a:lnTo>
                        <a:pt x="275450" y="254622"/>
                      </a:lnTo>
                      <a:lnTo>
                        <a:pt x="273418" y="255892"/>
                      </a:lnTo>
                      <a:lnTo>
                        <a:pt x="272249" y="257162"/>
                      </a:lnTo>
                      <a:lnTo>
                        <a:pt x="266280" y="257162"/>
                      </a:lnTo>
                      <a:lnTo>
                        <a:pt x="262788" y="255892"/>
                      </a:lnTo>
                      <a:lnTo>
                        <a:pt x="259600" y="255892"/>
                      </a:lnTo>
                      <a:lnTo>
                        <a:pt x="260083" y="257162"/>
                      </a:lnTo>
                      <a:lnTo>
                        <a:pt x="261035" y="257162"/>
                      </a:lnTo>
                      <a:lnTo>
                        <a:pt x="262369" y="258432"/>
                      </a:lnTo>
                      <a:lnTo>
                        <a:pt x="263156" y="257162"/>
                      </a:lnTo>
                      <a:lnTo>
                        <a:pt x="264591" y="258432"/>
                      </a:lnTo>
                      <a:lnTo>
                        <a:pt x="265201" y="258432"/>
                      </a:lnTo>
                      <a:lnTo>
                        <a:pt x="265645" y="259702"/>
                      </a:lnTo>
                      <a:lnTo>
                        <a:pt x="262928" y="259702"/>
                      </a:lnTo>
                      <a:lnTo>
                        <a:pt x="262559" y="260972"/>
                      </a:lnTo>
                      <a:lnTo>
                        <a:pt x="268262" y="262242"/>
                      </a:lnTo>
                      <a:lnTo>
                        <a:pt x="270141" y="263512"/>
                      </a:lnTo>
                      <a:lnTo>
                        <a:pt x="269900" y="263512"/>
                      </a:lnTo>
                      <a:lnTo>
                        <a:pt x="272681" y="264782"/>
                      </a:lnTo>
                      <a:lnTo>
                        <a:pt x="275539" y="263512"/>
                      </a:lnTo>
                      <a:lnTo>
                        <a:pt x="280797" y="262242"/>
                      </a:lnTo>
                      <a:lnTo>
                        <a:pt x="284543" y="262242"/>
                      </a:lnTo>
                      <a:lnTo>
                        <a:pt x="283692" y="263512"/>
                      </a:lnTo>
                      <a:lnTo>
                        <a:pt x="286397" y="266052"/>
                      </a:lnTo>
                      <a:lnTo>
                        <a:pt x="287769" y="264782"/>
                      </a:lnTo>
                      <a:lnTo>
                        <a:pt x="289407" y="263512"/>
                      </a:lnTo>
                      <a:lnTo>
                        <a:pt x="289712" y="264782"/>
                      </a:lnTo>
                      <a:lnTo>
                        <a:pt x="288950" y="267322"/>
                      </a:lnTo>
                      <a:lnTo>
                        <a:pt x="290677" y="267322"/>
                      </a:lnTo>
                      <a:lnTo>
                        <a:pt x="290410" y="268592"/>
                      </a:lnTo>
                      <a:lnTo>
                        <a:pt x="288086" y="268592"/>
                      </a:lnTo>
                      <a:lnTo>
                        <a:pt x="285343" y="269862"/>
                      </a:lnTo>
                      <a:lnTo>
                        <a:pt x="284657" y="271132"/>
                      </a:lnTo>
                      <a:lnTo>
                        <a:pt x="282981" y="269862"/>
                      </a:lnTo>
                      <a:lnTo>
                        <a:pt x="282879" y="271132"/>
                      </a:lnTo>
                      <a:lnTo>
                        <a:pt x="280619" y="271132"/>
                      </a:lnTo>
                      <a:lnTo>
                        <a:pt x="278574" y="272402"/>
                      </a:lnTo>
                      <a:lnTo>
                        <a:pt x="278155" y="273672"/>
                      </a:lnTo>
                      <a:lnTo>
                        <a:pt x="277025" y="273672"/>
                      </a:lnTo>
                      <a:lnTo>
                        <a:pt x="275615" y="274942"/>
                      </a:lnTo>
                      <a:lnTo>
                        <a:pt x="269138" y="278752"/>
                      </a:lnTo>
                      <a:lnTo>
                        <a:pt x="281533" y="280022"/>
                      </a:lnTo>
                      <a:lnTo>
                        <a:pt x="286346" y="281292"/>
                      </a:lnTo>
                      <a:lnTo>
                        <a:pt x="289407" y="281292"/>
                      </a:lnTo>
                      <a:lnTo>
                        <a:pt x="289318" y="286372"/>
                      </a:lnTo>
                      <a:lnTo>
                        <a:pt x="288315" y="286372"/>
                      </a:lnTo>
                      <a:lnTo>
                        <a:pt x="287769" y="287642"/>
                      </a:lnTo>
                      <a:lnTo>
                        <a:pt x="288163" y="290182"/>
                      </a:lnTo>
                      <a:lnTo>
                        <a:pt x="286639" y="290182"/>
                      </a:lnTo>
                      <a:lnTo>
                        <a:pt x="285788" y="291452"/>
                      </a:lnTo>
                      <a:lnTo>
                        <a:pt x="286334" y="291452"/>
                      </a:lnTo>
                      <a:lnTo>
                        <a:pt x="289826" y="293992"/>
                      </a:lnTo>
                      <a:lnTo>
                        <a:pt x="290169" y="293992"/>
                      </a:lnTo>
                      <a:lnTo>
                        <a:pt x="307733" y="286372"/>
                      </a:lnTo>
                      <a:lnTo>
                        <a:pt x="317246" y="281292"/>
                      </a:lnTo>
                      <a:lnTo>
                        <a:pt x="318681" y="282562"/>
                      </a:lnTo>
                      <a:lnTo>
                        <a:pt x="321335" y="283832"/>
                      </a:lnTo>
                      <a:lnTo>
                        <a:pt x="326783" y="283832"/>
                      </a:lnTo>
                      <a:lnTo>
                        <a:pt x="329209" y="282562"/>
                      </a:lnTo>
                      <a:lnTo>
                        <a:pt x="328764" y="281292"/>
                      </a:lnTo>
                      <a:lnTo>
                        <a:pt x="330047" y="278752"/>
                      </a:lnTo>
                      <a:lnTo>
                        <a:pt x="330822" y="278752"/>
                      </a:lnTo>
                      <a:lnTo>
                        <a:pt x="332549" y="277482"/>
                      </a:lnTo>
                      <a:lnTo>
                        <a:pt x="321995" y="277482"/>
                      </a:lnTo>
                      <a:lnTo>
                        <a:pt x="321081" y="276212"/>
                      </a:lnTo>
                      <a:lnTo>
                        <a:pt x="319087" y="277482"/>
                      </a:lnTo>
                      <a:lnTo>
                        <a:pt x="318262" y="278752"/>
                      </a:lnTo>
                      <a:lnTo>
                        <a:pt x="315366" y="278752"/>
                      </a:lnTo>
                      <a:lnTo>
                        <a:pt x="314477" y="276212"/>
                      </a:lnTo>
                      <a:lnTo>
                        <a:pt x="307809" y="268592"/>
                      </a:lnTo>
                      <a:lnTo>
                        <a:pt x="306806" y="263512"/>
                      </a:lnTo>
                      <a:lnTo>
                        <a:pt x="306552" y="262242"/>
                      </a:lnTo>
                      <a:lnTo>
                        <a:pt x="306374" y="262242"/>
                      </a:lnTo>
                      <a:lnTo>
                        <a:pt x="308229" y="260972"/>
                      </a:lnTo>
                      <a:lnTo>
                        <a:pt x="309372" y="260972"/>
                      </a:lnTo>
                      <a:lnTo>
                        <a:pt x="311353" y="259702"/>
                      </a:lnTo>
                      <a:lnTo>
                        <a:pt x="311518" y="258432"/>
                      </a:lnTo>
                      <a:lnTo>
                        <a:pt x="311861" y="257162"/>
                      </a:lnTo>
                      <a:lnTo>
                        <a:pt x="311988" y="257162"/>
                      </a:lnTo>
                      <a:lnTo>
                        <a:pt x="312521" y="258432"/>
                      </a:lnTo>
                      <a:lnTo>
                        <a:pt x="312775" y="258432"/>
                      </a:lnTo>
                      <a:lnTo>
                        <a:pt x="312801" y="259702"/>
                      </a:lnTo>
                      <a:lnTo>
                        <a:pt x="315163" y="259702"/>
                      </a:lnTo>
                      <a:lnTo>
                        <a:pt x="311937" y="261899"/>
                      </a:lnTo>
                      <a:lnTo>
                        <a:pt x="313499" y="260959"/>
                      </a:lnTo>
                      <a:lnTo>
                        <a:pt x="317258" y="258432"/>
                      </a:lnTo>
                      <a:lnTo>
                        <a:pt x="319316" y="255892"/>
                      </a:lnTo>
                      <a:lnTo>
                        <a:pt x="322567" y="254622"/>
                      </a:lnTo>
                      <a:lnTo>
                        <a:pt x="323837" y="254622"/>
                      </a:lnTo>
                      <a:lnTo>
                        <a:pt x="327431" y="253352"/>
                      </a:lnTo>
                      <a:lnTo>
                        <a:pt x="330352" y="252082"/>
                      </a:lnTo>
                      <a:lnTo>
                        <a:pt x="334543" y="252082"/>
                      </a:lnTo>
                      <a:lnTo>
                        <a:pt x="334619" y="254622"/>
                      </a:lnTo>
                      <a:lnTo>
                        <a:pt x="335191" y="253352"/>
                      </a:lnTo>
                      <a:lnTo>
                        <a:pt x="336575" y="251980"/>
                      </a:lnTo>
                      <a:lnTo>
                        <a:pt x="339204" y="249542"/>
                      </a:lnTo>
                      <a:lnTo>
                        <a:pt x="341604" y="250812"/>
                      </a:lnTo>
                      <a:lnTo>
                        <a:pt x="342734" y="249542"/>
                      </a:lnTo>
                      <a:lnTo>
                        <a:pt x="344970" y="247002"/>
                      </a:lnTo>
                      <a:lnTo>
                        <a:pt x="345236" y="247002"/>
                      </a:lnTo>
                      <a:lnTo>
                        <a:pt x="349110" y="245732"/>
                      </a:lnTo>
                      <a:lnTo>
                        <a:pt x="355676" y="245732"/>
                      </a:lnTo>
                      <a:lnTo>
                        <a:pt x="355739" y="240652"/>
                      </a:lnTo>
                      <a:lnTo>
                        <a:pt x="355968" y="236842"/>
                      </a:lnTo>
                      <a:lnTo>
                        <a:pt x="358851" y="235572"/>
                      </a:lnTo>
                      <a:lnTo>
                        <a:pt x="362826" y="235572"/>
                      </a:lnTo>
                      <a:lnTo>
                        <a:pt x="364883" y="234302"/>
                      </a:lnTo>
                      <a:lnTo>
                        <a:pt x="366928" y="231762"/>
                      </a:lnTo>
                      <a:lnTo>
                        <a:pt x="370116" y="231762"/>
                      </a:lnTo>
                      <a:lnTo>
                        <a:pt x="377596" y="233032"/>
                      </a:lnTo>
                      <a:lnTo>
                        <a:pt x="377355" y="231762"/>
                      </a:lnTo>
                      <a:lnTo>
                        <a:pt x="378231" y="229222"/>
                      </a:lnTo>
                      <a:lnTo>
                        <a:pt x="379095" y="226682"/>
                      </a:lnTo>
                      <a:lnTo>
                        <a:pt x="380669" y="224142"/>
                      </a:lnTo>
                      <a:lnTo>
                        <a:pt x="378612" y="220332"/>
                      </a:lnTo>
                      <a:lnTo>
                        <a:pt x="377952" y="219062"/>
                      </a:lnTo>
                      <a:lnTo>
                        <a:pt x="376085" y="219062"/>
                      </a:lnTo>
                      <a:lnTo>
                        <a:pt x="374332" y="217792"/>
                      </a:lnTo>
                      <a:lnTo>
                        <a:pt x="377837" y="215252"/>
                      </a:lnTo>
                      <a:lnTo>
                        <a:pt x="381571" y="213982"/>
                      </a:lnTo>
                      <a:lnTo>
                        <a:pt x="378739" y="213982"/>
                      </a:lnTo>
                      <a:lnTo>
                        <a:pt x="377177" y="212712"/>
                      </a:lnTo>
                      <a:lnTo>
                        <a:pt x="376986" y="212712"/>
                      </a:lnTo>
                      <a:lnTo>
                        <a:pt x="376262" y="211442"/>
                      </a:lnTo>
                      <a:lnTo>
                        <a:pt x="378434" y="210172"/>
                      </a:lnTo>
                      <a:lnTo>
                        <a:pt x="381990" y="207632"/>
                      </a:lnTo>
                      <a:lnTo>
                        <a:pt x="382587" y="205092"/>
                      </a:lnTo>
                      <a:lnTo>
                        <a:pt x="383501" y="203822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79" name="object 119">
                  <a:extLst>
                    <a:ext uri="{FF2B5EF4-FFF2-40B4-BE49-F238E27FC236}">
                      <a16:creationId xmlns:a16="http://schemas.microsoft.com/office/drawing/2014/main" id="{5385F3D5-8C58-E30E-C2EC-3DEC3265C7FA}"/>
                    </a:ext>
                  </a:extLst>
                </p:cNvPr>
                <p:cNvSpPr/>
                <p:nvPr/>
              </p:nvSpPr>
              <p:spPr>
                <a:xfrm>
                  <a:off x="2836795" y="2151965"/>
                  <a:ext cx="170815" cy="1574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14" h="157480">
                      <a:moveTo>
                        <a:pt x="145376" y="140969"/>
                      </a:moveTo>
                      <a:lnTo>
                        <a:pt x="137185" y="140969"/>
                      </a:lnTo>
                      <a:lnTo>
                        <a:pt x="137286" y="143509"/>
                      </a:lnTo>
                      <a:lnTo>
                        <a:pt x="135420" y="143509"/>
                      </a:lnTo>
                      <a:lnTo>
                        <a:pt x="133743" y="144779"/>
                      </a:lnTo>
                      <a:lnTo>
                        <a:pt x="132689" y="144779"/>
                      </a:lnTo>
                      <a:lnTo>
                        <a:pt x="132168" y="146049"/>
                      </a:lnTo>
                      <a:lnTo>
                        <a:pt x="131775" y="146049"/>
                      </a:lnTo>
                      <a:lnTo>
                        <a:pt x="132956" y="147319"/>
                      </a:lnTo>
                      <a:lnTo>
                        <a:pt x="132892" y="148589"/>
                      </a:lnTo>
                      <a:lnTo>
                        <a:pt x="131546" y="149859"/>
                      </a:lnTo>
                      <a:lnTo>
                        <a:pt x="129793" y="152399"/>
                      </a:lnTo>
                      <a:lnTo>
                        <a:pt x="126771" y="157479"/>
                      </a:lnTo>
                      <a:lnTo>
                        <a:pt x="135839" y="157479"/>
                      </a:lnTo>
                      <a:lnTo>
                        <a:pt x="137350" y="154939"/>
                      </a:lnTo>
                      <a:lnTo>
                        <a:pt x="139141" y="152399"/>
                      </a:lnTo>
                      <a:lnTo>
                        <a:pt x="141871" y="151129"/>
                      </a:lnTo>
                      <a:lnTo>
                        <a:pt x="142595" y="148589"/>
                      </a:lnTo>
                      <a:lnTo>
                        <a:pt x="141401" y="146049"/>
                      </a:lnTo>
                      <a:lnTo>
                        <a:pt x="132168" y="146049"/>
                      </a:lnTo>
                      <a:lnTo>
                        <a:pt x="132092" y="144779"/>
                      </a:lnTo>
                      <a:lnTo>
                        <a:pt x="141820" y="144779"/>
                      </a:lnTo>
                      <a:lnTo>
                        <a:pt x="142239" y="143509"/>
                      </a:lnTo>
                      <a:lnTo>
                        <a:pt x="145376" y="140969"/>
                      </a:lnTo>
                      <a:close/>
                    </a:path>
                    <a:path w="170814" h="157480">
                      <a:moveTo>
                        <a:pt x="150012" y="140969"/>
                      </a:moveTo>
                      <a:lnTo>
                        <a:pt x="149212" y="140969"/>
                      </a:lnTo>
                      <a:lnTo>
                        <a:pt x="149872" y="142239"/>
                      </a:lnTo>
                      <a:lnTo>
                        <a:pt x="150012" y="140969"/>
                      </a:lnTo>
                      <a:close/>
                    </a:path>
                    <a:path w="170814" h="157480">
                      <a:moveTo>
                        <a:pt x="142994" y="121919"/>
                      </a:moveTo>
                      <a:lnTo>
                        <a:pt x="129603" y="121919"/>
                      </a:lnTo>
                      <a:lnTo>
                        <a:pt x="133349" y="133349"/>
                      </a:lnTo>
                      <a:lnTo>
                        <a:pt x="134200" y="137159"/>
                      </a:lnTo>
                      <a:lnTo>
                        <a:pt x="136817" y="140969"/>
                      </a:lnTo>
                      <a:lnTo>
                        <a:pt x="150101" y="140969"/>
                      </a:lnTo>
                      <a:lnTo>
                        <a:pt x="151828" y="139699"/>
                      </a:lnTo>
                      <a:lnTo>
                        <a:pt x="150812" y="137159"/>
                      </a:lnTo>
                      <a:lnTo>
                        <a:pt x="150240" y="132079"/>
                      </a:lnTo>
                      <a:lnTo>
                        <a:pt x="147967" y="132079"/>
                      </a:lnTo>
                      <a:lnTo>
                        <a:pt x="145173" y="129539"/>
                      </a:lnTo>
                      <a:lnTo>
                        <a:pt x="143103" y="129539"/>
                      </a:lnTo>
                      <a:lnTo>
                        <a:pt x="141109" y="128269"/>
                      </a:lnTo>
                      <a:lnTo>
                        <a:pt x="141998" y="126999"/>
                      </a:lnTo>
                      <a:lnTo>
                        <a:pt x="142994" y="121919"/>
                      </a:lnTo>
                      <a:close/>
                    </a:path>
                    <a:path w="170814" h="157480">
                      <a:moveTo>
                        <a:pt x="162896" y="113029"/>
                      </a:moveTo>
                      <a:lnTo>
                        <a:pt x="149339" y="113029"/>
                      </a:lnTo>
                      <a:lnTo>
                        <a:pt x="154165" y="114299"/>
                      </a:lnTo>
                      <a:lnTo>
                        <a:pt x="151295" y="115569"/>
                      </a:lnTo>
                      <a:lnTo>
                        <a:pt x="153263" y="116839"/>
                      </a:lnTo>
                      <a:lnTo>
                        <a:pt x="155333" y="116839"/>
                      </a:lnTo>
                      <a:lnTo>
                        <a:pt x="159740" y="118109"/>
                      </a:lnTo>
                      <a:lnTo>
                        <a:pt x="159931" y="119379"/>
                      </a:lnTo>
                      <a:lnTo>
                        <a:pt x="163360" y="124459"/>
                      </a:lnTo>
                      <a:lnTo>
                        <a:pt x="168046" y="126999"/>
                      </a:lnTo>
                      <a:lnTo>
                        <a:pt x="168427" y="124459"/>
                      </a:lnTo>
                      <a:lnTo>
                        <a:pt x="169138" y="123189"/>
                      </a:lnTo>
                      <a:lnTo>
                        <a:pt x="170484" y="119379"/>
                      </a:lnTo>
                      <a:lnTo>
                        <a:pt x="165811" y="116839"/>
                      </a:lnTo>
                      <a:lnTo>
                        <a:pt x="162896" y="113029"/>
                      </a:lnTo>
                      <a:close/>
                    </a:path>
                    <a:path w="170814" h="157480">
                      <a:moveTo>
                        <a:pt x="136151" y="100329"/>
                      </a:moveTo>
                      <a:lnTo>
                        <a:pt x="100164" y="100329"/>
                      </a:lnTo>
                      <a:lnTo>
                        <a:pt x="104914" y="106679"/>
                      </a:lnTo>
                      <a:lnTo>
                        <a:pt x="108572" y="109219"/>
                      </a:lnTo>
                      <a:lnTo>
                        <a:pt x="110121" y="109219"/>
                      </a:lnTo>
                      <a:lnTo>
                        <a:pt x="111721" y="110489"/>
                      </a:lnTo>
                      <a:lnTo>
                        <a:pt x="111290" y="111759"/>
                      </a:lnTo>
                      <a:lnTo>
                        <a:pt x="117640" y="111759"/>
                      </a:lnTo>
                      <a:lnTo>
                        <a:pt x="119532" y="115569"/>
                      </a:lnTo>
                      <a:lnTo>
                        <a:pt x="119392" y="116839"/>
                      </a:lnTo>
                      <a:lnTo>
                        <a:pt x="118986" y="118109"/>
                      </a:lnTo>
                      <a:lnTo>
                        <a:pt x="118694" y="119379"/>
                      </a:lnTo>
                      <a:lnTo>
                        <a:pt x="118249" y="119379"/>
                      </a:lnTo>
                      <a:lnTo>
                        <a:pt x="121704" y="120649"/>
                      </a:lnTo>
                      <a:lnTo>
                        <a:pt x="123609" y="123189"/>
                      </a:lnTo>
                      <a:lnTo>
                        <a:pt x="127812" y="123189"/>
                      </a:lnTo>
                      <a:lnTo>
                        <a:pt x="129603" y="121919"/>
                      </a:lnTo>
                      <a:lnTo>
                        <a:pt x="142994" y="121919"/>
                      </a:lnTo>
                      <a:lnTo>
                        <a:pt x="143243" y="120649"/>
                      </a:lnTo>
                      <a:lnTo>
                        <a:pt x="144754" y="118109"/>
                      </a:lnTo>
                      <a:lnTo>
                        <a:pt x="149339" y="113029"/>
                      </a:lnTo>
                      <a:lnTo>
                        <a:pt x="162896" y="113029"/>
                      </a:lnTo>
                      <a:lnTo>
                        <a:pt x="161924" y="111759"/>
                      </a:lnTo>
                      <a:lnTo>
                        <a:pt x="158191" y="110489"/>
                      </a:lnTo>
                      <a:lnTo>
                        <a:pt x="153504" y="107949"/>
                      </a:lnTo>
                      <a:lnTo>
                        <a:pt x="151320" y="106679"/>
                      </a:lnTo>
                      <a:lnTo>
                        <a:pt x="142951" y="102869"/>
                      </a:lnTo>
                      <a:lnTo>
                        <a:pt x="136944" y="101599"/>
                      </a:lnTo>
                      <a:lnTo>
                        <a:pt x="136151" y="100329"/>
                      </a:lnTo>
                      <a:close/>
                    </a:path>
                    <a:path w="170814" h="157480">
                      <a:moveTo>
                        <a:pt x="113512" y="111759"/>
                      </a:moveTo>
                      <a:lnTo>
                        <a:pt x="110566" y="111759"/>
                      </a:lnTo>
                      <a:lnTo>
                        <a:pt x="110096" y="113029"/>
                      </a:lnTo>
                      <a:lnTo>
                        <a:pt x="111798" y="113029"/>
                      </a:lnTo>
                      <a:lnTo>
                        <a:pt x="113512" y="111759"/>
                      </a:lnTo>
                      <a:close/>
                    </a:path>
                    <a:path w="170814" h="157480">
                      <a:moveTo>
                        <a:pt x="81589" y="46989"/>
                      </a:moveTo>
                      <a:lnTo>
                        <a:pt x="28955" y="46989"/>
                      </a:lnTo>
                      <a:lnTo>
                        <a:pt x="36004" y="48259"/>
                      </a:lnTo>
                      <a:lnTo>
                        <a:pt x="40131" y="50799"/>
                      </a:lnTo>
                      <a:lnTo>
                        <a:pt x="48679" y="53339"/>
                      </a:lnTo>
                      <a:lnTo>
                        <a:pt x="51650" y="54609"/>
                      </a:lnTo>
                      <a:lnTo>
                        <a:pt x="52323" y="62229"/>
                      </a:lnTo>
                      <a:lnTo>
                        <a:pt x="53492" y="64769"/>
                      </a:lnTo>
                      <a:lnTo>
                        <a:pt x="55206" y="69849"/>
                      </a:lnTo>
                      <a:lnTo>
                        <a:pt x="55333" y="71119"/>
                      </a:lnTo>
                      <a:lnTo>
                        <a:pt x="55549" y="72389"/>
                      </a:lnTo>
                      <a:lnTo>
                        <a:pt x="59486" y="72389"/>
                      </a:lnTo>
                      <a:lnTo>
                        <a:pt x="61709" y="77469"/>
                      </a:lnTo>
                      <a:lnTo>
                        <a:pt x="63068" y="78739"/>
                      </a:lnTo>
                      <a:lnTo>
                        <a:pt x="64719" y="80009"/>
                      </a:lnTo>
                      <a:lnTo>
                        <a:pt x="64820" y="81279"/>
                      </a:lnTo>
                      <a:lnTo>
                        <a:pt x="63499" y="81279"/>
                      </a:lnTo>
                      <a:lnTo>
                        <a:pt x="64300" y="82549"/>
                      </a:lnTo>
                      <a:lnTo>
                        <a:pt x="70434" y="82549"/>
                      </a:lnTo>
                      <a:lnTo>
                        <a:pt x="72999" y="86359"/>
                      </a:lnTo>
                      <a:lnTo>
                        <a:pt x="88633" y="99059"/>
                      </a:lnTo>
                      <a:lnTo>
                        <a:pt x="89915" y="100329"/>
                      </a:lnTo>
                      <a:lnTo>
                        <a:pt x="91249" y="101599"/>
                      </a:lnTo>
                      <a:lnTo>
                        <a:pt x="91566" y="101599"/>
                      </a:lnTo>
                      <a:lnTo>
                        <a:pt x="94919" y="104139"/>
                      </a:lnTo>
                      <a:lnTo>
                        <a:pt x="100164" y="100329"/>
                      </a:lnTo>
                      <a:lnTo>
                        <a:pt x="136151" y="100329"/>
                      </a:lnTo>
                      <a:lnTo>
                        <a:pt x="132981" y="95249"/>
                      </a:lnTo>
                      <a:lnTo>
                        <a:pt x="134429" y="95249"/>
                      </a:lnTo>
                      <a:lnTo>
                        <a:pt x="136867" y="93979"/>
                      </a:lnTo>
                      <a:lnTo>
                        <a:pt x="136740" y="91439"/>
                      </a:lnTo>
                      <a:lnTo>
                        <a:pt x="136436" y="90169"/>
                      </a:lnTo>
                      <a:lnTo>
                        <a:pt x="120434" y="90169"/>
                      </a:lnTo>
                      <a:lnTo>
                        <a:pt x="117525" y="88899"/>
                      </a:lnTo>
                      <a:lnTo>
                        <a:pt x="114553" y="86359"/>
                      </a:lnTo>
                      <a:lnTo>
                        <a:pt x="112979" y="85089"/>
                      </a:lnTo>
                      <a:lnTo>
                        <a:pt x="108064" y="80009"/>
                      </a:lnTo>
                      <a:lnTo>
                        <a:pt x="106400" y="77469"/>
                      </a:lnTo>
                      <a:lnTo>
                        <a:pt x="102869" y="71119"/>
                      </a:lnTo>
                      <a:lnTo>
                        <a:pt x="102704" y="66039"/>
                      </a:lnTo>
                      <a:lnTo>
                        <a:pt x="96710" y="60959"/>
                      </a:lnTo>
                      <a:lnTo>
                        <a:pt x="93192" y="58419"/>
                      </a:lnTo>
                      <a:lnTo>
                        <a:pt x="85915" y="53339"/>
                      </a:lnTo>
                      <a:lnTo>
                        <a:pt x="82537" y="52069"/>
                      </a:lnTo>
                      <a:lnTo>
                        <a:pt x="81589" y="46989"/>
                      </a:lnTo>
                      <a:close/>
                    </a:path>
                    <a:path w="170814" h="157480">
                      <a:moveTo>
                        <a:pt x="57518" y="72389"/>
                      </a:moveTo>
                      <a:lnTo>
                        <a:pt x="54762" y="72389"/>
                      </a:lnTo>
                      <a:lnTo>
                        <a:pt x="55587" y="73659"/>
                      </a:lnTo>
                      <a:lnTo>
                        <a:pt x="57518" y="72389"/>
                      </a:lnTo>
                      <a:close/>
                    </a:path>
                    <a:path w="170814" h="157480">
                      <a:moveTo>
                        <a:pt x="99885" y="21589"/>
                      </a:moveTo>
                      <a:lnTo>
                        <a:pt x="1777" y="21589"/>
                      </a:lnTo>
                      <a:lnTo>
                        <a:pt x="6667" y="27939"/>
                      </a:lnTo>
                      <a:lnTo>
                        <a:pt x="7708" y="29209"/>
                      </a:lnTo>
                      <a:lnTo>
                        <a:pt x="7848" y="29209"/>
                      </a:lnTo>
                      <a:lnTo>
                        <a:pt x="7061" y="30479"/>
                      </a:lnTo>
                      <a:lnTo>
                        <a:pt x="6845" y="31749"/>
                      </a:lnTo>
                      <a:lnTo>
                        <a:pt x="7150" y="31749"/>
                      </a:lnTo>
                      <a:lnTo>
                        <a:pt x="5968" y="33019"/>
                      </a:lnTo>
                      <a:lnTo>
                        <a:pt x="1600" y="34289"/>
                      </a:lnTo>
                      <a:lnTo>
                        <a:pt x="0" y="34289"/>
                      </a:lnTo>
                      <a:lnTo>
                        <a:pt x="6121" y="41909"/>
                      </a:lnTo>
                      <a:lnTo>
                        <a:pt x="4305" y="43179"/>
                      </a:lnTo>
                      <a:lnTo>
                        <a:pt x="2374" y="46989"/>
                      </a:lnTo>
                      <a:lnTo>
                        <a:pt x="15379" y="53339"/>
                      </a:lnTo>
                      <a:lnTo>
                        <a:pt x="14566" y="54609"/>
                      </a:lnTo>
                      <a:lnTo>
                        <a:pt x="13842" y="55879"/>
                      </a:lnTo>
                      <a:lnTo>
                        <a:pt x="13030" y="58419"/>
                      </a:lnTo>
                      <a:lnTo>
                        <a:pt x="13893" y="58419"/>
                      </a:lnTo>
                      <a:lnTo>
                        <a:pt x="14300" y="57149"/>
                      </a:lnTo>
                      <a:lnTo>
                        <a:pt x="20243" y="57149"/>
                      </a:lnTo>
                      <a:lnTo>
                        <a:pt x="28955" y="46989"/>
                      </a:lnTo>
                      <a:lnTo>
                        <a:pt x="81589" y="46989"/>
                      </a:lnTo>
                      <a:lnTo>
                        <a:pt x="81114" y="44449"/>
                      </a:lnTo>
                      <a:lnTo>
                        <a:pt x="80403" y="41909"/>
                      </a:lnTo>
                      <a:lnTo>
                        <a:pt x="80683" y="39369"/>
                      </a:lnTo>
                      <a:lnTo>
                        <a:pt x="83578" y="39369"/>
                      </a:lnTo>
                      <a:lnTo>
                        <a:pt x="84188" y="36829"/>
                      </a:lnTo>
                      <a:lnTo>
                        <a:pt x="83946" y="36829"/>
                      </a:lnTo>
                      <a:lnTo>
                        <a:pt x="82016" y="34289"/>
                      </a:lnTo>
                      <a:lnTo>
                        <a:pt x="79146" y="31749"/>
                      </a:lnTo>
                      <a:lnTo>
                        <a:pt x="78930" y="30479"/>
                      </a:lnTo>
                      <a:lnTo>
                        <a:pt x="80289" y="29209"/>
                      </a:lnTo>
                      <a:lnTo>
                        <a:pt x="82524" y="26669"/>
                      </a:lnTo>
                      <a:lnTo>
                        <a:pt x="91808" y="26669"/>
                      </a:lnTo>
                      <a:lnTo>
                        <a:pt x="93497" y="24129"/>
                      </a:lnTo>
                      <a:lnTo>
                        <a:pt x="91960" y="24129"/>
                      </a:lnTo>
                      <a:lnTo>
                        <a:pt x="95161" y="22859"/>
                      </a:lnTo>
                      <a:lnTo>
                        <a:pt x="100304" y="22859"/>
                      </a:lnTo>
                      <a:lnTo>
                        <a:pt x="99885" y="21589"/>
                      </a:lnTo>
                      <a:close/>
                    </a:path>
                    <a:path w="170814" h="157480">
                      <a:moveTo>
                        <a:pt x="83578" y="39369"/>
                      </a:moveTo>
                      <a:lnTo>
                        <a:pt x="80683" y="39369"/>
                      </a:lnTo>
                      <a:lnTo>
                        <a:pt x="82613" y="40639"/>
                      </a:lnTo>
                      <a:lnTo>
                        <a:pt x="83578" y="39369"/>
                      </a:lnTo>
                      <a:close/>
                    </a:path>
                    <a:path w="170814" h="157480">
                      <a:moveTo>
                        <a:pt x="88480" y="26669"/>
                      </a:moveTo>
                      <a:lnTo>
                        <a:pt x="83235" y="26669"/>
                      </a:lnTo>
                      <a:lnTo>
                        <a:pt x="83248" y="27939"/>
                      </a:lnTo>
                      <a:lnTo>
                        <a:pt x="82981" y="27939"/>
                      </a:lnTo>
                      <a:lnTo>
                        <a:pt x="82727" y="29209"/>
                      </a:lnTo>
                      <a:lnTo>
                        <a:pt x="84315" y="27939"/>
                      </a:lnTo>
                      <a:lnTo>
                        <a:pt x="88480" y="26669"/>
                      </a:lnTo>
                      <a:close/>
                    </a:path>
                    <a:path w="170814" h="157480">
                      <a:moveTo>
                        <a:pt x="104216" y="25399"/>
                      </a:moveTo>
                      <a:lnTo>
                        <a:pt x="101193" y="25399"/>
                      </a:lnTo>
                      <a:lnTo>
                        <a:pt x="101053" y="26669"/>
                      </a:lnTo>
                      <a:lnTo>
                        <a:pt x="103466" y="26669"/>
                      </a:lnTo>
                      <a:lnTo>
                        <a:pt x="104216" y="25399"/>
                      </a:lnTo>
                      <a:close/>
                    </a:path>
                    <a:path w="170814" h="157480">
                      <a:moveTo>
                        <a:pt x="103352" y="24129"/>
                      </a:moveTo>
                      <a:lnTo>
                        <a:pt x="100215" y="24129"/>
                      </a:lnTo>
                      <a:lnTo>
                        <a:pt x="100266" y="25399"/>
                      </a:lnTo>
                      <a:lnTo>
                        <a:pt x="103631" y="25399"/>
                      </a:lnTo>
                      <a:lnTo>
                        <a:pt x="103352" y="24129"/>
                      </a:lnTo>
                      <a:close/>
                    </a:path>
                    <a:path w="170814" h="157480">
                      <a:moveTo>
                        <a:pt x="98653" y="22859"/>
                      </a:moveTo>
                      <a:lnTo>
                        <a:pt x="95161" y="22859"/>
                      </a:lnTo>
                      <a:lnTo>
                        <a:pt x="96405" y="24129"/>
                      </a:lnTo>
                      <a:lnTo>
                        <a:pt x="98653" y="22859"/>
                      </a:lnTo>
                      <a:close/>
                    </a:path>
                    <a:path w="170814" h="157480">
                      <a:moveTo>
                        <a:pt x="101676" y="22859"/>
                      </a:moveTo>
                      <a:lnTo>
                        <a:pt x="99580" y="22859"/>
                      </a:lnTo>
                      <a:lnTo>
                        <a:pt x="99860" y="24129"/>
                      </a:lnTo>
                      <a:lnTo>
                        <a:pt x="102488" y="24129"/>
                      </a:lnTo>
                      <a:lnTo>
                        <a:pt x="101676" y="22859"/>
                      </a:lnTo>
                      <a:close/>
                    </a:path>
                    <a:path w="170814" h="157480">
                      <a:moveTo>
                        <a:pt x="31495" y="16509"/>
                      </a:moveTo>
                      <a:lnTo>
                        <a:pt x="30429" y="17779"/>
                      </a:lnTo>
                      <a:lnTo>
                        <a:pt x="19494" y="17779"/>
                      </a:lnTo>
                      <a:lnTo>
                        <a:pt x="17741" y="20319"/>
                      </a:lnTo>
                      <a:lnTo>
                        <a:pt x="5054" y="20319"/>
                      </a:lnTo>
                      <a:lnTo>
                        <a:pt x="4114" y="21589"/>
                      </a:lnTo>
                      <a:lnTo>
                        <a:pt x="32740" y="21589"/>
                      </a:lnTo>
                      <a:lnTo>
                        <a:pt x="32613" y="20319"/>
                      </a:lnTo>
                      <a:lnTo>
                        <a:pt x="32194" y="19049"/>
                      </a:lnTo>
                      <a:lnTo>
                        <a:pt x="31495" y="16509"/>
                      </a:lnTo>
                      <a:close/>
                    </a:path>
                    <a:path w="170814" h="157480">
                      <a:moveTo>
                        <a:pt x="100698" y="15239"/>
                      </a:moveTo>
                      <a:lnTo>
                        <a:pt x="36296" y="15239"/>
                      </a:lnTo>
                      <a:lnTo>
                        <a:pt x="35204" y="16509"/>
                      </a:lnTo>
                      <a:lnTo>
                        <a:pt x="34975" y="16509"/>
                      </a:lnTo>
                      <a:lnTo>
                        <a:pt x="34124" y="20319"/>
                      </a:lnTo>
                      <a:lnTo>
                        <a:pt x="33337" y="21589"/>
                      </a:lnTo>
                      <a:lnTo>
                        <a:pt x="99720" y="21589"/>
                      </a:lnTo>
                      <a:lnTo>
                        <a:pt x="99847" y="20319"/>
                      </a:lnTo>
                      <a:lnTo>
                        <a:pt x="99669" y="19049"/>
                      </a:lnTo>
                      <a:lnTo>
                        <a:pt x="99199" y="19049"/>
                      </a:lnTo>
                      <a:lnTo>
                        <a:pt x="98234" y="17779"/>
                      </a:lnTo>
                      <a:lnTo>
                        <a:pt x="99212" y="17779"/>
                      </a:lnTo>
                      <a:lnTo>
                        <a:pt x="99923" y="16509"/>
                      </a:lnTo>
                      <a:lnTo>
                        <a:pt x="100698" y="15239"/>
                      </a:lnTo>
                      <a:close/>
                    </a:path>
                    <a:path w="170814" h="157480">
                      <a:moveTo>
                        <a:pt x="14604" y="19049"/>
                      </a:moveTo>
                      <a:lnTo>
                        <a:pt x="12268" y="19049"/>
                      </a:lnTo>
                      <a:lnTo>
                        <a:pt x="10667" y="20319"/>
                      </a:lnTo>
                      <a:lnTo>
                        <a:pt x="16319" y="20319"/>
                      </a:lnTo>
                      <a:lnTo>
                        <a:pt x="14604" y="19049"/>
                      </a:lnTo>
                      <a:close/>
                    </a:path>
                    <a:path w="170814" h="157480">
                      <a:moveTo>
                        <a:pt x="26022" y="11429"/>
                      </a:moveTo>
                      <a:lnTo>
                        <a:pt x="23202" y="11429"/>
                      </a:lnTo>
                      <a:lnTo>
                        <a:pt x="21310" y="13969"/>
                      </a:lnTo>
                      <a:lnTo>
                        <a:pt x="20192" y="17779"/>
                      </a:lnTo>
                      <a:lnTo>
                        <a:pt x="30429" y="17779"/>
                      </a:lnTo>
                      <a:lnTo>
                        <a:pt x="28790" y="16509"/>
                      </a:lnTo>
                      <a:lnTo>
                        <a:pt x="26365" y="15239"/>
                      </a:lnTo>
                      <a:lnTo>
                        <a:pt x="25615" y="13969"/>
                      </a:lnTo>
                      <a:lnTo>
                        <a:pt x="26022" y="11429"/>
                      </a:lnTo>
                      <a:close/>
                    </a:path>
                    <a:path w="170814" h="157480">
                      <a:moveTo>
                        <a:pt x="37972" y="10159"/>
                      </a:moveTo>
                      <a:lnTo>
                        <a:pt x="37826" y="11429"/>
                      </a:lnTo>
                      <a:lnTo>
                        <a:pt x="37757" y="13969"/>
                      </a:lnTo>
                      <a:lnTo>
                        <a:pt x="36410" y="15239"/>
                      </a:lnTo>
                      <a:lnTo>
                        <a:pt x="47370" y="15239"/>
                      </a:lnTo>
                      <a:lnTo>
                        <a:pt x="37972" y="10159"/>
                      </a:lnTo>
                      <a:close/>
                    </a:path>
                    <a:path w="170814" h="157480">
                      <a:moveTo>
                        <a:pt x="98158" y="13969"/>
                      </a:moveTo>
                      <a:lnTo>
                        <a:pt x="50774" y="13969"/>
                      </a:lnTo>
                      <a:lnTo>
                        <a:pt x="50418" y="15239"/>
                      </a:lnTo>
                      <a:lnTo>
                        <a:pt x="99402" y="15239"/>
                      </a:lnTo>
                      <a:lnTo>
                        <a:pt x="98158" y="13969"/>
                      </a:lnTo>
                      <a:close/>
                    </a:path>
                    <a:path w="170814" h="157480">
                      <a:moveTo>
                        <a:pt x="97637" y="12699"/>
                      </a:moveTo>
                      <a:lnTo>
                        <a:pt x="49809" y="12699"/>
                      </a:lnTo>
                      <a:lnTo>
                        <a:pt x="50304" y="13969"/>
                      </a:lnTo>
                      <a:lnTo>
                        <a:pt x="96900" y="13969"/>
                      </a:lnTo>
                      <a:lnTo>
                        <a:pt x="97637" y="12699"/>
                      </a:lnTo>
                      <a:close/>
                    </a:path>
                    <a:path w="170814" h="157480">
                      <a:moveTo>
                        <a:pt x="101345" y="10159"/>
                      </a:moveTo>
                      <a:lnTo>
                        <a:pt x="48945" y="10159"/>
                      </a:lnTo>
                      <a:lnTo>
                        <a:pt x="49212" y="11429"/>
                      </a:lnTo>
                      <a:lnTo>
                        <a:pt x="50672" y="11429"/>
                      </a:lnTo>
                      <a:lnTo>
                        <a:pt x="49707" y="12699"/>
                      </a:lnTo>
                      <a:lnTo>
                        <a:pt x="99098" y="12699"/>
                      </a:lnTo>
                      <a:lnTo>
                        <a:pt x="101015" y="11429"/>
                      </a:lnTo>
                      <a:lnTo>
                        <a:pt x="101345" y="10159"/>
                      </a:lnTo>
                      <a:close/>
                    </a:path>
                    <a:path w="170814" h="157480">
                      <a:moveTo>
                        <a:pt x="25793" y="10159"/>
                      </a:moveTo>
                      <a:lnTo>
                        <a:pt x="25145" y="11429"/>
                      </a:lnTo>
                      <a:lnTo>
                        <a:pt x="26111" y="11429"/>
                      </a:lnTo>
                      <a:lnTo>
                        <a:pt x="25793" y="10159"/>
                      </a:lnTo>
                      <a:close/>
                    </a:path>
                    <a:path w="170814" h="157480">
                      <a:moveTo>
                        <a:pt x="100393" y="8889"/>
                      </a:moveTo>
                      <a:lnTo>
                        <a:pt x="48869" y="8889"/>
                      </a:lnTo>
                      <a:lnTo>
                        <a:pt x="48831" y="10159"/>
                      </a:lnTo>
                      <a:lnTo>
                        <a:pt x="101409" y="10159"/>
                      </a:lnTo>
                      <a:lnTo>
                        <a:pt x="100393" y="8889"/>
                      </a:lnTo>
                      <a:close/>
                    </a:path>
                    <a:path w="170814" h="157480">
                      <a:moveTo>
                        <a:pt x="50291" y="7619"/>
                      </a:moveTo>
                      <a:lnTo>
                        <a:pt x="49123" y="8889"/>
                      </a:lnTo>
                      <a:lnTo>
                        <a:pt x="52768" y="8889"/>
                      </a:lnTo>
                      <a:lnTo>
                        <a:pt x="50291" y="7619"/>
                      </a:lnTo>
                      <a:close/>
                    </a:path>
                    <a:path w="170814" h="157480">
                      <a:moveTo>
                        <a:pt x="56603" y="3809"/>
                      </a:moveTo>
                      <a:lnTo>
                        <a:pt x="54902" y="3809"/>
                      </a:lnTo>
                      <a:lnTo>
                        <a:pt x="55054" y="6349"/>
                      </a:lnTo>
                      <a:lnTo>
                        <a:pt x="54749" y="7619"/>
                      </a:lnTo>
                      <a:lnTo>
                        <a:pt x="54724" y="8889"/>
                      </a:lnTo>
                      <a:lnTo>
                        <a:pt x="90728" y="8889"/>
                      </a:lnTo>
                      <a:lnTo>
                        <a:pt x="86321" y="7619"/>
                      </a:lnTo>
                      <a:lnTo>
                        <a:pt x="82727" y="6349"/>
                      </a:lnTo>
                      <a:lnTo>
                        <a:pt x="80606" y="5079"/>
                      </a:lnTo>
                      <a:lnTo>
                        <a:pt x="59207" y="5079"/>
                      </a:lnTo>
                      <a:lnTo>
                        <a:pt x="56603" y="3809"/>
                      </a:lnTo>
                      <a:close/>
                    </a:path>
                    <a:path w="170814" h="157480">
                      <a:moveTo>
                        <a:pt x="79044" y="1269"/>
                      </a:moveTo>
                      <a:lnTo>
                        <a:pt x="64795" y="1269"/>
                      </a:lnTo>
                      <a:lnTo>
                        <a:pt x="64592" y="2539"/>
                      </a:lnTo>
                      <a:lnTo>
                        <a:pt x="64007" y="3809"/>
                      </a:lnTo>
                      <a:lnTo>
                        <a:pt x="63372" y="3809"/>
                      </a:lnTo>
                      <a:lnTo>
                        <a:pt x="62839" y="5079"/>
                      </a:lnTo>
                      <a:lnTo>
                        <a:pt x="80606" y="5079"/>
                      </a:lnTo>
                      <a:lnTo>
                        <a:pt x="79743" y="2539"/>
                      </a:lnTo>
                      <a:lnTo>
                        <a:pt x="79044" y="1269"/>
                      </a:lnTo>
                      <a:close/>
                    </a:path>
                    <a:path w="170814" h="157480">
                      <a:moveTo>
                        <a:pt x="80124" y="0"/>
                      </a:moveTo>
                      <a:lnTo>
                        <a:pt x="74244" y="0"/>
                      </a:lnTo>
                      <a:lnTo>
                        <a:pt x="71869" y="1269"/>
                      </a:lnTo>
                      <a:lnTo>
                        <a:pt x="79336" y="1269"/>
                      </a:lnTo>
                      <a:lnTo>
                        <a:pt x="80124" y="0"/>
                      </a:lnTo>
                      <a:close/>
                    </a:path>
                  </a:pathLst>
                </a:custGeom>
                <a:solidFill>
                  <a:srgbClr val="E21C39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80" name="object 120">
                  <a:extLst>
                    <a:ext uri="{FF2B5EF4-FFF2-40B4-BE49-F238E27FC236}">
                      <a16:creationId xmlns:a16="http://schemas.microsoft.com/office/drawing/2014/main" id="{CE44AFEB-9C4A-D099-4CE8-121949A80AD2}"/>
                    </a:ext>
                  </a:extLst>
                </p:cNvPr>
                <p:cNvSpPr/>
                <p:nvPr/>
              </p:nvSpPr>
              <p:spPr>
                <a:xfrm>
                  <a:off x="2500718" y="1791080"/>
                  <a:ext cx="1878964" cy="12280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78964" h="1228089">
                      <a:moveTo>
                        <a:pt x="3187" y="886256"/>
                      </a:moveTo>
                      <a:lnTo>
                        <a:pt x="3022" y="886345"/>
                      </a:lnTo>
                      <a:lnTo>
                        <a:pt x="2857" y="886447"/>
                      </a:lnTo>
                      <a:lnTo>
                        <a:pt x="2705" y="886536"/>
                      </a:lnTo>
                      <a:lnTo>
                        <a:pt x="2933" y="886447"/>
                      </a:lnTo>
                      <a:lnTo>
                        <a:pt x="3073" y="886523"/>
                      </a:lnTo>
                      <a:lnTo>
                        <a:pt x="3187" y="886256"/>
                      </a:lnTo>
                      <a:close/>
                    </a:path>
                    <a:path w="1878964" h="1228089">
                      <a:moveTo>
                        <a:pt x="6845" y="884174"/>
                      </a:moveTo>
                      <a:lnTo>
                        <a:pt x="5626" y="884466"/>
                      </a:lnTo>
                      <a:lnTo>
                        <a:pt x="4089" y="885355"/>
                      </a:lnTo>
                      <a:lnTo>
                        <a:pt x="3187" y="886256"/>
                      </a:lnTo>
                      <a:lnTo>
                        <a:pt x="4406" y="885571"/>
                      </a:lnTo>
                      <a:lnTo>
                        <a:pt x="6845" y="884174"/>
                      </a:lnTo>
                      <a:close/>
                    </a:path>
                    <a:path w="1878964" h="1228089">
                      <a:moveTo>
                        <a:pt x="8547" y="906767"/>
                      </a:moveTo>
                      <a:lnTo>
                        <a:pt x="7188" y="906691"/>
                      </a:lnTo>
                      <a:lnTo>
                        <a:pt x="5829" y="906576"/>
                      </a:lnTo>
                      <a:lnTo>
                        <a:pt x="4470" y="906576"/>
                      </a:lnTo>
                      <a:lnTo>
                        <a:pt x="6934" y="907732"/>
                      </a:lnTo>
                      <a:lnTo>
                        <a:pt x="6540" y="906729"/>
                      </a:lnTo>
                      <a:lnTo>
                        <a:pt x="8547" y="906767"/>
                      </a:lnTo>
                      <a:close/>
                    </a:path>
                    <a:path w="1878964" h="1228089">
                      <a:moveTo>
                        <a:pt x="9525" y="906818"/>
                      </a:moveTo>
                      <a:lnTo>
                        <a:pt x="9169" y="906780"/>
                      </a:lnTo>
                      <a:lnTo>
                        <a:pt x="8902" y="906678"/>
                      </a:lnTo>
                      <a:lnTo>
                        <a:pt x="8547" y="906767"/>
                      </a:lnTo>
                      <a:lnTo>
                        <a:pt x="8877" y="906792"/>
                      </a:lnTo>
                      <a:lnTo>
                        <a:pt x="9525" y="906818"/>
                      </a:lnTo>
                      <a:close/>
                    </a:path>
                    <a:path w="1878964" h="1228089">
                      <a:moveTo>
                        <a:pt x="21031" y="9817"/>
                      </a:moveTo>
                      <a:lnTo>
                        <a:pt x="20447" y="9334"/>
                      </a:lnTo>
                      <a:lnTo>
                        <a:pt x="19634" y="9283"/>
                      </a:lnTo>
                      <a:lnTo>
                        <a:pt x="20066" y="9702"/>
                      </a:lnTo>
                      <a:lnTo>
                        <a:pt x="20485" y="10134"/>
                      </a:lnTo>
                      <a:lnTo>
                        <a:pt x="20929" y="10553"/>
                      </a:lnTo>
                      <a:lnTo>
                        <a:pt x="21031" y="9817"/>
                      </a:lnTo>
                      <a:close/>
                    </a:path>
                    <a:path w="1878964" h="1228089">
                      <a:moveTo>
                        <a:pt x="22618" y="923963"/>
                      </a:moveTo>
                      <a:lnTo>
                        <a:pt x="21704" y="924471"/>
                      </a:lnTo>
                      <a:lnTo>
                        <a:pt x="21983" y="924433"/>
                      </a:lnTo>
                      <a:lnTo>
                        <a:pt x="22288" y="924255"/>
                      </a:lnTo>
                      <a:lnTo>
                        <a:pt x="22618" y="923963"/>
                      </a:lnTo>
                      <a:close/>
                    </a:path>
                    <a:path w="1878964" h="1228089">
                      <a:moveTo>
                        <a:pt x="30607" y="929703"/>
                      </a:moveTo>
                      <a:lnTo>
                        <a:pt x="30276" y="929728"/>
                      </a:lnTo>
                      <a:lnTo>
                        <a:pt x="30416" y="929881"/>
                      </a:lnTo>
                      <a:lnTo>
                        <a:pt x="30607" y="929703"/>
                      </a:lnTo>
                      <a:close/>
                    </a:path>
                    <a:path w="1878964" h="1228089">
                      <a:moveTo>
                        <a:pt x="33972" y="279"/>
                      </a:moveTo>
                      <a:lnTo>
                        <a:pt x="33959" y="0"/>
                      </a:lnTo>
                      <a:lnTo>
                        <a:pt x="33489" y="0"/>
                      </a:lnTo>
                      <a:lnTo>
                        <a:pt x="33705" y="165"/>
                      </a:lnTo>
                      <a:lnTo>
                        <a:pt x="33972" y="279"/>
                      </a:lnTo>
                      <a:close/>
                    </a:path>
                    <a:path w="1878964" h="1228089">
                      <a:moveTo>
                        <a:pt x="43065" y="895426"/>
                      </a:moveTo>
                      <a:lnTo>
                        <a:pt x="40436" y="893381"/>
                      </a:lnTo>
                      <a:lnTo>
                        <a:pt x="38773" y="893584"/>
                      </a:lnTo>
                      <a:lnTo>
                        <a:pt x="37973" y="893559"/>
                      </a:lnTo>
                      <a:lnTo>
                        <a:pt x="37172" y="893533"/>
                      </a:lnTo>
                      <a:lnTo>
                        <a:pt x="36385" y="893559"/>
                      </a:lnTo>
                      <a:lnTo>
                        <a:pt x="35407" y="893470"/>
                      </a:lnTo>
                      <a:lnTo>
                        <a:pt x="29654" y="889800"/>
                      </a:lnTo>
                      <a:lnTo>
                        <a:pt x="26365" y="889723"/>
                      </a:lnTo>
                      <a:lnTo>
                        <a:pt x="23634" y="889076"/>
                      </a:lnTo>
                      <a:lnTo>
                        <a:pt x="22148" y="889546"/>
                      </a:lnTo>
                      <a:lnTo>
                        <a:pt x="22148" y="893965"/>
                      </a:lnTo>
                      <a:lnTo>
                        <a:pt x="18707" y="894232"/>
                      </a:lnTo>
                      <a:lnTo>
                        <a:pt x="15265" y="894435"/>
                      </a:lnTo>
                      <a:lnTo>
                        <a:pt x="10541" y="894918"/>
                      </a:lnTo>
                      <a:lnTo>
                        <a:pt x="9067" y="895045"/>
                      </a:lnTo>
                      <a:lnTo>
                        <a:pt x="12738" y="893660"/>
                      </a:lnTo>
                      <a:lnTo>
                        <a:pt x="18326" y="894232"/>
                      </a:lnTo>
                      <a:lnTo>
                        <a:pt x="22148" y="893965"/>
                      </a:lnTo>
                      <a:lnTo>
                        <a:pt x="22148" y="889546"/>
                      </a:lnTo>
                      <a:lnTo>
                        <a:pt x="21069" y="889876"/>
                      </a:lnTo>
                      <a:lnTo>
                        <a:pt x="20281" y="890943"/>
                      </a:lnTo>
                      <a:lnTo>
                        <a:pt x="19532" y="891705"/>
                      </a:lnTo>
                      <a:lnTo>
                        <a:pt x="11836" y="892403"/>
                      </a:lnTo>
                      <a:lnTo>
                        <a:pt x="4064" y="892644"/>
                      </a:lnTo>
                      <a:lnTo>
                        <a:pt x="4165" y="892797"/>
                      </a:lnTo>
                      <a:lnTo>
                        <a:pt x="4279" y="893673"/>
                      </a:lnTo>
                      <a:lnTo>
                        <a:pt x="4533" y="893660"/>
                      </a:lnTo>
                      <a:lnTo>
                        <a:pt x="4673" y="893660"/>
                      </a:lnTo>
                      <a:lnTo>
                        <a:pt x="6210" y="896378"/>
                      </a:lnTo>
                      <a:lnTo>
                        <a:pt x="8331" y="895819"/>
                      </a:lnTo>
                      <a:lnTo>
                        <a:pt x="8394" y="895642"/>
                      </a:lnTo>
                      <a:lnTo>
                        <a:pt x="9842" y="897013"/>
                      </a:lnTo>
                      <a:lnTo>
                        <a:pt x="7277" y="897750"/>
                      </a:lnTo>
                      <a:lnTo>
                        <a:pt x="6019" y="898423"/>
                      </a:lnTo>
                      <a:lnTo>
                        <a:pt x="2679" y="895438"/>
                      </a:lnTo>
                      <a:lnTo>
                        <a:pt x="3022" y="893978"/>
                      </a:lnTo>
                      <a:lnTo>
                        <a:pt x="0" y="895426"/>
                      </a:lnTo>
                      <a:lnTo>
                        <a:pt x="63" y="895642"/>
                      </a:lnTo>
                      <a:lnTo>
                        <a:pt x="495" y="896569"/>
                      </a:lnTo>
                      <a:lnTo>
                        <a:pt x="977" y="898956"/>
                      </a:lnTo>
                      <a:lnTo>
                        <a:pt x="1168" y="899515"/>
                      </a:lnTo>
                      <a:lnTo>
                        <a:pt x="1498" y="899782"/>
                      </a:lnTo>
                      <a:lnTo>
                        <a:pt x="1511" y="900176"/>
                      </a:lnTo>
                      <a:lnTo>
                        <a:pt x="2159" y="900150"/>
                      </a:lnTo>
                      <a:lnTo>
                        <a:pt x="13804" y="898740"/>
                      </a:lnTo>
                      <a:lnTo>
                        <a:pt x="13982" y="898423"/>
                      </a:lnTo>
                      <a:lnTo>
                        <a:pt x="14071" y="898283"/>
                      </a:lnTo>
                      <a:lnTo>
                        <a:pt x="14757" y="897597"/>
                      </a:lnTo>
                      <a:lnTo>
                        <a:pt x="15151" y="897407"/>
                      </a:lnTo>
                      <a:lnTo>
                        <a:pt x="15735" y="897178"/>
                      </a:lnTo>
                      <a:lnTo>
                        <a:pt x="16510" y="897115"/>
                      </a:lnTo>
                      <a:lnTo>
                        <a:pt x="18084" y="896708"/>
                      </a:lnTo>
                      <a:lnTo>
                        <a:pt x="21615" y="896416"/>
                      </a:lnTo>
                      <a:lnTo>
                        <a:pt x="23787" y="893965"/>
                      </a:lnTo>
                      <a:lnTo>
                        <a:pt x="24053" y="893660"/>
                      </a:lnTo>
                      <a:lnTo>
                        <a:pt x="23977" y="893470"/>
                      </a:lnTo>
                      <a:lnTo>
                        <a:pt x="23418" y="892949"/>
                      </a:lnTo>
                      <a:lnTo>
                        <a:pt x="25857" y="893673"/>
                      </a:lnTo>
                      <a:lnTo>
                        <a:pt x="29019" y="894676"/>
                      </a:lnTo>
                      <a:lnTo>
                        <a:pt x="32067" y="896632"/>
                      </a:lnTo>
                      <a:lnTo>
                        <a:pt x="37261" y="898105"/>
                      </a:lnTo>
                      <a:lnTo>
                        <a:pt x="39128" y="897280"/>
                      </a:lnTo>
                      <a:lnTo>
                        <a:pt x="41427" y="896632"/>
                      </a:lnTo>
                      <a:lnTo>
                        <a:pt x="41846" y="896594"/>
                      </a:lnTo>
                      <a:lnTo>
                        <a:pt x="42481" y="896340"/>
                      </a:lnTo>
                      <a:lnTo>
                        <a:pt x="42748" y="896112"/>
                      </a:lnTo>
                      <a:lnTo>
                        <a:pt x="42862" y="895946"/>
                      </a:lnTo>
                      <a:lnTo>
                        <a:pt x="43065" y="895426"/>
                      </a:lnTo>
                      <a:close/>
                    </a:path>
                    <a:path w="1878964" h="1228089">
                      <a:moveTo>
                        <a:pt x="52679" y="956564"/>
                      </a:moveTo>
                      <a:lnTo>
                        <a:pt x="52501" y="956551"/>
                      </a:lnTo>
                      <a:lnTo>
                        <a:pt x="52108" y="956589"/>
                      </a:lnTo>
                      <a:lnTo>
                        <a:pt x="52298" y="956589"/>
                      </a:lnTo>
                      <a:lnTo>
                        <a:pt x="52438" y="956703"/>
                      </a:lnTo>
                      <a:lnTo>
                        <a:pt x="52679" y="956564"/>
                      </a:lnTo>
                      <a:close/>
                    </a:path>
                    <a:path w="1878964" h="1228089">
                      <a:moveTo>
                        <a:pt x="168529" y="1013980"/>
                      </a:moveTo>
                      <a:lnTo>
                        <a:pt x="167487" y="1013828"/>
                      </a:lnTo>
                      <a:lnTo>
                        <a:pt x="166217" y="1013333"/>
                      </a:lnTo>
                      <a:lnTo>
                        <a:pt x="165265" y="1013866"/>
                      </a:lnTo>
                      <a:lnTo>
                        <a:pt x="166408" y="1013968"/>
                      </a:lnTo>
                      <a:lnTo>
                        <a:pt x="167500" y="1014336"/>
                      </a:lnTo>
                      <a:lnTo>
                        <a:pt x="168529" y="1013980"/>
                      </a:lnTo>
                      <a:close/>
                    </a:path>
                    <a:path w="1878964" h="1228089">
                      <a:moveTo>
                        <a:pt x="169100" y="1014069"/>
                      </a:moveTo>
                      <a:lnTo>
                        <a:pt x="168871" y="1013866"/>
                      </a:lnTo>
                      <a:lnTo>
                        <a:pt x="168770" y="1013993"/>
                      </a:lnTo>
                      <a:lnTo>
                        <a:pt x="168529" y="1013980"/>
                      </a:lnTo>
                      <a:lnTo>
                        <a:pt x="168910" y="1014031"/>
                      </a:lnTo>
                      <a:lnTo>
                        <a:pt x="169100" y="1014069"/>
                      </a:lnTo>
                      <a:close/>
                    </a:path>
                    <a:path w="1878964" h="1228089">
                      <a:moveTo>
                        <a:pt x="175564" y="338048"/>
                      </a:moveTo>
                      <a:lnTo>
                        <a:pt x="174764" y="339318"/>
                      </a:lnTo>
                      <a:lnTo>
                        <a:pt x="175564" y="338086"/>
                      </a:lnTo>
                      <a:close/>
                    </a:path>
                    <a:path w="1878964" h="1228089">
                      <a:moveTo>
                        <a:pt x="187502" y="1012494"/>
                      </a:moveTo>
                      <a:lnTo>
                        <a:pt x="186944" y="1011542"/>
                      </a:lnTo>
                      <a:lnTo>
                        <a:pt x="186563" y="1011224"/>
                      </a:lnTo>
                      <a:lnTo>
                        <a:pt x="186690" y="1011682"/>
                      </a:lnTo>
                      <a:lnTo>
                        <a:pt x="186766" y="1012164"/>
                      </a:lnTo>
                      <a:lnTo>
                        <a:pt x="186931" y="1012609"/>
                      </a:lnTo>
                      <a:lnTo>
                        <a:pt x="187502" y="1012494"/>
                      </a:lnTo>
                      <a:close/>
                    </a:path>
                    <a:path w="1878964" h="1228089">
                      <a:moveTo>
                        <a:pt x="196189" y="351904"/>
                      </a:moveTo>
                      <a:lnTo>
                        <a:pt x="196176" y="351701"/>
                      </a:lnTo>
                      <a:lnTo>
                        <a:pt x="195973" y="352018"/>
                      </a:lnTo>
                      <a:lnTo>
                        <a:pt x="196189" y="351904"/>
                      </a:lnTo>
                      <a:close/>
                    </a:path>
                    <a:path w="1878964" h="1228089">
                      <a:moveTo>
                        <a:pt x="321767" y="1009002"/>
                      </a:moveTo>
                      <a:lnTo>
                        <a:pt x="321437" y="1009154"/>
                      </a:lnTo>
                      <a:lnTo>
                        <a:pt x="321132" y="1009332"/>
                      </a:lnTo>
                      <a:lnTo>
                        <a:pt x="320814" y="1009497"/>
                      </a:lnTo>
                      <a:lnTo>
                        <a:pt x="321233" y="1009345"/>
                      </a:lnTo>
                      <a:lnTo>
                        <a:pt x="321513" y="1009484"/>
                      </a:lnTo>
                      <a:lnTo>
                        <a:pt x="321767" y="1009002"/>
                      </a:lnTo>
                      <a:close/>
                    </a:path>
                    <a:path w="1878964" h="1228089">
                      <a:moveTo>
                        <a:pt x="342798" y="1020927"/>
                      </a:moveTo>
                      <a:lnTo>
                        <a:pt x="342468" y="1020368"/>
                      </a:lnTo>
                      <a:lnTo>
                        <a:pt x="342506" y="1020622"/>
                      </a:lnTo>
                      <a:lnTo>
                        <a:pt x="342633" y="1020800"/>
                      </a:lnTo>
                      <a:lnTo>
                        <a:pt x="342798" y="1020927"/>
                      </a:lnTo>
                      <a:close/>
                    </a:path>
                    <a:path w="1878964" h="1228089">
                      <a:moveTo>
                        <a:pt x="347878" y="1064133"/>
                      </a:moveTo>
                      <a:lnTo>
                        <a:pt x="346989" y="1064348"/>
                      </a:lnTo>
                      <a:lnTo>
                        <a:pt x="347154" y="1065314"/>
                      </a:lnTo>
                      <a:lnTo>
                        <a:pt x="347014" y="1066317"/>
                      </a:lnTo>
                      <a:lnTo>
                        <a:pt x="347649" y="1065352"/>
                      </a:lnTo>
                      <a:lnTo>
                        <a:pt x="347776" y="1064755"/>
                      </a:lnTo>
                      <a:lnTo>
                        <a:pt x="347878" y="1064133"/>
                      </a:lnTo>
                      <a:close/>
                    </a:path>
                    <a:path w="1878964" h="1228089">
                      <a:moveTo>
                        <a:pt x="351459" y="412978"/>
                      </a:moveTo>
                      <a:lnTo>
                        <a:pt x="341083" y="409168"/>
                      </a:lnTo>
                      <a:lnTo>
                        <a:pt x="338455" y="407898"/>
                      </a:lnTo>
                      <a:lnTo>
                        <a:pt x="340372" y="404088"/>
                      </a:lnTo>
                      <a:lnTo>
                        <a:pt x="342188" y="402818"/>
                      </a:lnTo>
                      <a:lnTo>
                        <a:pt x="336067" y="395198"/>
                      </a:lnTo>
                      <a:lnTo>
                        <a:pt x="337667" y="395198"/>
                      </a:lnTo>
                      <a:lnTo>
                        <a:pt x="342036" y="393928"/>
                      </a:lnTo>
                      <a:lnTo>
                        <a:pt x="343217" y="392658"/>
                      </a:lnTo>
                      <a:lnTo>
                        <a:pt x="342912" y="392658"/>
                      </a:lnTo>
                      <a:lnTo>
                        <a:pt x="343141" y="391388"/>
                      </a:lnTo>
                      <a:lnTo>
                        <a:pt x="343928" y="390118"/>
                      </a:lnTo>
                      <a:lnTo>
                        <a:pt x="343789" y="390118"/>
                      </a:lnTo>
                      <a:lnTo>
                        <a:pt x="342734" y="388848"/>
                      </a:lnTo>
                      <a:lnTo>
                        <a:pt x="338823" y="383768"/>
                      </a:lnTo>
                      <a:lnTo>
                        <a:pt x="266534" y="383768"/>
                      </a:lnTo>
                      <a:lnTo>
                        <a:pt x="266534" y="439648"/>
                      </a:lnTo>
                      <a:lnTo>
                        <a:pt x="266319" y="440397"/>
                      </a:lnTo>
                      <a:lnTo>
                        <a:pt x="266319" y="441502"/>
                      </a:lnTo>
                      <a:lnTo>
                        <a:pt x="265874" y="441502"/>
                      </a:lnTo>
                      <a:lnTo>
                        <a:pt x="265976" y="441058"/>
                      </a:lnTo>
                      <a:lnTo>
                        <a:pt x="266319" y="441502"/>
                      </a:lnTo>
                      <a:lnTo>
                        <a:pt x="266319" y="440397"/>
                      </a:lnTo>
                      <a:lnTo>
                        <a:pt x="266166" y="440918"/>
                      </a:lnTo>
                      <a:lnTo>
                        <a:pt x="266001" y="440918"/>
                      </a:lnTo>
                      <a:lnTo>
                        <a:pt x="266166" y="440232"/>
                      </a:lnTo>
                      <a:lnTo>
                        <a:pt x="262890" y="440232"/>
                      </a:lnTo>
                      <a:lnTo>
                        <a:pt x="260235" y="438962"/>
                      </a:lnTo>
                      <a:lnTo>
                        <a:pt x="257060" y="437692"/>
                      </a:lnTo>
                      <a:lnTo>
                        <a:pt x="256730" y="437108"/>
                      </a:lnTo>
                      <a:lnTo>
                        <a:pt x="257060" y="437108"/>
                      </a:lnTo>
                      <a:lnTo>
                        <a:pt x="260235" y="438378"/>
                      </a:lnTo>
                      <a:lnTo>
                        <a:pt x="262890" y="439648"/>
                      </a:lnTo>
                      <a:lnTo>
                        <a:pt x="266534" y="439648"/>
                      </a:lnTo>
                      <a:lnTo>
                        <a:pt x="266534" y="383768"/>
                      </a:lnTo>
                      <a:lnTo>
                        <a:pt x="254571" y="383768"/>
                      </a:lnTo>
                      <a:lnTo>
                        <a:pt x="254571" y="436422"/>
                      </a:lnTo>
                      <a:lnTo>
                        <a:pt x="253682" y="436422"/>
                      </a:lnTo>
                      <a:lnTo>
                        <a:pt x="253238" y="435838"/>
                      </a:lnTo>
                      <a:lnTo>
                        <a:pt x="253682" y="435838"/>
                      </a:lnTo>
                      <a:lnTo>
                        <a:pt x="254571" y="436422"/>
                      </a:lnTo>
                      <a:lnTo>
                        <a:pt x="254571" y="383768"/>
                      </a:lnTo>
                      <a:lnTo>
                        <a:pt x="251040" y="383768"/>
                      </a:lnTo>
                      <a:lnTo>
                        <a:pt x="251040" y="435152"/>
                      </a:lnTo>
                      <a:lnTo>
                        <a:pt x="250774" y="435152"/>
                      </a:lnTo>
                      <a:lnTo>
                        <a:pt x="250774" y="437692"/>
                      </a:lnTo>
                      <a:lnTo>
                        <a:pt x="250748" y="437108"/>
                      </a:lnTo>
                      <a:lnTo>
                        <a:pt x="250469" y="435838"/>
                      </a:lnTo>
                      <a:lnTo>
                        <a:pt x="250748" y="436422"/>
                      </a:lnTo>
                      <a:lnTo>
                        <a:pt x="250774" y="437692"/>
                      </a:lnTo>
                      <a:lnTo>
                        <a:pt x="250774" y="435152"/>
                      </a:lnTo>
                      <a:lnTo>
                        <a:pt x="250317" y="435152"/>
                      </a:lnTo>
                      <a:lnTo>
                        <a:pt x="250190" y="434568"/>
                      </a:lnTo>
                      <a:lnTo>
                        <a:pt x="251040" y="435152"/>
                      </a:lnTo>
                      <a:lnTo>
                        <a:pt x="251040" y="383768"/>
                      </a:lnTo>
                      <a:lnTo>
                        <a:pt x="238544" y="383768"/>
                      </a:lnTo>
                      <a:lnTo>
                        <a:pt x="238544" y="436422"/>
                      </a:lnTo>
                      <a:lnTo>
                        <a:pt x="238226" y="436422"/>
                      </a:lnTo>
                      <a:lnTo>
                        <a:pt x="237756" y="435838"/>
                      </a:lnTo>
                      <a:lnTo>
                        <a:pt x="238226" y="435838"/>
                      </a:lnTo>
                      <a:lnTo>
                        <a:pt x="238544" y="436422"/>
                      </a:lnTo>
                      <a:lnTo>
                        <a:pt x="238544" y="383768"/>
                      </a:lnTo>
                      <a:lnTo>
                        <a:pt x="232943" y="383768"/>
                      </a:lnTo>
                      <a:lnTo>
                        <a:pt x="232943" y="435838"/>
                      </a:lnTo>
                      <a:lnTo>
                        <a:pt x="232816" y="436346"/>
                      </a:lnTo>
                      <a:lnTo>
                        <a:pt x="232625" y="436422"/>
                      </a:lnTo>
                      <a:lnTo>
                        <a:pt x="232791" y="435762"/>
                      </a:lnTo>
                      <a:lnTo>
                        <a:pt x="232943" y="435838"/>
                      </a:lnTo>
                      <a:lnTo>
                        <a:pt x="232943" y="383768"/>
                      </a:lnTo>
                      <a:lnTo>
                        <a:pt x="230111" y="383768"/>
                      </a:lnTo>
                      <a:lnTo>
                        <a:pt x="230111" y="433882"/>
                      </a:lnTo>
                      <a:lnTo>
                        <a:pt x="229463" y="433882"/>
                      </a:lnTo>
                      <a:lnTo>
                        <a:pt x="228676" y="433298"/>
                      </a:lnTo>
                      <a:lnTo>
                        <a:pt x="229806" y="433298"/>
                      </a:lnTo>
                      <a:lnTo>
                        <a:pt x="230111" y="433882"/>
                      </a:lnTo>
                      <a:lnTo>
                        <a:pt x="230111" y="383768"/>
                      </a:lnTo>
                      <a:lnTo>
                        <a:pt x="225082" y="383768"/>
                      </a:lnTo>
                      <a:lnTo>
                        <a:pt x="223774" y="383768"/>
                      </a:lnTo>
                      <a:lnTo>
                        <a:pt x="222999" y="385038"/>
                      </a:lnTo>
                      <a:lnTo>
                        <a:pt x="224155" y="386308"/>
                      </a:lnTo>
                      <a:lnTo>
                        <a:pt x="225640" y="387578"/>
                      </a:lnTo>
                      <a:lnTo>
                        <a:pt x="225399" y="387578"/>
                      </a:lnTo>
                      <a:lnTo>
                        <a:pt x="224180" y="390118"/>
                      </a:lnTo>
                      <a:lnTo>
                        <a:pt x="224917" y="393928"/>
                      </a:lnTo>
                      <a:lnTo>
                        <a:pt x="225056" y="400278"/>
                      </a:lnTo>
                      <a:lnTo>
                        <a:pt x="225247" y="402818"/>
                      </a:lnTo>
                      <a:lnTo>
                        <a:pt x="226212" y="402818"/>
                      </a:lnTo>
                      <a:lnTo>
                        <a:pt x="226034" y="404088"/>
                      </a:lnTo>
                      <a:lnTo>
                        <a:pt x="224472" y="404977"/>
                      </a:lnTo>
                      <a:lnTo>
                        <a:pt x="224472" y="432612"/>
                      </a:lnTo>
                      <a:lnTo>
                        <a:pt x="221716" y="432612"/>
                      </a:lnTo>
                      <a:lnTo>
                        <a:pt x="219925" y="431342"/>
                      </a:lnTo>
                      <a:lnTo>
                        <a:pt x="220345" y="431063"/>
                      </a:lnTo>
                      <a:lnTo>
                        <a:pt x="221729" y="432028"/>
                      </a:lnTo>
                      <a:lnTo>
                        <a:pt x="223418" y="432028"/>
                      </a:lnTo>
                      <a:lnTo>
                        <a:pt x="224472" y="432612"/>
                      </a:lnTo>
                      <a:lnTo>
                        <a:pt x="224472" y="404977"/>
                      </a:lnTo>
                      <a:lnTo>
                        <a:pt x="223774" y="405358"/>
                      </a:lnTo>
                      <a:lnTo>
                        <a:pt x="222440" y="407898"/>
                      </a:lnTo>
                      <a:lnTo>
                        <a:pt x="222364" y="410438"/>
                      </a:lnTo>
                      <a:lnTo>
                        <a:pt x="221195" y="415518"/>
                      </a:lnTo>
                      <a:lnTo>
                        <a:pt x="221170" y="421868"/>
                      </a:lnTo>
                      <a:lnTo>
                        <a:pt x="217500" y="424357"/>
                      </a:lnTo>
                      <a:lnTo>
                        <a:pt x="217500" y="427532"/>
                      </a:lnTo>
                      <a:lnTo>
                        <a:pt x="217004" y="427532"/>
                      </a:lnTo>
                      <a:lnTo>
                        <a:pt x="216560" y="426948"/>
                      </a:lnTo>
                      <a:lnTo>
                        <a:pt x="217004" y="426948"/>
                      </a:lnTo>
                      <a:lnTo>
                        <a:pt x="217500" y="427532"/>
                      </a:lnTo>
                      <a:lnTo>
                        <a:pt x="217500" y="424357"/>
                      </a:lnTo>
                      <a:lnTo>
                        <a:pt x="216954" y="425678"/>
                      </a:lnTo>
                      <a:lnTo>
                        <a:pt x="216496" y="425678"/>
                      </a:lnTo>
                      <a:lnTo>
                        <a:pt x="216065" y="426288"/>
                      </a:lnTo>
                      <a:lnTo>
                        <a:pt x="215417" y="426262"/>
                      </a:lnTo>
                      <a:lnTo>
                        <a:pt x="213296" y="424992"/>
                      </a:lnTo>
                      <a:lnTo>
                        <a:pt x="208699" y="427532"/>
                      </a:lnTo>
                      <a:lnTo>
                        <a:pt x="203276" y="426262"/>
                      </a:lnTo>
                      <a:lnTo>
                        <a:pt x="202476" y="424992"/>
                      </a:lnTo>
                      <a:lnTo>
                        <a:pt x="196049" y="426262"/>
                      </a:lnTo>
                      <a:lnTo>
                        <a:pt x="195656" y="426262"/>
                      </a:lnTo>
                      <a:lnTo>
                        <a:pt x="192201" y="424992"/>
                      </a:lnTo>
                      <a:lnTo>
                        <a:pt x="191376" y="423722"/>
                      </a:lnTo>
                      <a:lnTo>
                        <a:pt x="188442" y="423722"/>
                      </a:lnTo>
                      <a:lnTo>
                        <a:pt x="185356" y="424992"/>
                      </a:lnTo>
                      <a:lnTo>
                        <a:pt x="181025" y="424992"/>
                      </a:lnTo>
                      <a:lnTo>
                        <a:pt x="178181" y="426262"/>
                      </a:lnTo>
                      <a:lnTo>
                        <a:pt x="166433" y="423722"/>
                      </a:lnTo>
                      <a:lnTo>
                        <a:pt x="163804" y="422452"/>
                      </a:lnTo>
                      <a:lnTo>
                        <a:pt x="159092" y="422452"/>
                      </a:lnTo>
                      <a:lnTo>
                        <a:pt x="156806" y="421182"/>
                      </a:lnTo>
                      <a:lnTo>
                        <a:pt x="155549" y="421182"/>
                      </a:lnTo>
                      <a:lnTo>
                        <a:pt x="144373" y="423722"/>
                      </a:lnTo>
                      <a:lnTo>
                        <a:pt x="141795" y="424992"/>
                      </a:lnTo>
                      <a:lnTo>
                        <a:pt x="138430" y="423722"/>
                      </a:lnTo>
                      <a:lnTo>
                        <a:pt x="136029" y="421182"/>
                      </a:lnTo>
                      <a:lnTo>
                        <a:pt x="132715" y="419912"/>
                      </a:lnTo>
                      <a:lnTo>
                        <a:pt x="130848" y="419912"/>
                      </a:lnTo>
                      <a:lnTo>
                        <a:pt x="127876" y="421182"/>
                      </a:lnTo>
                      <a:lnTo>
                        <a:pt x="128117" y="419912"/>
                      </a:lnTo>
                      <a:lnTo>
                        <a:pt x="128511" y="418642"/>
                      </a:lnTo>
                      <a:lnTo>
                        <a:pt x="126746" y="419912"/>
                      </a:lnTo>
                      <a:lnTo>
                        <a:pt x="125577" y="421182"/>
                      </a:lnTo>
                      <a:lnTo>
                        <a:pt x="123634" y="422452"/>
                      </a:lnTo>
                      <a:lnTo>
                        <a:pt x="123024" y="423722"/>
                      </a:lnTo>
                      <a:lnTo>
                        <a:pt x="122186" y="422452"/>
                      </a:lnTo>
                      <a:lnTo>
                        <a:pt x="122682" y="423722"/>
                      </a:lnTo>
                      <a:lnTo>
                        <a:pt x="123291" y="424992"/>
                      </a:lnTo>
                      <a:lnTo>
                        <a:pt x="124193" y="423722"/>
                      </a:lnTo>
                      <a:lnTo>
                        <a:pt x="123977" y="424992"/>
                      </a:lnTo>
                      <a:lnTo>
                        <a:pt x="124167" y="424992"/>
                      </a:lnTo>
                      <a:lnTo>
                        <a:pt x="122974" y="426262"/>
                      </a:lnTo>
                      <a:lnTo>
                        <a:pt x="121704" y="424992"/>
                      </a:lnTo>
                      <a:lnTo>
                        <a:pt x="120942" y="426262"/>
                      </a:lnTo>
                      <a:lnTo>
                        <a:pt x="119672" y="426262"/>
                      </a:lnTo>
                      <a:lnTo>
                        <a:pt x="118935" y="427532"/>
                      </a:lnTo>
                      <a:lnTo>
                        <a:pt x="115951" y="427532"/>
                      </a:lnTo>
                      <a:lnTo>
                        <a:pt x="113169" y="426262"/>
                      </a:lnTo>
                      <a:lnTo>
                        <a:pt x="112674" y="428802"/>
                      </a:lnTo>
                      <a:lnTo>
                        <a:pt x="221297" y="428802"/>
                      </a:lnTo>
                      <a:lnTo>
                        <a:pt x="220853" y="427634"/>
                      </a:lnTo>
                      <a:lnTo>
                        <a:pt x="221297" y="428218"/>
                      </a:lnTo>
                      <a:lnTo>
                        <a:pt x="221780" y="429488"/>
                      </a:lnTo>
                      <a:lnTo>
                        <a:pt x="220916" y="430072"/>
                      </a:lnTo>
                      <a:lnTo>
                        <a:pt x="152476" y="430072"/>
                      </a:lnTo>
                      <a:lnTo>
                        <a:pt x="152476" y="456742"/>
                      </a:lnTo>
                      <a:lnTo>
                        <a:pt x="150825" y="460552"/>
                      </a:lnTo>
                      <a:lnTo>
                        <a:pt x="150736" y="535482"/>
                      </a:lnTo>
                      <a:lnTo>
                        <a:pt x="150114" y="536359"/>
                      </a:lnTo>
                      <a:lnTo>
                        <a:pt x="150139" y="535482"/>
                      </a:lnTo>
                      <a:lnTo>
                        <a:pt x="150736" y="535482"/>
                      </a:lnTo>
                      <a:lnTo>
                        <a:pt x="150736" y="460552"/>
                      </a:lnTo>
                      <a:lnTo>
                        <a:pt x="149872" y="460552"/>
                      </a:lnTo>
                      <a:lnTo>
                        <a:pt x="147231" y="463092"/>
                      </a:lnTo>
                      <a:lnTo>
                        <a:pt x="145364" y="463092"/>
                      </a:lnTo>
                      <a:lnTo>
                        <a:pt x="143891" y="464502"/>
                      </a:lnTo>
                      <a:lnTo>
                        <a:pt x="143891" y="471982"/>
                      </a:lnTo>
                      <a:lnTo>
                        <a:pt x="143256" y="477062"/>
                      </a:lnTo>
                      <a:lnTo>
                        <a:pt x="143065" y="478332"/>
                      </a:lnTo>
                      <a:lnTo>
                        <a:pt x="142811" y="479602"/>
                      </a:lnTo>
                      <a:lnTo>
                        <a:pt x="142519" y="479602"/>
                      </a:lnTo>
                      <a:lnTo>
                        <a:pt x="142519" y="529132"/>
                      </a:lnTo>
                      <a:lnTo>
                        <a:pt x="141808" y="530339"/>
                      </a:lnTo>
                      <a:lnTo>
                        <a:pt x="141274" y="529132"/>
                      </a:lnTo>
                      <a:lnTo>
                        <a:pt x="142519" y="529132"/>
                      </a:lnTo>
                      <a:lnTo>
                        <a:pt x="142519" y="479602"/>
                      </a:lnTo>
                      <a:lnTo>
                        <a:pt x="141986" y="479602"/>
                      </a:lnTo>
                      <a:lnTo>
                        <a:pt x="141986" y="483412"/>
                      </a:lnTo>
                      <a:lnTo>
                        <a:pt x="141808" y="488492"/>
                      </a:lnTo>
                      <a:lnTo>
                        <a:pt x="141808" y="513892"/>
                      </a:lnTo>
                      <a:lnTo>
                        <a:pt x="141630" y="515162"/>
                      </a:lnTo>
                      <a:lnTo>
                        <a:pt x="141262" y="515162"/>
                      </a:lnTo>
                      <a:lnTo>
                        <a:pt x="140411" y="516432"/>
                      </a:lnTo>
                      <a:lnTo>
                        <a:pt x="138811" y="516432"/>
                      </a:lnTo>
                      <a:lnTo>
                        <a:pt x="136537" y="517702"/>
                      </a:lnTo>
                      <a:lnTo>
                        <a:pt x="135382" y="520242"/>
                      </a:lnTo>
                      <a:lnTo>
                        <a:pt x="134899" y="521512"/>
                      </a:lnTo>
                      <a:lnTo>
                        <a:pt x="134023" y="522782"/>
                      </a:lnTo>
                      <a:lnTo>
                        <a:pt x="133578" y="524675"/>
                      </a:lnTo>
                      <a:lnTo>
                        <a:pt x="133413" y="524268"/>
                      </a:lnTo>
                      <a:lnTo>
                        <a:pt x="134023" y="522528"/>
                      </a:lnTo>
                      <a:lnTo>
                        <a:pt x="134886" y="520928"/>
                      </a:lnTo>
                      <a:lnTo>
                        <a:pt x="135369" y="519658"/>
                      </a:lnTo>
                      <a:lnTo>
                        <a:pt x="136537" y="517448"/>
                      </a:lnTo>
                      <a:lnTo>
                        <a:pt x="138798" y="516216"/>
                      </a:lnTo>
                      <a:lnTo>
                        <a:pt x="140411" y="515747"/>
                      </a:lnTo>
                      <a:lnTo>
                        <a:pt x="141376" y="514553"/>
                      </a:lnTo>
                      <a:lnTo>
                        <a:pt x="141617" y="514210"/>
                      </a:lnTo>
                      <a:lnTo>
                        <a:pt x="141770" y="513892"/>
                      </a:lnTo>
                      <a:lnTo>
                        <a:pt x="141808" y="488492"/>
                      </a:lnTo>
                      <a:lnTo>
                        <a:pt x="141338" y="488721"/>
                      </a:lnTo>
                      <a:lnTo>
                        <a:pt x="141338" y="499922"/>
                      </a:lnTo>
                      <a:lnTo>
                        <a:pt x="141287" y="501192"/>
                      </a:lnTo>
                      <a:lnTo>
                        <a:pt x="140944" y="501192"/>
                      </a:lnTo>
                      <a:lnTo>
                        <a:pt x="140436" y="502462"/>
                      </a:lnTo>
                      <a:lnTo>
                        <a:pt x="139560" y="502462"/>
                      </a:lnTo>
                      <a:lnTo>
                        <a:pt x="141287" y="499821"/>
                      </a:lnTo>
                      <a:lnTo>
                        <a:pt x="141338" y="488721"/>
                      </a:lnTo>
                      <a:lnTo>
                        <a:pt x="139458" y="489623"/>
                      </a:lnTo>
                      <a:lnTo>
                        <a:pt x="139458" y="502577"/>
                      </a:lnTo>
                      <a:lnTo>
                        <a:pt x="137553" y="505002"/>
                      </a:lnTo>
                      <a:lnTo>
                        <a:pt x="137172" y="507542"/>
                      </a:lnTo>
                      <a:lnTo>
                        <a:pt x="136309" y="509574"/>
                      </a:lnTo>
                      <a:lnTo>
                        <a:pt x="136093" y="509333"/>
                      </a:lnTo>
                      <a:lnTo>
                        <a:pt x="136994" y="506895"/>
                      </a:lnTo>
                      <a:lnTo>
                        <a:pt x="137058" y="506730"/>
                      </a:lnTo>
                      <a:lnTo>
                        <a:pt x="137160" y="506437"/>
                      </a:lnTo>
                      <a:lnTo>
                        <a:pt x="137541" y="504799"/>
                      </a:lnTo>
                      <a:lnTo>
                        <a:pt x="138747" y="503389"/>
                      </a:lnTo>
                      <a:lnTo>
                        <a:pt x="138950" y="503199"/>
                      </a:lnTo>
                      <a:lnTo>
                        <a:pt x="139115" y="502958"/>
                      </a:lnTo>
                      <a:lnTo>
                        <a:pt x="139458" y="502577"/>
                      </a:lnTo>
                      <a:lnTo>
                        <a:pt x="139458" y="489623"/>
                      </a:lnTo>
                      <a:lnTo>
                        <a:pt x="139153" y="489762"/>
                      </a:lnTo>
                      <a:lnTo>
                        <a:pt x="137439" y="489762"/>
                      </a:lnTo>
                      <a:lnTo>
                        <a:pt x="137439" y="496112"/>
                      </a:lnTo>
                      <a:lnTo>
                        <a:pt x="137363" y="496481"/>
                      </a:lnTo>
                      <a:lnTo>
                        <a:pt x="137185" y="496277"/>
                      </a:lnTo>
                      <a:lnTo>
                        <a:pt x="137274" y="495947"/>
                      </a:lnTo>
                      <a:lnTo>
                        <a:pt x="137439" y="496112"/>
                      </a:lnTo>
                      <a:lnTo>
                        <a:pt x="137439" y="489762"/>
                      </a:lnTo>
                      <a:lnTo>
                        <a:pt x="133756" y="489762"/>
                      </a:lnTo>
                      <a:lnTo>
                        <a:pt x="133273" y="488924"/>
                      </a:lnTo>
                      <a:lnTo>
                        <a:pt x="134391" y="489013"/>
                      </a:lnTo>
                      <a:lnTo>
                        <a:pt x="139141" y="489686"/>
                      </a:lnTo>
                      <a:lnTo>
                        <a:pt x="140296" y="488924"/>
                      </a:lnTo>
                      <a:lnTo>
                        <a:pt x="141808" y="487934"/>
                      </a:lnTo>
                      <a:lnTo>
                        <a:pt x="141947" y="483082"/>
                      </a:lnTo>
                      <a:lnTo>
                        <a:pt x="141986" y="483412"/>
                      </a:lnTo>
                      <a:lnTo>
                        <a:pt x="141986" y="479602"/>
                      </a:lnTo>
                      <a:lnTo>
                        <a:pt x="141719" y="479602"/>
                      </a:lnTo>
                      <a:lnTo>
                        <a:pt x="141681" y="479183"/>
                      </a:lnTo>
                      <a:lnTo>
                        <a:pt x="141808" y="479094"/>
                      </a:lnTo>
                      <a:lnTo>
                        <a:pt x="142036" y="479145"/>
                      </a:lnTo>
                      <a:lnTo>
                        <a:pt x="142341" y="478955"/>
                      </a:lnTo>
                      <a:lnTo>
                        <a:pt x="142811" y="479183"/>
                      </a:lnTo>
                      <a:lnTo>
                        <a:pt x="142849" y="478955"/>
                      </a:lnTo>
                      <a:lnTo>
                        <a:pt x="143103" y="477291"/>
                      </a:lnTo>
                      <a:lnTo>
                        <a:pt x="143256" y="476554"/>
                      </a:lnTo>
                      <a:lnTo>
                        <a:pt x="143433" y="474980"/>
                      </a:lnTo>
                      <a:lnTo>
                        <a:pt x="143560" y="473544"/>
                      </a:lnTo>
                      <a:lnTo>
                        <a:pt x="143802" y="471741"/>
                      </a:lnTo>
                      <a:lnTo>
                        <a:pt x="143891" y="471982"/>
                      </a:lnTo>
                      <a:lnTo>
                        <a:pt x="143891" y="464502"/>
                      </a:lnTo>
                      <a:lnTo>
                        <a:pt x="141643" y="466648"/>
                      </a:lnTo>
                      <a:lnTo>
                        <a:pt x="141376" y="466407"/>
                      </a:lnTo>
                      <a:lnTo>
                        <a:pt x="143433" y="464553"/>
                      </a:lnTo>
                      <a:lnTo>
                        <a:pt x="143560" y="464464"/>
                      </a:lnTo>
                      <a:lnTo>
                        <a:pt x="145351" y="462826"/>
                      </a:lnTo>
                      <a:lnTo>
                        <a:pt x="147231" y="462356"/>
                      </a:lnTo>
                      <a:lnTo>
                        <a:pt x="149872" y="460032"/>
                      </a:lnTo>
                      <a:lnTo>
                        <a:pt x="150825" y="459359"/>
                      </a:lnTo>
                      <a:lnTo>
                        <a:pt x="152133" y="456730"/>
                      </a:lnTo>
                      <a:lnTo>
                        <a:pt x="152476" y="456742"/>
                      </a:lnTo>
                      <a:lnTo>
                        <a:pt x="152476" y="430072"/>
                      </a:lnTo>
                      <a:lnTo>
                        <a:pt x="147713" y="430072"/>
                      </a:lnTo>
                      <a:lnTo>
                        <a:pt x="147713" y="452932"/>
                      </a:lnTo>
                      <a:lnTo>
                        <a:pt x="147586" y="452932"/>
                      </a:lnTo>
                      <a:lnTo>
                        <a:pt x="147535" y="454202"/>
                      </a:lnTo>
                      <a:lnTo>
                        <a:pt x="147421" y="454329"/>
                      </a:lnTo>
                      <a:lnTo>
                        <a:pt x="147599" y="452513"/>
                      </a:lnTo>
                      <a:lnTo>
                        <a:pt x="147637" y="452297"/>
                      </a:lnTo>
                      <a:lnTo>
                        <a:pt x="147535" y="450608"/>
                      </a:lnTo>
                      <a:lnTo>
                        <a:pt x="147662" y="451662"/>
                      </a:lnTo>
                      <a:lnTo>
                        <a:pt x="147713" y="452932"/>
                      </a:lnTo>
                      <a:lnTo>
                        <a:pt x="147713" y="430072"/>
                      </a:lnTo>
                      <a:lnTo>
                        <a:pt x="125399" y="430072"/>
                      </a:lnTo>
                      <a:lnTo>
                        <a:pt x="125399" y="449122"/>
                      </a:lnTo>
                      <a:lnTo>
                        <a:pt x="125006" y="450392"/>
                      </a:lnTo>
                      <a:lnTo>
                        <a:pt x="124294" y="450392"/>
                      </a:lnTo>
                      <a:lnTo>
                        <a:pt x="123698" y="451662"/>
                      </a:lnTo>
                      <a:lnTo>
                        <a:pt x="123647" y="452107"/>
                      </a:lnTo>
                      <a:lnTo>
                        <a:pt x="123685" y="450519"/>
                      </a:lnTo>
                      <a:lnTo>
                        <a:pt x="124294" y="450075"/>
                      </a:lnTo>
                      <a:lnTo>
                        <a:pt x="124675" y="449541"/>
                      </a:lnTo>
                      <a:lnTo>
                        <a:pt x="124993" y="449249"/>
                      </a:lnTo>
                      <a:lnTo>
                        <a:pt x="125209" y="448627"/>
                      </a:lnTo>
                      <a:lnTo>
                        <a:pt x="125399" y="449122"/>
                      </a:lnTo>
                      <a:lnTo>
                        <a:pt x="125399" y="430072"/>
                      </a:lnTo>
                      <a:lnTo>
                        <a:pt x="110769" y="430072"/>
                      </a:lnTo>
                      <a:lnTo>
                        <a:pt x="109029" y="430072"/>
                      </a:lnTo>
                      <a:lnTo>
                        <a:pt x="109105" y="431342"/>
                      </a:lnTo>
                      <a:lnTo>
                        <a:pt x="108178" y="431342"/>
                      </a:lnTo>
                      <a:lnTo>
                        <a:pt x="108623" y="432612"/>
                      </a:lnTo>
                      <a:lnTo>
                        <a:pt x="108191" y="432612"/>
                      </a:lnTo>
                      <a:lnTo>
                        <a:pt x="108610" y="435152"/>
                      </a:lnTo>
                      <a:lnTo>
                        <a:pt x="111950" y="437692"/>
                      </a:lnTo>
                      <a:lnTo>
                        <a:pt x="111963" y="438962"/>
                      </a:lnTo>
                      <a:lnTo>
                        <a:pt x="111137" y="440232"/>
                      </a:lnTo>
                      <a:lnTo>
                        <a:pt x="112966" y="440232"/>
                      </a:lnTo>
                      <a:lnTo>
                        <a:pt x="114719" y="438962"/>
                      </a:lnTo>
                      <a:lnTo>
                        <a:pt x="116268" y="437692"/>
                      </a:lnTo>
                      <a:lnTo>
                        <a:pt x="115379" y="438962"/>
                      </a:lnTo>
                      <a:lnTo>
                        <a:pt x="114960" y="441502"/>
                      </a:lnTo>
                      <a:lnTo>
                        <a:pt x="113258" y="441502"/>
                      </a:lnTo>
                      <a:lnTo>
                        <a:pt x="114909" y="444042"/>
                      </a:lnTo>
                      <a:lnTo>
                        <a:pt x="115417" y="442772"/>
                      </a:lnTo>
                      <a:lnTo>
                        <a:pt x="117005" y="442772"/>
                      </a:lnTo>
                      <a:lnTo>
                        <a:pt x="116268" y="444042"/>
                      </a:lnTo>
                      <a:lnTo>
                        <a:pt x="114909" y="444042"/>
                      </a:lnTo>
                      <a:lnTo>
                        <a:pt x="114465" y="444042"/>
                      </a:lnTo>
                      <a:lnTo>
                        <a:pt x="113817" y="446582"/>
                      </a:lnTo>
                      <a:lnTo>
                        <a:pt x="115862" y="445579"/>
                      </a:lnTo>
                      <a:lnTo>
                        <a:pt x="114744" y="446582"/>
                      </a:lnTo>
                      <a:lnTo>
                        <a:pt x="113766" y="449122"/>
                      </a:lnTo>
                      <a:lnTo>
                        <a:pt x="113880" y="450392"/>
                      </a:lnTo>
                      <a:lnTo>
                        <a:pt x="113030" y="451662"/>
                      </a:lnTo>
                      <a:lnTo>
                        <a:pt x="113779" y="452932"/>
                      </a:lnTo>
                      <a:lnTo>
                        <a:pt x="114376" y="452450"/>
                      </a:lnTo>
                      <a:lnTo>
                        <a:pt x="114515" y="452513"/>
                      </a:lnTo>
                      <a:lnTo>
                        <a:pt x="114300" y="453910"/>
                      </a:lnTo>
                      <a:lnTo>
                        <a:pt x="114833" y="455409"/>
                      </a:lnTo>
                      <a:lnTo>
                        <a:pt x="115443" y="458457"/>
                      </a:lnTo>
                      <a:lnTo>
                        <a:pt x="115557" y="460032"/>
                      </a:lnTo>
                      <a:lnTo>
                        <a:pt x="116166" y="462000"/>
                      </a:lnTo>
                      <a:lnTo>
                        <a:pt x="117132" y="463270"/>
                      </a:lnTo>
                      <a:lnTo>
                        <a:pt x="117983" y="466128"/>
                      </a:lnTo>
                      <a:lnTo>
                        <a:pt x="115493" y="469811"/>
                      </a:lnTo>
                      <a:lnTo>
                        <a:pt x="116395" y="471373"/>
                      </a:lnTo>
                      <a:lnTo>
                        <a:pt x="116636" y="470839"/>
                      </a:lnTo>
                      <a:lnTo>
                        <a:pt x="117106" y="470408"/>
                      </a:lnTo>
                      <a:lnTo>
                        <a:pt x="117360" y="469874"/>
                      </a:lnTo>
                      <a:lnTo>
                        <a:pt x="118465" y="471309"/>
                      </a:lnTo>
                      <a:lnTo>
                        <a:pt x="116217" y="472287"/>
                      </a:lnTo>
                      <a:lnTo>
                        <a:pt x="114795" y="474980"/>
                      </a:lnTo>
                      <a:lnTo>
                        <a:pt x="108064" y="493509"/>
                      </a:lnTo>
                      <a:lnTo>
                        <a:pt x="107569" y="494207"/>
                      </a:lnTo>
                      <a:lnTo>
                        <a:pt x="107289" y="496277"/>
                      </a:lnTo>
                      <a:lnTo>
                        <a:pt x="107200" y="496862"/>
                      </a:lnTo>
                      <a:lnTo>
                        <a:pt x="106807" y="497954"/>
                      </a:lnTo>
                      <a:lnTo>
                        <a:pt x="106197" y="499541"/>
                      </a:lnTo>
                      <a:lnTo>
                        <a:pt x="106210" y="500062"/>
                      </a:lnTo>
                      <a:lnTo>
                        <a:pt x="106489" y="500710"/>
                      </a:lnTo>
                      <a:lnTo>
                        <a:pt x="105765" y="502793"/>
                      </a:lnTo>
                      <a:lnTo>
                        <a:pt x="104825" y="503796"/>
                      </a:lnTo>
                      <a:lnTo>
                        <a:pt x="107111" y="505256"/>
                      </a:lnTo>
                      <a:lnTo>
                        <a:pt x="107873" y="505828"/>
                      </a:lnTo>
                      <a:lnTo>
                        <a:pt x="110515" y="504202"/>
                      </a:lnTo>
                      <a:lnTo>
                        <a:pt x="110553" y="503796"/>
                      </a:lnTo>
                      <a:lnTo>
                        <a:pt x="111671" y="502221"/>
                      </a:lnTo>
                      <a:lnTo>
                        <a:pt x="111899" y="501650"/>
                      </a:lnTo>
                      <a:lnTo>
                        <a:pt x="112534" y="501345"/>
                      </a:lnTo>
                      <a:lnTo>
                        <a:pt x="112852" y="502793"/>
                      </a:lnTo>
                      <a:lnTo>
                        <a:pt x="112953" y="503034"/>
                      </a:lnTo>
                      <a:lnTo>
                        <a:pt x="114084" y="504329"/>
                      </a:lnTo>
                      <a:lnTo>
                        <a:pt x="111836" y="504761"/>
                      </a:lnTo>
                      <a:lnTo>
                        <a:pt x="112585" y="505460"/>
                      </a:lnTo>
                      <a:lnTo>
                        <a:pt x="111772" y="505485"/>
                      </a:lnTo>
                      <a:lnTo>
                        <a:pt x="111594" y="505701"/>
                      </a:lnTo>
                      <a:lnTo>
                        <a:pt x="111467" y="506730"/>
                      </a:lnTo>
                      <a:lnTo>
                        <a:pt x="110731" y="505701"/>
                      </a:lnTo>
                      <a:lnTo>
                        <a:pt x="109575" y="505688"/>
                      </a:lnTo>
                      <a:lnTo>
                        <a:pt x="108419" y="505828"/>
                      </a:lnTo>
                      <a:lnTo>
                        <a:pt x="109702" y="507352"/>
                      </a:lnTo>
                      <a:lnTo>
                        <a:pt x="109105" y="508241"/>
                      </a:lnTo>
                      <a:lnTo>
                        <a:pt x="109321" y="510006"/>
                      </a:lnTo>
                      <a:lnTo>
                        <a:pt x="110451" y="509384"/>
                      </a:lnTo>
                      <a:lnTo>
                        <a:pt x="111848" y="509333"/>
                      </a:lnTo>
                      <a:lnTo>
                        <a:pt x="115354" y="507695"/>
                      </a:lnTo>
                      <a:lnTo>
                        <a:pt x="116700" y="506895"/>
                      </a:lnTo>
                      <a:lnTo>
                        <a:pt x="117348" y="510108"/>
                      </a:lnTo>
                      <a:lnTo>
                        <a:pt x="115481" y="510146"/>
                      </a:lnTo>
                      <a:lnTo>
                        <a:pt x="115252" y="510413"/>
                      </a:lnTo>
                      <a:lnTo>
                        <a:pt x="113868" y="508952"/>
                      </a:lnTo>
                      <a:lnTo>
                        <a:pt x="114007" y="510794"/>
                      </a:lnTo>
                      <a:lnTo>
                        <a:pt x="115481" y="513194"/>
                      </a:lnTo>
                      <a:lnTo>
                        <a:pt x="115544" y="513829"/>
                      </a:lnTo>
                      <a:lnTo>
                        <a:pt x="114363" y="517245"/>
                      </a:lnTo>
                      <a:lnTo>
                        <a:pt x="115062" y="519658"/>
                      </a:lnTo>
                      <a:lnTo>
                        <a:pt x="115189" y="526503"/>
                      </a:lnTo>
                      <a:lnTo>
                        <a:pt x="113957" y="529488"/>
                      </a:lnTo>
                      <a:lnTo>
                        <a:pt x="112433" y="532803"/>
                      </a:lnTo>
                      <a:lnTo>
                        <a:pt x="114249" y="532714"/>
                      </a:lnTo>
                      <a:lnTo>
                        <a:pt x="115912" y="531964"/>
                      </a:lnTo>
                      <a:lnTo>
                        <a:pt x="119164" y="530402"/>
                      </a:lnTo>
                      <a:lnTo>
                        <a:pt x="120472" y="531723"/>
                      </a:lnTo>
                      <a:lnTo>
                        <a:pt x="123037" y="531964"/>
                      </a:lnTo>
                      <a:lnTo>
                        <a:pt x="124193" y="531888"/>
                      </a:lnTo>
                      <a:lnTo>
                        <a:pt x="125818" y="532384"/>
                      </a:lnTo>
                      <a:lnTo>
                        <a:pt x="126466" y="533260"/>
                      </a:lnTo>
                      <a:lnTo>
                        <a:pt x="129324" y="532980"/>
                      </a:lnTo>
                      <a:lnTo>
                        <a:pt x="130924" y="532193"/>
                      </a:lnTo>
                      <a:lnTo>
                        <a:pt x="134480" y="529475"/>
                      </a:lnTo>
                      <a:lnTo>
                        <a:pt x="134683" y="529488"/>
                      </a:lnTo>
                      <a:lnTo>
                        <a:pt x="134734" y="530402"/>
                      </a:lnTo>
                      <a:lnTo>
                        <a:pt x="141770" y="530402"/>
                      </a:lnTo>
                      <a:lnTo>
                        <a:pt x="141033" y="531672"/>
                      </a:lnTo>
                      <a:lnTo>
                        <a:pt x="144741" y="532942"/>
                      </a:lnTo>
                      <a:lnTo>
                        <a:pt x="147040" y="535482"/>
                      </a:lnTo>
                      <a:lnTo>
                        <a:pt x="148031" y="535482"/>
                      </a:lnTo>
                      <a:lnTo>
                        <a:pt x="149923" y="536638"/>
                      </a:lnTo>
                      <a:lnTo>
                        <a:pt x="149555" y="538022"/>
                      </a:lnTo>
                      <a:lnTo>
                        <a:pt x="148945" y="538022"/>
                      </a:lnTo>
                      <a:lnTo>
                        <a:pt x="148793" y="539292"/>
                      </a:lnTo>
                      <a:lnTo>
                        <a:pt x="150456" y="540562"/>
                      </a:lnTo>
                      <a:lnTo>
                        <a:pt x="153123" y="545642"/>
                      </a:lnTo>
                      <a:lnTo>
                        <a:pt x="155803" y="549452"/>
                      </a:lnTo>
                      <a:lnTo>
                        <a:pt x="163626" y="549452"/>
                      </a:lnTo>
                      <a:lnTo>
                        <a:pt x="164617" y="548182"/>
                      </a:lnTo>
                      <a:lnTo>
                        <a:pt x="166065" y="546912"/>
                      </a:lnTo>
                      <a:lnTo>
                        <a:pt x="165633" y="545642"/>
                      </a:lnTo>
                      <a:lnTo>
                        <a:pt x="175158" y="540562"/>
                      </a:lnTo>
                      <a:lnTo>
                        <a:pt x="176568" y="539292"/>
                      </a:lnTo>
                      <a:lnTo>
                        <a:pt x="179920" y="538022"/>
                      </a:lnTo>
                      <a:lnTo>
                        <a:pt x="199161" y="538022"/>
                      </a:lnTo>
                      <a:lnTo>
                        <a:pt x="200037" y="539292"/>
                      </a:lnTo>
                      <a:lnTo>
                        <a:pt x="203238" y="539292"/>
                      </a:lnTo>
                      <a:lnTo>
                        <a:pt x="204774" y="538022"/>
                      </a:lnTo>
                      <a:lnTo>
                        <a:pt x="209257" y="536752"/>
                      </a:lnTo>
                      <a:lnTo>
                        <a:pt x="207746" y="538022"/>
                      </a:lnTo>
                      <a:lnTo>
                        <a:pt x="211239" y="539292"/>
                      </a:lnTo>
                      <a:lnTo>
                        <a:pt x="212420" y="535482"/>
                      </a:lnTo>
                      <a:lnTo>
                        <a:pt x="216662" y="529132"/>
                      </a:lnTo>
                      <a:lnTo>
                        <a:pt x="218363" y="526592"/>
                      </a:lnTo>
                      <a:lnTo>
                        <a:pt x="222275" y="526592"/>
                      </a:lnTo>
                      <a:lnTo>
                        <a:pt x="224574" y="525322"/>
                      </a:lnTo>
                      <a:lnTo>
                        <a:pt x="225767" y="524052"/>
                      </a:lnTo>
                      <a:lnTo>
                        <a:pt x="227253" y="524052"/>
                      </a:lnTo>
                      <a:lnTo>
                        <a:pt x="227393" y="525322"/>
                      </a:lnTo>
                      <a:lnTo>
                        <a:pt x="228612" y="525322"/>
                      </a:lnTo>
                      <a:lnTo>
                        <a:pt x="229577" y="524052"/>
                      </a:lnTo>
                      <a:lnTo>
                        <a:pt x="230289" y="524052"/>
                      </a:lnTo>
                      <a:lnTo>
                        <a:pt x="228828" y="522782"/>
                      </a:lnTo>
                      <a:lnTo>
                        <a:pt x="229349" y="520242"/>
                      </a:lnTo>
                      <a:lnTo>
                        <a:pt x="230441" y="518972"/>
                      </a:lnTo>
                      <a:lnTo>
                        <a:pt x="231432" y="516432"/>
                      </a:lnTo>
                      <a:lnTo>
                        <a:pt x="231673" y="515162"/>
                      </a:lnTo>
                      <a:lnTo>
                        <a:pt x="234721" y="510082"/>
                      </a:lnTo>
                      <a:lnTo>
                        <a:pt x="240271" y="507542"/>
                      </a:lnTo>
                      <a:lnTo>
                        <a:pt x="244487" y="505002"/>
                      </a:lnTo>
                      <a:lnTo>
                        <a:pt x="240169" y="502462"/>
                      </a:lnTo>
                      <a:lnTo>
                        <a:pt x="237363" y="499922"/>
                      </a:lnTo>
                      <a:lnTo>
                        <a:pt x="236029" y="491032"/>
                      </a:lnTo>
                      <a:lnTo>
                        <a:pt x="240030" y="485952"/>
                      </a:lnTo>
                      <a:lnTo>
                        <a:pt x="245224" y="479602"/>
                      </a:lnTo>
                      <a:lnTo>
                        <a:pt x="249301" y="475792"/>
                      </a:lnTo>
                      <a:lnTo>
                        <a:pt x="251777" y="470712"/>
                      </a:lnTo>
                      <a:lnTo>
                        <a:pt x="251244" y="470712"/>
                      </a:lnTo>
                      <a:lnTo>
                        <a:pt x="251841" y="469442"/>
                      </a:lnTo>
                      <a:lnTo>
                        <a:pt x="253314" y="468172"/>
                      </a:lnTo>
                      <a:lnTo>
                        <a:pt x="257111" y="464362"/>
                      </a:lnTo>
                      <a:lnTo>
                        <a:pt x="261518" y="464362"/>
                      </a:lnTo>
                      <a:lnTo>
                        <a:pt x="265912" y="463092"/>
                      </a:lnTo>
                      <a:lnTo>
                        <a:pt x="267347" y="463092"/>
                      </a:lnTo>
                      <a:lnTo>
                        <a:pt x="268770" y="461822"/>
                      </a:lnTo>
                      <a:lnTo>
                        <a:pt x="268579" y="461822"/>
                      </a:lnTo>
                      <a:lnTo>
                        <a:pt x="268465" y="458012"/>
                      </a:lnTo>
                      <a:lnTo>
                        <a:pt x="270205" y="456742"/>
                      </a:lnTo>
                      <a:lnTo>
                        <a:pt x="274904" y="456742"/>
                      </a:lnTo>
                      <a:lnTo>
                        <a:pt x="275590" y="458012"/>
                      </a:lnTo>
                      <a:lnTo>
                        <a:pt x="276707" y="458012"/>
                      </a:lnTo>
                      <a:lnTo>
                        <a:pt x="279323" y="456742"/>
                      </a:lnTo>
                      <a:lnTo>
                        <a:pt x="284873" y="454202"/>
                      </a:lnTo>
                      <a:lnTo>
                        <a:pt x="287312" y="450392"/>
                      </a:lnTo>
                      <a:lnTo>
                        <a:pt x="285851" y="449122"/>
                      </a:lnTo>
                      <a:lnTo>
                        <a:pt x="285788" y="447852"/>
                      </a:lnTo>
                      <a:lnTo>
                        <a:pt x="285686" y="445312"/>
                      </a:lnTo>
                      <a:lnTo>
                        <a:pt x="287007" y="445312"/>
                      </a:lnTo>
                      <a:lnTo>
                        <a:pt x="288607" y="444042"/>
                      </a:lnTo>
                      <a:lnTo>
                        <a:pt x="288137" y="444042"/>
                      </a:lnTo>
                      <a:lnTo>
                        <a:pt x="287528" y="442772"/>
                      </a:lnTo>
                      <a:lnTo>
                        <a:pt x="286156" y="442772"/>
                      </a:lnTo>
                      <a:lnTo>
                        <a:pt x="280390" y="444042"/>
                      </a:lnTo>
                      <a:lnTo>
                        <a:pt x="271932" y="444042"/>
                      </a:lnTo>
                      <a:lnTo>
                        <a:pt x="269303" y="442772"/>
                      </a:lnTo>
                      <a:lnTo>
                        <a:pt x="268312" y="442772"/>
                      </a:lnTo>
                      <a:lnTo>
                        <a:pt x="267639" y="442188"/>
                      </a:lnTo>
                      <a:lnTo>
                        <a:pt x="269303" y="442188"/>
                      </a:lnTo>
                      <a:lnTo>
                        <a:pt x="271932" y="443458"/>
                      </a:lnTo>
                      <a:lnTo>
                        <a:pt x="280390" y="443458"/>
                      </a:lnTo>
                      <a:lnTo>
                        <a:pt x="286156" y="442188"/>
                      </a:lnTo>
                      <a:lnTo>
                        <a:pt x="286804" y="442188"/>
                      </a:lnTo>
                      <a:lnTo>
                        <a:pt x="286537" y="440918"/>
                      </a:lnTo>
                      <a:lnTo>
                        <a:pt x="286270" y="440918"/>
                      </a:lnTo>
                      <a:lnTo>
                        <a:pt x="284543" y="434568"/>
                      </a:lnTo>
                      <a:lnTo>
                        <a:pt x="283565" y="435838"/>
                      </a:lnTo>
                      <a:lnTo>
                        <a:pt x="288328" y="426948"/>
                      </a:lnTo>
                      <a:lnTo>
                        <a:pt x="292468" y="426948"/>
                      </a:lnTo>
                      <a:lnTo>
                        <a:pt x="298132" y="423138"/>
                      </a:lnTo>
                      <a:lnTo>
                        <a:pt x="298970" y="423138"/>
                      </a:lnTo>
                      <a:lnTo>
                        <a:pt x="302539" y="424408"/>
                      </a:lnTo>
                      <a:lnTo>
                        <a:pt x="309168" y="424408"/>
                      </a:lnTo>
                      <a:lnTo>
                        <a:pt x="308622" y="425678"/>
                      </a:lnTo>
                      <a:lnTo>
                        <a:pt x="313080" y="425678"/>
                      </a:lnTo>
                      <a:lnTo>
                        <a:pt x="311785" y="426948"/>
                      </a:lnTo>
                      <a:lnTo>
                        <a:pt x="316395" y="425678"/>
                      </a:lnTo>
                      <a:lnTo>
                        <a:pt x="317639" y="426948"/>
                      </a:lnTo>
                      <a:lnTo>
                        <a:pt x="317296" y="428218"/>
                      </a:lnTo>
                      <a:lnTo>
                        <a:pt x="322440" y="429488"/>
                      </a:lnTo>
                      <a:lnTo>
                        <a:pt x="324091" y="430758"/>
                      </a:lnTo>
                      <a:lnTo>
                        <a:pt x="323862" y="430758"/>
                      </a:lnTo>
                      <a:lnTo>
                        <a:pt x="324980" y="432028"/>
                      </a:lnTo>
                      <a:lnTo>
                        <a:pt x="325081" y="430758"/>
                      </a:lnTo>
                      <a:lnTo>
                        <a:pt x="329463" y="430758"/>
                      </a:lnTo>
                      <a:lnTo>
                        <a:pt x="328371" y="432028"/>
                      </a:lnTo>
                      <a:lnTo>
                        <a:pt x="332727" y="432028"/>
                      </a:lnTo>
                      <a:lnTo>
                        <a:pt x="336334" y="426948"/>
                      </a:lnTo>
                      <a:lnTo>
                        <a:pt x="340664" y="423138"/>
                      </a:lnTo>
                      <a:lnTo>
                        <a:pt x="344106" y="423138"/>
                      </a:lnTo>
                      <a:lnTo>
                        <a:pt x="345605" y="420598"/>
                      </a:lnTo>
                      <a:lnTo>
                        <a:pt x="347281" y="419328"/>
                      </a:lnTo>
                      <a:lnTo>
                        <a:pt x="349110" y="419328"/>
                      </a:lnTo>
                      <a:lnTo>
                        <a:pt x="349923" y="416788"/>
                      </a:lnTo>
                      <a:lnTo>
                        <a:pt x="350647" y="415518"/>
                      </a:lnTo>
                      <a:lnTo>
                        <a:pt x="351459" y="412978"/>
                      </a:lnTo>
                      <a:close/>
                    </a:path>
                    <a:path w="1878964" h="1228089">
                      <a:moveTo>
                        <a:pt x="354609" y="331698"/>
                      </a:moveTo>
                      <a:lnTo>
                        <a:pt x="219875" y="331698"/>
                      </a:lnTo>
                      <a:lnTo>
                        <a:pt x="217665" y="331698"/>
                      </a:lnTo>
                      <a:lnTo>
                        <a:pt x="215493" y="331698"/>
                      </a:lnTo>
                      <a:lnTo>
                        <a:pt x="215493" y="358368"/>
                      </a:lnTo>
                      <a:lnTo>
                        <a:pt x="213969" y="357098"/>
                      </a:lnTo>
                      <a:lnTo>
                        <a:pt x="213563" y="357098"/>
                      </a:lnTo>
                      <a:lnTo>
                        <a:pt x="210388" y="355955"/>
                      </a:lnTo>
                      <a:lnTo>
                        <a:pt x="210426" y="355828"/>
                      </a:lnTo>
                      <a:lnTo>
                        <a:pt x="212979" y="355828"/>
                      </a:lnTo>
                      <a:lnTo>
                        <a:pt x="214287" y="357098"/>
                      </a:lnTo>
                      <a:lnTo>
                        <a:pt x="215493" y="358368"/>
                      </a:lnTo>
                      <a:lnTo>
                        <a:pt x="215493" y="331698"/>
                      </a:lnTo>
                      <a:lnTo>
                        <a:pt x="211709" y="331698"/>
                      </a:lnTo>
                      <a:lnTo>
                        <a:pt x="213245" y="334238"/>
                      </a:lnTo>
                      <a:lnTo>
                        <a:pt x="211480" y="331698"/>
                      </a:lnTo>
                      <a:lnTo>
                        <a:pt x="208559" y="332968"/>
                      </a:lnTo>
                      <a:lnTo>
                        <a:pt x="205168" y="332968"/>
                      </a:lnTo>
                      <a:lnTo>
                        <a:pt x="203276" y="334238"/>
                      </a:lnTo>
                      <a:lnTo>
                        <a:pt x="202717" y="334238"/>
                      </a:lnTo>
                      <a:lnTo>
                        <a:pt x="201422" y="332968"/>
                      </a:lnTo>
                      <a:lnTo>
                        <a:pt x="199415" y="329158"/>
                      </a:lnTo>
                      <a:lnTo>
                        <a:pt x="197739" y="329158"/>
                      </a:lnTo>
                      <a:lnTo>
                        <a:pt x="198437" y="327888"/>
                      </a:lnTo>
                      <a:lnTo>
                        <a:pt x="196888" y="329158"/>
                      </a:lnTo>
                      <a:lnTo>
                        <a:pt x="196951" y="327888"/>
                      </a:lnTo>
                      <a:lnTo>
                        <a:pt x="194310" y="329158"/>
                      </a:lnTo>
                      <a:lnTo>
                        <a:pt x="191795" y="330428"/>
                      </a:lnTo>
                      <a:lnTo>
                        <a:pt x="187058" y="331698"/>
                      </a:lnTo>
                      <a:lnTo>
                        <a:pt x="184238" y="331698"/>
                      </a:lnTo>
                      <a:lnTo>
                        <a:pt x="179527" y="332752"/>
                      </a:lnTo>
                      <a:lnTo>
                        <a:pt x="179527" y="335508"/>
                      </a:lnTo>
                      <a:lnTo>
                        <a:pt x="178676" y="336778"/>
                      </a:lnTo>
                      <a:lnTo>
                        <a:pt x="178206" y="336778"/>
                      </a:lnTo>
                      <a:lnTo>
                        <a:pt x="179527" y="335508"/>
                      </a:lnTo>
                      <a:lnTo>
                        <a:pt x="179527" y="332752"/>
                      </a:lnTo>
                      <a:lnTo>
                        <a:pt x="172758" y="334238"/>
                      </a:lnTo>
                      <a:lnTo>
                        <a:pt x="173202" y="334238"/>
                      </a:lnTo>
                      <a:lnTo>
                        <a:pt x="172605" y="336778"/>
                      </a:lnTo>
                      <a:lnTo>
                        <a:pt x="173520" y="338048"/>
                      </a:lnTo>
                      <a:lnTo>
                        <a:pt x="177736" y="336905"/>
                      </a:lnTo>
                      <a:lnTo>
                        <a:pt x="177444" y="338048"/>
                      </a:lnTo>
                      <a:lnTo>
                        <a:pt x="178257" y="338048"/>
                      </a:lnTo>
                      <a:lnTo>
                        <a:pt x="179044" y="336778"/>
                      </a:lnTo>
                      <a:lnTo>
                        <a:pt x="179857" y="336778"/>
                      </a:lnTo>
                      <a:lnTo>
                        <a:pt x="179095" y="338048"/>
                      </a:lnTo>
                      <a:lnTo>
                        <a:pt x="176745" y="339318"/>
                      </a:lnTo>
                      <a:lnTo>
                        <a:pt x="175590" y="338048"/>
                      </a:lnTo>
                      <a:lnTo>
                        <a:pt x="175907" y="340588"/>
                      </a:lnTo>
                      <a:lnTo>
                        <a:pt x="176796" y="339318"/>
                      </a:lnTo>
                      <a:lnTo>
                        <a:pt x="179298" y="339318"/>
                      </a:lnTo>
                      <a:lnTo>
                        <a:pt x="179362" y="340588"/>
                      </a:lnTo>
                      <a:lnTo>
                        <a:pt x="178295" y="341858"/>
                      </a:lnTo>
                      <a:lnTo>
                        <a:pt x="173990" y="341858"/>
                      </a:lnTo>
                      <a:lnTo>
                        <a:pt x="173558" y="343128"/>
                      </a:lnTo>
                      <a:lnTo>
                        <a:pt x="175272" y="344398"/>
                      </a:lnTo>
                      <a:lnTo>
                        <a:pt x="177203" y="345668"/>
                      </a:lnTo>
                      <a:lnTo>
                        <a:pt x="178917" y="346938"/>
                      </a:lnTo>
                      <a:lnTo>
                        <a:pt x="180187" y="346938"/>
                      </a:lnTo>
                      <a:lnTo>
                        <a:pt x="181356" y="345668"/>
                      </a:lnTo>
                      <a:lnTo>
                        <a:pt x="184670" y="345668"/>
                      </a:lnTo>
                      <a:lnTo>
                        <a:pt x="189179" y="346938"/>
                      </a:lnTo>
                      <a:lnTo>
                        <a:pt x="192633" y="349478"/>
                      </a:lnTo>
                      <a:lnTo>
                        <a:pt x="196151" y="350748"/>
                      </a:lnTo>
                      <a:lnTo>
                        <a:pt x="196176" y="351701"/>
                      </a:lnTo>
                      <a:lnTo>
                        <a:pt x="196189" y="351904"/>
                      </a:lnTo>
                      <a:lnTo>
                        <a:pt x="196240" y="353288"/>
                      </a:lnTo>
                      <a:lnTo>
                        <a:pt x="196608" y="351688"/>
                      </a:lnTo>
                      <a:lnTo>
                        <a:pt x="198361" y="350748"/>
                      </a:lnTo>
                      <a:lnTo>
                        <a:pt x="198970" y="350748"/>
                      </a:lnTo>
                      <a:lnTo>
                        <a:pt x="198513" y="349478"/>
                      </a:lnTo>
                      <a:lnTo>
                        <a:pt x="201053" y="350748"/>
                      </a:lnTo>
                      <a:lnTo>
                        <a:pt x="205892" y="353288"/>
                      </a:lnTo>
                      <a:lnTo>
                        <a:pt x="203276" y="355828"/>
                      </a:lnTo>
                      <a:lnTo>
                        <a:pt x="206997" y="357098"/>
                      </a:lnTo>
                      <a:lnTo>
                        <a:pt x="210134" y="357098"/>
                      </a:lnTo>
                      <a:lnTo>
                        <a:pt x="210058" y="355828"/>
                      </a:lnTo>
                      <a:lnTo>
                        <a:pt x="210185" y="356870"/>
                      </a:lnTo>
                      <a:lnTo>
                        <a:pt x="210375" y="358368"/>
                      </a:lnTo>
                      <a:lnTo>
                        <a:pt x="209143" y="359638"/>
                      </a:lnTo>
                      <a:lnTo>
                        <a:pt x="210235" y="359638"/>
                      </a:lnTo>
                      <a:lnTo>
                        <a:pt x="211505" y="360908"/>
                      </a:lnTo>
                      <a:lnTo>
                        <a:pt x="212699" y="360908"/>
                      </a:lnTo>
                      <a:lnTo>
                        <a:pt x="211035" y="364718"/>
                      </a:lnTo>
                      <a:lnTo>
                        <a:pt x="209359" y="363448"/>
                      </a:lnTo>
                      <a:lnTo>
                        <a:pt x="212877" y="367258"/>
                      </a:lnTo>
                      <a:lnTo>
                        <a:pt x="213664" y="368528"/>
                      </a:lnTo>
                      <a:lnTo>
                        <a:pt x="214401" y="368528"/>
                      </a:lnTo>
                      <a:lnTo>
                        <a:pt x="215201" y="369798"/>
                      </a:lnTo>
                      <a:lnTo>
                        <a:pt x="215074" y="371068"/>
                      </a:lnTo>
                      <a:lnTo>
                        <a:pt x="217055" y="372338"/>
                      </a:lnTo>
                      <a:lnTo>
                        <a:pt x="222618" y="373608"/>
                      </a:lnTo>
                      <a:lnTo>
                        <a:pt x="225145" y="373608"/>
                      </a:lnTo>
                      <a:lnTo>
                        <a:pt x="223494" y="377418"/>
                      </a:lnTo>
                      <a:lnTo>
                        <a:pt x="224091" y="377418"/>
                      </a:lnTo>
                      <a:lnTo>
                        <a:pt x="225361" y="382498"/>
                      </a:lnTo>
                      <a:lnTo>
                        <a:pt x="224599" y="382498"/>
                      </a:lnTo>
                      <a:lnTo>
                        <a:pt x="224421" y="382498"/>
                      </a:lnTo>
                      <a:lnTo>
                        <a:pt x="224497" y="382651"/>
                      </a:lnTo>
                      <a:lnTo>
                        <a:pt x="224650" y="382651"/>
                      </a:lnTo>
                      <a:lnTo>
                        <a:pt x="337972" y="382651"/>
                      </a:lnTo>
                      <a:lnTo>
                        <a:pt x="337858" y="382498"/>
                      </a:lnTo>
                      <a:lnTo>
                        <a:pt x="340182" y="382498"/>
                      </a:lnTo>
                      <a:lnTo>
                        <a:pt x="341134" y="381228"/>
                      </a:lnTo>
                      <a:lnTo>
                        <a:pt x="341922" y="381228"/>
                      </a:lnTo>
                      <a:lnTo>
                        <a:pt x="341503" y="379958"/>
                      </a:lnTo>
                      <a:lnTo>
                        <a:pt x="341261" y="379958"/>
                      </a:lnTo>
                      <a:lnTo>
                        <a:pt x="340690" y="378688"/>
                      </a:lnTo>
                      <a:lnTo>
                        <a:pt x="340055" y="378688"/>
                      </a:lnTo>
                      <a:lnTo>
                        <a:pt x="339496" y="377418"/>
                      </a:lnTo>
                      <a:lnTo>
                        <a:pt x="339026" y="377418"/>
                      </a:lnTo>
                      <a:lnTo>
                        <a:pt x="339128" y="373608"/>
                      </a:lnTo>
                      <a:lnTo>
                        <a:pt x="338023" y="372338"/>
                      </a:lnTo>
                      <a:lnTo>
                        <a:pt x="337121" y="371068"/>
                      </a:lnTo>
                      <a:lnTo>
                        <a:pt x="332905" y="371068"/>
                      </a:lnTo>
                      <a:lnTo>
                        <a:pt x="330174" y="373608"/>
                      </a:lnTo>
                      <a:lnTo>
                        <a:pt x="326948" y="377418"/>
                      </a:lnTo>
                      <a:lnTo>
                        <a:pt x="326542" y="377418"/>
                      </a:lnTo>
                      <a:lnTo>
                        <a:pt x="327101" y="376148"/>
                      </a:lnTo>
                      <a:lnTo>
                        <a:pt x="328752" y="374878"/>
                      </a:lnTo>
                      <a:lnTo>
                        <a:pt x="328968" y="372338"/>
                      </a:lnTo>
                      <a:lnTo>
                        <a:pt x="327723" y="372338"/>
                      </a:lnTo>
                      <a:lnTo>
                        <a:pt x="329755" y="368528"/>
                      </a:lnTo>
                      <a:lnTo>
                        <a:pt x="331444" y="367258"/>
                      </a:lnTo>
                      <a:lnTo>
                        <a:pt x="333717" y="364718"/>
                      </a:lnTo>
                      <a:lnTo>
                        <a:pt x="333806" y="363448"/>
                      </a:lnTo>
                      <a:lnTo>
                        <a:pt x="334048" y="362178"/>
                      </a:lnTo>
                      <a:lnTo>
                        <a:pt x="334924" y="362178"/>
                      </a:lnTo>
                      <a:lnTo>
                        <a:pt x="336931" y="360908"/>
                      </a:lnTo>
                      <a:lnTo>
                        <a:pt x="339128" y="359638"/>
                      </a:lnTo>
                      <a:lnTo>
                        <a:pt x="339852" y="358368"/>
                      </a:lnTo>
                      <a:lnTo>
                        <a:pt x="340575" y="357098"/>
                      </a:lnTo>
                      <a:lnTo>
                        <a:pt x="342138" y="355828"/>
                      </a:lnTo>
                      <a:lnTo>
                        <a:pt x="339610" y="355828"/>
                      </a:lnTo>
                      <a:lnTo>
                        <a:pt x="340499" y="354558"/>
                      </a:lnTo>
                      <a:lnTo>
                        <a:pt x="341223" y="353288"/>
                      </a:lnTo>
                      <a:lnTo>
                        <a:pt x="344411" y="353288"/>
                      </a:lnTo>
                      <a:lnTo>
                        <a:pt x="345020" y="354558"/>
                      </a:lnTo>
                      <a:lnTo>
                        <a:pt x="346329" y="354558"/>
                      </a:lnTo>
                      <a:lnTo>
                        <a:pt x="347332" y="353288"/>
                      </a:lnTo>
                      <a:lnTo>
                        <a:pt x="348538" y="353288"/>
                      </a:lnTo>
                      <a:lnTo>
                        <a:pt x="348754" y="352018"/>
                      </a:lnTo>
                      <a:lnTo>
                        <a:pt x="349351" y="352018"/>
                      </a:lnTo>
                      <a:lnTo>
                        <a:pt x="349846" y="350748"/>
                      </a:lnTo>
                      <a:lnTo>
                        <a:pt x="349605" y="350748"/>
                      </a:lnTo>
                      <a:lnTo>
                        <a:pt x="349453" y="349478"/>
                      </a:lnTo>
                      <a:lnTo>
                        <a:pt x="349211" y="349478"/>
                      </a:lnTo>
                      <a:lnTo>
                        <a:pt x="349123" y="348208"/>
                      </a:lnTo>
                      <a:lnTo>
                        <a:pt x="349224" y="345668"/>
                      </a:lnTo>
                      <a:lnTo>
                        <a:pt x="349199" y="343128"/>
                      </a:lnTo>
                      <a:lnTo>
                        <a:pt x="349542" y="341858"/>
                      </a:lnTo>
                      <a:lnTo>
                        <a:pt x="350469" y="340588"/>
                      </a:lnTo>
                      <a:lnTo>
                        <a:pt x="351116" y="339318"/>
                      </a:lnTo>
                      <a:lnTo>
                        <a:pt x="352069" y="336778"/>
                      </a:lnTo>
                      <a:lnTo>
                        <a:pt x="352729" y="335508"/>
                      </a:lnTo>
                      <a:lnTo>
                        <a:pt x="354050" y="332968"/>
                      </a:lnTo>
                      <a:lnTo>
                        <a:pt x="354609" y="331698"/>
                      </a:lnTo>
                      <a:close/>
                    </a:path>
                    <a:path w="1878964" h="1228089">
                      <a:moveTo>
                        <a:pt x="358863" y="325348"/>
                      </a:moveTo>
                      <a:lnTo>
                        <a:pt x="357441" y="325348"/>
                      </a:lnTo>
                      <a:lnTo>
                        <a:pt x="354215" y="324078"/>
                      </a:lnTo>
                      <a:lnTo>
                        <a:pt x="348996" y="324078"/>
                      </a:lnTo>
                      <a:lnTo>
                        <a:pt x="348195" y="322808"/>
                      </a:lnTo>
                      <a:lnTo>
                        <a:pt x="347395" y="321538"/>
                      </a:lnTo>
                      <a:lnTo>
                        <a:pt x="343992" y="322808"/>
                      </a:lnTo>
                      <a:lnTo>
                        <a:pt x="341782" y="322808"/>
                      </a:lnTo>
                      <a:lnTo>
                        <a:pt x="339305" y="321538"/>
                      </a:lnTo>
                      <a:lnTo>
                        <a:pt x="337756" y="321538"/>
                      </a:lnTo>
                      <a:lnTo>
                        <a:pt x="335330" y="318998"/>
                      </a:lnTo>
                      <a:lnTo>
                        <a:pt x="334784" y="317728"/>
                      </a:lnTo>
                      <a:lnTo>
                        <a:pt x="332816" y="316458"/>
                      </a:lnTo>
                      <a:lnTo>
                        <a:pt x="326656" y="316458"/>
                      </a:lnTo>
                      <a:lnTo>
                        <a:pt x="325526" y="315188"/>
                      </a:lnTo>
                      <a:lnTo>
                        <a:pt x="319366" y="315188"/>
                      </a:lnTo>
                      <a:lnTo>
                        <a:pt x="319189" y="314972"/>
                      </a:lnTo>
                      <a:lnTo>
                        <a:pt x="320040" y="315175"/>
                      </a:lnTo>
                      <a:lnTo>
                        <a:pt x="320319" y="315163"/>
                      </a:lnTo>
                      <a:lnTo>
                        <a:pt x="320700" y="315112"/>
                      </a:lnTo>
                      <a:lnTo>
                        <a:pt x="321729" y="314871"/>
                      </a:lnTo>
                      <a:lnTo>
                        <a:pt x="322986" y="314515"/>
                      </a:lnTo>
                      <a:lnTo>
                        <a:pt x="324015" y="314591"/>
                      </a:lnTo>
                      <a:lnTo>
                        <a:pt x="324192" y="314515"/>
                      </a:lnTo>
                      <a:lnTo>
                        <a:pt x="324535" y="314401"/>
                      </a:lnTo>
                      <a:lnTo>
                        <a:pt x="325196" y="313969"/>
                      </a:lnTo>
                      <a:lnTo>
                        <a:pt x="325208" y="312140"/>
                      </a:lnTo>
                      <a:lnTo>
                        <a:pt x="324650" y="310629"/>
                      </a:lnTo>
                      <a:lnTo>
                        <a:pt x="323926" y="309816"/>
                      </a:lnTo>
                      <a:lnTo>
                        <a:pt x="323189" y="308991"/>
                      </a:lnTo>
                      <a:lnTo>
                        <a:pt x="323659" y="308597"/>
                      </a:lnTo>
                      <a:lnTo>
                        <a:pt x="323811" y="308305"/>
                      </a:lnTo>
                      <a:lnTo>
                        <a:pt x="323913" y="307632"/>
                      </a:lnTo>
                      <a:lnTo>
                        <a:pt x="324319" y="306527"/>
                      </a:lnTo>
                      <a:lnTo>
                        <a:pt x="324866" y="305511"/>
                      </a:lnTo>
                      <a:lnTo>
                        <a:pt x="325043" y="305079"/>
                      </a:lnTo>
                      <a:lnTo>
                        <a:pt x="325285" y="304761"/>
                      </a:lnTo>
                      <a:lnTo>
                        <a:pt x="325551" y="304457"/>
                      </a:lnTo>
                      <a:lnTo>
                        <a:pt x="325945" y="303936"/>
                      </a:lnTo>
                      <a:lnTo>
                        <a:pt x="326377" y="303491"/>
                      </a:lnTo>
                      <a:lnTo>
                        <a:pt x="326707" y="303314"/>
                      </a:lnTo>
                      <a:lnTo>
                        <a:pt x="327380" y="302729"/>
                      </a:lnTo>
                      <a:lnTo>
                        <a:pt x="327723" y="302882"/>
                      </a:lnTo>
                      <a:lnTo>
                        <a:pt x="328206" y="303250"/>
                      </a:lnTo>
                      <a:lnTo>
                        <a:pt x="328333" y="303237"/>
                      </a:lnTo>
                      <a:lnTo>
                        <a:pt x="328714" y="303339"/>
                      </a:lnTo>
                      <a:lnTo>
                        <a:pt x="329272" y="303161"/>
                      </a:lnTo>
                      <a:lnTo>
                        <a:pt x="329819" y="302831"/>
                      </a:lnTo>
                      <a:lnTo>
                        <a:pt x="330771" y="301866"/>
                      </a:lnTo>
                      <a:lnTo>
                        <a:pt x="332041" y="300596"/>
                      </a:lnTo>
                      <a:lnTo>
                        <a:pt x="332867" y="300520"/>
                      </a:lnTo>
                      <a:lnTo>
                        <a:pt x="332359" y="299415"/>
                      </a:lnTo>
                      <a:lnTo>
                        <a:pt x="331228" y="296989"/>
                      </a:lnTo>
                      <a:lnTo>
                        <a:pt x="331139" y="296837"/>
                      </a:lnTo>
                      <a:lnTo>
                        <a:pt x="330212" y="295630"/>
                      </a:lnTo>
                      <a:lnTo>
                        <a:pt x="328714" y="293814"/>
                      </a:lnTo>
                      <a:lnTo>
                        <a:pt x="328231" y="293319"/>
                      </a:lnTo>
                      <a:lnTo>
                        <a:pt x="327761" y="292773"/>
                      </a:lnTo>
                      <a:lnTo>
                        <a:pt x="327571" y="292658"/>
                      </a:lnTo>
                      <a:lnTo>
                        <a:pt x="327152" y="291909"/>
                      </a:lnTo>
                      <a:lnTo>
                        <a:pt x="327050" y="291769"/>
                      </a:lnTo>
                      <a:lnTo>
                        <a:pt x="326948" y="291477"/>
                      </a:lnTo>
                      <a:lnTo>
                        <a:pt x="326986" y="290830"/>
                      </a:lnTo>
                      <a:lnTo>
                        <a:pt x="327342" y="290436"/>
                      </a:lnTo>
                      <a:lnTo>
                        <a:pt x="327494" y="289915"/>
                      </a:lnTo>
                      <a:lnTo>
                        <a:pt x="327901" y="289382"/>
                      </a:lnTo>
                      <a:lnTo>
                        <a:pt x="327863" y="288810"/>
                      </a:lnTo>
                      <a:lnTo>
                        <a:pt x="327596" y="288594"/>
                      </a:lnTo>
                      <a:lnTo>
                        <a:pt x="327228" y="288404"/>
                      </a:lnTo>
                      <a:lnTo>
                        <a:pt x="327152" y="287947"/>
                      </a:lnTo>
                      <a:lnTo>
                        <a:pt x="326504" y="287883"/>
                      </a:lnTo>
                      <a:lnTo>
                        <a:pt x="325882" y="287718"/>
                      </a:lnTo>
                      <a:lnTo>
                        <a:pt x="325437" y="287210"/>
                      </a:lnTo>
                      <a:lnTo>
                        <a:pt x="325094" y="286727"/>
                      </a:lnTo>
                      <a:lnTo>
                        <a:pt x="325894" y="286080"/>
                      </a:lnTo>
                      <a:lnTo>
                        <a:pt x="326174" y="285940"/>
                      </a:lnTo>
                      <a:lnTo>
                        <a:pt x="327634" y="285457"/>
                      </a:lnTo>
                      <a:lnTo>
                        <a:pt x="328383" y="284784"/>
                      </a:lnTo>
                      <a:lnTo>
                        <a:pt x="329399" y="284353"/>
                      </a:lnTo>
                      <a:lnTo>
                        <a:pt x="329095" y="284340"/>
                      </a:lnTo>
                      <a:lnTo>
                        <a:pt x="328536" y="284187"/>
                      </a:lnTo>
                      <a:lnTo>
                        <a:pt x="328295" y="284022"/>
                      </a:lnTo>
                      <a:lnTo>
                        <a:pt x="328079" y="283679"/>
                      </a:lnTo>
                      <a:lnTo>
                        <a:pt x="328142" y="283095"/>
                      </a:lnTo>
                      <a:lnTo>
                        <a:pt x="328358" y="282638"/>
                      </a:lnTo>
                      <a:lnTo>
                        <a:pt x="328637" y="282168"/>
                      </a:lnTo>
                      <a:lnTo>
                        <a:pt x="329006" y="281724"/>
                      </a:lnTo>
                      <a:lnTo>
                        <a:pt x="329361" y="281114"/>
                      </a:lnTo>
                      <a:lnTo>
                        <a:pt x="329996" y="280123"/>
                      </a:lnTo>
                      <a:lnTo>
                        <a:pt x="330644" y="278752"/>
                      </a:lnTo>
                      <a:lnTo>
                        <a:pt x="330568" y="278523"/>
                      </a:lnTo>
                      <a:lnTo>
                        <a:pt x="330466" y="278396"/>
                      </a:lnTo>
                      <a:lnTo>
                        <a:pt x="329984" y="277761"/>
                      </a:lnTo>
                      <a:lnTo>
                        <a:pt x="328726" y="276136"/>
                      </a:lnTo>
                      <a:lnTo>
                        <a:pt x="327647" y="274751"/>
                      </a:lnTo>
                      <a:lnTo>
                        <a:pt x="327088" y="274078"/>
                      </a:lnTo>
                      <a:lnTo>
                        <a:pt x="326872" y="273812"/>
                      </a:lnTo>
                      <a:lnTo>
                        <a:pt x="326390" y="273227"/>
                      </a:lnTo>
                      <a:lnTo>
                        <a:pt x="326275" y="272757"/>
                      </a:lnTo>
                      <a:lnTo>
                        <a:pt x="326199" y="272211"/>
                      </a:lnTo>
                      <a:lnTo>
                        <a:pt x="326174" y="272059"/>
                      </a:lnTo>
                      <a:lnTo>
                        <a:pt x="327012" y="271068"/>
                      </a:lnTo>
                      <a:lnTo>
                        <a:pt x="328193" y="270421"/>
                      </a:lnTo>
                      <a:lnTo>
                        <a:pt x="328930" y="270129"/>
                      </a:lnTo>
                      <a:lnTo>
                        <a:pt x="329590" y="270078"/>
                      </a:lnTo>
                      <a:lnTo>
                        <a:pt x="329933" y="270141"/>
                      </a:lnTo>
                      <a:lnTo>
                        <a:pt x="330835" y="270446"/>
                      </a:lnTo>
                      <a:lnTo>
                        <a:pt x="332270" y="271068"/>
                      </a:lnTo>
                      <a:lnTo>
                        <a:pt x="333159" y="271081"/>
                      </a:lnTo>
                      <a:lnTo>
                        <a:pt x="333324" y="271119"/>
                      </a:lnTo>
                      <a:lnTo>
                        <a:pt x="333590" y="271081"/>
                      </a:lnTo>
                      <a:lnTo>
                        <a:pt x="334251" y="270992"/>
                      </a:lnTo>
                      <a:lnTo>
                        <a:pt x="336537" y="270421"/>
                      </a:lnTo>
                      <a:lnTo>
                        <a:pt x="337451" y="270078"/>
                      </a:lnTo>
                      <a:lnTo>
                        <a:pt x="337591" y="270027"/>
                      </a:lnTo>
                      <a:lnTo>
                        <a:pt x="337794" y="269938"/>
                      </a:lnTo>
                      <a:lnTo>
                        <a:pt x="338239" y="269595"/>
                      </a:lnTo>
                      <a:lnTo>
                        <a:pt x="338620" y="269265"/>
                      </a:lnTo>
                      <a:lnTo>
                        <a:pt x="338848" y="268947"/>
                      </a:lnTo>
                      <a:lnTo>
                        <a:pt x="338239" y="268401"/>
                      </a:lnTo>
                      <a:lnTo>
                        <a:pt x="337540" y="268008"/>
                      </a:lnTo>
                      <a:lnTo>
                        <a:pt x="336854" y="267563"/>
                      </a:lnTo>
                      <a:lnTo>
                        <a:pt x="337248" y="266763"/>
                      </a:lnTo>
                      <a:lnTo>
                        <a:pt x="338061" y="266217"/>
                      </a:lnTo>
                      <a:lnTo>
                        <a:pt x="340398" y="264883"/>
                      </a:lnTo>
                      <a:lnTo>
                        <a:pt x="341312" y="264502"/>
                      </a:lnTo>
                      <a:lnTo>
                        <a:pt x="342011" y="264210"/>
                      </a:lnTo>
                      <a:lnTo>
                        <a:pt x="342315" y="261073"/>
                      </a:lnTo>
                      <a:lnTo>
                        <a:pt x="324345" y="261073"/>
                      </a:lnTo>
                      <a:lnTo>
                        <a:pt x="324345" y="285775"/>
                      </a:lnTo>
                      <a:lnTo>
                        <a:pt x="323037" y="287210"/>
                      </a:lnTo>
                      <a:lnTo>
                        <a:pt x="324345" y="285775"/>
                      </a:lnTo>
                      <a:lnTo>
                        <a:pt x="324345" y="261073"/>
                      </a:lnTo>
                      <a:lnTo>
                        <a:pt x="323430" y="261073"/>
                      </a:lnTo>
                      <a:lnTo>
                        <a:pt x="321805" y="261073"/>
                      </a:lnTo>
                      <a:lnTo>
                        <a:pt x="321525" y="261010"/>
                      </a:lnTo>
                      <a:lnTo>
                        <a:pt x="321906" y="261010"/>
                      </a:lnTo>
                      <a:lnTo>
                        <a:pt x="322656" y="260527"/>
                      </a:lnTo>
                      <a:lnTo>
                        <a:pt x="324573" y="259511"/>
                      </a:lnTo>
                      <a:lnTo>
                        <a:pt x="324878" y="259207"/>
                      </a:lnTo>
                      <a:lnTo>
                        <a:pt x="324624" y="259753"/>
                      </a:lnTo>
                      <a:lnTo>
                        <a:pt x="323469" y="261023"/>
                      </a:lnTo>
                      <a:lnTo>
                        <a:pt x="342315" y="261023"/>
                      </a:lnTo>
                      <a:lnTo>
                        <a:pt x="342328" y="260845"/>
                      </a:lnTo>
                      <a:lnTo>
                        <a:pt x="341249" y="260223"/>
                      </a:lnTo>
                      <a:lnTo>
                        <a:pt x="338975" y="259537"/>
                      </a:lnTo>
                      <a:lnTo>
                        <a:pt x="338010" y="259346"/>
                      </a:lnTo>
                      <a:lnTo>
                        <a:pt x="337667" y="259207"/>
                      </a:lnTo>
                      <a:lnTo>
                        <a:pt x="337108" y="258978"/>
                      </a:lnTo>
                      <a:lnTo>
                        <a:pt x="337477" y="258521"/>
                      </a:lnTo>
                      <a:lnTo>
                        <a:pt x="337781" y="258127"/>
                      </a:lnTo>
                      <a:lnTo>
                        <a:pt x="337959" y="257530"/>
                      </a:lnTo>
                      <a:lnTo>
                        <a:pt x="337934" y="256971"/>
                      </a:lnTo>
                      <a:lnTo>
                        <a:pt x="337299" y="256260"/>
                      </a:lnTo>
                      <a:lnTo>
                        <a:pt x="338340" y="256019"/>
                      </a:lnTo>
                      <a:lnTo>
                        <a:pt x="340360" y="256235"/>
                      </a:lnTo>
                      <a:lnTo>
                        <a:pt x="340804" y="256019"/>
                      </a:lnTo>
                      <a:lnTo>
                        <a:pt x="341134" y="255854"/>
                      </a:lnTo>
                      <a:lnTo>
                        <a:pt x="342226" y="255320"/>
                      </a:lnTo>
                      <a:lnTo>
                        <a:pt x="342353" y="253860"/>
                      </a:lnTo>
                      <a:lnTo>
                        <a:pt x="342557" y="252539"/>
                      </a:lnTo>
                      <a:lnTo>
                        <a:pt x="342646" y="252171"/>
                      </a:lnTo>
                      <a:lnTo>
                        <a:pt x="342849" y="251650"/>
                      </a:lnTo>
                      <a:lnTo>
                        <a:pt x="343636" y="249669"/>
                      </a:lnTo>
                      <a:lnTo>
                        <a:pt x="344043" y="248297"/>
                      </a:lnTo>
                      <a:lnTo>
                        <a:pt x="344182" y="247688"/>
                      </a:lnTo>
                      <a:lnTo>
                        <a:pt x="344347" y="245567"/>
                      </a:lnTo>
                      <a:lnTo>
                        <a:pt x="344131" y="244119"/>
                      </a:lnTo>
                      <a:lnTo>
                        <a:pt x="344106" y="243979"/>
                      </a:lnTo>
                      <a:lnTo>
                        <a:pt x="343306" y="244119"/>
                      </a:lnTo>
                      <a:lnTo>
                        <a:pt x="342341" y="243827"/>
                      </a:lnTo>
                      <a:lnTo>
                        <a:pt x="341820" y="243230"/>
                      </a:lnTo>
                      <a:lnTo>
                        <a:pt x="339267" y="240893"/>
                      </a:lnTo>
                      <a:lnTo>
                        <a:pt x="339115" y="240753"/>
                      </a:lnTo>
                      <a:lnTo>
                        <a:pt x="337299" y="240893"/>
                      </a:lnTo>
                      <a:lnTo>
                        <a:pt x="334860" y="240576"/>
                      </a:lnTo>
                      <a:lnTo>
                        <a:pt x="329831" y="241007"/>
                      </a:lnTo>
                      <a:lnTo>
                        <a:pt x="325196" y="241007"/>
                      </a:lnTo>
                      <a:lnTo>
                        <a:pt x="325196" y="257937"/>
                      </a:lnTo>
                      <a:lnTo>
                        <a:pt x="325094" y="258521"/>
                      </a:lnTo>
                      <a:lnTo>
                        <a:pt x="324662" y="257581"/>
                      </a:lnTo>
                      <a:lnTo>
                        <a:pt x="321538" y="257035"/>
                      </a:lnTo>
                      <a:lnTo>
                        <a:pt x="320979" y="256971"/>
                      </a:lnTo>
                      <a:lnTo>
                        <a:pt x="319913" y="257670"/>
                      </a:lnTo>
                      <a:lnTo>
                        <a:pt x="315429" y="259562"/>
                      </a:lnTo>
                      <a:lnTo>
                        <a:pt x="314502" y="261975"/>
                      </a:lnTo>
                      <a:lnTo>
                        <a:pt x="315836" y="261912"/>
                      </a:lnTo>
                      <a:lnTo>
                        <a:pt x="319049" y="262839"/>
                      </a:lnTo>
                      <a:lnTo>
                        <a:pt x="320497" y="261912"/>
                      </a:lnTo>
                      <a:lnTo>
                        <a:pt x="321348" y="261366"/>
                      </a:lnTo>
                      <a:lnTo>
                        <a:pt x="320662" y="262712"/>
                      </a:lnTo>
                      <a:lnTo>
                        <a:pt x="320662" y="282549"/>
                      </a:lnTo>
                      <a:lnTo>
                        <a:pt x="320548" y="282422"/>
                      </a:lnTo>
                      <a:lnTo>
                        <a:pt x="320662" y="282549"/>
                      </a:lnTo>
                      <a:lnTo>
                        <a:pt x="320662" y="262712"/>
                      </a:lnTo>
                      <a:lnTo>
                        <a:pt x="319747" y="264502"/>
                      </a:lnTo>
                      <a:lnTo>
                        <a:pt x="319633" y="281724"/>
                      </a:lnTo>
                      <a:lnTo>
                        <a:pt x="319278" y="281914"/>
                      </a:lnTo>
                      <a:lnTo>
                        <a:pt x="319278" y="314401"/>
                      </a:lnTo>
                      <a:lnTo>
                        <a:pt x="319125" y="314896"/>
                      </a:lnTo>
                      <a:lnTo>
                        <a:pt x="317385" y="312648"/>
                      </a:lnTo>
                      <a:lnTo>
                        <a:pt x="314896" y="311378"/>
                      </a:lnTo>
                      <a:lnTo>
                        <a:pt x="313016" y="311378"/>
                      </a:lnTo>
                      <a:lnTo>
                        <a:pt x="312318" y="310108"/>
                      </a:lnTo>
                      <a:lnTo>
                        <a:pt x="310070" y="310108"/>
                      </a:lnTo>
                      <a:lnTo>
                        <a:pt x="309918" y="305028"/>
                      </a:lnTo>
                      <a:lnTo>
                        <a:pt x="309803" y="303758"/>
                      </a:lnTo>
                      <a:lnTo>
                        <a:pt x="306768" y="306298"/>
                      </a:lnTo>
                      <a:lnTo>
                        <a:pt x="304444" y="308838"/>
                      </a:lnTo>
                      <a:lnTo>
                        <a:pt x="300494" y="307568"/>
                      </a:lnTo>
                      <a:lnTo>
                        <a:pt x="300761" y="306654"/>
                      </a:lnTo>
                      <a:lnTo>
                        <a:pt x="304444" y="308305"/>
                      </a:lnTo>
                      <a:lnTo>
                        <a:pt x="306768" y="305511"/>
                      </a:lnTo>
                      <a:lnTo>
                        <a:pt x="309803" y="303314"/>
                      </a:lnTo>
                      <a:lnTo>
                        <a:pt x="309918" y="305028"/>
                      </a:lnTo>
                      <a:lnTo>
                        <a:pt x="309943" y="305244"/>
                      </a:lnTo>
                      <a:lnTo>
                        <a:pt x="310070" y="310007"/>
                      </a:lnTo>
                      <a:lnTo>
                        <a:pt x="311442" y="309892"/>
                      </a:lnTo>
                      <a:lnTo>
                        <a:pt x="311696" y="309930"/>
                      </a:lnTo>
                      <a:lnTo>
                        <a:pt x="311899" y="309892"/>
                      </a:lnTo>
                      <a:lnTo>
                        <a:pt x="312318" y="309816"/>
                      </a:lnTo>
                      <a:lnTo>
                        <a:pt x="313004" y="310222"/>
                      </a:lnTo>
                      <a:lnTo>
                        <a:pt x="314896" y="310870"/>
                      </a:lnTo>
                      <a:lnTo>
                        <a:pt x="317385" y="312305"/>
                      </a:lnTo>
                      <a:lnTo>
                        <a:pt x="319189" y="313969"/>
                      </a:lnTo>
                      <a:lnTo>
                        <a:pt x="319278" y="314401"/>
                      </a:lnTo>
                      <a:lnTo>
                        <a:pt x="319278" y="281914"/>
                      </a:lnTo>
                      <a:lnTo>
                        <a:pt x="318731" y="282168"/>
                      </a:lnTo>
                      <a:lnTo>
                        <a:pt x="319633" y="281724"/>
                      </a:lnTo>
                      <a:lnTo>
                        <a:pt x="319633" y="264464"/>
                      </a:lnTo>
                      <a:lnTo>
                        <a:pt x="314477" y="262267"/>
                      </a:lnTo>
                      <a:lnTo>
                        <a:pt x="313093" y="261645"/>
                      </a:lnTo>
                      <a:lnTo>
                        <a:pt x="313093" y="278396"/>
                      </a:lnTo>
                      <a:lnTo>
                        <a:pt x="312928" y="278460"/>
                      </a:lnTo>
                      <a:lnTo>
                        <a:pt x="312877" y="278587"/>
                      </a:lnTo>
                      <a:lnTo>
                        <a:pt x="312928" y="278460"/>
                      </a:lnTo>
                      <a:lnTo>
                        <a:pt x="313093" y="278396"/>
                      </a:lnTo>
                      <a:lnTo>
                        <a:pt x="313093" y="261645"/>
                      </a:lnTo>
                      <a:lnTo>
                        <a:pt x="312940" y="261569"/>
                      </a:lnTo>
                      <a:lnTo>
                        <a:pt x="313778" y="260680"/>
                      </a:lnTo>
                      <a:lnTo>
                        <a:pt x="313867" y="260223"/>
                      </a:lnTo>
                      <a:lnTo>
                        <a:pt x="313740" y="258127"/>
                      </a:lnTo>
                      <a:lnTo>
                        <a:pt x="313715" y="257937"/>
                      </a:lnTo>
                      <a:lnTo>
                        <a:pt x="313042" y="256971"/>
                      </a:lnTo>
                      <a:lnTo>
                        <a:pt x="312940" y="256590"/>
                      </a:lnTo>
                      <a:lnTo>
                        <a:pt x="313690" y="255041"/>
                      </a:lnTo>
                      <a:lnTo>
                        <a:pt x="317131" y="256260"/>
                      </a:lnTo>
                      <a:lnTo>
                        <a:pt x="316890" y="255041"/>
                      </a:lnTo>
                      <a:lnTo>
                        <a:pt x="316801" y="254571"/>
                      </a:lnTo>
                      <a:lnTo>
                        <a:pt x="316661" y="253860"/>
                      </a:lnTo>
                      <a:lnTo>
                        <a:pt x="313969" y="254571"/>
                      </a:lnTo>
                      <a:lnTo>
                        <a:pt x="314248" y="252171"/>
                      </a:lnTo>
                      <a:lnTo>
                        <a:pt x="313309" y="250456"/>
                      </a:lnTo>
                      <a:lnTo>
                        <a:pt x="315391" y="249224"/>
                      </a:lnTo>
                      <a:lnTo>
                        <a:pt x="318350" y="248843"/>
                      </a:lnTo>
                      <a:lnTo>
                        <a:pt x="318503" y="248297"/>
                      </a:lnTo>
                      <a:lnTo>
                        <a:pt x="319138" y="252539"/>
                      </a:lnTo>
                      <a:lnTo>
                        <a:pt x="321754" y="251650"/>
                      </a:lnTo>
                      <a:lnTo>
                        <a:pt x="322948" y="252171"/>
                      </a:lnTo>
                      <a:lnTo>
                        <a:pt x="321970" y="252844"/>
                      </a:lnTo>
                      <a:lnTo>
                        <a:pt x="321297" y="253225"/>
                      </a:lnTo>
                      <a:lnTo>
                        <a:pt x="321132" y="255955"/>
                      </a:lnTo>
                      <a:lnTo>
                        <a:pt x="322186" y="255854"/>
                      </a:lnTo>
                      <a:lnTo>
                        <a:pt x="324840" y="256590"/>
                      </a:lnTo>
                      <a:lnTo>
                        <a:pt x="325081" y="257136"/>
                      </a:lnTo>
                      <a:lnTo>
                        <a:pt x="325196" y="257937"/>
                      </a:lnTo>
                      <a:lnTo>
                        <a:pt x="325196" y="241007"/>
                      </a:lnTo>
                      <a:lnTo>
                        <a:pt x="322834" y="241007"/>
                      </a:lnTo>
                      <a:lnTo>
                        <a:pt x="318033" y="245910"/>
                      </a:lnTo>
                      <a:lnTo>
                        <a:pt x="317347" y="247167"/>
                      </a:lnTo>
                      <a:lnTo>
                        <a:pt x="315036" y="249161"/>
                      </a:lnTo>
                      <a:lnTo>
                        <a:pt x="313817" y="249669"/>
                      </a:lnTo>
                      <a:lnTo>
                        <a:pt x="311619" y="250736"/>
                      </a:lnTo>
                      <a:lnTo>
                        <a:pt x="310222" y="250786"/>
                      </a:lnTo>
                      <a:lnTo>
                        <a:pt x="310222" y="273812"/>
                      </a:lnTo>
                      <a:lnTo>
                        <a:pt x="309130" y="273469"/>
                      </a:lnTo>
                      <a:lnTo>
                        <a:pt x="309130" y="278003"/>
                      </a:lnTo>
                      <a:lnTo>
                        <a:pt x="308584" y="278561"/>
                      </a:lnTo>
                      <a:lnTo>
                        <a:pt x="308902" y="278206"/>
                      </a:lnTo>
                      <a:lnTo>
                        <a:pt x="309130" y="278003"/>
                      </a:lnTo>
                      <a:lnTo>
                        <a:pt x="309130" y="273469"/>
                      </a:lnTo>
                      <a:lnTo>
                        <a:pt x="308711" y="273329"/>
                      </a:lnTo>
                      <a:lnTo>
                        <a:pt x="308330" y="273392"/>
                      </a:lnTo>
                      <a:lnTo>
                        <a:pt x="308330" y="278853"/>
                      </a:lnTo>
                      <a:lnTo>
                        <a:pt x="308229" y="278993"/>
                      </a:lnTo>
                      <a:lnTo>
                        <a:pt x="307987" y="279209"/>
                      </a:lnTo>
                      <a:lnTo>
                        <a:pt x="308216" y="278993"/>
                      </a:lnTo>
                      <a:lnTo>
                        <a:pt x="308330" y="278853"/>
                      </a:lnTo>
                      <a:lnTo>
                        <a:pt x="308330" y="273392"/>
                      </a:lnTo>
                      <a:lnTo>
                        <a:pt x="307340" y="273545"/>
                      </a:lnTo>
                      <a:lnTo>
                        <a:pt x="309587" y="272211"/>
                      </a:lnTo>
                      <a:lnTo>
                        <a:pt x="309092" y="272757"/>
                      </a:lnTo>
                      <a:lnTo>
                        <a:pt x="309003" y="272999"/>
                      </a:lnTo>
                      <a:lnTo>
                        <a:pt x="309372" y="273481"/>
                      </a:lnTo>
                      <a:lnTo>
                        <a:pt x="310222" y="273812"/>
                      </a:lnTo>
                      <a:lnTo>
                        <a:pt x="310222" y="250786"/>
                      </a:lnTo>
                      <a:lnTo>
                        <a:pt x="309156" y="250825"/>
                      </a:lnTo>
                      <a:lnTo>
                        <a:pt x="307911" y="251841"/>
                      </a:lnTo>
                      <a:lnTo>
                        <a:pt x="307594" y="254571"/>
                      </a:lnTo>
                      <a:lnTo>
                        <a:pt x="307174" y="256717"/>
                      </a:lnTo>
                      <a:lnTo>
                        <a:pt x="307174" y="278790"/>
                      </a:lnTo>
                      <a:lnTo>
                        <a:pt x="306971" y="278676"/>
                      </a:lnTo>
                      <a:lnTo>
                        <a:pt x="307174" y="278790"/>
                      </a:lnTo>
                      <a:lnTo>
                        <a:pt x="307174" y="256717"/>
                      </a:lnTo>
                      <a:lnTo>
                        <a:pt x="306425" y="260527"/>
                      </a:lnTo>
                      <a:lnTo>
                        <a:pt x="304533" y="264033"/>
                      </a:lnTo>
                      <a:lnTo>
                        <a:pt x="299554" y="269113"/>
                      </a:lnTo>
                      <a:lnTo>
                        <a:pt x="298970" y="269227"/>
                      </a:lnTo>
                      <a:lnTo>
                        <a:pt x="298881" y="269595"/>
                      </a:lnTo>
                      <a:lnTo>
                        <a:pt x="299478" y="271487"/>
                      </a:lnTo>
                      <a:lnTo>
                        <a:pt x="302514" y="272757"/>
                      </a:lnTo>
                      <a:lnTo>
                        <a:pt x="305231" y="273939"/>
                      </a:lnTo>
                      <a:lnTo>
                        <a:pt x="303885" y="274345"/>
                      </a:lnTo>
                      <a:lnTo>
                        <a:pt x="303885" y="278917"/>
                      </a:lnTo>
                      <a:lnTo>
                        <a:pt x="303860" y="279565"/>
                      </a:lnTo>
                      <a:lnTo>
                        <a:pt x="303872" y="278917"/>
                      </a:lnTo>
                      <a:lnTo>
                        <a:pt x="303885" y="274345"/>
                      </a:lnTo>
                      <a:lnTo>
                        <a:pt x="303847" y="280212"/>
                      </a:lnTo>
                      <a:lnTo>
                        <a:pt x="303847" y="280695"/>
                      </a:lnTo>
                      <a:lnTo>
                        <a:pt x="303847" y="280212"/>
                      </a:lnTo>
                      <a:lnTo>
                        <a:pt x="303847" y="274358"/>
                      </a:lnTo>
                      <a:lnTo>
                        <a:pt x="300786" y="275247"/>
                      </a:lnTo>
                      <a:lnTo>
                        <a:pt x="301320" y="276136"/>
                      </a:lnTo>
                      <a:lnTo>
                        <a:pt x="300228" y="275831"/>
                      </a:lnTo>
                      <a:lnTo>
                        <a:pt x="299275" y="275501"/>
                      </a:lnTo>
                      <a:lnTo>
                        <a:pt x="298399" y="276034"/>
                      </a:lnTo>
                      <a:lnTo>
                        <a:pt x="299250" y="276669"/>
                      </a:lnTo>
                      <a:lnTo>
                        <a:pt x="301155" y="276783"/>
                      </a:lnTo>
                      <a:lnTo>
                        <a:pt x="303593" y="279565"/>
                      </a:lnTo>
                      <a:lnTo>
                        <a:pt x="302691" y="279171"/>
                      </a:lnTo>
                      <a:lnTo>
                        <a:pt x="302691" y="282333"/>
                      </a:lnTo>
                      <a:lnTo>
                        <a:pt x="302158" y="281368"/>
                      </a:lnTo>
                      <a:lnTo>
                        <a:pt x="302298" y="281381"/>
                      </a:lnTo>
                      <a:lnTo>
                        <a:pt x="302691" y="282333"/>
                      </a:lnTo>
                      <a:lnTo>
                        <a:pt x="302691" y="279171"/>
                      </a:lnTo>
                      <a:lnTo>
                        <a:pt x="301739" y="278752"/>
                      </a:lnTo>
                      <a:lnTo>
                        <a:pt x="300748" y="278320"/>
                      </a:lnTo>
                      <a:lnTo>
                        <a:pt x="298221" y="277279"/>
                      </a:lnTo>
                      <a:lnTo>
                        <a:pt x="296748" y="277241"/>
                      </a:lnTo>
                      <a:lnTo>
                        <a:pt x="295109" y="275437"/>
                      </a:lnTo>
                      <a:lnTo>
                        <a:pt x="292188" y="276034"/>
                      </a:lnTo>
                      <a:lnTo>
                        <a:pt x="289166" y="277660"/>
                      </a:lnTo>
                      <a:lnTo>
                        <a:pt x="292379" y="278676"/>
                      </a:lnTo>
                      <a:lnTo>
                        <a:pt x="294944" y="279095"/>
                      </a:lnTo>
                      <a:lnTo>
                        <a:pt x="296418" y="278790"/>
                      </a:lnTo>
                      <a:lnTo>
                        <a:pt x="299135" y="278752"/>
                      </a:lnTo>
                      <a:lnTo>
                        <a:pt x="300278" y="279717"/>
                      </a:lnTo>
                      <a:lnTo>
                        <a:pt x="301510" y="280047"/>
                      </a:lnTo>
                      <a:lnTo>
                        <a:pt x="301663" y="280289"/>
                      </a:lnTo>
                      <a:lnTo>
                        <a:pt x="301828" y="280250"/>
                      </a:lnTo>
                      <a:lnTo>
                        <a:pt x="301764" y="280428"/>
                      </a:lnTo>
                      <a:lnTo>
                        <a:pt x="301828" y="280758"/>
                      </a:lnTo>
                      <a:lnTo>
                        <a:pt x="297662" y="280428"/>
                      </a:lnTo>
                      <a:lnTo>
                        <a:pt x="293573" y="280289"/>
                      </a:lnTo>
                      <a:lnTo>
                        <a:pt x="289433" y="280200"/>
                      </a:lnTo>
                      <a:lnTo>
                        <a:pt x="289433" y="280911"/>
                      </a:lnTo>
                      <a:lnTo>
                        <a:pt x="289356" y="280238"/>
                      </a:lnTo>
                      <a:lnTo>
                        <a:pt x="285305" y="281393"/>
                      </a:lnTo>
                      <a:lnTo>
                        <a:pt x="281813" y="283387"/>
                      </a:lnTo>
                      <a:lnTo>
                        <a:pt x="278117" y="285280"/>
                      </a:lnTo>
                      <a:lnTo>
                        <a:pt x="277368" y="285457"/>
                      </a:lnTo>
                      <a:lnTo>
                        <a:pt x="277812" y="287248"/>
                      </a:lnTo>
                      <a:lnTo>
                        <a:pt x="278015" y="287934"/>
                      </a:lnTo>
                      <a:lnTo>
                        <a:pt x="278701" y="289102"/>
                      </a:lnTo>
                      <a:lnTo>
                        <a:pt x="279704" y="290296"/>
                      </a:lnTo>
                      <a:lnTo>
                        <a:pt x="280314" y="290906"/>
                      </a:lnTo>
                      <a:lnTo>
                        <a:pt x="281101" y="291922"/>
                      </a:lnTo>
                      <a:lnTo>
                        <a:pt x="281901" y="292493"/>
                      </a:lnTo>
                      <a:lnTo>
                        <a:pt x="282270" y="292671"/>
                      </a:lnTo>
                      <a:lnTo>
                        <a:pt x="283210" y="292239"/>
                      </a:lnTo>
                      <a:lnTo>
                        <a:pt x="283895" y="291858"/>
                      </a:lnTo>
                      <a:lnTo>
                        <a:pt x="284632" y="291693"/>
                      </a:lnTo>
                      <a:lnTo>
                        <a:pt x="284988" y="291541"/>
                      </a:lnTo>
                      <a:lnTo>
                        <a:pt x="286207" y="291287"/>
                      </a:lnTo>
                      <a:lnTo>
                        <a:pt x="286740" y="291693"/>
                      </a:lnTo>
                      <a:lnTo>
                        <a:pt x="287147" y="292341"/>
                      </a:lnTo>
                      <a:lnTo>
                        <a:pt x="287413" y="292658"/>
                      </a:lnTo>
                      <a:lnTo>
                        <a:pt x="287553" y="293039"/>
                      </a:lnTo>
                      <a:lnTo>
                        <a:pt x="287629" y="293446"/>
                      </a:lnTo>
                      <a:lnTo>
                        <a:pt x="287972" y="294576"/>
                      </a:lnTo>
                      <a:lnTo>
                        <a:pt x="288226" y="295846"/>
                      </a:lnTo>
                      <a:lnTo>
                        <a:pt x="288950" y="296506"/>
                      </a:lnTo>
                      <a:lnTo>
                        <a:pt x="289115" y="296583"/>
                      </a:lnTo>
                      <a:lnTo>
                        <a:pt x="290004" y="296849"/>
                      </a:lnTo>
                      <a:lnTo>
                        <a:pt x="290410" y="296849"/>
                      </a:lnTo>
                      <a:lnTo>
                        <a:pt x="290791" y="296875"/>
                      </a:lnTo>
                      <a:lnTo>
                        <a:pt x="291439" y="296837"/>
                      </a:lnTo>
                      <a:lnTo>
                        <a:pt x="291592" y="296849"/>
                      </a:lnTo>
                      <a:lnTo>
                        <a:pt x="291782" y="296849"/>
                      </a:lnTo>
                      <a:lnTo>
                        <a:pt x="292061" y="296913"/>
                      </a:lnTo>
                      <a:lnTo>
                        <a:pt x="292735" y="296926"/>
                      </a:lnTo>
                      <a:lnTo>
                        <a:pt x="293839" y="296989"/>
                      </a:lnTo>
                      <a:lnTo>
                        <a:pt x="293839" y="297408"/>
                      </a:lnTo>
                      <a:lnTo>
                        <a:pt x="293890" y="298665"/>
                      </a:lnTo>
                      <a:lnTo>
                        <a:pt x="293966" y="299631"/>
                      </a:lnTo>
                      <a:lnTo>
                        <a:pt x="294259" y="300329"/>
                      </a:lnTo>
                      <a:lnTo>
                        <a:pt x="294792" y="299897"/>
                      </a:lnTo>
                      <a:lnTo>
                        <a:pt x="295402" y="299631"/>
                      </a:lnTo>
                      <a:lnTo>
                        <a:pt x="296354" y="299440"/>
                      </a:lnTo>
                      <a:lnTo>
                        <a:pt x="296684" y="299415"/>
                      </a:lnTo>
                      <a:lnTo>
                        <a:pt x="298665" y="299440"/>
                      </a:lnTo>
                      <a:lnTo>
                        <a:pt x="300380" y="300278"/>
                      </a:lnTo>
                      <a:lnTo>
                        <a:pt x="301498" y="301459"/>
                      </a:lnTo>
                      <a:lnTo>
                        <a:pt x="301193" y="301739"/>
                      </a:lnTo>
                      <a:lnTo>
                        <a:pt x="301193" y="303072"/>
                      </a:lnTo>
                      <a:lnTo>
                        <a:pt x="301129" y="302488"/>
                      </a:lnTo>
                      <a:lnTo>
                        <a:pt x="301193" y="303072"/>
                      </a:lnTo>
                      <a:lnTo>
                        <a:pt x="301193" y="301739"/>
                      </a:lnTo>
                      <a:lnTo>
                        <a:pt x="301040" y="301866"/>
                      </a:lnTo>
                      <a:lnTo>
                        <a:pt x="301142" y="302094"/>
                      </a:lnTo>
                      <a:lnTo>
                        <a:pt x="300380" y="301218"/>
                      </a:lnTo>
                      <a:lnTo>
                        <a:pt x="298665" y="299948"/>
                      </a:lnTo>
                      <a:lnTo>
                        <a:pt x="294792" y="299948"/>
                      </a:lnTo>
                      <a:lnTo>
                        <a:pt x="294259" y="301218"/>
                      </a:lnTo>
                      <a:lnTo>
                        <a:pt x="293941" y="299948"/>
                      </a:lnTo>
                      <a:lnTo>
                        <a:pt x="293839" y="297408"/>
                      </a:lnTo>
                      <a:lnTo>
                        <a:pt x="288950" y="297408"/>
                      </a:lnTo>
                      <a:lnTo>
                        <a:pt x="288226" y="296138"/>
                      </a:lnTo>
                      <a:lnTo>
                        <a:pt x="287972" y="294868"/>
                      </a:lnTo>
                      <a:lnTo>
                        <a:pt x="287629" y="293598"/>
                      </a:lnTo>
                      <a:lnTo>
                        <a:pt x="287147" y="293598"/>
                      </a:lnTo>
                      <a:lnTo>
                        <a:pt x="286766" y="292328"/>
                      </a:lnTo>
                      <a:lnTo>
                        <a:pt x="283210" y="292328"/>
                      </a:lnTo>
                      <a:lnTo>
                        <a:pt x="282270" y="293598"/>
                      </a:lnTo>
                      <a:lnTo>
                        <a:pt x="281736" y="293598"/>
                      </a:lnTo>
                      <a:lnTo>
                        <a:pt x="281101" y="292328"/>
                      </a:lnTo>
                      <a:lnTo>
                        <a:pt x="280314" y="291058"/>
                      </a:lnTo>
                      <a:lnTo>
                        <a:pt x="279704" y="291058"/>
                      </a:lnTo>
                      <a:lnTo>
                        <a:pt x="278701" y="289788"/>
                      </a:lnTo>
                      <a:lnTo>
                        <a:pt x="278015" y="288518"/>
                      </a:lnTo>
                      <a:lnTo>
                        <a:pt x="277812" y="288518"/>
                      </a:lnTo>
                      <a:lnTo>
                        <a:pt x="277380" y="285978"/>
                      </a:lnTo>
                      <a:lnTo>
                        <a:pt x="276415" y="285978"/>
                      </a:lnTo>
                      <a:lnTo>
                        <a:pt x="272516" y="287248"/>
                      </a:lnTo>
                      <a:lnTo>
                        <a:pt x="268846" y="288518"/>
                      </a:lnTo>
                      <a:lnTo>
                        <a:pt x="262496" y="291058"/>
                      </a:lnTo>
                      <a:lnTo>
                        <a:pt x="263842" y="297408"/>
                      </a:lnTo>
                      <a:lnTo>
                        <a:pt x="264350" y="302488"/>
                      </a:lnTo>
                      <a:lnTo>
                        <a:pt x="265684" y="302488"/>
                      </a:lnTo>
                      <a:lnTo>
                        <a:pt x="260223" y="306298"/>
                      </a:lnTo>
                      <a:lnTo>
                        <a:pt x="257746" y="307568"/>
                      </a:lnTo>
                      <a:lnTo>
                        <a:pt x="252018" y="308838"/>
                      </a:lnTo>
                      <a:lnTo>
                        <a:pt x="249783" y="308838"/>
                      </a:lnTo>
                      <a:lnTo>
                        <a:pt x="246443" y="311378"/>
                      </a:lnTo>
                      <a:lnTo>
                        <a:pt x="244271" y="311378"/>
                      </a:lnTo>
                      <a:lnTo>
                        <a:pt x="243586" y="312648"/>
                      </a:lnTo>
                      <a:lnTo>
                        <a:pt x="242341" y="315188"/>
                      </a:lnTo>
                      <a:lnTo>
                        <a:pt x="242417" y="316458"/>
                      </a:lnTo>
                      <a:lnTo>
                        <a:pt x="248183" y="316458"/>
                      </a:lnTo>
                      <a:lnTo>
                        <a:pt x="241706" y="318998"/>
                      </a:lnTo>
                      <a:lnTo>
                        <a:pt x="236562" y="320268"/>
                      </a:lnTo>
                      <a:lnTo>
                        <a:pt x="234683" y="320268"/>
                      </a:lnTo>
                      <a:lnTo>
                        <a:pt x="224713" y="318998"/>
                      </a:lnTo>
                      <a:lnTo>
                        <a:pt x="225247" y="318998"/>
                      </a:lnTo>
                      <a:lnTo>
                        <a:pt x="223583" y="316458"/>
                      </a:lnTo>
                      <a:lnTo>
                        <a:pt x="222491" y="316458"/>
                      </a:lnTo>
                      <a:lnTo>
                        <a:pt x="222351" y="312648"/>
                      </a:lnTo>
                      <a:lnTo>
                        <a:pt x="214566" y="312648"/>
                      </a:lnTo>
                      <a:lnTo>
                        <a:pt x="213372" y="311378"/>
                      </a:lnTo>
                      <a:lnTo>
                        <a:pt x="214261" y="313918"/>
                      </a:lnTo>
                      <a:lnTo>
                        <a:pt x="215430" y="316458"/>
                      </a:lnTo>
                      <a:lnTo>
                        <a:pt x="216649" y="318998"/>
                      </a:lnTo>
                      <a:lnTo>
                        <a:pt x="217182" y="318998"/>
                      </a:lnTo>
                      <a:lnTo>
                        <a:pt x="217462" y="320268"/>
                      </a:lnTo>
                      <a:lnTo>
                        <a:pt x="217792" y="321538"/>
                      </a:lnTo>
                      <a:lnTo>
                        <a:pt x="219519" y="320268"/>
                      </a:lnTo>
                      <a:lnTo>
                        <a:pt x="219519" y="327888"/>
                      </a:lnTo>
                      <a:lnTo>
                        <a:pt x="219925" y="330428"/>
                      </a:lnTo>
                      <a:lnTo>
                        <a:pt x="355168" y="330428"/>
                      </a:lnTo>
                      <a:lnTo>
                        <a:pt x="355727" y="329158"/>
                      </a:lnTo>
                      <a:lnTo>
                        <a:pt x="358863" y="325348"/>
                      </a:lnTo>
                      <a:close/>
                    </a:path>
                    <a:path w="1878964" h="1228089">
                      <a:moveTo>
                        <a:pt x="381190" y="1123505"/>
                      </a:moveTo>
                      <a:lnTo>
                        <a:pt x="380949" y="1123467"/>
                      </a:lnTo>
                      <a:lnTo>
                        <a:pt x="380720" y="1123442"/>
                      </a:lnTo>
                      <a:lnTo>
                        <a:pt x="380479" y="1123403"/>
                      </a:lnTo>
                      <a:lnTo>
                        <a:pt x="380733" y="1123924"/>
                      </a:lnTo>
                      <a:lnTo>
                        <a:pt x="380834" y="1123569"/>
                      </a:lnTo>
                      <a:lnTo>
                        <a:pt x="381190" y="1123505"/>
                      </a:lnTo>
                      <a:close/>
                    </a:path>
                    <a:path w="1878964" h="1228089">
                      <a:moveTo>
                        <a:pt x="387108" y="1125067"/>
                      </a:moveTo>
                      <a:lnTo>
                        <a:pt x="385165" y="1124572"/>
                      </a:lnTo>
                      <a:lnTo>
                        <a:pt x="383997" y="1124915"/>
                      </a:lnTo>
                      <a:lnTo>
                        <a:pt x="383197" y="1124572"/>
                      </a:lnTo>
                      <a:lnTo>
                        <a:pt x="381685" y="1121879"/>
                      </a:lnTo>
                      <a:lnTo>
                        <a:pt x="381330" y="1123530"/>
                      </a:lnTo>
                      <a:lnTo>
                        <a:pt x="382473" y="1123581"/>
                      </a:lnTo>
                      <a:lnTo>
                        <a:pt x="383057" y="1125308"/>
                      </a:lnTo>
                      <a:lnTo>
                        <a:pt x="384454" y="1125677"/>
                      </a:lnTo>
                      <a:lnTo>
                        <a:pt x="385584" y="1125639"/>
                      </a:lnTo>
                      <a:lnTo>
                        <a:pt x="386092" y="1124953"/>
                      </a:lnTo>
                      <a:lnTo>
                        <a:pt x="387108" y="1125067"/>
                      </a:lnTo>
                      <a:close/>
                    </a:path>
                    <a:path w="1878964" h="1228089">
                      <a:moveTo>
                        <a:pt x="504164" y="121323"/>
                      </a:moveTo>
                      <a:lnTo>
                        <a:pt x="503732" y="121221"/>
                      </a:lnTo>
                      <a:lnTo>
                        <a:pt x="503796" y="121475"/>
                      </a:lnTo>
                      <a:lnTo>
                        <a:pt x="503885" y="121627"/>
                      </a:lnTo>
                      <a:lnTo>
                        <a:pt x="503885" y="121475"/>
                      </a:lnTo>
                      <a:lnTo>
                        <a:pt x="504164" y="121323"/>
                      </a:lnTo>
                      <a:close/>
                    </a:path>
                    <a:path w="1878964" h="1228089">
                      <a:moveTo>
                        <a:pt x="524992" y="217614"/>
                      </a:moveTo>
                      <a:lnTo>
                        <a:pt x="523316" y="218922"/>
                      </a:lnTo>
                      <a:lnTo>
                        <a:pt x="522046" y="220408"/>
                      </a:lnTo>
                      <a:lnTo>
                        <a:pt x="523887" y="220370"/>
                      </a:lnTo>
                      <a:lnTo>
                        <a:pt x="524992" y="217614"/>
                      </a:lnTo>
                      <a:close/>
                    </a:path>
                    <a:path w="1878964" h="1228089">
                      <a:moveTo>
                        <a:pt x="526161" y="216052"/>
                      </a:moveTo>
                      <a:lnTo>
                        <a:pt x="525449" y="216484"/>
                      </a:lnTo>
                      <a:lnTo>
                        <a:pt x="524992" y="217614"/>
                      </a:lnTo>
                      <a:lnTo>
                        <a:pt x="525818" y="216979"/>
                      </a:lnTo>
                      <a:lnTo>
                        <a:pt x="526161" y="216052"/>
                      </a:lnTo>
                      <a:close/>
                    </a:path>
                    <a:path w="1878964" h="1228089">
                      <a:moveTo>
                        <a:pt x="535736" y="451739"/>
                      </a:moveTo>
                      <a:lnTo>
                        <a:pt x="535622" y="449707"/>
                      </a:lnTo>
                      <a:lnTo>
                        <a:pt x="535559" y="449453"/>
                      </a:lnTo>
                      <a:lnTo>
                        <a:pt x="535368" y="447827"/>
                      </a:lnTo>
                      <a:lnTo>
                        <a:pt x="531774" y="443471"/>
                      </a:lnTo>
                      <a:lnTo>
                        <a:pt x="529831" y="441591"/>
                      </a:lnTo>
                      <a:lnTo>
                        <a:pt x="528967" y="440270"/>
                      </a:lnTo>
                      <a:lnTo>
                        <a:pt x="528345" y="440029"/>
                      </a:lnTo>
                      <a:lnTo>
                        <a:pt x="528612" y="439877"/>
                      </a:lnTo>
                      <a:lnTo>
                        <a:pt x="528256" y="439039"/>
                      </a:lnTo>
                      <a:lnTo>
                        <a:pt x="528053" y="438175"/>
                      </a:lnTo>
                      <a:lnTo>
                        <a:pt x="528053" y="440131"/>
                      </a:lnTo>
                      <a:lnTo>
                        <a:pt x="527748" y="440156"/>
                      </a:lnTo>
                      <a:lnTo>
                        <a:pt x="527977" y="440131"/>
                      </a:lnTo>
                      <a:lnTo>
                        <a:pt x="528053" y="438175"/>
                      </a:lnTo>
                      <a:lnTo>
                        <a:pt x="528015" y="438010"/>
                      </a:lnTo>
                      <a:lnTo>
                        <a:pt x="528066" y="436397"/>
                      </a:lnTo>
                      <a:lnTo>
                        <a:pt x="528434" y="436067"/>
                      </a:lnTo>
                      <a:lnTo>
                        <a:pt x="528586" y="436029"/>
                      </a:lnTo>
                      <a:lnTo>
                        <a:pt x="528713" y="435889"/>
                      </a:lnTo>
                      <a:lnTo>
                        <a:pt x="528891" y="435927"/>
                      </a:lnTo>
                      <a:lnTo>
                        <a:pt x="529018" y="435889"/>
                      </a:lnTo>
                      <a:lnTo>
                        <a:pt x="529513" y="435610"/>
                      </a:lnTo>
                      <a:lnTo>
                        <a:pt x="531583" y="435292"/>
                      </a:lnTo>
                      <a:lnTo>
                        <a:pt x="532511" y="434975"/>
                      </a:lnTo>
                      <a:lnTo>
                        <a:pt x="532485" y="434822"/>
                      </a:lnTo>
                      <a:lnTo>
                        <a:pt x="521512" y="426631"/>
                      </a:lnTo>
                      <a:lnTo>
                        <a:pt x="518896" y="424675"/>
                      </a:lnTo>
                      <a:lnTo>
                        <a:pt x="518896" y="447852"/>
                      </a:lnTo>
                      <a:lnTo>
                        <a:pt x="518452" y="449313"/>
                      </a:lnTo>
                      <a:lnTo>
                        <a:pt x="518452" y="451218"/>
                      </a:lnTo>
                      <a:lnTo>
                        <a:pt x="518337" y="452120"/>
                      </a:lnTo>
                      <a:lnTo>
                        <a:pt x="518401" y="450989"/>
                      </a:lnTo>
                      <a:lnTo>
                        <a:pt x="518452" y="451218"/>
                      </a:lnTo>
                      <a:lnTo>
                        <a:pt x="518452" y="449313"/>
                      </a:lnTo>
                      <a:lnTo>
                        <a:pt x="518375" y="449554"/>
                      </a:lnTo>
                      <a:lnTo>
                        <a:pt x="518883" y="447852"/>
                      </a:lnTo>
                      <a:lnTo>
                        <a:pt x="518896" y="424675"/>
                      </a:lnTo>
                      <a:lnTo>
                        <a:pt x="517194" y="423392"/>
                      </a:lnTo>
                      <a:lnTo>
                        <a:pt x="516572" y="422935"/>
                      </a:lnTo>
                      <a:lnTo>
                        <a:pt x="516432" y="422833"/>
                      </a:lnTo>
                      <a:lnTo>
                        <a:pt x="516420" y="422554"/>
                      </a:lnTo>
                      <a:lnTo>
                        <a:pt x="516648" y="422490"/>
                      </a:lnTo>
                      <a:lnTo>
                        <a:pt x="517702" y="422186"/>
                      </a:lnTo>
                      <a:lnTo>
                        <a:pt x="519201" y="421538"/>
                      </a:lnTo>
                      <a:lnTo>
                        <a:pt x="520179" y="420192"/>
                      </a:lnTo>
                      <a:lnTo>
                        <a:pt x="520153" y="418973"/>
                      </a:lnTo>
                      <a:lnTo>
                        <a:pt x="519493" y="417487"/>
                      </a:lnTo>
                      <a:lnTo>
                        <a:pt x="517436" y="415886"/>
                      </a:lnTo>
                      <a:lnTo>
                        <a:pt x="516610" y="414401"/>
                      </a:lnTo>
                      <a:lnTo>
                        <a:pt x="516864" y="414477"/>
                      </a:lnTo>
                      <a:lnTo>
                        <a:pt x="517893" y="415048"/>
                      </a:lnTo>
                      <a:lnTo>
                        <a:pt x="518223" y="415201"/>
                      </a:lnTo>
                      <a:lnTo>
                        <a:pt x="518502" y="415251"/>
                      </a:lnTo>
                      <a:lnTo>
                        <a:pt x="519315" y="415328"/>
                      </a:lnTo>
                      <a:lnTo>
                        <a:pt x="521144" y="414807"/>
                      </a:lnTo>
                      <a:lnTo>
                        <a:pt x="521462" y="414401"/>
                      </a:lnTo>
                      <a:lnTo>
                        <a:pt x="521703" y="414096"/>
                      </a:lnTo>
                      <a:lnTo>
                        <a:pt x="521779" y="413791"/>
                      </a:lnTo>
                      <a:lnTo>
                        <a:pt x="521766" y="413562"/>
                      </a:lnTo>
                      <a:lnTo>
                        <a:pt x="521550" y="413372"/>
                      </a:lnTo>
                      <a:lnTo>
                        <a:pt x="521030" y="413791"/>
                      </a:lnTo>
                      <a:lnTo>
                        <a:pt x="520344" y="413169"/>
                      </a:lnTo>
                      <a:lnTo>
                        <a:pt x="518871" y="411327"/>
                      </a:lnTo>
                      <a:lnTo>
                        <a:pt x="518210" y="410286"/>
                      </a:lnTo>
                      <a:lnTo>
                        <a:pt x="517944" y="410083"/>
                      </a:lnTo>
                      <a:lnTo>
                        <a:pt x="517245" y="409575"/>
                      </a:lnTo>
                      <a:lnTo>
                        <a:pt x="516801" y="410083"/>
                      </a:lnTo>
                      <a:lnTo>
                        <a:pt x="516382" y="409867"/>
                      </a:lnTo>
                      <a:lnTo>
                        <a:pt x="515937" y="409575"/>
                      </a:lnTo>
                      <a:lnTo>
                        <a:pt x="515708" y="409384"/>
                      </a:lnTo>
                      <a:lnTo>
                        <a:pt x="514680" y="408203"/>
                      </a:lnTo>
                      <a:lnTo>
                        <a:pt x="514731" y="406768"/>
                      </a:lnTo>
                      <a:lnTo>
                        <a:pt x="514832" y="405676"/>
                      </a:lnTo>
                      <a:lnTo>
                        <a:pt x="515810" y="404355"/>
                      </a:lnTo>
                      <a:lnTo>
                        <a:pt x="516293" y="403593"/>
                      </a:lnTo>
                      <a:lnTo>
                        <a:pt x="516699" y="402704"/>
                      </a:lnTo>
                      <a:lnTo>
                        <a:pt x="517448" y="400799"/>
                      </a:lnTo>
                      <a:lnTo>
                        <a:pt x="517931" y="399427"/>
                      </a:lnTo>
                      <a:lnTo>
                        <a:pt x="518134" y="398843"/>
                      </a:lnTo>
                      <a:lnTo>
                        <a:pt x="517740" y="398894"/>
                      </a:lnTo>
                      <a:lnTo>
                        <a:pt x="515035" y="399427"/>
                      </a:lnTo>
                      <a:lnTo>
                        <a:pt x="514184" y="399135"/>
                      </a:lnTo>
                      <a:lnTo>
                        <a:pt x="513816" y="399008"/>
                      </a:lnTo>
                      <a:lnTo>
                        <a:pt x="513778" y="425907"/>
                      </a:lnTo>
                      <a:lnTo>
                        <a:pt x="513549" y="425665"/>
                      </a:lnTo>
                      <a:lnTo>
                        <a:pt x="513778" y="425907"/>
                      </a:lnTo>
                      <a:lnTo>
                        <a:pt x="513778" y="399110"/>
                      </a:lnTo>
                      <a:lnTo>
                        <a:pt x="512699" y="399097"/>
                      </a:lnTo>
                      <a:lnTo>
                        <a:pt x="512673" y="423913"/>
                      </a:lnTo>
                      <a:lnTo>
                        <a:pt x="512089" y="423049"/>
                      </a:lnTo>
                      <a:lnTo>
                        <a:pt x="512330" y="422795"/>
                      </a:lnTo>
                      <a:lnTo>
                        <a:pt x="512102" y="423049"/>
                      </a:lnTo>
                      <a:lnTo>
                        <a:pt x="512673" y="423913"/>
                      </a:lnTo>
                      <a:lnTo>
                        <a:pt x="512673" y="399097"/>
                      </a:lnTo>
                      <a:lnTo>
                        <a:pt x="512216" y="399046"/>
                      </a:lnTo>
                      <a:lnTo>
                        <a:pt x="510857" y="398703"/>
                      </a:lnTo>
                      <a:lnTo>
                        <a:pt x="510781" y="426059"/>
                      </a:lnTo>
                      <a:lnTo>
                        <a:pt x="510400" y="426440"/>
                      </a:lnTo>
                      <a:lnTo>
                        <a:pt x="510768" y="426059"/>
                      </a:lnTo>
                      <a:lnTo>
                        <a:pt x="510781" y="398691"/>
                      </a:lnTo>
                      <a:lnTo>
                        <a:pt x="509282" y="398208"/>
                      </a:lnTo>
                      <a:lnTo>
                        <a:pt x="509841" y="397065"/>
                      </a:lnTo>
                      <a:lnTo>
                        <a:pt x="508546" y="397065"/>
                      </a:lnTo>
                      <a:lnTo>
                        <a:pt x="508457" y="396925"/>
                      </a:lnTo>
                      <a:lnTo>
                        <a:pt x="507631" y="395770"/>
                      </a:lnTo>
                      <a:lnTo>
                        <a:pt x="507034" y="394931"/>
                      </a:lnTo>
                      <a:lnTo>
                        <a:pt x="507022" y="437578"/>
                      </a:lnTo>
                      <a:lnTo>
                        <a:pt x="506603" y="438772"/>
                      </a:lnTo>
                      <a:lnTo>
                        <a:pt x="506298" y="439000"/>
                      </a:lnTo>
                      <a:lnTo>
                        <a:pt x="506590" y="438772"/>
                      </a:lnTo>
                      <a:lnTo>
                        <a:pt x="507009" y="437578"/>
                      </a:lnTo>
                      <a:lnTo>
                        <a:pt x="507022" y="394944"/>
                      </a:lnTo>
                      <a:lnTo>
                        <a:pt x="506704" y="395147"/>
                      </a:lnTo>
                      <a:lnTo>
                        <a:pt x="506704" y="436232"/>
                      </a:lnTo>
                      <a:lnTo>
                        <a:pt x="506514" y="435279"/>
                      </a:lnTo>
                      <a:lnTo>
                        <a:pt x="506704" y="436232"/>
                      </a:lnTo>
                      <a:lnTo>
                        <a:pt x="506704" y="395147"/>
                      </a:lnTo>
                      <a:lnTo>
                        <a:pt x="505828" y="395693"/>
                      </a:lnTo>
                      <a:lnTo>
                        <a:pt x="505371" y="395770"/>
                      </a:lnTo>
                      <a:lnTo>
                        <a:pt x="501015" y="395503"/>
                      </a:lnTo>
                      <a:lnTo>
                        <a:pt x="494715" y="394868"/>
                      </a:lnTo>
                      <a:lnTo>
                        <a:pt x="494715" y="434555"/>
                      </a:lnTo>
                      <a:lnTo>
                        <a:pt x="494271" y="434390"/>
                      </a:lnTo>
                      <a:lnTo>
                        <a:pt x="493356" y="434124"/>
                      </a:lnTo>
                      <a:lnTo>
                        <a:pt x="493623" y="434009"/>
                      </a:lnTo>
                      <a:lnTo>
                        <a:pt x="493776" y="433920"/>
                      </a:lnTo>
                      <a:lnTo>
                        <a:pt x="494080" y="434149"/>
                      </a:lnTo>
                      <a:lnTo>
                        <a:pt x="494715" y="434555"/>
                      </a:lnTo>
                      <a:lnTo>
                        <a:pt x="494715" y="394868"/>
                      </a:lnTo>
                      <a:lnTo>
                        <a:pt x="488746" y="394258"/>
                      </a:lnTo>
                      <a:lnTo>
                        <a:pt x="487184" y="393928"/>
                      </a:lnTo>
                      <a:lnTo>
                        <a:pt x="485673" y="393420"/>
                      </a:lnTo>
                      <a:lnTo>
                        <a:pt x="485190" y="393166"/>
                      </a:lnTo>
                      <a:lnTo>
                        <a:pt x="483438" y="392277"/>
                      </a:lnTo>
                      <a:lnTo>
                        <a:pt x="483196" y="392125"/>
                      </a:lnTo>
                      <a:lnTo>
                        <a:pt x="483108" y="392277"/>
                      </a:lnTo>
                      <a:lnTo>
                        <a:pt x="482701" y="392633"/>
                      </a:lnTo>
                      <a:lnTo>
                        <a:pt x="482358" y="392861"/>
                      </a:lnTo>
                      <a:lnTo>
                        <a:pt x="480987" y="393166"/>
                      </a:lnTo>
                      <a:lnTo>
                        <a:pt x="479691" y="392696"/>
                      </a:lnTo>
                      <a:lnTo>
                        <a:pt x="478320" y="392963"/>
                      </a:lnTo>
                      <a:lnTo>
                        <a:pt x="475602" y="396227"/>
                      </a:lnTo>
                      <a:lnTo>
                        <a:pt x="475145" y="396925"/>
                      </a:lnTo>
                      <a:lnTo>
                        <a:pt x="473798" y="395782"/>
                      </a:lnTo>
                      <a:lnTo>
                        <a:pt x="472351" y="393966"/>
                      </a:lnTo>
                      <a:lnTo>
                        <a:pt x="470357" y="393331"/>
                      </a:lnTo>
                      <a:lnTo>
                        <a:pt x="469887" y="393242"/>
                      </a:lnTo>
                      <a:lnTo>
                        <a:pt x="468553" y="392747"/>
                      </a:lnTo>
                      <a:lnTo>
                        <a:pt x="467436" y="392963"/>
                      </a:lnTo>
                      <a:lnTo>
                        <a:pt x="467118" y="396227"/>
                      </a:lnTo>
                      <a:lnTo>
                        <a:pt x="466775" y="397446"/>
                      </a:lnTo>
                      <a:lnTo>
                        <a:pt x="466686" y="398208"/>
                      </a:lnTo>
                      <a:lnTo>
                        <a:pt x="466598" y="398703"/>
                      </a:lnTo>
                      <a:lnTo>
                        <a:pt x="466407" y="399427"/>
                      </a:lnTo>
                      <a:lnTo>
                        <a:pt x="466280" y="400113"/>
                      </a:lnTo>
                      <a:lnTo>
                        <a:pt x="467233" y="401294"/>
                      </a:lnTo>
                      <a:lnTo>
                        <a:pt x="467563" y="401485"/>
                      </a:lnTo>
                      <a:lnTo>
                        <a:pt x="467918" y="401624"/>
                      </a:lnTo>
                      <a:lnTo>
                        <a:pt x="468287" y="401878"/>
                      </a:lnTo>
                      <a:lnTo>
                        <a:pt x="468744" y="402120"/>
                      </a:lnTo>
                      <a:lnTo>
                        <a:pt x="469633" y="402412"/>
                      </a:lnTo>
                      <a:lnTo>
                        <a:pt x="469912" y="402704"/>
                      </a:lnTo>
                      <a:lnTo>
                        <a:pt x="470382" y="403148"/>
                      </a:lnTo>
                      <a:lnTo>
                        <a:pt x="470789" y="403720"/>
                      </a:lnTo>
                      <a:lnTo>
                        <a:pt x="471639" y="405206"/>
                      </a:lnTo>
                      <a:lnTo>
                        <a:pt x="472020" y="406768"/>
                      </a:lnTo>
                      <a:lnTo>
                        <a:pt x="472668" y="408559"/>
                      </a:lnTo>
                      <a:lnTo>
                        <a:pt x="472871" y="408889"/>
                      </a:lnTo>
                      <a:lnTo>
                        <a:pt x="473062" y="409270"/>
                      </a:lnTo>
                      <a:lnTo>
                        <a:pt x="473544" y="410514"/>
                      </a:lnTo>
                      <a:lnTo>
                        <a:pt x="474167" y="411695"/>
                      </a:lnTo>
                      <a:lnTo>
                        <a:pt x="476046" y="413372"/>
                      </a:lnTo>
                      <a:lnTo>
                        <a:pt x="476897" y="414223"/>
                      </a:lnTo>
                      <a:lnTo>
                        <a:pt x="478193" y="415328"/>
                      </a:lnTo>
                      <a:lnTo>
                        <a:pt x="479094" y="416064"/>
                      </a:lnTo>
                      <a:lnTo>
                        <a:pt x="479272" y="416229"/>
                      </a:lnTo>
                      <a:lnTo>
                        <a:pt x="479691" y="416534"/>
                      </a:lnTo>
                      <a:lnTo>
                        <a:pt x="485863" y="421652"/>
                      </a:lnTo>
                      <a:lnTo>
                        <a:pt x="488188" y="422998"/>
                      </a:lnTo>
                      <a:lnTo>
                        <a:pt x="489064" y="425030"/>
                      </a:lnTo>
                      <a:lnTo>
                        <a:pt x="489369" y="425665"/>
                      </a:lnTo>
                      <a:lnTo>
                        <a:pt x="489419" y="425843"/>
                      </a:lnTo>
                      <a:lnTo>
                        <a:pt x="491350" y="430009"/>
                      </a:lnTo>
                      <a:lnTo>
                        <a:pt x="492823" y="430301"/>
                      </a:lnTo>
                      <a:lnTo>
                        <a:pt x="493953" y="431723"/>
                      </a:lnTo>
                      <a:lnTo>
                        <a:pt x="494017" y="432485"/>
                      </a:lnTo>
                      <a:lnTo>
                        <a:pt x="493141" y="432866"/>
                      </a:lnTo>
                      <a:lnTo>
                        <a:pt x="492493" y="433070"/>
                      </a:lnTo>
                      <a:lnTo>
                        <a:pt x="492556" y="433463"/>
                      </a:lnTo>
                      <a:lnTo>
                        <a:pt x="492671" y="433908"/>
                      </a:lnTo>
                      <a:lnTo>
                        <a:pt x="491236" y="433463"/>
                      </a:lnTo>
                      <a:lnTo>
                        <a:pt x="489762" y="433070"/>
                      </a:lnTo>
                      <a:lnTo>
                        <a:pt x="488111" y="432701"/>
                      </a:lnTo>
                      <a:lnTo>
                        <a:pt x="493979" y="435787"/>
                      </a:lnTo>
                      <a:lnTo>
                        <a:pt x="500799" y="439026"/>
                      </a:lnTo>
                      <a:lnTo>
                        <a:pt x="505955" y="441553"/>
                      </a:lnTo>
                      <a:lnTo>
                        <a:pt x="505726" y="440855"/>
                      </a:lnTo>
                      <a:lnTo>
                        <a:pt x="505320" y="440296"/>
                      </a:lnTo>
                      <a:lnTo>
                        <a:pt x="504850" y="439775"/>
                      </a:lnTo>
                      <a:lnTo>
                        <a:pt x="505320" y="439851"/>
                      </a:lnTo>
                      <a:lnTo>
                        <a:pt x="506209" y="441985"/>
                      </a:lnTo>
                      <a:lnTo>
                        <a:pt x="506857" y="441350"/>
                      </a:lnTo>
                      <a:lnTo>
                        <a:pt x="508508" y="440956"/>
                      </a:lnTo>
                      <a:lnTo>
                        <a:pt x="508673" y="440309"/>
                      </a:lnTo>
                      <a:lnTo>
                        <a:pt x="509663" y="440829"/>
                      </a:lnTo>
                      <a:lnTo>
                        <a:pt x="508533" y="443496"/>
                      </a:lnTo>
                      <a:lnTo>
                        <a:pt x="508406" y="441502"/>
                      </a:lnTo>
                      <a:lnTo>
                        <a:pt x="506603" y="441985"/>
                      </a:lnTo>
                      <a:lnTo>
                        <a:pt x="510070" y="445096"/>
                      </a:lnTo>
                      <a:lnTo>
                        <a:pt x="513689" y="448030"/>
                      </a:lnTo>
                      <a:lnTo>
                        <a:pt x="517283" y="450989"/>
                      </a:lnTo>
                      <a:lnTo>
                        <a:pt x="517271" y="451231"/>
                      </a:lnTo>
                      <a:lnTo>
                        <a:pt x="517055" y="452158"/>
                      </a:lnTo>
                      <a:lnTo>
                        <a:pt x="517042" y="452297"/>
                      </a:lnTo>
                      <a:lnTo>
                        <a:pt x="518299" y="452437"/>
                      </a:lnTo>
                      <a:lnTo>
                        <a:pt x="519341" y="452539"/>
                      </a:lnTo>
                      <a:lnTo>
                        <a:pt x="519455" y="452018"/>
                      </a:lnTo>
                      <a:lnTo>
                        <a:pt x="520877" y="452208"/>
                      </a:lnTo>
                      <a:lnTo>
                        <a:pt x="520814" y="452920"/>
                      </a:lnTo>
                      <a:lnTo>
                        <a:pt x="521195" y="454660"/>
                      </a:lnTo>
                      <a:lnTo>
                        <a:pt x="521690" y="456412"/>
                      </a:lnTo>
                      <a:lnTo>
                        <a:pt x="535063" y="456412"/>
                      </a:lnTo>
                      <a:lnTo>
                        <a:pt x="535381" y="455866"/>
                      </a:lnTo>
                      <a:lnTo>
                        <a:pt x="535419" y="454571"/>
                      </a:lnTo>
                      <a:lnTo>
                        <a:pt x="535533" y="452920"/>
                      </a:lnTo>
                      <a:lnTo>
                        <a:pt x="535622" y="452018"/>
                      </a:lnTo>
                      <a:lnTo>
                        <a:pt x="535673" y="451878"/>
                      </a:lnTo>
                      <a:lnTo>
                        <a:pt x="535736" y="451739"/>
                      </a:lnTo>
                      <a:close/>
                    </a:path>
                    <a:path w="1878964" h="1228089">
                      <a:moveTo>
                        <a:pt x="570788" y="517410"/>
                      </a:moveTo>
                      <a:lnTo>
                        <a:pt x="570471" y="517385"/>
                      </a:lnTo>
                      <a:lnTo>
                        <a:pt x="570445" y="517652"/>
                      </a:lnTo>
                      <a:lnTo>
                        <a:pt x="570788" y="517410"/>
                      </a:lnTo>
                      <a:close/>
                    </a:path>
                    <a:path w="1878964" h="1228089">
                      <a:moveTo>
                        <a:pt x="573036" y="542658"/>
                      </a:moveTo>
                      <a:lnTo>
                        <a:pt x="571246" y="536308"/>
                      </a:lnTo>
                      <a:lnTo>
                        <a:pt x="571068" y="535800"/>
                      </a:lnTo>
                      <a:lnTo>
                        <a:pt x="569417" y="530974"/>
                      </a:lnTo>
                      <a:lnTo>
                        <a:pt x="569328" y="530720"/>
                      </a:lnTo>
                      <a:lnTo>
                        <a:pt x="569201" y="530466"/>
                      </a:lnTo>
                      <a:lnTo>
                        <a:pt x="550341" y="530466"/>
                      </a:lnTo>
                      <a:lnTo>
                        <a:pt x="549719" y="530466"/>
                      </a:lnTo>
                      <a:lnTo>
                        <a:pt x="550189" y="532752"/>
                      </a:lnTo>
                      <a:lnTo>
                        <a:pt x="550849" y="533768"/>
                      </a:lnTo>
                      <a:lnTo>
                        <a:pt x="551662" y="534784"/>
                      </a:lnTo>
                      <a:lnTo>
                        <a:pt x="551332" y="536054"/>
                      </a:lnTo>
                      <a:lnTo>
                        <a:pt x="553123" y="537197"/>
                      </a:lnTo>
                      <a:lnTo>
                        <a:pt x="554621" y="534657"/>
                      </a:lnTo>
                      <a:lnTo>
                        <a:pt x="555231" y="534022"/>
                      </a:lnTo>
                      <a:lnTo>
                        <a:pt x="555269" y="533641"/>
                      </a:lnTo>
                      <a:lnTo>
                        <a:pt x="559206" y="530974"/>
                      </a:lnTo>
                      <a:lnTo>
                        <a:pt x="562279" y="541642"/>
                      </a:lnTo>
                      <a:lnTo>
                        <a:pt x="563016" y="543420"/>
                      </a:lnTo>
                      <a:lnTo>
                        <a:pt x="563397" y="542404"/>
                      </a:lnTo>
                      <a:lnTo>
                        <a:pt x="562775" y="541261"/>
                      </a:lnTo>
                      <a:lnTo>
                        <a:pt x="562952" y="539610"/>
                      </a:lnTo>
                      <a:lnTo>
                        <a:pt x="563499" y="539102"/>
                      </a:lnTo>
                      <a:lnTo>
                        <a:pt x="563854" y="538721"/>
                      </a:lnTo>
                      <a:lnTo>
                        <a:pt x="563765" y="538467"/>
                      </a:lnTo>
                      <a:lnTo>
                        <a:pt x="563918" y="537324"/>
                      </a:lnTo>
                      <a:lnTo>
                        <a:pt x="566242" y="535800"/>
                      </a:lnTo>
                      <a:lnTo>
                        <a:pt x="571449" y="541515"/>
                      </a:lnTo>
                      <a:lnTo>
                        <a:pt x="573036" y="542658"/>
                      </a:lnTo>
                      <a:close/>
                    </a:path>
                    <a:path w="1878964" h="1228089">
                      <a:moveTo>
                        <a:pt x="575310" y="480174"/>
                      </a:moveTo>
                      <a:lnTo>
                        <a:pt x="575132" y="480034"/>
                      </a:lnTo>
                      <a:lnTo>
                        <a:pt x="575195" y="480225"/>
                      </a:lnTo>
                      <a:close/>
                    </a:path>
                    <a:path w="1878964" h="1228089">
                      <a:moveTo>
                        <a:pt x="575818" y="128308"/>
                      </a:moveTo>
                      <a:lnTo>
                        <a:pt x="575030" y="127660"/>
                      </a:lnTo>
                      <a:lnTo>
                        <a:pt x="574014" y="127393"/>
                      </a:lnTo>
                      <a:lnTo>
                        <a:pt x="573074" y="127000"/>
                      </a:lnTo>
                      <a:lnTo>
                        <a:pt x="573887" y="128384"/>
                      </a:lnTo>
                      <a:lnTo>
                        <a:pt x="574408" y="128765"/>
                      </a:lnTo>
                      <a:lnTo>
                        <a:pt x="575818" y="128308"/>
                      </a:lnTo>
                      <a:close/>
                    </a:path>
                    <a:path w="1878964" h="1228089">
                      <a:moveTo>
                        <a:pt x="576935" y="138417"/>
                      </a:moveTo>
                      <a:lnTo>
                        <a:pt x="573265" y="133642"/>
                      </a:lnTo>
                      <a:lnTo>
                        <a:pt x="570204" y="136271"/>
                      </a:lnTo>
                      <a:lnTo>
                        <a:pt x="572630" y="137109"/>
                      </a:lnTo>
                      <a:lnTo>
                        <a:pt x="574408" y="137502"/>
                      </a:lnTo>
                      <a:lnTo>
                        <a:pt x="576935" y="138417"/>
                      </a:lnTo>
                      <a:close/>
                    </a:path>
                    <a:path w="1878964" h="1228089">
                      <a:moveTo>
                        <a:pt x="577545" y="526529"/>
                      </a:moveTo>
                      <a:lnTo>
                        <a:pt x="576554" y="524751"/>
                      </a:lnTo>
                      <a:lnTo>
                        <a:pt x="576135" y="523989"/>
                      </a:lnTo>
                      <a:lnTo>
                        <a:pt x="576199" y="523735"/>
                      </a:lnTo>
                      <a:lnTo>
                        <a:pt x="576287" y="523354"/>
                      </a:lnTo>
                      <a:lnTo>
                        <a:pt x="575627" y="522719"/>
                      </a:lnTo>
                      <a:lnTo>
                        <a:pt x="574294" y="523481"/>
                      </a:lnTo>
                      <a:lnTo>
                        <a:pt x="573290" y="523735"/>
                      </a:lnTo>
                      <a:lnTo>
                        <a:pt x="571957" y="520433"/>
                      </a:lnTo>
                      <a:lnTo>
                        <a:pt x="571258" y="519544"/>
                      </a:lnTo>
                      <a:lnTo>
                        <a:pt x="570255" y="519544"/>
                      </a:lnTo>
                      <a:lnTo>
                        <a:pt x="570407" y="518020"/>
                      </a:lnTo>
                      <a:lnTo>
                        <a:pt x="570445" y="517652"/>
                      </a:lnTo>
                      <a:lnTo>
                        <a:pt x="568274" y="518020"/>
                      </a:lnTo>
                      <a:lnTo>
                        <a:pt x="568109" y="517893"/>
                      </a:lnTo>
                      <a:lnTo>
                        <a:pt x="567093" y="517131"/>
                      </a:lnTo>
                      <a:lnTo>
                        <a:pt x="561340" y="514337"/>
                      </a:lnTo>
                      <a:lnTo>
                        <a:pt x="557479" y="512559"/>
                      </a:lnTo>
                      <a:lnTo>
                        <a:pt x="556056" y="511416"/>
                      </a:lnTo>
                      <a:lnTo>
                        <a:pt x="551688" y="511416"/>
                      </a:lnTo>
                      <a:lnTo>
                        <a:pt x="547878" y="513956"/>
                      </a:lnTo>
                      <a:lnTo>
                        <a:pt x="545947" y="516496"/>
                      </a:lnTo>
                      <a:lnTo>
                        <a:pt x="545846" y="516877"/>
                      </a:lnTo>
                      <a:lnTo>
                        <a:pt x="544626" y="517893"/>
                      </a:lnTo>
                      <a:lnTo>
                        <a:pt x="543585" y="517766"/>
                      </a:lnTo>
                      <a:lnTo>
                        <a:pt x="542886" y="519925"/>
                      </a:lnTo>
                      <a:lnTo>
                        <a:pt x="545477" y="521449"/>
                      </a:lnTo>
                      <a:lnTo>
                        <a:pt x="548665" y="524497"/>
                      </a:lnTo>
                      <a:lnTo>
                        <a:pt x="552297" y="526148"/>
                      </a:lnTo>
                      <a:lnTo>
                        <a:pt x="550392" y="530339"/>
                      </a:lnTo>
                      <a:lnTo>
                        <a:pt x="569150" y="530339"/>
                      </a:lnTo>
                      <a:lnTo>
                        <a:pt x="566496" y="524751"/>
                      </a:lnTo>
                      <a:lnTo>
                        <a:pt x="568071" y="525640"/>
                      </a:lnTo>
                      <a:lnTo>
                        <a:pt x="571525" y="527037"/>
                      </a:lnTo>
                      <a:lnTo>
                        <a:pt x="572033" y="528053"/>
                      </a:lnTo>
                      <a:lnTo>
                        <a:pt x="572655" y="528815"/>
                      </a:lnTo>
                      <a:lnTo>
                        <a:pt x="573659" y="528180"/>
                      </a:lnTo>
                      <a:lnTo>
                        <a:pt x="576694" y="526656"/>
                      </a:lnTo>
                      <a:lnTo>
                        <a:pt x="577545" y="526529"/>
                      </a:lnTo>
                      <a:close/>
                    </a:path>
                    <a:path w="1878964" h="1228089">
                      <a:moveTo>
                        <a:pt x="580021" y="479425"/>
                      </a:moveTo>
                      <a:lnTo>
                        <a:pt x="579780" y="479031"/>
                      </a:lnTo>
                      <a:lnTo>
                        <a:pt x="579589" y="479018"/>
                      </a:lnTo>
                      <a:lnTo>
                        <a:pt x="580021" y="479425"/>
                      </a:lnTo>
                      <a:close/>
                    </a:path>
                    <a:path w="1878964" h="1228089">
                      <a:moveTo>
                        <a:pt x="580847" y="484746"/>
                      </a:moveTo>
                      <a:lnTo>
                        <a:pt x="579932" y="483730"/>
                      </a:lnTo>
                      <a:lnTo>
                        <a:pt x="579145" y="482841"/>
                      </a:lnTo>
                      <a:lnTo>
                        <a:pt x="576021" y="482587"/>
                      </a:lnTo>
                      <a:lnTo>
                        <a:pt x="575195" y="480225"/>
                      </a:lnTo>
                      <a:lnTo>
                        <a:pt x="574497" y="480555"/>
                      </a:lnTo>
                      <a:lnTo>
                        <a:pt x="575017" y="482714"/>
                      </a:lnTo>
                      <a:lnTo>
                        <a:pt x="576135" y="482968"/>
                      </a:lnTo>
                      <a:lnTo>
                        <a:pt x="575487" y="484111"/>
                      </a:lnTo>
                      <a:lnTo>
                        <a:pt x="577418" y="483730"/>
                      </a:lnTo>
                      <a:lnTo>
                        <a:pt x="578916" y="485000"/>
                      </a:lnTo>
                      <a:lnTo>
                        <a:pt x="580847" y="484746"/>
                      </a:lnTo>
                      <a:close/>
                    </a:path>
                    <a:path w="1878964" h="1228089">
                      <a:moveTo>
                        <a:pt x="584238" y="477354"/>
                      </a:moveTo>
                      <a:lnTo>
                        <a:pt x="584136" y="477126"/>
                      </a:lnTo>
                      <a:lnTo>
                        <a:pt x="583819" y="477126"/>
                      </a:lnTo>
                      <a:lnTo>
                        <a:pt x="584238" y="477354"/>
                      </a:lnTo>
                      <a:close/>
                    </a:path>
                    <a:path w="1878964" h="1228089">
                      <a:moveTo>
                        <a:pt x="584365" y="484238"/>
                      </a:moveTo>
                      <a:lnTo>
                        <a:pt x="583768" y="482968"/>
                      </a:lnTo>
                      <a:lnTo>
                        <a:pt x="580021" y="479425"/>
                      </a:lnTo>
                      <a:lnTo>
                        <a:pt x="581507" y="481825"/>
                      </a:lnTo>
                      <a:lnTo>
                        <a:pt x="581596" y="482460"/>
                      </a:lnTo>
                      <a:lnTo>
                        <a:pt x="581710" y="482714"/>
                      </a:lnTo>
                      <a:lnTo>
                        <a:pt x="582168" y="483222"/>
                      </a:lnTo>
                      <a:lnTo>
                        <a:pt x="583361" y="483730"/>
                      </a:lnTo>
                      <a:lnTo>
                        <a:pt x="583552" y="483984"/>
                      </a:lnTo>
                      <a:lnTo>
                        <a:pt x="583819" y="484238"/>
                      </a:lnTo>
                      <a:lnTo>
                        <a:pt x="583539" y="484365"/>
                      </a:lnTo>
                      <a:lnTo>
                        <a:pt x="584365" y="484238"/>
                      </a:lnTo>
                      <a:close/>
                    </a:path>
                    <a:path w="1878964" h="1228089">
                      <a:moveTo>
                        <a:pt x="586409" y="478523"/>
                      </a:moveTo>
                      <a:lnTo>
                        <a:pt x="584238" y="477354"/>
                      </a:lnTo>
                      <a:lnTo>
                        <a:pt x="584847" y="478650"/>
                      </a:lnTo>
                      <a:lnTo>
                        <a:pt x="586409" y="478523"/>
                      </a:lnTo>
                      <a:close/>
                    </a:path>
                    <a:path w="1878964" h="1228089">
                      <a:moveTo>
                        <a:pt x="634212" y="1016317"/>
                      </a:moveTo>
                      <a:lnTo>
                        <a:pt x="633933" y="1016063"/>
                      </a:lnTo>
                      <a:lnTo>
                        <a:pt x="633133" y="1014031"/>
                      </a:lnTo>
                      <a:lnTo>
                        <a:pt x="632917" y="1013523"/>
                      </a:lnTo>
                      <a:lnTo>
                        <a:pt x="631774" y="1010094"/>
                      </a:lnTo>
                      <a:lnTo>
                        <a:pt x="631774" y="1008824"/>
                      </a:lnTo>
                      <a:lnTo>
                        <a:pt x="630682" y="1006538"/>
                      </a:lnTo>
                      <a:lnTo>
                        <a:pt x="626910" y="1004506"/>
                      </a:lnTo>
                      <a:lnTo>
                        <a:pt x="624128" y="1002728"/>
                      </a:lnTo>
                      <a:lnTo>
                        <a:pt x="621626" y="1001712"/>
                      </a:lnTo>
                      <a:lnTo>
                        <a:pt x="620725" y="1001458"/>
                      </a:lnTo>
                      <a:lnTo>
                        <a:pt x="619696" y="1000696"/>
                      </a:lnTo>
                      <a:lnTo>
                        <a:pt x="619417" y="1000315"/>
                      </a:lnTo>
                      <a:lnTo>
                        <a:pt x="618998" y="999807"/>
                      </a:lnTo>
                      <a:lnTo>
                        <a:pt x="618578" y="998791"/>
                      </a:lnTo>
                      <a:lnTo>
                        <a:pt x="618197" y="998156"/>
                      </a:lnTo>
                      <a:lnTo>
                        <a:pt x="617753" y="996886"/>
                      </a:lnTo>
                      <a:lnTo>
                        <a:pt x="617766" y="995362"/>
                      </a:lnTo>
                      <a:lnTo>
                        <a:pt x="618680" y="993965"/>
                      </a:lnTo>
                      <a:lnTo>
                        <a:pt x="618794" y="993584"/>
                      </a:lnTo>
                      <a:lnTo>
                        <a:pt x="618871" y="993203"/>
                      </a:lnTo>
                      <a:lnTo>
                        <a:pt x="618629" y="992822"/>
                      </a:lnTo>
                      <a:lnTo>
                        <a:pt x="618375" y="992568"/>
                      </a:lnTo>
                      <a:lnTo>
                        <a:pt x="618312" y="992441"/>
                      </a:lnTo>
                      <a:lnTo>
                        <a:pt x="604291" y="979995"/>
                      </a:lnTo>
                      <a:lnTo>
                        <a:pt x="603491" y="979233"/>
                      </a:lnTo>
                      <a:lnTo>
                        <a:pt x="603186" y="978471"/>
                      </a:lnTo>
                      <a:lnTo>
                        <a:pt x="603135" y="977074"/>
                      </a:lnTo>
                      <a:lnTo>
                        <a:pt x="602970" y="976566"/>
                      </a:lnTo>
                      <a:lnTo>
                        <a:pt x="596646" y="971232"/>
                      </a:lnTo>
                      <a:lnTo>
                        <a:pt x="595134" y="970597"/>
                      </a:lnTo>
                      <a:lnTo>
                        <a:pt x="587514" y="964628"/>
                      </a:lnTo>
                      <a:lnTo>
                        <a:pt x="587121" y="964120"/>
                      </a:lnTo>
                      <a:lnTo>
                        <a:pt x="586790" y="963485"/>
                      </a:lnTo>
                      <a:lnTo>
                        <a:pt x="586727" y="963358"/>
                      </a:lnTo>
                      <a:lnTo>
                        <a:pt x="586092" y="963485"/>
                      </a:lnTo>
                      <a:lnTo>
                        <a:pt x="584835" y="963358"/>
                      </a:lnTo>
                      <a:lnTo>
                        <a:pt x="583590" y="963231"/>
                      </a:lnTo>
                      <a:lnTo>
                        <a:pt x="582790" y="963104"/>
                      </a:lnTo>
                      <a:lnTo>
                        <a:pt x="581456" y="963104"/>
                      </a:lnTo>
                      <a:lnTo>
                        <a:pt x="580288" y="962977"/>
                      </a:lnTo>
                      <a:lnTo>
                        <a:pt x="579335" y="963104"/>
                      </a:lnTo>
                      <a:lnTo>
                        <a:pt x="578650" y="963104"/>
                      </a:lnTo>
                      <a:lnTo>
                        <a:pt x="578358" y="963231"/>
                      </a:lnTo>
                      <a:lnTo>
                        <a:pt x="578154" y="963358"/>
                      </a:lnTo>
                      <a:lnTo>
                        <a:pt x="577684" y="962215"/>
                      </a:lnTo>
                      <a:lnTo>
                        <a:pt x="577608" y="960945"/>
                      </a:lnTo>
                      <a:lnTo>
                        <a:pt x="577176" y="957897"/>
                      </a:lnTo>
                      <a:lnTo>
                        <a:pt x="577151" y="957694"/>
                      </a:lnTo>
                      <a:lnTo>
                        <a:pt x="578726" y="955992"/>
                      </a:lnTo>
                      <a:lnTo>
                        <a:pt x="579729" y="955484"/>
                      </a:lnTo>
                      <a:lnTo>
                        <a:pt x="579551" y="954595"/>
                      </a:lnTo>
                      <a:lnTo>
                        <a:pt x="579678" y="951547"/>
                      </a:lnTo>
                      <a:lnTo>
                        <a:pt x="580097" y="950277"/>
                      </a:lnTo>
                      <a:lnTo>
                        <a:pt x="580453" y="946975"/>
                      </a:lnTo>
                      <a:lnTo>
                        <a:pt x="579170" y="944816"/>
                      </a:lnTo>
                      <a:lnTo>
                        <a:pt x="577608" y="942784"/>
                      </a:lnTo>
                      <a:lnTo>
                        <a:pt x="575894" y="940498"/>
                      </a:lnTo>
                      <a:lnTo>
                        <a:pt x="573747" y="938212"/>
                      </a:lnTo>
                      <a:lnTo>
                        <a:pt x="568756" y="931532"/>
                      </a:lnTo>
                      <a:lnTo>
                        <a:pt x="569048" y="930757"/>
                      </a:lnTo>
                      <a:lnTo>
                        <a:pt x="569379" y="929487"/>
                      </a:lnTo>
                      <a:lnTo>
                        <a:pt x="569823" y="928217"/>
                      </a:lnTo>
                      <a:lnTo>
                        <a:pt x="570204" y="926947"/>
                      </a:lnTo>
                      <a:lnTo>
                        <a:pt x="569595" y="926947"/>
                      </a:lnTo>
                      <a:lnTo>
                        <a:pt x="569175" y="925677"/>
                      </a:lnTo>
                      <a:lnTo>
                        <a:pt x="567677" y="924407"/>
                      </a:lnTo>
                      <a:lnTo>
                        <a:pt x="566356" y="924407"/>
                      </a:lnTo>
                      <a:lnTo>
                        <a:pt x="563791" y="921867"/>
                      </a:lnTo>
                      <a:lnTo>
                        <a:pt x="564654" y="916787"/>
                      </a:lnTo>
                      <a:lnTo>
                        <a:pt x="565124" y="915517"/>
                      </a:lnTo>
                      <a:lnTo>
                        <a:pt x="562952" y="915517"/>
                      </a:lnTo>
                      <a:lnTo>
                        <a:pt x="562444" y="914247"/>
                      </a:lnTo>
                      <a:lnTo>
                        <a:pt x="561695" y="907897"/>
                      </a:lnTo>
                      <a:lnTo>
                        <a:pt x="560070" y="906627"/>
                      </a:lnTo>
                      <a:lnTo>
                        <a:pt x="559917" y="905357"/>
                      </a:lnTo>
                      <a:lnTo>
                        <a:pt x="559066" y="905357"/>
                      </a:lnTo>
                      <a:lnTo>
                        <a:pt x="558774" y="906627"/>
                      </a:lnTo>
                      <a:lnTo>
                        <a:pt x="554723" y="906627"/>
                      </a:lnTo>
                      <a:lnTo>
                        <a:pt x="553847" y="905357"/>
                      </a:lnTo>
                      <a:lnTo>
                        <a:pt x="553834" y="904087"/>
                      </a:lnTo>
                      <a:lnTo>
                        <a:pt x="555650" y="901547"/>
                      </a:lnTo>
                      <a:lnTo>
                        <a:pt x="557174" y="900277"/>
                      </a:lnTo>
                      <a:lnTo>
                        <a:pt x="558634" y="899007"/>
                      </a:lnTo>
                      <a:lnTo>
                        <a:pt x="559384" y="897737"/>
                      </a:lnTo>
                      <a:lnTo>
                        <a:pt x="560273" y="896467"/>
                      </a:lnTo>
                      <a:lnTo>
                        <a:pt x="559841" y="896467"/>
                      </a:lnTo>
                      <a:lnTo>
                        <a:pt x="558622" y="892657"/>
                      </a:lnTo>
                      <a:lnTo>
                        <a:pt x="556628" y="891387"/>
                      </a:lnTo>
                      <a:lnTo>
                        <a:pt x="558533" y="888847"/>
                      </a:lnTo>
                      <a:lnTo>
                        <a:pt x="559181" y="887577"/>
                      </a:lnTo>
                      <a:lnTo>
                        <a:pt x="560755" y="887577"/>
                      </a:lnTo>
                      <a:lnTo>
                        <a:pt x="562025" y="886307"/>
                      </a:lnTo>
                      <a:lnTo>
                        <a:pt x="562965" y="885037"/>
                      </a:lnTo>
                      <a:lnTo>
                        <a:pt x="563841" y="885037"/>
                      </a:lnTo>
                      <a:lnTo>
                        <a:pt x="563537" y="883767"/>
                      </a:lnTo>
                      <a:lnTo>
                        <a:pt x="562597" y="883767"/>
                      </a:lnTo>
                      <a:lnTo>
                        <a:pt x="562165" y="882497"/>
                      </a:lnTo>
                      <a:lnTo>
                        <a:pt x="562406" y="882497"/>
                      </a:lnTo>
                      <a:lnTo>
                        <a:pt x="562457" y="881227"/>
                      </a:lnTo>
                      <a:lnTo>
                        <a:pt x="561898" y="878687"/>
                      </a:lnTo>
                      <a:lnTo>
                        <a:pt x="560908" y="878687"/>
                      </a:lnTo>
                      <a:lnTo>
                        <a:pt x="564261" y="877417"/>
                      </a:lnTo>
                      <a:lnTo>
                        <a:pt x="565111" y="877417"/>
                      </a:lnTo>
                      <a:lnTo>
                        <a:pt x="565696" y="876147"/>
                      </a:lnTo>
                      <a:lnTo>
                        <a:pt x="566305" y="876147"/>
                      </a:lnTo>
                      <a:lnTo>
                        <a:pt x="566572" y="874877"/>
                      </a:lnTo>
                      <a:lnTo>
                        <a:pt x="567004" y="873607"/>
                      </a:lnTo>
                      <a:lnTo>
                        <a:pt x="567372" y="872337"/>
                      </a:lnTo>
                      <a:lnTo>
                        <a:pt x="567613" y="871067"/>
                      </a:lnTo>
                      <a:lnTo>
                        <a:pt x="567893" y="869797"/>
                      </a:lnTo>
                      <a:lnTo>
                        <a:pt x="568236" y="867257"/>
                      </a:lnTo>
                      <a:lnTo>
                        <a:pt x="568617" y="865987"/>
                      </a:lnTo>
                      <a:lnTo>
                        <a:pt x="571614" y="859637"/>
                      </a:lnTo>
                      <a:lnTo>
                        <a:pt x="579958" y="862177"/>
                      </a:lnTo>
                      <a:lnTo>
                        <a:pt x="584644" y="862177"/>
                      </a:lnTo>
                      <a:lnTo>
                        <a:pt x="584644" y="859637"/>
                      </a:lnTo>
                      <a:lnTo>
                        <a:pt x="584657" y="806297"/>
                      </a:lnTo>
                      <a:lnTo>
                        <a:pt x="552119" y="788631"/>
                      </a:lnTo>
                      <a:lnTo>
                        <a:pt x="552119" y="937958"/>
                      </a:lnTo>
                      <a:lnTo>
                        <a:pt x="552005" y="938098"/>
                      </a:lnTo>
                      <a:lnTo>
                        <a:pt x="551688" y="937107"/>
                      </a:lnTo>
                      <a:lnTo>
                        <a:pt x="552119" y="937958"/>
                      </a:lnTo>
                      <a:lnTo>
                        <a:pt x="552119" y="788631"/>
                      </a:lnTo>
                      <a:lnTo>
                        <a:pt x="535559" y="779627"/>
                      </a:lnTo>
                      <a:lnTo>
                        <a:pt x="526110" y="775817"/>
                      </a:lnTo>
                      <a:lnTo>
                        <a:pt x="514248" y="769467"/>
                      </a:lnTo>
                      <a:lnTo>
                        <a:pt x="514248" y="963739"/>
                      </a:lnTo>
                      <a:lnTo>
                        <a:pt x="513143" y="962596"/>
                      </a:lnTo>
                      <a:lnTo>
                        <a:pt x="514248" y="963739"/>
                      </a:lnTo>
                      <a:lnTo>
                        <a:pt x="514248" y="769467"/>
                      </a:lnTo>
                      <a:lnTo>
                        <a:pt x="513003" y="768807"/>
                      </a:lnTo>
                      <a:lnTo>
                        <a:pt x="513003" y="962507"/>
                      </a:lnTo>
                      <a:lnTo>
                        <a:pt x="511276" y="962507"/>
                      </a:lnTo>
                      <a:lnTo>
                        <a:pt x="511175" y="961237"/>
                      </a:lnTo>
                      <a:lnTo>
                        <a:pt x="511276" y="961834"/>
                      </a:lnTo>
                      <a:lnTo>
                        <a:pt x="512279" y="962088"/>
                      </a:lnTo>
                      <a:lnTo>
                        <a:pt x="513003" y="962507"/>
                      </a:lnTo>
                      <a:lnTo>
                        <a:pt x="513003" y="768807"/>
                      </a:lnTo>
                      <a:lnTo>
                        <a:pt x="507136" y="765657"/>
                      </a:lnTo>
                      <a:lnTo>
                        <a:pt x="494322" y="759307"/>
                      </a:lnTo>
                      <a:lnTo>
                        <a:pt x="492785" y="758037"/>
                      </a:lnTo>
                      <a:lnTo>
                        <a:pt x="492442" y="757885"/>
                      </a:lnTo>
                      <a:lnTo>
                        <a:pt x="492442" y="975207"/>
                      </a:lnTo>
                      <a:lnTo>
                        <a:pt x="492239" y="975271"/>
                      </a:lnTo>
                      <a:lnTo>
                        <a:pt x="492442" y="975207"/>
                      </a:lnTo>
                      <a:lnTo>
                        <a:pt x="492442" y="757885"/>
                      </a:lnTo>
                      <a:lnTo>
                        <a:pt x="481888" y="752957"/>
                      </a:lnTo>
                      <a:lnTo>
                        <a:pt x="476237" y="750252"/>
                      </a:lnTo>
                      <a:lnTo>
                        <a:pt x="476237" y="976477"/>
                      </a:lnTo>
                      <a:lnTo>
                        <a:pt x="475983" y="977366"/>
                      </a:lnTo>
                      <a:lnTo>
                        <a:pt x="476161" y="976477"/>
                      </a:lnTo>
                      <a:lnTo>
                        <a:pt x="476237" y="750252"/>
                      </a:lnTo>
                      <a:lnTo>
                        <a:pt x="471284" y="747877"/>
                      </a:lnTo>
                      <a:lnTo>
                        <a:pt x="469722" y="747877"/>
                      </a:lnTo>
                      <a:lnTo>
                        <a:pt x="469722" y="793597"/>
                      </a:lnTo>
                      <a:lnTo>
                        <a:pt x="469722" y="747877"/>
                      </a:lnTo>
                      <a:lnTo>
                        <a:pt x="469557" y="747877"/>
                      </a:lnTo>
                      <a:lnTo>
                        <a:pt x="469557" y="794537"/>
                      </a:lnTo>
                      <a:lnTo>
                        <a:pt x="469531" y="794867"/>
                      </a:lnTo>
                      <a:lnTo>
                        <a:pt x="469544" y="794537"/>
                      </a:lnTo>
                      <a:lnTo>
                        <a:pt x="469557" y="747877"/>
                      </a:lnTo>
                      <a:lnTo>
                        <a:pt x="468871" y="747877"/>
                      </a:lnTo>
                      <a:lnTo>
                        <a:pt x="468871" y="791667"/>
                      </a:lnTo>
                      <a:lnTo>
                        <a:pt x="468718" y="791591"/>
                      </a:lnTo>
                      <a:lnTo>
                        <a:pt x="468718" y="795807"/>
                      </a:lnTo>
                      <a:lnTo>
                        <a:pt x="468503" y="796137"/>
                      </a:lnTo>
                      <a:lnTo>
                        <a:pt x="466432" y="799947"/>
                      </a:lnTo>
                      <a:lnTo>
                        <a:pt x="466407" y="800188"/>
                      </a:lnTo>
                      <a:lnTo>
                        <a:pt x="466445" y="799617"/>
                      </a:lnTo>
                      <a:lnTo>
                        <a:pt x="468515" y="795807"/>
                      </a:lnTo>
                      <a:lnTo>
                        <a:pt x="468718" y="795807"/>
                      </a:lnTo>
                      <a:lnTo>
                        <a:pt x="468718" y="791591"/>
                      </a:lnTo>
                      <a:lnTo>
                        <a:pt x="467245" y="790727"/>
                      </a:lnTo>
                      <a:lnTo>
                        <a:pt x="466026" y="789457"/>
                      </a:lnTo>
                      <a:lnTo>
                        <a:pt x="465861" y="789076"/>
                      </a:lnTo>
                      <a:lnTo>
                        <a:pt x="465861" y="805497"/>
                      </a:lnTo>
                      <a:lnTo>
                        <a:pt x="465061" y="812647"/>
                      </a:lnTo>
                      <a:lnTo>
                        <a:pt x="464489" y="818997"/>
                      </a:lnTo>
                      <a:lnTo>
                        <a:pt x="464019" y="825347"/>
                      </a:lnTo>
                      <a:lnTo>
                        <a:pt x="463118" y="839673"/>
                      </a:lnTo>
                      <a:lnTo>
                        <a:pt x="463118" y="844397"/>
                      </a:lnTo>
                      <a:lnTo>
                        <a:pt x="462432" y="845667"/>
                      </a:lnTo>
                      <a:lnTo>
                        <a:pt x="461949" y="845667"/>
                      </a:lnTo>
                      <a:lnTo>
                        <a:pt x="461124" y="846937"/>
                      </a:lnTo>
                      <a:lnTo>
                        <a:pt x="450405" y="858367"/>
                      </a:lnTo>
                      <a:lnTo>
                        <a:pt x="447636" y="860907"/>
                      </a:lnTo>
                      <a:lnTo>
                        <a:pt x="445643" y="863447"/>
                      </a:lnTo>
                      <a:lnTo>
                        <a:pt x="442798" y="868527"/>
                      </a:lnTo>
                      <a:lnTo>
                        <a:pt x="435902" y="879957"/>
                      </a:lnTo>
                      <a:lnTo>
                        <a:pt x="435127" y="879957"/>
                      </a:lnTo>
                      <a:lnTo>
                        <a:pt x="435127" y="887018"/>
                      </a:lnTo>
                      <a:lnTo>
                        <a:pt x="434263" y="883437"/>
                      </a:lnTo>
                      <a:lnTo>
                        <a:pt x="434009" y="881799"/>
                      </a:lnTo>
                      <a:lnTo>
                        <a:pt x="434263" y="882497"/>
                      </a:lnTo>
                      <a:lnTo>
                        <a:pt x="435127" y="887018"/>
                      </a:lnTo>
                      <a:lnTo>
                        <a:pt x="435127" y="879957"/>
                      </a:lnTo>
                      <a:lnTo>
                        <a:pt x="434022" y="879957"/>
                      </a:lnTo>
                      <a:lnTo>
                        <a:pt x="434086" y="879627"/>
                      </a:lnTo>
                      <a:lnTo>
                        <a:pt x="435914" y="879627"/>
                      </a:lnTo>
                      <a:lnTo>
                        <a:pt x="438899" y="874547"/>
                      </a:lnTo>
                      <a:lnTo>
                        <a:pt x="445643" y="863117"/>
                      </a:lnTo>
                      <a:lnTo>
                        <a:pt x="447636" y="860577"/>
                      </a:lnTo>
                      <a:lnTo>
                        <a:pt x="453898" y="854227"/>
                      </a:lnTo>
                      <a:lnTo>
                        <a:pt x="461124" y="846607"/>
                      </a:lnTo>
                      <a:lnTo>
                        <a:pt x="461962" y="845337"/>
                      </a:lnTo>
                      <a:lnTo>
                        <a:pt x="462559" y="845337"/>
                      </a:lnTo>
                      <a:lnTo>
                        <a:pt x="463067" y="844169"/>
                      </a:lnTo>
                      <a:lnTo>
                        <a:pt x="463118" y="844397"/>
                      </a:lnTo>
                      <a:lnTo>
                        <a:pt x="463118" y="839673"/>
                      </a:lnTo>
                      <a:lnTo>
                        <a:pt x="462915" y="842899"/>
                      </a:lnTo>
                      <a:lnTo>
                        <a:pt x="465861" y="805497"/>
                      </a:lnTo>
                      <a:lnTo>
                        <a:pt x="465861" y="789076"/>
                      </a:lnTo>
                      <a:lnTo>
                        <a:pt x="465620" y="788517"/>
                      </a:lnTo>
                      <a:lnTo>
                        <a:pt x="466026" y="788517"/>
                      </a:lnTo>
                      <a:lnTo>
                        <a:pt x="467245" y="789787"/>
                      </a:lnTo>
                      <a:lnTo>
                        <a:pt x="468871" y="791667"/>
                      </a:lnTo>
                      <a:lnTo>
                        <a:pt x="468871" y="747877"/>
                      </a:lnTo>
                      <a:lnTo>
                        <a:pt x="468325" y="747877"/>
                      </a:lnTo>
                      <a:lnTo>
                        <a:pt x="464667" y="749744"/>
                      </a:lnTo>
                      <a:lnTo>
                        <a:pt x="464667" y="784707"/>
                      </a:lnTo>
                      <a:lnTo>
                        <a:pt x="464591" y="787984"/>
                      </a:lnTo>
                      <a:lnTo>
                        <a:pt x="463727" y="786917"/>
                      </a:lnTo>
                      <a:lnTo>
                        <a:pt x="463905" y="786434"/>
                      </a:lnTo>
                      <a:lnTo>
                        <a:pt x="464591" y="787984"/>
                      </a:lnTo>
                      <a:lnTo>
                        <a:pt x="464591" y="784809"/>
                      </a:lnTo>
                      <a:lnTo>
                        <a:pt x="464439" y="785012"/>
                      </a:lnTo>
                      <a:lnTo>
                        <a:pt x="464591" y="784618"/>
                      </a:lnTo>
                      <a:lnTo>
                        <a:pt x="464667" y="749744"/>
                      </a:lnTo>
                      <a:lnTo>
                        <a:pt x="462953" y="750620"/>
                      </a:lnTo>
                      <a:lnTo>
                        <a:pt x="462953" y="781837"/>
                      </a:lnTo>
                      <a:lnTo>
                        <a:pt x="462648" y="781837"/>
                      </a:lnTo>
                      <a:lnTo>
                        <a:pt x="461721" y="779995"/>
                      </a:lnTo>
                      <a:lnTo>
                        <a:pt x="462635" y="780897"/>
                      </a:lnTo>
                      <a:lnTo>
                        <a:pt x="462953" y="781837"/>
                      </a:lnTo>
                      <a:lnTo>
                        <a:pt x="462953" y="750620"/>
                      </a:lnTo>
                      <a:lnTo>
                        <a:pt x="460044" y="752106"/>
                      </a:lnTo>
                      <a:lnTo>
                        <a:pt x="460044" y="777367"/>
                      </a:lnTo>
                      <a:lnTo>
                        <a:pt x="458495" y="775487"/>
                      </a:lnTo>
                      <a:lnTo>
                        <a:pt x="458508" y="774598"/>
                      </a:lnTo>
                      <a:lnTo>
                        <a:pt x="460044" y="777367"/>
                      </a:lnTo>
                      <a:lnTo>
                        <a:pt x="460044" y="752106"/>
                      </a:lnTo>
                      <a:lnTo>
                        <a:pt x="458457" y="752919"/>
                      </a:lnTo>
                      <a:lnTo>
                        <a:pt x="458457" y="771867"/>
                      </a:lnTo>
                      <a:lnTo>
                        <a:pt x="458241" y="769467"/>
                      </a:lnTo>
                      <a:lnTo>
                        <a:pt x="458457" y="771867"/>
                      </a:lnTo>
                      <a:lnTo>
                        <a:pt x="458457" y="752919"/>
                      </a:lnTo>
                      <a:lnTo>
                        <a:pt x="455917" y="754202"/>
                      </a:lnTo>
                      <a:lnTo>
                        <a:pt x="455866" y="753897"/>
                      </a:lnTo>
                      <a:lnTo>
                        <a:pt x="447916" y="757707"/>
                      </a:lnTo>
                      <a:lnTo>
                        <a:pt x="445071" y="760247"/>
                      </a:lnTo>
                      <a:lnTo>
                        <a:pt x="443661" y="758977"/>
                      </a:lnTo>
                      <a:lnTo>
                        <a:pt x="442633" y="757707"/>
                      </a:lnTo>
                      <a:lnTo>
                        <a:pt x="441718" y="756437"/>
                      </a:lnTo>
                      <a:lnTo>
                        <a:pt x="437007" y="752627"/>
                      </a:lnTo>
                      <a:lnTo>
                        <a:pt x="435711" y="751357"/>
                      </a:lnTo>
                      <a:lnTo>
                        <a:pt x="412699" y="746277"/>
                      </a:lnTo>
                      <a:lnTo>
                        <a:pt x="349935" y="784377"/>
                      </a:lnTo>
                      <a:lnTo>
                        <a:pt x="346735" y="786917"/>
                      </a:lnTo>
                      <a:lnTo>
                        <a:pt x="343623" y="789457"/>
                      </a:lnTo>
                      <a:lnTo>
                        <a:pt x="340118" y="793267"/>
                      </a:lnTo>
                      <a:lnTo>
                        <a:pt x="336677" y="795807"/>
                      </a:lnTo>
                      <a:lnTo>
                        <a:pt x="331000" y="800887"/>
                      </a:lnTo>
                      <a:lnTo>
                        <a:pt x="328752" y="803427"/>
                      </a:lnTo>
                      <a:lnTo>
                        <a:pt x="326021" y="805967"/>
                      </a:lnTo>
                      <a:lnTo>
                        <a:pt x="324929" y="805967"/>
                      </a:lnTo>
                      <a:lnTo>
                        <a:pt x="322808" y="808507"/>
                      </a:lnTo>
                      <a:lnTo>
                        <a:pt x="317665" y="808507"/>
                      </a:lnTo>
                      <a:lnTo>
                        <a:pt x="305777" y="811047"/>
                      </a:lnTo>
                      <a:lnTo>
                        <a:pt x="301879" y="811047"/>
                      </a:lnTo>
                      <a:lnTo>
                        <a:pt x="301879" y="811695"/>
                      </a:lnTo>
                      <a:lnTo>
                        <a:pt x="301853" y="842581"/>
                      </a:lnTo>
                      <a:lnTo>
                        <a:pt x="301853" y="842797"/>
                      </a:lnTo>
                      <a:lnTo>
                        <a:pt x="301777" y="843572"/>
                      </a:lnTo>
                      <a:lnTo>
                        <a:pt x="301853" y="842581"/>
                      </a:lnTo>
                      <a:lnTo>
                        <a:pt x="301853" y="811695"/>
                      </a:lnTo>
                      <a:lnTo>
                        <a:pt x="299821" y="811695"/>
                      </a:lnTo>
                      <a:lnTo>
                        <a:pt x="297459" y="812253"/>
                      </a:lnTo>
                      <a:lnTo>
                        <a:pt x="297459" y="860602"/>
                      </a:lnTo>
                      <a:lnTo>
                        <a:pt x="297230" y="861847"/>
                      </a:lnTo>
                      <a:lnTo>
                        <a:pt x="294868" y="864387"/>
                      </a:lnTo>
                      <a:lnTo>
                        <a:pt x="292912" y="866927"/>
                      </a:lnTo>
                      <a:lnTo>
                        <a:pt x="291884" y="866927"/>
                      </a:lnTo>
                      <a:lnTo>
                        <a:pt x="292912" y="866305"/>
                      </a:lnTo>
                      <a:lnTo>
                        <a:pt x="294868" y="863765"/>
                      </a:lnTo>
                      <a:lnTo>
                        <a:pt x="297230" y="861225"/>
                      </a:lnTo>
                      <a:lnTo>
                        <a:pt x="297459" y="860602"/>
                      </a:lnTo>
                      <a:lnTo>
                        <a:pt x="297459" y="812253"/>
                      </a:lnTo>
                      <a:lnTo>
                        <a:pt x="294424" y="812965"/>
                      </a:lnTo>
                      <a:lnTo>
                        <a:pt x="290055" y="812965"/>
                      </a:lnTo>
                      <a:lnTo>
                        <a:pt x="290055" y="866927"/>
                      </a:lnTo>
                      <a:lnTo>
                        <a:pt x="288175" y="866927"/>
                      </a:lnTo>
                      <a:lnTo>
                        <a:pt x="288823" y="866305"/>
                      </a:lnTo>
                      <a:lnTo>
                        <a:pt x="289318" y="866305"/>
                      </a:lnTo>
                      <a:lnTo>
                        <a:pt x="290055" y="866927"/>
                      </a:lnTo>
                      <a:lnTo>
                        <a:pt x="290055" y="812965"/>
                      </a:lnTo>
                      <a:lnTo>
                        <a:pt x="288137" y="812965"/>
                      </a:lnTo>
                      <a:lnTo>
                        <a:pt x="286105" y="811695"/>
                      </a:lnTo>
                      <a:lnTo>
                        <a:pt x="285623" y="811695"/>
                      </a:lnTo>
                      <a:lnTo>
                        <a:pt x="286956" y="809155"/>
                      </a:lnTo>
                      <a:lnTo>
                        <a:pt x="287185" y="809155"/>
                      </a:lnTo>
                      <a:lnTo>
                        <a:pt x="287616" y="807885"/>
                      </a:lnTo>
                      <a:lnTo>
                        <a:pt x="287756" y="807885"/>
                      </a:lnTo>
                      <a:lnTo>
                        <a:pt x="287502" y="806615"/>
                      </a:lnTo>
                      <a:lnTo>
                        <a:pt x="287121" y="805345"/>
                      </a:lnTo>
                      <a:lnTo>
                        <a:pt x="287185" y="804075"/>
                      </a:lnTo>
                      <a:lnTo>
                        <a:pt x="287185" y="801535"/>
                      </a:lnTo>
                      <a:lnTo>
                        <a:pt x="286651" y="801535"/>
                      </a:lnTo>
                      <a:lnTo>
                        <a:pt x="286080" y="800265"/>
                      </a:lnTo>
                      <a:lnTo>
                        <a:pt x="284568" y="800265"/>
                      </a:lnTo>
                      <a:lnTo>
                        <a:pt x="283946" y="799592"/>
                      </a:lnTo>
                      <a:lnTo>
                        <a:pt x="283946" y="867575"/>
                      </a:lnTo>
                      <a:lnTo>
                        <a:pt x="282587" y="868197"/>
                      </a:lnTo>
                      <a:lnTo>
                        <a:pt x="281635" y="867575"/>
                      </a:lnTo>
                      <a:lnTo>
                        <a:pt x="283946" y="867575"/>
                      </a:lnTo>
                      <a:lnTo>
                        <a:pt x="283946" y="799592"/>
                      </a:lnTo>
                      <a:lnTo>
                        <a:pt x="283413" y="798995"/>
                      </a:lnTo>
                      <a:lnTo>
                        <a:pt x="278688" y="798995"/>
                      </a:lnTo>
                      <a:lnTo>
                        <a:pt x="274535" y="795185"/>
                      </a:lnTo>
                      <a:lnTo>
                        <a:pt x="273189" y="795185"/>
                      </a:lnTo>
                      <a:lnTo>
                        <a:pt x="273189" y="908837"/>
                      </a:lnTo>
                      <a:lnTo>
                        <a:pt x="273151" y="910107"/>
                      </a:lnTo>
                      <a:lnTo>
                        <a:pt x="271373" y="910107"/>
                      </a:lnTo>
                      <a:lnTo>
                        <a:pt x="271056" y="911212"/>
                      </a:lnTo>
                      <a:lnTo>
                        <a:pt x="270573" y="910526"/>
                      </a:lnTo>
                      <a:lnTo>
                        <a:pt x="271018" y="910145"/>
                      </a:lnTo>
                      <a:lnTo>
                        <a:pt x="271691" y="909891"/>
                      </a:lnTo>
                      <a:lnTo>
                        <a:pt x="272135" y="909764"/>
                      </a:lnTo>
                      <a:lnTo>
                        <a:pt x="272796" y="909637"/>
                      </a:lnTo>
                      <a:lnTo>
                        <a:pt x="273050" y="909637"/>
                      </a:lnTo>
                      <a:lnTo>
                        <a:pt x="273113" y="909510"/>
                      </a:lnTo>
                      <a:lnTo>
                        <a:pt x="273100" y="908837"/>
                      </a:lnTo>
                      <a:lnTo>
                        <a:pt x="273189" y="795185"/>
                      </a:lnTo>
                      <a:lnTo>
                        <a:pt x="269875" y="795185"/>
                      </a:lnTo>
                      <a:lnTo>
                        <a:pt x="269875" y="867575"/>
                      </a:lnTo>
                      <a:lnTo>
                        <a:pt x="268312" y="867918"/>
                      </a:lnTo>
                      <a:lnTo>
                        <a:pt x="268312" y="906297"/>
                      </a:lnTo>
                      <a:lnTo>
                        <a:pt x="268173" y="906335"/>
                      </a:lnTo>
                      <a:lnTo>
                        <a:pt x="268312" y="906297"/>
                      </a:lnTo>
                      <a:lnTo>
                        <a:pt x="268312" y="867918"/>
                      </a:lnTo>
                      <a:lnTo>
                        <a:pt x="266979" y="868197"/>
                      </a:lnTo>
                      <a:lnTo>
                        <a:pt x="262267" y="868197"/>
                      </a:lnTo>
                      <a:lnTo>
                        <a:pt x="266992" y="867575"/>
                      </a:lnTo>
                      <a:lnTo>
                        <a:pt x="269875" y="867575"/>
                      </a:lnTo>
                      <a:lnTo>
                        <a:pt x="269875" y="795185"/>
                      </a:lnTo>
                      <a:lnTo>
                        <a:pt x="268630" y="795185"/>
                      </a:lnTo>
                      <a:lnTo>
                        <a:pt x="265645" y="793915"/>
                      </a:lnTo>
                      <a:lnTo>
                        <a:pt x="264985" y="792645"/>
                      </a:lnTo>
                      <a:lnTo>
                        <a:pt x="264718" y="791375"/>
                      </a:lnTo>
                      <a:lnTo>
                        <a:pt x="263779" y="790105"/>
                      </a:lnTo>
                      <a:lnTo>
                        <a:pt x="263906" y="790105"/>
                      </a:lnTo>
                      <a:lnTo>
                        <a:pt x="261239" y="788835"/>
                      </a:lnTo>
                      <a:lnTo>
                        <a:pt x="258584" y="788835"/>
                      </a:lnTo>
                      <a:lnTo>
                        <a:pt x="258584" y="896137"/>
                      </a:lnTo>
                      <a:lnTo>
                        <a:pt x="258394" y="896137"/>
                      </a:lnTo>
                      <a:lnTo>
                        <a:pt x="257251" y="897407"/>
                      </a:lnTo>
                      <a:lnTo>
                        <a:pt x="256971" y="897407"/>
                      </a:lnTo>
                      <a:lnTo>
                        <a:pt x="256603" y="896175"/>
                      </a:lnTo>
                      <a:lnTo>
                        <a:pt x="256971" y="896302"/>
                      </a:lnTo>
                      <a:lnTo>
                        <a:pt x="257060" y="896429"/>
                      </a:lnTo>
                      <a:lnTo>
                        <a:pt x="258394" y="896048"/>
                      </a:lnTo>
                      <a:lnTo>
                        <a:pt x="258229" y="896175"/>
                      </a:lnTo>
                      <a:lnTo>
                        <a:pt x="258394" y="896137"/>
                      </a:lnTo>
                      <a:lnTo>
                        <a:pt x="258533" y="896086"/>
                      </a:lnTo>
                      <a:lnTo>
                        <a:pt x="258584" y="788835"/>
                      </a:lnTo>
                      <a:lnTo>
                        <a:pt x="258216" y="788835"/>
                      </a:lnTo>
                      <a:lnTo>
                        <a:pt x="257619" y="787565"/>
                      </a:lnTo>
                      <a:lnTo>
                        <a:pt x="257784" y="786295"/>
                      </a:lnTo>
                      <a:lnTo>
                        <a:pt x="258025" y="785025"/>
                      </a:lnTo>
                      <a:lnTo>
                        <a:pt x="257949" y="783755"/>
                      </a:lnTo>
                      <a:lnTo>
                        <a:pt x="257771" y="782485"/>
                      </a:lnTo>
                      <a:lnTo>
                        <a:pt x="257390" y="782485"/>
                      </a:lnTo>
                      <a:lnTo>
                        <a:pt x="256489" y="781850"/>
                      </a:lnTo>
                      <a:lnTo>
                        <a:pt x="256489" y="896137"/>
                      </a:lnTo>
                      <a:lnTo>
                        <a:pt x="255981" y="897407"/>
                      </a:lnTo>
                      <a:lnTo>
                        <a:pt x="255689" y="897407"/>
                      </a:lnTo>
                      <a:lnTo>
                        <a:pt x="255498" y="898677"/>
                      </a:lnTo>
                      <a:lnTo>
                        <a:pt x="255308" y="898677"/>
                      </a:lnTo>
                      <a:lnTo>
                        <a:pt x="255308" y="899947"/>
                      </a:lnTo>
                      <a:lnTo>
                        <a:pt x="255308" y="898677"/>
                      </a:lnTo>
                      <a:lnTo>
                        <a:pt x="255244" y="898461"/>
                      </a:lnTo>
                      <a:lnTo>
                        <a:pt x="255498" y="897826"/>
                      </a:lnTo>
                      <a:lnTo>
                        <a:pt x="255739" y="896937"/>
                      </a:lnTo>
                      <a:lnTo>
                        <a:pt x="255993" y="896302"/>
                      </a:lnTo>
                      <a:lnTo>
                        <a:pt x="256476" y="896048"/>
                      </a:lnTo>
                      <a:lnTo>
                        <a:pt x="256489" y="781850"/>
                      </a:lnTo>
                      <a:lnTo>
                        <a:pt x="248145" y="775957"/>
                      </a:lnTo>
                      <a:lnTo>
                        <a:pt x="248145" y="887247"/>
                      </a:lnTo>
                      <a:lnTo>
                        <a:pt x="248081" y="887120"/>
                      </a:lnTo>
                      <a:lnTo>
                        <a:pt x="248145" y="887247"/>
                      </a:lnTo>
                      <a:lnTo>
                        <a:pt x="248145" y="775957"/>
                      </a:lnTo>
                      <a:lnTo>
                        <a:pt x="244487" y="773366"/>
                      </a:lnTo>
                      <a:lnTo>
                        <a:pt x="244487" y="873925"/>
                      </a:lnTo>
                      <a:lnTo>
                        <a:pt x="244449" y="879652"/>
                      </a:lnTo>
                      <a:lnTo>
                        <a:pt x="244462" y="873925"/>
                      </a:lnTo>
                      <a:lnTo>
                        <a:pt x="244487" y="773366"/>
                      </a:lnTo>
                      <a:lnTo>
                        <a:pt x="243027" y="772325"/>
                      </a:lnTo>
                      <a:lnTo>
                        <a:pt x="235889" y="768515"/>
                      </a:lnTo>
                      <a:lnTo>
                        <a:pt x="223177" y="759345"/>
                      </a:lnTo>
                      <a:lnTo>
                        <a:pt x="223177" y="876465"/>
                      </a:lnTo>
                      <a:lnTo>
                        <a:pt x="223012" y="876541"/>
                      </a:lnTo>
                      <a:lnTo>
                        <a:pt x="223139" y="876465"/>
                      </a:lnTo>
                      <a:lnTo>
                        <a:pt x="223177" y="759345"/>
                      </a:lnTo>
                      <a:lnTo>
                        <a:pt x="214782" y="753275"/>
                      </a:lnTo>
                      <a:lnTo>
                        <a:pt x="210921" y="750722"/>
                      </a:lnTo>
                      <a:lnTo>
                        <a:pt x="210921" y="884085"/>
                      </a:lnTo>
                      <a:lnTo>
                        <a:pt x="210921" y="750722"/>
                      </a:lnTo>
                      <a:lnTo>
                        <a:pt x="201383" y="744385"/>
                      </a:lnTo>
                      <a:lnTo>
                        <a:pt x="199288" y="742797"/>
                      </a:lnTo>
                      <a:lnTo>
                        <a:pt x="199288" y="891984"/>
                      </a:lnTo>
                      <a:lnTo>
                        <a:pt x="198513" y="891806"/>
                      </a:lnTo>
                      <a:lnTo>
                        <a:pt x="198577" y="891552"/>
                      </a:lnTo>
                      <a:lnTo>
                        <a:pt x="199288" y="891984"/>
                      </a:lnTo>
                      <a:lnTo>
                        <a:pt x="199288" y="742797"/>
                      </a:lnTo>
                      <a:lnTo>
                        <a:pt x="194843" y="739432"/>
                      </a:lnTo>
                      <a:lnTo>
                        <a:pt x="194843" y="896937"/>
                      </a:lnTo>
                      <a:lnTo>
                        <a:pt x="194703" y="895515"/>
                      </a:lnTo>
                      <a:lnTo>
                        <a:pt x="194551" y="894245"/>
                      </a:lnTo>
                      <a:lnTo>
                        <a:pt x="194398" y="892975"/>
                      </a:lnTo>
                      <a:lnTo>
                        <a:pt x="194500" y="891870"/>
                      </a:lnTo>
                      <a:lnTo>
                        <a:pt x="194487" y="893381"/>
                      </a:lnTo>
                      <a:lnTo>
                        <a:pt x="194602" y="894270"/>
                      </a:lnTo>
                      <a:lnTo>
                        <a:pt x="194729" y="895413"/>
                      </a:lnTo>
                      <a:lnTo>
                        <a:pt x="194843" y="896937"/>
                      </a:lnTo>
                      <a:lnTo>
                        <a:pt x="194843" y="739432"/>
                      </a:lnTo>
                      <a:lnTo>
                        <a:pt x="194691" y="739305"/>
                      </a:lnTo>
                      <a:lnTo>
                        <a:pt x="188353" y="735152"/>
                      </a:lnTo>
                      <a:lnTo>
                        <a:pt x="188353" y="896950"/>
                      </a:lnTo>
                      <a:lnTo>
                        <a:pt x="188048" y="896785"/>
                      </a:lnTo>
                      <a:lnTo>
                        <a:pt x="188353" y="896950"/>
                      </a:lnTo>
                      <a:lnTo>
                        <a:pt x="188353" y="735152"/>
                      </a:lnTo>
                      <a:lnTo>
                        <a:pt x="180898" y="730250"/>
                      </a:lnTo>
                      <a:lnTo>
                        <a:pt x="180898" y="901636"/>
                      </a:lnTo>
                      <a:lnTo>
                        <a:pt x="180873" y="901865"/>
                      </a:lnTo>
                      <a:lnTo>
                        <a:pt x="179882" y="901865"/>
                      </a:lnTo>
                      <a:lnTo>
                        <a:pt x="180073" y="901166"/>
                      </a:lnTo>
                      <a:lnTo>
                        <a:pt x="180213" y="901382"/>
                      </a:lnTo>
                      <a:lnTo>
                        <a:pt x="180898" y="901636"/>
                      </a:lnTo>
                      <a:lnTo>
                        <a:pt x="180898" y="730250"/>
                      </a:lnTo>
                      <a:lnTo>
                        <a:pt x="178219" y="728484"/>
                      </a:lnTo>
                      <a:lnTo>
                        <a:pt x="178219" y="909739"/>
                      </a:lnTo>
                      <a:lnTo>
                        <a:pt x="178193" y="909485"/>
                      </a:lnTo>
                      <a:lnTo>
                        <a:pt x="177279" y="906945"/>
                      </a:lnTo>
                      <a:lnTo>
                        <a:pt x="177139" y="905675"/>
                      </a:lnTo>
                      <a:lnTo>
                        <a:pt x="177292" y="905954"/>
                      </a:lnTo>
                      <a:lnTo>
                        <a:pt x="178193" y="908748"/>
                      </a:lnTo>
                      <a:lnTo>
                        <a:pt x="178219" y="909739"/>
                      </a:lnTo>
                      <a:lnTo>
                        <a:pt x="178219" y="728484"/>
                      </a:lnTo>
                      <a:lnTo>
                        <a:pt x="171500" y="724065"/>
                      </a:lnTo>
                      <a:lnTo>
                        <a:pt x="166700" y="724065"/>
                      </a:lnTo>
                      <a:lnTo>
                        <a:pt x="166700" y="922972"/>
                      </a:lnTo>
                      <a:lnTo>
                        <a:pt x="166624" y="923201"/>
                      </a:lnTo>
                      <a:lnTo>
                        <a:pt x="166433" y="922185"/>
                      </a:lnTo>
                      <a:lnTo>
                        <a:pt x="165900" y="920915"/>
                      </a:lnTo>
                      <a:lnTo>
                        <a:pt x="165366" y="919645"/>
                      </a:lnTo>
                      <a:lnTo>
                        <a:pt x="164401" y="919645"/>
                      </a:lnTo>
                      <a:lnTo>
                        <a:pt x="163842" y="918375"/>
                      </a:lnTo>
                      <a:lnTo>
                        <a:pt x="164058" y="918375"/>
                      </a:lnTo>
                      <a:lnTo>
                        <a:pt x="164401" y="918527"/>
                      </a:lnTo>
                      <a:lnTo>
                        <a:pt x="164858" y="918908"/>
                      </a:lnTo>
                      <a:lnTo>
                        <a:pt x="165315" y="919543"/>
                      </a:lnTo>
                      <a:lnTo>
                        <a:pt x="166446" y="921067"/>
                      </a:lnTo>
                      <a:lnTo>
                        <a:pt x="166700" y="922972"/>
                      </a:lnTo>
                      <a:lnTo>
                        <a:pt x="166700" y="724065"/>
                      </a:lnTo>
                      <a:lnTo>
                        <a:pt x="146964" y="724065"/>
                      </a:lnTo>
                      <a:lnTo>
                        <a:pt x="147434" y="727875"/>
                      </a:lnTo>
                      <a:lnTo>
                        <a:pt x="149301" y="744385"/>
                      </a:lnTo>
                      <a:lnTo>
                        <a:pt x="151307" y="760895"/>
                      </a:lnTo>
                      <a:lnTo>
                        <a:pt x="153365" y="777405"/>
                      </a:lnTo>
                      <a:lnTo>
                        <a:pt x="162306" y="851065"/>
                      </a:lnTo>
                      <a:lnTo>
                        <a:pt x="162521" y="851065"/>
                      </a:lnTo>
                      <a:lnTo>
                        <a:pt x="162852" y="852335"/>
                      </a:lnTo>
                      <a:lnTo>
                        <a:pt x="163842" y="852335"/>
                      </a:lnTo>
                      <a:lnTo>
                        <a:pt x="164680" y="853605"/>
                      </a:lnTo>
                      <a:lnTo>
                        <a:pt x="164249" y="854875"/>
                      </a:lnTo>
                      <a:lnTo>
                        <a:pt x="163461" y="859955"/>
                      </a:lnTo>
                      <a:lnTo>
                        <a:pt x="163360" y="865035"/>
                      </a:lnTo>
                      <a:lnTo>
                        <a:pt x="162890" y="865390"/>
                      </a:lnTo>
                      <a:lnTo>
                        <a:pt x="162890" y="932624"/>
                      </a:lnTo>
                      <a:lnTo>
                        <a:pt x="162864" y="933564"/>
                      </a:lnTo>
                      <a:lnTo>
                        <a:pt x="161836" y="931075"/>
                      </a:lnTo>
                      <a:lnTo>
                        <a:pt x="162153" y="930795"/>
                      </a:lnTo>
                      <a:lnTo>
                        <a:pt x="162890" y="932624"/>
                      </a:lnTo>
                      <a:lnTo>
                        <a:pt x="162890" y="865390"/>
                      </a:lnTo>
                      <a:lnTo>
                        <a:pt x="161658" y="866305"/>
                      </a:lnTo>
                      <a:lnTo>
                        <a:pt x="157822" y="865035"/>
                      </a:lnTo>
                      <a:lnTo>
                        <a:pt x="112356" y="865035"/>
                      </a:lnTo>
                      <a:lnTo>
                        <a:pt x="108826" y="866305"/>
                      </a:lnTo>
                      <a:lnTo>
                        <a:pt x="106984" y="861225"/>
                      </a:lnTo>
                      <a:lnTo>
                        <a:pt x="106108" y="865035"/>
                      </a:lnTo>
                      <a:lnTo>
                        <a:pt x="106400" y="866305"/>
                      </a:lnTo>
                      <a:lnTo>
                        <a:pt x="87680" y="866305"/>
                      </a:lnTo>
                      <a:lnTo>
                        <a:pt x="86791" y="867575"/>
                      </a:lnTo>
                      <a:lnTo>
                        <a:pt x="86055" y="868845"/>
                      </a:lnTo>
                      <a:lnTo>
                        <a:pt x="85026" y="871385"/>
                      </a:lnTo>
                      <a:lnTo>
                        <a:pt x="82918" y="868845"/>
                      </a:lnTo>
                      <a:lnTo>
                        <a:pt x="79349" y="865035"/>
                      </a:lnTo>
                      <a:lnTo>
                        <a:pt x="76365" y="862495"/>
                      </a:lnTo>
                      <a:lnTo>
                        <a:pt x="76339" y="863765"/>
                      </a:lnTo>
                      <a:lnTo>
                        <a:pt x="73507" y="863765"/>
                      </a:lnTo>
                      <a:lnTo>
                        <a:pt x="73012" y="867575"/>
                      </a:lnTo>
                      <a:lnTo>
                        <a:pt x="72809" y="870115"/>
                      </a:lnTo>
                      <a:lnTo>
                        <a:pt x="72339" y="872655"/>
                      </a:lnTo>
                      <a:lnTo>
                        <a:pt x="72136" y="872655"/>
                      </a:lnTo>
                      <a:lnTo>
                        <a:pt x="71932" y="873925"/>
                      </a:lnTo>
                      <a:lnTo>
                        <a:pt x="71348" y="875195"/>
                      </a:lnTo>
                      <a:lnTo>
                        <a:pt x="69900" y="875195"/>
                      </a:lnTo>
                      <a:lnTo>
                        <a:pt x="67195" y="876465"/>
                      </a:lnTo>
                      <a:lnTo>
                        <a:pt x="65836" y="876465"/>
                      </a:lnTo>
                      <a:lnTo>
                        <a:pt x="69494" y="890435"/>
                      </a:lnTo>
                      <a:lnTo>
                        <a:pt x="69011" y="890435"/>
                      </a:lnTo>
                      <a:lnTo>
                        <a:pt x="68580" y="891705"/>
                      </a:lnTo>
                      <a:lnTo>
                        <a:pt x="68262" y="891705"/>
                      </a:lnTo>
                      <a:lnTo>
                        <a:pt x="69557" y="892975"/>
                      </a:lnTo>
                      <a:lnTo>
                        <a:pt x="71132" y="895515"/>
                      </a:lnTo>
                      <a:lnTo>
                        <a:pt x="72771" y="896785"/>
                      </a:lnTo>
                      <a:lnTo>
                        <a:pt x="72885" y="895515"/>
                      </a:lnTo>
                      <a:lnTo>
                        <a:pt x="74168" y="895515"/>
                      </a:lnTo>
                      <a:lnTo>
                        <a:pt x="74663" y="896785"/>
                      </a:lnTo>
                      <a:lnTo>
                        <a:pt x="76873" y="898055"/>
                      </a:lnTo>
                      <a:lnTo>
                        <a:pt x="77685" y="900595"/>
                      </a:lnTo>
                      <a:lnTo>
                        <a:pt x="78028" y="903135"/>
                      </a:lnTo>
                      <a:lnTo>
                        <a:pt x="78460" y="905675"/>
                      </a:lnTo>
                      <a:lnTo>
                        <a:pt x="78714" y="908215"/>
                      </a:lnTo>
                      <a:lnTo>
                        <a:pt x="78308" y="909485"/>
                      </a:lnTo>
                      <a:lnTo>
                        <a:pt x="78193" y="910755"/>
                      </a:lnTo>
                      <a:lnTo>
                        <a:pt x="76454" y="913295"/>
                      </a:lnTo>
                      <a:lnTo>
                        <a:pt x="77012" y="913295"/>
                      </a:lnTo>
                      <a:lnTo>
                        <a:pt x="77571" y="914565"/>
                      </a:lnTo>
                      <a:lnTo>
                        <a:pt x="78168" y="914565"/>
                      </a:lnTo>
                      <a:lnTo>
                        <a:pt x="78867" y="915835"/>
                      </a:lnTo>
                      <a:lnTo>
                        <a:pt x="79590" y="915835"/>
                      </a:lnTo>
                      <a:lnTo>
                        <a:pt x="80225" y="917105"/>
                      </a:lnTo>
                      <a:lnTo>
                        <a:pt x="81534" y="915835"/>
                      </a:lnTo>
                      <a:lnTo>
                        <a:pt x="82778" y="914565"/>
                      </a:lnTo>
                      <a:lnTo>
                        <a:pt x="83375" y="913295"/>
                      </a:lnTo>
                      <a:lnTo>
                        <a:pt x="85699" y="913295"/>
                      </a:lnTo>
                      <a:lnTo>
                        <a:pt x="86677" y="914565"/>
                      </a:lnTo>
                      <a:lnTo>
                        <a:pt x="88430" y="917105"/>
                      </a:lnTo>
                      <a:lnTo>
                        <a:pt x="88607" y="918375"/>
                      </a:lnTo>
                      <a:lnTo>
                        <a:pt x="88823" y="917105"/>
                      </a:lnTo>
                      <a:lnTo>
                        <a:pt x="89496" y="915835"/>
                      </a:lnTo>
                      <a:lnTo>
                        <a:pt x="91287" y="914565"/>
                      </a:lnTo>
                      <a:lnTo>
                        <a:pt x="96951" y="914565"/>
                      </a:lnTo>
                      <a:lnTo>
                        <a:pt x="98564" y="913295"/>
                      </a:lnTo>
                      <a:lnTo>
                        <a:pt x="100863" y="915835"/>
                      </a:lnTo>
                      <a:lnTo>
                        <a:pt x="102743" y="915835"/>
                      </a:lnTo>
                      <a:lnTo>
                        <a:pt x="102654" y="914565"/>
                      </a:lnTo>
                      <a:lnTo>
                        <a:pt x="103936" y="913295"/>
                      </a:lnTo>
                      <a:lnTo>
                        <a:pt x="106756" y="913295"/>
                      </a:lnTo>
                      <a:lnTo>
                        <a:pt x="107670" y="912025"/>
                      </a:lnTo>
                      <a:lnTo>
                        <a:pt x="108419" y="910755"/>
                      </a:lnTo>
                      <a:lnTo>
                        <a:pt x="107543" y="910755"/>
                      </a:lnTo>
                      <a:lnTo>
                        <a:pt x="107873" y="909485"/>
                      </a:lnTo>
                      <a:lnTo>
                        <a:pt x="109791" y="909485"/>
                      </a:lnTo>
                      <a:lnTo>
                        <a:pt x="112280" y="910755"/>
                      </a:lnTo>
                      <a:lnTo>
                        <a:pt x="113398" y="913295"/>
                      </a:lnTo>
                      <a:lnTo>
                        <a:pt x="115062" y="915835"/>
                      </a:lnTo>
                      <a:lnTo>
                        <a:pt x="115239" y="917105"/>
                      </a:lnTo>
                      <a:lnTo>
                        <a:pt x="115316" y="918375"/>
                      </a:lnTo>
                      <a:lnTo>
                        <a:pt x="115062" y="919645"/>
                      </a:lnTo>
                      <a:lnTo>
                        <a:pt x="114858" y="919645"/>
                      </a:lnTo>
                      <a:lnTo>
                        <a:pt x="114922" y="920915"/>
                      </a:lnTo>
                      <a:lnTo>
                        <a:pt x="115328" y="922185"/>
                      </a:lnTo>
                      <a:lnTo>
                        <a:pt x="115519" y="920915"/>
                      </a:lnTo>
                      <a:lnTo>
                        <a:pt x="117475" y="922185"/>
                      </a:lnTo>
                      <a:lnTo>
                        <a:pt x="120726" y="924725"/>
                      </a:lnTo>
                      <a:lnTo>
                        <a:pt x="121056" y="925995"/>
                      </a:lnTo>
                      <a:lnTo>
                        <a:pt x="121183" y="926274"/>
                      </a:lnTo>
                      <a:lnTo>
                        <a:pt x="120967" y="927265"/>
                      </a:lnTo>
                      <a:lnTo>
                        <a:pt x="119684" y="927265"/>
                      </a:lnTo>
                      <a:lnTo>
                        <a:pt x="118821" y="928535"/>
                      </a:lnTo>
                      <a:lnTo>
                        <a:pt x="118059" y="929805"/>
                      </a:lnTo>
                      <a:lnTo>
                        <a:pt x="116941" y="931075"/>
                      </a:lnTo>
                      <a:lnTo>
                        <a:pt x="119634" y="931075"/>
                      </a:lnTo>
                      <a:lnTo>
                        <a:pt x="119570" y="929805"/>
                      </a:lnTo>
                      <a:lnTo>
                        <a:pt x="122034" y="929805"/>
                      </a:lnTo>
                      <a:lnTo>
                        <a:pt x="123037" y="932345"/>
                      </a:lnTo>
                      <a:lnTo>
                        <a:pt x="122567" y="936155"/>
                      </a:lnTo>
                      <a:lnTo>
                        <a:pt x="122809" y="937425"/>
                      </a:lnTo>
                      <a:lnTo>
                        <a:pt x="122999" y="938695"/>
                      </a:lnTo>
                      <a:lnTo>
                        <a:pt x="123659" y="938695"/>
                      </a:lnTo>
                      <a:lnTo>
                        <a:pt x="123964" y="939965"/>
                      </a:lnTo>
                      <a:lnTo>
                        <a:pt x="124510" y="939965"/>
                      </a:lnTo>
                      <a:lnTo>
                        <a:pt x="125501" y="941235"/>
                      </a:lnTo>
                      <a:lnTo>
                        <a:pt x="126072" y="942505"/>
                      </a:lnTo>
                      <a:lnTo>
                        <a:pt x="127774" y="942505"/>
                      </a:lnTo>
                      <a:lnTo>
                        <a:pt x="129349" y="941235"/>
                      </a:lnTo>
                      <a:lnTo>
                        <a:pt x="130060" y="941235"/>
                      </a:lnTo>
                      <a:lnTo>
                        <a:pt x="130213" y="939965"/>
                      </a:lnTo>
                      <a:lnTo>
                        <a:pt x="130429" y="939965"/>
                      </a:lnTo>
                      <a:lnTo>
                        <a:pt x="131140" y="938695"/>
                      </a:lnTo>
                      <a:lnTo>
                        <a:pt x="133515" y="938695"/>
                      </a:lnTo>
                      <a:lnTo>
                        <a:pt x="134734" y="939965"/>
                      </a:lnTo>
                      <a:lnTo>
                        <a:pt x="135877" y="941235"/>
                      </a:lnTo>
                      <a:lnTo>
                        <a:pt x="136550" y="941235"/>
                      </a:lnTo>
                      <a:lnTo>
                        <a:pt x="138569" y="942505"/>
                      </a:lnTo>
                      <a:lnTo>
                        <a:pt x="140855" y="942505"/>
                      </a:lnTo>
                      <a:lnTo>
                        <a:pt x="140970" y="941235"/>
                      </a:lnTo>
                      <a:lnTo>
                        <a:pt x="142303" y="939965"/>
                      </a:lnTo>
                      <a:lnTo>
                        <a:pt x="145834" y="939965"/>
                      </a:lnTo>
                      <a:lnTo>
                        <a:pt x="145656" y="938695"/>
                      </a:lnTo>
                      <a:lnTo>
                        <a:pt x="145275" y="937425"/>
                      </a:lnTo>
                      <a:lnTo>
                        <a:pt x="146392" y="934885"/>
                      </a:lnTo>
                      <a:lnTo>
                        <a:pt x="147383" y="936155"/>
                      </a:lnTo>
                      <a:lnTo>
                        <a:pt x="149669" y="937425"/>
                      </a:lnTo>
                      <a:lnTo>
                        <a:pt x="148209" y="934885"/>
                      </a:lnTo>
                      <a:lnTo>
                        <a:pt x="151688" y="934885"/>
                      </a:lnTo>
                      <a:lnTo>
                        <a:pt x="151790" y="938695"/>
                      </a:lnTo>
                      <a:lnTo>
                        <a:pt x="151676" y="941235"/>
                      </a:lnTo>
                      <a:lnTo>
                        <a:pt x="152806" y="942505"/>
                      </a:lnTo>
                      <a:lnTo>
                        <a:pt x="155829" y="942505"/>
                      </a:lnTo>
                      <a:lnTo>
                        <a:pt x="156337" y="941235"/>
                      </a:lnTo>
                      <a:lnTo>
                        <a:pt x="156857" y="941235"/>
                      </a:lnTo>
                      <a:lnTo>
                        <a:pt x="158318" y="938695"/>
                      </a:lnTo>
                      <a:lnTo>
                        <a:pt x="162191" y="938695"/>
                      </a:lnTo>
                      <a:lnTo>
                        <a:pt x="162344" y="937704"/>
                      </a:lnTo>
                      <a:lnTo>
                        <a:pt x="162306" y="938593"/>
                      </a:lnTo>
                      <a:lnTo>
                        <a:pt x="162433" y="938466"/>
                      </a:lnTo>
                      <a:lnTo>
                        <a:pt x="162560" y="938593"/>
                      </a:lnTo>
                      <a:lnTo>
                        <a:pt x="163372" y="938847"/>
                      </a:lnTo>
                      <a:lnTo>
                        <a:pt x="164223" y="939228"/>
                      </a:lnTo>
                      <a:lnTo>
                        <a:pt x="165049" y="939736"/>
                      </a:lnTo>
                      <a:lnTo>
                        <a:pt x="167068" y="940498"/>
                      </a:lnTo>
                      <a:lnTo>
                        <a:pt x="169951" y="945705"/>
                      </a:lnTo>
                      <a:lnTo>
                        <a:pt x="170789" y="947483"/>
                      </a:lnTo>
                      <a:lnTo>
                        <a:pt x="173151" y="948626"/>
                      </a:lnTo>
                      <a:lnTo>
                        <a:pt x="174244" y="948753"/>
                      </a:lnTo>
                      <a:lnTo>
                        <a:pt x="176504" y="949642"/>
                      </a:lnTo>
                      <a:lnTo>
                        <a:pt x="179260" y="950658"/>
                      </a:lnTo>
                      <a:lnTo>
                        <a:pt x="180822" y="948626"/>
                      </a:lnTo>
                      <a:lnTo>
                        <a:pt x="182867" y="947102"/>
                      </a:lnTo>
                      <a:lnTo>
                        <a:pt x="185115" y="946213"/>
                      </a:lnTo>
                      <a:lnTo>
                        <a:pt x="187071" y="945578"/>
                      </a:lnTo>
                      <a:lnTo>
                        <a:pt x="189179" y="945324"/>
                      </a:lnTo>
                      <a:lnTo>
                        <a:pt x="191452" y="945578"/>
                      </a:lnTo>
                      <a:lnTo>
                        <a:pt x="192887" y="945324"/>
                      </a:lnTo>
                      <a:lnTo>
                        <a:pt x="194792" y="945705"/>
                      </a:lnTo>
                      <a:lnTo>
                        <a:pt x="195402" y="946086"/>
                      </a:lnTo>
                      <a:lnTo>
                        <a:pt x="195808" y="948245"/>
                      </a:lnTo>
                      <a:lnTo>
                        <a:pt x="198412" y="948753"/>
                      </a:lnTo>
                      <a:lnTo>
                        <a:pt x="199390" y="950404"/>
                      </a:lnTo>
                      <a:lnTo>
                        <a:pt x="200240" y="952690"/>
                      </a:lnTo>
                      <a:lnTo>
                        <a:pt x="200901" y="952817"/>
                      </a:lnTo>
                      <a:lnTo>
                        <a:pt x="201206" y="952944"/>
                      </a:lnTo>
                      <a:lnTo>
                        <a:pt x="201485" y="952944"/>
                      </a:lnTo>
                      <a:lnTo>
                        <a:pt x="201790" y="952817"/>
                      </a:lnTo>
                      <a:lnTo>
                        <a:pt x="202209" y="952817"/>
                      </a:lnTo>
                      <a:lnTo>
                        <a:pt x="202539" y="952563"/>
                      </a:lnTo>
                      <a:lnTo>
                        <a:pt x="202590" y="952182"/>
                      </a:lnTo>
                      <a:lnTo>
                        <a:pt x="202641" y="952309"/>
                      </a:lnTo>
                      <a:lnTo>
                        <a:pt x="202666" y="952182"/>
                      </a:lnTo>
                      <a:lnTo>
                        <a:pt x="202730" y="951928"/>
                      </a:lnTo>
                      <a:lnTo>
                        <a:pt x="201066" y="948626"/>
                      </a:lnTo>
                      <a:lnTo>
                        <a:pt x="201079" y="947102"/>
                      </a:lnTo>
                      <a:lnTo>
                        <a:pt x="201295" y="945324"/>
                      </a:lnTo>
                      <a:lnTo>
                        <a:pt x="201599" y="942784"/>
                      </a:lnTo>
                      <a:lnTo>
                        <a:pt x="200736" y="940117"/>
                      </a:lnTo>
                      <a:lnTo>
                        <a:pt x="200202" y="938466"/>
                      </a:lnTo>
                      <a:lnTo>
                        <a:pt x="199923" y="937577"/>
                      </a:lnTo>
                      <a:lnTo>
                        <a:pt x="198716" y="933259"/>
                      </a:lnTo>
                      <a:lnTo>
                        <a:pt x="200571" y="931481"/>
                      </a:lnTo>
                      <a:lnTo>
                        <a:pt x="200545" y="930211"/>
                      </a:lnTo>
                      <a:lnTo>
                        <a:pt x="201231" y="930719"/>
                      </a:lnTo>
                      <a:lnTo>
                        <a:pt x="207441" y="930719"/>
                      </a:lnTo>
                      <a:lnTo>
                        <a:pt x="214058" y="930211"/>
                      </a:lnTo>
                      <a:lnTo>
                        <a:pt x="219011" y="929957"/>
                      </a:lnTo>
                      <a:lnTo>
                        <a:pt x="228041" y="929957"/>
                      </a:lnTo>
                      <a:lnTo>
                        <a:pt x="233641" y="930592"/>
                      </a:lnTo>
                      <a:lnTo>
                        <a:pt x="234340" y="929957"/>
                      </a:lnTo>
                      <a:lnTo>
                        <a:pt x="235483" y="928941"/>
                      </a:lnTo>
                      <a:lnTo>
                        <a:pt x="237667" y="927544"/>
                      </a:lnTo>
                      <a:lnTo>
                        <a:pt x="240233" y="928560"/>
                      </a:lnTo>
                      <a:lnTo>
                        <a:pt x="240271" y="928433"/>
                      </a:lnTo>
                      <a:lnTo>
                        <a:pt x="247205" y="929830"/>
                      </a:lnTo>
                      <a:lnTo>
                        <a:pt x="250723" y="930084"/>
                      </a:lnTo>
                      <a:lnTo>
                        <a:pt x="254127" y="929830"/>
                      </a:lnTo>
                      <a:lnTo>
                        <a:pt x="254355" y="930084"/>
                      </a:lnTo>
                      <a:lnTo>
                        <a:pt x="256209" y="929830"/>
                      </a:lnTo>
                      <a:lnTo>
                        <a:pt x="257149" y="929576"/>
                      </a:lnTo>
                      <a:lnTo>
                        <a:pt x="256324" y="928687"/>
                      </a:lnTo>
                      <a:lnTo>
                        <a:pt x="256387" y="928433"/>
                      </a:lnTo>
                      <a:lnTo>
                        <a:pt x="256425" y="928306"/>
                      </a:lnTo>
                      <a:lnTo>
                        <a:pt x="256844" y="927798"/>
                      </a:lnTo>
                      <a:lnTo>
                        <a:pt x="256984" y="927544"/>
                      </a:lnTo>
                      <a:lnTo>
                        <a:pt x="257263" y="927036"/>
                      </a:lnTo>
                      <a:lnTo>
                        <a:pt x="258267" y="926147"/>
                      </a:lnTo>
                      <a:lnTo>
                        <a:pt x="259207" y="925512"/>
                      </a:lnTo>
                      <a:lnTo>
                        <a:pt x="259969" y="924750"/>
                      </a:lnTo>
                      <a:lnTo>
                        <a:pt x="260807" y="923988"/>
                      </a:lnTo>
                      <a:lnTo>
                        <a:pt x="262102" y="923480"/>
                      </a:lnTo>
                      <a:lnTo>
                        <a:pt x="262851" y="923480"/>
                      </a:lnTo>
                      <a:lnTo>
                        <a:pt x="263664" y="923607"/>
                      </a:lnTo>
                      <a:lnTo>
                        <a:pt x="264845" y="923607"/>
                      </a:lnTo>
                      <a:lnTo>
                        <a:pt x="266077" y="923861"/>
                      </a:lnTo>
                      <a:lnTo>
                        <a:pt x="269938" y="924115"/>
                      </a:lnTo>
                      <a:lnTo>
                        <a:pt x="270789" y="923607"/>
                      </a:lnTo>
                      <a:lnTo>
                        <a:pt x="270941" y="923480"/>
                      </a:lnTo>
                      <a:lnTo>
                        <a:pt x="274269" y="920813"/>
                      </a:lnTo>
                      <a:lnTo>
                        <a:pt x="275602" y="919035"/>
                      </a:lnTo>
                      <a:lnTo>
                        <a:pt x="275704" y="917130"/>
                      </a:lnTo>
                      <a:lnTo>
                        <a:pt x="275374" y="916749"/>
                      </a:lnTo>
                      <a:lnTo>
                        <a:pt x="275412" y="916622"/>
                      </a:lnTo>
                      <a:lnTo>
                        <a:pt x="275323" y="916457"/>
                      </a:lnTo>
                      <a:lnTo>
                        <a:pt x="275374" y="912647"/>
                      </a:lnTo>
                      <a:lnTo>
                        <a:pt x="277469" y="912647"/>
                      </a:lnTo>
                      <a:lnTo>
                        <a:pt x="279107" y="911377"/>
                      </a:lnTo>
                      <a:lnTo>
                        <a:pt x="280060" y="911377"/>
                      </a:lnTo>
                      <a:lnTo>
                        <a:pt x="281393" y="910107"/>
                      </a:lnTo>
                      <a:lnTo>
                        <a:pt x="281749" y="910107"/>
                      </a:lnTo>
                      <a:lnTo>
                        <a:pt x="282079" y="911377"/>
                      </a:lnTo>
                      <a:lnTo>
                        <a:pt x="284683" y="913917"/>
                      </a:lnTo>
                      <a:lnTo>
                        <a:pt x="287121" y="916457"/>
                      </a:lnTo>
                      <a:lnTo>
                        <a:pt x="291566" y="920267"/>
                      </a:lnTo>
                      <a:lnTo>
                        <a:pt x="292709" y="920267"/>
                      </a:lnTo>
                      <a:lnTo>
                        <a:pt x="292925" y="917727"/>
                      </a:lnTo>
                      <a:lnTo>
                        <a:pt x="292900" y="913917"/>
                      </a:lnTo>
                      <a:lnTo>
                        <a:pt x="293433" y="911377"/>
                      </a:lnTo>
                      <a:lnTo>
                        <a:pt x="293446" y="910107"/>
                      </a:lnTo>
                      <a:lnTo>
                        <a:pt x="293662" y="910107"/>
                      </a:lnTo>
                      <a:lnTo>
                        <a:pt x="293776" y="908837"/>
                      </a:lnTo>
                      <a:lnTo>
                        <a:pt x="293916" y="908837"/>
                      </a:lnTo>
                      <a:lnTo>
                        <a:pt x="294373" y="907567"/>
                      </a:lnTo>
                      <a:lnTo>
                        <a:pt x="294817" y="907567"/>
                      </a:lnTo>
                      <a:lnTo>
                        <a:pt x="295783" y="906297"/>
                      </a:lnTo>
                      <a:lnTo>
                        <a:pt x="299847" y="898677"/>
                      </a:lnTo>
                      <a:lnTo>
                        <a:pt x="300037" y="898677"/>
                      </a:lnTo>
                      <a:lnTo>
                        <a:pt x="300151" y="896137"/>
                      </a:lnTo>
                      <a:lnTo>
                        <a:pt x="301548" y="893597"/>
                      </a:lnTo>
                      <a:lnTo>
                        <a:pt x="305435" y="892327"/>
                      </a:lnTo>
                      <a:lnTo>
                        <a:pt x="307327" y="891057"/>
                      </a:lnTo>
                      <a:lnTo>
                        <a:pt x="311315" y="891057"/>
                      </a:lnTo>
                      <a:lnTo>
                        <a:pt x="319493" y="888517"/>
                      </a:lnTo>
                      <a:lnTo>
                        <a:pt x="321818" y="888517"/>
                      </a:lnTo>
                      <a:lnTo>
                        <a:pt x="324243" y="889787"/>
                      </a:lnTo>
                      <a:lnTo>
                        <a:pt x="327672" y="891057"/>
                      </a:lnTo>
                      <a:lnTo>
                        <a:pt x="330200" y="891057"/>
                      </a:lnTo>
                      <a:lnTo>
                        <a:pt x="332270" y="892327"/>
                      </a:lnTo>
                      <a:lnTo>
                        <a:pt x="332841" y="893597"/>
                      </a:lnTo>
                      <a:lnTo>
                        <a:pt x="333667" y="893597"/>
                      </a:lnTo>
                      <a:lnTo>
                        <a:pt x="334479" y="894867"/>
                      </a:lnTo>
                      <a:lnTo>
                        <a:pt x="341541" y="901217"/>
                      </a:lnTo>
                      <a:lnTo>
                        <a:pt x="343877" y="901217"/>
                      </a:lnTo>
                      <a:lnTo>
                        <a:pt x="344893" y="899947"/>
                      </a:lnTo>
                      <a:lnTo>
                        <a:pt x="347827" y="898677"/>
                      </a:lnTo>
                      <a:lnTo>
                        <a:pt x="350431" y="897407"/>
                      </a:lnTo>
                      <a:lnTo>
                        <a:pt x="356920" y="897407"/>
                      </a:lnTo>
                      <a:lnTo>
                        <a:pt x="358914" y="898677"/>
                      </a:lnTo>
                      <a:lnTo>
                        <a:pt x="360743" y="899947"/>
                      </a:lnTo>
                      <a:lnTo>
                        <a:pt x="366026" y="902487"/>
                      </a:lnTo>
                      <a:lnTo>
                        <a:pt x="368465" y="902487"/>
                      </a:lnTo>
                      <a:lnTo>
                        <a:pt x="370865" y="903757"/>
                      </a:lnTo>
                      <a:lnTo>
                        <a:pt x="375297" y="903757"/>
                      </a:lnTo>
                      <a:lnTo>
                        <a:pt x="377748" y="905027"/>
                      </a:lnTo>
                      <a:lnTo>
                        <a:pt x="378536" y="905027"/>
                      </a:lnTo>
                      <a:lnTo>
                        <a:pt x="380022" y="903757"/>
                      </a:lnTo>
                      <a:lnTo>
                        <a:pt x="381685" y="901217"/>
                      </a:lnTo>
                      <a:lnTo>
                        <a:pt x="383311" y="899947"/>
                      </a:lnTo>
                      <a:lnTo>
                        <a:pt x="385521" y="898677"/>
                      </a:lnTo>
                      <a:lnTo>
                        <a:pt x="387388" y="897407"/>
                      </a:lnTo>
                      <a:lnTo>
                        <a:pt x="389305" y="897407"/>
                      </a:lnTo>
                      <a:lnTo>
                        <a:pt x="390906" y="896137"/>
                      </a:lnTo>
                      <a:lnTo>
                        <a:pt x="406666" y="896137"/>
                      </a:lnTo>
                      <a:lnTo>
                        <a:pt x="418592" y="901217"/>
                      </a:lnTo>
                      <a:lnTo>
                        <a:pt x="418744" y="899947"/>
                      </a:lnTo>
                      <a:lnTo>
                        <a:pt x="418934" y="899947"/>
                      </a:lnTo>
                      <a:lnTo>
                        <a:pt x="422973" y="896137"/>
                      </a:lnTo>
                      <a:lnTo>
                        <a:pt x="424332" y="894867"/>
                      </a:lnTo>
                      <a:lnTo>
                        <a:pt x="424992" y="894867"/>
                      </a:lnTo>
                      <a:lnTo>
                        <a:pt x="426008" y="893597"/>
                      </a:lnTo>
                      <a:lnTo>
                        <a:pt x="427062" y="893597"/>
                      </a:lnTo>
                      <a:lnTo>
                        <a:pt x="428790" y="892327"/>
                      </a:lnTo>
                      <a:lnTo>
                        <a:pt x="430923" y="892327"/>
                      </a:lnTo>
                      <a:lnTo>
                        <a:pt x="432866" y="891057"/>
                      </a:lnTo>
                      <a:lnTo>
                        <a:pt x="436473" y="891057"/>
                      </a:lnTo>
                      <a:lnTo>
                        <a:pt x="436651" y="891387"/>
                      </a:lnTo>
                      <a:lnTo>
                        <a:pt x="436867" y="891387"/>
                      </a:lnTo>
                      <a:lnTo>
                        <a:pt x="437032" y="892657"/>
                      </a:lnTo>
                      <a:lnTo>
                        <a:pt x="437299" y="892657"/>
                      </a:lnTo>
                      <a:lnTo>
                        <a:pt x="437934" y="893927"/>
                      </a:lnTo>
                      <a:lnTo>
                        <a:pt x="438454" y="895197"/>
                      </a:lnTo>
                      <a:lnTo>
                        <a:pt x="442658" y="900277"/>
                      </a:lnTo>
                      <a:lnTo>
                        <a:pt x="448233" y="901547"/>
                      </a:lnTo>
                      <a:lnTo>
                        <a:pt x="448932" y="901547"/>
                      </a:lnTo>
                      <a:lnTo>
                        <a:pt x="449173" y="904087"/>
                      </a:lnTo>
                      <a:lnTo>
                        <a:pt x="449364" y="904087"/>
                      </a:lnTo>
                      <a:lnTo>
                        <a:pt x="449402" y="905357"/>
                      </a:lnTo>
                      <a:lnTo>
                        <a:pt x="450303" y="905357"/>
                      </a:lnTo>
                      <a:lnTo>
                        <a:pt x="452882" y="906627"/>
                      </a:lnTo>
                      <a:lnTo>
                        <a:pt x="453656" y="909167"/>
                      </a:lnTo>
                      <a:lnTo>
                        <a:pt x="454050" y="911707"/>
                      </a:lnTo>
                      <a:lnTo>
                        <a:pt x="454596" y="912977"/>
                      </a:lnTo>
                      <a:lnTo>
                        <a:pt x="455434" y="915517"/>
                      </a:lnTo>
                      <a:lnTo>
                        <a:pt x="456209" y="916787"/>
                      </a:lnTo>
                      <a:lnTo>
                        <a:pt x="456539" y="918057"/>
                      </a:lnTo>
                      <a:lnTo>
                        <a:pt x="456742" y="918057"/>
                      </a:lnTo>
                      <a:lnTo>
                        <a:pt x="457098" y="919327"/>
                      </a:lnTo>
                      <a:lnTo>
                        <a:pt x="457454" y="921867"/>
                      </a:lnTo>
                      <a:lnTo>
                        <a:pt x="457581" y="921867"/>
                      </a:lnTo>
                      <a:lnTo>
                        <a:pt x="457746" y="923137"/>
                      </a:lnTo>
                      <a:lnTo>
                        <a:pt x="457606" y="924407"/>
                      </a:lnTo>
                      <a:lnTo>
                        <a:pt x="457365" y="924407"/>
                      </a:lnTo>
                      <a:lnTo>
                        <a:pt x="457136" y="925677"/>
                      </a:lnTo>
                      <a:lnTo>
                        <a:pt x="456831" y="926947"/>
                      </a:lnTo>
                      <a:lnTo>
                        <a:pt x="456349" y="929487"/>
                      </a:lnTo>
                      <a:lnTo>
                        <a:pt x="456488" y="930757"/>
                      </a:lnTo>
                      <a:lnTo>
                        <a:pt x="457301" y="934567"/>
                      </a:lnTo>
                      <a:lnTo>
                        <a:pt x="458228" y="937107"/>
                      </a:lnTo>
                      <a:lnTo>
                        <a:pt x="459994" y="939647"/>
                      </a:lnTo>
                      <a:lnTo>
                        <a:pt x="460819" y="940917"/>
                      </a:lnTo>
                      <a:lnTo>
                        <a:pt x="461695" y="942187"/>
                      </a:lnTo>
                      <a:lnTo>
                        <a:pt x="463397" y="943457"/>
                      </a:lnTo>
                      <a:lnTo>
                        <a:pt x="464400" y="944727"/>
                      </a:lnTo>
                      <a:lnTo>
                        <a:pt x="465416" y="944727"/>
                      </a:lnTo>
                      <a:lnTo>
                        <a:pt x="463003" y="945997"/>
                      </a:lnTo>
                      <a:lnTo>
                        <a:pt x="450329" y="945997"/>
                      </a:lnTo>
                      <a:lnTo>
                        <a:pt x="448424" y="944727"/>
                      </a:lnTo>
                      <a:lnTo>
                        <a:pt x="447014" y="945997"/>
                      </a:lnTo>
                      <a:lnTo>
                        <a:pt x="443687" y="945997"/>
                      </a:lnTo>
                      <a:lnTo>
                        <a:pt x="443318" y="947267"/>
                      </a:lnTo>
                      <a:lnTo>
                        <a:pt x="440601" y="951077"/>
                      </a:lnTo>
                      <a:lnTo>
                        <a:pt x="441490" y="951077"/>
                      </a:lnTo>
                      <a:lnTo>
                        <a:pt x="449021" y="958697"/>
                      </a:lnTo>
                      <a:lnTo>
                        <a:pt x="453644" y="961237"/>
                      </a:lnTo>
                      <a:lnTo>
                        <a:pt x="457441" y="966317"/>
                      </a:lnTo>
                      <a:lnTo>
                        <a:pt x="458851" y="967587"/>
                      </a:lnTo>
                      <a:lnTo>
                        <a:pt x="461111" y="972667"/>
                      </a:lnTo>
                      <a:lnTo>
                        <a:pt x="461810" y="973937"/>
                      </a:lnTo>
                      <a:lnTo>
                        <a:pt x="462470" y="976477"/>
                      </a:lnTo>
                      <a:lnTo>
                        <a:pt x="463473" y="977747"/>
                      </a:lnTo>
                      <a:lnTo>
                        <a:pt x="464019" y="977747"/>
                      </a:lnTo>
                      <a:lnTo>
                        <a:pt x="463778" y="979017"/>
                      </a:lnTo>
                      <a:lnTo>
                        <a:pt x="463334" y="980287"/>
                      </a:lnTo>
                      <a:lnTo>
                        <a:pt x="463461" y="980287"/>
                      </a:lnTo>
                      <a:lnTo>
                        <a:pt x="462965" y="980376"/>
                      </a:lnTo>
                      <a:lnTo>
                        <a:pt x="462457" y="980884"/>
                      </a:lnTo>
                      <a:lnTo>
                        <a:pt x="461886" y="981392"/>
                      </a:lnTo>
                      <a:lnTo>
                        <a:pt x="460997" y="982027"/>
                      </a:lnTo>
                      <a:lnTo>
                        <a:pt x="460171" y="982916"/>
                      </a:lnTo>
                      <a:lnTo>
                        <a:pt x="459219" y="984694"/>
                      </a:lnTo>
                      <a:lnTo>
                        <a:pt x="457733" y="986726"/>
                      </a:lnTo>
                      <a:lnTo>
                        <a:pt x="456666" y="989266"/>
                      </a:lnTo>
                      <a:lnTo>
                        <a:pt x="455129" y="992060"/>
                      </a:lnTo>
                      <a:lnTo>
                        <a:pt x="454266" y="994092"/>
                      </a:lnTo>
                      <a:lnTo>
                        <a:pt x="453898" y="994727"/>
                      </a:lnTo>
                      <a:lnTo>
                        <a:pt x="452018" y="998664"/>
                      </a:lnTo>
                      <a:lnTo>
                        <a:pt x="450875" y="999172"/>
                      </a:lnTo>
                      <a:lnTo>
                        <a:pt x="447624" y="1001077"/>
                      </a:lnTo>
                      <a:lnTo>
                        <a:pt x="448348" y="1001966"/>
                      </a:lnTo>
                      <a:lnTo>
                        <a:pt x="449072" y="1002601"/>
                      </a:lnTo>
                      <a:lnTo>
                        <a:pt x="449681" y="1003363"/>
                      </a:lnTo>
                      <a:lnTo>
                        <a:pt x="449707" y="1003490"/>
                      </a:lnTo>
                      <a:lnTo>
                        <a:pt x="450126" y="1003998"/>
                      </a:lnTo>
                      <a:lnTo>
                        <a:pt x="450367" y="1004760"/>
                      </a:lnTo>
                      <a:lnTo>
                        <a:pt x="450430" y="1005776"/>
                      </a:lnTo>
                      <a:lnTo>
                        <a:pt x="450430" y="1006919"/>
                      </a:lnTo>
                      <a:lnTo>
                        <a:pt x="450303" y="1008062"/>
                      </a:lnTo>
                      <a:lnTo>
                        <a:pt x="450164" y="1010094"/>
                      </a:lnTo>
                      <a:lnTo>
                        <a:pt x="449389" y="1010856"/>
                      </a:lnTo>
                      <a:lnTo>
                        <a:pt x="449389" y="1012634"/>
                      </a:lnTo>
                      <a:lnTo>
                        <a:pt x="450202" y="1014031"/>
                      </a:lnTo>
                      <a:lnTo>
                        <a:pt x="450545" y="1014793"/>
                      </a:lnTo>
                      <a:lnTo>
                        <a:pt x="451345" y="1016952"/>
                      </a:lnTo>
                      <a:lnTo>
                        <a:pt x="451637" y="1019238"/>
                      </a:lnTo>
                      <a:lnTo>
                        <a:pt x="452310" y="1022921"/>
                      </a:lnTo>
                      <a:lnTo>
                        <a:pt x="454875" y="1025207"/>
                      </a:lnTo>
                      <a:lnTo>
                        <a:pt x="457568" y="1028763"/>
                      </a:lnTo>
                      <a:lnTo>
                        <a:pt x="458152" y="1029652"/>
                      </a:lnTo>
                      <a:lnTo>
                        <a:pt x="458533" y="1030287"/>
                      </a:lnTo>
                      <a:lnTo>
                        <a:pt x="456476" y="1030668"/>
                      </a:lnTo>
                      <a:lnTo>
                        <a:pt x="458216" y="1033462"/>
                      </a:lnTo>
                      <a:lnTo>
                        <a:pt x="459689" y="1036129"/>
                      </a:lnTo>
                      <a:lnTo>
                        <a:pt x="462661" y="1038669"/>
                      </a:lnTo>
                      <a:lnTo>
                        <a:pt x="463664" y="1039558"/>
                      </a:lnTo>
                      <a:lnTo>
                        <a:pt x="463740" y="1039685"/>
                      </a:lnTo>
                      <a:lnTo>
                        <a:pt x="464845" y="1040447"/>
                      </a:lnTo>
                      <a:lnTo>
                        <a:pt x="468426" y="1043495"/>
                      </a:lnTo>
                      <a:lnTo>
                        <a:pt x="470992" y="1045908"/>
                      </a:lnTo>
                      <a:lnTo>
                        <a:pt x="471538" y="1046797"/>
                      </a:lnTo>
                      <a:lnTo>
                        <a:pt x="471576" y="1046924"/>
                      </a:lnTo>
                      <a:lnTo>
                        <a:pt x="471690" y="1050861"/>
                      </a:lnTo>
                      <a:lnTo>
                        <a:pt x="472186" y="1052512"/>
                      </a:lnTo>
                      <a:lnTo>
                        <a:pt x="473087" y="1056449"/>
                      </a:lnTo>
                      <a:lnTo>
                        <a:pt x="474637" y="1054544"/>
                      </a:lnTo>
                      <a:lnTo>
                        <a:pt x="476237" y="1050861"/>
                      </a:lnTo>
                      <a:lnTo>
                        <a:pt x="476681" y="1048067"/>
                      </a:lnTo>
                      <a:lnTo>
                        <a:pt x="477037" y="1046797"/>
                      </a:lnTo>
                      <a:lnTo>
                        <a:pt x="477278" y="1045781"/>
                      </a:lnTo>
                      <a:lnTo>
                        <a:pt x="477456" y="1043495"/>
                      </a:lnTo>
                      <a:lnTo>
                        <a:pt x="477304" y="1042733"/>
                      </a:lnTo>
                      <a:lnTo>
                        <a:pt x="477672" y="1041590"/>
                      </a:lnTo>
                      <a:lnTo>
                        <a:pt x="478053" y="1040701"/>
                      </a:lnTo>
                      <a:lnTo>
                        <a:pt x="478307" y="1039939"/>
                      </a:lnTo>
                      <a:lnTo>
                        <a:pt x="478332" y="1039431"/>
                      </a:lnTo>
                      <a:lnTo>
                        <a:pt x="478688" y="1038796"/>
                      </a:lnTo>
                      <a:lnTo>
                        <a:pt x="479272" y="1038415"/>
                      </a:lnTo>
                      <a:lnTo>
                        <a:pt x="479933" y="1038161"/>
                      </a:lnTo>
                      <a:lnTo>
                        <a:pt x="481177" y="1037780"/>
                      </a:lnTo>
                      <a:lnTo>
                        <a:pt x="483806" y="1037145"/>
                      </a:lnTo>
                      <a:lnTo>
                        <a:pt x="484022" y="1037145"/>
                      </a:lnTo>
                      <a:lnTo>
                        <a:pt x="488505" y="1036002"/>
                      </a:lnTo>
                      <a:lnTo>
                        <a:pt x="491363" y="1035621"/>
                      </a:lnTo>
                      <a:lnTo>
                        <a:pt x="497801" y="1036002"/>
                      </a:lnTo>
                      <a:lnTo>
                        <a:pt x="504164" y="1037526"/>
                      </a:lnTo>
                      <a:lnTo>
                        <a:pt x="505523" y="1036129"/>
                      </a:lnTo>
                      <a:lnTo>
                        <a:pt x="507695" y="1038415"/>
                      </a:lnTo>
                      <a:lnTo>
                        <a:pt x="507707" y="1036129"/>
                      </a:lnTo>
                      <a:lnTo>
                        <a:pt x="507657" y="1035621"/>
                      </a:lnTo>
                      <a:lnTo>
                        <a:pt x="507542" y="1034224"/>
                      </a:lnTo>
                      <a:lnTo>
                        <a:pt x="507479" y="1032065"/>
                      </a:lnTo>
                      <a:lnTo>
                        <a:pt x="507682" y="1030922"/>
                      </a:lnTo>
                      <a:lnTo>
                        <a:pt x="507568" y="1029271"/>
                      </a:lnTo>
                      <a:lnTo>
                        <a:pt x="507466" y="1028509"/>
                      </a:lnTo>
                      <a:lnTo>
                        <a:pt x="507301" y="1027874"/>
                      </a:lnTo>
                      <a:lnTo>
                        <a:pt x="507111" y="1027493"/>
                      </a:lnTo>
                      <a:lnTo>
                        <a:pt x="506310" y="1026858"/>
                      </a:lnTo>
                      <a:lnTo>
                        <a:pt x="506653" y="1025715"/>
                      </a:lnTo>
                      <a:lnTo>
                        <a:pt x="508533" y="1025969"/>
                      </a:lnTo>
                      <a:lnTo>
                        <a:pt x="508977" y="1025715"/>
                      </a:lnTo>
                      <a:lnTo>
                        <a:pt x="509879" y="1025207"/>
                      </a:lnTo>
                      <a:lnTo>
                        <a:pt x="510324" y="1024191"/>
                      </a:lnTo>
                      <a:lnTo>
                        <a:pt x="511517" y="1022413"/>
                      </a:lnTo>
                      <a:lnTo>
                        <a:pt x="512178" y="1021270"/>
                      </a:lnTo>
                      <a:lnTo>
                        <a:pt x="512953" y="1020254"/>
                      </a:lnTo>
                      <a:lnTo>
                        <a:pt x="513118" y="1019873"/>
                      </a:lnTo>
                      <a:lnTo>
                        <a:pt x="513638" y="1019111"/>
                      </a:lnTo>
                      <a:lnTo>
                        <a:pt x="514184" y="1018476"/>
                      </a:lnTo>
                      <a:lnTo>
                        <a:pt x="514870" y="1017841"/>
                      </a:lnTo>
                      <a:lnTo>
                        <a:pt x="516204" y="1016444"/>
                      </a:lnTo>
                      <a:lnTo>
                        <a:pt x="517944" y="1015301"/>
                      </a:lnTo>
                      <a:lnTo>
                        <a:pt x="520382" y="1014793"/>
                      </a:lnTo>
                      <a:lnTo>
                        <a:pt x="520534" y="1014793"/>
                      </a:lnTo>
                      <a:lnTo>
                        <a:pt x="522058" y="1014412"/>
                      </a:lnTo>
                      <a:lnTo>
                        <a:pt x="524992" y="1015174"/>
                      </a:lnTo>
                      <a:lnTo>
                        <a:pt x="525741" y="1016444"/>
                      </a:lnTo>
                      <a:lnTo>
                        <a:pt x="526211" y="1016698"/>
                      </a:lnTo>
                      <a:lnTo>
                        <a:pt x="526935" y="1016825"/>
                      </a:lnTo>
                      <a:lnTo>
                        <a:pt x="527329" y="1016952"/>
                      </a:lnTo>
                      <a:lnTo>
                        <a:pt x="533425" y="1023048"/>
                      </a:lnTo>
                      <a:lnTo>
                        <a:pt x="534390" y="1023556"/>
                      </a:lnTo>
                      <a:lnTo>
                        <a:pt x="535470" y="1024064"/>
                      </a:lnTo>
                      <a:lnTo>
                        <a:pt x="536321" y="1024318"/>
                      </a:lnTo>
                      <a:lnTo>
                        <a:pt x="537248" y="1024445"/>
                      </a:lnTo>
                      <a:lnTo>
                        <a:pt x="539927" y="1025207"/>
                      </a:lnTo>
                      <a:lnTo>
                        <a:pt x="541947" y="1025842"/>
                      </a:lnTo>
                      <a:lnTo>
                        <a:pt x="545109" y="1026604"/>
                      </a:lnTo>
                      <a:lnTo>
                        <a:pt x="546874" y="1026985"/>
                      </a:lnTo>
                      <a:lnTo>
                        <a:pt x="547116" y="1026985"/>
                      </a:lnTo>
                      <a:lnTo>
                        <a:pt x="548411" y="1027239"/>
                      </a:lnTo>
                      <a:lnTo>
                        <a:pt x="549478" y="1027366"/>
                      </a:lnTo>
                      <a:lnTo>
                        <a:pt x="552259" y="1027493"/>
                      </a:lnTo>
                      <a:lnTo>
                        <a:pt x="554024" y="1027493"/>
                      </a:lnTo>
                      <a:lnTo>
                        <a:pt x="555739" y="1027747"/>
                      </a:lnTo>
                      <a:lnTo>
                        <a:pt x="556564" y="1027747"/>
                      </a:lnTo>
                      <a:lnTo>
                        <a:pt x="556882" y="1027874"/>
                      </a:lnTo>
                      <a:lnTo>
                        <a:pt x="557009" y="1027874"/>
                      </a:lnTo>
                      <a:lnTo>
                        <a:pt x="562000" y="1029271"/>
                      </a:lnTo>
                      <a:lnTo>
                        <a:pt x="562686" y="1028636"/>
                      </a:lnTo>
                      <a:lnTo>
                        <a:pt x="562762" y="1028763"/>
                      </a:lnTo>
                      <a:lnTo>
                        <a:pt x="562775" y="1028636"/>
                      </a:lnTo>
                      <a:lnTo>
                        <a:pt x="562622" y="1027874"/>
                      </a:lnTo>
                      <a:lnTo>
                        <a:pt x="562660" y="1027493"/>
                      </a:lnTo>
                      <a:lnTo>
                        <a:pt x="565200" y="1024191"/>
                      </a:lnTo>
                      <a:lnTo>
                        <a:pt x="566801" y="1021524"/>
                      </a:lnTo>
                      <a:lnTo>
                        <a:pt x="567728" y="1020508"/>
                      </a:lnTo>
                      <a:lnTo>
                        <a:pt x="568109" y="1020127"/>
                      </a:lnTo>
                      <a:lnTo>
                        <a:pt x="568655" y="1019746"/>
                      </a:lnTo>
                      <a:lnTo>
                        <a:pt x="568998" y="1019492"/>
                      </a:lnTo>
                      <a:lnTo>
                        <a:pt x="569442" y="1019492"/>
                      </a:lnTo>
                      <a:lnTo>
                        <a:pt x="571449" y="1020254"/>
                      </a:lnTo>
                      <a:lnTo>
                        <a:pt x="573201" y="1021905"/>
                      </a:lnTo>
                      <a:lnTo>
                        <a:pt x="576846" y="1022921"/>
                      </a:lnTo>
                      <a:lnTo>
                        <a:pt x="579043" y="1021270"/>
                      </a:lnTo>
                      <a:lnTo>
                        <a:pt x="582828" y="1019492"/>
                      </a:lnTo>
                      <a:lnTo>
                        <a:pt x="589051" y="1016571"/>
                      </a:lnTo>
                      <a:lnTo>
                        <a:pt x="591451" y="1015174"/>
                      </a:lnTo>
                      <a:lnTo>
                        <a:pt x="592404" y="1015936"/>
                      </a:lnTo>
                      <a:lnTo>
                        <a:pt x="594271" y="1016952"/>
                      </a:lnTo>
                      <a:lnTo>
                        <a:pt x="593979" y="1017841"/>
                      </a:lnTo>
                      <a:lnTo>
                        <a:pt x="596315" y="1017841"/>
                      </a:lnTo>
                      <a:lnTo>
                        <a:pt x="597509" y="1017460"/>
                      </a:lnTo>
                      <a:lnTo>
                        <a:pt x="600392" y="1016825"/>
                      </a:lnTo>
                      <a:lnTo>
                        <a:pt x="603262" y="1016952"/>
                      </a:lnTo>
                      <a:lnTo>
                        <a:pt x="603300" y="1016825"/>
                      </a:lnTo>
                      <a:lnTo>
                        <a:pt x="603821" y="1015174"/>
                      </a:lnTo>
                      <a:lnTo>
                        <a:pt x="603808" y="1014412"/>
                      </a:lnTo>
                      <a:lnTo>
                        <a:pt x="603707" y="1014158"/>
                      </a:lnTo>
                      <a:lnTo>
                        <a:pt x="603338" y="1013650"/>
                      </a:lnTo>
                      <a:lnTo>
                        <a:pt x="604469" y="1011872"/>
                      </a:lnTo>
                      <a:lnTo>
                        <a:pt x="605142" y="1011618"/>
                      </a:lnTo>
                      <a:lnTo>
                        <a:pt x="605866" y="1011618"/>
                      </a:lnTo>
                      <a:lnTo>
                        <a:pt x="606552" y="1011491"/>
                      </a:lnTo>
                      <a:lnTo>
                        <a:pt x="607275" y="1011491"/>
                      </a:lnTo>
                      <a:lnTo>
                        <a:pt x="610057" y="1013142"/>
                      </a:lnTo>
                      <a:lnTo>
                        <a:pt x="611035" y="1014539"/>
                      </a:lnTo>
                      <a:lnTo>
                        <a:pt x="614337" y="1013396"/>
                      </a:lnTo>
                      <a:lnTo>
                        <a:pt x="615022" y="1013396"/>
                      </a:lnTo>
                      <a:lnTo>
                        <a:pt x="615670" y="1013523"/>
                      </a:lnTo>
                      <a:lnTo>
                        <a:pt x="616470" y="1013650"/>
                      </a:lnTo>
                      <a:lnTo>
                        <a:pt x="620687" y="1015936"/>
                      </a:lnTo>
                      <a:lnTo>
                        <a:pt x="623887" y="1015301"/>
                      </a:lnTo>
                      <a:lnTo>
                        <a:pt x="625894" y="1014539"/>
                      </a:lnTo>
                      <a:lnTo>
                        <a:pt x="627926" y="1013523"/>
                      </a:lnTo>
                      <a:lnTo>
                        <a:pt x="631228" y="1014793"/>
                      </a:lnTo>
                      <a:lnTo>
                        <a:pt x="631786" y="1015174"/>
                      </a:lnTo>
                      <a:lnTo>
                        <a:pt x="632460" y="1015428"/>
                      </a:lnTo>
                      <a:lnTo>
                        <a:pt x="633095" y="1016063"/>
                      </a:lnTo>
                      <a:lnTo>
                        <a:pt x="634212" y="1016317"/>
                      </a:lnTo>
                      <a:close/>
                    </a:path>
                    <a:path w="1878964" h="1228089">
                      <a:moveTo>
                        <a:pt x="644766" y="186258"/>
                      </a:moveTo>
                      <a:lnTo>
                        <a:pt x="644740" y="185699"/>
                      </a:lnTo>
                      <a:lnTo>
                        <a:pt x="644486" y="181457"/>
                      </a:lnTo>
                      <a:lnTo>
                        <a:pt x="643991" y="180594"/>
                      </a:lnTo>
                      <a:lnTo>
                        <a:pt x="643496" y="179755"/>
                      </a:lnTo>
                      <a:lnTo>
                        <a:pt x="643318" y="179451"/>
                      </a:lnTo>
                      <a:lnTo>
                        <a:pt x="643255" y="179755"/>
                      </a:lnTo>
                      <a:lnTo>
                        <a:pt x="641134" y="172466"/>
                      </a:lnTo>
                      <a:lnTo>
                        <a:pt x="641083" y="172275"/>
                      </a:lnTo>
                      <a:lnTo>
                        <a:pt x="638441" y="171373"/>
                      </a:lnTo>
                      <a:lnTo>
                        <a:pt x="636803" y="172466"/>
                      </a:lnTo>
                      <a:lnTo>
                        <a:pt x="637527" y="170738"/>
                      </a:lnTo>
                      <a:lnTo>
                        <a:pt x="637768" y="170243"/>
                      </a:lnTo>
                      <a:lnTo>
                        <a:pt x="638683" y="168313"/>
                      </a:lnTo>
                      <a:lnTo>
                        <a:pt x="637413" y="167347"/>
                      </a:lnTo>
                      <a:lnTo>
                        <a:pt x="639216" y="165354"/>
                      </a:lnTo>
                      <a:lnTo>
                        <a:pt x="640067" y="162826"/>
                      </a:lnTo>
                      <a:lnTo>
                        <a:pt x="638263" y="162458"/>
                      </a:lnTo>
                      <a:lnTo>
                        <a:pt x="634276" y="160108"/>
                      </a:lnTo>
                      <a:lnTo>
                        <a:pt x="633209" y="158673"/>
                      </a:lnTo>
                      <a:lnTo>
                        <a:pt x="633082" y="158508"/>
                      </a:lnTo>
                      <a:lnTo>
                        <a:pt x="633031" y="158280"/>
                      </a:lnTo>
                      <a:lnTo>
                        <a:pt x="632587" y="158673"/>
                      </a:lnTo>
                      <a:lnTo>
                        <a:pt x="631926" y="158508"/>
                      </a:lnTo>
                      <a:lnTo>
                        <a:pt x="628878" y="157746"/>
                      </a:lnTo>
                      <a:lnTo>
                        <a:pt x="628599" y="157543"/>
                      </a:lnTo>
                      <a:lnTo>
                        <a:pt x="627634" y="156845"/>
                      </a:lnTo>
                      <a:lnTo>
                        <a:pt x="626084" y="156400"/>
                      </a:lnTo>
                      <a:lnTo>
                        <a:pt x="625627" y="156413"/>
                      </a:lnTo>
                      <a:lnTo>
                        <a:pt x="625462" y="157289"/>
                      </a:lnTo>
                      <a:lnTo>
                        <a:pt x="624776" y="157543"/>
                      </a:lnTo>
                      <a:lnTo>
                        <a:pt x="624128" y="157226"/>
                      </a:lnTo>
                      <a:lnTo>
                        <a:pt x="623646" y="157467"/>
                      </a:lnTo>
                      <a:lnTo>
                        <a:pt x="622274" y="158280"/>
                      </a:lnTo>
                      <a:lnTo>
                        <a:pt x="621284" y="158483"/>
                      </a:lnTo>
                      <a:lnTo>
                        <a:pt x="621284" y="196126"/>
                      </a:lnTo>
                      <a:lnTo>
                        <a:pt x="620776" y="196024"/>
                      </a:lnTo>
                      <a:lnTo>
                        <a:pt x="621042" y="196062"/>
                      </a:lnTo>
                      <a:lnTo>
                        <a:pt x="621284" y="196126"/>
                      </a:lnTo>
                      <a:lnTo>
                        <a:pt x="621284" y="158483"/>
                      </a:lnTo>
                      <a:lnTo>
                        <a:pt x="621093" y="158508"/>
                      </a:lnTo>
                      <a:lnTo>
                        <a:pt x="619975" y="158178"/>
                      </a:lnTo>
                      <a:lnTo>
                        <a:pt x="619277" y="157822"/>
                      </a:lnTo>
                      <a:lnTo>
                        <a:pt x="618566" y="157340"/>
                      </a:lnTo>
                      <a:lnTo>
                        <a:pt x="618566" y="194830"/>
                      </a:lnTo>
                      <a:lnTo>
                        <a:pt x="616610" y="193294"/>
                      </a:lnTo>
                      <a:lnTo>
                        <a:pt x="615569" y="192430"/>
                      </a:lnTo>
                      <a:lnTo>
                        <a:pt x="616610" y="193294"/>
                      </a:lnTo>
                      <a:lnTo>
                        <a:pt x="618553" y="194818"/>
                      </a:lnTo>
                      <a:lnTo>
                        <a:pt x="618566" y="157340"/>
                      </a:lnTo>
                      <a:lnTo>
                        <a:pt x="618413" y="157226"/>
                      </a:lnTo>
                      <a:lnTo>
                        <a:pt x="617372" y="156375"/>
                      </a:lnTo>
                      <a:lnTo>
                        <a:pt x="616775" y="155816"/>
                      </a:lnTo>
                      <a:lnTo>
                        <a:pt x="615111" y="154381"/>
                      </a:lnTo>
                      <a:lnTo>
                        <a:pt x="614705" y="153822"/>
                      </a:lnTo>
                      <a:lnTo>
                        <a:pt x="614705" y="191744"/>
                      </a:lnTo>
                      <a:lnTo>
                        <a:pt x="614705" y="153822"/>
                      </a:lnTo>
                      <a:lnTo>
                        <a:pt x="614311" y="153276"/>
                      </a:lnTo>
                      <a:lnTo>
                        <a:pt x="613968" y="152654"/>
                      </a:lnTo>
                      <a:lnTo>
                        <a:pt x="613918" y="152057"/>
                      </a:lnTo>
                      <a:lnTo>
                        <a:pt x="611492" y="151765"/>
                      </a:lnTo>
                      <a:lnTo>
                        <a:pt x="609701" y="150520"/>
                      </a:lnTo>
                      <a:lnTo>
                        <a:pt x="607593" y="149694"/>
                      </a:lnTo>
                      <a:lnTo>
                        <a:pt x="606983" y="149364"/>
                      </a:lnTo>
                      <a:lnTo>
                        <a:pt x="605675" y="148602"/>
                      </a:lnTo>
                      <a:lnTo>
                        <a:pt x="604951" y="148399"/>
                      </a:lnTo>
                      <a:lnTo>
                        <a:pt x="604024" y="148577"/>
                      </a:lnTo>
                      <a:lnTo>
                        <a:pt x="603694" y="148539"/>
                      </a:lnTo>
                      <a:lnTo>
                        <a:pt x="601802" y="148602"/>
                      </a:lnTo>
                      <a:lnTo>
                        <a:pt x="601687" y="148437"/>
                      </a:lnTo>
                      <a:lnTo>
                        <a:pt x="600290" y="147307"/>
                      </a:lnTo>
                      <a:lnTo>
                        <a:pt x="599884" y="147535"/>
                      </a:lnTo>
                      <a:lnTo>
                        <a:pt x="599503" y="147701"/>
                      </a:lnTo>
                      <a:lnTo>
                        <a:pt x="599478" y="183997"/>
                      </a:lnTo>
                      <a:lnTo>
                        <a:pt x="598627" y="182587"/>
                      </a:lnTo>
                      <a:lnTo>
                        <a:pt x="598373" y="182041"/>
                      </a:lnTo>
                      <a:lnTo>
                        <a:pt x="599211" y="183540"/>
                      </a:lnTo>
                      <a:lnTo>
                        <a:pt x="599478" y="183997"/>
                      </a:lnTo>
                      <a:lnTo>
                        <a:pt x="599478" y="147726"/>
                      </a:lnTo>
                      <a:lnTo>
                        <a:pt x="599109" y="147916"/>
                      </a:lnTo>
                      <a:lnTo>
                        <a:pt x="598551" y="148094"/>
                      </a:lnTo>
                      <a:lnTo>
                        <a:pt x="597395" y="148780"/>
                      </a:lnTo>
                      <a:lnTo>
                        <a:pt x="597395" y="180594"/>
                      </a:lnTo>
                      <a:lnTo>
                        <a:pt x="597154" y="180721"/>
                      </a:lnTo>
                      <a:lnTo>
                        <a:pt x="596950" y="180860"/>
                      </a:lnTo>
                      <a:lnTo>
                        <a:pt x="597141" y="180721"/>
                      </a:lnTo>
                      <a:lnTo>
                        <a:pt x="597395" y="180594"/>
                      </a:lnTo>
                      <a:lnTo>
                        <a:pt x="597395" y="148780"/>
                      </a:lnTo>
                      <a:lnTo>
                        <a:pt x="596442" y="149174"/>
                      </a:lnTo>
                      <a:lnTo>
                        <a:pt x="596239" y="149250"/>
                      </a:lnTo>
                      <a:lnTo>
                        <a:pt x="596239" y="181063"/>
                      </a:lnTo>
                      <a:lnTo>
                        <a:pt x="595617" y="181356"/>
                      </a:lnTo>
                      <a:lnTo>
                        <a:pt x="596239" y="181063"/>
                      </a:lnTo>
                      <a:lnTo>
                        <a:pt x="596239" y="149250"/>
                      </a:lnTo>
                      <a:lnTo>
                        <a:pt x="595477" y="149491"/>
                      </a:lnTo>
                      <a:lnTo>
                        <a:pt x="594385" y="149694"/>
                      </a:lnTo>
                      <a:lnTo>
                        <a:pt x="592797" y="150114"/>
                      </a:lnTo>
                      <a:lnTo>
                        <a:pt x="592797" y="183388"/>
                      </a:lnTo>
                      <a:lnTo>
                        <a:pt x="592112" y="183718"/>
                      </a:lnTo>
                      <a:lnTo>
                        <a:pt x="591985" y="183756"/>
                      </a:lnTo>
                      <a:lnTo>
                        <a:pt x="592455" y="183540"/>
                      </a:lnTo>
                      <a:lnTo>
                        <a:pt x="592785" y="183388"/>
                      </a:lnTo>
                      <a:lnTo>
                        <a:pt x="592797" y="150114"/>
                      </a:lnTo>
                      <a:lnTo>
                        <a:pt x="588911" y="151104"/>
                      </a:lnTo>
                      <a:lnTo>
                        <a:pt x="589140" y="151612"/>
                      </a:lnTo>
                      <a:lnTo>
                        <a:pt x="588670" y="153581"/>
                      </a:lnTo>
                      <a:lnTo>
                        <a:pt x="589330" y="154952"/>
                      </a:lnTo>
                      <a:lnTo>
                        <a:pt x="589902" y="158356"/>
                      </a:lnTo>
                      <a:lnTo>
                        <a:pt x="590778" y="160693"/>
                      </a:lnTo>
                      <a:lnTo>
                        <a:pt x="590765" y="161353"/>
                      </a:lnTo>
                      <a:lnTo>
                        <a:pt x="590130" y="163906"/>
                      </a:lnTo>
                      <a:lnTo>
                        <a:pt x="587514" y="166027"/>
                      </a:lnTo>
                      <a:lnTo>
                        <a:pt x="587209" y="166408"/>
                      </a:lnTo>
                      <a:lnTo>
                        <a:pt x="587209" y="184404"/>
                      </a:lnTo>
                      <a:lnTo>
                        <a:pt x="586397" y="183984"/>
                      </a:lnTo>
                      <a:lnTo>
                        <a:pt x="587209" y="184404"/>
                      </a:lnTo>
                      <a:lnTo>
                        <a:pt x="587209" y="166408"/>
                      </a:lnTo>
                      <a:lnTo>
                        <a:pt x="584593" y="169633"/>
                      </a:lnTo>
                      <a:lnTo>
                        <a:pt x="584593" y="183273"/>
                      </a:lnTo>
                      <a:lnTo>
                        <a:pt x="584238" y="183121"/>
                      </a:lnTo>
                      <a:lnTo>
                        <a:pt x="584593" y="183273"/>
                      </a:lnTo>
                      <a:lnTo>
                        <a:pt x="584593" y="169633"/>
                      </a:lnTo>
                      <a:lnTo>
                        <a:pt x="584098" y="170243"/>
                      </a:lnTo>
                      <a:lnTo>
                        <a:pt x="583006" y="170230"/>
                      </a:lnTo>
                      <a:lnTo>
                        <a:pt x="583006" y="182854"/>
                      </a:lnTo>
                      <a:lnTo>
                        <a:pt x="580834" y="182460"/>
                      </a:lnTo>
                      <a:lnTo>
                        <a:pt x="582434" y="182727"/>
                      </a:lnTo>
                      <a:lnTo>
                        <a:pt x="583006" y="182854"/>
                      </a:lnTo>
                      <a:lnTo>
                        <a:pt x="583006" y="170230"/>
                      </a:lnTo>
                      <a:lnTo>
                        <a:pt x="579297" y="170141"/>
                      </a:lnTo>
                      <a:lnTo>
                        <a:pt x="577684" y="169405"/>
                      </a:lnTo>
                      <a:lnTo>
                        <a:pt x="577684" y="182372"/>
                      </a:lnTo>
                      <a:lnTo>
                        <a:pt x="575983" y="182422"/>
                      </a:lnTo>
                      <a:lnTo>
                        <a:pt x="577684" y="182372"/>
                      </a:lnTo>
                      <a:lnTo>
                        <a:pt x="577684" y="169405"/>
                      </a:lnTo>
                      <a:lnTo>
                        <a:pt x="575132" y="168224"/>
                      </a:lnTo>
                      <a:lnTo>
                        <a:pt x="575132" y="224891"/>
                      </a:lnTo>
                      <a:lnTo>
                        <a:pt x="573595" y="222859"/>
                      </a:lnTo>
                      <a:lnTo>
                        <a:pt x="573303" y="222478"/>
                      </a:lnTo>
                      <a:lnTo>
                        <a:pt x="567258" y="222237"/>
                      </a:lnTo>
                      <a:lnTo>
                        <a:pt x="573316" y="222389"/>
                      </a:lnTo>
                      <a:lnTo>
                        <a:pt x="575132" y="224891"/>
                      </a:lnTo>
                      <a:lnTo>
                        <a:pt x="575132" y="168224"/>
                      </a:lnTo>
                      <a:lnTo>
                        <a:pt x="574548" y="167944"/>
                      </a:lnTo>
                      <a:lnTo>
                        <a:pt x="573659" y="164769"/>
                      </a:lnTo>
                      <a:lnTo>
                        <a:pt x="573341" y="164172"/>
                      </a:lnTo>
                      <a:lnTo>
                        <a:pt x="573341" y="182219"/>
                      </a:lnTo>
                      <a:lnTo>
                        <a:pt x="572617" y="182575"/>
                      </a:lnTo>
                      <a:lnTo>
                        <a:pt x="572808" y="182460"/>
                      </a:lnTo>
                      <a:lnTo>
                        <a:pt x="573328" y="182219"/>
                      </a:lnTo>
                      <a:lnTo>
                        <a:pt x="573341" y="164172"/>
                      </a:lnTo>
                      <a:lnTo>
                        <a:pt x="572185" y="161975"/>
                      </a:lnTo>
                      <a:lnTo>
                        <a:pt x="570547" y="161353"/>
                      </a:lnTo>
                      <a:lnTo>
                        <a:pt x="570077" y="160909"/>
                      </a:lnTo>
                      <a:lnTo>
                        <a:pt x="570077" y="181533"/>
                      </a:lnTo>
                      <a:lnTo>
                        <a:pt x="569595" y="181597"/>
                      </a:lnTo>
                      <a:lnTo>
                        <a:pt x="570077" y="181533"/>
                      </a:lnTo>
                      <a:lnTo>
                        <a:pt x="570077" y="160909"/>
                      </a:lnTo>
                      <a:lnTo>
                        <a:pt x="568185" y="159118"/>
                      </a:lnTo>
                      <a:lnTo>
                        <a:pt x="568096" y="158991"/>
                      </a:lnTo>
                      <a:lnTo>
                        <a:pt x="568096" y="213969"/>
                      </a:lnTo>
                      <a:lnTo>
                        <a:pt x="567867" y="213664"/>
                      </a:lnTo>
                      <a:lnTo>
                        <a:pt x="568096" y="213969"/>
                      </a:lnTo>
                      <a:lnTo>
                        <a:pt x="568096" y="158991"/>
                      </a:lnTo>
                      <a:lnTo>
                        <a:pt x="567550" y="158216"/>
                      </a:lnTo>
                      <a:lnTo>
                        <a:pt x="567550" y="214198"/>
                      </a:lnTo>
                      <a:lnTo>
                        <a:pt x="567270" y="214871"/>
                      </a:lnTo>
                      <a:lnTo>
                        <a:pt x="567042" y="215011"/>
                      </a:lnTo>
                      <a:lnTo>
                        <a:pt x="567258" y="214871"/>
                      </a:lnTo>
                      <a:lnTo>
                        <a:pt x="567550" y="214198"/>
                      </a:lnTo>
                      <a:lnTo>
                        <a:pt x="567550" y="158216"/>
                      </a:lnTo>
                      <a:lnTo>
                        <a:pt x="566115" y="156146"/>
                      </a:lnTo>
                      <a:lnTo>
                        <a:pt x="564654" y="155625"/>
                      </a:lnTo>
                      <a:lnTo>
                        <a:pt x="564654" y="209296"/>
                      </a:lnTo>
                      <a:lnTo>
                        <a:pt x="564578" y="209156"/>
                      </a:lnTo>
                      <a:lnTo>
                        <a:pt x="564324" y="208724"/>
                      </a:lnTo>
                      <a:lnTo>
                        <a:pt x="564578" y="209156"/>
                      </a:lnTo>
                      <a:lnTo>
                        <a:pt x="564654" y="209296"/>
                      </a:lnTo>
                      <a:lnTo>
                        <a:pt x="564654" y="155625"/>
                      </a:lnTo>
                      <a:lnTo>
                        <a:pt x="563968" y="155384"/>
                      </a:lnTo>
                      <a:lnTo>
                        <a:pt x="563968" y="208470"/>
                      </a:lnTo>
                      <a:lnTo>
                        <a:pt x="563397" y="208368"/>
                      </a:lnTo>
                      <a:lnTo>
                        <a:pt x="563968" y="208470"/>
                      </a:lnTo>
                      <a:lnTo>
                        <a:pt x="563968" y="155384"/>
                      </a:lnTo>
                      <a:lnTo>
                        <a:pt x="563194" y="155105"/>
                      </a:lnTo>
                      <a:lnTo>
                        <a:pt x="560933" y="155435"/>
                      </a:lnTo>
                      <a:lnTo>
                        <a:pt x="560933" y="208407"/>
                      </a:lnTo>
                      <a:lnTo>
                        <a:pt x="559498" y="208724"/>
                      </a:lnTo>
                      <a:lnTo>
                        <a:pt x="558203" y="208813"/>
                      </a:lnTo>
                      <a:lnTo>
                        <a:pt x="559498" y="208711"/>
                      </a:lnTo>
                      <a:lnTo>
                        <a:pt x="560933" y="208407"/>
                      </a:lnTo>
                      <a:lnTo>
                        <a:pt x="560933" y="155435"/>
                      </a:lnTo>
                      <a:lnTo>
                        <a:pt x="559943" y="155562"/>
                      </a:lnTo>
                      <a:lnTo>
                        <a:pt x="557276" y="156273"/>
                      </a:lnTo>
                      <a:lnTo>
                        <a:pt x="557276" y="209156"/>
                      </a:lnTo>
                      <a:lnTo>
                        <a:pt x="556564" y="208927"/>
                      </a:lnTo>
                      <a:lnTo>
                        <a:pt x="555840" y="208572"/>
                      </a:lnTo>
                      <a:lnTo>
                        <a:pt x="553923" y="208000"/>
                      </a:lnTo>
                      <a:lnTo>
                        <a:pt x="548741" y="206362"/>
                      </a:lnTo>
                      <a:lnTo>
                        <a:pt x="555840" y="208572"/>
                      </a:lnTo>
                      <a:lnTo>
                        <a:pt x="556679" y="208953"/>
                      </a:lnTo>
                      <a:lnTo>
                        <a:pt x="557276" y="209156"/>
                      </a:lnTo>
                      <a:lnTo>
                        <a:pt x="557276" y="156273"/>
                      </a:lnTo>
                      <a:lnTo>
                        <a:pt x="556844" y="156375"/>
                      </a:lnTo>
                      <a:lnTo>
                        <a:pt x="555993" y="156425"/>
                      </a:lnTo>
                      <a:lnTo>
                        <a:pt x="555993" y="181406"/>
                      </a:lnTo>
                      <a:lnTo>
                        <a:pt x="552246" y="182803"/>
                      </a:lnTo>
                      <a:lnTo>
                        <a:pt x="555523" y="181584"/>
                      </a:lnTo>
                      <a:lnTo>
                        <a:pt x="555993" y="181406"/>
                      </a:lnTo>
                      <a:lnTo>
                        <a:pt x="555993" y="156425"/>
                      </a:lnTo>
                      <a:lnTo>
                        <a:pt x="553707" y="156527"/>
                      </a:lnTo>
                      <a:lnTo>
                        <a:pt x="551053" y="158330"/>
                      </a:lnTo>
                      <a:lnTo>
                        <a:pt x="550849" y="158673"/>
                      </a:lnTo>
                      <a:lnTo>
                        <a:pt x="549757" y="160693"/>
                      </a:lnTo>
                      <a:lnTo>
                        <a:pt x="547255" y="164096"/>
                      </a:lnTo>
                      <a:lnTo>
                        <a:pt x="548386" y="165493"/>
                      </a:lnTo>
                      <a:lnTo>
                        <a:pt x="547116" y="169811"/>
                      </a:lnTo>
                      <a:lnTo>
                        <a:pt x="546519" y="170129"/>
                      </a:lnTo>
                      <a:lnTo>
                        <a:pt x="546519" y="205143"/>
                      </a:lnTo>
                      <a:lnTo>
                        <a:pt x="546290" y="205079"/>
                      </a:lnTo>
                      <a:lnTo>
                        <a:pt x="545934" y="204863"/>
                      </a:lnTo>
                      <a:lnTo>
                        <a:pt x="546290" y="205066"/>
                      </a:lnTo>
                      <a:lnTo>
                        <a:pt x="546519" y="205143"/>
                      </a:lnTo>
                      <a:lnTo>
                        <a:pt x="546519" y="170129"/>
                      </a:lnTo>
                      <a:lnTo>
                        <a:pt x="545325" y="170738"/>
                      </a:lnTo>
                      <a:lnTo>
                        <a:pt x="540651" y="174637"/>
                      </a:lnTo>
                      <a:lnTo>
                        <a:pt x="543433" y="178092"/>
                      </a:lnTo>
                      <a:lnTo>
                        <a:pt x="542201" y="181584"/>
                      </a:lnTo>
                      <a:lnTo>
                        <a:pt x="542124" y="180060"/>
                      </a:lnTo>
                      <a:lnTo>
                        <a:pt x="541794" y="180073"/>
                      </a:lnTo>
                      <a:lnTo>
                        <a:pt x="541616" y="181787"/>
                      </a:lnTo>
                      <a:lnTo>
                        <a:pt x="541489" y="184670"/>
                      </a:lnTo>
                      <a:lnTo>
                        <a:pt x="542163" y="187134"/>
                      </a:lnTo>
                      <a:lnTo>
                        <a:pt x="541972" y="187261"/>
                      </a:lnTo>
                      <a:lnTo>
                        <a:pt x="541921" y="187439"/>
                      </a:lnTo>
                      <a:lnTo>
                        <a:pt x="542404" y="188506"/>
                      </a:lnTo>
                      <a:lnTo>
                        <a:pt x="543445" y="187871"/>
                      </a:lnTo>
                      <a:lnTo>
                        <a:pt x="544576" y="186893"/>
                      </a:lnTo>
                      <a:lnTo>
                        <a:pt x="545223" y="186410"/>
                      </a:lnTo>
                      <a:lnTo>
                        <a:pt x="545604" y="185928"/>
                      </a:lnTo>
                      <a:lnTo>
                        <a:pt x="545363" y="186270"/>
                      </a:lnTo>
                      <a:lnTo>
                        <a:pt x="545236" y="186410"/>
                      </a:lnTo>
                      <a:lnTo>
                        <a:pt x="544576" y="186893"/>
                      </a:lnTo>
                      <a:lnTo>
                        <a:pt x="543445" y="187883"/>
                      </a:lnTo>
                      <a:lnTo>
                        <a:pt x="542404" y="188506"/>
                      </a:lnTo>
                      <a:lnTo>
                        <a:pt x="542556" y="188823"/>
                      </a:lnTo>
                      <a:lnTo>
                        <a:pt x="542213" y="189674"/>
                      </a:lnTo>
                      <a:lnTo>
                        <a:pt x="542404" y="190614"/>
                      </a:lnTo>
                      <a:lnTo>
                        <a:pt x="542417" y="194386"/>
                      </a:lnTo>
                      <a:lnTo>
                        <a:pt x="544004" y="197065"/>
                      </a:lnTo>
                      <a:lnTo>
                        <a:pt x="545274" y="200647"/>
                      </a:lnTo>
                      <a:lnTo>
                        <a:pt x="545439" y="204000"/>
                      </a:lnTo>
                      <a:lnTo>
                        <a:pt x="545274" y="204457"/>
                      </a:lnTo>
                      <a:lnTo>
                        <a:pt x="544868" y="205676"/>
                      </a:lnTo>
                      <a:lnTo>
                        <a:pt x="545312" y="205879"/>
                      </a:lnTo>
                      <a:lnTo>
                        <a:pt x="544703" y="209689"/>
                      </a:lnTo>
                      <a:lnTo>
                        <a:pt x="541985" y="210654"/>
                      </a:lnTo>
                      <a:lnTo>
                        <a:pt x="539343" y="212051"/>
                      </a:lnTo>
                      <a:lnTo>
                        <a:pt x="537286" y="211201"/>
                      </a:lnTo>
                      <a:lnTo>
                        <a:pt x="535127" y="210451"/>
                      </a:lnTo>
                      <a:lnTo>
                        <a:pt x="536562" y="208038"/>
                      </a:lnTo>
                      <a:lnTo>
                        <a:pt x="539445" y="206146"/>
                      </a:lnTo>
                      <a:lnTo>
                        <a:pt x="541477" y="204241"/>
                      </a:lnTo>
                      <a:lnTo>
                        <a:pt x="541591" y="203708"/>
                      </a:lnTo>
                      <a:lnTo>
                        <a:pt x="541832" y="203073"/>
                      </a:lnTo>
                      <a:lnTo>
                        <a:pt x="541832" y="202526"/>
                      </a:lnTo>
                      <a:lnTo>
                        <a:pt x="541451" y="202933"/>
                      </a:lnTo>
                      <a:lnTo>
                        <a:pt x="541185" y="203555"/>
                      </a:lnTo>
                      <a:lnTo>
                        <a:pt x="540893" y="204038"/>
                      </a:lnTo>
                      <a:lnTo>
                        <a:pt x="537057" y="206578"/>
                      </a:lnTo>
                      <a:lnTo>
                        <a:pt x="533184" y="210451"/>
                      </a:lnTo>
                      <a:lnTo>
                        <a:pt x="525246" y="211035"/>
                      </a:lnTo>
                      <a:lnTo>
                        <a:pt x="527189" y="213309"/>
                      </a:lnTo>
                      <a:lnTo>
                        <a:pt x="526161" y="216052"/>
                      </a:lnTo>
                      <a:lnTo>
                        <a:pt x="527900" y="215011"/>
                      </a:lnTo>
                      <a:lnTo>
                        <a:pt x="527862" y="216039"/>
                      </a:lnTo>
                      <a:lnTo>
                        <a:pt x="528751" y="216014"/>
                      </a:lnTo>
                      <a:lnTo>
                        <a:pt x="529361" y="215760"/>
                      </a:lnTo>
                      <a:lnTo>
                        <a:pt x="531025" y="215861"/>
                      </a:lnTo>
                      <a:lnTo>
                        <a:pt x="532104" y="216014"/>
                      </a:lnTo>
                      <a:lnTo>
                        <a:pt x="533184" y="216065"/>
                      </a:lnTo>
                      <a:lnTo>
                        <a:pt x="530834" y="217436"/>
                      </a:lnTo>
                      <a:lnTo>
                        <a:pt x="526059" y="220040"/>
                      </a:lnTo>
                      <a:lnTo>
                        <a:pt x="524395" y="219875"/>
                      </a:lnTo>
                      <a:lnTo>
                        <a:pt x="524268" y="221081"/>
                      </a:lnTo>
                      <a:lnTo>
                        <a:pt x="534644" y="222046"/>
                      </a:lnTo>
                      <a:lnTo>
                        <a:pt x="545071" y="222618"/>
                      </a:lnTo>
                      <a:lnTo>
                        <a:pt x="555510" y="222758"/>
                      </a:lnTo>
                      <a:lnTo>
                        <a:pt x="565912" y="222415"/>
                      </a:lnTo>
                      <a:lnTo>
                        <a:pt x="567245" y="222288"/>
                      </a:lnTo>
                      <a:lnTo>
                        <a:pt x="565912" y="222478"/>
                      </a:lnTo>
                      <a:lnTo>
                        <a:pt x="555510" y="222859"/>
                      </a:lnTo>
                      <a:lnTo>
                        <a:pt x="545071" y="222732"/>
                      </a:lnTo>
                      <a:lnTo>
                        <a:pt x="534631" y="222097"/>
                      </a:lnTo>
                      <a:lnTo>
                        <a:pt x="524256" y="221081"/>
                      </a:lnTo>
                      <a:lnTo>
                        <a:pt x="524243" y="221335"/>
                      </a:lnTo>
                      <a:lnTo>
                        <a:pt x="522554" y="221843"/>
                      </a:lnTo>
                      <a:lnTo>
                        <a:pt x="518401" y="224383"/>
                      </a:lnTo>
                      <a:lnTo>
                        <a:pt x="519049" y="224891"/>
                      </a:lnTo>
                      <a:lnTo>
                        <a:pt x="517144" y="224764"/>
                      </a:lnTo>
                      <a:lnTo>
                        <a:pt x="516496" y="223748"/>
                      </a:lnTo>
                      <a:lnTo>
                        <a:pt x="516331" y="223113"/>
                      </a:lnTo>
                      <a:lnTo>
                        <a:pt x="516826" y="222859"/>
                      </a:lnTo>
                      <a:lnTo>
                        <a:pt x="518274" y="222097"/>
                      </a:lnTo>
                      <a:lnTo>
                        <a:pt x="520369" y="221462"/>
                      </a:lnTo>
                      <a:lnTo>
                        <a:pt x="522389" y="220573"/>
                      </a:lnTo>
                      <a:lnTo>
                        <a:pt x="519798" y="219938"/>
                      </a:lnTo>
                      <a:lnTo>
                        <a:pt x="515137" y="221970"/>
                      </a:lnTo>
                      <a:lnTo>
                        <a:pt x="511429" y="222859"/>
                      </a:lnTo>
                      <a:lnTo>
                        <a:pt x="507682" y="221462"/>
                      </a:lnTo>
                      <a:lnTo>
                        <a:pt x="506336" y="219938"/>
                      </a:lnTo>
                      <a:lnTo>
                        <a:pt x="505764" y="217525"/>
                      </a:lnTo>
                      <a:lnTo>
                        <a:pt x="504964" y="215874"/>
                      </a:lnTo>
                      <a:lnTo>
                        <a:pt x="504215" y="215112"/>
                      </a:lnTo>
                      <a:lnTo>
                        <a:pt x="505612" y="213715"/>
                      </a:lnTo>
                      <a:lnTo>
                        <a:pt x="509727" y="216636"/>
                      </a:lnTo>
                      <a:lnTo>
                        <a:pt x="510552" y="217144"/>
                      </a:lnTo>
                      <a:lnTo>
                        <a:pt x="507288" y="213715"/>
                      </a:lnTo>
                      <a:lnTo>
                        <a:pt x="506069" y="212445"/>
                      </a:lnTo>
                      <a:lnTo>
                        <a:pt x="500011" y="212699"/>
                      </a:lnTo>
                      <a:lnTo>
                        <a:pt x="494271" y="213969"/>
                      </a:lnTo>
                      <a:lnTo>
                        <a:pt x="475983" y="219684"/>
                      </a:lnTo>
                      <a:lnTo>
                        <a:pt x="474522" y="223367"/>
                      </a:lnTo>
                      <a:lnTo>
                        <a:pt x="469671" y="225907"/>
                      </a:lnTo>
                      <a:lnTo>
                        <a:pt x="464464" y="225653"/>
                      </a:lnTo>
                      <a:lnTo>
                        <a:pt x="449033" y="229844"/>
                      </a:lnTo>
                      <a:lnTo>
                        <a:pt x="445566" y="230098"/>
                      </a:lnTo>
                      <a:lnTo>
                        <a:pt x="444792" y="231368"/>
                      </a:lnTo>
                      <a:lnTo>
                        <a:pt x="444385" y="230352"/>
                      </a:lnTo>
                      <a:lnTo>
                        <a:pt x="442010" y="229209"/>
                      </a:lnTo>
                      <a:lnTo>
                        <a:pt x="441553" y="228955"/>
                      </a:lnTo>
                      <a:lnTo>
                        <a:pt x="441617" y="229209"/>
                      </a:lnTo>
                      <a:lnTo>
                        <a:pt x="441934" y="229209"/>
                      </a:lnTo>
                      <a:lnTo>
                        <a:pt x="439547" y="230098"/>
                      </a:lnTo>
                      <a:lnTo>
                        <a:pt x="438277" y="232638"/>
                      </a:lnTo>
                      <a:lnTo>
                        <a:pt x="441769" y="232511"/>
                      </a:lnTo>
                      <a:lnTo>
                        <a:pt x="442175" y="232130"/>
                      </a:lnTo>
                      <a:lnTo>
                        <a:pt x="443077" y="232003"/>
                      </a:lnTo>
                      <a:lnTo>
                        <a:pt x="444322" y="232384"/>
                      </a:lnTo>
                      <a:lnTo>
                        <a:pt x="444627" y="232130"/>
                      </a:lnTo>
                      <a:lnTo>
                        <a:pt x="448551" y="232384"/>
                      </a:lnTo>
                      <a:lnTo>
                        <a:pt x="450494" y="232638"/>
                      </a:lnTo>
                      <a:lnTo>
                        <a:pt x="450456" y="233146"/>
                      </a:lnTo>
                      <a:lnTo>
                        <a:pt x="450075" y="234035"/>
                      </a:lnTo>
                      <a:lnTo>
                        <a:pt x="450138" y="235686"/>
                      </a:lnTo>
                      <a:lnTo>
                        <a:pt x="450456" y="236321"/>
                      </a:lnTo>
                      <a:lnTo>
                        <a:pt x="450405" y="236702"/>
                      </a:lnTo>
                      <a:lnTo>
                        <a:pt x="449999" y="237591"/>
                      </a:lnTo>
                      <a:lnTo>
                        <a:pt x="449287" y="236321"/>
                      </a:lnTo>
                      <a:lnTo>
                        <a:pt x="447929" y="235686"/>
                      </a:lnTo>
                      <a:lnTo>
                        <a:pt x="446468" y="235559"/>
                      </a:lnTo>
                      <a:lnTo>
                        <a:pt x="446214" y="234670"/>
                      </a:lnTo>
                      <a:lnTo>
                        <a:pt x="445096" y="235051"/>
                      </a:lnTo>
                      <a:lnTo>
                        <a:pt x="446036" y="238099"/>
                      </a:lnTo>
                      <a:lnTo>
                        <a:pt x="446138" y="238480"/>
                      </a:lnTo>
                      <a:lnTo>
                        <a:pt x="446417" y="239242"/>
                      </a:lnTo>
                      <a:lnTo>
                        <a:pt x="446989" y="241528"/>
                      </a:lnTo>
                      <a:lnTo>
                        <a:pt x="447319" y="243179"/>
                      </a:lnTo>
                      <a:lnTo>
                        <a:pt x="446709" y="247624"/>
                      </a:lnTo>
                      <a:lnTo>
                        <a:pt x="445554" y="248767"/>
                      </a:lnTo>
                      <a:lnTo>
                        <a:pt x="445262" y="248894"/>
                      </a:lnTo>
                      <a:lnTo>
                        <a:pt x="443128" y="250037"/>
                      </a:lnTo>
                      <a:lnTo>
                        <a:pt x="443877" y="251180"/>
                      </a:lnTo>
                      <a:lnTo>
                        <a:pt x="445211" y="252577"/>
                      </a:lnTo>
                      <a:lnTo>
                        <a:pt x="445655" y="252958"/>
                      </a:lnTo>
                      <a:lnTo>
                        <a:pt x="447078" y="254482"/>
                      </a:lnTo>
                      <a:lnTo>
                        <a:pt x="447979" y="255371"/>
                      </a:lnTo>
                      <a:lnTo>
                        <a:pt x="449402" y="256260"/>
                      </a:lnTo>
                      <a:lnTo>
                        <a:pt x="449973" y="256514"/>
                      </a:lnTo>
                      <a:lnTo>
                        <a:pt x="450342" y="257149"/>
                      </a:lnTo>
                      <a:lnTo>
                        <a:pt x="450811" y="258419"/>
                      </a:lnTo>
                      <a:lnTo>
                        <a:pt x="449110" y="259435"/>
                      </a:lnTo>
                      <a:lnTo>
                        <a:pt x="449199" y="261467"/>
                      </a:lnTo>
                      <a:lnTo>
                        <a:pt x="450189" y="262737"/>
                      </a:lnTo>
                      <a:lnTo>
                        <a:pt x="450888" y="263753"/>
                      </a:lnTo>
                      <a:lnTo>
                        <a:pt x="451104" y="263753"/>
                      </a:lnTo>
                      <a:lnTo>
                        <a:pt x="451713" y="268071"/>
                      </a:lnTo>
                      <a:lnTo>
                        <a:pt x="451523" y="268706"/>
                      </a:lnTo>
                      <a:lnTo>
                        <a:pt x="449859" y="272262"/>
                      </a:lnTo>
                      <a:lnTo>
                        <a:pt x="451637" y="274802"/>
                      </a:lnTo>
                      <a:lnTo>
                        <a:pt x="451916" y="275437"/>
                      </a:lnTo>
                      <a:lnTo>
                        <a:pt x="451993" y="276453"/>
                      </a:lnTo>
                      <a:lnTo>
                        <a:pt x="452145" y="276834"/>
                      </a:lnTo>
                      <a:lnTo>
                        <a:pt x="452259" y="277342"/>
                      </a:lnTo>
                      <a:lnTo>
                        <a:pt x="454126" y="278993"/>
                      </a:lnTo>
                      <a:lnTo>
                        <a:pt x="455180" y="279628"/>
                      </a:lnTo>
                      <a:lnTo>
                        <a:pt x="455917" y="281152"/>
                      </a:lnTo>
                      <a:lnTo>
                        <a:pt x="453453" y="289534"/>
                      </a:lnTo>
                      <a:lnTo>
                        <a:pt x="453313" y="289407"/>
                      </a:lnTo>
                      <a:lnTo>
                        <a:pt x="453186" y="289407"/>
                      </a:lnTo>
                      <a:lnTo>
                        <a:pt x="453351" y="289915"/>
                      </a:lnTo>
                      <a:lnTo>
                        <a:pt x="453796" y="289661"/>
                      </a:lnTo>
                      <a:lnTo>
                        <a:pt x="454177" y="289534"/>
                      </a:lnTo>
                      <a:lnTo>
                        <a:pt x="455282" y="289153"/>
                      </a:lnTo>
                      <a:lnTo>
                        <a:pt x="455904" y="288518"/>
                      </a:lnTo>
                      <a:lnTo>
                        <a:pt x="455980" y="288264"/>
                      </a:lnTo>
                      <a:lnTo>
                        <a:pt x="455993" y="287883"/>
                      </a:lnTo>
                      <a:lnTo>
                        <a:pt x="455853" y="287629"/>
                      </a:lnTo>
                      <a:lnTo>
                        <a:pt x="455701" y="287502"/>
                      </a:lnTo>
                      <a:lnTo>
                        <a:pt x="455485" y="287375"/>
                      </a:lnTo>
                      <a:lnTo>
                        <a:pt x="456336" y="286994"/>
                      </a:lnTo>
                      <a:lnTo>
                        <a:pt x="457073" y="286994"/>
                      </a:lnTo>
                      <a:lnTo>
                        <a:pt x="457682" y="287121"/>
                      </a:lnTo>
                      <a:lnTo>
                        <a:pt x="457822" y="287121"/>
                      </a:lnTo>
                      <a:lnTo>
                        <a:pt x="458546" y="287375"/>
                      </a:lnTo>
                      <a:lnTo>
                        <a:pt x="460590" y="290677"/>
                      </a:lnTo>
                      <a:lnTo>
                        <a:pt x="461251" y="291185"/>
                      </a:lnTo>
                      <a:lnTo>
                        <a:pt x="461708" y="291439"/>
                      </a:lnTo>
                      <a:lnTo>
                        <a:pt x="462305" y="291693"/>
                      </a:lnTo>
                      <a:lnTo>
                        <a:pt x="463689" y="292074"/>
                      </a:lnTo>
                      <a:lnTo>
                        <a:pt x="472236" y="293979"/>
                      </a:lnTo>
                      <a:lnTo>
                        <a:pt x="473938" y="293344"/>
                      </a:lnTo>
                      <a:lnTo>
                        <a:pt x="475119" y="293979"/>
                      </a:lnTo>
                      <a:lnTo>
                        <a:pt x="475361" y="294487"/>
                      </a:lnTo>
                      <a:lnTo>
                        <a:pt x="475462" y="296011"/>
                      </a:lnTo>
                      <a:lnTo>
                        <a:pt x="475310" y="296519"/>
                      </a:lnTo>
                      <a:lnTo>
                        <a:pt x="475094" y="296900"/>
                      </a:lnTo>
                      <a:lnTo>
                        <a:pt x="474916" y="296900"/>
                      </a:lnTo>
                      <a:lnTo>
                        <a:pt x="474268" y="297154"/>
                      </a:lnTo>
                      <a:lnTo>
                        <a:pt x="474154" y="297281"/>
                      </a:lnTo>
                      <a:lnTo>
                        <a:pt x="473456" y="297535"/>
                      </a:lnTo>
                      <a:lnTo>
                        <a:pt x="473354" y="297916"/>
                      </a:lnTo>
                      <a:lnTo>
                        <a:pt x="473125" y="298424"/>
                      </a:lnTo>
                      <a:lnTo>
                        <a:pt x="474573" y="299694"/>
                      </a:lnTo>
                      <a:lnTo>
                        <a:pt x="476415" y="301218"/>
                      </a:lnTo>
                      <a:lnTo>
                        <a:pt x="477532" y="302615"/>
                      </a:lnTo>
                      <a:lnTo>
                        <a:pt x="478701" y="303504"/>
                      </a:lnTo>
                      <a:lnTo>
                        <a:pt x="478917" y="303631"/>
                      </a:lnTo>
                      <a:lnTo>
                        <a:pt x="479145" y="303631"/>
                      </a:lnTo>
                      <a:lnTo>
                        <a:pt x="479183" y="303758"/>
                      </a:lnTo>
                      <a:lnTo>
                        <a:pt x="480402" y="304012"/>
                      </a:lnTo>
                      <a:lnTo>
                        <a:pt x="482079" y="302488"/>
                      </a:lnTo>
                      <a:lnTo>
                        <a:pt x="484035" y="301726"/>
                      </a:lnTo>
                      <a:lnTo>
                        <a:pt x="484581" y="301726"/>
                      </a:lnTo>
                      <a:lnTo>
                        <a:pt x="484898" y="301980"/>
                      </a:lnTo>
                      <a:lnTo>
                        <a:pt x="484822" y="301726"/>
                      </a:lnTo>
                      <a:lnTo>
                        <a:pt x="484479" y="300583"/>
                      </a:lnTo>
                      <a:lnTo>
                        <a:pt x="483717" y="299186"/>
                      </a:lnTo>
                      <a:lnTo>
                        <a:pt x="483158" y="297916"/>
                      </a:lnTo>
                      <a:lnTo>
                        <a:pt x="483387" y="298043"/>
                      </a:lnTo>
                      <a:lnTo>
                        <a:pt x="486994" y="299186"/>
                      </a:lnTo>
                      <a:lnTo>
                        <a:pt x="493915" y="301599"/>
                      </a:lnTo>
                      <a:lnTo>
                        <a:pt x="494652" y="300202"/>
                      </a:lnTo>
                      <a:lnTo>
                        <a:pt x="494779" y="302107"/>
                      </a:lnTo>
                      <a:lnTo>
                        <a:pt x="494360" y="302742"/>
                      </a:lnTo>
                      <a:lnTo>
                        <a:pt x="494030" y="302869"/>
                      </a:lnTo>
                      <a:lnTo>
                        <a:pt x="493369" y="302869"/>
                      </a:lnTo>
                      <a:lnTo>
                        <a:pt x="493369" y="302996"/>
                      </a:lnTo>
                      <a:lnTo>
                        <a:pt x="493090" y="302996"/>
                      </a:lnTo>
                      <a:lnTo>
                        <a:pt x="493115" y="303504"/>
                      </a:lnTo>
                      <a:lnTo>
                        <a:pt x="493458" y="303885"/>
                      </a:lnTo>
                      <a:lnTo>
                        <a:pt x="493979" y="304266"/>
                      </a:lnTo>
                      <a:lnTo>
                        <a:pt x="494703" y="305282"/>
                      </a:lnTo>
                      <a:lnTo>
                        <a:pt x="495871" y="306298"/>
                      </a:lnTo>
                      <a:lnTo>
                        <a:pt x="496747" y="306552"/>
                      </a:lnTo>
                      <a:lnTo>
                        <a:pt x="498983" y="306679"/>
                      </a:lnTo>
                      <a:lnTo>
                        <a:pt x="498716" y="304647"/>
                      </a:lnTo>
                      <a:lnTo>
                        <a:pt x="503643" y="307568"/>
                      </a:lnTo>
                      <a:lnTo>
                        <a:pt x="506349" y="308584"/>
                      </a:lnTo>
                      <a:lnTo>
                        <a:pt x="509168" y="312648"/>
                      </a:lnTo>
                      <a:lnTo>
                        <a:pt x="509778" y="313410"/>
                      </a:lnTo>
                      <a:lnTo>
                        <a:pt x="510946" y="315188"/>
                      </a:lnTo>
                      <a:lnTo>
                        <a:pt x="511340" y="315315"/>
                      </a:lnTo>
                      <a:lnTo>
                        <a:pt x="511708" y="315569"/>
                      </a:lnTo>
                      <a:lnTo>
                        <a:pt x="513118" y="316331"/>
                      </a:lnTo>
                      <a:lnTo>
                        <a:pt x="514172" y="317347"/>
                      </a:lnTo>
                      <a:lnTo>
                        <a:pt x="515340" y="316966"/>
                      </a:lnTo>
                      <a:lnTo>
                        <a:pt x="517105" y="316712"/>
                      </a:lnTo>
                      <a:lnTo>
                        <a:pt x="519074" y="314934"/>
                      </a:lnTo>
                      <a:lnTo>
                        <a:pt x="520534" y="314172"/>
                      </a:lnTo>
                      <a:lnTo>
                        <a:pt x="521296" y="315823"/>
                      </a:lnTo>
                      <a:lnTo>
                        <a:pt x="522122" y="317347"/>
                      </a:lnTo>
                      <a:lnTo>
                        <a:pt x="524256" y="317220"/>
                      </a:lnTo>
                      <a:lnTo>
                        <a:pt x="524205" y="318236"/>
                      </a:lnTo>
                      <a:lnTo>
                        <a:pt x="523938" y="319887"/>
                      </a:lnTo>
                      <a:lnTo>
                        <a:pt x="524154" y="320395"/>
                      </a:lnTo>
                      <a:lnTo>
                        <a:pt x="524256" y="321030"/>
                      </a:lnTo>
                      <a:lnTo>
                        <a:pt x="524624" y="321538"/>
                      </a:lnTo>
                      <a:lnTo>
                        <a:pt x="525843" y="320903"/>
                      </a:lnTo>
                      <a:lnTo>
                        <a:pt x="526897" y="320776"/>
                      </a:lnTo>
                      <a:lnTo>
                        <a:pt x="529183" y="319379"/>
                      </a:lnTo>
                      <a:lnTo>
                        <a:pt x="531888" y="318236"/>
                      </a:lnTo>
                      <a:lnTo>
                        <a:pt x="532968" y="317855"/>
                      </a:lnTo>
                      <a:lnTo>
                        <a:pt x="533908" y="317601"/>
                      </a:lnTo>
                      <a:lnTo>
                        <a:pt x="537070" y="318236"/>
                      </a:lnTo>
                      <a:lnTo>
                        <a:pt x="540207" y="319379"/>
                      </a:lnTo>
                      <a:lnTo>
                        <a:pt x="545426" y="317601"/>
                      </a:lnTo>
                      <a:lnTo>
                        <a:pt x="546646" y="317220"/>
                      </a:lnTo>
                      <a:lnTo>
                        <a:pt x="547865" y="317093"/>
                      </a:lnTo>
                      <a:lnTo>
                        <a:pt x="551154" y="317093"/>
                      </a:lnTo>
                      <a:lnTo>
                        <a:pt x="554380" y="318998"/>
                      </a:lnTo>
                      <a:lnTo>
                        <a:pt x="559054" y="322046"/>
                      </a:lnTo>
                      <a:lnTo>
                        <a:pt x="561492" y="322808"/>
                      </a:lnTo>
                      <a:lnTo>
                        <a:pt x="563918" y="323443"/>
                      </a:lnTo>
                      <a:lnTo>
                        <a:pt x="567207" y="324205"/>
                      </a:lnTo>
                      <a:lnTo>
                        <a:pt x="568655" y="324586"/>
                      </a:lnTo>
                      <a:lnTo>
                        <a:pt x="567423" y="323189"/>
                      </a:lnTo>
                      <a:lnTo>
                        <a:pt x="566585" y="322427"/>
                      </a:lnTo>
                      <a:lnTo>
                        <a:pt x="566254" y="321030"/>
                      </a:lnTo>
                      <a:lnTo>
                        <a:pt x="566127" y="320395"/>
                      </a:lnTo>
                      <a:lnTo>
                        <a:pt x="566026" y="318490"/>
                      </a:lnTo>
                      <a:lnTo>
                        <a:pt x="565658" y="317093"/>
                      </a:lnTo>
                      <a:lnTo>
                        <a:pt x="565061" y="314807"/>
                      </a:lnTo>
                      <a:lnTo>
                        <a:pt x="565696" y="314172"/>
                      </a:lnTo>
                      <a:lnTo>
                        <a:pt x="574954" y="304774"/>
                      </a:lnTo>
                      <a:lnTo>
                        <a:pt x="575043" y="304647"/>
                      </a:lnTo>
                      <a:lnTo>
                        <a:pt x="576554" y="302361"/>
                      </a:lnTo>
                      <a:lnTo>
                        <a:pt x="578383" y="301472"/>
                      </a:lnTo>
                      <a:lnTo>
                        <a:pt x="580186" y="300710"/>
                      </a:lnTo>
                      <a:lnTo>
                        <a:pt x="582053" y="300202"/>
                      </a:lnTo>
                      <a:lnTo>
                        <a:pt x="583450" y="299821"/>
                      </a:lnTo>
                      <a:lnTo>
                        <a:pt x="585292" y="297662"/>
                      </a:lnTo>
                      <a:lnTo>
                        <a:pt x="586181" y="295249"/>
                      </a:lnTo>
                      <a:lnTo>
                        <a:pt x="586092" y="293725"/>
                      </a:lnTo>
                      <a:lnTo>
                        <a:pt x="585673" y="293344"/>
                      </a:lnTo>
                      <a:lnTo>
                        <a:pt x="584974" y="292709"/>
                      </a:lnTo>
                      <a:lnTo>
                        <a:pt x="584187" y="291439"/>
                      </a:lnTo>
                      <a:lnTo>
                        <a:pt x="584098" y="290931"/>
                      </a:lnTo>
                      <a:lnTo>
                        <a:pt x="584441" y="290423"/>
                      </a:lnTo>
                      <a:lnTo>
                        <a:pt x="585419" y="290296"/>
                      </a:lnTo>
                      <a:lnTo>
                        <a:pt x="586511" y="290042"/>
                      </a:lnTo>
                      <a:lnTo>
                        <a:pt x="586600" y="289915"/>
                      </a:lnTo>
                      <a:lnTo>
                        <a:pt x="585622" y="289407"/>
                      </a:lnTo>
                      <a:lnTo>
                        <a:pt x="584898" y="288772"/>
                      </a:lnTo>
                      <a:lnTo>
                        <a:pt x="584060" y="287883"/>
                      </a:lnTo>
                      <a:lnTo>
                        <a:pt x="583361" y="286994"/>
                      </a:lnTo>
                      <a:lnTo>
                        <a:pt x="581952" y="285216"/>
                      </a:lnTo>
                      <a:lnTo>
                        <a:pt x="580898" y="281533"/>
                      </a:lnTo>
                      <a:lnTo>
                        <a:pt x="578993" y="277342"/>
                      </a:lnTo>
                      <a:lnTo>
                        <a:pt x="579208" y="277342"/>
                      </a:lnTo>
                      <a:lnTo>
                        <a:pt x="578916" y="276961"/>
                      </a:lnTo>
                      <a:lnTo>
                        <a:pt x="578764" y="276834"/>
                      </a:lnTo>
                      <a:lnTo>
                        <a:pt x="578459" y="275945"/>
                      </a:lnTo>
                      <a:lnTo>
                        <a:pt x="578345" y="275437"/>
                      </a:lnTo>
                      <a:lnTo>
                        <a:pt x="578231" y="274548"/>
                      </a:lnTo>
                      <a:lnTo>
                        <a:pt x="578243" y="273532"/>
                      </a:lnTo>
                      <a:lnTo>
                        <a:pt x="578573" y="271627"/>
                      </a:lnTo>
                      <a:lnTo>
                        <a:pt x="579882" y="268071"/>
                      </a:lnTo>
                      <a:lnTo>
                        <a:pt x="579196" y="266547"/>
                      </a:lnTo>
                      <a:lnTo>
                        <a:pt x="578446" y="265785"/>
                      </a:lnTo>
                      <a:lnTo>
                        <a:pt x="577227" y="265277"/>
                      </a:lnTo>
                      <a:lnTo>
                        <a:pt x="575792" y="264388"/>
                      </a:lnTo>
                      <a:lnTo>
                        <a:pt x="573874" y="263626"/>
                      </a:lnTo>
                      <a:lnTo>
                        <a:pt x="572693" y="262991"/>
                      </a:lnTo>
                      <a:lnTo>
                        <a:pt x="581609" y="255244"/>
                      </a:lnTo>
                      <a:lnTo>
                        <a:pt x="583780" y="253847"/>
                      </a:lnTo>
                      <a:lnTo>
                        <a:pt x="583755" y="252577"/>
                      </a:lnTo>
                      <a:lnTo>
                        <a:pt x="584263" y="250545"/>
                      </a:lnTo>
                      <a:lnTo>
                        <a:pt x="583692" y="247370"/>
                      </a:lnTo>
                      <a:lnTo>
                        <a:pt x="582637" y="243560"/>
                      </a:lnTo>
                      <a:lnTo>
                        <a:pt x="581571" y="241528"/>
                      </a:lnTo>
                      <a:lnTo>
                        <a:pt x="580542" y="239496"/>
                      </a:lnTo>
                      <a:lnTo>
                        <a:pt x="579755" y="237591"/>
                      </a:lnTo>
                      <a:lnTo>
                        <a:pt x="579374" y="236702"/>
                      </a:lnTo>
                      <a:lnTo>
                        <a:pt x="578446" y="234035"/>
                      </a:lnTo>
                      <a:lnTo>
                        <a:pt x="577964" y="232130"/>
                      </a:lnTo>
                      <a:lnTo>
                        <a:pt x="577938" y="232003"/>
                      </a:lnTo>
                      <a:lnTo>
                        <a:pt x="577773" y="231368"/>
                      </a:lnTo>
                      <a:lnTo>
                        <a:pt x="577672" y="230606"/>
                      </a:lnTo>
                      <a:lnTo>
                        <a:pt x="576275" y="226415"/>
                      </a:lnTo>
                      <a:lnTo>
                        <a:pt x="577684" y="230555"/>
                      </a:lnTo>
                      <a:lnTo>
                        <a:pt x="578370" y="230809"/>
                      </a:lnTo>
                      <a:lnTo>
                        <a:pt x="582701" y="230466"/>
                      </a:lnTo>
                      <a:lnTo>
                        <a:pt x="584314" y="230492"/>
                      </a:lnTo>
                      <a:lnTo>
                        <a:pt x="585927" y="230670"/>
                      </a:lnTo>
                      <a:lnTo>
                        <a:pt x="588352" y="231228"/>
                      </a:lnTo>
                      <a:lnTo>
                        <a:pt x="589838" y="231673"/>
                      </a:lnTo>
                      <a:lnTo>
                        <a:pt x="591400" y="231444"/>
                      </a:lnTo>
                      <a:lnTo>
                        <a:pt x="592709" y="231178"/>
                      </a:lnTo>
                      <a:lnTo>
                        <a:pt x="594334" y="230670"/>
                      </a:lnTo>
                      <a:lnTo>
                        <a:pt x="594817" y="230466"/>
                      </a:lnTo>
                      <a:lnTo>
                        <a:pt x="595185" y="230314"/>
                      </a:lnTo>
                      <a:lnTo>
                        <a:pt x="596671" y="228015"/>
                      </a:lnTo>
                      <a:lnTo>
                        <a:pt x="596836" y="226606"/>
                      </a:lnTo>
                      <a:lnTo>
                        <a:pt x="598551" y="226695"/>
                      </a:lnTo>
                      <a:lnTo>
                        <a:pt x="599376" y="226822"/>
                      </a:lnTo>
                      <a:lnTo>
                        <a:pt x="599643" y="226771"/>
                      </a:lnTo>
                      <a:lnTo>
                        <a:pt x="599998" y="226745"/>
                      </a:lnTo>
                      <a:lnTo>
                        <a:pt x="600252" y="226733"/>
                      </a:lnTo>
                      <a:lnTo>
                        <a:pt x="600671" y="226606"/>
                      </a:lnTo>
                      <a:lnTo>
                        <a:pt x="601319" y="226415"/>
                      </a:lnTo>
                      <a:lnTo>
                        <a:pt x="603288" y="224853"/>
                      </a:lnTo>
                      <a:lnTo>
                        <a:pt x="605243" y="224091"/>
                      </a:lnTo>
                      <a:lnTo>
                        <a:pt x="605993" y="223862"/>
                      </a:lnTo>
                      <a:lnTo>
                        <a:pt x="606577" y="223989"/>
                      </a:lnTo>
                      <a:lnTo>
                        <a:pt x="606806" y="224510"/>
                      </a:lnTo>
                      <a:lnTo>
                        <a:pt x="606831" y="224853"/>
                      </a:lnTo>
                      <a:lnTo>
                        <a:pt x="606717" y="225767"/>
                      </a:lnTo>
                      <a:lnTo>
                        <a:pt x="606259" y="226263"/>
                      </a:lnTo>
                      <a:lnTo>
                        <a:pt x="607161" y="226847"/>
                      </a:lnTo>
                      <a:lnTo>
                        <a:pt x="607441" y="226885"/>
                      </a:lnTo>
                      <a:lnTo>
                        <a:pt x="607860" y="226885"/>
                      </a:lnTo>
                      <a:lnTo>
                        <a:pt x="608520" y="226822"/>
                      </a:lnTo>
                      <a:lnTo>
                        <a:pt x="609180" y="226695"/>
                      </a:lnTo>
                      <a:lnTo>
                        <a:pt x="610019" y="226466"/>
                      </a:lnTo>
                      <a:lnTo>
                        <a:pt x="609892" y="226263"/>
                      </a:lnTo>
                      <a:lnTo>
                        <a:pt x="609193" y="225475"/>
                      </a:lnTo>
                      <a:lnTo>
                        <a:pt x="608253" y="224510"/>
                      </a:lnTo>
                      <a:lnTo>
                        <a:pt x="607542" y="223862"/>
                      </a:lnTo>
                      <a:lnTo>
                        <a:pt x="606894" y="223266"/>
                      </a:lnTo>
                      <a:lnTo>
                        <a:pt x="607479" y="220611"/>
                      </a:lnTo>
                      <a:lnTo>
                        <a:pt x="608482" y="218122"/>
                      </a:lnTo>
                      <a:lnTo>
                        <a:pt x="609866" y="213969"/>
                      </a:lnTo>
                      <a:lnTo>
                        <a:pt x="612419" y="211543"/>
                      </a:lnTo>
                      <a:lnTo>
                        <a:pt x="613918" y="210769"/>
                      </a:lnTo>
                      <a:lnTo>
                        <a:pt x="615226" y="210172"/>
                      </a:lnTo>
                      <a:lnTo>
                        <a:pt x="618312" y="208356"/>
                      </a:lnTo>
                      <a:lnTo>
                        <a:pt x="618731" y="208114"/>
                      </a:lnTo>
                      <a:lnTo>
                        <a:pt x="621360" y="206362"/>
                      </a:lnTo>
                      <a:lnTo>
                        <a:pt x="623824" y="204838"/>
                      </a:lnTo>
                      <a:lnTo>
                        <a:pt x="623468" y="204558"/>
                      </a:lnTo>
                      <a:lnTo>
                        <a:pt x="622211" y="203949"/>
                      </a:lnTo>
                      <a:lnTo>
                        <a:pt x="621677" y="203720"/>
                      </a:lnTo>
                      <a:lnTo>
                        <a:pt x="621220" y="203454"/>
                      </a:lnTo>
                      <a:lnTo>
                        <a:pt x="621055" y="203352"/>
                      </a:lnTo>
                      <a:lnTo>
                        <a:pt x="620496" y="203454"/>
                      </a:lnTo>
                      <a:lnTo>
                        <a:pt x="619709" y="202514"/>
                      </a:lnTo>
                      <a:lnTo>
                        <a:pt x="620522" y="201256"/>
                      </a:lnTo>
                      <a:lnTo>
                        <a:pt x="621220" y="199529"/>
                      </a:lnTo>
                      <a:lnTo>
                        <a:pt x="621499" y="198653"/>
                      </a:lnTo>
                      <a:lnTo>
                        <a:pt x="622147" y="197231"/>
                      </a:lnTo>
                      <a:lnTo>
                        <a:pt x="622058" y="196329"/>
                      </a:lnTo>
                      <a:lnTo>
                        <a:pt x="622236" y="196278"/>
                      </a:lnTo>
                      <a:lnTo>
                        <a:pt x="622985" y="196240"/>
                      </a:lnTo>
                      <a:lnTo>
                        <a:pt x="623595" y="196126"/>
                      </a:lnTo>
                      <a:lnTo>
                        <a:pt x="624281" y="195884"/>
                      </a:lnTo>
                      <a:lnTo>
                        <a:pt x="625119" y="195478"/>
                      </a:lnTo>
                      <a:lnTo>
                        <a:pt x="625767" y="194983"/>
                      </a:lnTo>
                      <a:lnTo>
                        <a:pt x="626351" y="194335"/>
                      </a:lnTo>
                      <a:lnTo>
                        <a:pt x="627011" y="193713"/>
                      </a:lnTo>
                      <a:lnTo>
                        <a:pt x="627659" y="193205"/>
                      </a:lnTo>
                      <a:lnTo>
                        <a:pt x="629831" y="193205"/>
                      </a:lnTo>
                      <a:lnTo>
                        <a:pt x="631736" y="193167"/>
                      </a:lnTo>
                      <a:lnTo>
                        <a:pt x="632421" y="193217"/>
                      </a:lnTo>
                      <a:lnTo>
                        <a:pt x="634441" y="193167"/>
                      </a:lnTo>
                      <a:lnTo>
                        <a:pt x="636905" y="193078"/>
                      </a:lnTo>
                      <a:lnTo>
                        <a:pt x="636549" y="191516"/>
                      </a:lnTo>
                      <a:lnTo>
                        <a:pt x="637540" y="190842"/>
                      </a:lnTo>
                      <a:lnTo>
                        <a:pt x="638429" y="189928"/>
                      </a:lnTo>
                      <a:lnTo>
                        <a:pt x="639114" y="189395"/>
                      </a:lnTo>
                      <a:lnTo>
                        <a:pt x="640346" y="187972"/>
                      </a:lnTo>
                      <a:lnTo>
                        <a:pt x="641311" y="187439"/>
                      </a:lnTo>
                      <a:lnTo>
                        <a:pt x="642493" y="187096"/>
                      </a:lnTo>
                      <a:lnTo>
                        <a:pt x="643229" y="187032"/>
                      </a:lnTo>
                      <a:lnTo>
                        <a:pt x="644296" y="186677"/>
                      </a:lnTo>
                      <a:lnTo>
                        <a:pt x="644232" y="186270"/>
                      </a:lnTo>
                      <a:lnTo>
                        <a:pt x="644499" y="186499"/>
                      </a:lnTo>
                      <a:lnTo>
                        <a:pt x="644766" y="186258"/>
                      </a:lnTo>
                      <a:close/>
                    </a:path>
                    <a:path w="1878964" h="1228089">
                      <a:moveTo>
                        <a:pt x="650735" y="419150"/>
                      </a:moveTo>
                      <a:lnTo>
                        <a:pt x="636003" y="414159"/>
                      </a:lnTo>
                      <a:lnTo>
                        <a:pt x="634250" y="413448"/>
                      </a:lnTo>
                      <a:lnTo>
                        <a:pt x="632193" y="412673"/>
                      </a:lnTo>
                      <a:lnTo>
                        <a:pt x="631101" y="412470"/>
                      </a:lnTo>
                      <a:lnTo>
                        <a:pt x="630555" y="412445"/>
                      </a:lnTo>
                      <a:lnTo>
                        <a:pt x="630059" y="412445"/>
                      </a:lnTo>
                      <a:lnTo>
                        <a:pt x="618553" y="413943"/>
                      </a:lnTo>
                      <a:lnTo>
                        <a:pt x="617296" y="415061"/>
                      </a:lnTo>
                      <a:lnTo>
                        <a:pt x="613219" y="417614"/>
                      </a:lnTo>
                      <a:lnTo>
                        <a:pt x="609409" y="420852"/>
                      </a:lnTo>
                      <a:lnTo>
                        <a:pt x="650189" y="420827"/>
                      </a:lnTo>
                      <a:lnTo>
                        <a:pt x="650278" y="420217"/>
                      </a:lnTo>
                      <a:lnTo>
                        <a:pt x="650735" y="419150"/>
                      </a:lnTo>
                      <a:close/>
                    </a:path>
                    <a:path w="1878964" h="1228089">
                      <a:moveTo>
                        <a:pt x="657733" y="462432"/>
                      </a:moveTo>
                      <a:lnTo>
                        <a:pt x="657479" y="462127"/>
                      </a:lnTo>
                      <a:lnTo>
                        <a:pt x="654443" y="461670"/>
                      </a:lnTo>
                      <a:lnTo>
                        <a:pt x="650773" y="460425"/>
                      </a:lnTo>
                      <a:lnTo>
                        <a:pt x="647788" y="458597"/>
                      </a:lnTo>
                      <a:lnTo>
                        <a:pt x="642480" y="455917"/>
                      </a:lnTo>
                      <a:lnTo>
                        <a:pt x="642150" y="450786"/>
                      </a:lnTo>
                      <a:lnTo>
                        <a:pt x="642518" y="450748"/>
                      </a:lnTo>
                      <a:lnTo>
                        <a:pt x="642353" y="449453"/>
                      </a:lnTo>
                      <a:lnTo>
                        <a:pt x="642239" y="448551"/>
                      </a:lnTo>
                      <a:lnTo>
                        <a:pt x="641350" y="448551"/>
                      </a:lnTo>
                      <a:lnTo>
                        <a:pt x="640829" y="447840"/>
                      </a:lnTo>
                      <a:lnTo>
                        <a:pt x="639737" y="446354"/>
                      </a:lnTo>
                      <a:lnTo>
                        <a:pt x="638136" y="444690"/>
                      </a:lnTo>
                      <a:lnTo>
                        <a:pt x="637832" y="443572"/>
                      </a:lnTo>
                      <a:lnTo>
                        <a:pt x="637476" y="442214"/>
                      </a:lnTo>
                      <a:lnTo>
                        <a:pt x="637400" y="441960"/>
                      </a:lnTo>
                      <a:lnTo>
                        <a:pt x="637057" y="441985"/>
                      </a:lnTo>
                      <a:lnTo>
                        <a:pt x="637095" y="442214"/>
                      </a:lnTo>
                      <a:lnTo>
                        <a:pt x="636930" y="441998"/>
                      </a:lnTo>
                      <a:lnTo>
                        <a:pt x="636498" y="441413"/>
                      </a:lnTo>
                      <a:lnTo>
                        <a:pt x="635774" y="441401"/>
                      </a:lnTo>
                      <a:lnTo>
                        <a:pt x="635025" y="441985"/>
                      </a:lnTo>
                      <a:lnTo>
                        <a:pt x="634428" y="441388"/>
                      </a:lnTo>
                      <a:lnTo>
                        <a:pt x="634339" y="441515"/>
                      </a:lnTo>
                      <a:lnTo>
                        <a:pt x="634238" y="441896"/>
                      </a:lnTo>
                      <a:lnTo>
                        <a:pt x="633857" y="440575"/>
                      </a:lnTo>
                      <a:lnTo>
                        <a:pt x="637527" y="438886"/>
                      </a:lnTo>
                      <a:lnTo>
                        <a:pt x="640270" y="437146"/>
                      </a:lnTo>
                      <a:lnTo>
                        <a:pt x="640397" y="437184"/>
                      </a:lnTo>
                      <a:lnTo>
                        <a:pt x="640105" y="433997"/>
                      </a:lnTo>
                      <a:lnTo>
                        <a:pt x="640245" y="432892"/>
                      </a:lnTo>
                      <a:lnTo>
                        <a:pt x="640283" y="430796"/>
                      </a:lnTo>
                      <a:lnTo>
                        <a:pt x="641705" y="429387"/>
                      </a:lnTo>
                      <a:lnTo>
                        <a:pt x="640588" y="428739"/>
                      </a:lnTo>
                      <a:lnTo>
                        <a:pt x="642708" y="427164"/>
                      </a:lnTo>
                      <a:lnTo>
                        <a:pt x="646061" y="423672"/>
                      </a:lnTo>
                      <a:lnTo>
                        <a:pt x="648589" y="425551"/>
                      </a:lnTo>
                      <a:lnTo>
                        <a:pt x="648919" y="424522"/>
                      </a:lnTo>
                      <a:lnTo>
                        <a:pt x="649274" y="423672"/>
                      </a:lnTo>
                      <a:lnTo>
                        <a:pt x="649986" y="421970"/>
                      </a:lnTo>
                      <a:lnTo>
                        <a:pt x="650087" y="421398"/>
                      </a:lnTo>
                      <a:lnTo>
                        <a:pt x="650176" y="420852"/>
                      </a:lnTo>
                      <a:lnTo>
                        <a:pt x="633603" y="420852"/>
                      </a:lnTo>
                      <a:lnTo>
                        <a:pt x="633603" y="449237"/>
                      </a:lnTo>
                      <a:lnTo>
                        <a:pt x="632117" y="447840"/>
                      </a:lnTo>
                      <a:lnTo>
                        <a:pt x="633349" y="448945"/>
                      </a:lnTo>
                      <a:lnTo>
                        <a:pt x="633603" y="449237"/>
                      </a:lnTo>
                      <a:lnTo>
                        <a:pt x="633603" y="420852"/>
                      </a:lnTo>
                      <a:lnTo>
                        <a:pt x="622668" y="420852"/>
                      </a:lnTo>
                      <a:lnTo>
                        <a:pt x="622668" y="458025"/>
                      </a:lnTo>
                      <a:lnTo>
                        <a:pt x="622465" y="457403"/>
                      </a:lnTo>
                      <a:lnTo>
                        <a:pt x="622465" y="458381"/>
                      </a:lnTo>
                      <a:lnTo>
                        <a:pt x="622160" y="458939"/>
                      </a:lnTo>
                      <a:lnTo>
                        <a:pt x="622465" y="458381"/>
                      </a:lnTo>
                      <a:lnTo>
                        <a:pt x="622465" y="457403"/>
                      </a:lnTo>
                      <a:lnTo>
                        <a:pt x="621855" y="456679"/>
                      </a:lnTo>
                      <a:lnTo>
                        <a:pt x="621169" y="455663"/>
                      </a:lnTo>
                      <a:lnTo>
                        <a:pt x="618451" y="454266"/>
                      </a:lnTo>
                      <a:lnTo>
                        <a:pt x="618248" y="454266"/>
                      </a:lnTo>
                      <a:lnTo>
                        <a:pt x="618248" y="465670"/>
                      </a:lnTo>
                      <a:lnTo>
                        <a:pt x="618248" y="454266"/>
                      </a:lnTo>
                      <a:lnTo>
                        <a:pt x="617093" y="454266"/>
                      </a:lnTo>
                      <a:lnTo>
                        <a:pt x="617093" y="467461"/>
                      </a:lnTo>
                      <a:lnTo>
                        <a:pt x="616699" y="467982"/>
                      </a:lnTo>
                      <a:lnTo>
                        <a:pt x="616953" y="467601"/>
                      </a:lnTo>
                      <a:lnTo>
                        <a:pt x="617093" y="467461"/>
                      </a:lnTo>
                      <a:lnTo>
                        <a:pt x="617093" y="454266"/>
                      </a:lnTo>
                      <a:lnTo>
                        <a:pt x="615734" y="454139"/>
                      </a:lnTo>
                      <a:lnTo>
                        <a:pt x="615467" y="454139"/>
                      </a:lnTo>
                      <a:lnTo>
                        <a:pt x="615467" y="458076"/>
                      </a:lnTo>
                      <a:lnTo>
                        <a:pt x="615391" y="458584"/>
                      </a:lnTo>
                      <a:lnTo>
                        <a:pt x="615276" y="459600"/>
                      </a:lnTo>
                      <a:lnTo>
                        <a:pt x="614591" y="460489"/>
                      </a:lnTo>
                      <a:lnTo>
                        <a:pt x="613283" y="460870"/>
                      </a:lnTo>
                      <a:lnTo>
                        <a:pt x="610743" y="461378"/>
                      </a:lnTo>
                      <a:lnTo>
                        <a:pt x="607720" y="461632"/>
                      </a:lnTo>
                      <a:lnTo>
                        <a:pt x="606704" y="461632"/>
                      </a:lnTo>
                      <a:lnTo>
                        <a:pt x="603389" y="462013"/>
                      </a:lnTo>
                      <a:lnTo>
                        <a:pt x="602297" y="461759"/>
                      </a:lnTo>
                      <a:lnTo>
                        <a:pt x="602183" y="461632"/>
                      </a:lnTo>
                      <a:lnTo>
                        <a:pt x="602094" y="461403"/>
                      </a:lnTo>
                      <a:lnTo>
                        <a:pt x="602170" y="461556"/>
                      </a:lnTo>
                      <a:lnTo>
                        <a:pt x="602297" y="461721"/>
                      </a:lnTo>
                      <a:lnTo>
                        <a:pt x="602830" y="461835"/>
                      </a:lnTo>
                      <a:lnTo>
                        <a:pt x="603377" y="461924"/>
                      </a:lnTo>
                      <a:lnTo>
                        <a:pt x="607047" y="461568"/>
                      </a:lnTo>
                      <a:lnTo>
                        <a:pt x="608571" y="461492"/>
                      </a:lnTo>
                      <a:lnTo>
                        <a:pt x="615454" y="458025"/>
                      </a:lnTo>
                      <a:lnTo>
                        <a:pt x="615467" y="454139"/>
                      </a:lnTo>
                      <a:lnTo>
                        <a:pt x="615073" y="454139"/>
                      </a:lnTo>
                      <a:lnTo>
                        <a:pt x="614730" y="454393"/>
                      </a:lnTo>
                      <a:lnTo>
                        <a:pt x="614591" y="454444"/>
                      </a:lnTo>
                      <a:lnTo>
                        <a:pt x="614591" y="455650"/>
                      </a:lnTo>
                      <a:lnTo>
                        <a:pt x="614514" y="455409"/>
                      </a:lnTo>
                      <a:lnTo>
                        <a:pt x="614591" y="455650"/>
                      </a:lnTo>
                      <a:lnTo>
                        <a:pt x="614591" y="454444"/>
                      </a:lnTo>
                      <a:lnTo>
                        <a:pt x="614362" y="454520"/>
                      </a:lnTo>
                      <a:lnTo>
                        <a:pt x="614362" y="455282"/>
                      </a:lnTo>
                      <a:lnTo>
                        <a:pt x="614362" y="454520"/>
                      </a:lnTo>
                      <a:lnTo>
                        <a:pt x="614324" y="454393"/>
                      </a:lnTo>
                      <a:lnTo>
                        <a:pt x="614730" y="454367"/>
                      </a:lnTo>
                      <a:lnTo>
                        <a:pt x="615061" y="454050"/>
                      </a:lnTo>
                      <a:lnTo>
                        <a:pt x="615734" y="454050"/>
                      </a:lnTo>
                      <a:lnTo>
                        <a:pt x="617029" y="454139"/>
                      </a:lnTo>
                      <a:lnTo>
                        <a:pt x="617550" y="454202"/>
                      </a:lnTo>
                      <a:lnTo>
                        <a:pt x="618274" y="454240"/>
                      </a:lnTo>
                      <a:lnTo>
                        <a:pt x="618451" y="454164"/>
                      </a:lnTo>
                      <a:lnTo>
                        <a:pt x="621169" y="455587"/>
                      </a:lnTo>
                      <a:lnTo>
                        <a:pt x="621855" y="456577"/>
                      </a:lnTo>
                      <a:lnTo>
                        <a:pt x="622439" y="457250"/>
                      </a:lnTo>
                      <a:lnTo>
                        <a:pt x="622668" y="458025"/>
                      </a:lnTo>
                      <a:lnTo>
                        <a:pt x="622668" y="420852"/>
                      </a:lnTo>
                      <a:lnTo>
                        <a:pt x="621004" y="420852"/>
                      </a:lnTo>
                      <a:lnTo>
                        <a:pt x="621004" y="451954"/>
                      </a:lnTo>
                      <a:lnTo>
                        <a:pt x="620280" y="452577"/>
                      </a:lnTo>
                      <a:lnTo>
                        <a:pt x="621004" y="451954"/>
                      </a:lnTo>
                      <a:lnTo>
                        <a:pt x="621004" y="420852"/>
                      </a:lnTo>
                      <a:lnTo>
                        <a:pt x="619569" y="420852"/>
                      </a:lnTo>
                      <a:lnTo>
                        <a:pt x="619569" y="453288"/>
                      </a:lnTo>
                      <a:lnTo>
                        <a:pt x="619290" y="453517"/>
                      </a:lnTo>
                      <a:lnTo>
                        <a:pt x="619569" y="453288"/>
                      </a:lnTo>
                      <a:lnTo>
                        <a:pt x="619569" y="420852"/>
                      </a:lnTo>
                      <a:lnTo>
                        <a:pt x="609409" y="420852"/>
                      </a:lnTo>
                      <a:lnTo>
                        <a:pt x="605726" y="420852"/>
                      </a:lnTo>
                      <a:lnTo>
                        <a:pt x="603554" y="421398"/>
                      </a:lnTo>
                      <a:lnTo>
                        <a:pt x="602081" y="420878"/>
                      </a:lnTo>
                      <a:lnTo>
                        <a:pt x="602081" y="461352"/>
                      </a:lnTo>
                      <a:lnTo>
                        <a:pt x="601103" y="461124"/>
                      </a:lnTo>
                      <a:lnTo>
                        <a:pt x="599668" y="460997"/>
                      </a:lnTo>
                      <a:lnTo>
                        <a:pt x="597065" y="460489"/>
                      </a:lnTo>
                      <a:lnTo>
                        <a:pt x="596138" y="460108"/>
                      </a:lnTo>
                      <a:lnTo>
                        <a:pt x="595185" y="459346"/>
                      </a:lnTo>
                      <a:lnTo>
                        <a:pt x="593356" y="457441"/>
                      </a:lnTo>
                      <a:lnTo>
                        <a:pt x="592531" y="456933"/>
                      </a:lnTo>
                      <a:lnTo>
                        <a:pt x="592251" y="456933"/>
                      </a:lnTo>
                      <a:lnTo>
                        <a:pt x="592061" y="456806"/>
                      </a:lnTo>
                      <a:lnTo>
                        <a:pt x="591781" y="456806"/>
                      </a:lnTo>
                      <a:lnTo>
                        <a:pt x="590638" y="456679"/>
                      </a:lnTo>
                      <a:lnTo>
                        <a:pt x="589178" y="457060"/>
                      </a:lnTo>
                      <a:lnTo>
                        <a:pt x="586701" y="457187"/>
                      </a:lnTo>
                      <a:lnTo>
                        <a:pt x="586105" y="457415"/>
                      </a:lnTo>
                      <a:lnTo>
                        <a:pt x="586701" y="457174"/>
                      </a:lnTo>
                      <a:lnTo>
                        <a:pt x="589178" y="456946"/>
                      </a:lnTo>
                      <a:lnTo>
                        <a:pt x="590626" y="456603"/>
                      </a:lnTo>
                      <a:lnTo>
                        <a:pt x="591781" y="456768"/>
                      </a:lnTo>
                      <a:lnTo>
                        <a:pt x="592048" y="456780"/>
                      </a:lnTo>
                      <a:lnTo>
                        <a:pt x="592239" y="456831"/>
                      </a:lnTo>
                      <a:lnTo>
                        <a:pt x="592442" y="456933"/>
                      </a:lnTo>
                      <a:lnTo>
                        <a:pt x="593382" y="457352"/>
                      </a:lnTo>
                      <a:lnTo>
                        <a:pt x="594347" y="458431"/>
                      </a:lnTo>
                      <a:lnTo>
                        <a:pt x="595185" y="459282"/>
                      </a:lnTo>
                      <a:lnTo>
                        <a:pt x="596138" y="459981"/>
                      </a:lnTo>
                      <a:lnTo>
                        <a:pt x="597065" y="460451"/>
                      </a:lnTo>
                      <a:lnTo>
                        <a:pt x="598995" y="460781"/>
                      </a:lnTo>
                      <a:lnTo>
                        <a:pt x="599655" y="460971"/>
                      </a:lnTo>
                      <a:lnTo>
                        <a:pt x="601103" y="461098"/>
                      </a:lnTo>
                      <a:lnTo>
                        <a:pt x="602081" y="461352"/>
                      </a:lnTo>
                      <a:lnTo>
                        <a:pt x="602081" y="420878"/>
                      </a:lnTo>
                      <a:lnTo>
                        <a:pt x="599821" y="420077"/>
                      </a:lnTo>
                      <a:lnTo>
                        <a:pt x="598474" y="419887"/>
                      </a:lnTo>
                      <a:lnTo>
                        <a:pt x="596671" y="419633"/>
                      </a:lnTo>
                      <a:lnTo>
                        <a:pt x="593458" y="418592"/>
                      </a:lnTo>
                      <a:lnTo>
                        <a:pt x="590410" y="419531"/>
                      </a:lnTo>
                      <a:lnTo>
                        <a:pt x="588873" y="419887"/>
                      </a:lnTo>
                      <a:lnTo>
                        <a:pt x="585101" y="419862"/>
                      </a:lnTo>
                      <a:lnTo>
                        <a:pt x="585101" y="457809"/>
                      </a:lnTo>
                      <a:lnTo>
                        <a:pt x="583996" y="458330"/>
                      </a:lnTo>
                      <a:lnTo>
                        <a:pt x="582447" y="458838"/>
                      </a:lnTo>
                      <a:lnTo>
                        <a:pt x="580923" y="459473"/>
                      </a:lnTo>
                      <a:lnTo>
                        <a:pt x="579297" y="459981"/>
                      </a:lnTo>
                      <a:lnTo>
                        <a:pt x="575995" y="460616"/>
                      </a:lnTo>
                      <a:lnTo>
                        <a:pt x="572579" y="460375"/>
                      </a:lnTo>
                      <a:lnTo>
                        <a:pt x="575983" y="460527"/>
                      </a:lnTo>
                      <a:lnTo>
                        <a:pt x="576910" y="460362"/>
                      </a:lnTo>
                      <a:lnTo>
                        <a:pt x="579107" y="459968"/>
                      </a:lnTo>
                      <a:lnTo>
                        <a:pt x="579297" y="459930"/>
                      </a:lnTo>
                      <a:lnTo>
                        <a:pt x="580910" y="459371"/>
                      </a:lnTo>
                      <a:lnTo>
                        <a:pt x="582447" y="458787"/>
                      </a:lnTo>
                      <a:lnTo>
                        <a:pt x="583996" y="458254"/>
                      </a:lnTo>
                      <a:lnTo>
                        <a:pt x="585101" y="457809"/>
                      </a:lnTo>
                      <a:lnTo>
                        <a:pt x="585101" y="419862"/>
                      </a:lnTo>
                      <a:lnTo>
                        <a:pt x="584212" y="419849"/>
                      </a:lnTo>
                      <a:lnTo>
                        <a:pt x="581863" y="418858"/>
                      </a:lnTo>
                      <a:lnTo>
                        <a:pt x="579348" y="418045"/>
                      </a:lnTo>
                      <a:lnTo>
                        <a:pt x="576008" y="417156"/>
                      </a:lnTo>
                      <a:lnTo>
                        <a:pt x="574217" y="417334"/>
                      </a:lnTo>
                      <a:lnTo>
                        <a:pt x="573430" y="417537"/>
                      </a:lnTo>
                      <a:lnTo>
                        <a:pt x="572668" y="417690"/>
                      </a:lnTo>
                      <a:lnTo>
                        <a:pt x="572554" y="460362"/>
                      </a:lnTo>
                      <a:lnTo>
                        <a:pt x="569417" y="460616"/>
                      </a:lnTo>
                      <a:lnTo>
                        <a:pt x="572135" y="460387"/>
                      </a:lnTo>
                      <a:lnTo>
                        <a:pt x="572554" y="460362"/>
                      </a:lnTo>
                      <a:lnTo>
                        <a:pt x="572554" y="417741"/>
                      </a:lnTo>
                      <a:lnTo>
                        <a:pt x="571766" y="418033"/>
                      </a:lnTo>
                      <a:lnTo>
                        <a:pt x="570953" y="418045"/>
                      </a:lnTo>
                      <a:lnTo>
                        <a:pt x="570242" y="417906"/>
                      </a:lnTo>
                      <a:lnTo>
                        <a:pt x="569899" y="417791"/>
                      </a:lnTo>
                      <a:lnTo>
                        <a:pt x="568972" y="417652"/>
                      </a:lnTo>
                      <a:lnTo>
                        <a:pt x="568744" y="417334"/>
                      </a:lnTo>
                      <a:lnTo>
                        <a:pt x="568794" y="416610"/>
                      </a:lnTo>
                      <a:lnTo>
                        <a:pt x="568896" y="416255"/>
                      </a:lnTo>
                      <a:lnTo>
                        <a:pt x="568972" y="415696"/>
                      </a:lnTo>
                      <a:lnTo>
                        <a:pt x="569899" y="413943"/>
                      </a:lnTo>
                      <a:lnTo>
                        <a:pt x="570357" y="413016"/>
                      </a:lnTo>
                      <a:lnTo>
                        <a:pt x="570496" y="412648"/>
                      </a:lnTo>
                      <a:lnTo>
                        <a:pt x="568947" y="412000"/>
                      </a:lnTo>
                      <a:lnTo>
                        <a:pt x="566381" y="410933"/>
                      </a:lnTo>
                      <a:lnTo>
                        <a:pt x="565772" y="410641"/>
                      </a:lnTo>
                      <a:lnTo>
                        <a:pt x="565442" y="411238"/>
                      </a:lnTo>
                      <a:lnTo>
                        <a:pt x="565277" y="411543"/>
                      </a:lnTo>
                      <a:lnTo>
                        <a:pt x="565061" y="412076"/>
                      </a:lnTo>
                      <a:lnTo>
                        <a:pt x="564629" y="412711"/>
                      </a:lnTo>
                      <a:lnTo>
                        <a:pt x="561809" y="417791"/>
                      </a:lnTo>
                      <a:lnTo>
                        <a:pt x="561695" y="418858"/>
                      </a:lnTo>
                      <a:lnTo>
                        <a:pt x="562267" y="420243"/>
                      </a:lnTo>
                      <a:lnTo>
                        <a:pt x="562686" y="421970"/>
                      </a:lnTo>
                      <a:lnTo>
                        <a:pt x="569798" y="428231"/>
                      </a:lnTo>
                      <a:lnTo>
                        <a:pt x="570395" y="428663"/>
                      </a:lnTo>
                      <a:lnTo>
                        <a:pt x="568439" y="430339"/>
                      </a:lnTo>
                      <a:lnTo>
                        <a:pt x="566547" y="432168"/>
                      </a:lnTo>
                      <a:lnTo>
                        <a:pt x="563981" y="434047"/>
                      </a:lnTo>
                      <a:lnTo>
                        <a:pt x="562305" y="437184"/>
                      </a:lnTo>
                      <a:lnTo>
                        <a:pt x="562483" y="437984"/>
                      </a:lnTo>
                      <a:lnTo>
                        <a:pt x="563029" y="438886"/>
                      </a:lnTo>
                      <a:lnTo>
                        <a:pt x="563346" y="439635"/>
                      </a:lnTo>
                      <a:lnTo>
                        <a:pt x="563638" y="440016"/>
                      </a:lnTo>
                      <a:lnTo>
                        <a:pt x="563905" y="440410"/>
                      </a:lnTo>
                      <a:lnTo>
                        <a:pt x="563892" y="441693"/>
                      </a:lnTo>
                      <a:lnTo>
                        <a:pt x="562063" y="442925"/>
                      </a:lnTo>
                      <a:lnTo>
                        <a:pt x="561352" y="443649"/>
                      </a:lnTo>
                      <a:lnTo>
                        <a:pt x="561314" y="443877"/>
                      </a:lnTo>
                      <a:lnTo>
                        <a:pt x="562648" y="445541"/>
                      </a:lnTo>
                      <a:lnTo>
                        <a:pt x="564032" y="446709"/>
                      </a:lnTo>
                      <a:lnTo>
                        <a:pt x="567042" y="449516"/>
                      </a:lnTo>
                      <a:lnTo>
                        <a:pt x="570992" y="452729"/>
                      </a:lnTo>
                      <a:lnTo>
                        <a:pt x="570674" y="454050"/>
                      </a:lnTo>
                      <a:lnTo>
                        <a:pt x="570560" y="455815"/>
                      </a:lnTo>
                      <a:lnTo>
                        <a:pt x="569607" y="459282"/>
                      </a:lnTo>
                      <a:lnTo>
                        <a:pt x="569417" y="460451"/>
                      </a:lnTo>
                      <a:lnTo>
                        <a:pt x="569988" y="460387"/>
                      </a:lnTo>
                      <a:lnTo>
                        <a:pt x="569417" y="460451"/>
                      </a:lnTo>
                      <a:lnTo>
                        <a:pt x="568464" y="460616"/>
                      </a:lnTo>
                      <a:lnTo>
                        <a:pt x="567690" y="460616"/>
                      </a:lnTo>
                      <a:lnTo>
                        <a:pt x="567296" y="460743"/>
                      </a:lnTo>
                      <a:lnTo>
                        <a:pt x="567042" y="460870"/>
                      </a:lnTo>
                      <a:lnTo>
                        <a:pt x="566978" y="461124"/>
                      </a:lnTo>
                      <a:lnTo>
                        <a:pt x="566394" y="461759"/>
                      </a:lnTo>
                      <a:lnTo>
                        <a:pt x="565861" y="463029"/>
                      </a:lnTo>
                      <a:lnTo>
                        <a:pt x="564629" y="464299"/>
                      </a:lnTo>
                      <a:lnTo>
                        <a:pt x="563283" y="464426"/>
                      </a:lnTo>
                      <a:lnTo>
                        <a:pt x="561975" y="464299"/>
                      </a:lnTo>
                      <a:lnTo>
                        <a:pt x="559396" y="463537"/>
                      </a:lnTo>
                      <a:lnTo>
                        <a:pt x="558419" y="463791"/>
                      </a:lnTo>
                      <a:lnTo>
                        <a:pt x="557847" y="463791"/>
                      </a:lnTo>
                      <a:lnTo>
                        <a:pt x="556729" y="464045"/>
                      </a:lnTo>
                      <a:lnTo>
                        <a:pt x="555155" y="464553"/>
                      </a:lnTo>
                      <a:lnTo>
                        <a:pt x="554761" y="465061"/>
                      </a:lnTo>
                      <a:lnTo>
                        <a:pt x="554215" y="465442"/>
                      </a:lnTo>
                      <a:lnTo>
                        <a:pt x="553974" y="466458"/>
                      </a:lnTo>
                      <a:lnTo>
                        <a:pt x="553453" y="467220"/>
                      </a:lnTo>
                      <a:lnTo>
                        <a:pt x="553034" y="467601"/>
                      </a:lnTo>
                      <a:lnTo>
                        <a:pt x="552208" y="467728"/>
                      </a:lnTo>
                      <a:lnTo>
                        <a:pt x="551510" y="467728"/>
                      </a:lnTo>
                      <a:lnTo>
                        <a:pt x="550811" y="467855"/>
                      </a:lnTo>
                      <a:lnTo>
                        <a:pt x="549998" y="467855"/>
                      </a:lnTo>
                      <a:lnTo>
                        <a:pt x="548944" y="467982"/>
                      </a:lnTo>
                      <a:lnTo>
                        <a:pt x="547903" y="468236"/>
                      </a:lnTo>
                      <a:lnTo>
                        <a:pt x="546290" y="468490"/>
                      </a:lnTo>
                      <a:lnTo>
                        <a:pt x="545706" y="468490"/>
                      </a:lnTo>
                      <a:lnTo>
                        <a:pt x="543509" y="468871"/>
                      </a:lnTo>
                      <a:lnTo>
                        <a:pt x="542899" y="468871"/>
                      </a:lnTo>
                      <a:lnTo>
                        <a:pt x="542886" y="474586"/>
                      </a:lnTo>
                      <a:lnTo>
                        <a:pt x="540423" y="473697"/>
                      </a:lnTo>
                      <a:lnTo>
                        <a:pt x="537819" y="477507"/>
                      </a:lnTo>
                      <a:lnTo>
                        <a:pt x="537210" y="479920"/>
                      </a:lnTo>
                      <a:lnTo>
                        <a:pt x="535927" y="482587"/>
                      </a:lnTo>
                      <a:lnTo>
                        <a:pt x="534809" y="481825"/>
                      </a:lnTo>
                      <a:lnTo>
                        <a:pt x="533273" y="482460"/>
                      </a:lnTo>
                      <a:lnTo>
                        <a:pt x="533133" y="482638"/>
                      </a:lnTo>
                      <a:lnTo>
                        <a:pt x="533133" y="486448"/>
                      </a:lnTo>
                      <a:lnTo>
                        <a:pt x="533133" y="482638"/>
                      </a:lnTo>
                      <a:lnTo>
                        <a:pt x="532765" y="483095"/>
                      </a:lnTo>
                      <a:lnTo>
                        <a:pt x="531990" y="483590"/>
                      </a:lnTo>
                      <a:lnTo>
                        <a:pt x="532777" y="483044"/>
                      </a:lnTo>
                      <a:lnTo>
                        <a:pt x="533273" y="482333"/>
                      </a:lnTo>
                      <a:lnTo>
                        <a:pt x="534809" y="481774"/>
                      </a:lnTo>
                      <a:lnTo>
                        <a:pt x="535927" y="482485"/>
                      </a:lnTo>
                      <a:lnTo>
                        <a:pt x="536282" y="481774"/>
                      </a:lnTo>
                      <a:lnTo>
                        <a:pt x="537210" y="479920"/>
                      </a:lnTo>
                      <a:lnTo>
                        <a:pt x="537718" y="477786"/>
                      </a:lnTo>
                      <a:lnTo>
                        <a:pt x="537819" y="477380"/>
                      </a:lnTo>
                      <a:lnTo>
                        <a:pt x="540423" y="473621"/>
                      </a:lnTo>
                      <a:lnTo>
                        <a:pt x="542836" y="474472"/>
                      </a:lnTo>
                      <a:lnTo>
                        <a:pt x="542886" y="468884"/>
                      </a:lnTo>
                      <a:lnTo>
                        <a:pt x="542417" y="468998"/>
                      </a:lnTo>
                      <a:lnTo>
                        <a:pt x="541769" y="468998"/>
                      </a:lnTo>
                      <a:lnTo>
                        <a:pt x="541388" y="468896"/>
                      </a:lnTo>
                      <a:lnTo>
                        <a:pt x="541388" y="470573"/>
                      </a:lnTo>
                      <a:lnTo>
                        <a:pt x="541286" y="469480"/>
                      </a:lnTo>
                      <a:lnTo>
                        <a:pt x="541362" y="469760"/>
                      </a:lnTo>
                      <a:lnTo>
                        <a:pt x="541388" y="470573"/>
                      </a:lnTo>
                      <a:lnTo>
                        <a:pt x="541388" y="468896"/>
                      </a:lnTo>
                      <a:lnTo>
                        <a:pt x="541121" y="468757"/>
                      </a:lnTo>
                      <a:lnTo>
                        <a:pt x="540956" y="468604"/>
                      </a:lnTo>
                      <a:lnTo>
                        <a:pt x="540588" y="467995"/>
                      </a:lnTo>
                      <a:lnTo>
                        <a:pt x="540448" y="467728"/>
                      </a:lnTo>
                      <a:lnTo>
                        <a:pt x="539864" y="467283"/>
                      </a:lnTo>
                      <a:lnTo>
                        <a:pt x="539089" y="467995"/>
                      </a:lnTo>
                      <a:lnTo>
                        <a:pt x="538365" y="466953"/>
                      </a:lnTo>
                      <a:lnTo>
                        <a:pt x="537667" y="465785"/>
                      </a:lnTo>
                      <a:lnTo>
                        <a:pt x="536638" y="464642"/>
                      </a:lnTo>
                      <a:lnTo>
                        <a:pt x="536270" y="464642"/>
                      </a:lnTo>
                      <a:lnTo>
                        <a:pt x="535762" y="464019"/>
                      </a:lnTo>
                      <a:lnTo>
                        <a:pt x="535266" y="463372"/>
                      </a:lnTo>
                      <a:lnTo>
                        <a:pt x="534835" y="462432"/>
                      </a:lnTo>
                      <a:lnTo>
                        <a:pt x="534581" y="460971"/>
                      </a:lnTo>
                      <a:lnTo>
                        <a:pt x="535508" y="460502"/>
                      </a:lnTo>
                      <a:lnTo>
                        <a:pt x="535406" y="458965"/>
                      </a:lnTo>
                      <a:lnTo>
                        <a:pt x="534200" y="457568"/>
                      </a:lnTo>
                      <a:lnTo>
                        <a:pt x="534009" y="456895"/>
                      </a:lnTo>
                      <a:lnTo>
                        <a:pt x="534365" y="456882"/>
                      </a:lnTo>
                      <a:lnTo>
                        <a:pt x="534606" y="456780"/>
                      </a:lnTo>
                      <a:lnTo>
                        <a:pt x="534987" y="456539"/>
                      </a:lnTo>
                      <a:lnTo>
                        <a:pt x="521716" y="456476"/>
                      </a:lnTo>
                      <a:lnTo>
                        <a:pt x="518782" y="456476"/>
                      </a:lnTo>
                      <a:lnTo>
                        <a:pt x="519391" y="458000"/>
                      </a:lnTo>
                      <a:lnTo>
                        <a:pt x="518909" y="459651"/>
                      </a:lnTo>
                      <a:lnTo>
                        <a:pt x="518731" y="459486"/>
                      </a:lnTo>
                      <a:lnTo>
                        <a:pt x="518833" y="459651"/>
                      </a:lnTo>
                      <a:lnTo>
                        <a:pt x="520103" y="461695"/>
                      </a:lnTo>
                      <a:lnTo>
                        <a:pt x="520471" y="461772"/>
                      </a:lnTo>
                      <a:lnTo>
                        <a:pt x="519379" y="465785"/>
                      </a:lnTo>
                      <a:lnTo>
                        <a:pt x="519480" y="466763"/>
                      </a:lnTo>
                      <a:lnTo>
                        <a:pt x="519544" y="468363"/>
                      </a:lnTo>
                      <a:lnTo>
                        <a:pt x="518388" y="468376"/>
                      </a:lnTo>
                      <a:lnTo>
                        <a:pt x="517182" y="471652"/>
                      </a:lnTo>
                      <a:lnTo>
                        <a:pt x="518287" y="474484"/>
                      </a:lnTo>
                      <a:lnTo>
                        <a:pt x="519036" y="476072"/>
                      </a:lnTo>
                      <a:lnTo>
                        <a:pt x="519480" y="477786"/>
                      </a:lnTo>
                      <a:lnTo>
                        <a:pt x="519087" y="477735"/>
                      </a:lnTo>
                      <a:lnTo>
                        <a:pt x="516763" y="475424"/>
                      </a:lnTo>
                      <a:lnTo>
                        <a:pt x="518756" y="478751"/>
                      </a:lnTo>
                      <a:lnTo>
                        <a:pt x="526542" y="486498"/>
                      </a:lnTo>
                      <a:lnTo>
                        <a:pt x="526656" y="486841"/>
                      </a:lnTo>
                      <a:lnTo>
                        <a:pt x="527088" y="487629"/>
                      </a:lnTo>
                      <a:lnTo>
                        <a:pt x="527024" y="488746"/>
                      </a:lnTo>
                      <a:lnTo>
                        <a:pt x="528193" y="488696"/>
                      </a:lnTo>
                      <a:lnTo>
                        <a:pt x="528497" y="488759"/>
                      </a:lnTo>
                      <a:lnTo>
                        <a:pt x="529704" y="489165"/>
                      </a:lnTo>
                      <a:lnTo>
                        <a:pt x="530631" y="489077"/>
                      </a:lnTo>
                      <a:lnTo>
                        <a:pt x="531152" y="488835"/>
                      </a:lnTo>
                      <a:lnTo>
                        <a:pt x="531164" y="488696"/>
                      </a:lnTo>
                      <a:lnTo>
                        <a:pt x="531393" y="487210"/>
                      </a:lnTo>
                      <a:lnTo>
                        <a:pt x="531698" y="486841"/>
                      </a:lnTo>
                      <a:lnTo>
                        <a:pt x="531837" y="486498"/>
                      </a:lnTo>
                      <a:lnTo>
                        <a:pt x="532206" y="486346"/>
                      </a:lnTo>
                      <a:lnTo>
                        <a:pt x="533196" y="486638"/>
                      </a:lnTo>
                      <a:lnTo>
                        <a:pt x="532193" y="486397"/>
                      </a:lnTo>
                      <a:lnTo>
                        <a:pt x="531837" y="486524"/>
                      </a:lnTo>
                      <a:lnTo>
                        <a:pt x="531698" y="486905"/>
                      </a:lnTo>
                      <a:lnTo>
                        <a:pt x="531393" y="487286"/>
                      </a:lnTo>
                      <a:lnTo>
                        <a:pt x="531152" y="488937"/>
                      </a:lnTo>
                      <a:lnTo>
                        <a:pt x="530733" y="489064"/>
                      </a:lnTo>
                      <a:lnTo>
                        <a:pt x="530631" y="489191"/>
                      </a:lnTo>
                      <a:lnTo>
                        <a:pt x="529704" y="489191"/>
                      </a:lnTo>
                      <a:lnTo>
                        <a:pt x="528485" y="488810"/>
                      </a:lnTo>
                      <a:lnTo>
                        <a:pt x="527024" y="488810"/>
                      </a:lnTo>
                      <a:lnTo>
                        <a:pt x="527126" y="489953"/>
                      </a:lnTo>
                      <a:lnTo>
                        <a:pt x="528447" y="489953"/>
                      </a:lnTo>
                      <a:lnTo>
                        <a:pt x="529539" y="491731"/>
                      </a:lnTo>
                      <a:lnTo>
                        <a:pt x="530618" y="493636"/>
                      </a:lnTo>
                      <a:lnTo>
                        <a:pt x="533552" y="496684"/>
                      </a:lnTo>
                      <a:lnTo>
                        <a:pt x="536016" y="497700"/>
                      </a:lnTo>
                      <a:lnTo>
                        <a:pt x="537654" y="499732"/>
                      </a:lnTo>
                      <a:lnTo>
                        <a:pt x="537705" y="500494"/>
                      </a:lnTo>
                      <a:lnTo>
                        <a:pt x="537832" y="501002"/>
                      </a:lnTo>
                      <a:lnTo>
                        <a:pt x="538391" y="500113"/>
                      </a:lnTo>
                      <a:lnTo>
                        <a:pt x="538619" y="498081"/>
                      </a:lnTo>
                      <a:lnTo>
                        <a:pt x="541032" y="498843"/>
                      </a:lnTo>
                      <a:lnTo>
                        <a:pt x="543433" y="498843"/>
                      </a:lnTo>
                      <a:lnTo>
                        <a:pt x="543229" y="501002"/>
                      </a:lnTo>
                      <a:lnTo>
                        <a:pt x="543102" y="501764"/>
                      </a:lnTo>
                      <a:lnTo>
                        <a:pt x="542925" y="502526"/>
                      </a:lnTo>
                      <a:lnTo>
                        <a:pt x="542239" y="502145"/>
                      </a:lnTo>
                      <a:lnTo>
                        <a:pt x="541743" y="501510"/>
                      </a:lnTo>
                      <a:lnTo>
                        <a:pt x="541642" y="501383"/>
                      </a:lnTo>
                      <a:lnTo>
                        <a:pt x="540397" y="501129"/>
                      </a:lnTo>
                      <a:lnTo>
                        <a:pt x="540575" y="501510"/>
                      </a:lnTo>
                      <a:lnTo>
                        <a:pt x="538975" y="501383"/>
                      </a:lnTo>
                      <a:lnTo>
                        <a:pt x="537387" y="501002"/>
                      </a:lnTo>
                      <a:lnTo>
                        <a:pt x="538619" y="502526"/>
                      </a:lnTo>
                      <a:lnTo>
                        <a:pt x="537337" y="502907"/>
                      </a:lnTo>
                      <a:lnTo>
                        <a:pt x="538162" y="503669"/>
                      </a:lnTo>
                      <a:lnTo>
                        <a:pt x="539521" y="505701"/>
                      </a:lnTo>
                      <a:lnTo>
                        <a:pt x="541159" y="506844"/>
                      </a:lnTo>
                      <a:lnTo>
                        <a:pt x="543229" y="509892"/>
                      </a:lnTo>
                      <a:lnTo>
                        <a:pt x="543013" y="509765"/>
                      </a:lnTo>
                      <a:lnTo>
                        <a:pt x="543064" y="510400"/>
                      </a:lnTo>
                      <a:lnTo>
                        <a:pt x="543191" y="511035"/>
                      </a:lnTo>
                      <a:lnTo>
                        <a:pt x="545452" y="510019"/>
                      </a:lnTo>
                      <a:lnTo>
                        <a:pt x="545617" y="509892"/>
                      </a:lnTo>
                      <a:lnTo>
                        <a:pt x="546481" y="509257"/>
                      </a:lnTo>
                      <a:lnTo>
                        <a:pt x="546303" y="509130"/>
                      </a:lnTo>
                      <a:lnTo>
                        <a:pt x="546252" y="508876"/>
                      </a:lnTo>
                      <a:lnTo>
                        <a:pt x="546150" y="508622"/>
                      </a:lnTo>
                      <a:lnTo>
                        <a:pt x="548652" y="511035"/>
                      </a:lnTo>
                      <a:lnTo>
                        <a:pt x="548665" y="511416"/>
                      </a:lnTo>
                      <a:lnTo>
                        <a:pt x="548500" y="511797"/>
                      </a:lnTo>
                      <a:lnTo>
                        <a:pt x="550214" y="511797"/>
                      </a:lnTo>
                      <a:lnTo>
                        <a:pt x="552119" y="511162"/>
                      </a:lnTo>
                      <a:lnTo>
                        <a:pt x="555929" y="510400"/>
                      </a:lnTo>
                      <a:lnTo>
                        <a:pt x="558393" y="510781"/>
                      </a:lnTo>
                      <a:lnTo>
                        <a:pt x="562444" y="510908"/>
                      </a:lnTo>
                      <a:lnTo>
                        <a:pt x="564426" y="510654"/>
                      </a:lnTo>
                      <a:lnTo>
                        <a:pt x="573379" y="514210"/>
                      </a:lnTo>
                      <a:lnTo>
                        <a:pt x="572897" y="515480"/>
                      </a:lnTo>
                      <a:lnTo>
                        <a:pt x="570788" y="517410"/>
                      </a:lnTo>
                      <a:lnTo>
                        <a:pt x="575170" y="517766"/>
                      </a:lnTo>
                      <a:lnTo>
                        <a:pt x="576897" y="517131"/>
                      </a:lnTo>
                      <a:lnTo>
                        <a:pt x="577824" y="515861"/>
                      </a:lnTo>
                      <a:lnTo>
                        <a:pt x="579386" y="516496"/>
                      </a:lnTo>
                      <a:lnTo>
                        <a:pt x="577837" y="517639"/>
                      </a:lnTo>
                      <a:lnTo>
                        <a:pt x="579551" y="517766"/>
                      </a:lnTo>
                      <a:lnTo>
                        <a:pt x="579374" y="518020"/>
                      </a:lnTo>
                      <a:lnTo>
                        <a:pt x="579666" y="517893"/>
                      </a:lnTo>
                      <a:lnTo>
                        <a:pt x="580059" y="517766"/>
                      </a:lnTo>
                      <a:lnTo>
                        <a:pt x="580821" y="518528"/>
                      </a:lnTo>
                      <a:lnTo>
                        <a:pt x="581075" y="519798"/>
                      </a:lnTo>
                      <a:lnTo>
                        <a:pt x="581736" y="520306"/>
                      </a:lnTo>
                      <a:lnTo>
                        <a:pt x="582434" y="520052"/>
                      </a:lnTo>
                      <a:lnTo>
                        <a:pt x="583361" y="520687"/>
                      </a:lnTo>
                      <a:lnTo>
                        <a:pt x="583361" y="521195"/>
                      </a:lnTo>
                      <a:lnTo>
                        <a:pt x="583793" y="521703"/>
                      </a:lnTo>
                      <a:lnTo>
                        <a:pt x="583730" y="522338"/>
                      </a:lnTo>
                      <a:lnTo>
                        <a:pt x="585584" y="522719"/>
                      </a:lnTo>
                      <a:lnTo>
                        <a:pt x="586054" y="521195"/>
                      </a:lnTo>
                      <a:lnTo>
                        <a:pt x="584263" y="515861"/>
                      </a:lnTo>
                      <a:lnTo>
                        <a:pt x="583679" y="514337"/>
                      </a:lnTo>
                      <a:lnTo>
                        <a:pt x="585520" y="514591"/>
                      </a:lnTo>
                      <a:lnTo>
                        <a:pt x="585647" y="514337"/>
                      </a:lnTo>
                      <a:lnTo>
                        <a:pt x="586371" y="512940"/>
                      </a:lnTo>
                      <a:lnTo>
                        <a:pt x="580555" y="510654"/>
                      </a:lnTo>
                      <a:lnTo>
                        <a:pt x="579907" y="510400"/>
                      </a:lnTo>
                      <a:lnTo>
                        <a:pt x="575373" y="508622"/>
                      </a:lnTo>
                      <a:lnTo>
                        <a:pt x="575056" y="508495"/>
                      </a:lnTo>
                      <a:lnTo>
                        <a:pt x="571919" y="506209"/>
                      </a:lnTo>
                      <a:lnTo>
                        <a:pt x="570877" y="504558"/>
                      </a:lnTo>
                      <a:lnTo>
                        <a:pt x="566496" y="503288"/>
                      </a:lnTo>
                      <a:lnTo>
                        <a:pt x="565721" y="503161"/>
                      </a:lnTo>
                      <a:lnTo>
                        <a:pt x="564337" y="503288"/>
                      </a:lnTo>
                      <a:lnTo>
                        <a:pt x="563638" y="502653"/>
                      </a:lnTo>
                      <a:lnTo>
                        <a:pt x="563956" y="502526"/>
                      </a:lnTo>
                      <a:lnTo>
                        <a:pt x="565835" y="501764"/>
                      </a:lnTo>
                      <a:lnTo>
                        <a:pt x="568223" y="501256"/>
                      </a:lnTo>
                      <a:lnTo>
                        <a:pt x="570496" y="500494"/>
                      </a:lnTo>
                      <a:lnTo>
                        <a:pt x="569874" y="499351"/>
                      </a:lnTo>
                      <a:lnTo>
                        <a:pt x="569328" y="498081"/>
                      </a:lnTo>
                      <a:lnTo>
                        <a:pt x="568921" y="497573"/>
                      </a:lnTo>
                      <a:lnTo>
                        <a:pt x="568528" y="497065"/>
                      </a:lnTo>
                      <a:lnTo>
                        <a:pt x="568439" y="497192"/>
                      </a:lnTo>
                      <a:lnTo>
                        <a:pt x="568375" y="497433"/>
                      </a:lnTo>
                      <a:lnTo>
                        <a:pt x="568299" y="497573"/>
                      </a:lnTo>
                      <a:lnTo>
                        <a:pt x="566597" y="495795"/>
                      </a:lnTo>
                      <a:lnTo>
                        <a:pt x="570141" y="493890"/>
                      </a:lnTo>
                      <a:lnTo>
                        <a:pt x="572338" y="495414"/>
                      </a:lnTo>
                      <a:lnTo>
                        <a:pt x="572782" y="495668"/>
                      </a:lnTo>
                      <a:lnTo>
                        <a:pt x="573201" y="497433"/>
                      </a:lnTo>
                      <a:lnTo>
                        <a:pt x="572008" y="498462"/>
                      </a:lnTo>
                      <a:lnTo>
                        <a:pt x="571830" y="498589"/>
                      </a:lnTo>
                      <a:lnTo>
                        <a:pt x="571360" y="498081"/>
                      </a:lnTo>
                      <a:lnTo>
                        <a:pt x="571296" y="498335"/>
                      </a:lnTo>
                      <a:lnTo>
                        <a:pt x="571119" y="498462"/>
                      </a:lnTo>
                      <a:lnTo>
                        <a:pt x="572262" y="498843"/>
                      </a:lnTo>
                      <a:lnTo>
                        <a:pt x="572884" y="498589"/>
                      </a:lnTo>
                      <a:lnTo>
                        <a:pt x="573201" y="498462"/>
                      </a:lnTo>
                      <a:lnTo>
                        <a:pt x="575144" y="497192"/>
                      </a:lnTo>
                      <a:lnTo>
                        <a:pt x="575754" y="497700"/>
                      </a:lnTo>
                      <a:lnTo>
                        <a:pt x="575310" y="497192"/>
                      </a:lnTo>
                      <a:lnTo>
                        <a:pt x="575195" y="497065"/>
                      </a:lnTo>
                      <a:lnTo>
                        <a:pt x="572427" y="493890"/>
                      </a:lnTo>
                      <a:lnTo>
                        <a:pt x="570547" y="491731"/>
                      </a:lnTo>
                      <a:lnTo>
                        <a:pt x="568921" y="489191"/>
                      </a:lnTo>
                      <a:lnTo>
                        <a:pt x="567296" y="486651"/>
                      </a:lnTo>
                      <a:lnTo>
                        <a:pt x="564705" y="482587"/>
                      </a:lnTo>
                      <a:lnTo>
                        <a:pt x="564299" y="481952"/>
                      </a:lnTo>
                      <a:lnTo>
                        <a:pt x="564032" y="481698"/>
                      </a:lnTo>
                      <a:lnTo>
                        <a:pt x="564146" y="478523"/>
                      </a:lnTo>
                      <a:lnTo>
                        <a:pt x="564946" y="474840"/>
                      </a:lnTo>
                      <a:lnTo>
                        <a:pt x="565581" y="474586"/>
                      </a:lnTo>
                      <a:lnTo>
                        <a:pt x="567486" y="473824"/>
                      </a:lnTo>
                      <a:lnTo>
                        <a:pt x="568337" y="473316"/>
                      </a:lnTo>
                      <a:lnTo>
                        <a:pt x="568325" y="472681"/>
                      </a:lnTo>
                      <a:lnTo>
                        <a:pt x="570001" y="472173"/>
                      </a:lnTo>
                      <a:lnTo>
                        <a:pt x="568579" y="473824"/>
                      </a:lnTo>
                      <a:lnTo>
                        <a:pt x="568274" y="474967"/>
                      </a:lnTo>
                      <a:lnTo>
                        <a:pt x="567728" y="474713"/>
                      </a:lnTo>
                      <a:lnTo>
                        <a:pt x="567791" y="475983"/>
                      </a:lnTo>
                      <a:lnTo>
                        <a:pt x="570064" y="477253"/>
                      </a:lnTo>
                      <a:lnTo>
                        <a:pt x="571563" y="478650"/>
                      </a:lnTo>
                      <a:lnTo>
                        <a:pt x="573303" y="478523"/>
                      </a:lnTo>
                      <a:lnTo>
                        <a:pt x="575132" y="480034"/>
                      </a:lnTo>
                      <a:lnTo>
                        <a:pt x="577646" y="478904"/>
                      </a:lnTo>
                      <a:lnTo>
                        <a:pt x="579589" y="479018"/>
                      </a:lnTo>
                      <a:lnTo>
                        <a:pt x="579069" y="478523"/>
                      </a:lnTo>
                      <a:lnTo>
                        <a:pt x="577596" y="477126"/>
                      </a:lnTo>
                      <a:lnTo>
                        <a:pt x="583819" y="477126"/>
                      </a:lnTo>
                      <a:lnTo>
                        <a:pt x="582637" y="476491"/>
                      </a:lnTo>
                      <a:lnTo>
                        <a:pt x="582015" y="474967"/>
                      </a:lnTo>
                      <a:lnTo>
                        <a:pt x="581253" y="472173"/>
                      </a:lnTo>
                      <a:lnTo>
                        <a:pt x="580834" y="470649"/>
                      </a:lnTo>
                      <a:lnTo>
                        <a:pt x="584771" y="470014"/>
                      </a:lnTo>
                      <a:lnTo>
                        <a:pt x="586066" y="468998"/>
                      </a:lnTo>
                      <a:lnTo>
                        <a:pt x="589318" y="466458"/>
                      </a:lnTo>
                      <a:lnTo>
                        <a:pt x="594715" y="468109"/>
                      </a:lnTo>
                      <a:lnTo>
                        <a:pt x="595972" y="468871"/>
                      </a:lnTo>
                      <a:lnTo>
                        <a:pt x="598055" y="467855"/>
                      </a:lnTo>
                      <a:lnTo>
                        <a:pt x="600138" y="466458"/>
                      </a:lnTo>
                      <a:lnTo>
                        <a:pt x="600519" y="466204"/>
                      </a:lnTo>
                      <a:lnTo>
                        <a:pt x="603796" y="467347"/>
                      </a:lnTo>
                      <a:lnTo>
                        <a:pt x="606374" y="468109"/>
                      </a:lnTo>
                      <a:lnTo>
                        <a:pt x="613359" y="470776"/>
                      </a:lnTo>
                      <a:lnTo>
                        <a:pt x="613740" y="471284"/>
                      </a:lnTo>
                      <a:lnTo>
                        <a:pt x="614095" y="471817"/>
                      </a:lnTo>
                      <a:lnTo>
                        <a:pt x="614070" y="472160"/>
                      </a:lnTo>
                      <a:lnTo>
                        <a:pt x="614133" y="472452"/>
                      </a:lnTo>
                      <a:lnTo>
                        <a:pt x="615543" y="473989"/>
                      </a:lnTo>
                      <a:lnTo>
                        <a:pt x="619467" y="472948"/>
                      </a:lnTo>
                      <a:lnTo>
                        <a:pt x="622401" y="472528"/>
                      </a:lnTo>
                      <a:lnTo>
                        <a:pt x="623684" y="471728"/>
                      </a:lnTo>
                      <a:lnTo>
                        <a:pt x="624382" y="473989"/>
                      </a:lnTo>
                      <a:lnTo>
                        <a:pt x="622452" y="474535"/>
                      </a:lnTo>
                      <a:lnTo>
                        <a:pt x="620547" y="475488"/>
                      </a:lnTo>
                      <a:lnTo>
                        <a:pt x="617410" y="476491"/>
                      </a:lnTo>
                      <a:lnTo>
                        <a:pt x="615670" y="478853"/>
                      </a:lnTo>
                      <a:lnTo>
                        <a:pt x="615810" y="481215"/>
                      </a:lnTo>
                      <a:lnTo>
                        <a:pt x="615619" y="482549"/>
                      </a:lnTo>
                      <a:lnTo>
                        <a:pt x="620610" y="478472"/>
                      </a:lnTo>
                      <a:lnTo>
                        <a:pt x="625919" y="474929"/>
                      </a:lnTo>
                      <a:lnTo>
                        <a:pt x="632942" y="469798"/>
                      </a:lnTo>
                      <a:lnTo>
                        <a:pt x="635850" y="466432"/>
                      </a:lnTo>
                      <a:lnTo>
                        <a:pt x="641083" y="465861"/>
                      </a:lnTo>
                      <a:lnTo>
                        <a:pt x="644664" y="465213"/>
                      </a:lnTo>
                      <a:lnTo>
                        <a:pt x="649046" y="465747"/>
                      </a:lnTo>
                      <a:lnTo>
                        <a:pt x="650506" y="466369"/>
                      </a:lnTo>
                      <a:lnTo>
                        <a:pt x="651941" y="466686"/>
                      </a:lnTo>
                      <a:lnTo>
                        <a:pt x="651827" y="466077"/>
                      </a:lnTo>
                      <a:lnTo>
                        <a:pt x="651827" y="463931"/>
                      </a:lnTo>
                      <a:lnTo>
                        <a:pt x="653567" y="462191"/>
                      </a:lnTo>
                      <a:lnTo>
                        <a:pt x="656424" y="462191"/>
                      </a:lnTo>
                      <a:lnTo>
                        <a:pt x="657072" y="462445"/>
                      </a:lnTo>
                      <a:lnTo>
                        <a:pt x="657644" y="462788"/>
                      </a:lnTo>
                      <a:lnTo>
                        <a:pt x="657733" y="462432"/>
                      </a:lnTo>
                      <a:close/>
                    </a:path>
                    <a:path w="1878964" h="1228089">
                      <a:moveTo>
                        <a:pt x="716953" y="668159"/>
                      </a:moveTo>
                      <a:close/>
                    </a:path>
                    <a:path w="1878964" h="1228089">
                      <a:moveTo>
                        <a:pt x="807631" y="1179499"/>
                      </a:moveTo>
                      <a:lnTo>
                        <a:pt x="807059" y="1177658"/>
                      </a:lnTo>
                      <a:lnTo>
                        <a:pt x="806818" y="1176731"/>
                      </a:lnTo>
                      <a:lnTo>
                        <a:pt x="804964" y="1178699"/>
                      </a:lnTo>
                      <a:lnTo>
                        <a:pt x="804278" y="1171587"/>
                      </a:lnTo>
                      <a:lnTo>
                        <a:pt x="803656" y="1170305"/>
                      </a:lnTo>
                      <a:lnTo>
                        <a:pt x="803427" y="1171867"/>
                      </a:lnTo>
                      <a:lnTo>
                        <a:pt x="801649" y="1173086"/>
                      </a:lnTo>
                      <a:lnTo>
                        <a:pt x="802119" y="1174559"/>
                      </a:lnTo>
                      <a:lnTo>
                        <a:pt x="803275" y="1177556"/>
                      </a:lnTo>
                      <a:lnTo>
                        <a:pt x="804202" y="1179258"/>
                      </a:lnTo>
                      <a:lnTo>
                        <a:pt x="807440" y="1180401"/>
                      </a:lnTo>
                      <a:lnTo>
                        <a:pt x="807631" y="1179499"/>
                      </a:lnTo>
                      <a:close/>
                    </a:path>
                    <a:path w="1878964" h="1228089">
                      <a:moveTo>
                        <a:pt x="811872" y="1160170"/>
                      </a:moveTo>
                      <a:lnTo>
                        <a:pt x="811834" y="1159764"/>
                      </a:lnTo>
                      <a:lnTo>
                        <a:pt x="811720" y="1157351"/>
                      </a:lnTo>
                      <a:lnTo>
                        <a:pt x="809828" y="1159776"/>
                      </a:lnTo>
                      <a:lnTo>
                        <a:pt x="809129" y="1158151"/>
                      </a:lnTo>
                      <a:lnTo>
                        <a:pt x="809332" y="1159675"/>
                      </a:lnTo>
                      <a:lnTo>
                        <a:pt x="809955" y="1162710"/>
                      </a:lnTo>
                      <a:lnTo>
                        <a:pt x="809485" y="1163764"/>
                      </a:lnTo>
                      <a:lnTo>
                        <a:pt x="807402" y="1166253"/>
                      </a:lnTo>
                      <a:lnTo>
                        <a:pt x="809752" y="1166456"/>
                      </a:lnTo>
                      <a:lnTo>
                        <a:pt x="810450" y="1165364"/>
                      </a:lnTo>
                      <a:lnTo>
                        <a:pt x="810945" y="1164158"/>
                      </a:lnTo>
                      <a:lnTo>
                        <a:pt x="811758" y="1162558"/>
                      </a:lnTo>
                      <a:lnTo>
                        <a:pt x="811263" y="1161516"/>
                      </a:lnTo>
                      <a:lnTo>
                        <a:pt x="811339" y="1160360"/>
                      </a:lnTo>
                      <a:lnTo>
                        <a:pt x="811872" y="1160170"/>
                      </a:lnTo>
                      <a:close/>
                    </a:path>
                    <a:path w="1878964" h="1228089">
                      <a:moveTo>
                        <a:pt x="812520" y="1200899"/>
                      </a:moveTo>
                      <a:lnTo>
                        <a:pt x="812330" y="1197914"/>
                      </a:lnTo>
                      <a:lnTo>
                        <a:pt x="810945" y="1199438"/>
                      </a:lnTo>
                      <a:lnTo>
                        <a:pt x="809866" y="1201267"/>
                      </a:lnTo>
                      <a:lnTo>
                        <a:pt x="808710" y="1202956"/>
                      </a:lnTo>
                      <a:lnTo>
                        <a:pt x="810679" y="1201585"/>
                      </a:lnTo>
                      <a:lnTo>
                        <a:pt x="812520" y="1200899"/>
                      </a:lnTo>
                      <a:close/>
                    </a:path>
                    <a:path w="1878964" h="1228089">
                      <a:moveTo>
                        <a:pt x="820508" y="864082"/>
                      </a:moveTo>
                      <a:lnTo>
                        <a:pt x="819543" y="861885"/>
                      </a:lnTo>
                      <a:lnTo>
                        <a:pt x="817194" y="861618"/>
                      </a:lnTo>
                      <a:lnTo>
                        <a:pt x="816267" y="862609"/>
                      </a:lnTo>
                      <a:lnTo>
                        <a:pt x="814806" y="861860"/>
                      </a:lnTo>
                      <a:lnTo>
                        <a:pt x="816533" y="859612"/>
                      </a:lnTo>
                      <a:lnTo>
                        <a:pt x="814959" y="860336"/>
                      </a:lnTo>
                      <a:lnTo>
                        <a:pt x="815225" y="859675"/>
                      </a:lnTo>
                      <a:lnTo>
                        <a:pt x="814539" y="858913"/>
                      </a:lnTo>
                      <a:lnTo>
                        <a:pt x="811326" y="859078"/>
                      </a:lnTo>
                      <a:lnTo>
                        <a:pt x="813257" y="861682"/>
                      </a:lnTo>
                      <a:lnTo>
                        <a:pt x="814031" y="862520"/>
                      </a:lnTo>
                      <a:lnTo>
                        <a:pt x="813689" y="862279"/>
                      </a:lnTo>
                      <a:lnTo>
                        <a:pt x="813295" y="862266"/>
                      </a:lnTo>
                      <a:lnTo>
                        <a:pt x="812952" y="862114"/>
                      </a:lnTo>
                      <a:lnTo>
                        <a:pt x="813028" y="863765"/>
                      </a:lnTo>
                      <a:lnTo>
                        <a:pt x="816813" y="863498"/>
                      </a:lnTo>
                      <a:lnTo>
                        <a:pt x="817968" y="863638"/>
                      </a:lnTo>
                      <a:lnTo>
                        <a:pt x="820508" y="864082"/>
                      </a:lnTo>
                      <a:close/>
                    </a:path>
                    <a:path w="1878964" h="1228089">
                      <a:moveTo>
                        <a:pt x="972235" y="937806"/>
                      </a:moveTo>
                      <a:lnTo>
                        <a:pt x="971804" y="937971"/>
                      </a:lnTo>
                      <a:lnTo>
                        <a:pt x="971537" y="937856"/>
                      </a:lnTo>
                      <a:lnTo>
                        <a:pt x="971270" y="938352"/>
                      </a:lnTo>
                      <a:lnTo>
                        <a:pt x="971613" y="938187"/>
                      </a:lnTo>
                      <a:lnTo>
                        <a:pt x="971918" y="937983"/>
                      </a:lnTo>
                      <a:lnTo>
                        <a:pt x="972235" y="937806"/>
                      </a:lnTo>
                      <a:close/>
                    </a:path>
                    <a:path w="1878964" h="1228089">
                      <a:moveTo>
                        <a:pt x="972693" y="937552"/>
                      </a:moveTo>
                      <a:lnTo>
                        <a:pt x="972235" y="937806"/>
                      </a:lnTo>
                      <a:lnTo>
                        <a:pt x="972693" y="937552"/>
                      </a:lnTo>
                      <a:close/>
                    </a:path>
                    <a:path w="1878964" h="1228089">
                      <a:moveTo>
                        <a:pt x="973772" y="1227328"/>
                      </a:moveTo>
                      <a:lnTo>
                        <a:pt x="973607" y="1227302"/>
                      </a:lnTo>
                      <a:lnTo>
                        <a:pt x="972756" y="1227302"/>
                      </a:lnTo>
                      <a:lnTo>
                        <a:pt x="972045" y="1227455"/>
                      </a:lnTo>
                      <a:lnTo>
                        <a:pt x="971359" y="1227683"/>
                      </a:lnTo>
                      <a:lnTo>
                        <a:pt x="971537" y="1227709"/>
                      </a:lnTo>
                      <a:lnTo>
                        <a:pt x="972375" y="1227709"/>
                      </a:lnTo>
                      <a:lnTo>
                        <a:pt x="973099" y="1227556"/>
                      </a:lnTo>
                      <a:lnTo>
                        <a:pt x="973772" y="1227328"/>
                      </a:lnTo>
                      <a:close/>
                    </a:path>
                    <a:path w="1878964" h="1228089">
                      <a:moveTo>
                        <a:pt x="1878126" y="762800"/>
                      </a:moveTo>
                      <a:lnTo>
                        <a:pt x="1877974" y="763092"/>
                      </a:lnTo>
                      <a:lnTo>
                        <a:pt x="1878126" y="762800"/>
                      </a:lnTo>
                      <a:close/>
                    </a:path>
                    <a:path w="1878964" h="1228089">
                      <a:moveTo>
                        <a:pt x="1878393" y="762635"/>
                      </a:moveTo>
                      <a:lnTo>
                        <a:pt x="1878342" y="762165"/>
                      </a:lnTo>
                      <a:lnTo>
                        <a:pt x="1878304" y="761631"/>
                      </a:lnTo>
                      <a:lnTo>
                        <a:pt x="1878241" y="760869"/>
                      </a:lnTo>
                      <a:lnTo>
                        <a:pt x="1877428" y="761631"/>
                      </a:lnTo>
                      <a:lnTo>
                        <a:pt x="1876539" y="761517"/>
                      </a:lnTo>
                      <a:lnTo>
                        <a:pt x="1874494" y="762165"/>
                      </a:lnTo>
                      <a:lnTo>
                        <a:pt x="1875574" y="760653"/>
                      </a:lnTo>
                      <a:lnTo>
                        <a:pt x="1874418" y="760907"/>
                      </a:lnTo>
                      <a:lnTo>
                        <a:pt x="1873567" y="761834"/>
                      </a:lnTo>
                      <a:lnTo>
                        <a:pt x="1873415" y="763016"/>
                      </a:lnTo>
                      <a:lnTo>
                        <a:pt x="1874685" y="763447"/>
                      </a:lnTo>
                      <a:lnTo>
                        <a:pt x="1876044" y="764374"/>
                      </a:lnTo>
                      <a:lnTo>
                        <a:pt x="1876691" y="764222"/>
                      </a:lnTo>
                      <a:lnTo>
                        <a:pt x="1878076" y="762850"/>
                      </a:lnTo>
                      <a:lnTo>
                        <a:pt x="1878164" y="762635"/>
                      </a:lnTo>
                      <a:lnTo>
                        <a:pt x="1878393" y="76266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81" name="object 121">
                  <a:extLst>
                    <a:ext uri="{FF2B5EF4-FFF2-40B4-BE49-F238E27FC236}">
                      <a16:creationId xmlns:a16="http://schemas.microsoft.com/office/drawing/2014/main" id="{F9ED043B-4023-1E02-F76E-8FCEABCA6A3B}"/>
                    </a:ext>
                  </a:extLst>
                </p:cNvPr>
                <p:cNvSpPr/>
                <p:nvPr/>
              </p:nvSpPr>
              <p:spPr>
                <a:xfrm>
                  <a:off x="3214284" y="2665520"/>
                  <a:ext cx="215265" cy="165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5264" h="165100">
                      <a:moveTo>
                        <a:pt x="139204" y="152399"/>
                      </a:moveTo>
                      <a:lnTo>
                        <a:pt x="57924" y="152399"/>
                      </a:lnTo>
                      <a:lnTo>
                        <a:pt x="59855" y="153669"/>
                      </a:lnTo>
                      <a:lnTo>
                        <a:pt x="61722" y="154939"/>
                      </a:lnTo>
                      <a:lnTo>
                        <a:pt x="64020" y="156209"/>
                      </a:lnTo>
                      <a:lnTo>
                        <a:pt x="67284" y="158749"/>
                      </a:lnTo>
                      <a:lnTo>
                        <a:pt x="69862" y="160019"/>
                      </a:lnTo>
                      <a:lnTo>
                        <a:pt x="75285" y="163829"/>
                      </a:lnTo>
                      <a:lnTo>
                        <a:pt x="86588" y="163829"/>
                      </a:lnTo>
                      <a:lnTo>
                        <a:pt x="89242" y="165099"/>
                      </a:lnTo>
                      <a:lnTo>
                        <a:pt x="93599" y="165099"/>
                      </a:lnTo>
                      <a:lnTo>
                        <a:pt x="95872" y="163829"/>
                      </a:lnTo>
                      <a:lnTo>
                        <a:pt x="97040" y="160019"/>
                      </a:lnTo>
                      <a:lnTo>
                        <a:pt x="110959" y="153669"/>
                      </a:lnTo>
                      <a:lnTo>
                        <a:pt x="138137" y="153669"/>
                      </a:lnTo>
                      <a:lnTo>
                        <a:pt x="139204" y="152399"/>
                      </a:lnTo>
                      <a:close/>
                    </a:path>
                    <a:path w="215264" h="165100">
                      <a:moveTo>
                        <a:pt x="132473" y="153669"/>
                      </a:moveTo>
                      <a:lnTo>
                        <a:pt x="111493" y="153669"/>
                      </a:lnTo>
                      <a:lnTo>
                        <a:pt x="113182" y="154939"/>
                      </a:lnTo>
                      <a:lnTo>
                        <a:pt x="114782" y="156209"/>
                      </a:lnTo>
                      <a:lnTo>
                        <a:pt x="116636" y="157479"/>
                      </a:lnTo>
                      <a:lnTo>
                        <a:pt x="127241" y="157479"/>
                      </a:lnTo>
                      <a:lnTo>
                        <a:pt x="127927" y="156209"/>
                      </a:lnTo>
                      <a:lnTo>
                        <a:pt x="128905" y="156209"/>
                      </a:lnTo>
                      <a:lnTo>
                        <a:pt x="129476" y="154939"/>
                      </a:lnTo>
                      <a:lnTo>
                        <a:pt x="130086" y="154939"/>
                      </a:lnTo>
                      <a:lnTo>
                        <a:pt x="132473" y="153669"/>
                      </a:lnTo>
                      <a:close/>
                    </a:path>
                    <a:path w="215264" h="165100">
                      <a:moveTo>
                        <a:pt x="8559" y="92709"/>
                      </a:moveTo>
                      <a:lnTo>
                        <a:pt x="4279" y="92709"/>
                      </a:lnTo>
                      <a:lnTo>
                        <a:pt x="1524" y="93979"/>
                      </a:lnTo>
                      <a:lnTo>
                        <a:pt x="1270" y="97789"/>
                      </a:lnTo>
                      <a:lnTo>
                        <a:pt x="0" y="100329"/>
                      </a:lnTo>
                      <a:lnTo>
                        <a:pt x="2222" y="101599"/>
                      </a:lnTo>
                      <a:lnTo>
                        <a:pt x="4686" y="102869"/>
                      </a:lnTo>
                      <a:lnTo>
                        <a:pt x="6858" y="104139"/>
                      </a:lnTo>
                      <a:lnTo>
                        <a:pt x="9499" y="104139"/>
                      </a:lnTo>
                      <a:lnTo>
                        <a:pt x="11531" y="105409"/>
                      </a:lnTo>
                      <a:lnTo>
                        <a:pt x="13144" y="107949"/>
                      </a:lnTo>
                      <a:lnTo>
                        <a:pt x="14605" y="110489"/>
                      </a:lnTo>
                      <a:lnTo>
                        <a:pt x="15417" y="110489"/>
                      </a:lnTo>
                      <a:lnTo>
                        <a:pt x="16573" y="113029"/>
                      </a:lnTo>
                      <a:lnTo>
                        <a:pt x="17868" y="113029"/>
                      </a:lnTo>
                      <a:lnTo>
                        <a:pt x="19431" y="114299"/>
                      </a:lnTo>
                      <a:lnTo>
                        <a:pt x="20447" y="114299"/>
                      </a:lnTo>
                      <a:lnTo>
                        <a:pt x="21856" y="115569"/>
                      </a:lnTo>
                      <a:lnTo>
                        <a:pt x="23799" y="118109"/>
                      </a:lnTo>
                      <a:lnTo>
                        <a:pt x="24587" y="119379"/>
                      </a:lnTo>
                      <a:lnTo>
                        <a:pt x="27178" y="123189"/>
                      </a:lnTo>
                      <a:lnTo>
                        <a:pt x="29591" y="130809"/>
                      </a:lnTo>
                      <a:lnTo>
                        <a:pt x="29895" y="132079"/>
                      </a:lnTo>
                      <a:lnTo>
                        <a:pt x="30302" y="133349"/>
                      </a:lnTo>
                      <a:lnTo>
                        <a:pt x="31153" y="133349"/>
                      </a:lnTo>
                      <a:lnTo>
                        <a:pt x="31940" y="134619"/>
                      </a:lnTo>
                      <a:lnTo>
                        <a:pt x="32537" y="134619"/>
                      </a:lnTo>
                      <a:lnTo>
                        <a:pt x="33286" y="135889"/>
                      </a:lnTo>
                      <a:lnTo>
                        <a:pt x="34734" y="137159"/>
                      </a:lnTo>
                      <a:lnTo>
                        <a:pt x="38811" y="137159"/>
                      </a:lnTo>
                      <a:lnTo>
                        <a:pt x="39624" y="138429"/>
                      </a:lnTo>
                      <a:lnTo>
                        <a:pt x="40182" y="138429"/>
                      </a:lnTo>
                      <a:lnTo>
                        <a:pt x="40170" y="139699"/>
                      </a:lnTo>
                      <a:lnTo>
                        <a:pt x="39801" y="140969"/>
                      </a:lnTo>
                      <a:lnTo>
                        <a:pt x="39624" y="142239"/>
                      </a:lnTo>
                      <a:lnTo>
                        <a:pt x="39662" y="144779"/>
                      </a:lnTo>
                      <a:lnTo>
                        <a:pt x="39928" y="148589"/>
                      </a:lnTo>
                      <a:lnTo>
                        <a:pt x="41681" y="148589"/>
                      </a:lnTo>
                      <a:lnTo>
                        <a:pt x="42468" y="149859"/>
                      </a:lnTo>
                      <a:lnTo>
                        <a:pt x="43357" y="151129"/>
                      </a:lnTo>
                      <a:lnTo>
                        <a:pt x="55143" y="151129"/>
                      </a:lnTo>
                      <a:lnTo>
                        <a:pt x="56692" y="152399"/>
                      </a:lnTo>
                      <a:lnTo>
                        <a:pt x="140233" y="152399"/>
                      </a:lnTo>
                      <a:lnTo>
                        <a:pt x="144411" y="149859"/>
                      </a:lnTo>
                      <a:lnTo>
                        <a:pt x="148691" y="144779"/>
                      </a:lnTo>
                      <a:lnTo>
                        <a:pt x="154724" y="143509"/>
                      </a:lnTo>
                      <a:lnTo>
                        <a:pt x="171799" y="143509"/>
                      </a:lnTo>
                      <a:lnTo>
                        <a:pt x="173380" y="142239"/>
                      </a:lnTo>
                      <a:lnTo>
                        <a:pt x="174231" y="140969"/>
                      </a:lnTo>
                      <a:lnTo>
                        <a:pt x="176072" y="138429"/>
                      </a:lnTo>
                      <a:lnTo>
                        <a:pt x="177088" y="137159"/>
                      </a:lnTo>
                      <a:lnTo>
                        <a:pt x="179489" y="134619"/>
                      </a:lnTo>
                      <a:lnTo>
                        <a:pt x="186947" y="126999"/>
                      </a:lnTo>
                      <a:lnTo>
                        <a:pt x="192909" y="120649"/>
                      </a:lnTo>
                      <a:lnTo>
                        <a:pt x="198962" y="114299"/>
                      </a:lnTo>
                      <a:lnTo>
                        <a:pt x="205117" y="107949"/>
                      </a:lnTo>
                      <a:lnTo>
                        <a:pt x="208241" y="105409"/>
                      </a:lnTo>
                      <a:lnTo>
                        <a:pt x="211416" y="102869"/>
                      </a:lnTo>
                      <a:lnTo>
                        <a:pt x="213567" y="100329"/>
                      </a:lnTo>
                      <a:lnTo>
                        <a:pt x="204952" y="100329"/>
                      </a:lnTo>
                      <a:lnTo>
                        <a:pt x="200583" y="99059"/>
                      </a:lnTo>
                      <a:lnTo>
                        <a:pt x="198018" y="99059"/>
                      </a:lnTo>
                      <a:lnTo>
                        <a:pt x="194856" y="97789"/>
                      </a:lnTo>
                      <a:lnTo>
                        <a:pt x="184221" y="93979"/>
                      </a:lnTo>
                      <a:lnTo>
                        <a:pt x="11887" y="93979"/>
                      </a:lnTo>
                      <a:lnTo>
                        <a:pt x="8559" y="92709"/>
                      </a:lnTo>
                      <a:close/>
                    </a:path>
                    <a:path w="215264" h="165100">
                      <a:moveTo>
                        <a:pt x="171799" y="143509"/>
                      </a:moveTo>
                      <a:lnTo>
                        <a:pt x="167335" y="143509"/>
                      </a:lnTo>
                      <a:lnTo>
                        <a:pt x="170218" y="144779"/>
                      </a:lnTo>
                      <a:lnTo>
                        <a:pt x="171799" y="143509"/>
                      </a:lnTo>
                      <a:close/>
                    </a:path>
                    <a:path w="215264" h="165100">
                      <a:moveTo>
                        <a:pt x="214642" y="99059"/>
                      </a:moveTo>
                      <a:lnTo>
                        <a:pt x="210286" y="99059"/>
                      </a:lnTo>
                      <a:lnTo>
                        <a:pt x="204952" y="100329"/>
                      </a:lnTo>
                      <a:lnTo>
                        <a:pt x="213567" y="100329"/>
                      </a:lnTo>
                      <a:lnTo>
                        <a:pt x="214642" y="99059"/>
                      </a:lnTo>
                      <a:close/>
                    </a:path>
                    <a:path w="215264" h="165100">
                      <a:moveTo>
                        <a:pt x="138188" y="62229"/>
                      </a:moveTo>
                      <a:lnTo>
                        <a:pt x="18808" y="62229"/>
                      </a:lnTo>
                      <a:lnTo>
                        <a:pt x="18186" y="63499"/>
                      </a:lnTo>
                      <a:lnTo>
                        <a:pt x="19634" y="66039"/>
                      </a:lnTo>
                      <a:lnTo>
                        <a:pt x="18910" y="68579"/>
                      </a:lnTo>
                      <a:lnTo>
                        <a:pt x="18427" y="69849"/>
                      </a:lnTo>
                      <a:lnTo>
                        <a:pt x="17995" y="71119"/>
                      </a:lnTo>
                      <a:lnTo>
                        <a:pt x="17284" y="73659"/>
                      </a:lnTo>
                      <a:lnTo>
                        <a:pt x="16040" y="77469"/>
                      </a:lnTo>
                      <a:lnTo>
                        <a:pt x="15862" y="78739"/>
                      </a:lnTo>
                      <a:lnTo>
                        <a:pt x="15824" y="81279"/>
                      </a:lnTo>
                      <a:lnTo>
                        <a:pt x="17195" y="90169"/>
                      </a:lnTo>
                      <a:lnTo>
                        <a:pt x="14300" y="92709"/>
                      </a:lnTo>
                      <a:lnTo>
                        <a:pt x="11887" y="93979"/>
                      </a:lnTo>
                      <a:lnTo>
                        <a:pt x="184221" y="93979"/>
                      </a:lnTo>
                      <a:lnTo>
                        <a:pt x="166497" y="87629"/>
                      </a:lnTo>
                      <a:lnTo>
                        <a:pt x="163487" y="87629"/>
                      </a:lnTo>
                      <a:lnTo>
                        <a:pt x="159677" y="86359"/>
                      </a:lnTo>
                      <a:lnTo>
                        <a:pt x="156489" y="83819"/>
                      </a:lnTo>
                      <a:lnTo>
                        <a:pt x="155435" y="83819"/>
                      </a:lnTo>
                      <a:lnTo>
                        <a:pt x="153352" y="82549"/>
                      </a:lnTo>
                      <a:lnTo>
                        <a:pt x="150850" y="81279"/>
                      </a:lnTo>
                      <a:lnTo>
                        <a:pt x="147675" y="77469"/>
                      </a:lnTo>
                      <a:lnTo>
                        <a:pt x="146392" y="74929"/>
                      </a:lnTo>
                      <a:lnTo>
                        <a:pt x="142113" y="67309"/>
                      </a:lnTo>
                      <a:lnTo>
                        <a:pt x="140563" y="66039"/>
                      </a:lnTo>
                      <a:lnTo>
                        <a:pt x="140068" y="64769"/>
                      </a:lnTo>
                      <a:lnTo>
                        <a:pt x="138188" y="62229"/>
                      </a:lnTo>
                      <a:close/>
                    </a:path>
                    <a:path w="215264" h="165100">
                      <a:moveTo>
                        <a:pt x="22517" y="57149"/>
                      </a:moveTo>
                      <a:lnTo>
                        <a:pt x="19532" y="60959"/>
                      </a:lnTo>
                      <a:lnTo>
                        <a:pt x="19024" y="62229"/>
                      </a:lnTo>
                      <a:lnTo>
                        <a:pt x="138252" y="62229"/>
                      </a:lnTo>
                      <a:lnTo>
                        <a:pt x="138252" y="60959"/>
                      </a:lnTo>
                      <a:lnTo>
                        <a:pt x="139992" y="59689"/>
                      </a:lnTo>
                      <a:lnTo>
                        <a:pt x="24676" y="59689"/>
                      </a:lnTo>
                      <a:lnTo>
                        <a:pt x="22656" y="58419"/>
                      </a:lnTo>
                      <a:lnTo>
                        <a:pt x="22517" y="57149"/>
                      </a:lnTo>
                      <a:close/>
                    </a:path>
                    <a:path w="215264" h="165100">
                      <a:moveTo>
                        <a:pt x="41694" y="31749"/>
                      </a:moveTo>
                      <a:lnTo>
                        <a:pt x="38544" y="31749"/>
                      </a:lnTo>
                      <a:lnTo>
                        <a:pt x="36995" y="34289"/>
                      </a:lnTo>
                      <a:lnTo>
                        <a:pt x="35839" y="36829"/>
                      </a:lnTo>
                      <a:lnTo>
                        <a:pt x="34455" y="39369"/>
                      </a:lnTo>
                      <a:lnTo>
                        <a:pt x="33832" y="40639"/>
                      </a:lnTo>
                      <a:lnTo>
                        <a:pt x="33147" y="41909"/>
                      </a:lnTo>
                      <a:lnTo>
                        <a:pt x="30327" y="44449"/>
                      </a:lnTo>
                      <a:lnTo>
                        <a:pt x="30289" y="45719"/>
                      </a:lnTo>
                      <a:lnTo>
                        <a:pt x="29400" y="48259"/>
                      </a:lnTo>
                      <a:lnTo>
                        <a:pt x="28956" y="50799"/>
                      </a:lnTo>
                      <a:lnTo>
                        <a:pt x="28816" y="52069"/>
                      </a:lnTo>
                      <a:lnTo>
                        <a:pt x="28740" y="53339"/>
                      </a:lnTo>
                      <a:lnTo>
                        <a:pt x="28486" y="54609"/>
                      </a:lnTo>
                      <a:lnTo>
                        <a:pt x="28295" y="54609"/>
                      </a:lnTo>
                      <a:lnTo>
                        <a:pt x="28016" y="57149"/>
                      </a:lnTo>
                      <a:lnTo>
                        <a:pt x="28194" y="57149"/>
                      </a:lnTo>
                      <a:lnTo>
                        <a:pt x="28041" y="58419"/>
                      </a:lnTo>
                      <a:lnTo>
                        <a:pt x="27241" y="59689"/>
                      </a:lnTo>
                      <a:lnTo>
                        <a:pt x="128041" y="59689"/>
                      </a:lnTo>
                      <a:lnTo>
                        <a:pt x="125539" y="55879"/>
                      </a:lnTo>
                      <a:lnTo>
                        <a:pt x="125609" y="54609"/>
                      </a:lnTo>
                      <a:lnTo>
                        <a:pt x="125558" y="52069"/>
                      </a:lnTo>
                      <a:lnTo>
                        <a:pt x="125450" y="50799"/>
                      </a:lnTo>
                      <a:lnTo>
                        <a:pt x="125450" y="49529"/>
                      </a:lnTo>
                      <a:lnTo>
                        <a:pt x="125412" y="48259"/>
                      </a:lnTo>
                      <a:lnTo>
                        <a:pt x="125603" y="46989"/>
                      </a:lnTo>
                      <a:lnTo>
                        <a:pt x="126009" y="46989"/>
                      </a:lnTo>
                      <a:lnTo>
                        <a:pt x="127038" y="45719"/>
                      </a:lnTo>
                      <a:lnTo>
                        <a:pt x="129222" y="43179"/>
                      </a:lnTo>
                      <a:lnTo>
                        <a:pt x="133057" y="36829"/>
                      </a:lnTo>
                      <a:lnTo>
                        <a:pt x="134327" y="35559"/>
                      </a:lnTo>
                      <a:lnTo>
                        <a:pt x="134327" y="34289"/>
                      </a:lnTo>
                      <a:lnTo>
                        <a:pt x="133229" y="33019"/>
                      </a:lnTo>
                      <a:lnTo>
                        <a:pt x="43878" y="33019"/>
                      </a:lnTo>
                      <a:lnTo>
                        <a:pt x="41694" y="31749"/>
                      </a:lnTo>
                      <a:close/>
                    </a:path>
                    <a:path w="215264" h="165100">
                      <a:moveTo>
                        <a:pt x="135712" y="54609"/>
                      </a:moveTo>
                      <a:lnTo>
                        <a:pt x="128041" y="59689"/>
                      </a:lnTo>
                      <a:lnTo>
                        <a:pt x="140182" y="59689"/>
                      </a:lnTo>
                      <a:lnTo>
                        <a:pt x="140779" y="58419"/>
                      </a:lnTo>
                      <a:lnTo>
                        <a:pt x="141765" y="56559"/>
                      </a:lnTo>
                      <a:lnTo>
                        <a:pt x="141833" y="55879"/>
                      </a:lnTo>
                      <a:lnTo>
                        <a:pt x="138493" y="55879"/>
                      </a:lnTo>
                      <a:lnTo>
                        <a:pt x="135712" y="54609"/>
                      </a:lnTo>
                      <a:close/>
                    </a:path>
                    <a:path w="215264" h="165100">
                      <a:moveTo>
                        <a:pt x="142125" y="55879"/>
                      </a:moveTo>
                      <a:lnTo>
                        <a:pt x="141833" y="55879"/>
                      </a:lnTo>
                      <a:lnTo>
                        <a:pt x="141765" y="56559"/>
                      </a:lnTo>
                      <a:lnTo>
                        <a:pt x="142125" y="55879"/>
                      </a:lnTo>
                      <a:close/>
                    </a:path>
                    <a:path w="215264" h="165100">
                      <a:moveTo>
                        <a:pt x="50558" y="8889"/>
                      </a:moveTo>
                      <a:lnTo>
                        <a:pt x="48755" y="19049"/>
                      </a:lnTo>
                      <a:lnTo>
                        <a:pt x="47409" y="22859"/>
                      </a:lnTo>
                      <a:lnTo>
                        <a:pt x="46253" y="26669"/>
                      </a:lnTo>
                      <a:lnTo>
                        <a:pt x="45974" y="27939"/>
                      </a:lnTo>
                      <a:lnTo>
                        <a:pt x="45618" y="30479"/>
                      </a:lnTo>
                      <a:lnTo>
                        <a:pt x="43878" y="33019"/>
                      </a:lnTo>
                      <a:lnTo>
                        <a:pt x="133229" y="33019"/>
                      </a:lnTo>
                      <a:lnTo>
                        <a:pt x="127736" y="26669"/>
                      </a:lnTo>
                      <a:lnTo>
                        <a:pt x="126174" y="25399"/>
                      </a:lnTo>
                      <a:lnTo>
                        <a:pt x="124587" y="22859"/>
                      </a:lnTo>
                      <a:lnTo>
                        <a:pt x="122605" y="21589"/>
                      </a:lnTo>
                      <a:lnTo>
                        <a:pt x="119367" y="17779"/>
                      </a:lnTo>
                      <a:lnTo>
                        <a:pt x="111620" y="10159"/>
                      </a:lnTo>
                      <a:lnTo>
                        <a:pt x="50711" y="10159"/>
                      </a:lnTo>
                      <a:lnTo>
                        <a:pt x="50558" y="8889"/>
                      </a:lnTo>
                      <a:close/>
                    </a:path>
                    <a:path w="215264" h="165100">
                      <a:moveTo>
                        <a:pt x="53492" y="8889"/>
                      </a:moveTo>
                      <a:lnTo>
                        <a:pt x="50558" y="8889"/>
                      </a:lnTo>
                      <a:lnTo>
                        <a:pt x="50711" y="10159"/>
                      </a:lnTo>
                      <a:lnTo>
                        <a:pt x="56515" y="10159"/>
                      </a:lnTo>
                      <a:lnTo>
                        <a:pt x="53492" y="8889"/>
                      </a:lnTo>
                      <a:close/>
                    </a:path>
                    <a:path w="215264" h="165100">
                      <a:moveTo>
                        <a:pt x="62090" y="6349"/>
                      </a:moveTo>
                      <a:lnTo>
                        <a:pt x="60655" y="6349"/>
                      </a:lnTo>
                      <a:lnTo>
                        <a:pt x="59537" y="8889"/>
                      </a:lnTo>
                      <a:lnTo>
                        <a:pt x="56515" y="10159"/>
                      </a:lnTo>
                      <a:lnTo>
                        <a:pt x="65430" y="10159"/>
                      </a:lnTo>
                      <a:lnTo>
                        <a:pt x="62814" y="8889"/>
                      </a:lnTo>
                      <a:lnTo>
                        <a:pt x="62865" y="7619"/>
                      </a:lnTo>
                      <a:lnTo>
                        <a:pt x="62433" y="7619"/>
                      </a:lnTo>
                      <a:lnTo>
                        <a:pt x="62090" y="6349"/>
                      </a:lnTo>
                      <a:close/>
                    </a:path>
                    <a:path w="215264" h="165100">
                      <a:moveTo>
                        <a:pt x="70777" y="0"/>
                      </a:moveTo>
                      <a:lnTo>
                        <a:pt x="70281" y="0"/>
                      </a:lnTo>
                      <a:lnTo>
                        <a:pt x="68656" y="2539"/>
                      </a:lnTo>
                      <a:lnTo>
                        <a:pt x="65430" y="10159"/>
                      </a:lnTo>
                      <a:lnTo>
                        <a:pt x="111620" y="10159"/>
                      </a:lnTo>
                      <a:lnTo>
                        <a:pt x="108610" y="8889"/>
                      </a:lnTo>
                      <a:lnTo>
                        <a:pt x="106540" y="7619"/>
                      </a:lnTo>
                      <a:lnTo>
                        <a:pt x="104838" y="7619"/>
                      </a:lnTo>
                      <a:lnTo>
                        <a:pt x="103492" y="6349"/>
                      </a:lnTo>
                      <a:lnTo>
                        <a:pt x="78105" y="6349"/>
                      </a:lnTo>
                      <a:lnTo>
                        <a:pt x="77292" y="5079"/>
                      </a:lnTo>
                      <a:lnTo>
                        <a:pt x="75006" y="2539"/>
                      </a:lnTo>
                      <a:lnTo>
                        <a:pt x="71869" y="2539"/>
                      </a:lnTo>
                      <a:lnTo>
                        <a:pt x="71920" y="1269"/>
                      </a:lnTo>
                      <a:lnTo>
                        <a:pt x="71285" y="1269"/>
                      </a:lnTo>
                      <a:lnTo>
                        <a:pt x="70777" y="0"/>
                      </a:lnTo>
                      <a:close/>
                    </a:path>
                    <a:path w="215264" h="165100">
                      <a:moveTo>
                        <a:pt x="89471" y="5079"/>
                      </a:moveTo>
                      <a:lnTo>
                        <a:pt x="83693" y="5079"/>
                      </a:lnTo>
                      <a:lnTo>
                        <a:pt x="82232" y="6349"/>
                      </a:lnTo>
                      <a:lnTo>
                        <a:pt x="89535" y="6349"/>
                      </a:lnTo>
                      <a:lnTo>
                        <a:pt x="89471" y="5079"/>
                      </a:lnTo>
                      <a:close/>
                    </a:path>
                    <a:path w="215264" h="165100">
                      <a:moveTo>
                        <a:pt x="91147" y="5079"/>
                      </a:moveTo>
                      <a:lnTo>
                        <a:pt x="90055" y="6349"/>
                      </a:lnTo>
                      <a:lnTo>
                        <a:pt x="92316" y="6349"/>
                      </a:lnTo>
                      <a:lnTo>
                        <a:pt x="91147" y="5079"/>
                      </a:lnTo>
                      <a:close/>
                    </a:path>
                    <a:path w="215264" h="165100">
                      <a:moveTo>
                        <a:pt x="96685" y="5079"/>
                      </a:moveTo>
                      <a:lnTo>
                        <a:pt x="93319" y="5079"/>
                      </a:lnTo>
                      <a:lnTo>
                        <a:pt x="92316" y="6349"/>
                      </a:lnTo>
                      <a:lnTo>
                        <a:pt x="99187" y="6349"/>
                      </a:lnTo>
                      <a:lnTo>
                        <a:pt x="96685" y="5079"/>
                      </a:lnTo>
                      <a:close/>
                    </a:path>
                    <a:path w="215264" h="165100">
                      <a:moveTo>
                        <a:pt x="101257" y="3809"/>
                      </a:moveTo>
                      <a:lnTo>
                        <a:pt x="99187" y="6349"/>
                      </a:lnTo>
                      <a:lnTo>
                        <a:pt x="103492" y="6349"/>
                      </a:lnTo>
                      <a:lnTo>
                        <a:pt x="102527" y="5079"/>
                      </a:lnTo>
                      <a:lnTo>
                        <a:pt x="101257" y="3809"/>
                      </a:lnTo>
                      <a:close/>
                    </a:path>
                    <a:path w="215264" h="165100">
                      <a:moveTo>
                        <a:pt x="88061" y="2539"/>
                      </a:moveTo>
                      <a:lnTo>
                        <a:pt x="87096" y="3809"/>
                      </a:lnTo>
                      <a:lnTo>
                        <a:pt x="85166" y="5079"/>
                      </a:lnTo>
                      <a:lnTo>
                        <a:pt x="89369" y="5079"/>
                      </a:lnTo>
                      <a:lnTo>
                        <a:pt x="89192" y="3809"/>
                      </a:lnTo>
                      <a:lnTo>
                        <a:pt x="88061" y="2539"/>
                      </a:lnTo>
                      <a:close/>
                    </a:path>
                    <a:path w="215264" h="165100">
                      <a:moveTo>
                        <a:pt x="95186" y="3809"/>
                      </a:moveTo>
                      <a:lnTo>
                        <a:pt x="95059" y="5079"/>
                      </a:lnTo>
                      <a:lnTo>
                        <a:pt x="96253" y="5079"/>
                      </a:lnTo>
                      <a:lnTo>
                        <a:pt x="95186" y="3809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82" name="object 122">
                  <a:extLst>
                    <a:ext uri="{FF2B5EF4-FFF2-40B4-BE49-F238E27FC236}">
                      <a16:creationId xmlns:a16="http://schemas.microsoft.com/office/drawing/2014/main" id="{9B0B300C-057D-7763-041B-BF46064E0C75}"/>
                    </a:ext>
                  </a:extLst>
                </p:cNvPr>
                <p:cNvSpPr/>
                <p:nvPr/>
              </p:nvSpPr>
              <p:spPr>
                <a:xfrm>
                  <a:off x="2848953" y="2318715"/>
                  <a:ext cx="445770" cy="5111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5770" h="511175">
                      <a:moveTo>
                        <a:pt x="52133" y="7404"/>
                      </a:moveTo>
                      <a:lnTo>
                        <a:pt x="51828" y="2857"/>
                      </a:lnTo>
                      <a:lnTo>
                        <a:pt x="48120" y="5549"/>
                      </a:lnTo>
                      <a:lnTo>
                        <a:pt x="47498" y="7048"/>
                      </a:lnTo>
                      <a:lnTo>
                        <a:pt x="45288" y="7962"/>
                      </a:lnTo>
                      <a:lnTo>
                        <a:pt x="44767" y="7785"/>
                      </a:lnTo>
                      <a:lnTo>
                        <a:pt x="44018" y="8305"/>
                      </a:lnTo>
                      <a:lnTo>
                        <a:pt x="43776" y="8496"/>
                      </a:lnTo>
                      <a:lnTo>
                        <a:pt x="43726" y="9220"/>
                      </a:lnTo>
                      <a:lnTo>
                        <a:pt x="42151" y="10604"/>
                      </a:lnTo>
                      <a:lnTo>
                        <a:pt x="41236" y="9931"/>
                      </a:lnTo>
                      <a:lnTo>
                        <a:pt x="39674" y="9220"/>
                      </a:lnTo>
                      <a:lnTo>
                        <a:pt x="41021" y="7162"/>
                      </a:lnTo>
                      <a:lnTo>
                        <a:pt x="40487" y="6883"/>
                      </a:lnTo>
                      <a:lnTo>
                        <a:pt x="40259" y="6375"/>
                      </a:lnTo>
                      <a:lnTo>
                        <a:pt x="38963" y="3441"/>
                      </a:lnTo>
                      <a:lnTo>
                        <a:pt x="38646" y="3073"/>
                      </a:lnTo>
                      <a:lnTo>
                        <a:pt x="38074" y="2400"/>
                      </a:lnTo>
                      <a:lnTo>
                        <a:pt x="34950" y="469"/>
                      </a:lnTo>
                      <a:lnTo>
                        <a:pt x="34201" y="1803"/>
                      </a:lnTo>
                      <a:lnTo>
                        <a:pt x="33197" y="3073"/>
                      </a:lnTo>
                      <a:lnTo>
                        <a:pt x="32054" y="1181"/>
                      </a:lnTo>
                      <a:lnTo>
                        <a:pt x="32651" y="0"/>
                      </a:lnTo>
                      <a:lnTo>
                        <a:pt x="27787" y="1371"/>
                      </a:lnTo>
                      <a:lnTo>
                        <a:pt x="25361" y="2171"/>
                      </a:lnTo>
                      <a:lnTo>
                        <a:pt x="22860" y="3035"/>
                      </a:lnTo>
                      <a:lnTo>
                        <a:pt x="21907" y="3886"/>
                      </a:lnTo>
                      <a:lnTo>
                        <a:pt x="20942" y="5181"/>
                      </a:lnTo>
                      <a:lnTo>
                        <a:pt x="18122" y="6057"/>
                      </a:lnTo>
                      <a:lnTo>
                        <a:pt x="17284" y="6375"/>
                      </a:lnTo>
                      <a:lnTo>
                        <a:pt x="16522" y="6019"/>
                      </a:lnTo>
                      <a:lnTo>
                        <a:pt x="16090" y="6908"/>
                      </a:lnTo>
                      <a:lnTo>
                        <a:pt x="10007" y="13944"/>
                      </a:lnTo>
                      <a:lnTo>
                        <a:pt x="12103" y="15748"/>
                      </a:lnTo>
                      <a:lnTo>
                        <a:pt x="12814" y="15735"/>
                      </a:lnTo>
                      <a:lnTo>
                        <a:pt x="43878" y="15735"/>
                      </a:lnTo>
                      <a:lnTo>
                        <a:pt x="44513" y="15011"/>
                      </a:lnTo>
                      <a:lnTo>
                        <a:pt x="46786" y="14998"/>
                      </a:lnTo>
                      <a:lnTo>
                        <a:pt x="49199" y="12458"/>
                      </a:lnTo>
                      <a:lnTo>
                        <a:pt x="50152" y="10604"/>
                      </a:lnTo>
                      <a:lnTo>
                        <a:pt x="51790" y="7962"/>
                      </a:lnTo>
                      <a:lnTo>
                        <a:pt x="52133" y="7404"/>
                      </a:lnTo>
                      <a:close/>
                    </a:path>
                    <a:path w="445770" h="511175">
                      <a:moveTo>
                        <a:pt x="57823" y="70853"/>
                      </a:moveTo>
                      <a:lnTo>
                        <a:pt x="57721" y="68059"/>
                      </a:lnTo>
                      <a:lnTo>
                        <a:pt x="57404" y="67716"/>
                      </a:lnTo>
                      <a:lnTo>
                        <a:pt x="57035" y="67310"/>
                      </a:lnTo>
                      <a:lnTo>
                        <a:pt x="56781" y="67716"/>
                      </a:lnTo>
                      <a:lnTo>
                        <a:pt x="54952" y="67462"/>
                      </a:lnTo>
                      <a:lnTo>
                        <a:pt x="50520" y="66382"/>
                      </a:lnTo>
                      <a:lnTo>
                        <a:pt x="52514" y="65582"/>
                      </a:lnTo>
                      <a:lnTo>
                        <a:pt x="51549" y="64223"/>
                      </a:lnTo>
                      <a:lnTo>
                        <a:pt x="51676" y="63207"/>
                      </a:lnTo>
                      <a:lnTo>
                        <a:pt x="51930" y="61087"/>
                      </a:lnTo>
                      <a:lnTo>
                        <a:pt x="48768" y="59842"/>
                      </a:lnTo>
                      <a:lnTo>
                        <a:pt x="49466" y="61429"/>
                      </a:lnTo>
                      <a:lnTo>
                        <a:pt x="48552" y="62217"/>
                      </a:lnTo>
                      <a:lnTo>
                        <a:pt x="46494" y="63207"/>
                      </a:lnTo>
                      <a:lnTo>
                        <a:pt x="45326" y="61569"/>
                      </a:lnTo>
                      <a:lnTo>
                        <a:pt x="46774" y="60274"/>
                      </a:lnTo>
                      <a:lnTo>
                        <a:pt x="47155" y="59931"/>
                      </a:lnTo>
                      <a:lnTo>
                        <a:pt x="45720" y="59105"/>
                      </a:lnTo>
                      <a:lnTo>
                        <a:pt x="44577" y="59715"/>
                      </a:lnTo>
                      <a:lnTo>
                        <a:pt x="41986" y="60274"/>
                      </a:lnTo>
                      <a:lnTo>
                        <a:pt x="41262" y="59258"/>
                      </a:lnTo>
                      <a:lnTo>
                        <a:pt x="37096" y="56375"/>
                      </a:lnTo>
                      <a:lnTo>
                        <a:pt x="36804" y="54305"/>
                      </a:lnTo>
                      <a:lnTo>
                        <a:pt x="35953" y="50825"/>
                      </a:lnTo>
                      <a:lnTo>
                        <a:pt x="43967" y="45745"/>
                      </a:lnTo>
                      <a:lnTo>
                        <a:pt x="47853" y="42557"/>
                      </a:lnTo>
                      <a:lnTo>
                        <a:pt x="48806" y="39624"/>
                      </a:lnTo>
                      <a:lnTo>
                        <a:pt x="51536" y="35306"/>
                      </a:lnTo>
                      <a:lnTo>
                        <a:pt x="52451" y="35204"/>
                      </a:lnTo>
                      <a:lnTo>
                        <a:pt x="51308" y="32308"/>
                      </a:lnTo>
                      <a:lnTo>
                        <a:pt x="51308" y="29870"/>
                      </a:lnTo>
                      <a:lnTo>
                        <a:pt x="47459" y="26835"/>
                      </a:lnTo>
                      <a:lnTo>
                        <a:pt x="43510" y="24168"/>
                      </a:lnTo>
                      <a:lnTo>
                        <a:pt x="42316" y="19367"/>
                      </a:lnTo>
                      <a:lnTo>
                        <a:pt x="42735" y="17030"/>
                      </a:lnTo>
                      <a:lnTo>
                        <a:pt x="43878" y="15735"/>
                      </a:lnTo>
                      <a:lnTo>
                        <a:pt x="12814" y="15748"/>
                      </a:lnTo>
                      <a:lnTo>
                        <a:pt x="11137" y="24180"/>
                      </a:lnTo>
                      <a:lnTo>
                        <a:pt x="12077" y="26949"/>
                      </a:lnTo>
                      <a:lnTo>
                        <a:pt x="13004" y="31711"/>
                      </a:lnTo>
                      <a:lnTo>
                        <a:pt x="13335" y="32740"/>
                      </a:lnTo>
                      <a:lnTo>
                        <a:pt x="13512" y="33578"/>
                      </a:lnTo>
                      <a:lnTo>
                        <a:pt x="13538" y="35306"/>
                      </a:lnTo>
                      <a:lnTo>
                        <a:pt x="12915" y="37833"/>
                      </a:lnTo>
                      <a:lnTo>
                        <a:pt x="2971" y="50584"/>
                      </a:lnTo>
                      <a:lnTo>
                        <a:pt x="1981" y="51714"/>
                      </a:lnTo>
                      <a:lnTo>
                        <a:pt x="88" y="53276"/>
                      </a:lnTo>
                      <a:lnTo>
                        <a:pt x="0" y="54787"/>
                      </a:lnTo>
                      <a:lnTo>
                        <a:pt x="355" y="56413"/>
                      </a:lnTo>
                      <a:lnTo>
                        <a:pt x="584" y="58674"/>
                      </a:lnTo>
                      <a:lnTo>
                        <a:pt x="1866" y="61429"/>
                      </a:lnTo>
                      <a:lnTo>
                        <a:pt x="3263" y="63385"/>
                      </a:lnTo>
                      <a:lnTo>
                        <a:pt x="4711" y="66306"/>
                      </a:lnTo>
                      <a:lnTo>
                        <a:pt x="8001" y="68199"/>
                      </a:lnTo>
                      <a:lnTo>
                        <a:pt x="10134" y="70853"/>
                      </a:lnTo>
                      <a:lnTo>
                        <a:pt x="10858" y="71894"/>
                      </a:lnTo>
                      <a:lnTo>
                        <a:pt x="11036" y="72148"/>
                      </a:lnTo>
                      <a:lnTo>
                        <a:pt x="11137" y="72428"/>
                      </a:lnTo>
                      <a:lnTo>
                        <a:pt x="11620" y="73393"/>
                      </a:lnTo>
                      <a:lnTo>
                        <a:pt x="11823" y="74117"/>
                      </a:lnTo>
                      <a:lnTo>
                        <a:pt x="11912" y="77660"/>
                      </a:lnTo>
                      <a:lnTo>
                        <a:pt x="19405" y="83693"/>
                      </a:lnTo>
                      <a:lnTo>
                        <a:pt x="29159" y="114134"/>
                      </a:lnTo>
                      <a:lnTo>
                        <a:pt x="29146" y="114300"/>
                      </a:lnTo>
                      <a:lnTo>
                        <a:pt x="29387" y="114363"/>
                      </a:lnTo>
                      <a:lnTo>
                        <a:pt x="30149" y="114084"/>
                      </a:lnTo>
                      <a:lnTo>
                        <a:pt x="31076" y="113842"/>
                      </a:lnTo>
                      <a:lnTo>
                        <a:pt x="31965" y="113550"/>
                      </a:lnTo>
                      <a:lnTo>
                        <a:pt x="33261" y="113017"/>
                      </a:lnTo>
                      <a:lnTo>
                        <a:pt x="34086" y="112585"/>
                      </a:lnTo>
                      <a:lnTo>
                        <a:pt x="34480" y="112382"/>
                      </a:lnTo>
                      <a:lnTo>
                        <a:pt x="36182" y="110210"/>
                      </a:lnTo>
                      <a:lnTo>
                        <a:pt x="37033" y="109245"/>
                      </a:lnTo>
                      <a:lnTo>
                        <a:pt x="37909" y="108115"/>
                      </a:lnTo>
                      <a:lnTo>
                        <a:pt x="39204" y="106349"/>
                      </a:lnTo>
                      <a:lnTo>
                        <a:pt x="40081" y="104609"/>
                      </a:lnTo>
                      <a:lnTo>
                        <a:pt x="39484" y="100863"/>
                      </a:lnTo>
                      <a:lnTo>
                        <a:pt x="38938" y="99136"/>
                      </a:lnTo>
                      <a:lnTo>
                        <a:pt x="38925" y="95872"/>
                      </a:lnTo>
                      <a:lnTo>
                        <a:pt x="39433" y="92100"/>
                      </a:lnTo>
                      <a:lnTo>
                        <a:pt x="40868" y="90678"/>
                      </a:lnTo>
                      <a:lnTo>
                        <a:pt x="41224" y="90817"/>
                      </a:lnTo>
                      <a:lnTo>
                        <a:pt x="41503" y="90855"/>
                      </a:lnTo>
                      <a:lnTo>
                        <a:pt x="44297" y="87769"/>
                      </a:lnTo>
                      <a:lnTo>
                        <a:pt x="44704" y="87172"/>
                      </a:lnTo>
                      <a:lnTo>
                        <a:pt x="45427" y="86741"/>
                      </a:lnTo>
                      <a:lnTo>
                        <a:pt x="45643" y="86931"/>
                      </a:lnTo>
                      <a:lnTo>
                        <a:pt x="45859" y="87033"/>
                      </a:lnTo>
                      <a:lnTo>
                        <a:pt x="46024" y="87033"/>
                      </a:lnTo>
                      <a:lnTo>
                        <a:pt x="46228" y="86982"/>
                      </a:lnTo>
                      <a:lnTo>
                        <a:pt x="46609" y="86741"/>
                      </a:lnTo>
                      <a:lnTo>
                        <a:pt x="47320" y="86207"/>
                      </a:lnTo>
                      <a:lnTo>
                        <a:pt x="47967" y="85318"/>
                      </a:lnTo>
                      <a:lnTo>
                        <a:pt x="48882" y="84416"/>
                      </a:lnTo>
                      <a:lnTo>
                        <a:pt x="49225" y="84175"/>
                      </a:lnTo>
                      <a:lnTo>
                        <a:pt x="49479" y="83947"/>
                      </a:lnTo>
                      <a:lnTo>
                        <a:pt x="50406" y="83362"/>
                      </a:lnTo>
                      <a:lnTo>
                        <a:pt x="57708" y="79832"/>
                      </a:lnTo>
                      <a:lnTo>
                        <a:pt x="57823" y="70853"/>
                      </a:lnTo>
                      <a:close/>
                    </a:path>
                    <a:path w="445770" h="511175">
                      <a:moveTo>
                        <a:pt x="213842" y="351370"/>
                      </a:moveTo>
                      <a:lnTo>
                        <a:pt x="213664" y="350545"/>
                      </a:lnTo>
                      <a:lnTo>
                        <a:pt x="212686" y="351815"/>
                      </a:lnTo>
                      <a:lnTo>
                        <a:pt x="213842" y="351370"/>
                      </a:lnTo>
                      <a:close/>
                    </a:path>
                    <a:path w="445770" h="511175">
                      <a:moveTo>
                        <a:pt x="426935" y="254025"/>
                      </a:moveTo>
                      <a:lnTo>
                        <a:pt x="424751" y="252882"/>
                      </a:lnTo>
                      <a:lnTo>
                        <a:pt x="425157" y="254025"/>
                      </a:lnTo>
                      <a:lnTo>
                        <a:pt x="426123" y="255295"/>
                      </a:lnTo>
                      <a:lnTo>
                        <a:pt x="426859" y="256565"/>
                      </a:lnTo>
                      <a:lnTo>
                        <a:pt x="426935" y="254025"/>
                      </a:lnTo>
                      <a:close/>
                    </a:path>
                    <a:path w="445770" h="511175">
                      <a:moveTo>
                        <a:pt x="445490" y="301015"/>
                      </a:moveTo>
                      <a:lnTo>
                        <a:pt x="444474" y="299745"/>
                      </a:lnTo>
                      <a:lnTo>
                        <a:pt x="443014" y="299745"/>
                      </a:lnTo>
                      <a:lnTo>
                        <a:pt x="426720" y="287045"/>
                      </a:lnTo>
                      <a:lnTo>
                        <a:pt x="426237" y="279425"/>
                      </a:lnTo>
                      <a:lnTo>
                        <a:pt x="426161" y="278155"/>
                      </a:lnTo>
                      <a:lnTo>
                        <a:pt x="425691" y="270535"/>
                      </a:lnTo>
                      <a:lnTo>
                        <a:pt x="425958" y="266725"/>
                      </a:lnTo>
                      <a:lnTo>
                        <a:pt x="425602" y="260375"/>
                      </a:lnTo>
                      <a:lnTo>
                        <a:pt x="424776" y="256565"/>
                      </a:lnTo>
                      <a:lnTo>
                        <a:pt x="424713" y="252869"/>
                      </a:lnTo>
                      <a:lnTo>
                        <a:pt x="424510" y="252755"/>
                      </a:lnTo>
                      <a:lnTo>
                        <a:pt x="422414" y="250215"/>
                      </a:lnTo>
                      <a:lnTo>
                        <a:pt x="421284" y="247675"/>
                      </a:lnTo>
                      <a:lnTo>
                        <a:pt x="420903" y="245135"/>
                      </a:lnTo>
                      <a:lnTo>
                        <a:pt x="421220" y="242595"/>
                      </a:lnTo>
                      <a:lnTo>
                        <a:pt x="421386" y="241325"/>
                      </a:lnTo>
                      <a:lnTo>
                        <a:pt x="420903" y="241325"/>
                      </a:lnTo>
                      <a:lnTo>
                        <a:pt x="408584" y="231165"/>
                      </a:lnTo>
                      <a:lnTo>
                        <a:pt x="407174" y="229895"/>
                      </a:lnTo>
                      <a:lnTo>
                        <a:pt x="405231" y="227355"/>
                      </a:lnTo>
                      <a:lnTo>
                        <a:pt x="403428" y="224815"/>
                      </a:lnTo>
                      <a:lnTo>
                        <a:pt x="403085" y="223545"/>
                      </a:lnTo>
                      <a:lnTo>
                        <a:pt x="402424" y="224815"/>
                      </a:lnTo>
                      <a:lnTo>
                        <a:pt x="400646" y="224815"/>
                      </a:lnTo>
                      <a:lnTo>
                        <a:pt x="397052" y="227355"/>
                      </a:lnTo>
                      <a:lnTo>
                        <a:pt x="395503" y="227355"/>
                      </a:lnTo>
                      <a:lnTo>
                        <a:pt x="394106" y="228625"/>
                      </a:lnTo>
                      <a:lnTo>
                        <a:pt x="392303" y="229895"/>
                      </a:lnTo>
                      <a:lnTo>
                        <a:pt x="391668" y="232435"/>
                      </a:lnTo>
                      <a:lnTo>
                        <a:pt x="389940" y="236245"/>
                      </a:lnTo>
                      <a:lnTo>
                        <a:pt x="388899" y="237515"/>
                      </a:lnTo>
                      <a:lnTo>
                        <a:pt x="383159" y="237515"/>
                      </a:lnTo>
                      <a:lnTo>
                        <a:pt x="382054" y="238785"/>
                      </a:lnTo>
                      <a:lnTo>
                        <a:pt x="381762" y="240055"/>
                      </a:lnTo>
                      <a:lnTo>
                        <a:pt x="381558" y="240055"/>
                      </a:lnTo>
                      <a:lnTo>
                        <a:pt x="381127" y="241325"/>
                      </a:lnTo>
                      <a:lnTo>
                        <a:pt x="343712" y="241325"/>
                      </a:lnTo>
                      <a:lnTo>
                        <a:pt x="343687" y="240055"/>
                      </a:lnTo>
                      <a:lnTo>
                        <a:pt x="344449" y="238785"/>
                      </a:lnTo>
                      <a:lnTo>
                        <a:pt x="343154" y="237515"/>
                      </a:lnTo>
                      <a:lnTo>
                        <a:pt x="342531" y="238785"/>
                      </a:lnTo>
                      <a:lnTo>
                        <a:pt x="341972" y="238785"/>
                      </a:lnTo>
                      <a:lnTo>
                        <a:pt x="341261" y="240055"/>
                      </a:lnTo>
                      <a:lnTo>
                        <a:pt x="250875" y="241325"/>
                      </a:lnTo>
                      <a:lnTo>
                        <a:pt x="250736" y="241325"/>
                      </a:lnTo>
                      <a:lnTo>
                        <a:pt x="250736" y="270535"/>
                      </a:lnTo>
                      <a:lnTo>
                        <a:pt x="249948" y="270535"/>
                      </a:lnTo>
                      <a:lnTo>
                        <a:pt x="245770" y="271805"/>
                      </a:lnTo>
                      <a:lnTo>
                        <a:pt x="243814" y="270535"/>
                      </a:lnTo>
                      <a:lnTo>
                        <a:pt x="239814" y="270535"/>
                      </a:lnTo>
                      <a:lnTo>
                        <a:pt x="238023" y="271805"/>
                      </a:lnTo>
                      <a:lnTo>
                        <a:pt x="235953" y="271805"/>
                      </a:lnTo>
                      <a:lnTo>
                        <a:pt x="236423" y="276885"/>
                      </a:lnTo>
                      <a:lnTo>
                        <a:pt x="236423" y="335305"/>
                      </a:lnTo>
                      <a:lnTo>
                        <a:pt x="231736" y="334035"/>
                      </a:lnTo>
                      <a:lnTo>
                        <a:pt x="223380" y="332765"/>
                      </a:lnTo>
                      <a:lnTo>
                        <a:pt x="220395" y="339115"/>
                      </a:lnTo>
                      <a:lnTo>
                        <a:pt x="220002" y="340385"/>
                      </a:lnTo>
                      <a:lnTo>
                        <a:pt x="219659" y="341655"/>
                      </a:lnTo>
                      <a:lnTo>
                        <a:pt x="218592" y="346735"/>
                      </a:lnTo>
                      <a:lnTo>
                        <a:pt x="218224" y="348005"/>
                      </a:lnTo>
                      <a:lnTo>
                        <a:pt x="217716" y="348005"/>
                      </a:lnTo>
                      <a:lnTo>
                        <a:pt x="217462" y="349275"/>
                      </a:lnTo>
                      <a:lnTo>
                        <a:pt x="216090" y="349275"/>
                      </a:lnTo>
                      <a:lnTo>
                        <a:pt x="216039" y="350545"/>
                      </a:lnTo>
                      <a:lnTo>
                        <a:pt x="213842" y="351370"/>
                      </a:lnTo>
                      <a:lnTo>
                        <a:pt x="214223" y="353085"/>
                      </a:lnTo>
                      <a:lnTo>
                        <a:pt x="214185" y="354355"/>
                      </a:lnTo>
                      <a:lnTo>
                        <a:pt x="213944" y="354355"/>
                      </a:lnTo>
                      <a:lnTo>
                        <a:pt x="214083" y="355625"/>
                      </a:lnTo>
                      <a:lnTo>
                        <a:pt x="214363" y="355625"/>
                      </a:lnTo>
                      <a:lnTo>
                        <a:pt x="215315" y="356895"/>
                      </a:lnTo>
                      <a:lnTo>
                        <a:pt x="215607" y="358165"/>
                      </a:lnTo>
                      <a:lnTo>
                        <a:pt x="213791" y="358165"/>
                      </a:lnTo>
                      <a:lnTo>
                        <a:pt x="212521" y="359435"/>
                      </a:lnTo>
                      <a:lnTo>
                        <a:pt x="211696" y="359435"/>
                      </a:lnTo>
                      <a:lnTo>
                        <a:pt x="210959" y="360705"/>
                      </a:lnTo>
                      <a:lnTo>
                        <a:pt x="210299" y="360705"/>
                      </a:lnTo>
                      <a:lnTo>
                        <a:pt x="208394" y="363245"/>
                      </a:lnTo>
                      <a:lnTo>
                        <a:pt x="210388" y="365785"/>
                      </a:lnTo>
                      <a:lnTo>
                        <a:pt x="211620" y="368325"/>
                      </a:lnTo>
                      <a:lnTo>
                        <a:pt x="211848" y="368325"/>
                      </a:lnTo>
                      <a:lnTo>
                        <a:pt x="212039" y="369595"/>
                      </a:lnTo>
                      <a:lnTo>
                        <a:pt x="211162" y="369595"/>
                      </a:lnTo>
                      <a:lnTo>
                        <a:pt x="210413" y="370865"/>
                      </a:lnTo>
                      <a:lnTo>
                        <a:pt x="208953" y="372135"/>
                      </a:lnTo>
                      <a:lnTo>
                        <a:pt x="207429" y="373405"/>
                      </a:lnTo>
                      <a:lnTo>
                        <a:pt x="205613" y="377215"/>
                      </a:lnTo>
                      <a:lnTo>
                        <a:pt x="205625" y="378485"/>
                      </a:lnTo>
                      <a:lnTo>
                        <a:pt x="206946" y="378485"/>
                      </a:lnTo>
                      <a:lnTo>
                        <a:pt x="207213" y="379755"/>
                      </a:lnTo>
                      <a:lnTo>
                        <a:pt x="209346" y="379755"/>
                      </a:lnTo>
                      <a:lnTo>
                        <a:pt x="209791" y="378485"/>
                      </a:lnTo>
                      <a:lnTo>
                        <a:pt x="211836" y="378485"/>
                      </a:lnTo>
                      <a:lnTo>
                        <a:pt x="213461" y="379755"/>
                      </a:lnTo>
                      <a:lnTo>
                        <a:pt x="214223" y="386105"/>
                      </a:lnTo>
                      <a:lnTo>
                        <a:pt x="214731" y="388645"/>
                      </a:lnTo>
                      <a:lnTo>
                        <a:pt x="215366" y="387375"/>
                      </a:lnTo>
                      <a:lnTo>
                        <a:pt x="216903" y="387375"/>
                      </a:lnTo>
                      <a:lnTo>
                        <a:pt x="216509" y="388645"/>
                      </a:lnTo>
                      <a:lnTo>
                        <a:pt x="216433" y="389915"/>
                      </a:lnTo>
                      <a:lnTo>
                        <a:pt x="215773" y="393725"/>
                      </a:lnTo>
                      <a:lnTo>
                        <a:pt x="215569" y="393725"/>
                      </a:lnTo>
                      <a:lnTo>
                        <a:pt x="219443" y="397535"/>
                      </a:lnTo>
                      <a:lnTo>
                        <a:pt x="220954" y="397535"/>
                      </a:lnTo>
                      <a:lnTo>
                        <a:pt x="221373" y="398805"/>
                      </a:lnTo>
                      <a:lnTo>
                        <a:pt x="221576" y="400075"/>
                      </a:lnTo>
                      <a:lnTo>
                        <a:pt x="221983" y="400075"/>
                      </a:lnTo>
                      <a:lnTo>
                        <a:pt x="221157" y="401345"/>
                      </a:lnTo>
                      <a:lnTo>
                        <a:pt x="220929" y="402615"/>
                      </a:lnTo>
                      <a:lnTo>
                        <a:pt x="220827" y="403885"/>
                      </a:lnTo>
                      <a:lnTo>
                        <a:pt x="220408" y="403885"/>
                      </a:lnTo>
                      <a:lnTo>
                        <a:pt x="225513" y="411505"/>
                      </a:lnTo>
                      <a:lnTo>
                        <a:pt x="227660" y="414045"/>
                      </a:lnTo>
                      <a:lnTo>
                        <a:pt x="229374" y="415315"/>
                      </a:lnTo>
                      <a:lnTo>
                        <a:pt x="230936" y="417855"/>
                      </a:lnTo>
                      <a:lnTo>
                        <a:pt x="232219" y="420395"/>
                      </a:lnTo>
                      <a:lnTo>
                        <a:pt x="231863" y="422935"/>
                      </a:lnTo>
                      <a:lnTo>
                        <a:pt x="231444" y="424205"/>
                      </a:lnTo>
                      <a:lnTo>
                        <a:pt x="231330" y="428015"/>
                      </a:lnTo>
                      <a:lnTo>
                        <a:pt x="231495" y="428015"/>
                      </a:lnTo>
                      <a:lnTo>
                        <a:pt x="230492" y="429285"/>
                      </a:lnTo>
                      <a:lnTo>
                        <a:pt x="228739" y="430555"/>
                      </a:lnTo>
                      <a:lnTo>
                        <a:pt x="228917" y="430555"/>
                      </a:lnTo>
                      <a:lnTo>
                        <a:pt x="229374" y="434365"/>
                      </a:lnTo>
                      <a:lnTo>
                        <a:pt x="229438" y="435635"/>
                      </a:lnTo>
                      <a:lnTo>
                        <a:pt x="229920" y="436905"/>
                      </a:lnTo>
                      <a:lnTo>
                        <a:pt x="230124" y="435635"/>
                      </a:lnTo>
                      <a:lnTo>
                        <a:pt x="236004" y="435635"/>
                      </a:lnTo>
                      <a:lnTo>
                        <a:pt x="237858" y="436905"/>
                      </a:lnTo>
                      <a:lnTo>
                        <a:pt x="238493" y="435635"/>
                      </a:lnTo>
                      <a:lnTo>
                        <a:pt x="239280" y="438175"/>
                      </a:lnTo>
                      <a:lnTo>
                        <a:pt x="239776" y="440715"/>
                      </a:lnTo>
                      <a:lnTo>
                        <a:pt x="239928" y="441985"/>
                      </a:lnTo>
                      <a:lnTo>
                        <a:pt x="240512" y="441985"/>
                      </a:lnTo>
                      <a:lnTo>
                        <a:pt x="241173" y="443255"/>
                      </a:lnTo>
                      <a:lnTo>
                        <a:pt x="246900" y="443255"/>
                      </a:lnTo>
                      <a:lnTo>
                        <a:pt x="248577" y="444525"/>
                      </a:lnTo>
                      <a:lnTo>
                        <a:pt x="249720" y="444525"/>
                      </a:lnTo>
                      <a:lnTo>
                        <a:pt x="251701" y="445795"/>
                      </a:lnTo>
                      <a:lnTo>
                        <a:pt x="253314" y="447065"/>
                      </a:lnTo>
                      <a:lnTo>
                        <a:pt x="253949" y="448335"/>
                      </a:lnTo>
                      <a:lnTo>
                        <a:pt x="254520" y="449605"/>
                      </a:lnTo>
                      <a:lnTo>
                        <a:pt x="254901" y="449605"/>
                      </a:lnTo>
                      <a:lnTo>
                        <a:pt x="254863" y="450875"/>
                      </a:lnTo>
                      <a:lnTo>
                        <a:pt x="255257" y="452145"/>
                      </a:lnTo>
                      <a:lnTo>
                        <a:pt x="255778" y="452145"/>
                      </a:lnTo>
                      <a:lnTo>
                        <a:pt x="270078" y="464845"/>
                      </a:lnTo>
                      <a:lnTo>
                        <a:pt x="270294" y="466115"/>
                      </a:lnTo>
                      <a:lnTo>
                        <a:pt x="270560" y="466115"/>
                      </a:lnTo>
                      <a:lnTo>
                        <a:pt x="270446" y="467385"/>
                      </a:lnTo>
                      <a:lnTo>
                        <a:pt x="270116" y="467385"/>
                      </a:lnTo>
                      <a:lnTo>
                        <a:pt x="269532" y="468655"/>
                      </a:lnTo>
                      <a:lnTo>
                        <a:pt x="269519" y="469925"/>
                      </a:lnTo>
                      <a:lnTo>
                        <a:pt x="269684" y="469925"/>
                      </a:lnTo>
                      <a:lnTo>
                        <a:pt x="269951" y="471195"/>
                      </a:lnTo>
                      <a:lnTo>
                        <a:pt x="270344" y="471195"/>
                      </a:lnTo>
                      <a:lnTo>
                        <a:pt x="270764" y="472465"/>
                      </a:lnTo>
                      <a:lnTo>
                        <a:pt x="270967" y="472465"/>
                      </a:lnTo>
                      <a:lnTo>
                        <a:pt x="271183" y="473735"/>
                      </a:lnTo>
                      <a:lnTo>
                        <a:pt x="271640" y="473735"/>
                      </a:lnTo>
                      <a:lnTo>
                        <a:pt x="272491" y="475005"/>
                      </a:lnTo>
                      <a:lnTo>
                        <a:pt x="273392" y="475005"/>
                      </a:lnTo>
                      <a:lnTo>
                        <a:pt x="275894" y="476275"/>
                      </a:lnTo>
                      <a:lnTo>
                        <a:pt x="277291" y="476275"/>
                      </a:lnTo>
                      <a:lnTo>
                        <a:pt x="278714" y="477545"/>
                      </a:lnTo>
                      <a:lnTo>
                        <a:pt x="282448" y="480085"/>
                      </a:lnTo>
                      <a:lnTo>
                        <a:pt x="283540" y="481355"/>
                      </a:lnTo>
                      <a:lnTo>
                        <a:pt x="283438" y="482625"/>
                      </a:lnTo>
                      <a:lnTo>
                        <a:pt x="283591" y="483895"/>
                      </a:lnTo>
                      <a:lnTo>
                        <a:pt x="284124" y="485165"/>
                      </a:lnTo>
                      <a:lnTo>
                        <a:pt x="284962" y="487705"/>
                      </a:lnTo>
                      <a:lnTo>
                        <a:pt x="285699" y="488975"/>
                      </a:lnTo>
                      <a:lnTo>
                        <a:pt x="286042" y="488975"/>
                      </a:lnTo>
                      <a:lnTo>
                        <a:pt x="287985" y="490245"/>
                      </a:lnTo>
                      <a:lnTo>
                        <a:pt x="289674" y="491515"/>
                      </a:lnTo>
                      <a:lnTo>
                        <a:pt x="291325" y="496595"/>
                      </a:lnTo>
                      <a:lnTo>
                        <a:pt x="295287" y="497865"/>
                      </a:lnTo>
                      <a:lnTo>
                        <a:pt x="300570" y="500405"/>
                      </a:lnTo>
                      <a:lnTo>
                        <a:pt x="300240" y="499135"/>
                      </a:lnTo>
                      <a:lnTo>
                        <a:pt x="305282" y="496595"/>
                      </a:lnTo>
                      <a:lnTo>
                        <a:pt x="310324" y="500405"/>
                      </a:lnTo>
                      <a:lnTo>
                        <a:pt x="313067" y="497865"/>
                      </a:lnTo>
                      <a:lnTo>
                        <a:pt x="314147" y="496595"/>
                      </a:lnTo>
                      <a:lnTo>
                        <a:pt x="315214" y="495325"/>
                      </a:lnTo>
                      <a:lnTo>
                        <a:pt x="317677" y="496595"/>
                      </a:lnTo>
                      <a:lnTo>
                        <a:pt x="319671" y="496595"/>
                      </a:lnTo>
                      <a:lnTo>
                        <a:pt x="319532" y="497865"/>
                      </a:lnTo>
                      <a:lnTo>
                        <a:pt x="319798" y="499135"/>
                      </a:lnTo>
                      <a:lnTo>
                        <a:pt x="320459" y="499135"/>
                      </a:lnTo>
                      <a:lnTo>
                        <a:pt x="321754" y="500405"/>
                      </a:lnTo>
                      <a:lnTo>
                        <a:pt x="323850" y="502945"/>
                      </a:lnTo>
                      <a:lnTo>
                        <a:pt x="324777" y="504215"/>
                      </a:lnTo>
                      <a:lnTo>
                        <a:pt x="327012" y="504215"/>
                      </a:lnTo>
                      <a:lnTo>
                        <a:pt x="328193" y="505485"/>
                      </a:lnTo>
                      <a:lnTo>
                        <a:pt x="329869" y="505485"/>
                      </a:lnTo>
                      <a:lnTo>
                        <a:pt x="330390" y="506755"/>
                      </a:lnTo>
                      <a:lnTo>
                        <a:pt x="330352" y="508025"/>
                      </a:lnTo>
                      <a:lnTo>
                        <a:pt x="330276" y="510565"/>
                      </a:lnTo>
                      <a:lnTo>
                        <a:pt x="333629" y="509295"/>
                      </a:lnTo>
                      <a:lnTo>
                        <a:pt x="334479" y="510565"/>
                      </a:lnTo>
                      <a:lnTo>
                        <a:pt x="335102" y="510565"/>
                      </a:lnTo>
                      <a:lnTo>
                        <a:pt x="336372" y="509295"/>
                      </a:lnTo>
                      <a:lnTo>
                        <a:pt x="336994" y="509295"/>
                      </a:lnTo>
                      <a:lnTo>
                        <a:pt x="337375" y="508025"/>
                      </a:lnTo>
                      <a:lnTo>
                        <a:pt x="337756" y="508025"/>
                      </a:lnTo>
                      <a:lnTo>
                        <a:pt x="338531" y="506755"/>
                      </a:lnTo>
                      <a:lnTo>
                        <a:pt x="339013" y="506755"/>
                      </a:lnTo>
                      <a:lnTo>
                        <a:pt x="339826" y="508025"/>
                      </a:lnTo>
                      <a:lnTo>
                        <a:pt x="341490" y="508025"/>
                      </a:lnTo>
                      <a:lnTo>
                        <a:pt x="343852" y="509295"/>
                      </a:lnTo>
                      <a:lnTo>
                        <a:pt x="344614" y="508025"/>
                      </a:lnTo>
                      <a:lnTo>
                        <a:pt x="345351" y="508025"/>
                      </a:lnTo>
                      <a:lnTo>
                        <a:pt x="348132" y="506755"/>
                      </a:lnTo>
                      <a:lnTo>
                        <a:pt x="350481" y="510565"/>
                      </a:lnTo>
                      <a:lnTo>
                        <a:pt x="350989" y="509295"/>
                      </a:lnTo>
                      <a:lnTo>
                        <a:pt x="351942" y="509295"/>
                      </a:lnTo>
                      <a:lnTo>
                        <a:pt x="352285" y="510565"/>
                      </a:lnTo>
                      <a:lnTo>
                        <a:pt x="353212" y="510565"/>
                      </a:lnTo>
                      <a:lnTo>
                        <a:pt x="354622" y="509295"/>
                      </a:lnTo>
                      <a:lnTo>
                        <a:pt x="355358" y="509295"/>
                      </a:lnTo>
                      <a:lnTo>
                        <a:pt x="356362" y="508025"/>
                      </a:lnTo>
                      <a:lnTo>
                        <a:pt x="357162" y="508025"/>
                      </a:lnTo>
                      <a:lnTo>
                        <a:pt x="358368" y="506755"/>
                      </a:lnTo>
                      <a:lnTo>
                        <a:pt x="359689" y="506755"/>
                      </a:lnTo>
                      <a:lnTo>
                        <a:pt x="361911" y="505485"/>
                      </a:lnTo>
                      <a:lnTo>
                        <a:pt x="366153" y="505485"/>
                      </a:lnTo>
                      <a:lnTo>
                        <a:pt x="366458" y="506755"/>
                      </a:lnTo>
                      <a:lnTo>
                        <a:pt x="368846" y="506755"/>
                      </a:lnTo>
                      <a:lnTo>
                        <a:pt x="372821" y="508025"/>
                      </a:lnTo>
                      <a:lnTo>
                        <a:pt x="372783" y="506755"/>
                      </a:lnTo>
                      <a:lnTo>
                        <a:pt x="379552" y="500405"/>
                      </a:lnTo>
                      <a:lnTo>
                        <a:pt x="380072" y="500405"/>
                      </a:lnTo>
                      <a:lnTo>
                        <a:pt x="381596" y="499135"/>
                      </a:lnTo>
                      <a:lnTo>
                        <a:pt x="382422" y="497865"/>
                      </a:lnTo>
                      <a:lnTo>
                        <a:pt x="383908" y="496595"/>
                      </a:lnTo>
                      <a:lnTo>
                        <a:pt x="384530" y="495325"/>
                      </a:lnTo>
                      <a:lnTo>
                        <a:pt x="405257" y="495325"/>
                      </a:lnTo>
                      <a:lnTo>
                        <a:pt x="405168" y="494055"/>
                      </a:lnTo>
                      <a:lnTo>
                        <a:pt x="404990" y="491515"/>
                      </a:lnTo>
                      <a:lnTo>
                        <a:pt x="404977" y="488975"/>
                      </a:lnTo>
                      <a:lnTo>
                        <a:pt x="405130" y="487705"/>
                      </a:lnTo>
                      <a:lnTo>
                        <a:pt x="405447" y="487705"/>
                      </a:lnTo>
                      <a:lnTo>
                        <a:pt x="405523" y="486435"/>
                      </a:lnTo>
                      <a:lnTo>
                        <a:pt x="405511" y="485165"/>
                      </a:lnTo>
                      <a:lnTo>
                        <a:pt x="404952" y="485165"/>
                      </a:lnTo>
                      <a:lnTo>
                        <a:pt x="404139" y="483895"/>
                      </a:lnTo>
                      <a:lnTo>
                        <a:pt x="402234" y="483895"/>
                      </a:lnTo>
                      <a:lnTo>
                        <a:pt x="402234" y="494055"/>
                      </a:lnTo>
                      <a:lnTo>
                        <a:pt x="401993" y="494055"/>
                      </a:lnTo>
                      <a:lnTo>
                        <a:pt x="401777" y="493382"/>
                      </a:lnTo>
                      <a:lnTo>
                        <a:pt x="402234" y="494055"/>
                      </a:lnTo>
                      <a:lnTo>
                        <a:pt x="402234" y="483895"/>
                      </a:lnTo>
                      <a:lnTo>
                        <a:pt x="401701" y="483895"/>
                      </a:lnTo>
                      <a:lnTo>
                        <a:pt x="401701" y="492785"/>
                      </a:lnTo>
                      <a:lnTo>
                        <a:pt x="401447" y="492785"/>
                      </a:lnTo>
                      <a:lnTo>
                        <a:pt x="401497" y="491515"/>
                      </a:lnTo>
                      <a:lnTo>
                        <a:pt x="401701" y="492785"/>
                      </a:lnTo>
                      <a:lnTo>
                        <a:pt x="401701" y="483895"/>
                      </a:lnTo>
                      <a:lnTo>
                        <a:pt x="400062" y="483895"/>
                      </a:lnTo>
                      <a:lnTo>
                        <a:pt x="398614" y="482625"/>
                      </a:lnTo>
                      <a:lnTo>
                        <a:pt x="398145" y="482625"/>
                      </a:lnTo>
                      <a:lnTo>
                        <a:pt x="397268" y="481355"/>
                      </a:lnTo>
                      <a:lnTo>
                        <a:pt x="396265" y="480085"/>
                      </a:lnTo>
                      <a:lnTo>
                        <a:pt x="395630" y="480085"/>
                      </a:lnTo>
                      <a:lnTo>
                        <a:pt x="395224" y="478815"/>
                      </a:lnTo>
                      <a:lnTo>
                        <a:pt x="394919" y="477545"/>
                      </a:lnTo>
                      <a:lnTo>
                        <a:pt x="392518" y="469925"/>
                      </a:lnTo>
                      <a:lnTo>
                        <a:pt x="389915" y="466115"/>
                      </a:lnTo>
                      <a:lnTo>
                        <a:pt x="389089" y="464845"/>
                      </a:lnTo>
                      <a:lnTo>
                        <a:pt x="388162" y="463575"/>
                      </a:lnTo>
                      <a:lnTo>
                        <a:pt x="387197" y="462305"/>
                      </a:lnTo>
                      <a:lnTo>
                        <a:pt x="385775" y="462305"/>
                      </a:lnTo>
                      <a:lnTo>
                        <a:pt x="384771" y="461035"/>
                      </a:lnTo>
                      <a:lnTo>
                        <a:pt x="383197" y="459765"/>
                      </a:lnTo>
                      <a:lnTo>
                        <a:pt x="381914" y="459765"/>
                      </a:lnTo>
                      <a:lnTo>
                        <a:pt x="380746" y="458495"/>
                      </a:lnTo>
                      <a:lnTo>
                        <a:pt x="379945" y="457225"/>
                      </a:lnTo>
                      <a:lnTo>
                        <a:pt x="378472" y="454685"/>
                      </a:lnTo>
                      <a:lnTo>
                        <a:pt x="376872" y="452145"/>
                      </a:lnTo>
                      <a:lnTo>
                        <a:pt x="374827" y="450875"/>
                      </a:lnTo>
                      <a:lnTo>
                        <a:pt x="372186" y="450875"/>
                      </a:lnTo>
                      <a:lnTo>
                        <a:pt x="370014" y="449605"/>
                      </a:lnTo>
                      <a:lnTo>
                        <a:pt x="367550" y="448335"/>
                      </a:lnTo>
                      <a:lnTo>
                        <a:pt x="365328" y="447065"/>
                      </a:lnTo>
                      <a:lnTo>
                        <a:pt x="366598" y="444525"/>
                      </a:lnTo>
                      <a:lnTo>
                        <a:pt x="366852" y="440715"/>
                      </a:lnTo>
                      <a:lnTo>
                        <a:pt x="369735" y="439445"/>
                      </a:lnTo>
                      <a:lnTo>
                        <a:pt x="373888" y="439445"/>
                      </a:lnTo>
                      <a:lnTo>
                        <a:pt x="377215" y="440715"/>
                      </a:lnTo>
                      <a:lnTo>
                        <a:pt x="379539" y="439445"/>
                      </a:lnTo>
                      <a:lnTo>
                        <a:pt x="382524" y="436905"/>
                      </a:lnTo>
                      <a:lnTo>
                        <a:pt x="382308" y="435635"/>
                      </a:lnTo>
                      <a:lnTo>
                        <a:pt x="381685" y="431825"/>
                      </a:lnTo>
                      <a:lnTo>
                        <a:pt x="381165" y="428015"/>
                      </a:lnTo>
                      <a:lnTo>
                        <a:pt x="381190" y="425475"/>
                      </a:lnTo>
                      <a:lnTo>
                        <a:pt x="381368" y="424205"/>
                      </a:lnTo>
                      <a:lnTo>
                        <a:pt x="382625" y="420395"/>
                      </a:lnTo>
                      <a:lnTo>
                        <a:pt x="383324" y="417855"/>
                      </a:lnTo>
                      <a:lnTo>
                        <a:pt x="383755" y="416585"/>
                      </a:lnTo>
                      <a:lnTo>
                        <a:pt x="384238" y="415315"/>
                      </a:lnTo>
                      <a:lnTo>
                        <a:pt x="384975" y="412775"/>
                      </a:lnTo>
                      <a:lnTo>
                        <a:pt x="383527" y="410235"/>
                      </a:lnTo>
                      <a:lnTo>
                        <a:pt x="384213" y="408965"/>
                      </a:lnTo>
                      <a:lnTo>
                        <a:pt x="384530" y="407695"/>
                      </a:lnTo>
                      <a:lnTo>
                        <a:pt x="384860" y="407695"/>
                      </a:lnTo>
                      <a:lnTo>
                        <a:pt x="387858" y="403885"/>
                      </a:lnTo>
                      <a:lnTo>
                        <a:pt x="387997" y="405155"/>
                      </a:lnTo>
                      <a:lnTo>
                        <a:pt x="390004" y="406425"/>
                      </a:lnTo>
                      <a:lnTo>
                        <a:pt x="392569" y="406425"/>
                      </a:lnTo>
                      <a:lnTo>
                        <a:pt x="393369" y="405155"/>
                      </a:lnTo>
                      <a:lnTo>
                        <a:pt x="393522" y="403885"/>
                      </a:lnTo>
                      <a:lnTo>
                        <a:pt x="393344" y="403885"/>
                      </a:lnTo>
                      <a:lnTo>
                        <a:pt x="393395" y="402615"/>
                      </a:lnTo>
                      <a:lnTo>
                        <a:pt x="393814" y="401345"/>
                      </a:lnTo>
                      <a:lnTo>
                        <a:pt x="394068" y="400075"/>
                      </a:lnTo>
                      <a:lnTo>
                        <a:pt x="394144" y="398805"/>
                      </a:lnTo>
                      <a:lnTo>
                        <a:pt x="394296" y="397535"/>
                      </a:lnTo>
                      <a:lnTo>
                        <a:pt x="394728" y="394995"/>
                      </a:lnTo>
                      <a:lnTo>
                        <a:pt x="395617" y="392455"/>
                      </a:lnTo>
                      <a:lnTo>
                        <a:pt x="395668" y="391185"/>
                      </a:lnTo>
                      <a:lnTo>
                        <a:pt x="398487" y="388645"/>
                      </a:lnTo>
                      <a:lnTo>
                        <a:pt x="399135" y="387375"/>
                      </a:lnTo>
                      <a:lnTo>
                        <a:pt x="399796" y="386105"/>
                      </a:lnTo>
                      <a:lnTo>
                        <a:pt x="401154" y="383565"/>
                      </a:lnTo>
                      <a:lnTo>
                        <a:pt x="402323" y="381025"/>
                      </a:lnTo>
                      <a:lnTo>
                        <a:pt x="403885" y="378485"/>
                      </a:lnTo>
                      <a:lnTo>
                        <a:pt x="407022" y="378485"/>
                      </a:lnTo>
                      <a:lnTo>
                        <a:pt x="409219" y="379755"/>
                      </a:lnTo>
                      <a:lnTo>
                        <a:pt x="410946" y="377215"/>
                      </a:lnTo>
                      <a:lnTo>
                        <a:pt x="411314" y="374675"/>
                      </a:lnTo>
                      <a:lnTo>
                        <a:pt x="411581" y="373405"/>
                      </a:lnTo>
                      <a:lnTo>
                        <a:pt x="412737" y="369595"/>
                      </a:lnTo>
                      <a:lnTo>
                        <a:pt x="414083" y="365785"/>
                      </a:lnTo>
                      <a:lnTo>
                        <a:pt x="414807" y="361975"/>
                      </a:lnTo>
                      <a:lnTo>
                        <a:pt x="415226" y="359435"/>
                      </a:lnTo>
                      <a:lnTo>
                        <a:pt x="415531" y="358165"/>
                      </a:lnTo>
                      <a:lnTo>
                        <a:pt x="415861" y="355625"/>
                      </a:lnTo>
                      <a:lnTo>
                        <a:pt x="415175" y="353085"/>
                      </a:lnTo>
                      <a:lnTo>
                        <a:pt x="415175" y="349275"/>
                      </a:lnTo>
                      <a:lnTo>
                        <a:pt x="414921" y="346735"/>
                      </a:lnTo>
                      <a:lnTo>
                        <a:pt x="414362" y="345465"/>
                      </a:lnTo>
                      <a:lnTo>
                        <a:pt x="415556" y="337845"/>
                      </a:lnTo>
                      <a:lnTo>
                        <a:pt x="417055" y="335305"/>
                      </a:lnTo>
                      <a:lnTo>
                        <a:pt x="418566" y="332765"/>
                      </a:lnTo>
                      <a:lnTo>
                        <a:pt x="422008" y="323875"/>
                      </a:lnTo>
                      <a:lnTo>
                        <a:pt x="422109" y="320065"/>
                      </a:lnTo>
                      <a:lnTo>
                        <a:pt x="422376" y="314985"/>
                      </a:lnTo>
                      <a:lnTo>
                        <a:pt x="424434" y="314985"/>
                      </a:lnTo>
                      <a:lnTo>
                        <a:pt x="427405" y="316255"/>
                      </a:lnTo>
                      <a:lnTo>
                        <a:pt x="429018" y="314985"/>
                      </a:lnTo>
                      <a:lnTo>
                        <a:pt x="429183" y="313715"/>
                      </a:lnTo>
                      <a:lnTo>
                        <a:pt x="429869" y="313715"/>
                      </a:lnTo>
                      <a:lnTo>
                        <a:pt x="430288" y="312445"/>
                      </a:lnTo>
                      <a:lnTo>
                        <a:pt x="431939" y="311175"/>
                      </a:lnTo>
                      <a:lnTo>
                        <a:pt x="433920" y="309905"/>
                      </a:lnTo>
                      <a:lnTo>
                        <a:pt x="435648" y="308635"/>
                      </a:lnTo>
                      <a:lnTo>
                        <a:pt x="436435" y="308635"/>
                      </a:lnTo>
                      <a:lnTo>
                        <a:pt x="437718" y="307365"/>
                      </a:lnTo>
                      <a:lnTo>
                        <a:pt x="440905" y="307365"/>
                      </a:lnTo>
                      <a:lnTo>
                        <a:pt x="441032" y="306095"/>
                      </a:lnTo>
                      <a:lnTo>
                        <a:pt x="442925" y="304825"/>
                      </a:lnTo>
                      <a:lnTo>
                        <a:pt x="443992" y="303555"/>
                      </a:lnTo>
                      <a:lnTo>
                        <a:pt x="445135" y="301015"/>
                      </a:lnTo>
                      <a:lnTo>
                        <a:pt x="445490" y="301015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83" name="object 123">
                  <a:extLst>
                    <a:ext uri="{FF2B5EF4-FFF2-40B4-BE49-F238E27FC236}">
                      <a16:creationId xmlns:a16="http://schemas.microsoft.com/office/drawing/2014/main" id="{D8DE501F-A42B-579D-3749-940501E8620A}"/>
                    </a:ext>
                  </a:extLst>
                </p:cNvPr>
                <p:cNvSpPr/>
                <p:nvPr/>
              </p:nvSpPr>
              <p:spPr>
                <a:xfrm>
                  <a:off x="2617835" y="2321816"/>
                  <a:ext cx="295910" cy="2819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5910" h="281939">
                      <a:moveTo>
                        <a:pt x="182105" y="280669"/>
                      </a:moveTo>
                      <a:lnTo>
                        <a:pt x="168986" y="280669"/>
                      </a:lnTo>
                      <a:lnTo>
                        <a:pt x="169100" y="281939"/>
                      </a:lnTo>
                      <a:lnTo>
                        <a:pt x="177317" y="281939"/>
                      </a:lnTo>
                      <a:lnTo>
                        <a:pt x="182105" y="280669"/>
                      </a:lnTo>
                      <a:close/>
                    </a:path>
                    <a:path w="295910" h="281939">
                      <a:moveTo>
                        <a:pt x="200545" y="278129"/>
                      </a:moveTo>
                      <a:lnTo>
                        <a:pt x="169798" y="278129"/>
                      </a:lnTo>
                      <a:lnTo>
                        <a:pt x="168516" y="280669"/>
                      </a:lnTo>
                      <a:lnTo>
                        <a:pt x="184797" y="280669"/>
                      </a:lnTo>
                      <a:lnTo>
                        <a:pt x="200545" y="278129"/>
                      </a:lnTo>
                      <a:close/>
                    </a:path>
                    <a:path w="295910" h="281939">
                      <a:moveTo>
                        <a:pt x="207860" y="275589"/>
                      </a:moveTo>
                      <a:lnTo>
                        <a:pt x="170383" y="275589"/>
                      </a:lnTo>
                      <a:lnTo>
                        <a:pt x="170637" y="276859"/>
                      </a:lnTo>
                      <a:lnTo>
                        <a:pt x="170078" y="278129"/>
                      </a:lnTo>
                      <a:lnTo>
                        <a:pt x="205689" y="278129"/>
                      </a:lnTo>
                      <a:lnTo>
                        <a:pt x="207860" y="275589"/>
                      </a:lnTo>
                      <a:close/>
                    </a:path>
                    <a:path w="295910" h="281939">
                      <a:moveTo>
                        <a:pt x="32105" y="118109"/>
                      </a:moveTo>
                      <a:lnTo>
                        <a:pt x="31305" y="118109"/>
                      </a:lnTo>
                      <a:lnTo>
                        <a:pt x="30784" y="119379"/>
                      </a:lnTo>
                      <a:lnTo>
                        <a:pt x="30505" y="121919"/>
                      </a:lnTo>
                      <a:lnTo>
                        <a:pt x="24866" y="121919"/>
                      </a:lnTo>
                      <a:lnTo>
                        <a:pt x="22123" y="123189"/>
                      </a:lnTo>
                      <a:lnTo>
                        <a:pt x="19723" y="123189"/>
                      </a:lnTo>
                      <a:lnTo>
                        <a:pt x="16243" y="124459"/>
                      </a:lnTo>
                      <a:lnTo>
                        <a:pt x="15087" y="125729"/>
                      </a:lnTo>
                      <a:lnTo>
                        <a:pt x="13627" y="125729"/>
                      </a:lnTo>
                      <a:lnTo>
                        <a:pt x="10782" y="128269"/>
                      </a:lnTo>
                      <a:lnTo>
                        <a:pt x="8343" y="129539"/>
                      </a:lnTo>
                      <a:lnTo>
                        <a:pt x="5689" y="132079"/>
                      </a:lnTo>
                      <a:lnTo>
                        <a:pt x="4864" y="132079"/>
                      </a:lnTo>
                      <a:lnTo>
                        <a:pt x="2412" y="133349"/>
                      </a:lnTo>
                      <a:lnTo>
                        <a:pt x="596" y="134619"/>
                      </a:lnTo>
                      <a:lnTo>
                        <a:pt x="241" y="135889"/>
                      </a:lnTo>
                      <a:lnTo>
                        <a:pt x="0" y="135889"/>
                      </a:lnTo>
                      <a:lnTo>
                        <a:pt x="12" y="157479"/>
                      </a:lnTo>
                      <a:lnTo>
                        <a:pt x="13774" y="166369"/>
                      </a:lnTo>
                      <a:lnTo>
                        <a:pt x="77571" y="208279"/>
                      </a:lnTo>
                      <a:lnTo>
                        <a:pt x="90957" y="218439"/>
                      </a:lnTo>
                      <a:lnTo>
                        <a:pt x="97675" y="222249"/>
                      </a:lnTo>
                      <a:lnTo>
                        <a:pt x="125907" y="242569"/>
                      </a:lnTo>
                      <a:lnTo>
                        <a:pt x="140284" y="251459"/>
                      </a:lnTo>
                      <a:lnTo>
                        <a:pt x="140652" y="251459"/>
                      </a:lnTo>
                      <a:lnTo>
                        <a:pt x="140830" y="252729"/>
                      </a:lnTo>
                      <a:lnTo>
                        <a:pt x="140906" y="253999"/>
                      </a:lnTo>
                      <a:lnTo>
                        <a:pt x="140665" y="255269"/>
                      </a:lnTo>
                      <a:lnTo>
                        <a:pt x="140627" y="256539"/>
                      </a:lnTo>
                      <a:lnTo>
                        <a:pt x="141109" y="257809"/>
                      </a:lnTo>
                      <a:lnTo>
                        <a:pt x="144132" y="257809"/>
                      </a:lnTo>
                      <a:lnTo>
                        <a:pt x="146786" y="259079"/>
                      </a:lnTo>
                      <a:lnTo>
                        <a:pt x="147612" y="261619"/>
                      </a:lnTo>
                      <a:lnTo>
                        <a:pt x="147866" y="261619"/>
                      </a:lnTo>
                      <a:lnTo>
                        <a:pt x="148539" y="262889"/>
                      </a:lnTo>
                      <a:lnTo>
                        <a:pt x="151510" y="264159"/>
                      </a:lnTo>
                      <a:lnTo>
                        <a:pt x="157073" y="264159"/>
                      </a:lnTo>
                      <a:lnTo>
                        <a:pt x="157416" y="265429"/>
                      </a:lnTo>
                      <a:lnTo>
                        <a:pt x="161569" y="267969"/>
                      </a:lnTo>
                      <a:lnTo>
                        <a:pt x="164312" y="267969"/>
                      </a:lnTo>
                      <a:lnTo>
                        <a:pt x="165277" y="269239"/>
                      </a:lnTo>
                      <a:lnTo>
                        <a:pt x="168274" y="269239"/>
                      </a:lnTo>
                      <a:lnTo>
                        <a:pt x="168973" y="270509"/>
                      </a:lnTo>
                      <a:lnTo>
                        <a:pt x="169875" y="270509"/>
                      </a:lnTo>
                      <a:lnTo>
                        <a:pt x="170078" y="271779"/>
                      </a:lnTo>
                      <a:lnTo>
                        <a:pt x="170129" y="273049"/>
                      </a:lnTo>
                      <a:lnTo>
                        <a:pt x="170014" y="275589"/>
                      </a:lnTo>
                      <a:lnTo>
                        <a:pt x="208419" y="275589"/>
                      </a:lnTo>
                      <a:lnTo>
                        <a:pt x="208914" y="274319"/>
                      </a:lnTo>
                      <a:lnTo>
                        <a:pt x="211645" y="271779"/>
                      </a:lnTo>
                      <a:lnTo>
                        <a:pt x="213893" y="270509"/>
                      </a:lnTo>
                      <a:lnTo>
                        <a:pt x="219557" y="265429"/>
                      </a:lnTo>
                      <a:lnTo>
                        <a:pt x="222999" y="261619"/>
                      </a:lnTo>
                      <a:lnTo>
                        <a:pt x="226504" y="259079"/>
                      </a:lnTo>
                      <a:lnTo>
                        <a:pt x="229615" y="256539"/>
                      </a:lnTo>
                      <a:lnTo>
                        <a:pt x="232816" y="253999"/>
                      </a:lnTo>
                      <a:lnTo>
                        <a:pt x="295260" y="214838"/>
                      </a:lnTo>
                      <a:lnTo>
                        <a:pt x="295224" y="214629"/>
                      </a:lnTo>
                      <a:lnTo>
                        <a:pt x="293446" y="213359"/>
                      </a:lnTo>
                      <a:lnTo>
                        <a:pt x="292353" y="208279"/>
                      </a:lnTo>
                      <a:lnTo>
                        <a:pt x="289686" y="204469"/>
                      </a:lnTo>
                      <a:lnTo>
                        <a:pt x="288886" y="203199"/>
                      </a:lnTo>
                      <a:lnTo>
                        <a:pt x="286346" y="201929"/>
                      </a:lnTo>
                      <a:lnTo>
                        <a:pt x="286130" y="201929"/>
                      </a:lnTo>
                      <a:lnTo>
                        <a:pt x="281279" y="200659"/>
                      </a:lnTo>
                      <a:lnTo>
                        <a:pt x="272516" y="200659"/>
                      </a:lnTo>
                      <a:lnTo>
                        <a:pt x="272148" y="199389"/>
                      </a:lnTo>
                      <a:lnTo>
                        <a:pt x="271081" y="199389"/>
                      </a:lnTo>
                      <a:lnTo>
                        <a:pt x="270255" y="198119"/>
                      </a:lnTo>
                      <a:lnTo>
                        <a:pt x="269481" y="196849"/>
                      </a:lnTo>
                      <a:lnTo>
                        <a:pt x="268858" y="195579"/>
                      </a:lnTo>
                      <a:lnTo>
                        <a:pt x="268173" y="195579"/>
                      </a:lnTo>
                      <a:lnTo>
                        <a:pt x="268147" y="194309"/>
                      </a:lnTo>
                      <a:lnTo>
                        <a:pt x="267931" y="194309"/>
                      </a:lnTo>
                      <a:lnTo>
                        <a:pt x="267080" y="191769"/>
                      </a:lnTo>
                      <a:lnTo>
                        <a:pt x="267004" y="187959"/>
                      </a:lnTo>
                      <a:lnTo>
                        <a:pt x="265214" y="184149"/>
                      </a:lnTo>
                      <a:lnTo>
                        <a:pt x="264007" y="182879"/>
                      </a:lnTo>
                      <a:lnTo>
                        <a:pt x="263702" y="182879"/>
                      </a:lnTo>
                      <a:lnTo>
                        <a:pt x="262369" y="180339"/>
                      </a:lnTo>
                      <a:lnTo>
                        <a:pt x="258825" y="176529"/>
                      </a:lnTo>
                      <a:lnTo>
                        <a:pt x="258851" y="175259"/>
                      </a:lnTo>
                      <a:lnTo>
                        <a:pt x="258533" y="173989"/>
                      </a:lnTo>
                      <a:lnTo>
                        <a:pt x="259245" y="173989"/>
                      </a:lnTo>
                      <a:lnTo>
                        <a:pt x="260286" y="172719"/>
                      </a:lnTo>
                      <a:lnTo>
                        <a:pt x="260769" y="172719"/>
                      </a:lnTo>
                      <a:lnTo>
                        <a:pt x="261277" y="171449"/>
                      </a:lnTo>
                      <a:lnTo>
                        <a:pt x="262166" y="171449"/>
                      </a:lnTo>
                      <a:lnTo>
                        <a:pt x="262851" y="170179"/>
                      </a:lnTo>
                      <a:lnTo>
                        <a:pt x="263956" y="170179"/>
                      </a:lnTo>
                      <a:lnTo>
                        <a:pt x="265150" y="168909"/>
                      </a:lnTo>
                      <a:lnTo>
                        <a:pt x="264858" y="165099"/>
                      </a:lnTo>
                      <a:lnTo>
                        <a:pt x="264579" y="163829"/>
                      </a:lnTo>
                      <a:lnTo>
                        <a:pt x="264299" y="161289"/>
                      </a:lnTo>
                      <a:lnTo>
                        <a:pt x="264134" y="160019"/>
                      </a:lnTo>
                      <a:lnTo>
                        <a:pt x="263931" y="160019"/>
                      </a:lnTo>
                      <a:lnTo>
                        <a:pt x="263461" y="158749"/>
                      </a:lnTo>
                      <a:lnTo>
                        <a:pt x="263347" y="156209"/>
                      </a:lnTo>
                      <a:lnTo>
                        <a:pt x="264337" y="154939"/>
                      </a:lnTo>
                      <a:lnTo>
                        <a:pt x="265595" y="151129"/>
                      </a:lnTo>
                      <a:lnTo>
                        <a:pt x="266496" y="149859"/>
                      </a:lnTo>
                      <a:lnTo>
                        <a:pt x="266026" y="148589"/>
                      </a:lnTo>
                      <a:lnTo>
                        <a:pt x="265302" y="146049"/>
                      </a:lnTo>
                      <a:lnTo>
                        <a:pt x="264985" y="144779"/>
                      </a:lnTo>
                      <a:lnTo>
                        <a:pt x="264731" y="143509"/>
                      </a:lnTo>
                      <a:lnTo>
                        <a:pt x="264579" y="143509"/>
                      </a:lnTo>
                      <a:lnTo>
                        <a:pt x="264172" y="139699"/>
                      </a:lnTo>
                      <a:lnTo>
                        <a:pt x="264845" y="137159"/>
                      </a:lnTo>
                      <a:lnTo>
                        <a:pt x="265006" y="134619"/>
                      </a:lnTo>
                      <a:lnTo>
                        <a:pt x="265108" y="132079"/>
                      </a:lnTo>
                      <a:lnTo>
                        <a:pt x="265150" y="129539"/>
                      </a:lnTo>
                      <a:lnTo>
                        <a:pt x="264680" y="125729"/>
                      </a:lnTo>
                      <a:lnTo>
                        <a:pt x="262648" y="121919"/>
                      </a:lnTo>
                      <a:lnTo>
                        <a:pt x="261556" y="120649"/>
                      </a:lnTo>
                      <a:lnTo>
                        <a:pt x="260692" y="119379"/>
                      </a:lnTo>
                      <a:lnTo>
                        <a:pt x="36118" y="119379"/>
                      </a:lnTo>
                      <a:lnTo>
                        <a:pt x="32105" y="118109"/>
                      </a:lnTo>
                      <a:close/>
                    </a:path>
                    <a:path w="295910" h="281939">
                      <a:moveTo>
                        <a:pt x="295254" y="215397"/>
                      </a:moveTo>
                      <a:lnTo>
                        <a:pt x="295033" y="215899"/>
                      </a:lnTo>
                      <a:lnTo>
                        <a:pt x="295249" y="215899"/>
                      </a:lnTo>
                      <a:lnTo>
                        <a:pt x="295254" y="215397"/>
                      </a:lnTo>
                      <a:close/>
                    </a:path>
                    <a:path w="295910" h="281939">
                      <a:moveTo>
                        <a:pt x="295592" y="214629"/>
                      </a:moveTo>
                      <a:lnTo>
                        <a:pt x="295260" y="214838"/>
                      </a:lnTo>
                      <a:lnTo>
                        <a:pt x="295254" y="215397"/>
                      </a:lnTo>
                      <a:lnTo>
                        <a:pt x="295592" y="214629"/>
                      </a:lnTo>
                      <a:close/>
                    </a:path>
                    <a:path w="295910" h="281939">
                      <a:moveTo>
                        <a:pt x="278879" y="199389"/>
                      </a:moveTo>
                      <a:lnTo>
                        <a:pt x="276631" y="199389"/>
                      </a:lnTo>
                      <a:lnTo>
                        <a:pt x="274891" y="200659"/>
                      </a:lnTo>
                      <a:lnTo>
                        <a:pt x="281279" y="200659"/>
                      </a:lnTo>
                      <a:lnTo>
                        <a:pt x="278879" y="199389"/>
                      </a:lnTo>
                      <a:close/>
                    </a:path>
                    <a:path w="295910" h="281939">
                      <a:moveTo>
                        <a:pt x="257759" y="114299"/>
                      </a:moveTo>
                      <a:lnTo>
                        <a:pt x="48374" y="114299"/>
                      </a:lnTo>
                      <a:lnTo>
                        <a:pt x="46824" y="115569"/>
                      </a:lnTo>
                      <a:lnTo>
                        <a:pt x="45923" y="116839"/>
                      </a:lnTo>
                      <a:lnTo>
                        <a:pt x="42443" y="118109"/>
                      </a:lnTo>
                      <a:lnTo>
                        <a:pt x="36118" y="119379"/>
                      </a:lnTo>
                      <a:lnTo>
                        <a:pt x="260692" y="119379"/>
                      </a:lnTo>
                      <a:lnTo>
                        <a:pt x="258102" y="115569"/>
                      </a:lnTo>
                      <a:lnTo>
                        <a:pt x="257759" y="114299"/>
                      </a:lnTo>
                      <a:close/>
                    </a:path>
                    <a:path w="295910" h="281939">
                      <a:moveTo>
                        <a:pt x="256932" y="96519"/>
                      </a:moveTo>
                      <a:lnTo>
                        <a:pt x="70904" y="96519"/>
                      </a:lnTo>
                      <a:lnTo>
                        <a:pt x="71170" y="97789"/>
                      </a:lnTo>
                      <a:lnTo>
                        <a:pt x="72402" y="97789"/>
                      </a:lnTo>
                      <a:lnTo>
                        <a:pt x="72974" y="100329"/>
                      </a:lnTo>
                      <a:lnTo>
                        <a:pt x="70345" y="101599"/>
                      </a:lnTo>
                      <a:lnTo>
                        <a:pt x="52958" y="109219"/>
                      </a:lnTo>
                      <a:lnTo>
                        <a:pt x="51993" y="110489"/>
                      </a:lnTo>
                      <a:lnTo>
                        <a:pt x="51092" y="111759"/>
                      </a:lnTo>
                      <a:lnTo>
                        <a:pt x="50545" y="113029"/>
                      </a:lnTo>
                      <a:lnTo>
                        <a:pt x="49237" y="114299"/>
                      </a:lnTo>
                      <a:lnTo>
                        <a:pt x="257721" y="114299"/>
                      </a:lnTo>
                      <a:lnTo>
                        <a:pt x="257771" y="113029"/>
                      </a:lnTo>
                      <a:lnTo>
                        <a:pt x="258940" y="113029"/>
                      </a:lnTo>
                      <a:lnTo>
                        <a:pt x="260273" y="111759"/>
                      </a:lnTo>
                      <a:lnTo>
                        <a:pt x="256932" y="96519"/>
                      </a:lnTo>
                      <a:close/>
                    </a:path>
                    <a:path w="295910" h="281939">
                      <a:moveTo>
                        <a:pt x="69380" y="96519"/>
                      </a:moveTo>
                      <a:lnTo>
                        <a:pt x="69214" y="97789"/>
                      </a:lnTo>
                      <a:lnTo>
                        <a:pt x="69474" y="96708"/>
                      </a:lnTo>
                      <a:lnTo>
                        <a:pt x="69380" y="96519"/>
                      </a:lnTo>
                      <a:close/>
                    </a:path>
                    <a:path w="295910" h="281939">
                      <a:moveTo>
                        <a:pt x="253136" y="82549"/>
                      </a:moveTo>
                      <a:lnTo>
                        <a:pt x="85382" y="82549"/>
                      </a:lnTo>
                      <a:lnTo>
                        <a:pt x="82016" y="83819"/>
                      </a:lnTo>
                      <a:lnTo>
                        <a:pt x="81673" y="86359"/>
                      </a:lnTo>
                      <a:lnTo>
                        <a:pt x="77927" y="87629"/>
                      </a:lnTo>
                      <a:lnTo>
                        <a:pt x="75666" y="88899"/>
                      </a:lnTo>
                      <a:lnTo>
                        <a:pt x="69608" y="88899"/>
                      </a:lnTo>
                      <a:lnTo>
                        <a:pt x="69126" y="90169"/>
                      </a:lnTo>
                      <a:lnTo>
                        <a:pt x="68960" y="90169"/>
                      </a:lnTo>
                      <a:lnTo>
                        <a:pt x="68960" y="91439"/>
                      </a:lnTo>
                      <a:lnTo>
                        <a:pt x="69151" y="92709"/>
                      </a:lnTo>
                      <a:lnTo>
                        <a:pt x="70980" y="92709"/>
                      </a:lnTo>
                      <a:lnTo>
                        <a:pt x="69976" y="95249"/>
                      </a:lnTo>
                      <a:lnTo>
                        <a:pt x="69824" y="95249"/>
                      </a:lnTo>
                      <a:lnTo>
                        <a:pt x="69474" y="96708"/>
                      </a:lnTo>
                      <a:lnTo>
                        <a:pt x="70015" y="97789"/>
                      </a:lnTo>
                      <a:lnTo>
                        <a:pt x="70294" y="96519"/>
                      </a:lnTo>
                      <a:lnTo>
                        <a:pt x="256932" y="96519"/>
                      </a:lnTo>
                      <a:lnTo>
                        <a:pt x="254063" y="83819"/>
                      </a:lnTo>
                      <a:lnTo>
                        <a:pt x="253657" y="83819"/>
                      </a:lnTo>
                      <a:lnTo>
                        <a:pt x="253136" y="82549"/>
                      </a:lnTo>
                      <a:close/>
                    </a:path>
                    <a:path w="295910" h="281939">
                      <a:moveTo>
                        <a:pt x="70980" y="92709"/>
                      </a:moveTo>
                      <a:lnTo>
                        <a:pt x="69583" y="92709"/>
                      </a:lnTo>
                      <a:lnTo>
                        <a:pt x="69951" y="93979"/>
                      </a:lnTo>
                      <a:lnTo>
                        <a:pt x="70980" y="92709"/>
                      </a:lnTo>
                      <a:close/>
                    </a:path>
                    <a:path w="295910" h="281939">
                      <a:moveTo>
                        <a:pt x="91274" y="81279"/>
                      </a:moveTo>
                      <a:lnTo>
                        <a:pt x="89636" y="81279"/>
                      </a:lnTo>
                      <a:lnTo>
                        <a:pt x="86728" y="82549"/>
                      </a:lnTo>
                      <a:lnTo>
                        <a:pt x="96494" y="82549"/>
                      </a:lnTo>
                      <a:lnTo>
                        <a:pt x="91274" y="81279"/>
                      </a:lnTo>
                      <a:close/>
                    </a:path>
                    <a:path w="295910" h="281939">
                      <a:moveTo>
                        <a:pt x="187197" y="3809"/>
                      </a:moveTo>
                      <a:lnTo>
                        <a:pt x="182892" y="5079"/>
                      </a:lnTo>
                      <a:lnTo>
                        <a:pt x="177355" y="6349"/>
                      </a:lnTo>
                      <a:lnTo>
                        <a:pt x="174370" y="6349"/>
                      </a:lnTo>
                      <a:lnTo>
                        <a:pt x="171526" y="7619"/>
                      </a:lnTo>
                      <a:lnTo>
                        <a:pt x="163918" y="7619"/>
                      </a:lnTo>
                      <a:lnTo>
                        <a:pt x="162598" y="8889"/>
                      </a:lnTo>
                      <a:lnTo>
                        <a:pt x="161239" y="10159"/>
                      </a:lnTo>
                      <a:lnTo>
                        <a:pt x="147764" y="10159"/>
                      </a:lnTo>
                      <a:lnTo>
                        <a:pt x="131559" y="15239"/>
                      </a:lnTo>
                      <a:lnTo>
                        <a:pt x="126504" y="19049"/>
                      </a:lnTo>
                      <a:lnTo>
                        <a:pt x="124891" y="20319"/>
                      </a:lnTo>
                      <a:lnTo>
                        <a:pt x="121653" y="24129"/>
                      </a:lnTo>
                      <a:lnTo>
                        <a:pt x="109423" y="24129"/>
                      </a:lnTo>
                      <a:lnTo>
                        <a:pt x="106705" y="26669"/>
                      </a:lnTo>
                      <a:lnTo>
                        <a:pt x="106095" y="29209"/>
                      </a:lnTo>
                      <a:lnTo>
                        <a:pt x="102958" y="31749"/>
                      </a:lnTo>
                      <a:lnTo>
                        <a:pt x="99885" y="31749"/>
                      </a:lnTo>
                      <a:lnTo>
                        <a:pt x="93675" y="34289"/>
                      </a:lnTo>
                      <a:lnTo>
                        <a:pt x="92430" y="34289"/>
                      </a:lnTo>
                      <a:lnTo>
                        <a:pt x="93141" y="35559"/>
                      </a:lnTo>
                      <a:lnTo>
                        <a:pt x="93852" y="35559"/>
                      </a:lnTo>
                      <a:lnTo>
                        <a:pt x="94856" y="36829"/>
                      </a:lnTo>
                      <a:lnTo>
                        <a:pt x="95656" y="38099"/>
                      </a:lnTo>
                      <a:lnTo>
                        <a:pt x="96812" y="38099"/>
                      </a:lnTo>
                      <a:lnTo>
                        <a:pt x="97053" y="39369"/>
                      </a:lnTo>
                      <a:lnTo>
                        <a:pt x="98767" y="39369"/>
                      </a:lnTo>
                      <a:lnTo>
                        <a:pt x="98780" y="40639"/>
                      </a:lnTo>
                      <a:lnTo>
                        <a:pt x="98958" y="40639"/>
                      </a:lnTo>
                      <a:lnTo>
                        <a:pt x="96939" y="41909"/>
                      </a:lnTo>
                      <a:lnTo>
                        <a:pt x="98361" y="43179"/>
                      </a:lnTo>
                      <a:lnTo>
                        <a:pt x="100114" y="44449"/>
                      </a:lnTo>
                      <a:lnTo>
                        <a:pt x="99313" y="45719"/>
                      </a:lnTo>
                      <a:lnTo>
                        <a:pt x="99085" y="45719"/>
                      </a:lnTo>
                      <a:lnTo>
                        <a:pt x="100622" y="52069"/>
                      </a:lnTo>
                      <a:lnTo>
                        <a:pt x="99694" y="54609"/>
                      </a:lnTo>
                      <a:lnTo>
                        <a:pt x="99352" y="55879"/>
                      </a:lnTo>
                      <a:lnTo>
                        <a:pt x="99352" y="57149"/>
                      </a:lnTo>
                      <a:lnTo>
                        <a:pt x="104927" y="71119"/>
                      </a:lnTo>
                      <a:lnTo>
                        <a:pt x="105308" y="72389"/>
                      </a:lnTo>
                      <a:lnTo>
                        <a:pt x="105790" y="73659"/>
                      </a:lnTo>
                      <a:lnTo>
                        <a:pt x="106603" y="73659"/>
                      </a:lnTo>
                      <a:lnTo>
                        <a:pt x="108330" y="74929"/>
                      </a:lnTo>
                      <a:lnTo>
                        <a:pt x="108864" y="74929"/>
                      </a:lnTo>
                      <a:lnTo>
                        <a:pt x="108940" y="77469"/>
                      </a:lnTo>
                      <a:lnTo>
                        <a:pt x="107746" y="77469"/>
                      </a:lnTo>
                      <a:lnTo>
                        <a:pt x="105740" y="81279"/>
                      </a:lnTo>
                      <a:lnTo>
                        <a:pt x="107276" y="81279"/>
                      </a:lnTo>
                      <a:lnTo>
                        <a:pt x="107124" y="82549"/>
                      </a:lnTo>
                      <a:lnTo>
                        <a:pt x="252082" y="82549"/>
                      </a:lnTo>
                      <a:lnTo>
                        <a:pt x="250532" y="81279"/>
                      </a:lnTo>
                      <a:lnTo>
                        <a:pt x="243039" y="74929"/>
                      </a:lnTo>
                      <a:lnTo>
                        <a:pt x="242938" y="71119"/>
                      </a:lnTo>
                      <a:lnTo>
                        <a:pt x="242747" y="71119"/>
                      </a:lnTo>
                      <a:lnTo>
                        <a:pt x="242265" y="69849"/>
                      </a:lnTo>
                      <a:lnTo>
                        <a:pt x="241261" y="68579"/>
                      </a:lnTo>
                      <a:lnTo>
                        <a:pt x="239115" y="66039"/>
                      </a:lnTo>
                      <a:lnTo>
                        <a:pt x="235826" y="63499"/>
                      </a:lnTo>
                      <a:lnTo>
                        <a:pt x="234391" y="60959"/>
                      </a:lnTo>
                      <a:lnTo>
                        <a:pt x="233006" y="58419"/>
                      </a:lnTo>
                      <a:lnTo>
                        <a:pt x="231698" y="55879"/>
                      </a:lnTo>
                      <a:lnTo>
                        <a:pt x="231470" y="53339"/>
                      </a:lnTo>
                      <a:lnTo>
                        <a:pt x="231114" y="52069"/>
                      </a:lnTo>
                      <a:lnTo>
                        <a:pt x="231216" y="50799"/>
                      </a:lnTo>
                      <a:lnTo>
                        <a:pt x="233108" y="49529"/>
                      </a:lnTo>
                      <a:lnTo>
                        <a:pt x="234086" y="48259"/>
                      </a:lnTo>
                      <a:lnTo>
                        <a:pt x="236664" y="45719"/>
                      </a:lnTo>
                      <a:lnTo>
                        <a:pt x="238594" y="44449"/>
                      </a:lnTo>
                      <a:lnTo>
                        <a:pt x="240398" y="43179"/>
                      </a:lnTo>
                      <a:lnTo>
                        <a:pt x="241973" y="40639"/>
                      </a:lnTo>
                      <a:lnTo>
                        <a:pt x="243293" y="38099"/>
                      </a:lnTo>
                      <a:lnTo>
                        <a:pt x="244030" y="35559"/>
                      </a:lnTo>
                      <a:lnTo>
                        <a:pt x="244690" y="33019"/>
                      </a:lnTo>
                      <a:lnTo>
                        <a:pt x="244627" y="30479"/>
                      </a:lnTo>
                      <a:lnTo>
                        <a:pt x="244462" y="30479"/>
                      </a:lnTo>
                      <a:lnTo>
                        <a:pt x="244119" y="29209"/>
                      </a:lnTo>
                      <a:lnTo>
                        <a:pt x="243751" y="26669"/>
                      </a:lnTo>
                      <a:lnTo>
                        <a:pt x="243192" y="24129"/>
                      </a:lnTo>
                      <a:lnTo>
                        <a:pt x="242265" y="21589"/>
                      </a:lnTo>
                      <a:lnTo>
                        <a:pt x="243928" y="12699"/>
                      </a:lnTo>
                      <a:lnTo>
                        <a:pt x="243217" y="12699"/>
                      </a:lnTo>
                      <a:lnTo>
                        <a:pt x="241134" y="11429"/>
                      </a:lnTo>
                      <a:lnTo>
                        <a:pt x="243162" y="8889"/>
                      </a:lnTo>
                      <a:lnTo>
                        <a:pt x="200837" y="8889"/>
                      </a:lnTo>
                      <a:lnTo>
                        <a:pt x="197713" y="7619"/>
                      </a:lnTo>
                      <a:lnTo>
                        <a:pt x="169240" y="7619"/>
                      </a:lnTo>
                      <a:lnTo>
                        <a:pt x="166535" y="6349"/>
                      </a:lnTo>
                      <a:lnTo>
                        <a:pt x="194208" y="6349"/>
                      </a:lnTo>
                      <a:lnTo>
                        <a:pt x="187197" y="3809"/>
                      </a:lnTo>
                      <a:close/>
                    </a:path>
                    <a:path w="295910" h="281939">
                      <a:moveTo>
                        <a:pt x="92773" y="33019"/>
                      </a:moveTo>
                      <a:lnTo>
                        <a:pt x="92062" y="34289"/>
                      </a:lnTo>
                      <a:lnTo>
                        <a:pt x="93675" y="34289"/>
                      </a:lnTo>
                      <a:lnTo>
                        <a:pt x="92773" y="33019"/>
                      </a:lnTo>
                      <a:close/>
                    </a:path>
                    <a:path w="295910" h="281939">
                      <a:moveTo>
                        <a:pt x="120878" y="21589"/>
                      </a:moveTo>
                      <a:lnTo>
                        <a:pt x="117665" y="21589"/>
                      </a:lnTo>
                      <a:lnTo>
                        <a:pt x="116039" y="22859"/>
                      </a:lnTo>
                      <a:lnTo>
                        <a:pt x="114630" y="22859"/>
                      </a:lnTo>
                      <a:lnTo>
                        <a:pt x="111658" y="24129"/>
                      </a:lnTo>
                      <a:lnTo>
                        <a:pt x="121653" y="24129"/>
                      </a:lnTo>
                      <a:lnTo>
                        <a:pt x="120878" y="21589"/>
                      </a:lnTo>
                      <a:close/>
                    </a:path>
                    <a:path w="295910" h="281939">
                      <a:moveTo>
                        <a:pt x="215010" y="0"/>
                      </a:moveTo>
                      <a:lnTo>
                        <a:pt x="213486" y="3809"/>
                      </a:lnTo>
                      <a:lnTo>
                        <a:pt x="200837" y="8889"/>
                      </a:lnTo>
                      <a:lnTo>
                        <a:pt x="243162" y="8889"/>
                      </a:lnTo>
                      <a:lnTo>
                        <a:pt x="246204" y="5079"/>
                      </a:lnTo>
                      <a:lnTo>
                        <a:pt x="222262" y="5079"/>
                      </a:lnTo>
                      <a:lnTo>
                        <a:pt x="222237" y="3809"/>
                      </a:lnTo>
                      <a:lnTo>
                        <a:pt x="219697" y="3809"/>
                      </a:lnTo>
                      <a:lnTo>
                        <a:pt x="215798" y="2539"/>
                      </a:lnTo>
                      <a:lnTo>
                        <a:pt x="215010" y="0"/>
                      </a:lnTo>
                      <a:close/>
                    </a:path>
                    <a:path w="295910" h="281939">
                      <a:moveTo>
                        <a:pt x="228853" y="1269"/>
                      </a:moveTo>
                      <a:lnTo>
                        <a:pt x="225450" y="3809"/>
                      </a:lnTo>
                      <a:lnTo>
                        <a:pt x="224154" y="5079"/>
                      </a:lnTo>
                      <a:lnTo>
                        <a:pt x="234543" y="5079"/>
                      </a:lnTo>
                      <a:lnTo>
                        <a:pt x="235115" y="3809"/>
                      </a:lnTo>
                      <a:lnTo>
                        <a:pt x="231305" y="2539"/>
                      </a:lnTo>
                      <a:lnTo>
                        <a:pt x="228853" y="1269"/>
                      </a:lnTo>
                      <a:close/>
                    </a:path>
                    <a:path w="295910" h="281939">
                      <a:moveTo>
                        <a:pt x="247218" y="3809"/>
                      </a:moveTo>
                      <a:lnTo>
                        <a:pt x="245783" y="3809"/>
                      </a:lnTo>
                      <a:lnTo>
                        <a:pt x="237756" y="5079"/>
                      </a:lnTo>
                      <a:lnTo>
                        <a:pt x="246204" y="5079"/>
                      </a:lnTo>
                      <a:lnTo>
                        <a:pt x="247218" y="3809"/>
                      </a:lnTo>
                      <a:close/>
                    </a:path>
                    <a:path w="295910" h="281939">
                      <a:moveTo>
                        <a:pt x="246570" y="2539"/>
                      </a:moveTo>
                      <a:lnTo>
                        <a:pt x="246240" y="3809"/>
                      </a:lnTo>
                      <a:lnTo>
                        <a:pt x="247637" y="3809"/>
                      </a:lnTo>
                      <a:lnTo>
                        <a:pt x="246570" y="2539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584" name="object 124">
                  <a:extLst>
                    <a:ext uri="{FF2B5EF4-FFF2-40B4-BE49-F238E27FC236}">
                      <a16:creationId xmlns:a16="http://schemas.microsoft.com/office/drawing/2014/main" id="{0C6710C4-091E-1B55-F8D2-8265085C750F}"/>
                    </a:ext>
                  </a:extLst>
                </p:cNvPr>
                <p:cNvPicPr/>
                <p:nvPr/>
              </p:nvPicPr>
              <p:blipFill>
                <a:blip r:embed="rId9" cstate="print"/>
                <a:stretch>
                  <a:fillRect/>
                </a:stretch>
              </p:blipFill>
              <p:spPr>
                <a:xfrm>
                  <a:off x="2875585" y="2385836"/>
                  <a:ext cx="225932" cy="210820"/>
                </a:xfrm>
                <a:prstGeom prst="rect">
                  <a:avLst/>
                </a:prstGeom>
              </p:spPr>
            </p:pic>
            <p:pic>
              <p:nvPicPr>
                <p:cNvPr id="585" name="object 125">
                  <a:extLst>
                    <a:ext uri="{FF2B5EF4-FFF2-40B4-BE49-F238E27FC236}">
                      <a16:creationId xmlns:a16="http://schemas.microsoft.com/office/drawing/2014/main" id="{31DCA26D-0B4E-F498-5F58-4D2C10E61220}"/>
                    </a:ext>
                  </a:extLst>
                </p:cNvPr>
                <p:cNvPicPr/>
                <p:nvPr/>
              </p:nvPicPr>
              <p:blipFill>
                <a:blip r:embed="rId10" cstate="print"/>
                <a:stretch>
                  <a:fillRect/>
                </a:stretch>
              </p:blipFill>
              <p:spPr>
                <a:xfrm>
                  <a:off x="2497607" y="2478866"/>
                  <a:ext cx="174625" cy="187744"/>
                </a:xfrm>
                <a:prstGeom prst="rect">
                  <a:avLst/>
                </a:prstGeom>
              </p:spPr>
            </p:pic>
            <p:pic>
              <p:nvPicPr>
                <p:cNvPr id="586" name="object 126">
                  <a:extLst>
                    <a:ext uri="{FF2B5EF4-FFF2-40B4-BE49-F238E27FC236}">
                      <a16:creationId xmlns:a16="http://schemas.microsoft.com/office/drawing/2014/main" id="{C19FC595-0A27-2282-AA62-6F078BBB8C56}"/>
                    </a:ext>
                  </a:extLst>
                </p:cNvPr>
                <p:cNvPicPr/>
                <p:nvPr/>
              </p:nvPicPr>
              <p:blipFill>
                <a:blip r:embed="rId11" cstate="print"/>
                <a:stretch>
                  <a:fillRect/>
                </a:stretch>
              </p:blipFill>
              <p:spPr>
                <a:xfrm>
                  <a:off x="3263311" y="2618474"/>
                  <a:ext cx="99955" cy="105793"/>
                </a:xfrm>
                <a:prstGeom prst="rect">
                  <a:avLst/>
                </a:prstGeom>
              </p:spPr>
            </p:pic>
            <p:sp>
              <p:nvSpPr>
                <p:cNvPr id="587" name="object 127">
                  <a:extLst>
                    <a:ext uri="{FF2B5EF4-FFF2-40B4-BE49-F238E27FC236}">
                      <a16:creationId xmlns:a16="http://schemas.microsoft.com/office/drawing/2014/main" id="{3AEB7627-C379-42FD-FECF-E6525E28C8DA}"/>
                    </a:ext>
                  </a:extLst>
                </p:cNvPr>
                <p:cNvSpPr/>
                <p:nvPr/>
              </p:nvSpPr>
              <p:spPr>
                <a:xfrm>
                  <a:off x="2929072" y="2945469"/>
                  <a:ext cx="635" cy="6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" h="635">
                      <a:moveTo>
                        <a:pt x="0" y="0"/>
                      </a:move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588" name="object 128">
                  <a:extLst>
                    <a:ext uri="{FF2B5EF4-FFF2-40B4-BE49-F238E27FC236}">
                      <a16:creationId xmlns:a16="http://schemas.microsoft.com/office/drawing/2014/main" id="{0E340644-B82C-CA2C-D2A9-1CF43B49F667}"/>
                    </a:ext>
                  </a:extLst>
                </p:cNvPr>
                <p:cNvPicPr/>
                <p:nvPr/>
              </p:nvPicPr>
              <p:blipFill>
                <a:blip r:embed="rId12" cstate="print"/>
                <a:stretch>
                  <a:fillRect/>
                </a:stretch>
              </p:blipFill>
              <p:spPr>
                <a:xfrm>
                  <a:off x="3103495" y="3104461"/>
                  <a:ext cx="111296" cy="100901"/>
                </a:xfrm>
                <a:prstGeom prst="rect">
                  <a:avLst/>
                </a:prstGeom>
              </p:spPr>
            </p:pic>
            <p:sp>
              <p:nvSpPr>
                <p:cNvPr id="589" name="object 129">
                  <a:extLst>
                    <a:ext uri="{FF2B5EF4-FFF2-40B4-BE49-F238E27FC236}">
                      <a16:creationId xmlns:a16="http://schemas.microsoft.com/office/drawing/2014/main" id="{25083C0D-DACC-7D35-9056-C5C0AACA083B}"/>
                    </a:ext>
                  </a:extLst>
                </p:cNvPr>
                <p:cNvSpPr/>
                <p:nvPr/>
              </p:nvSpPr>
              <p:spPr>
                <a:xfrm>
                  <a:off x="1464589" y="2223541"/>
                  <a:ext cx="2105025" cy="14839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05025" h="1483995">
                      <a:moveTo>
                        <a:pt x="16078" y="389915"/>
                      </a:moveTo>
                      <a:lnTo>
                        <a:pt x="15240" y="390410"/>
                      </a:lnTo>
                      <a:lnTo>
                        <a:pt x="14897" y="390067"/>
                      </a:lnTo>
                      <a:lnTo>
                        <a:pt x="12280" y="390105"/>
                      </a:lnTo>
                      <a:lnTo>
                        <a:pt x="12230" y="389686"/>
                      </a:lnTo>
                      <a:lnTo>
                        <a:pt x="12992" y="389521"/>
                      </a:lnTo>
                      <a:lnTo>
                        <a:pt x="13284" y="389623"/>
                      </a:lnTo>
                      <a:lnTo>
                        <a:pt x="13309" y="388340"/>
                      </a:lnTo>
                      <a:lnTo>
                        <a:pt x="12077" y="388162"/>
                      </a:lnTo>
                      <a:lnTo>
                        <a:pt x="10185" y="388759"/>
                      </a:lnTo>
                      <a:lnTo>
                        <a:pt x="9525" y="390347"/>
                      </a:lnTo>
                      <a:lnTo>
                        <a:pt x="8267" y="392938"/>
                      </a:lnTo>
                      <a:lnTo>
                        <a:pt x="6858" y="395198"/>
                      </a:lnTo>
                      <a:lnTo>
                        <a:pt x="6197" y="396113"/>
                      </a:lnTo>
                      <a:lnTo>
                        <a:pt x="5080" y="396646"/>
                      </a:lnTo>
                      <a:lnTo>
                        <a:pt x="4787" y="396621"/>
                      </a:lnTo>
                      <a:lnTo>
                        <a:pt x="4457" y="396709"/>
                      </a:lnTo>
                      <a:lnTo>
                        <a:pt x="3556" y="396074"/>
                      </a:lnTo>
                      <a:lnTo>
                        <a:pt x="3060" y="395960"/>
                      </a:lnTo>
                      <a:lnTo>
                        <a:pt x="2032" y="395859"/>
                      </a:lnTo>
                      <a:lnTo>
                        <a:pt x="1295" y="396836"/>
                      </a:lnTo>
                      <a:lnTo>
                        <a:pt x="889" y="397802"/>
                      </a:lnTo>
                      <a:lnTo>
                        <a:pt x="1270" y="397840"/>
                      </a:lnTo>
                      <a:lnTo>
                        <a:pt x="1282" y="398145"/>
                      </a:lnTo>
                      <a:lnTo>
                        <a:pt x="1130" y="398703"/>
                      </a:lnTo>
                      <a:lnTo>
                        <a:pt x="1016" y="407441"/>
                      </a:lnTo>
                      <a:lnTo>
                        <a:pt x="825" y="413766"/>
                      </a:lnTo>
                      <a:lnTo>
                        <a:pt x="0" y="426377"/>
                      </a:lnTo>
                      <a:lnTo>
                        <a:pt x="3937" y="426364"/>
                      </a:lnTo>
                      <a:lnTo>
                        <a:pt x="4711" y="426097"/>
                      </a:lnTo>
                      <a:lnTo>
                        <a:pt x="11137" y="418807"/>
                      </a:lnTo>
                      <a:lnTo>
                        <a:pt x="11836" y="417461"/>
                      </a:lnTo>
                      <a:lnTo>
                        <a:pt x="12890" y="414718"/>
                      </a:lnTo>
                      <a:lnTo>
                        <a:pt x="14541" y="412127"/>
                      </a:lnTo>
                      <a:lnTo>
                        <a:pt x="14325" y="409422"/>
                      </a:lnTo>
                      <a:lnTo>
                        <a:pt x="13182" y="408800"/>
                      </a:lnTo>
                      <a:lnTo>
                        <a:pt x="15189" y="396417"/>
                      </a:lnTo>
                      <a:lnTo>
                        <a:pt x="15913" y="393141"/>
                      </a:lnTo>
                      <a:lnTo>
                        <a:pt x="16078" y="389915"/>
                      </a:lnTo>
                      <a:close/>
                    </a:path>
                    <a:path w="2105025" h="1483995">
                      <a:moveTo>
                        <a:pt x="97243" y="0"/>
                      </a:moveTo>
                      <a:lnTo>
                        <a:pt x="95986" y="3035"/>
                      </a:lnTo>
                      <a:lnTo>
                        <a:pt x="96570" y="1943"/>
                      </a:lnTo>
                      <a:lnTo>
                        <a:pt x="96977" y="914"/>
                      </a:lnTo>
                      <a:lnTo>
                        <a:pt x="97243" y="0"/>
                      </a:lnTo>
                      <a:close/>
                    </a:path>
                    <a:path w="2105025" h="1483995">
                      <a:moveTo>
                        <a:pt x="349542" y="1275092"/>
                      </a:moveTo>
                      <a:lnTo>
                        <a:pt x="348145" y="1275092"/>
                      </a:lnTo>
                      <a:lnTo>
                        <a:pt x="348919" y="1276362"/>
                      </a:lnTo>
                      <a:lnTo>
                        <a:pt x="349542" y="1275092"/>
                      </a:lnTo>
                      <a:close/>
                    </a:path>
                    <a:path w="2105025" h="1483995">
                      <a:moveTo>
                        <a:pt x="509892" y="1042682"/>
                      </a:moveTo>
                      <a:lnTo>
                        <a:pt x="505739" y="1032522"/>
                      </a:lnTo>
                      <a:lnTo>
                        <a:pt x="505218" y="1031252"/>
                      </a:lnTo>
                      <a:lnTo>
                        <a:pt x="502742" y="1031252"/>
                      </a:lnTo>
                      <a:lnTo>
                        <a:pt x="501700" y="1029982"/>
                      </a:lnTo>
                      <a:lnTo>
                        <a:pt x="500456" y="1031252"/>
                      </a:lnTo>
                      <a:lnTo>
                        <a:pt x="499338" y="1032522"/>
                      </a:lnTo>
                      <a:lnTo>
                        <a:pt x="498436" y="1032522"/>
                      </a:lnTo>
                      <a:lnTo>
                        <a:pt x="497598" y="1031252"/>
                      </a:lnTo>
                      <a:lnTo>
                        <a:pt x="496379" y="1031252"/>
                      </a:lnTo>
                      <a:lnTo>
                        <a:pt x="495693" y="1029982"/>
                      </a:lnTo>
                      <a:lnTo>
                        <a:pt x="495617" y="1031252"/>
                      </a:lnTo>
                      <a:lnTo>
                        <a:pt x="495160" y="1036332"/>
                      </a:lnTo>
                      <a:lnTo>
                        <a:pt x="490105" y="1047762"/>
                      </a:lnTo>
                      <a:lnTo>
                        <a:pt x="488162" y="1050302"/>
                      </a:lnTo>
                      <a:lnTo>
                        <a:pt x="486981" y="1051572"/>
                      </a:lnTo>
                      <a:lnTo>
                        <a:pt x="485825" y="1051572"/>
                      </a:lnTo>
                      <a:lnTo>
                        <a:pt x="484390" y="1052842"/>
                      </a:lnTo>
                      <a:lnTo>
                        <a:pt x="483298" y="1052842"/>
                      </a:lnTo>
                      <a:lnTo>
                        <a:pt x="482815" y="1054112"/>
                      </a:lnTo>
                      <a:lnTo>
                        <a:pt x="482053" y="1054112"/>
                      </a:lnTo>
                      <a:lnTo>
                        <a:pt x="481291" y="1055382"/>
                      </a:lnTo>
                      <a:lnTo>
                        <a:pt x="481545" y="1056652"/>
                      </a:lnTo>
                      <a:lnTo>
                        <a:pt x="481342" y="1056652"/>
                      </a:lnTo>
                      <a:lnTo>
                        <a:pt x="480529" y="1057922"/>
                      </a:lnTo>
                      <a:lnTo>
                        <a:pt x="479374" y="1057922"/>
                      </a:lnTo>
                      <a:lnTo>
                        <a:pt x="478574" y="1059192"/>
                      </a:lnTo>
                      <a:lnTo>
                        <a:pt x="477393" y="1057922"/>
                      </a:lnTo>
                      <a:lnTo>
                        <a:pt x="474319" y="1057922"/>
                      </a:lnTo>
                      <a:lnTo>
                        <a:pt x="473456" y="1059192"/>
                      </a:lnTo>
                      <a:lnTo>
                        <a:pt x="472592" y="1059192"/>
                      </a:lnTo>
                      <a:lnTo>
                        <a:pt x="471373" y="1060462"/>
                      </a:lnTo>
                      <a:lnTo>
                        <a:pt x="470814" y="1060462"/>
                      </a:lnTo>
                      <a:lnTo>
                        <a:pt x="470509" y="1061732"/>
                      </a:lnTo>
                      <a:lnTo>
                        <a:pt x="469595" y="1060462"/>
                      </a:lnTo>
                      <a:lnTo>
                        <a:pt x="467728" y="1060462"/>
                      </a:lnTo>
                      <a:lnTo>
                        <a:pt x="467017" y="1059192"/>
                      </a:lnTo>
                      <a:lnTo>
                        <a:pt x="455650" y="1059192"/>
                      </a:lnTo>
                      <a:lnTo>
                        <a:pt x="453466" y="1057922"/>
                      </a:lnTo>
                      <a:lnTo>
                        <a:pt x="451510" y="1056652"/>
                      </a:lnTo>
                      <a:lnTo>
                        <a:pt x="438353" y="1056652"/>
                      </a:lnTo>
                      <a:lnTo>
                        <a:pt x="438238" y="1055382"/>
                      </a:lnTo>
                      <a:lnTo>
                        <a:pt x="437616" y="1055382"/>
                      </a:lnTo>
                      <a:lnTo>
                        <a:pt x="438023" y="1054112"/>
                      </a:lnTo>
                      <a:lnTo>
                        <a:pt x="438251" y="1054112"/>
                      </a:lnTo>
                      <a:lnTo>
                        <a:pt x="439204" y="1052842"/>
                      </a:lnTo>
                      <a:lnTo>
                        <a:pt x="441591" y="1051572"/>
                      </a:lnTo>
                      <a:lnTo>
                        <a:pt x="443357" y="1046492"/>
                      </a:lnTo>
                      <a:lnTo>
                        <a:pt x="444322" y="1042682"/>
                      </a:lnTo>
                      <a:lnTo>
                        <a:pt x="448589" y="1036332"/>
                      </a:lnTo>
                      <a:lnTo>
                        <a:pt x="451027" y="1033792"/>
                      </a:lnTo>
                      <a:lnTo>
                        <a:pt x="453148" y="1029982"/>
                      </a:lnTo>
                      <a:lnTo>
                        <a:pt x="452755" y="1027442"/>
                      </a:lnTo>
                      <a:lnTo>
                        <a:pt x="450888" y="1026172"/>
                      </a:lnTo>
                      <a:lnTo>
                        <a:pt x="444893" y="1022362"/>
                      </a:lnTo>
                      <a:lnTo>
                        <a:pt x="438873" y="1019822"/>
                      </a:lnTo>
                      <a:lnTo>
                        <a:pt x="432930" y="1016012"/>
                      </a:lnTo>
                      <a:lnTo>
                        <a:pt x="427139" y="1013472"/>
                      </a:lnTo>
                      <a:lnTo>
                        <a:pt x="426173" y="1012202"/>
                      </a:lnTo>
                      <a:lnTo>
                        <a:pt x="421462" y="1008392"/>
                      </a:lnTo>
                      <a:lnTo>
                        <a:pt x="419989" y="1008392"/>
                      </a:lnTo>
                      <a:lnTo>
                        <a:pt x="417131" y="1007122"/>
                      </a:lnTo>
                      <a:lnTo>
                        <a:pt x="415645" y="1005852"/>
                      </a:lnTo>
                      <a:lnTo>
                        <a:pt x="409892" y="1005852"/>
                      </a:lnTo>
                      <a:lnTo>
                        <a:pt x="407631" y="1004582"/>
                      </a:lnTo>
                      <a:lnTo>
                        <a:pt x="406755" y="1004582"/>
                      </a:lnTo>
                      <a:lnTo>
                        <a:pt x="404596" y="1003312"/>
                      </a:lnTo>
                      <a:lnTo>
                        <a:pt x="402818" y="1003312"/>
                      </a:lnTo>
                      <a:lnTo>
                        <a:pt x="401180" y="1000772"/>
                      </a:lnTo>
                      <a:lnTo>
                        <a:pt x="399364" y="999502"/>
                      </a:lnTo>
                      <a:lnTo>
                        <a:pt x="397700" y="998232"/>
                      </a:lnTo>
                      <a:lnTo>
                        <a:pt x="395566" y="995692"/>
                      </a:lnTo>
                      <a:lnTo>
                        <a:pt x="393661" y="994422"/>
                      </a:lnTo>
                      <a:lnTo>
                        <a:pt x="391477" y="991882"/>
                      </a:lnTo>
                      <a:lnTo>
                        <a:pt x="390359" y="990612"/>
                      </a:lnTo>
                      <a:lnTo>
                        <a:pt x="389788" y="990612"/>
                      </a:lnTo>
                      <a:lnTo>
                        <a:pt x="389559" y="989342"/>
                      </a:lnTo>
                      <a:lnTo>
                        <a:pt x="388810" y="989342"/>
                      </a:lnTo>
                      <a:lnTo>
                        <a:pt x="387286" y="986802"/>
                      </a:lnTo>
                      <a:lnTo>
                        <a:pt x="386549" y="985532"/>
                      </a:lnTo>
                      <a:lnTo>
                        <a:pt x="385394" y="984262"/>
                      </a:lnTo>
                      <a:lnTo>
                        <a:pt x="385089" y="984262"/>
                      </a:lnTo>
                      <a:lnTo>
                        <a:pt x="384086" y="982992"/>
                      </a:lnTo>
                      <a:lnTo>
                        <a:pt x="381177" y="980452"/>
                      </a:lnTo>
                      <a:lnTo>
                        <a:pt x="380453" y="980452"/>
                      </a:lnTo>
                      <a:lnTo>
                        <a:pt x="380212" y="979182"/>
                      </a:lnTo>
                      <a:lnTo>
                        <a:pt x="379857" y="979182"/>
                      </a:lnTo>
                      <a:lnTo>
                        <a:pt x="378879" y="977912"/>
                      </a:lnTo>
                      <a:lnTo>
                        <a:pt x="378180" y="976642"/>
                      </a:lnTo>
                      <a:lnTo>
                        <a:pt x="361657" y="976642"/>
                      </a:lnTo>
                      <a:lnTo>
                        <a:pt x="359651" y="981722"/>
                      </a:lnTo>
                      <a:lnTo>
                        <a:pt x="356781" y="989342"/>
                      </a:lnTo>
                      <a:lnTo>
                        <a:pt x="355663" y="986802"/>
                      </a:lnTo>
                      <a:lnTo>
                        <a:pt x="354571" y="982992"/>
                      </a:lnTo>
                      <a:lnTo>
                        <a:pt x="352704" y="979182"/>
                      </a:lnTo>
                      <a:lnTo>
                        <a:pt x="352247" y="979182"/>
                      </a:lnTo>
                      <a:lnTo>
                        <a:pt x="346214" y="977912"/>
                      </a:lnTo>
                      <a:lnTo>
                        <a:pt x="334441" y="977912"/>
                      </a:lnTo>
                      <a:lnTo>
                        <a:pt x="332867" y="974102"/>
                      </a:lnTo>
                      <a:lnTo>
                        <a:pt x="329323" y="972832"/>
                      </a:lnTo>
                      <a:lnTo>
                        <a:pt x="328803" y="976642"/>
                      </a:lnTo>
                      <a:lnTo>
                        <a:pt x="328371" y="976642"/>
                      </a:lnTo>
                      <a:lnTo>
                        <a:pt x="328218" y="977912"/>
                      </a:lnTo>
                      <a:lnTo>
                        <a:pt x="326021" y="977912"/>
                      </a:lnTo>
                      <a:lnTo>
                        <a:pt x="324624" y="979182"/>
                      </a:lnTo>
                      <a:lnTo>
                        <a:pt x="323811" y="979182"/>
                      </a:lnTo>
                      <a:lnTo>
                        <a:pt x="322935" y="980452"/>
                      </a:lnTo>
                      <a:lnTo>
                        <a:pt x="321602" y="981722"/>
                      </a:lnTo>
                      <a:lnTo>
                        <a:pt x="320319" y="982992"/>
                      </a:lnTo>
                      <a:lnTo>
                        <a:pt x="318452" y="985532"/>
                      </a:lnTo>
                      <a:lnTo>
                        <a:pt x="316966" y="988072"/>
                      </a:lnTo>
                      <a:lnTo>
                        <a:pt x="315772" y="988072"/>
                      </a:lnTo>
                      <a:lnTo>
                        <a:pt x="315747" y="989342"/>
                      </a:lnTo>
                      <a:lnTo>
                        <a:pt x="317385" y="989342"/>
                      </a:lnTo>
                      <a:lnTo>
                        <a:pt x="317576" y="990612"/>
                      </a:lnTo>
                      <a:lnTo>
                        <a:pt x="317804" y="991882"/>
                      </a:lnTo>
                      <a:lnTo>
                        <a:pt x="317931" y="991882"/>
                      </a:lnTo>
                      <a:lnTo>
                        <a:pt x="317271" y="994422"/>
                      </a:lnTo>
                      <a:lnTo>
                        <a:pt x="316204" y="996962"/>
                      </a:lnTo>
                      <a:lnTo>
                        <a:pt x="315137" y="1000772"/>
                      </a:lnTo>
                      <a:lnTo>
                        <a:pt x="314769" y="1004582"/>
                      </a:lnTo>
                      <a:lnTo>
                        <a:pt x="313245" y="1007122"/>
                      </a:lnTo>
                      <a:lnTo>
                        <a:pt x="312102" y="1007122"/>
                      </a:lnTo>
                      <a:lnTo>
                        <a:pt x="311086" y="1008392"/>
                      </a:lnTo>
                      <a:lnTo>
                        <a:pt x="309841" y="1008392"/>
                      </a:lnTo>
                      <a:lnTo>
                        <a:pt x="301117" y="1012202"/>
                      </a:lnTo>
                      <a:lnTo>
                        <a:pt x="299910" y="1013472"/>
                      </a:lnTo>
                      <a:lnTo>
                        <a:pt x="298564" y="1014742"/>
                      </a:lnTo>
                      <a:lnTo>
                        <a:pt x="298107" y="1014742"/>
                      </a:lnTo>
                      <a:lnTo>
                        <a:pt x="297675" y="1016012"/>
                      </a:lnTo>
                      <a:lnTo>
                        <a:pt x="297332" y="1016012"/>
                      </a:lnTo>
                      <a:lnTo>
                        <a:pt x="296760" y="1014742"/>
                      </a:lnTo>
                      <a:lnTo>
                        <a:pt x="296037" y="1017282"/>
                      </a:lnTo>
                      <a:lnTo>
                        <a:pt x="295846" y="1019822"/>
                      </a:lnTo>
                      <a:lnTo>
                        <a:pt x="297421" y="1022362"/>
                      </a:lnTo>
                      <a:lnTo>
                        <a:pt x="298754" y="1023632"/>
                      </a:lnTo>
                      <a:lnTo>
                        <a:pt x="297535" y="1023632"/>
                      </a:lnTo>
                      <a:lnTo>
                        <a:pt x="296062" y="1024902"/>
                      </a:lnTo>
                      <a:lnTo>
                        <a:pt x="295935" y="1038872"/>
                      </a:lnTo>
                      <a:lnTo>
                        <a:pt x="295554" y="1042682"/>
                      </a:lnTo>
                      <a:lnTo>
                        <a:pt x="295325" y="1043952"/>
                      </a:lnTo>
                      <a:lnTo>
                        <a:pt x="295960" y="1046492"/>
                      </a:lnTo>
                      <a:lnTo>
                        <a:pt x="298069" y="1047762"/>
                      </a:lnTo>
                      <a:lnTo>
                        <a:pt x="299034" y="1050302"/>
                      </a:lnTo>
                      <a:lnTo>
                        <a:pt x="299440" y="1050302"/>
                      </a:lnTo>
                      <a:lnTo>
                        <a:pt x="299453" y="1051572"/>
                      </a:lnTo>
                      <a:lnTo>
                        <a:pt x="299313" y="1052842"/>
                      </a:lnTo>
                      <a:lnTo>
                        <a:pt x="298094" y="1052842"/>
                      </a:lnTo>
                      <a:lnTo>
                        <a:pt x="296672" y="1054112"/>
                      </a:lnTo>
                      <a:lnTo>
                        <a:pt x="295998" y="1054112"/>
                      </a:lnTo>
                      <a:lnTo>
                        <a:pt x="295998" y="1433842"/>
                      </a:lnTo>
                      <a:lnTo>
                        <a:pt x="295973" y="1436128"/>
                      </a:lnTo>
                      <a:lnTo>
                        <a:pt x="295973" y="1436484"/>
                      </a:lnTo>
                      <a:lnTo>
                        <a:pt x="295960" y="1438732"/>
                      </a:lnTo>
                      <a:lnTo>
                        <a:pt x="294335" y="1437652"/>
                      </a:lnTo>
                      <a:lnTo>
                        <a:pt x="291414" y="1438922"/>
                      </a:lnTo>
                      <a:lnTo>
                        <a:pt x="289547" y="1438922"/>
                      </a:lnTo>
                      <a:lnTo>
                        <a:pt x="291007" y="1437652"/>
                      </a:lnTo>
                      <a:lnTo>
                        <a:pt x="292531" y="1437652"/>
                      </a:lnTo>
                      <a:lnTo>
                        <a:pt x="295973" y="1436484"/>
                      </a:lnTo>
                      <a:lnTo>
                        <a:pt x="295973" y="1436128"/>
                      </a:lnTo>
                      <a:lnTo>
                        <a:pt x="294728" y="1435112"/>
                      </a:lnTo>
                      <a:lnTo>
                        <a:pt x="293382" y="1433842"/>
                      </a:lnTo>
                      <a:lnTo>
                        <a:pt x="295998" y="1433842"/>
                      </a:lnTo>
                      <a:lnTo>
                        <a:pt x="295998" y="1054112"/>
                      </a:lnTo>
                      <a:lnTo>
                        <a:pt x="292684" y="1054112"/>
                      </a:lnTo>
                      <a:lnTo>
                        <a:pt x="292100" y="1055382"/>
                      </a:lnTo>
                      <a:lnTo>
                        <a:pt x="290512" y="1057922"/>
                      </a:lnTo>
                      <a:lnTo>
                        <a:pt x="289407" y="1061732"/>
                      </a:lnTo>
                      <a:lnTo>
                        <a:pt x="286854" y="1065542"/>
                      </a:lnTo>
                      <a:lnTo>
                        <a:pt x="285191" y="1067676"/>
                      </a:lnTo>
                      <a:lnTo>
                        <a:pt x="285191" y="1457413"/>
                      </a:lnTo>
                      <a:lnTo>
                        <a:pt x="283832" y="1459141"/>
                      </a:lnTo>
                      <a:lnTo>
                        <a:pt x="283997" y="1457972"/>
                      </a:lnTo>
                      <a:lnTo>
                        <a:pt x="285191" y="1457413"/>
                      </a:lnTo>
                      <a:lnTo>
                        <a:pt x="285191" y="1067676"/>
                      </a:lnTo>
                      <a:lnTo>
                        <a:pt x="284873" y="1068082"/>
                      </a:lnTo>
                      <a:lnTo>
                        <a:pt x="281762" y="1070622"/>
                      </a:lnTo>
                      <a:lnTo>
                        <a:pt x="280136" y="1074432"/>
                      </a:lnTo>
                      <a:lnTo>
                        <a:pt x="279971" y="1074432"/>
                      </a:lnTo>
                      <a:lnTo>
                        <a:pt x="278841" y="1078242"/>
                      </a:lnTo>
                      <a:lnTo>
                        <a:pt x="277977" y="1083322"/>
                      </a:lnTo>
                      <a:lnTo>
                        <a:pt x="275348" y="1087132"/>
                      </a:lnTo>
                      <a:lnTo>
                        <a:pt x="275056" y="1087132"/>
                      </a:lnTo>
                      <a:lnTo>
                        <a:pt x="275145" y="1090942"/>
                      </a:lnTo>
                      <a:lnTo>
                        <a:pt x="276517" y="1092212"/>
                      </a:lnTo>
                      <a:lnTo>
                        <a:pt x="276390" y="1094752"/>
                      </a:lnTo>
                      <a:lnTo>
                        <a:pt x="276352" y="1096022"/>
                      </a:lnTo>
                      <a:lnTo>
                        <a:pt x="276161" y="1098562"/>
                      </a:lnTo>
                      <a:lnTo>
                        <a:pt x="276136" y="1099832"/>
                      </a:lnTo>
                      <a:lnTo>
                        <a:pt x="277241" y="1099832"/>
                      </a:lnTo>
                      <a:lnTo>
                        <a:pt x="277558" y="1101102"/>
                      </a:lnTo>
                      <a:lnTo>
                        <a:pt x="277710" y="1101102"/>
                      </a:lnTo>
                      <a:lnTo>
                        <a:pt x="277736" y="1102372"/>
                      </a:lnTo>
                      <a:lnTo>
                        <a:pt x="276402" y="1102372"/>
                      </a:lnTo>
                      <a:lnTo>
                        <a:pt x="275412" y="1103642"/>
                      </a:lnTo>
                      <a:lnTo>
                        <a:pt x="274091" y="1103642"/>
                      </a:lnTo>
                      <a:lnTo>
                        <a:pt x="273177" y="1104912"/>
                      </a:lnTo>
                      <a:lnTo>
                        <a:pt x="272529" y="1106182"/>
                      </a:lnTo>
                      <a:lnTo>
                        <a:pt x="272313" y="1107452"/>
                      </a:lnTo>
                      <a:lnTo>
                        <a:pt x="271526" y="1109992"/>
                      </a:lnTo>
                      <a:lnTo>
                        <a:pt x="271310" y="1111262"/>
                      </a:lnTo>
                      <a:lnTo>
                        <a:pt x="271386" y="1115072"/>
                      </a:lnTo>
                      <a:lnTo>
                        <a:pt x="270637" y="1115072"/>
                      </a:lnTo>
                      <a:lnTo>
                        <a:pt x="269240" y="1116342"/>
                      </a:lnTo>
                      <a:lnTo>
                        <a:pt x="268630" y="1116342"/>
                      </a:lnTo>
                      <a:lnTo>
                        <a:pt x="267131" y="1118882"/>
                      </a:lnTo>
                      <a:lnTo>
                        <a:pt x="267335" y="1121422"/>
                      </a:lnTo>
                      <a:lnTo>
                        <a:pt x="269773" y="1126502"/>
                      </a:lnTo>
                      <a:lnTo>
                        <a:pt x="270624" y="1127772"/>
                      </a:lnTo>
                      <a:lnTo>
                        <a:pt x="271411" y="1129042"/>
                      </a:lnTo>
                      <a:lnTo>
                        <a:pt x="271741" y="1129042"/>
                      </a:lnTo>
                      <a:lnTo>
                        <a:pt x="271691" y="1130312"/>
                      </a:lnTo>
                      <a:lnTo>
                        <a:pt x="270294" y="1130312"/>
                      </a:lnTo>
                      <a:lnTo>
                        <a:pt x="269989" y="1131582"/>
                      </a:lnTo>
                      <a:lnTo>
                        <a:pt x="270421" y="1132852"/>
                      </a:lnTo>
                      <a:lnTo>
                        <a:pt x="271818" y="1135392"/>
                      </a:lnTo>
                      <a:lnTo>
                        <a:pt x="272021" y="1136662"/>
                      </a:lnTo>
                      <a:lnTo>
                        <a:pt x="272275" y="1136662"/>
                      </a:lnTo>
                      <a:lnTo>
                        <a:pt x="273227" y="1137932"/>
                      </a:lnTo>
                      <a:lnTo>
                        <a:pt x="273494" y="1140472"/>
                      </a:lnTo>
                      <a:lnTo>
                        <a:pt x="274243" y="1144282"/>
                      </a:lnTo>
                      <a:lnTo>
                        <a:pt x="273456" y="1146822"/>
                      </a:lnTo>
                      <a:lnTo>
                        <a:pt x="274345" y="1149362"/>
                      </a:lnTo>
                      <a:lnTo>
                        <a:pt x="274574" y="1150632"/>
                      </a:lnTo>
                      <a:lnTo>
                        <a:pt x="275513" y="1150632"/>
                      </a:lnTo>
                      <a:lnTo>
                        <a:pt x="276694" y="1151902"/>
                      </a:lnTo>
                      <a:lnTo>
                        <a:pt x="277863" y="1151902"/>
                      </a:lnTo>
                      <a:lnTo>
                        <a:pt x="278206" y="1153172"/>
                      </a:lnTo>
                      <a:lnTo>
                        <a:pt x="276923" y="1160792"/>
                      </a:lnTo>
                      <a:lnTo>
                        <a:pt x="276948" y="1163332"/>
                      </a:lnTo>
                      <a:lnTo>
                        <a:pt x="277279" y="1165872"/>
                      </a:lnTo>
                      <a:lnTo>
                        <a:pt x="277876" y="1165872"/>
                      </a:lnTo>
                      <a:lnTo>
                        <a:pt x="276606" y="1167142"/>
                      </a:lnTo>
                      <a:lnTo>
                        <a:pt x="274840" y="1165872"/>
                      </a:lnTo>
                      <a:lnTo>
                        <a:pt x="271424" y="1174762"/>
                      </a:lnTo>
                      <a:lnTo>
                        <a:pt x="271297" y="1174762"/>
                      </a:lnTo>
                      <a:lnTo>
                        <a:pt x="271145" y="1176032"/>
                      </a:lnTo>
                      <a:lnTo>
                        <a:pt x="270802" y="1176032"/>
                      </a:lnTo>
                      <a:lnTo>
                        <a:pt x="270586" y="1178572"/>
                      </a:lnTo>
                      <a:lnTo>
                        <a:pt x="270040" y="1178572"/>
                      </a:lnTo>
                      <a:lnTo>
                        <a:pt x="269989" y="1179842"/>
                      </a:lnTo>
                      <a:lnTo>
                        <a:pt x="269709" y="1179842"/>
                      </a:lnTo>
                      <a:lnTo>
                        <a:pt x="268249" y="1181112"/>
                      </a:lnTo>
                      <a:lnTo>
                        <a:pt x="267970" y="1182382"/>
                      </a:lnTo>
                      <a:lnTo>
                        <a:pt x="267284" y="1182382"/>
                      </a:lnTo>
                      <a:lnTo>
                        <a:pt x="266979" y="1183652"/>
                      </a:lnTo>
                      <a:lnTo>
                        <a:pt x="268122" y="1184922"/>
                      </a:lnTo>
                      <a:lnTo>
                        <a:pt x="270078" y="1188732"/>
                      </a:lnTo>
                      <a:lnTo>
                        <a:pt x="269290" y="1193812"/>
                      </a:lnTo>
                      <a:lnTo>
                        <a:pt x="269163" y="1197622"/>
                      </a:lnTo>
                      <a:lnTo>
                        <a:pt x="267004" y="1197622"/>
                      </a:lnTo>
                      <a:lnTo>
                        <a:pt x="266268" y="1198892"/>
                      </a:lnTo>
                      <a:lnTo>
                        <a:pt x="266369" y="1200162"/>
                      </a:lnTo>
                      <a:lnTo>
                        <a:pt x="263690" y="1202702"/>
                      </a:lnTo>
                      <a:lnTo>
                        <a:pt x="260705" y="1201432"/>
                      </a:lnTo>
                      <a:lnTo>
                        <a:pt x="259283" y="1211592"/>
                      </a:lnTo>
                      <a:lnTo>
                        <a:pt x="258800" y="1215402"/>
                      </a:lnTo>
                      <a:lnTo>
                        <a:pt x="258813" y="1219212"/>
                      </a:lnTo>
                      <a:lnTo>
                        <a:pt x="259308" y="1221752"/>
                      </a:lnTo>
                      <a:lnTo>
                        <a:pt x="259727" y="1225562"/>
                      </a:lnTo>
                      <a:lnTo>
                        <a:pt x="259956" y="1228102"/>
                      </a:lnTo>
                      <a:lnTo>
                        <a:pt x="261950" y="1234452"/>
                      </a:lnTo>
                      <a:lnTo>
                        <a:pt x="263359" y="1238262"/>
                      </a:lnTo>
                      <a:lnTo>
                        <a:pt x="262394" y="1240802"/>
                      </a:lnTo>
                      <a:lnTo>
                        <a:pt x="258902" y="1240802"/>
                      </a:lnTo>
                      <a:lnTo>
                        <a:pt x="256222" y="1242072"/>
                      </a:lnTo>
                      <a:lnTo>
                        <a:pt x="255790" y="1243342"/>
                      </a:lnTo>
                      <a:lnTo>
                        <a:pt x="255511" y="1243342"/>
                      </a:lnTo>
                      <a:lnTo>
                        <a:pt x="255384" y="1244612"/>
                      </a:lnTo>
                      <a:lnTo>
                        <a:pt x="254508" y="1252232"/>
                      </a:lnTo>
                      <a:lnTo>
                        <a:pt x="254165" y="1253502"/>
                      </a:lnTo>
                      <a:lnTo>
                        <a:pt x="253809" y="1254772"/>
                      </a:lnTo>
                      <a:lnTo>
                        <a:pt x="251675" y="1254772"/>
                      </a:lnTo>
                      <a:lnTo>
                        <a:pt x="251637" y="1256042"/>
                      </a:lnTo>
                      <a:lnTo>
                        <a:pt x="252425" y="1261122"/>
                      </a:lnTo>
                      <a:lnTo>
                        <a:pt x="250266" y="1263662"/>
                      </a:lnTo>
                      <a:lnTo>
                        <a:pt x="249453" y="1261122"/>
                      </a:lnTo>
                      <a:lnTo>
                        <a:pt x="249605" y="1264932"/>
                      </a:lnTo>
                      <a:lnTo>
                        <a:pt x="250304" y="1266202"/>
                      </a:lnTo>
                      <a:lnTo>
                        <a:pt x="250583" y="1266202"/>
                      </a:lnTo>
                      <a:lnTo>
                        <a:pt x="250964" y="1267472"/>
                      </a:lnTo>
                      <a:lnTo>
                        <a:pt x="250723" y="1267472"/>
                      </a:lnTo>
                      <a:lnTo>
                        <a:pt x="249694" y="1268742"/>
                      </a:lnTo>
                      <a:lnTo>
                        <a:pt x="248640" y="1271282"/>
                      </a:lnTo>
                      <a:lnTo>
                        <a:pt x="248158" y="1272552"/>
                      </a:lnTo>
                      <a:lnTo>
                        <a:pt x="247954" y="1273822"/>
                      </a:lnTo>
                      <a:lnTo>
                        <a:pt x="248373" y="1276362"/>
                      </a:lnTo>
                      <a:lnTo>
                        <a:pt x="248513" y="1277632"/>
                      </a:lnTo>
                      <a:lnTo>
                        <a:pt x="248716" y="1281442"/>
                      </a:lnTo>
                      <a:lnTo>
                        <a:pt x="248259" y="1283982"/>
                      </a:lnTo>
                      <a:lnTo>
                        <a:pt x="247802" y="1289062"/>
                      </a:lnTo>
                      <a:lnTo>
                        <a:pt x="248539" y="1291602"/>
                      </a:lnTo>
                      <a:lnTo>
                        <a:pt x="250113" y="1295412"/>
                      </a:lnTo>
                      <a:lnTo>
                        <a:pt x="250494" y="1296682"/>
                      </a:lnTo>
                      <a:lnTo>
                        <a:pt x="250634" y="1296682"/>
                      </a:lnTo>
                      <a:lnTo>
                        <a:pt x="245135" y="1299222"/>
                      </a:lnTo>
                      <a:lnTo>
                        <a:pt x="245681" y="1300492"/>
                      </a:lnTo>
                      <a:lnTo>
                        <a:pt x="245287" y="1304302"/>
                      </a:lnTo>
                      <a:lnTo>
                        <a:pt x="244932" y="1306842"/>
                      </a:lnTo>
                      <a:lnTo>
                        <a:pt x="244843" y="1308112"/>
                      </a:lnTo>
                      <a:lnTo>
                        <a:pt x="244754" y="1313192"/>
                      </a:lnTo>
                      <a:lnTo>
                        <a:pt x="245059" y="1313192"/>
                      </a:lnTo>
                      <a:lnTo>
                        <a:pt x="246151" y="1315732"/>
                      </a:lnTo>
                      <a:lnTo>
                        <a:pt x="248704" y="1314462"/>
                      </a:lnTo>
                      <a:lnTo>
                        <a:pt x="251040" y="1317002"/>
                      </a:lnTo>
                      <a:lnTo>
                        <a:pt x="250545" y="1317002"/>
                      </a:lnTo>
                      <a:lnTo>
                        <a:pt x="250355" y="1318272"/>
                      </a:lnTo>
                      <a:lnTo>
                        <a:pt x="248615" y="1318272"/>
                      </a:lnTo>
                      <a:lnTo>
                        <a:pt x="247256" y="1319542"/>
                      </a:lnTo>
                      <a:lnTo>
                        <a:pt x="247688" y="1320812"/>
                      </a:lnTo>
                      <a:lnTo>
                        <a:pt x="249428" y="1322082"/>
                      </a:lnTo>
                      <a:lnTo>
                        <a:pt x="250024" y="1322082"/>
                      </a:lnTo>
                      <a:lnTo>
                        <a:pt x="250088" y="1323352"/>
                      </a:lnTo>
                      <a:lnTo>
                        <a:pt x="250418" y="1323352"/>
                      </a:lnTo>
                      <a:lnTo>
                        <a:pt x="250609" y="1324622"/>
                      </a:lnTo>
                      <a:lnTo>
                        <a:pt x="250748" y="1324622"/>
                      </a:lnTo>
                      <a:lnTo>
                        <a:pt x="251828" y="1328432"/>
                      </a:lnTo>
                      <a:lnTo>
                        <a:pt x="251536" y="1329702"/>
                      </a:lnTo>
                      <a:lnTo>
                        <a:pt x="250901" y="1329702"/>
                      </a:lnTo>
                      <a:lnTo>
                        <a:pt x="250571" y="1330972"/>
                      </a:lnTo>
                      <a:lnTo>
                        <a:pt x="250177" y="1330972"/>
                      </a:lnTo>
                      <a:lnTo>
                        <a:pt x="249161" y="1336052"/>
                      </a:lnTo>
                      <a:lnTo>
                        <a:pt x="248831" y="1337322"/>
                      </a:lnTo>
                      <a:lnTo>
                        <a:pt x="252641" y="1337322"/>
                      </a:lnTo>
                      <a:lnTo>
                        <a:pt x="257225" y="1336052"/>
                      </a:lnTo>
                      <a:lnTo>
                        <a:pt x="258838" y="1338592"/>
                      </a:lnTo>
                      <a:lnTo>
                        <a:pt x="259448" y="1338592"/>
                      </a:lnTo>
                      <a:lnTo>
                        <a:pt x="259600" y="1339862"/>
                      </a:lnTo>
                      <a:lnTo>
                        <a:pt x="258889" y="1339862"/>
                      </a:lnTo>
                      <a:lnTo>
                        <a:pt x="258597" y="1341132"/>
                      </a:lnTo>
                      <a:lnTo>
                        <a:pt x="257517" y="1341132"/>
                      </a:lnTo>
                      <a:lnTo>
                        <a:pt x="257657" y="1343672"/>
                      </a:lnTo>
                      <a:lnTo>
                        <a:pt x="256311" y="1344942"/>
                      </a:lnTo>
                      <a:lnTo>
                        <a:pt x="255803" y="1343672"/>
                      </a:lnTo>
                      <a:lnTo>
                        <a:pt x="245440" y="1343672"/>
                      </a:lnTo>
                      <a:lnTo>
                        <a:pt x="245872" y="1344942"/>
                      </a:lnTo>
                      <a:lnTo>
                        <a:pt x="245491" y="1344942"/>
                      </a:lnTo>
                      <a:lnTo>
                        <a:pt x="246341" y="1346212"/>
                      </a:lnTo>
                      <a:lnTo>
                        <a:pt x="248259" y="1346212"/>
                      </a:lnTo>
                      <a:lnTo>
                        <a:pt x="249643" y="1347482"/>
                      </a:lnTo>
                      <a:lnTo>
                        <a:pt x="251548" y="1346212"/>
                      </a:lnTo>
                      <a:lnTo>
                        <a:pt x="252869" y="1347482"/>
                      </a:lnTo>
                      <a:lnTo>
                        <a:pt x="253238" y="1347482"/>
                      </a:lnTo>
                      <a:lnTo>
                        <a:pt x="253580" y="1348752"/>
                      </a:lnTo>
                      <a:lnTo>
                        <a:pt x="253720" y="1348752"/>
                      </a:lnTo>
                      <a:lnTo>
                        <a:pt x="254342" y="1350022"/>
                      </a:lnTo>
                      <a:lnTo>
                        <a:pt x="254889" y="1350022"/>
                      </a:lnTo>
                      <a:lnTo>
                        <a:pt x="256146" y="1352562"/>
                      </a:lnTo>
                      <a:lnTo>
                        <a:pt x="256298" y="1352562"/>
                      </a:lnTo>
                      <a:lnTo>
                        <a:pt x="256362" y="1353832"/>
                      </a:lnTo>
                      <a:lnTo>
                        <a:pt x="255816" y="1353832"/>
                      </a:lnTo>
                      <a:lnTo>
                        <a:pt x="255206" y="1355102"/>
                      </a:lnTo>
                      <a:lnTo>
                        <a:pt x="254584" y="1355102"/>
                      </a:lnTo>
                      <a:lnTo>
                        <a:pt x="254292" y="1356372"/>
                      </a:lnTo>
                      <a:lnTo>
                        <a:pt x="252501" y="1357642"/>
                      </a:lnTo>
                      <a:lnTo>
                        <a:pt x="250202" y="1357642"/>
                      </a:lnTo>
                      <a:lnTo>
                        <a:pt x="249643" y="1358912"/>
                      </a:lnTo>
                      <a:lnTo>
                        <a:pt x="249682" y="1360182"/>
                      </a:lnTo>
                      <a:lnTo>
                        <a:pt x="249796" y="1361452"/>
                      </a:lnTo>
                      <a:lnTo>
                        <a:pt x="250431" y="1362722"/>
                      </a:lnTo>
                      <a:lnTo>
                        <a:pt x="250913" y="1363992"/>
                      </a:lnTo>
                      <a:lnTo>
                        <a:pt x="251942" y="1365262"/>
                      </a:lnTo>
                      <a:lnTo>
                        <a:pt x="251256" y="1366532"/>
                      </a:lnTo>
                      <a:lnTo>
                        <a:pt x="250748" y="1366532"/>
                      </a:lnTo>
                      <a:lnTo>
                        <a:pt x="248983" y="1369072"/>
                      </a:lnTo>
                      <a:lnTo>
                        <a:pt x="250685" y="1375422"/>
                      </a:lnTo>
                      <a:lnTo>
                        <a:pt x="251548" y="1376692"/>
                      </a:lnTo>
                      <a:lnTo>
                        <a:pt x="250913" y="1377962"/>
                      </a:lnTo>
                      <a:lnTo>
                        <a:pt x="250367" y="1377962"/>
                      </a:lnTo>
                      <a:lnTo>
                        <a:pt x="249948" y="1379232"/>
                      </a:lnTo>
                      <a:lnTo>
                        <a:pt x="249326" y="1379232"/>
                      </a:lnTo>
                      <a:lnTo>
                        <a:pt x="248894" y="1380502"/>
                      </a:lnTo>
                      <a:lnTo>
                        <a:pt x="247078" y="1381772"/>
                      </a:lnTo>
                      <a:lnTo>
                        <a:pt x="248386" y="1388122"/>
                      </a:lnTo>
                      <a:lnTo>
                        <a:pt x="247472" y="1388122"/>
                      </a:lnTo>
                      <a:lnTo>
                        <a:pt x="246849" y="1389392"/>
                      </a:lnTo>
                      <a:lnTo>
                        <a:pt x="245795" y="1389392"/>
                      </a:lnTo>
                      <a:lnTo>
                        <a:pt x="243433" y="1390662"/>
                      </a:lnTo>
                      <a:lnTo>
                        <a:pt x="241985" y="1391932"/>
                      </a:lnTo>
                      <a:lnTo>
                        <a:pt x="242062" y="1393202"/>
                      </a:lnTo>
                      <a:lnTo>
                        <a:pt x="241820" y="1393202"/>
                      </a:lnTo>
                      <a:lnTo>
                        <a:pt x="238887" y="1399552"/>
                      </a:lnTo>
                      <a:lnTo>
                        <a:pt x="239699" y="1400822"/>
                      </a:lnTo>
                      <a:lnTo>
                        <a:pt x="239991" y="1400822"/>
                      </a:lnTo>
                      <a:lnTo>
                        <a:pt x="240487" y="1402092"/>
                      </a:lnTo>
                      <a:lnTo>
                        <a:pt x="241782" y="1402092"/>
                      </a:lnTo>
                      <a:lnTo>
                        <a:pt x="242125" y="1403362"/>
                      </a:lnTo>
                      <a:lnTo>
                        <a:pt x="242150" y="1404632"/>
                      </a:lnTo>
                      <a:lnTo>
                        <a:pt x="242277" y="1404632"/>
                      </a:lnTo>
                      <a:lnTo>
                        <a:pt x="242354" y="1407172"/>
                      </a:lnTo>
                      <a:lnTo>
                        <a:pt x="242252" y="1408442"/>
                      </a:lnTo>
                      <a:lnTo>
                        <a:pt x="240842" y="1408442"/>
                      </a:lnTo>
                      <a:lnTo>
                        <a:pt x="239890" y="1409712"/>
                      </a:lnTo>
                      <a:lnTo>
                        <a:pt x="238836" y="1409712"/>
                      </a:lnTo>
                      <a:lnTo>
                        <a:pt x="238645" y="1410982"/>
                      </a:lnTo>
                      <a:lnTo>
                        <a:pt x="238442" y="1410982"/>
                      </a:lnTo>
                      <a:lnTo>
                        <a:pt x="238506" y="1416062"/>
                      </a:lnTo>
                      <a:lnTo>
                        <a:pt x="237883" y="1417332"/>
                      </a:lnTo>
                      <a:lnTo>
                        <a:pt x="236804" y="1417332"/>
                      </a:lnTo>
                      <a:lnTo>
                        <a:pt x="236397" y="1418602"/>
                      </a:lnTo>
                      <a:lnTo>
                        <a:pt x="234759" y="1419872"/>
                      </a:lnTo>
                      <a:lnTo>
                        <a:pt x="234302" y="1419872"/>
                      </a:lnTo>
                      <a:lnTo>
                        <a:pt x="232956" y="1421142"/>
                      </a:lnTo>
                      <a:lnTo>
                        <a:pt x="231114" y="1424952"/>
                      </a:lnTo>
                      <a:lnTo>
                        <a:pt x="226898" y="1424952"/>
                      </a:lnTo>
                      <a:lnTo>
                        <a:pt x="226110" y="1426222"/>
                      </a:lnTo>
                      <a:lnTo>
                        <a:pt x="225374" y="1426222"/>
                      </a:lnTo>
                      <a:lnTo>
                        <a:pt x="224815" y="1427492"/>
                      </a:lnTo>
                      <a:lnTo>
                        <a:pt x="224459" y="1428762"/>
                      </a:lnTo>
                      <a:lnTo>
                        <a:pt x="224205" y="1430032"/>
                      </a:lnTo>
                      <a:lnTo>
                        <a:pt x="224726" y="1430032"/>
                      </a:lnTo>
                      <a:lnTo>
                        <a:pt x="224751" y="1431302"/>
                      </a:lnTo>
                      <a:lnTo>
                        <a:pt x="224942" y="1431302"/>
                      </a:lnTo>
                      <a:lnTo>
                        <a:pt x="225259" y="1433842"/>
                      </a:lnTo>
                      <a:lnTo>
                        <a:pt x="224447" y="1436128"/>
                      </a:lnTo>
                      <a:lnTo>
                        <a:pt x="224370" y="1436484"/>
                      </a:lnTo>
                      <a:lnTo>
                        <a:pt x="224637" y="1438732"/>
                      </a:lnTo>
                      <a:lnTo>
                        <a:pt x="224663" y="1440192"/>
                      </a:lnTo>
                      <a:lnTo>
                        <a:pt x="224853" y="1440192"/>
                      </a:lnTo>
                      <a:lnTo>
                        <a:pt x="224993" y="1441462"/>
                      </a:lnTo>
                      <a:lnTo>
                        <a:pt x="225793" y="1441462"/>
                      </a:lnTo>
                      <a:lnTo>
                        <a:pt x="226618" y="1442732"/>
                      </a:lnTo>
                      <a:lnTo>
                        <a:pt x="227253" y="1442732"/>
                      </a:lnTo>
                      <a:lnTo>
                        <a:pt x="227952" y="1444002"/>
                      </a:lnTo>
                      <a:lnTo>
                        <a:pt x="228130" y="1444002"/>
                      </a:lnTo>
                      <a:lnTo>
                        <a:pt x="228371" y="1445272"/>
                      </a:lnTo>
                      <a:lnTo>
                        <a:pt x="228676" y="1446542"/>
                      </a:lnTo>
                      <a:lnTo>
                        <a:pt x="228803" y="1447812"/>
                      </a:lnTo>
                      <a:lnTo>
                        <a:pt x="229133" y="1450352"/>
                      </a:lnTo>
                      <a:lnTo>
                        <a:pt x="229527" y="1451622"/>
                      </a:lnTo>
                      <a:lnTo>
                        <a:pt x="229743" y="1451622"/>
                      </a:lnTo>
                      <a:lnTo>
                        <a:pt x="230035" y="1452892"/>
                      </a:lnTo>
                      <a:lnTo>
                        <a:pt x="232371" y="1452892"/>
                      </a:lnTo>
                      <a:lnTo>
                        <a:pt x="233730" y="1451622"/>
                      </a:lnTo>
                      <a:lnTo>
                        <a:pt x="234581" y="1450352"/>
                      </a:lnTo>
                      <a:lnTo>
                        <a:pt x="237032" y="1450352"/>
                      </a:lnTo>
                      <a:lnTo>
                        <a:pt x="236982" y="1451622"/>
                      </a:lnTo>
                      <a:lnTo>
                        <a:pt x="237998" y="1450352"/>
                      </a:lnTo>
                      <a:lnTo>
                        <a:pt x="238988" y="1450352"/>
                      </a:lnTo>
                      <a:lnTo>
                        <a:pt x="242265" y="1449082"/>
                      </a:lnTo>
                      <a:lnTo>
                        <a:pt x="242379" y="1451622"/>
                      </a:lnTo>
                      <a:lnTo>
                        <a:pt x="242684" y="1452892"/>
                      </a:lnTo>
                      <a:lnTo>
                        <a:pt x="242785" y="1455432"/>
                      </a:lnTo>
                      <a:lnTo>
                        <a:pt x="242417" y="1457972"/>
                      </a:lnTo>
                      <a:lnTo>
                        <a:pt x="241363" y="1459242"/>
                      </a:lnTo>
                      <a:lnTo>
                        <a:pt x="241109" y="1459242"/>
                      </a:lnTo>
                      <a:lnTo>
                        <a:pt x="241160" y="1460512"/>
                      </a:lnTo>
                      <a:lnTo>
                        <a:pt x="241858" y="1460512"/>
                      </a:lnTo>
                      <a:lnTo>
                        <a:pt x="242112" y="1461782"/>
                      </a:lnTo>
                      <a:lnTo>
                        <a:pt x="242760" y="1461782"/>
                      </a:lnTo>
                      <a:lnTo>
                        <a:pt x="242925" y="1463052"/>
                      </a:lnTo>
                      <a:lnTo>
                        <a:pt x="242468" y="1464322"/>
                      </a:lnTo>
                      <a:lnTo>
                        <a:pt x="241960" y="1465592"/>
                      </a:lnTo>
                      <a:lnTo>
                        <a:pt x="241693" y="1465592"/>
                      </a:lnTo>
                      <a:lnTo>
                        <a:pt x="241388" y="1466862"/>
                      </a:lnTo>
                      <a:lnTo>
                        <a:pt x="240855" y="1466862"/>
                      </a:lnTo>
                      <a:lnTo>
                        <a:pt x="240753" y="1468132"/>
                      </a:lnTo>
                      <a:lnTo>
                        <a:pt x="241236" y="1468132"/>
                      </a:lnTo>
                      <a:lnTo>
                        <a:pt x="242392" y="1470672"/>
                      </a:lnTo>
                      <a:lnTo>
                        <a:pt x="244398" y="1470672"/>
                      </a:lnTo>
                      <a:lnTo>
                        <a:pt x="245414" y="1471942"/>
                      </a:lnTo>
                      <a:lnTo>
                        <a:pt x="246545" y="1473212"/>
                      </a:lnTo>
                      <a:lnTo>
                        <a:pt x="246684" y="1474482"/>
                      </a:lnTo>
                      <a:lnTo>
                        <a:pt x="247053" y="1474482"/>
                      </a:lnTo>
                      <a:lnTo>
                        <a:pt x="247586" y="1475752"/>
                      </a:lnTo>
                      <a:lnTo>
                        <a:pt x="275488" y="1475752"/>
                      </a:lnTo>
                      <a:lnTo>
                        <a:pt x="275755" y="1477022"/>
                      </a:lnTo>
                      <a:lnTo>
                        <a:pt x="278523" y="1477022"/>
                      </a:lnTo>
                      <a:lnTo>
                        <a:pt x="280708" y="1478292"/>
                      </a:lnTo>
                      <a:lnTo>
                        <a:pt x="284911" y="1478292"/>
                      </a:lnTo>
                      <a:lnTo>
                        <a:pt x="289814" y="1479562"/>
                      </a:lnTo>
                      <a:lnTo>
                        <a:pt x="294398" y="1482102"/>
                      </a:lnTo>
                      <a:lnTo>
                        <a:pt x="298132" y="1483372"/>
                      </a:lnTo>
                      <a:lnTo>
                        <a:pt x="298767" y="1482102"/>
                      </a:lnTo>
                      <a:lnTo>
                        <a:pt x="296354" y="1482102"/>
                      </a:lnTo>
                      <a:lnTo>
                        <a:pt x="290677" y="1470672"/>
                      </a:lnTo>
                      <a:lnTo>
                        <a:pt x="290093" y="1469402"/>
                      </a:lnTo>
                      <a:lnTo>
                        <a:pt x="288658" y="1469402"/>
                      </a:lnTo>
                      <a:lnTo>
                        <a:pt x="288620" y="1468132"/>
                      </a:lnTo>
                      <a:lnTo>
                        <a:pt x="289661" y="1468132"/>
                      </a:lnTo>
                      <a:lnTo>
                        <a:pt x="288937" y="1464322"/>
                      </a:lnTo>
                      <a:lnTo>
                        <a:pt x="288048" y="1460512"/>
                      </a:lnTo>
                      <a:lnTo>
                        <a:pt x="286956" y="1457312"/>
                      </a:lnTo>
                      <a:lnTo>
                        <a:pt x="286956" y="1469402"/>
                      </a:lnTo>
                      <a:lnTo>
                        <a:pt x="286042" y="1469402"/>
                      </a:lnTo>
                      <a:lnTo>
                        <a:pt x="283641" y="1468183"/>
                      </a:lnTo>
                      <a:lnTo>
                        <a:pt x="286512" y="1468132"/>
                      </a:lnTo>
                      <a:lnTo>
                        <a:pt x="286956" y="1469402"/>
                      </a:lnTo>
                      <a:lnTo>
                        <a:pt x="286956" y="1457312"/>
                      </a:lnTo>
                      <a:lnTo>
                        <a:pt x="286753" y="1456702"/>
                      </a:lnTo>
                      <a:lnTo>
                        <a:pt x="288010" y="1454162"/>
                      </a:lnTo>
                      <a:lnTo>
                        <a:pt x="287223" y="1451622"/>
                      </a:lnTo>
                      <a:lnTo>
                        <a:pt x="288950" y="1449082"/>
                      </a:lnTo>
                      <a:lnTo>
                        <a:pt x="289902" y="1447812"/>
                      </a:lnTo>
                      <a:lnTo>
                        <a:pt x="291909" y="1444002"/>
                      </a:lnTo>
                      <a:lnTo>
                        <a:pt x="293255" y="1444002"/>
                      </a:lnTo>
                      <a:lnTo>
                        <a:pt x="295490" y="1442732"/>
                      </a:lnTo>
                      <a:lnTo>
                        <a:pt x="298602" y="1441462"/>
                      </a:lnTo>
                      <a:lnTo>
                        <a:pt x="298399" y="1440192"/>
                      </a:lnTo>
                      <a:lnTo>
                        <a:pt x="297027" y="1440192"/>
                      </a:lnTo>
                      <a:lnTo>
                        <a:pt x="296303" y="1439037"/>
                      </a:lnTo>
                      <a:lnTo>
                        <a:pt x="299821" y="1440192"/>
                      </a:lnTo>
                      <a:lnTo>
                        <a:pt x="305930" y="1437652"/>
                      </a:lnTo>
                      <a:lnTo>
                        <a:pt x="307314" y="1436382"/>
                      </a:lnTo>
                      <a:lnTo>
                        <a:pt x="307403" y="1435112"/>
                      </a:lnTo>
                      <a:lnTo>
                        <a:pt x="307619" y="1433842"/>
                      </a:lnTo>
                      <a:lnTo>
                        <a:pt x="308076" y="1431302"/>
                      </a:lnTo>
                      <a:lnTo>
                        <a:pt x="309575" y="1427492"/>
                      </a:lnTo>
                      <a:lnTo>
                        <a:pt x="309118" y="1424952"/>
                      </a:lnTo>
                      <a:lnTo>
                        <a:pt x="308521" y="1426222"/>
                      </a:lnTo>
                      <a:lnTo>
                        <a:pt x="307530" y="1426222"/>
                      </a:lnTo>
                      <a:lnTo>
                        <a:pt x="306387" y="1427492"/>
                      </a:lnTo>
                      <a:lnTo>
                        <a:pt x="306997" y="1426222"/>
                      </a:lnTo>
                      <a:lnTo>
                        <a:pt x="307924" y="1424952"/>
                      </a:lnTo>
                      <a:lnTo>
                        <a:pt x="310934" y="1419872"/>
                      </a:lnTo>
                      <a:lnTo>
                        <a:pt x="313334" y="1417332"/>
                      </a:lnTo>
                      <a:lnTo>
                        <a:pt x="319544" y="1412252"/>
                      </a:lnTo>
                      <a:lnTo>
                        <a:pt x="322478" y="1409712"/>
                      </a:lnTo>
                      <a:lnTo>
                        <a:pt x="328650" y="1407172"/>
                      </a:lnTo>
                      <a:lnTo>
                        <a:pt x="332930" y="1404632"/>
                      </a:lnTo>
                      <a:lnTo>
                        <a:pt x="336080" y="1399552"/>
                      </a:lnTo>
                      <a:lnTo>
                        <a:pt x="335000" y="1400822"/>
                      </a:lnTo>
                      <a:lnTo>
                        <a:pt x="333717" y="1398282"/>
                      </a:lnTo>
                      <a:lnTo>
                        <a:pt x="333006" y="1398282"/>
                      </a:lnTo>
                      <a:lnTo>
                        <a:pt x="332994" y="1397914"/>
                      </a:lnTo>
                      <a:lnTo>
                        <a:pt x="332867" y="1398282"/>
                      </a:lnTo>
                      <a:lnTo>
                        <a:pt x="332892" y="1397914"/>
                      </a:lnTo>
                      <a:lnTo>
                        <a:pt x="332955" y="1397012"/>
                      </a:lnTo>
                      <a:lnTo>
                        <a:pt x="332994" y="1397914"/>
                      </a:lnTo>
                      <a:lnTo>
                        <a:pt x="333463" y="1397012"/>
                      </a:lnTo>
                      <a:lnTo>
                        <a:pt x="334060" y="1397012"/>
                      </a:lnTo>
                      <a:lnTo>
                        <a:pt x="335457" y="1395742"/>
                      </a:lnTo>
                      <a:lnTo>
                        <a:pt x="336372" y="1390662"/>
                      </a:lnTo>
                      <a:lnTo>
                        <a:pt x="336194" y="1386852"/>
                      </a:lnTo>
                      <a:lnTo>
                        <a:pt x="324827" y="1384312"/>
                      </a:lnTo>
                      <a:lnTo>
                        <a:pt x="322224" y="1384312"/>
                      </a:lnTo>
                      <a:lnTo>
                        <a:pt x="318820" y="1381772"/>
                      </a:lnTo>
                      <a:lnTo>
                        <a:pt x="317373" y="1380502"/>
                      </a:lnTo>
                      <a:lnTo>
                        <a:pt x="312508" y="1375422"/>
                      </a:lnTo>
                      <a:lnTo>
                        <a:pt x="309638" y="1372882"/>
                      </a:lnTo>
                      <a:lnTo>
                        <a:pt x="309118" y="1365262"/>
                      </a:lnTo>
                      <a:lnTo>
                        <a:pt x="310946" y="1363992"/>
                      </a:lnTo>
                      <a:lnTo>
                        <a:pt x="314185" y="1358912"/>
                      </a:lnTo>
                      <a:lnTo>
                        <a:pt x="316128" y="1355102"/>
                      </a:lnTo>
                      <a:lnTo>
                        <a:pt x="319544" y="1351292"/>
                      </a:lnTo>
                      <a:lnTo>
                        <a:pt x="320700" y="1351292"/>
                      </a:lnTo>
                      <a:lnTo>
                        <a:pt x="325475" y="1348752"/>
                      </a:lnTo>
                      <a:lnTo>
                        <a:pt x="329692" y="1347482"/>
                      </a:lnTo>
                      <a:lnTo>
                        <a:pt x="334975" y="1347482"/>
                      </a:lnTo>
                      <a:lnTo>
                        <a:pt x="337566" y="1348752"/>
                      </a:lnTo>
                      <a:lnTo>
                        <a:pt x="339547" y="1344942"/>
                      </a:lnTo>
                      <a:lnTo>
                        <a:pt x="337312" y="1344942"/>
                      </a:lnTo>
                      <a:lnTo>
                        <a:pt x="337197" y="1341132"/>
                      </a:lnTo>
                      <a:lnTo>
                        <a:pt x="338124" y="1341132"/>
                      </a:lnTo>
                      <a:lnTo>
                        <a:pt x="342912" y="1337322"/>
                      </a:lnTo>
                      <a:lnTo>
                        <a:pt x="343331" y="1336052"/>
                      </a:lnTo>
                      <a:lnTo>
                        <a:pt x="343750" y="1334782"/>
                      </a:lnTo>
                      <a:lnTo>
                        <a:pt x="343928" y="1330972"/>
                      </a:lnTo>
                      <a:lnTo>
                        <a:pt x="343700" y="1329702"/>
                      </a:lnTo>
                      <a:lnTo>
                        <a:pt x="342734" y="1329702"/>
                      </a:lnTo>
                      <a:lnTo>
                        <a:pt x="341795" y="1325892"/>
                      </a:lnTo>
                      <a:lnTo>
                        <a:pt x="343585" y="1323352"/>
                      </a:lnTo>
                      <a:lnTo>
                        <a:pt x="344906" y="1319542"/>
                      </a:lnTo>
                      <a:lnTo>
                        <a:pt x="348576" y="1315732"/>
                      </a:lnTo>
                      <a:lnTo>
                        <a:pt x="350100" y="1315732"/>
                      </a:lnTo>
                      <a:lnTo>
                        <a:pt x="352691" y="1314462"/>
                      </a:lnTo>
                      <a:lnTo>
                        <a:pt x="357555" y="1313192"/>
                      </a:lnTo>
                      <a:lnTo>
                        <a:pt x="356590" y="1311922"/>
                      </a:lnTo>
                      <a:lnTo>
                        <a:pt x="352107" y="1311922"/>
                      </a:lnTo>
                      <a:lnTo>
                        <a:pt x="348513" y="1309382"/>
                      </a:lnTo>
                      <a:lnTo>
                        <a:pt x="346671" y="1308112"/>
                      </a:lnTo>
                      <a:lnTo>
                        <a:pt x="347573" y="1306842"/>
                      </a:lnTo>
                      <a:lnTo>
                        <a:pt x="351917" y="1304302"/>
                      </a:lnTo>
                      <a:lnTo>
                        <a:pt x="355917" y="1304302"/>
                      </a:lnTo>
                      <a:lnTo>
                        <a:pt x="358825" y="1305572"/>
                      </a:lnTo>
                      <a:lnTo>
                        <a:pt x="357797" y="1308112"/>
                      </a:lnTo>
                      <a:lnTo>
                        <a:pt x="366522" y="1308112"/>
                      </a:lnTo>
                      <a:lnTo>
                        <a:pt x="366737" y="1305572"/>
                      </a:lnTo>
                      <a:lnTo>
                        <a:pt x="366915" y="1304302"/>
                      </a:lnTo>
                      <a:lnTo>
                        <a:pt x="367093" y="1303032"/>
                      </a:lnTo>
                      <a:lnTo>
                        <a:pt x="368160" y="1295412"/>
                      </a:lnTo>
                      <a:lnTo>
                        <a:pt x="360413" y="1297952"/>
                      </a:lnTo>
                      <a:lnTo>
                        <a:pt x="358317" y="1299222"/>
                      </a:lnTo>
                      <a:lnTo>
                        <a:pt x="356476" y="1299222"/>
                      </a:lnTo>
                      <a:lnTo>
                        <a:pt x="357682" y="1300492"/>
                      </a:lnTo>
                      <a:lnTo>
                        <a:pt x="362077" y="1299222"/>
                      </a:lnTo>
                      <a:lnTo>
                        <a:pt x="359651" y="1303032"/>
                      </a:lnTo>
                      <a:lnTo>
                        <a:pt x="352463" y="1303032"/>
                      </a:lnTo>
                      <a:lnTo>
                        <a:pt x="353098" y="1301762"/>
                      </a:lnTo>
                      <a:lnTo>
                        <a:pt x="351637" y="1300492"/>
                      </a:lnTo>
                      <a:lnTo>
                        <a:pt x="345630" y="1295412"/>
                      </a:lnTo>
                      <a:lnTo>
                        <a:pt x="346036" y="1294142"/>
                      </a:lnTo>
                      <a:lnTo>
                        <a:pt x="346417" y="1291602"/>
                      </a:lnTo>
                      <a:lnTo>
                        <a:pt x="347040" y="1289062"/>
                      </a:lnTo>
                      <a:lnTo>
                        <a:pt x="346519" y="1283982"/>
                      </a:lnTo>
                      <a:lnTo>
                        <a:pt x="345554" y="1281442"/>
                      </a:lnTo>
                      <a:lnTo>
                        <a:pt x="344563" y="1276362"/>
                      </a:lnTo>
                      <a:lnTo>
                        <a:pt x="347980" y="1273822"/>
                      </a:lnTo>
                      <a:lnTo>
                        <a:pt x="349135" y="1272552"/>
                      </a:lnTo>
                      <a:lnTo>
                        <a:pt x="350393" y="1275092"/>
                      </a:lnTo>
                      <a:lnTo>
                        <a:pt x="349542" y="1275092"/>
                      </a:lnTo>
                      <a:lnTo>
                        <a:pt x="353987" y="1276362"/>
                      </a:lnTo>
                      <a:lnTo>
                        <a:pt x="357873" y="1278902"/>
                      </a:lnTo>
                      <a:lnTo>
                        <a:pt x="363994" y="1281442"/>
                      </a:lnTo>
                      <a:lnTo>
                        <a:pt x="372948" y="1281442"/>
                      </a:lnTo>
                      <a:lnTo>
                        <a:pt x="376542" y="1280172"/>
                      </a:lnTo>
                      <a:lnTo>
                        <a:pt x="378371" y="1278902"/>
                      </a:lnTo>
                      <a:lnTo>
                        <a:pt x="383578" y="1276362"/>
                      </a:lnTo>
                      <a:lnTo>
                        <a:pt x="385978" y="1276362"/>
                      </a:lnTo>
                      <a:lnTo>
                        <a:pt x="386702" y="1272552"/>
                      </a:lnTo>
                      <a:lnTo>
                        <a:pt x="386956" y="1271282"/>
                      </a:lnTo>
                      <a:lnTo>
                        <a:pt x="386118" y="1271282"/>
                      </a:lnTo>
                      <a:lnTo>
                        <a:pt x="384200" y="1268742"/>
                      </a:lnTo>
                      <a:lnTo>
                        <a:pt x="382244" y="1264932"/>
                      </a:lnTo>
                      <a:lnTo>
                        <a:pt x="383768" y="1266202"/>
                      </a:lnTo>
                      <a:lnTo>
                        <a:pt x="384022" y="1264932"/>
                      </a:lnTo>
                      <a:lnTo>
                        <a:pt x="384276" y="1263662"/>
                      </a:lnTo>
                      <a:lnTo>
                        <a:pt x="384530" y="1262392"/>
                      </a:lnTo>
                      <a:lnTo>
                        <a:pt x="385191" y="1258582"/>
                      </a:lnTo>
                      <a:lnTo>
                        <a:pt x="385521" y="1257312"/>
                      </a:lnTo>
                      <a:lnTo>
                        <a:pt x="385876" y="1258582"/>
                      </a:lnTo>
                      <a:lnTo>
                        <a:pt x="387210" y="1257312"/>
                      </a:lnTo>
                      <a:lnTo>
                        <a:pt x="388366" y="1256042"/>
                      </a:lnTo>
                      <a:lnTo>
                        <a:pt x="389026" y="1250962"/>
                      </a:lnTo>
                      <a:lnTo>
                        <a:pt x="389305" y="1250962"/>
                      </a:lnTo>
                      <a:lnTo>
                        <a:pt x="388772" y="1249692"/>
                      </a:lnTo>
                      <a:lnTo>
                        <a:pt x="388124" y="1249692"/>
                      </a:lnTo>
                      <a:lnTo>
                        <a:pt x="387451" y="1249235"/>
                      </a:lnTo>
                      <a:lnTo>
                        <a:pt x="387451" y="1250962"/>
                      </a:lnTo>
                      <a:lnTo>
                        <a:pt x="387057" y="1250962"/>
                      </a:lnTo>
                      <a:lnTo>
                        <a:pt x="385851" y="1249692"/>
                      </a:lnTo>
                      <a:lnTo>
                        <a:pt x="387438" y="1249692"/>
                      </a:lnTo>
                      <a:lnTo>
                        <a:pt x="387451" y="1250962"/>
                      </a:lnTo>
                      <a:lnTo>
                        <a:pt x="387451" y="1249235"/>
                      </a:lnTo>
                      <a:lnTo>
                        <a:pt x="386257" y="1248422"/>
                      </a:lnTo>
                      <a:lnTo>
                        <a:pt x="385127" y="1249692"/>
                      </a:lnTo>
                      <a:lnTo>
                        <a:pt x="384302" y="1240802"/>
                      </a:lnTo>
                      <a:lnTo>
                        <a:pt x="397065" y="1243342"/>
                      </a:lnTo>
                      <a:lnTo>
                        <a:pt x="400545" y="1244612"/>
                      </a:lnTo>
                      <a:lnTo>
                        <a:pt x="409346" y="1243342"/>
                      </a:lnTo>
                      <a:lnTo>
                        <a:pt x="413715" y="1243342"/>
                      </a:lnTo>
                      <a:lnTo>
                        <a:pt x="426466" y="1240802"/>
                      </a:lnTo>
                      <a:lnTo>
                        <a:pt x="446722" y="1234452"/>
                      </a:lnTo>
                      <a:lnTo>
                        <a:pt x="449694" y="1233182"/>
                      </a:lnTo>
                      <a:lnTo>
                        <a:pt x="452272" y="1229372"/>
                      </a:lnTo>
                      <a:lnTo>
                        <a:pt x="454482" y="1225562"/>
                      </a:lnTo>
                      <a:lnTo>
                        <a:pt x="456628" y="1223022"/>
                      </a:lnTo>
                      <a:lnTo>
                        <a:pt x="464045" y="1212862"/>
                      </a:lnTo>
                      <a:lnTo>
                        <a:pt x="466267" y="1210322"/>
                      </a:lnTo>
                      <a:lnTo>
                        <a:pt x="465950" y="1207782"/>
                      </a:lnTo>
                      <a:lnTo>
                        <a:pt x="466115" y="1202702"/>
                      </a:lnTo>
                      <a:lnTo>
                        <a:pt x="466166" y="1201432"/>
                      </a:lnTo>
                      <a:lnTo>
                        <a:pt x="464566" y="1200162"/>
                      </a:lnTo>
                      <a:lnTo>
                        <a:pt x="464731" y="1201432"/>
                      </a:lnTo>
                      <a:lnTo>
                        <a:pt x="461149" y="1200162"/>
                      </a:lnTo>
                      <a:lnTo>
                        <a:pt x="457784" y="1197622"/>
                      </a:lnTo>
                      <a:lnTo>
                        <a:pt x="457657" y="1196352"/>
                      </a:lnTo>
                      <a:lnTo>
                        <a:pt x="455955" y="1190002"/>
                      </a:lnTo>
                      <a:lnTo>
                        <a:pt x="457073" y="1190002"/>
                      </a:lnTo>
                      <a:lnTo>
                        <a:pt x="459765" y="1184922"/>
                      </a:lnTo>
                      <a:lnTo>
                        <a:pt x="458635" y="1183652"/>
                      </a:lnTo>
                      <a:lnTo>
                        <a:pt x="456031" y="1181112"/>
                      </a:lnTo>
                      <a:lnTo>
                        <a:pt x="450723" y="1177302"/>
                      </a:lnTo>
                      <a:lnTo>
                        <a:pt x="447243" y="1176032"/>
                      </a:lnTo>
                      <a:lnTo>
                        <a:pt x="443915" y="1173492"/>
                      </a:lnTo>
                      <a:lnTo>
                        <a:pt x="443242" y="1174762"/>
                      </a:lnTo>
                      <a:lnTo>
                        <a:pt x="442023" y="1176032"/>
                      </a:lnTo>
                      <a:lnTo>
                        <a:pt x="438429" y="1176032"/>
                      </a:lnTo>
                      <a:lnTo>
                        <a:pt x="436689" y="1174762"/>
                      </a:lnTo>
                      <a:lnTo>
                        <a:pt x="436689" y="1169682"/>
                      </a:lnTo>
                      <a:lnTo>
                        <a:pt x="438061" y="1168412"/>
                      </a:lnTo>
                      <a:lnTo>
                        <a:pt x="439851" y="1168412"/>
                      </a:lnTo>
                      <a:lnTo>
                        <a:pt x="439407" y="1167142"/>
                      </a:lnTo>
                      <a:lnTo>
                        <a:pt x="437616" y="1162062"/>
                      </a:lnTo>
                      <a:lnTo>
                        <a:pt x="440270" y="1159522"/>
                      </a:lnTo>
                      <a:lnTo>
                        <a:pt x="440715" y="1159522"/>
                      </a:lnTo>
                      <a:lnTo>
                        <a:pt x="441007" y="1158252"/>
                      </a:lnTo>
                      <a:lnTo>
                        <a:pt x="441337" y="1155712"/>
                      </a:lnTo>
                      <a:lnTo>
                        <a:pt x="441490" y="1151902"/>
                      </a:lnTo>
                      <a:lnTo>
                        <a:pt x="442709" y="1150632"/>
                      </a:lnTo>
                      <a:lnTo>
                        <a:pt x="443649" y="1149362"/>
                      </a:lnTo>
                      <a:lnTo>
                        <a:pt x="444182" y="1148092"/>
                      </a:lnTo>
                      <a:lnTo>
                        <a:pt x="445096" y="1148092"/>
                      </a:lnTo>
                      <a:lnTo>
                        <a:pt x="446976" y="1145552"/>
                      </a:lnTo>
                      <a:lnTo>
                        <a:pt x="445655" y="1143012"/>
                      </a:lnTo>
                      <a:lnTo>
                        <a:pt x="444461" y="1139202"/>
                      </a:lnTo>
                      <a:lnTo>
                        <a:pt x="444373" y="1135392"/>
                      </a:lnTo>
                      <a:lnTo>
                        <a:pt x="444449" y="1131582"/>
                      </a:lnTo>
                      <a:lnTo>
                        <a:pt x="444449" y="1130312"/>
                      </a:lnTo>
                      <a:lnTo>
                        <a:pt x="444271" y="1130312"/>
                      </a:lnTo>
                      <a:lnTo>
                        <a:pt x="444296" y="1129042"/>
                      </a:lnTo>
                      <a:lnTo>
                        <a:pt x="444588" y="1127772"/>
                      </a:lnTo>
                      <a:lnTo>
                        <a:pt x="446024" y="1127772"/>
                      </a:lnTo>
                      <a:lnTo>
                        <a:pt x="446824" y="1126502"/>
                      </a:lnTo>
                      <a:lnTo>
                        <a:pt x="446608" y="1123962"/>
                      </a:lnTo>
                      <a:lnTo>
                        <a:pt x="446824" y="1122692"/>
                      </a:lnTo>
                      <a:lnTo>
                        <a:pt x="447357" y="1120152"/>
                      </a:lnTo>
                      <a:lnTo>
                        <a:pt x="447649" y="1120152"/>
                      </a:lnTo>
                      <a:lnTo>
                        <a:pt x="448818" y="1117612"/>
                      </a:lnTo>
                      <a:lnTo>
                        <a:pt x="449084" y="1115072"/>
                      </a:lnTo>
                      <a:lnTo>
                        <a:pt x="449732" y="1112532"/>
                      </a:lnTo>
                      <a:lnTo>
                        <a:pt x="449618" y="1111262"/>
                      </a:lnTo>
                      <a:lnTo>
                        <a:pt x="449402" y="1109992"/>
                      </a:lnTo>
                      <a:lnTo>
                        <a:pt x="448691" y="1108722"/>
                      </a:lnTo>
                      <a:lnTo>
                        <a:pt x="448754" y="1107452"/>
                      </a:lnTo>
                      <a:lnTo>
                        <a:pt x="449414" y="1104912"/>
                      </a:lnTo>
                      <a:lnTo>
                        <a:pt x="450227" y="1104912"/>
                      </a:lnTo>
                      <a:lnTo>
                        <a:pt x="450926" y="1103642"/>
                      </a:lnTo>
                      <a:lnTo>
                        <a:pt x="451739" y="1102372"/>
                      </a:lnTo>
                      <a:lnTo>
                        <a:pt x="452653" y="1102372"/>
                      </a:lnTo>
                      <a:lnTo>
                        <a:pt x="452958" y="1101102"/>
                      </a:lnTo>
                      <a:lnTo>
                        <a:pt x="453567" y="1101102"/>
                      </a:lnTo>
                      <a:lnTo>
                        <a:pt x="458203" y="1096022"/>
                      </a:lnTo>
                      <a:lnTo>
                        <a:pt x="462610" y="1092212"/>
                      </a:lnTo>
                      <a:lnTo>
                        <a:pt x="468528" y="1084592"/>
                      </a:lnTo>
                      <a:lnTo>
                        <a:pt x="470408" y="1082052"/>
                      </a:lnTo>
                      <a:lnTo>
                        <a:pt x="472732" y="1079512"/>
                      </a:lnTo>
                      <a:lnTo>
                        <a:pt x="474065" y="1078242"/>
                      </a:lnTo>
                      <a:lnTo>
                        <a:pt x="476961" y="1075702"/>
                      </a:lnTo>
                      <a:lnTo>
                        <a:pt x="479336" y="1074432"/>
                      </a:lnTo>
                      <a:lnTo>
                        <a:pt x="479907" y="1074432"/>
                      </a:lnTo>
                      <a:lnTo>
                        <a:pt x="479729" y="1073162"/>
                      </a:lnTo>
                      <a:lnTo>
                        <a:pt x="478866" y="1071892"/>
                      </a:lnTo>
                      <a:lnTo>
                        <a:pt x="479310" y="1070622"/>
                      </a:lnTo>
                      <a:lnTo>
                        <a:pt x="480136" y="1070622"/>
                      </a:lnTo>
                      <a:lnTo>
                        <a:pt x="481215" y="1069352"/>
                      </a:lnTo>
                      <a:lnTo>
                        <a:pt x="483806" y="1069352"/>
                      </a:lnTo>
                      <a:lnTo>
                        <a:pt x="484327" y="1068082"/>
                      </a:lnTo>
                      <a:lnTo>
                        <a:pt x="484657" y="1068082"/>
                      </a:lnTo>
                      <a:lnTo>
                        <a:pt x="486295" y="1066812"/>
                      </a:lnTo>
                      <a:lnTo>
                        <a:pt x="487603" y="1065542"/>
                      </a:lnTo>
                      <a:lnTo>
                        <a:pt x="490321" y="1063002"/>
                      </a:lnTo>
                      <a:lnTo>
                        <a:pt x="491109" y="1061732"/>
                      </a:lnTo>
                      <a:lnTo>
                        <a:pt x="491896" y="1060462"/>
                      </a:lnTo>
                      <a:lnTo>
                        <a:pt x="497662" y="1059192"/>
                      </a:lnTo>
                      <a:lnTo>
                        <a:pt x="505853" y="1055382"/>
                      </a:lnTo>
                      <a:lnTo>
                        <a:pt x="506336" y="1055382"/>
                      </a:lnTo>
                      <a:lnTo>
                        <a:pt x="506603" y="1054112"/>
                      </a:lnTo>
                      <a:lnTo>
                        <a:pt x="506844" y="1054112"/>
                      </a:lnTo>
                      <a:lnTo>
                        <a:pt x="507187" y="1052842"/>
                      </a:lnTo>
                      <a:lnTo>
                        <a:pt x="507568" y="1051572"/>
                      </a:lnTo>
                      <a:lnTo>
                        <a:pt x="507758" y="1051572"/>
                      </a:lnTo>
                      <a:lnTo>
                        <a:pt x="508241" y="1049032"/>
                      </a:lnTo>
                      <a:lnTo>
                        <a:pt x="508711" y="1046492"/>
                      </a:lnTo>
                      <a:lnTo>
                        <a:pt x="509892" y="1042682"/>
                      </a:lnTo>
                      <a:close/>
                    </a:path>
                    <a:path w="2105025" h="1483995">
                      <a:moveTo>
                        <a:pt x="1020711" y="246684"/>
                      </a:moveTo>
                      <a:lnTo>
                        <a:pt x="1019873" y="247002"/>
                      </a:lnTo>
                      <a:lnTo>
                        <a:pt x="1019492" y="247383"/>
                      </a:lnTo>
                      <a:lnTo>
                        <a:pt x="1015987" y="249313"/>
                      </a:lnTo>
                      <a:lnTo>
                        <a:pt x="1018146" y="248488"/>
                      </a:lnTo>
                      <a:lnTo>
                        <a:pt x="1019822" y="249961"/>
                      </a:lnTo>
                      <a:lnTo>
                        <a:pt x="1020152" y="248894"/>
                      </a:lnTo>
                      <a:lnTo>
                        <a:pt x="1020648" y="247815"/>
                      </a:lnTo>
                      <a:lnTo>
                        <a:pt x="1020711" y="246684"/>
                      </a:lnTo>
                      <a:close/>
                    </a:path>
                    <a:path w="2105025" h="1483995">
                      <a:moveTo>
                        <a:pt x="1024267" y="232346"/>
                      </a:moveTo>
                      <a:lnTo>
                        <a:pt x="1022731" y="231355"/>
                      </a:lnTo>
                      <a:lnTo>
                        <a:pt x="1021816" y="230771"/>
                      </a:lnTo>
                      <a:lnTo>
                        <a:pt x="1019683" y="231406"/>
                      </a:lnTo>
                      <a:lnTo>
                        <a:pt x="1019390" y="233705"/>
                      </a:lnTo>
                      <a:lnTo>
                        <a:pt x="1021765" y="236016"/>
                      </a:lnTo>
                      <a:lnTo>
                        <a:pt x="1022680" y="236156"/>
                      </a:lnTo>
                      <a:lnTo>
                        <a:pt x="1022997" y="234988"/>
                      </a:lnTo>
                      <a:lnTo>
                        <a:pt x="1024267" y="232346"/>
                      </a:lnTo>
                      <a:close/>
                    </a:path>
                    <a:path w="2105025" h="1483995">
                      <a:moveTo>
                        <a:pt x="1035735" y="240080"/>
                      </a:moveTo>
                      <a:lnTo>
                        <a:pt x="1025753" y="241312"/>
                      </a:lnTo>
                      <a:lnTo>
                        <a:pt x="1030592" y="244195"/>
                      </a:lnTo>
                      <a:lnTo>
                        <a:pt x="1035735" y="240080"/>
                      </a:lnTo>
                      <a:close/>
                    </a:path>
                    <a:path w="2105025" h="1483995">
                      <a:moveTo>
                        <a:pt x="1038390" y="169557"/>
                      </a:moveTo>
                      <a:lnTo>
                        <a:pt x="1036980" y="169633"/>
                      </a:lnTo>
                      <a:lnTo>
                        <a:pt x="1036116" y="168567"/>
                      </a:lnTo>
                      <a:lnTo>
                        <a:pt x="1033691" y="168211"/>
                      </a:lnTo>
                      <a:lnTo>
                        <a:pt x="1031455" y="168668"/>
                      </a:lnTo>
                      <a:lnTo>
                        <a:pt x="1030287" y="168833"/>
                      </a:lnTo>
                      <a:lnTo>
                        <a:pt x="1030909" y="170586"/>
                      </a:lnTo>
                      <a:lnTo>
                        <a:pt x="1033145" y="171030"/>
                      </a:lnTo>
                      <a:lnTo>
                        <a:pt x="1034707" y="171526"/>
                      </a:lnTo>
                      <a:lnTo>
                        <a:pt x="1035939" y="170891"/>
                      </a:lnTo>
                      <a:lnTo>
                        <a:pt x="1037259" y="170357"/>
                      </a:lnTo>
                      <a:lnTo>
                        <a:pt x="1038390" y="169557"/>
                      </a:lnTo>
                      <a:close/>
                    </a:path>
                    <a:path w="2105025" h="1483995">
                      <a:moveTo>
                        <a:pt x="1044752" y="489496"/>
                      </a:moveTo>
                      <a:lnTo>
                        <a:pt x="1043927" y="489445"/>
                      </a:lnTo>
                      <a:lnTo>
                        <a:pt x="1043089" y="489635"/>
                      </a:lnTo>
                      <a:lnTo>
                        <a:pt x="1042301" y="489915"/>
                      </a:lnTo>
                      <a:lnTo>
                        <a:pt x="1042695" y="490245"/>
                      </a:lnTo>
                      <a:lnTo>
                        <a:pt x="1043216" y="490613"/>
                      </a:lnTo>
                      <a:lnTo>
                        <a:pt x="1043736" y="490778"/>
                      </a:lnTo>
                      <a:lnTo>
                        <a:pt x="1044143" y="490448"/>
                      </a:lnTo>
                      <a:lnTo>
                        <a:pt x="1044486" y="489940"/>
                      </a:lnTo>
                      <a:lnTo>
                        <a:pt x="1044752" y="489496"/>
                      </a:lnTo>
                      <a:close/>
                    </a:path>
                    <a:path w="2105025" h="1483995">
                      <a:moveTo>
                        <a:pt x="1046073" y="493763"/>
                      </a:moveTo>
                      <a:lnTo>
                        <a:pt x="1045540" y="493788"/>
                      </a:lnTo>
                      <a:lnTo>
                        <a:pt x="1045133" y="494169"/>
                      </a:lnTo>
                      <a:lnTo>
                        <a:pt x="1044778" y="494652"/>
                      </a:lnTo>
                      <a:lnTo>
                        <a:pt x="1045286" y="494474"/>
                      </a:lnTo>
                      <a:lnTo>
                        <a:pt x="1045756" y="494182"/>
                      </a:lnTo>
                      <a:lnTo>
                        <a:pt x="1046073" y="493763"/>
                      </a:lnTo>
                      <a:close/>
                    </a:path>
                    <a:path w="2105025" h="1483995">
                      <a:moveTo>
                        <a:pt x="1046264" y="235331"/>
                      </a:moveTo>
                      <a:lnTo>
                        <a:pt x="1045425" y="235877"/>
                      </a:lnTo>
                      <a:lnTo>
                        <a:pt x="1044359" y="235496"/>
                      </a:lnTo>
                      <a:lnTo>
                        <a:pt x="1042581" y="236181"/>
                      </a:lnTo>
                      <a:lnTo>
                        <a:pt x="1042492" y="236677"/>
                      </a:lnTo>
                      <a:lnTo>
                        <a:pt x="1039914" y="238658"/>
                      </a:lnTo>
                      <a:lnTo>
                        <a:pt x="1037767" y="238353"/>
                      </a:lnTo>
                      <a:lnTo>
                        <a:pt x="1035405" y="239026"/>
                      </a:lnTo>
                      <a:lnTo>
                        <a:pt x="1035278" y="239039"/>
                      </a:lnTo>
                      <a:lnTo>
                        <a:pt x="1035367" y="239280"/>
                      </a:lnTo>
                      <a:lnTo>
                        <a:pt x="1036840" y="241211"/>
                      </a:lnTo>
                      <a:lnTo>
                        <a:pt x="1037869" y="243243"/>
                      </a:lnTo>
                      <a:lnTo>
                        <a:pt x="1038593" y="244602"/>
                      </a:lnTo>
                      <a:lnTo>
                        <a:pt x="1041171" y="241541"/>
                      </a:lnTo>
                      <a:lnTo>
                        <a:pt x="1043876" y="238556"/>
                      </a:lnTo>
                      <a:lnTo>
                        <a:pt x="1046264" y="235331"/>
                      </a:lnTo>
                      <a:close/>
                    </a:path>
                    <a:path w="2105025" h="1483995">
                      <a:moveTo>
                        <a:pt x="1048016" y="496150"/>
                      </a:moveTo>
                      <a:lnTo>
                        <a:pt x="1046899" y="494741"/>
                      </a:lnTo>
                      <a:lnTo>
                        <a:pt x="1043432" y="495731"/>
                      </a:lnTo>
                      <a:lnTo>
                        <a:pt x="1045997" y="497344"/>
                      </a:lnTo>
                      <a:lnTo>
                        <a:pt x="1047076" y="497217"/>
                      </a:lnTo>
                      <a:lnTo>
                        <a:pt x="1048016" y="496150"/>
                      </a:lnTo>
                      <a:close/>
                    </a:path>
                    <a:path w="2105025" h="1483995">
                      <a:moveTo>
                        <a:pt x="1048054" y="486829"/>
                      </a:moveTo>
                      <a:lnTo>
                        <a:pt x="1047927" y="484860"/>
                      </a:lnTo>
                      <a:lnTo>
                        <a:pt x="1047457" y="484949"/>
                      </a:lnTo>
                      <a:lnTo>
                        <a:pt x="1045908" y="484746"/>
                      </a:lnTo>
                      <a:lnTo>
                        <a:pt x="1045857" y="485419"/>
                      </a:lnTo>
                      <a:lnTo>
                        <a:pt x="1045781" y="486600"/>
                      </a:lnTo>
                      <a:lnTo>
                        <a:pt x="1048054" y="486829"/>
                      </a:lnTo>
                      <a:close/>
                    </a:path>
                    <a:path w="2105025" h="1483995">
                      <a:moveTo>
                        <a:pt x="1049578" y="490994"/>
                      </a:moveTo>
                      <a:lnTo>
                        <a:pt x="1049553" y="490093"/>
                      </a:lnTo>
                      <a:lnTo>
                        <a:pt x="1048880" y="489864"/>
                      </a:lnTo>
                      <a:lnTo>
                        <a:pt x="1047940" y="490169"/>
                      </a:lnTo>
                      <a:lnTo>
                        <a:pt x="1048448" y="490512"/>
                      </a:lnTo>
                      <a:lnTo>
                        <a:pt x="1049020" y="490791"/>
                      </a:lnTo>
                      <a:lnTo>
                        <a:pt x="1049578" y="490994"/>
                      </a:lnTo>
                      <a:close/>
                    </a:path>
                    <a:path w="2105025" h="1483995">
                      <a:moveTo>
                        <a:pt x="1049705" y="495515"/>
                      </a:moveTo>
                      <a:lnTo>
                        <a:pt x="1049134" y="494919"/>
                      </a:lnTo>
                      <a:lnTo>
                        <a:pt x="1049045" y="495617"/>
                      </a:lnTo>
                      <a:lnTo>
                        <a:pt x="1049147" y="496366"/>
                      </a:lnTo>
                      <a:lnTo>
                        <a:pt x="1049274" y="497078"/>
                      </a:lnTo>
                      <a:lnTo>
                        <a:pt x="1049616" y="496316"/>
                      </a:lnTo>
                      <a:lnTo>
                        <a:pt x="1049705" y="495515"/>
                      </a:lnTo>
                      <a:close/>
                    </a:path>
                    <a:path w="2105025" h="1483995">
                      <a:moveTo>
                        <a:pt x="1052398" y="494144"/>
                      </a:moveTo>
                      <a:lnTo>
                        <a:pt x="1052042" y="494690"/>
                      </a:lnTo>
                      <a:lnTo>
                        <a:pt x="1051598" y="495325"/>
                      </a:lnTo>
                      <a:lnTo>
                        <a:pt x="1052144" y="494665"/>
                      </a:lnTo>
                      <a:lnTo>
                        <a:pt x="1052398" y="494144"/>
                      </a:lnTo>
                      <a:close/>
                    </a:path>
                    <a:path w="2105025" h="1483995">
                      <a:moveTo>
                        <a:pt x="1053109" y="494182"/>
                      </a:moveTo>
                      <a:lnTo>
                        <a:pt x="1053071" y="493382"/>
                      </a:lnTo>
                      <a:lnTo>
                        <a:pt x="1052499" y="493979"/>
                      </a:lnTo>
                      <a:lnTo>
                        <a:pt x="1053109" y="494182"/>
                      </a:lnTo>
                      <a:close/>
                    </a:path>
                    <a:path w="2105025" h="1483995">
                      <a:moveTo>
                        <a:pt x="1055789" y="488619"/>
                      </a:moveTo>
                      <a:lnTo>
                        <a:pt x="1054938" y="489115"/>
                      </a:lnTo>
                      <a:lnTo>
                        <a:pt x="1054061" y="489267"/>
                      </a:lnTo>
                      <a:lnTo>
                        <a:pt x="1053477" y="490004"/>
                      </a:lnTo>
                      <a:lnTo>
                        <a:pt x="1054315" y="489673"/>
                      </a:lnTo>
                      <a:lnTo>
                        <a:pt x="1055027" y="489115"/>
                      </a:lnTo>
                      <a:lnTo>
                        <a:pt x="1055789" y="488619"/>
                      </a:lnTo>
                      <a:close/>
                    </a:path>
                    <a:path w="2105025" h="1483995">
                      <a:moveTo>
                        <a:pt x="1058138" y="245135"/>
                      </a:moveTo>
                      <a:lnTo>
                        <a:pt x="1056513" y="241681"/>
                      </a:lnTo>
                      <a:lnTo>
                        <a:pt x="1056259" y="242811"/>
                      </a:lnTo>
                      <a:lnTo>
                        <a:pt x="1053566" y="241985"/>
                      </a:lnTo>
                      <a:lnTo>
                        <a:pt x="1052461" y="241935"/>
                      </a:lnTo>
                      <a:lnTo>
                        <a:pt x="1052830" y="243789"/>
                      </a:lnTo>
                      <a:lnTo>
                        <a:pt x="1050404" y="243814"/>
                      </a:lnTo>
                      <a:lnTo>
                        <a:pt x="1051064" y="247154"/>
                      </a:lnTo>
                      <a:lnTo>
                        <a:pt x="1052893" y="248373"/>
                      </a:lnTo>
                      <a:lnTo>
                        <a:pt x="1054227" y="248513"/>
                      </a:lnTo>
                      <a:lnTo>
                        <a:pt x="1057160" y="246481"/>
                      </a:lnTo>
                      <a:lnTo>
                        <a:pt x="1058138" y="245135"/>
                      </a:lnTo>
                      <a:close/>
                    </a:path>
                    <a:path w="2105025" h="1483995">
                      <a:moveTo>
                        <a:pt x="1080427" y="234429"/>
                      </a:moveTo>
                      <a:lnTo>
                        <a:pt x="1079538" y="232905"/>
                      </a:lnTo>
                      <a:lnTo>
                        <a:pt x="1078103" y="231762"/>
                      </a:lnTo>
                      <a:lnTo>
                        <a:pt x="1076375" y="231267"/>
                      </a:lnTo>
                      <a:lnTo>
                        <a:pt x="1076718" y="231863"/>
                      </a:lnTo>
                      <a:lnTo>
                        <a:pt x="1077137" y="232397"/>
                      </a:lnTo>
                      <a:lnTo>
                        <a:pt x="1077645" y="232867"/>
                      </a:lnTo>
                      <a:lnTo>
                        <a:pt x="1076464" y="233222"/>
                      </a:lnTo>
                      <a:lnTo>
                        <a:pt x="1076363" y="235102"/>
                      </a:lnTo>
                      <a:lnTo>
                        <a:pt x="1075232" y="237185"/>
                      </a:lnTo>
                      <a:lnTo>
                        <a:pt x="1074483" y="238226"/>
                      </a:lnTo>
                      <a:lnTo>
                        <a:pt x="1073137" y="241960"/>
                      </a:lnTo>
                      <a:lnTo>
                        <a:pt x="1072438" y="241782"/>
                      </a:lnTo>
                      <a:lnTo>
                        <a:pt x="1069632" y="243382"/>
                      </a:lnTo>
                      <a:lnTo>
                        <a:pt x="1069835" y="243344"/>
                      </a:lnTo>
                      <a:lnTo>
                        <a:pt x="1070025" y="243370"/>
                      </a:lnTo>
                      <a:lnTo>
                        <a:pt x="1070838" y="243357"/>
                      </a:lnTo>
                      <a:lnTo>
                        <a:pt x="1071448" y="243471"/>
                      </a:lnTo>
                      <a:lnTo>
                        <a:pt x="1072070" y="243662"/>
                      </a:lnTo>
                      <a:lnTo>
                        <a:pt x="1075359" y="241871"/>
                      </a:lnTo>
                      <a:lnTo>
                        <a:pt x="1078014" y="241096"/>
                      </a:lnTo>
                      <a:lnTo>
                        <a:pt x="1079093" y="236867"/>
                      </a:lnTo>
                      <a:lnTo>
                        <a:pt x="1079474" y="235165"/>
                      </a:lnTo>
                      <a:lnTo>
                        <a:pt x="1079271" y="233984"/>
                      </a:lnTo>
                      <a:lnTo>
                        <a:pt x="1079639" y="234175"/>
                      </a:lnTo>
                      <a:lnTo>
                        <a:pt x="1080020" y="234315"/>
                      </a:lnTo>
                      <a:lnTo>
                        <a:pt x="1080427" y="234429"/>
                      </a:lnTo>
                      <a:close/>
                    </a:path>
                    <a:path w="2105025" h="1483995">
                      <a:moveTo>
                        <a:pt x="1085583" y="224955"/>
                      </a:moveTo>
                      <a:lnTo>
                        <a:pt x="1080503" y="227609"/>
                      </a:lnTo>
                      <a:lnTo>
                        <a:pt x="1079754" y="227190"/>
                      </a:lnTo>
                      <a:lnTo>
                        <a:pt x="1080084" y="231355"/>
                      </a:lnTo>
                      <a:lnTo>
                        <a:pt x="1081290" y="229260"/>
                      </a:lnTo>
                      <a:lnTo>
                        <a:pt x="1083627" y="230098"/>
                      </a:lnTo>
                      <a:lnTo>
                        <a:pt x="1084605" y="227660"/>
                      </a:lnTo>
                      <a:lnTo>
                        <a:pt x="1084884" y="226961"/>
                      </a:lnTo>
                      <a:lnTo>
                        <a:pt x="1085583" y="224955"/>
                      </a:lnTo>
                      <a:close/>
                    </a:path>
                    <a:path w="2105025" h="1483995">
                      <a:moveTo>
                        <a:pt x="1098397" y="548132"/>
                      </a:moveTo>
                      <a:lnTo>
                        <a:pt x="1098283" y="547712"/>
                      </a:lnTo>
                      <a:lnTo>
                        <a:pt x="1097762" y="545998"/>
                      </a:lnTo>
                      <a:lnTo>
                        <a:pt x="1094600" y="546658"/>
                      </a:lnTo>
                      <a:lnTo>
                        <a:pt x="1092796" y="546569"/>
                      </a:lnTo>
                      <a:lnTo>
                        <a:pt x="1093419" y="547712"/>
                      </a:lnTo>
                      <a:lnTo>
                        <a:pt x="1096086" y="548703"/>
                      </a:lnTo>
                      <a:lnTo>
                        <a:pt x="1097305" y="549097"/>
                      </a:lnTo>
                      <a:lnTo>
                        <a:pt x="1097749" y="549249"/>
                      </a:lnTo>
                      <a:lnTo>
                        <a:pt x="1097140" y="550062"/>
                      </a:lnTo>
                      <a:lnTo>
                        <a:pt x="1097838" y="549770"/>
                      </a:lnTo>
                      <a:lnTo>
                        <a:pt x="1098270" y="549605"/>
                      </a:lnTo>
                      <a:lnTo>
                        <a:pt x="1098397" y="548132"/>
                      </a:lnTo>
                      <a:close/>
                    </a:path>
                    <a:path w="2105025" h="1483995">
                      <a:moveTo>
                        <a:pt x="1104773" y="453986"/>
                      </a:moveTo>
                      <a:lnTo>
                        <a:pt x="1104201" y="451726"/>
                      </a:lnTo>
                      <a:lnTo>
                        <a:pt x="1102017" y="443141"/>
                      </a:lnTo>
                      <a:lnTo>
                        <a:pt x="1102055" y="442925"/>
                      </a:lnTo>
                      <a:lnTo>
                        <a:pt x="1101864" y="442810"/>
                      </a:lnTo>
                      <a:lnTo>
                        <a:pt x="1100543" y="442036"/>
                      </a:lnTo>
                      <a:lnTo>
                        <a:pt x="1098473" y="440309"/>
                      </a:lnTo>
                      <a:lnTo>
                        <a:pt x="1096645" y="438937"/>
                      </a:lnTo>
                      <a:lnTo>
                        <a:pt x="1096276" y="438518"/>
                      </a:lnTo>
                      <a:lnTo>
                        <a:pt x="1095336" y="437603"/>
                      </a:lnTo>
                      <a:lnTo>
                        <a:pt x="1093495" y="435546"/>
                      </a:lnTo>
                      <a:lnTo>
                        <a:pt x="1092123" y="433146"/>
                      </a:lnTo>
                      <a:lnTo>
                        <a:pt x="1089774" y="431457"/>
                      </a:lnTo>
                      <a:lnTo>
                        <a:pt x="1088110" y="430669"/>
                      </a:lnTo>
                      <a:lnTo>
                        <a:pt x="1086891" y="429107"/>
                      </a:lnTo>
                      <a:lnTo>
                        <a:pt x="1086662" y="427545"/>
                      </a:lnTo>
                      <a:lnTo>
                        <a:pt x="1086281" y="426085"/>
                      </a:lnTo>
                      <a:lnTo>
                        <a:pt x="1083487" y="422681"/>
                      </a:lnTo>
                      <a:lnTo>
                        <a:pt x="1083322" y="422617"/>
                      </a:lnTo>
                      <a:lnTo>
                        <a:pt x="1083195" y="422617"/>
                      </a:lnTo>
                      <a:lnTo>
                        <a:pt x="1083068" y="422579"/>
                      </a:lnTo>
                      <a:lnTo>
                        <a:pt x="1081976" y="422516"/>
                      </a:lnTo>
                      <a:lnTo>
                        <a:pt x="1080770" y="422681"/>
                      </a:lnTo>
                      <a:lnTo>
                        <a:pt x="1080592" y="422668"/>
                      </a:lnTo>
                      <a:lnTo>
                        <a:pt x="1079652" y="422541"/>
                      </a:lnTo>
                      <a:lnTo>
                        <a:pt x="1079284" y="422516"/>
                      </a:lnTo>
                      <a:lnTo>
                        <a:pt x="1079080" y="422478"/>
                      </a:lnTo>
                      <a:lnTo>
                        <a:pt x="1078839" y="422351"/>
                      </a:lnTo>
                      <a:lnTo>
                        <a:pt x="1077163" y="421487"/>
                      </a:lnTo>
                      <a:lnTo>
                        <a:pt x="1077772" y="420166"/>
                      </a:lnTo>
                      <a:lnTo>
                        <a:pt x="1075956" y="419087"/>
                      </a:lnTo>
                      <a:lnTo>
                        <a:pt x="1074521" y="417753"/>
                      </a:lnTo>
                      <a:lnTo>
                        <a:pt x="1073188" y="416496"/>
                      </a:lnTo>
                      <a:lnTo>
                        <a:pt x="1072286" y="415544"/>
                      </a:lnTo>
                      <a:lnTo>
                        <a:pt x="1069695" y="415442"/>
                      </a:lnTo>
                      <a:lnTo>
                        <a:pt x="1067511" y="415442"/>
                      </a:lnTo>
                      <a:lnTo>
                        <a:pt x="1065314" y="415544"/>
                      </a:lnTo>
                      <a:lnTo>
                        <a:pt x="1061021" y="414921"/>
                      </a:lnTo>
                      <a:lnTo>
                        <a:pt x="1059675" y="415734"/>
                      </a:lnTo>
                      <a:lnTo>
                        <a:pt x="1055852" y="416547"/>
                      </a:lnTo>
                      <a:lnTo>
                        <a:pt x="1053477" y="417550"/>
                      </a:lnTo>
                      <a:lnTo>
                        <a:pt x="1050239" y="417639"/>
                      </a:lnTo>
                      <a:lnTo>
                        <a:pt x="1048346" y="417753"/>
                      </a:lnTo>
                      <a:lnTo>
                        <a:pt x="1047203" y="417550"/>
                      </a:lnTo>
                      <a:lnTo>
                        <a:pt x="1046480" y="417398"/>
                      </a:lnTo>
                      <a:lnTo>
                        <a:pt x="1046949" y="416496"/>
                      </a:lnTo>
                      <a:lnTo>
                        <a:pt x="1043063" y="417588"/>
                      </a:lnTo>
                      <a:lnTo>
                        <a:pt x="1041552" y="421360"/>
                      </a:lnTo>
                      <a:lnTo>
                        <a:pt x="1040218" y="423951"/>
                      </a:lnTo>
                      <a:lnTo>
                        <a:pt x="1040638" y="424167"/>
                      </a:lnTo>
                      <a:lnTo>
                        <a:pt x="1034376" y="436956"/>
                      </a:lnTo>
                      <a:lnTo>
                        <a:pt x="1033005" y="439724"/>
                      </a:lnTo>
                      <a:lnTo>
                        <a:pt x="1029919" y="442036"/>
                      </a:lnTo>
                      <a:lnTo>
                        <a:pt x="1027823" y="442277"/>
                      </a:lnTo>
                      <a:lnTo>
                        <a:pt x="1026274" y="443141"/>
                      </a:lnTo>
                      <a:lnTo>
                        <a:pt x="1026706" y="443585"/>
                      </a:lnTo>
                      <a:lnTo>
                        <a:pt x="1027099" y="444030"/>
                      </a:lnTo>
                      <a:lnTo>
                        <a:pt x="1027480" y="444512"/>
                      </a:lnTo>
                      <a:lnTo>
                        <a:pt x="1027404" y="442810"/>
                      </a:lnTo>
                      <a:lnTo>
                        <a:pt x="1028928" y="443306"/>
                      </a:lnTo>
                      <a:lnTo>
                        <a:pt x="1032230" y="444855"/>
                      </a:lnTo>
                      <a:lnTo>
                        <a:pt x="1033462" y="447662"/>
                      </a:lnTo>
                      <a:lnTo>
                        <a:pt x="1036421" y="452069"/>
                      </a:lnTo>
                      <a:lnTo>
                        <a:pt x="1036535" y="453542"/>
                      </a:lnTo>
                      <a:lnTo>
                        <a:pt x="1037056" y="455612"/>
                      </a:lnTo>
                      <a:lnTo>
                        <a:pt x="1037031" y="453821"/>
                      </a:lnTo>
                      <a:lnTo>
                        <a:pt x="1038834" y="454075"/>
                      </a:lnTo>
                      <a:lnTo>
                        <a:pt x="1039266" y="453821"/>
                      </a:lnTo>
                      <a:lnTo>
                        <a:pt x="1040218" y="452907"/>
                      </a:lnTo>
                      <a:lnTo>
                        <a:pt x="1041755" y="452005"/>
                      </a:lnTo>
                      <a:lnTo>
                        <a:pt x="1042974" y="451726"/>
                      </a:lnTo>
                      <a:lnTo>
                        <a:pt x="1039317" y="453796"/>
                      </a:lnTo>
                      <a:lnTo>
                        <a:pt x="1039228" y="453986"/>
                      </a:lnTo>
                      <a:lnTo>
                        <a:pt x="1104773" y="453986"/>
                      </a:lnTo>
                      <a:close/>
                    </a:path>
                    <a:path w="2105025" h="1483995">
                      <a:moveTo>
                        <a:pt x="1187818" y="502259"/>
                      </a:moveTo>
                      <a:lnTo>
                        <a:pt x="1187704" y="501624"/>
                      </a:lnTo>
                      <a:lnTo>
                        <a:pt x="1186446" y="502259"/>
                      </a:lnTo>
                      <a:lnTo>
                        <a:pt x="1187818" y="502259"/>
                      </a:lnTo>
                      <a:close/>
                    </a:path>
                    <a:path w="2105025" h="1483995">
                      <a:moveTo>
                        <a:pt x="1211326" y="582295"/>
                      </a:moveTo>
                      <a:lnTo>
                        <a:pt x="1209852" y="582396"/>
                      </a:lnTo>
                      <a:lnTo>
                        <a:pt x="1208735" y="582218"/>
                      </a:lnTo>
                      <a:lnTo>
                        <a:pt x="1209001" y="583666"/>
                      </a:lnTo>
                      <a:lnTo>
                        <a:pt x="1211148" y="582396"/>
                      </a:lnTo>
                      <a:lnTo>
                        <a:pt x="1211326" y="582295"/>
                      </a:lnTo>
                      <a:close/>
                    </a:path>
                    <a:path w="2105025" h="1483995">
                      <a:moveTo>
                        <a:pt x="1317472" y="366039"/>
                      </a:moveTo>
                      <a:close/>
                    </a:path>
                    <a:path w="2105025" h="1483995">
                      <a:moveTo>
                        <a:pt x="1319314" y="479031"/>
                      </a:moveTo>
                      <a:lnTo>
                        <a:pt x="1318196" y="477812"/>
                      </a:lnTo>
                      <a:lnTo>
                        <a:pt x="1317866" y="477634"/>
                      </a:lnTo>
                      <a:lnTo>
                        <a:pt x="1317510" y="477583"/>
                      </a:lnTo>
                      <a:lnTo>
                        <a:pt x="1316177" y="478205"/>
                      </a:lnTo>
                      <a:lnTo>
                        <a:pt x="1315237" y="478548"/>
                      </a:lnTo>
                      <a:lnTo>
                        <a:pt x="1313637" y="479031"/>
                      </a:lnTo>
                      <a:lnTo>
                        <a:pt x="1319314" y="479031"/>
                      </a:lnTo>
                      <a:close/>
                    </a:path>
                    <a:path w="2105025" h="1483995">
                      <a:moveTo>
                        <a:pt x="1374013" y="650151"/>
                      </a:moveTo>
                      <a:lnTo>
                        <a:pt x="1372298" y="649719"/>
                      </a:lnTo>
                      <a:lnTo>
                        <a:pt x="1370939" y="650748"/>
                      </a:lnTo>
                      <a:lnTo>
                        <a:pt x="1369301" y="651979"/>
                      </a:lnTo>
                      <a:lnTo>
                        <a:pt x="1370190" y="653643"/>
                      </a:lnTo>
                      <a:lnTo>
                        <a:pt x="1370609" y="655510"/>
                      </a:lnTo>
                      <a:lnTo>
                        <a:pt x="1371815" y="654786"/>
                      </a:lnTo>
                      <a:lnTo>
                        <a:pt x="1373898" y="653376"/>
                      </a:lnTo>
                      <a:lnTo>
                        <a:pt x="1373962" y="651776"/>
                      </a:lnTo>
                      <a:lnTo>
                        <a:pt x="1374013" y="650151"/>
                      </a:lnTo>
                      <a:close/>
                    </a:path>
                    <a:path w="2105025" h="1483995">
                      <a:moveTo>
                        <a:pt x="1375575" y="593877"/>
                      </a:moveTo>
                      <a:lnTo>
                        <a:pt x="1374940" y="593598"/>
                      </a:lnTo>
                      <a:lnTo>
                        <a:pt x="1375003" y="593877"/>
                      </a:lnTo>
                      <a:lnTo>
                        <a:pt x="1375575" y="593877"/>
                      </a:lnTo>
                      <a:close/>
                    </a:path>
                    <a:path w="2105025" h="1483995">
                      <a:moveTo>
                        <a:pt x="1403007" y="666686"/>
                      </a:moveTo>
                      <a:lnTo>
                        <a:pt x="1402651" y="664756"/>
                      </a:lnTo>
                      <a:lnTo>
                        <a:pt x="1401864" y="664121"/>
                      </a:lnTo>
                      <a:lnTo>
                        <a:pt x="1403007" y="666686"/>
                      </a:lnTo>
                      <a:close/>
                    </a:path>
                    <a:path w="2105025" h="1483995">
                      <a:moveTo>
                        <a:pt x="1403172" y="667080"/>
                      </a:moveTo>
                      <a:lnTo>
                        <a:pt x="1403007" y="666686"/>
                      </a:lnTo>
                      <a:lnTo>
                        <a:pt x="1403070" y="667042"/>
                      </a:lnTo>
                      <a:close/>
                    </a:path>
                    <a:path w="2105025" h="1483995">
                      <a:moveTo>
                        <a:pt x="1406232" y="600913"/>
                      </a:moveTo>
                      <a:lnTo>
                        <a:pt x="1402740" y="602919"/>
                      </a:lnTo>
                      <a:lnTo>
                        <a:pt x="1400657" y="603745"/>
                      </a:lnTo>
                      <a:lnTo>
                        <a:pt x="1400644" y="604012"/>
                      </a:lnTo>
                      <a:lnTo>
                        <a:pt x="1400175" y="606056"/>
                      </a:lnTo>
                      <a:lnTo>
                        <a:pt x="1399603" y="606513"/>
                      </a:lnTo>
                      <a:lnTo>
                        <a:pt x="1398752" y="605980"/>
                      </a:lnTo>
                      <a:lnTo>
                        <a:pt x="1397838" y="606793"/>
                      </a:lnTo>
                      <a:lnTo>
                        <a:pt x="1397546" y="608838"/>
                      </a:lnTo>
                      <a:lnTo>
                        <a:pt x="1398765" y="609206"/>
                      </a:lnTo>
                      <a:lnTo>
                        <a:pt x="1400937" y="610044"/>
                      </a:lnTo>
                      <a:lnTo>
                        <a:pt x="1402448" y="609549"/>
                      </a:lnTo>
                      <a:lnTo>
                        <a:pt x="1404607" y="605447"/>
                      </a:lnTo>
                      <a:lnTo>
                        <a:pt x="1406232" y="600913"/>
                      </a:lnTo>
                      <a:close/>
                    </a:path>
                    <a:path w="2105025" h="1483995">
                      <a:moveTo>
                        <a:pt x="1639506" y="913739"/>
                      </a:moveTo>
                      <a:lnTo>
                        <a:pt x="1638909" y="913180"/>
                      </a:lnTo>
                      <a:lnTo>
                        <a:pt x="1638541" y="912837"/>
                      </a:lnTo>
                      <a:lnTo>
                        <a:pt x="1637652" y="912075"/>
                      </a:lnTo>
                      <a:lnTo>
                        <a:pt x="1636814" y="911517"/>
                      </a:lnTo>
                      <a:lnTo>
                        <a:pt x="1635874" y="910717"/>
                      </a:lnTo>
                      <a:lnTo>
                        <a:pt x="1634921" y="909916"/>
                      </a:lnTo>
                      <a:lnTo>
                        <a:pt x="1634286" y="909688"/>
                      </a:lnTo>
                      <a:lnTo>
                        <a:pt x="1633626" y="909523"/>
                      </a:lnTo>
                      <a:lnTo>
                        <a:pt x="1631378" y="908773"/>
                      </a:lnTo>
                      <a:lnTo>
                        <a:pt x="1630934" y="908621"/>
                      </a:lnTo>
                      <a:lnTo>
                        <a:pt x="1627428" y="908773"/>
                      </a:lnTo>
                      <a:lnTo>
                        <a:pt x="1621282" y="908367"/>
                      </a:lnTo>
                      <a:lnTo>
                        <a:pt x="1617141" y="909878"/>
                      </a:lnTo>
                      <a:lnTo>
                        <a:pt x="1613268" y="910653"/>
                      </a:lnTo>
                      <a:lnTo>
                        <a:pt x="1613141" y="910539"/>
                      </a:lnTo>
                      <a:lnTo>
                        <a:pt x="1612468" y="910323"/>
                      </a:lnTo>
                      <a:lnTo>
                        <a:pt x="1610880" y="908583"/>
                      </a:lnTo>
                      <a:lnTo>
                        <a:pt x="1608201" y="906246"/>
                      </a:lnTo>
                      <a:lnTo>
                        <a:pt x="1602206" y="901001"/>
                      </a:lnTo>
                      <a:lnTo>
                        <a:pt x="1593634" y="893521"/>
                      </a:lnTo>
                      <a:lnTo>
                        <a:pt x="1592834" y="891527"/>
                      </a:lnTo>
                      <a:lnTo>
                        <a:pt x="1592326" y="888517"/>
                      </a:lnTo>
                      <a:lnTo>
                        <a:pt x="1592313" y="888301"/>
                      </a:lnTo>
                      <a:lnTo>
                        <a:pt x="1592033" y="886383"/>
                      </a:lnTo>
                      <a:lnTo>
                        <a:pt x="1592122" y="845527"/>
                      </a:lnTo>
                      <a:lnTo>
                        <a:pt x="1592021" y="843254"/>
                      </a:lnTo>
                      <a:lnTo>
                        <a:pt x="1592453" y="842746"/>
                      </a:lnTo>
                      <a:lnTo>
                        <a:pt x="1593430" y="842619"/>
                      </a:lnTo>
                      <a:lnTo>
                        <a:pt x="1594612" y="842606"/>
                      </a:lnTo>
                      <a:lnTo>
                        <a:pt x="1598168" y="842251"/>
                      </a:lnTo>
                      <a:lnTo>
                        <a:pt x="1604327" y="842886"/>
                      </a:lnTo>
                      <a:lnTo>
                        <a:pt x="1620723" y="842886"/>
                      </a:lnTo>
                      <a:lnTo>
                        <a:pt x="1620558" y="842251"/>
                      </a:lnTo>
                      <a:lnTo>
                        <a:pt x="1620240" y="841082"/>
                      </a:lnTo>
                      <a:lnTo>
                        <a:pt x="1618843" y="840879"/>
                      </a:lnTo>
                      <a:lnTo>
                        <a:pt x="1619694" y="838212"/>
                      </a:lnTo>
                      <a:lnTo>
                        <a:pt x="1619910" y="837438"/>
                      </a:lnTo>
                      <a:lnTo>
                        <a:pt x="1620596" y="836307"/>
                      </a:lnTo>
                      <a:lnTo>
                        <a:pt x="1620774" y="835914"/>
                      </a:lnTo>
                      <a:lnTo>
                        <a:pt x="1561960" y="835914"/>
                      </a:lnTo>
                      <a:lnTo>
                        <a:pt x="1561960" y="914069"/>
                      </a:lnTo>
                      <a:lnTo>
                        <a:pt x="1561668" y="914069"/>
                      </a:lnTo>
                      <a:lnTo>
                        <a:pt x="1561960" y="914069"/>
                      </a:lnTo>
                      <a:lnTo>
                        <a:pt x="1561960" y="835914"/>
                      </a:lnTo>
                      <a:lnTo>
                        <a:pt x="1559509" y="835914"/>
                      </a:lnTo>
                      <a:lnTo>
                        <a:pt x="1559509" y="913930"/>
                      </a:lnTo>
                      <a:lnTo>
                        <a:pt x="1558810" y="913879"/>
                      </a:lnTo>
                      <a:lnTo>
                        <a:pt x="1559496" y="913917"/>
                      </a:lnTo>
                      <a:lnTo>
                        <a:pt x="1559509" y="835914"/>
                      </a:lnTo>
                      <a:lnTo>
                        <a:pt x="1558036" y="835914"/>
                      </a:lnTo>
                      <a:lnTo>
                        <a:pt x="1558036" y="913828"/>
                      </a:lnTo>
                      <a:lnTo>
                        <a:pt x="1556766" y="913765"/>
                      </a:lnTo>
                      <a:lnTo>
                        <a:pt x="1557350" y="913777"/>
                      </a:lnTo>
                      <a:lnTo>
                        <a:pt x="1558036" y="913828"/>
                      </a:lnTo>
                      <a:lnTo>
                        <a:pt x="1558036" y="835914"/>
                      </a:lnTo>
                      <a:lnTo>
                        <a:pt x="1554556" y="835914"/>
                      </a:lnTo>
                      <a:lnTo>
                        <a:pt x="1554556" y="913701"/>
                      </a:lnTo>
                      <a:lnTo>
                        <a:pt x="1552994" y="913650"/>
                      </a:lnTo>
                      <a:lnTo>
                        <a:pt x="1552549" y="913638"/>
                      </a:lnTo>
                      <a:lnTo>
                        <a:pt x="1552371" y="913650"/>
                      </a:lnTo>
                      <a:lnTo>
                        <a:pt x="1552549" y="913638"/>
                      </a:lnTo>
                      <a:lnTo>
                        <a:pt x="1553337" y="913638"/>
                      </a:lnTo>
                      <a:lnTo>
                        <a:pt x="1554556" y="913701"/>
                      </a:lnTo>
                      <a:lnTo>
                        <a:pt x="1554556" y="835914"/>
                      </a:lnTo>
                      <a:lnTo>
                        <a:pt x="1549425" y="835914"/>
                      </a:lnTo>
                      <a:lnTo>
                        <a:pt x="1549425" y="913625"/>
                      </a:lnTo>
                      <a:lnTo>
                        <a:pt x="1548041" y="913180"/>
                      </a:lnTo>
                      <a:lnTo>
                        <a:pt x="1549412" y="913612"/>
                      </a:lnTo>
                      <a:lnTo>
                        <a:pt x="1549425" y="835914"/>
                      </a:lnTo>
                      <a:lnTo>
                        <a:pt x="1543951" y="835914"/>
                      </a:lnTo>
                      <a:lnTo>
                        <a:pt x="1543951" y="910183"/>
                      </a:lnTo>
                      <a:lnTo>
                        <a:pt x="1543748" y="910018"/>
                      </a:lnTo>
                      <a:lnTo>
                        <a:pt x="1543875" y="910107"/>
                      </a:lnTo>
                      <a:lnTo>
                        <a:pt x="1543951" y="835914"/>
                      </a:lnTo>
                      <a:lnTo>
                        <a:pt x="1539557" y="835914"/>
                      </a:lnTo>
                      <a:lnTo>
                        <a:pt x="1539557" y="906246"/>
                      </a:lnTo>
                      <a:lnTo>
                        <a:pt x="1535049" y="907072"/>
                      </a:lnTo>
                      <a:lnTo>
                        <a:pt x="1533931" y="907110"/>
                      </a:lnTo>
                      <a:lnTo>
                        <a:pt x="1535036" y="907072"/>
                      </a:lnTo>
                      <a:lnTo>
                        <a:pt x="1539557" y="906246"/>
                      </a:lnTo>
                      <a:lnTo>
                        <a:pt x="1539557" y="835914"/>
                      </a:lnTo>
                      <a:lnTo>
                        <a:pt x="1511871" y="835914"/>
                      </a:lnTo>
                      <a:lnTo>
                        <a:pt x="1511871" y="907186"/>
                      </a:lnTo>
                      <a:lnTo>
                        <a:pt x="1493354" y="907173"/>
                      </a:lnTo>
                      <a:lnTo>
                        <a:pt x="1482991" y="907122"/>
                      </a:lnTo>
                      <a:lnTo>
                        <a:pt x="1486877" y="907122"/>
                      </a:lnTo>
                      <a:lnTo>
                        <a:pt x="1490040" y="907122"/>
                      </a:lnTo>
                      <a:lnTo>
                        <a:pt x="1499184" y="907161"/>
                      </a:lnTo>
                      <a:lnTo>
                        <a:pt x="1493354" y="907173"/>
                      </a:lnTo>
                      <a:lnTo>
                        <a:pt x="1504899" y="907173"/>
                      </a:lnTo>
                      <a:lnTo>
                        <a:pt x="1511871" y="907186"/>
                      </a:lnTo>
                      <a:lnTo>
                        <a:pt x="1511871" y="835914"/>
                      </a:lnTo>
                      <a:lnTo>
                        <a:pt x="1479638" y="835914"/>
                      </a:lnTo>
                      <a:lnTo>
                        <a:pt x="1479638" y="907072"/>
                      </a:lnTo>
                      <a:lnTo>
                        <a:pt x="1478165" y="907872"/>
                      </a:lnTo>
                      <a:lnTo>
                        <a:pt x="1479638" y="907072"/>
                      </a:lnTo>
                      <a:lnTo>
                        <a:pt x="1479638" y="835914"/>
                      </a:lnTo>
                      <a:lnTo>
                        <a:pt x="1475943" y="835914"/>
                      </a:lnTo>
                      <a:lnTo>
                        <a:pt x="1475943" y="907300"/>
                      </a:lnTo>
                      <a:lnTo>
                        <a:pt x="1475193" y="906538"/>
                      </a:lnTo>
                      <a:lnTo>
                        <a:pt x="1475943" y="907300"/>
                      </a:lnTo>
                      <a:lnTo>
                        <a:pt x="1475943" y="835914"/>
                      </a:lnTo>
                      <a:lnTo>
                        <a:pt x="1469847" y="835914"/>
                      </a:lnTo>
                      <a:lnTo>
                        <a:pt x="1469301" y="835914"/>
                      </a:lnTo>
                      <a:lnTo>
                        <a:pt x="1468272" y="836333"/>
                      </a:lnTo>
                      <a:lnTo>
                        <a:pt x="1468272" y="901001"/>
                      </a:lnTo>
                      <a:lnTo>
                        <a:pt x="1467129" y="901128"/>
                      </a:lnTo>
                      <a:lnTo>
                        <a:pt x="1465910" y="901204"/>
                      </a:lnTo>
                      <a:lnTo>
                        <a:pt x="1464805" y="901382"/>
                      </a:lnTo>
                      <a:lnTo>
                        <a:pt x="1465910" y="901204"/>
                      </a:lnTo>
                      <a:lnTo>
                        <a:pt x="1467129" y="901128"/>
                      </a:lnTo>
                      <a:lnTo>
                        <a:pt x="1468272" y="901001"/>
                      </a:lnTo>
                      <a:lnTo>
                        <a:pt x="1468272" y="836333"/>
                      </a:lnTo>
                      <a:lnTo>
                        <a:pt x="1463573" y="838212"/>
                      </a:lnTo>
                      <a:lnTo>
                        <a:pt x="1462595" y="839800"/>
                      </a:lnTo>
                      <a:lnTo>
                        <a:pt x="1462595" y="901966"/>
                      </a:lnTo>
                      <a:lnTo>
                        <a:pt x="1460461" y="903071"/>
                      </a:lnTo>
                      <a:lnTo>
                        <a:pt x="1459204" y="904011"/>
                      </a:lnTo>
                      <a:lnTo>
                        <a:pt x="1460449" y="903071"/>
                      </a:lnTo>
                      <a:lnTo>
                        <a:pt x="1462582" y="901966"/>
                      </a:lnTo>
                      <a:lnTo>
                        <a:pt x="1462595" y="839800"/>
                      </a:lnTo>
                      <a:lnTo>
                        <a:pt x="1460677" y="842886"/>
                      </a:lnTo>
                      <a:lnTo>
                        <a:pt x="1458125" y="846721"/>
                      </a:lnTo>
                      <a:lnTo>
                        <a:pt x="1458125" y="904836"/>
                      </a:lnTo>
                      <a:lnTo>
                        <a:pt x="1456118" y="905103"/>
                      </a:lnTo>
                      <a:lnTo>
                        <a:pt x="1458112" y="904836"/>
                      </a:lnTo>
                      <a:lnTo>
                        <a:pt x="1458125" y="846721"/>
                      </a:lnTo>
                      <a:lnTo>
                        <a:pt x="1457109" y="848233"/>
                      </a:lnTo>
                      <a:lnTo>
                        <a:pt x="1456715" y="850773"/>
                      </a:lnTo>
                      <a:lnTo>
                        <a:pt x="1450975" y="873429"/>
                      </a:lnTo>
                      <a:lnTo>
                        <a:pt x="1450746" y="878217"/>
                      </a:lnTo>
                      <a:lnTo>
                        <a:pt x="1447838" y="881507"/>
                      </a:lnTo>
                      <a:lnTo>
                        <a:pt x="1445374" y="883437"/>
                      </a:lnTo>
                      <a:lnTo>
                        <a:pt x="1445234" y="885367"/>
                      </a:lnTo>
                      <a:lnTo>
                        <a:pt x="1446022" y="885863"/>
                      </a:lnTo>
                      <a:lnTo>
                        <a:pt x="1446085" y="893521"/>
                      </a:lnTo>
                      <a:lnTo>
                        <a:pt x="1445806" y="898169"/>
                      </a:lnTo>
                      <a:lnTo>
                        <a:pt x="1445514" y="904024"/>
                      </a:lnTo>
                      <a:lnTo>
                        <a:pt x="1445348" y="904011"/>
                      </a:lnTo>
                      <a:lnTo>
                        <a:pt x="1445260" y="905205"/>
                      </a:lnTo>
                      <a:lnTo>
                        <a:pt x="1445463" y="905179"/>
                      </a:lnTo>
                      <a:lnTo>
                        <a:pt x="1448993" y="905103"/>
                      </a:lnTo>
                      <a:lnTo>
                        <a:pt x="1445552" y="905179"/>
                      </a:lnTo>
                      <a:lnTo>
                        <a:pt x="1445272" y="905205"/>
                      </a:lnTo>
                      <a:lnTo>
                        <a:pt x="1445272" y="906335"/>
                      </a:lnTo>
                      <a:lnTo>
                        <a:pt x="1445526" y="906335"/>
                      </a:lnTo>
                      <a:lnTo>
                        <a:pt x="1445679" y="909523"/>
                      </a:lnTo>
                      <a:lnTo>
                        <a:pt x="1445806" y="913447"/>
                      </a:lnTo>
                      <a:lnTo>
                        <a:pt x="1445679" y="919810"/>
                      </a:lnTo>
                      <a:lnTo>
                        <a:pt x="1450517" y="924407"/>
                      </a:lnTo>
                      <a:lnTo>
                        <a:pt x="1455407" y="930262"/>
                      </a:lnTo>
                      <a:lnTo>
                        <a:pt x="1459407" y="937082"/>
                      </a:lnTo>
                      <a:lnTo>
                        <a:pt x="1462874" y="944283"/>
                      </a:lnTo>
                      <a:lnTo>
                        <a:pt x="1466278" y="951509"/>
                      </a:lnTo>
                      <a:lnTo>
                        <a:pt x="1469872" y="958761"/>
                      </a:lnTo>
                      <a:lnTo>
                        <a:pt x="1473644" y="965987"/>
                      </a:lnTo>
                      <a:lnTo>
                        <a:pt x="1485607" y="986878"/>
                      </a:lnTo>
                      <a:lnTo>
                        <a:pt x="1484998" y="989266"/>
                      </a:lnTo>
                      <a:lnTo>
                        <a:pt x="1484363" y="1001534"/>
                      </a:lnTo>
                      <a:lnTo>
                        <a:pt x="1483855" y="1005408"/>
                      </a:lnTo>
                      <a:lnTo>
                        <a:pt x="1484757" y="1009777"/>
                      </a:lnTo>
                      <a:lnTo>
                        <a:pt x="1485366" y="1010907"/>
                      </a:lnTo>
                      <a:lnTo>
                        <a:pt x="1486344" y="1015034"/>
                      </a:lnTo>
                      <a:lnTo>
                        <a:pt x="1487805" y="1017460"/>
                      </a:lnTo>
                      <a:lnTo>
                        <a:pt x="1490637" y="1023391"/>
                      </a:lnTo>
                      <a:lnTo>
                        <a:pt x="1489532" y="1028357"/>
                      </a:lnTo>
                      <a:lnTo>
                        <a:pt x="1489735" y="1037450"/>
                      </a:lnTo>
                      <a:lnTo>
                        <a:pt x="1492250" y="1042949"/>
                      </a:lnTo>
                      <a:lnTo>
                        <a:pt x="1495209" y="1053376"/>
                      </a:lnTo>
                      <a:lnTo>
                        <a:pt x="1496631" y="1058633"/>
                      </a:lnTo>
                      <a:lnTo>
                        <a:pt x="1501343" y="1065733"/>
                      </a:lnTo>
                      <a:lnTo>
                        <a:pt x="1503045" y="1068082"/>
                      </a:lnTo>
                      <a:lnTo>
                        <a:pt x="1507363" y="1071740"/>
                      </a:lnTo>
                      <a:lnTo>
                        <a:pt x="1508887" y="1074102"/>
                      </a:lnTo>
                      <a:lnTo>
                        <a:pt x="1511198" y="1075677"/>
                      </a:lnTo>
                      <a:lnTo>
                        <a:pt x="1511681" y="1075804"/>
                      </a:lnTo>
                      <a:lnTo>
                        <a:pt x="1512227" y="1075893"/>
                      </a:lnTo>
                      <a:lnTo>
                        <a:pt x="1512163" y="1076096"/>
                      </a:lnTo>
                      <a:lnTo>
                        <a:pt x="1513103" y="1076337"/>
                      </a:lnTo>
                      <a:lnTo>
                        <a:pt x="1513509" y="1075804"/>
                      </a:lnTo>
                      <a:lnTo>
                        <a:pt x="1513611" y="1075626"/>
                      </a:lnTo>
                      <a:lnTo>
                        <a:pt x="1514652" y="1074940"/>
                      </a:lnTo>
                      <a:lnTo>
                        <a:pt x="1515491" y="1073505"/>
                      </a:lnTo>
                      <a:lnTo>
                        <a:pt x="1516964" y="1071740"/>
                      </a:lnTo>
                      <a:lnTo>
                        <a:pt x="1517688" y="1070368"/>
                      </a:lnTo>
                      <a:lnTo>
                        <a:pt x="1518297" y="1069441"/>
                      </a:lnTo>
                      <a:lnTo>
                        <a:pt x="1518716" y="1068908"/>
                      </a:lnTo>
                      <a:lnTo>
                        <a:pt x="1519237" y="1068514"/>
                      </a:lnTo>
                      <a:lnTo>
                        <a:pt x="1519707" y="1068349"/>
                      </a:lnTo>
                      <a:lnTo>
                        <a:pt x="1520024" y="1068362"/>
                      </a:lnTo>
                      <a:lnTo>
                        <a:pt x="1520240" y="1068387"/>
                      </a:lnTo>
                      <a:lnTo>
                        <a:pt x="1520698" y="1068412"/>
                      </a:lnTo>
                      <a:lnTo>
                        <a:pt x="1521815" y="1068603"/>
                      </a:lnTo>
                      <a:lnTo>
                        <a:pt x="1523606" y="1068857"/>
                      </a:lnTo>
                      <a:lnTo>
                        <a:pt x="1522818" y="1069632"/>
                      </a:lnTo>
                      <a:lnTo>
                        <a:pt x="1523542" y="1070724"/>
                      </a:lnTo>
                      <a:lnTo>
                        <a:pt x="1523606" y="1070851"/>
                      </a:lnTo>
                      <a:lnTo>
                        <a:pt x="1524355" y="1071676"/>
                      </a:lnTo>
                      <a:lnTo>
                        <a:pt x="1525498" y="1071613"/>
                      </a:lnTo>
                      <a:lnTo>
                        <a:pt x="1526032" y="1072261"/>
                      </a:lnTo>
                      <a:lnTo>
                        <a:pt x="1526159" y="1073899"/>
                      </a:lnTo>
                      <a:lnTo>
                        <a:pt x="1525231" y="1073861"/>
                      </a:lnTo>
                      <a:lnTo>
                        <a:pt x="1525244" y="1074762"/>
                      </a:lnTo>
                      <a:lnTo>
                        <a:pt x="1525689" y="1075588"/>
                      </a:lnTo>
                      <a:lnTo>
                        <a:pt x="1526400" y="1076261"/>
                      </a:lnTo>
                      <a:lnTo>
                        <a:pt x="1526616" y="1076985"/>
                      </a:lnTo>
                      <a:lnTo>
                        <a:pt x="1526108" y="1077556"/>
                      </a:lnTo>
                      <a:lnTo>
                        <a:pt x="1526755" y="1078623"/>
                      </a:lnTo>
                      <a:lnTo>
                        <a:pt x="1528279" y="1078814"/>
                      </a:lnTo>
                      <a:lnTo>
                        <a:pt x="1529283" y="1079068"/>
                      </a:lnTo>
                      <a:lnTo>
                        <a:pt x="1532420" y="1079982"/>
                      </a:lnTo>
                      <a:lnTo>
                        <a:pt x="1535785" y="1081278"/>
                      </a:lnTo>
                      <a:lnTo>
                        <a:pt x="1540967" y="1081341"/>
                      </a:lnTo>
                      <a:lnTo>
                        <a:pt x="1547952" y="1082243"/>
                      </a:lnTo>
                      <a:lnTo>
                        <a:pt x="1551038" y="1081455"/>
                      </a:lnTo>
                      <a:lnTo>
                        <a:pt x="1551584" y="1081443"/>
                      </a:lnTo>
                      <a:lnTo>
                        <a:pt x="1551800" y="1081366"/>
                      </a:lnTo>
                      <a:lnTo>
                        <a:pt x="1552016" y="1081049"/>
                      </a:lnTo>
                      <a:lnTo>
                        <a:pt x="1552244" y="1080884"/>
                      </a:lnTo>
                      <a:lnTo>
                        <a:pt x="1552422" y="1080706"/>
                      </a:lnTo>
                      <a:lnTo>
                        <a:pt x="1552765" y="1079474"/>
                      </a:lnTo>
                      <a:lnTo>
                        <a:pt x="1553349" y="1078623"/>
                      </a:lnTo>
                      <a:lnTo>
                        <a:pt x="1554035" y="1077874"/>
                      </a:lnTo>
                      <a:lnTo>
                        <a:pt x="1555165" y="1076782"/>
                      </a:lnTo>
                      <a:lnTo>
                        <a:pt x="1556727" y="1075804"/>
                      </a:lnTo>
                      <a:lnTo>
                        <a:pt x="1559140" y="1074661"/>
                      </a:lnTo>
                      <a:lnTo>
                        <a:pt x="1562722" y="1074762"/>
                      </a:lnTo>
                      <a:lnTo>
                        <a:pt x="1563331" y="1073899"/>
                      </a:lnTo>
                      <a:lnTo>
                        <a:pt x="1563916" y="1073073"/>
                      </a:lnTo>
                      <a:lnTo>
                        <a:pt x="1563814" y="1071613"/>
                      </a:lnTo>
                      <a:lnTo>
                        <a:pt x="1563484" y="1069632"/>
                      </a:lnTo>
                      <a:lnTo>
                        <a:pt x="1563484" y="1068349"/>
                      </a:lnTo>
                      <a:lnTo>
                        <a:pt x="1563509" y="1022096"/>
                      </a:lnTo>
                      <a:lnTo>
                        <a:pt x="1563230" y="1019670"/>
                      </a:lnTo>
                      <a:lnTo>
                        <a:pt x="1563255" y="1017384"/>
                      </a:lnTo>
                      <a:lnTo>
                        <a:pt x="1563370" y="1017168"/>
                      </a:lnTo>
                      <a:lnTo>
                        <a:pt x="1563535" y="1016850"/>
                      </a:lnTo>
                      <a:lnTo>
                        <a:pt x="1563598" y="976401"/>
                      </a:lnTo>
                      <a:lnTo>
                        <a:pt x="1563674" y="976007"/>
                      </a:lnTo>
                      <a:lnTo>
                        <a:pt x="1563751" y="975868"/>
                      </a:lnTo>
                      <a:lnTo>
                        <a:pt x="1563916" y="975791"/>
                      </a:lnTo>
                      <a:lnTo>
                        <a:pt x="1564170" y="975766"/>
                      </a:lnTo>
                      <a:lnTo>
                        <a:pt x="1567700" y="975804"/>
                      </a:lnTo>
                      <a:lnTo>
                        <a:pt x="1572526" y="976617"/>
                      </a:lnTo>
                      <a:lnTo>
                        <a:pt x="1575181" y="975766"/>
                      </a:lnTo>
                      <a:lnTo>
                        <a:pt x="1575904" y="975537"/>
                      </a:lnTo>
                      <a:lnTo>
                        <a:pt x="1576920" y="975410"/>
                      </a:lnTo>
                      <a:lnTo>
                        <a:pt x="1577835" y="975093"/>
                      </a:lnTo>
                      <a:lnTo>
                        <a:pt x="1577835" y="973874"/>
                      </a:lnTo>
                      <a:lnTo>
                        <a:pt x="1577987" y="973137"/>
                      </a:lnTo>
                      <a:lnTo>
                        <a:pt x="1577835" y="972235"/>
                      </a:lnTo>
                      <a:lnTo>
                        <a:pt x="1577924" y="921435"/>
                      </a:lnTo>
                      <a:lnTo>
                        <a:pt x="1610233" y="916254"/>
                      </a:lnTo>
                      <a:lnTo>
                        <a:pt x="1610855" y="916508"/>
                      </a:lnTo>
                      <a:lnTo>
                        <a:pt x="1611312" y="917092"/>
                      </a:lnTo>
                      <a:lnTo>
                        <a:pt x="1611541" y="917498"/>
                      </a:lnTo>
                      <a:lnTo>
                        <a:pt x="1611744" y="917994"/>
                      </a:lnTo>
                      <a:lnTo>
                        <a:pt x="1612519" y="919314"/>
                      </a:lnTo>
                      <a:lnTo>
                        <a:pt x="1613179" y="920978"/>
                      </a:lnTo>
                      <a:lnTo>
                        <a:pt x="1613255" y="921118"/>
                      </a:lnTo>
                      <a:lnTo>
                        <a:pt x="1614081" y="922185"/>
                      </a:lnTo>
                      <a:lnTo>
                        <a:pt x="1614208" y="922388"/>
                      </a:lnTo>
                      <a:lnTo>
                        <a:pt x="1614347" y="922553"/>
                      </a:lnTo>
                      <a:lnTo>
                        <a:pt x="1614932" y="923036"/>
                      </a:lnTo>
                      <a:lnTo>
                        <a:pt x="1615262" y="923213"/>
                      </a:lnTo>
                      <a:lnTo>
                        <a:pt x="1616875" y="923099"/>
                      </a:lnTo>
                      <a:lnTo>
                        <a:pt x="1619732" y="919810"/>
                      </a:lnTo>
                      <a:lnTo>
                        <a:pt x="1620926" y="918908"/>
                      </a:lnTo>
                      <a:lnTo>
                        <a:pt x="1624850" y="916254"/>
                      </a:lnTo>
                      <a:lnTo>
                        <a:pt x="1626349" y="915250"/>
                      </a:lnTo>
                      <a:lnTo>
                        <a:pt x="1631543" y="913447"/>
                      </a:lnTo>
                      <a:lnTo>
                        <a:pt x="1638058" y="913498"/>
                      </a:lnTo>
                      <a:lnTo>
                        <a:pt x="1639112" y="913676"/>
                      </a:lnTo>
                      <a:lnTo>
                        <a:pt x="1638973" y="913447"/>
                      </a:lnTo>
                      <a:lnTo>
                        <a:pt x="1639112" y="913663"/>
                      </a:lnTo>
                      <a:lnTo>
                        <a:pt x="1639506" y="913739"/>
                      </a:lnTo>
                      <a:close/>
                    </a:path>
                    <a:path w="2105025" h="1483995">
                      <a:moveTo>
                        <a:pt x="1699171" y="1087805"/>
                      </a:moveTo>
                      <a:lnTo>
                        <a:pt x="1697659" y="1084605"/>
                      </a:lnTo>
                      <a:lnTo>
                        <a:pt x="1695729" y="1083132"/>
                      </a:lnTo>
                      <a:lnTo>
                        <a:pt x="1694942" y="1082421"/>
                      </a:lnTo>
                      <a:lnTo>
                        <a:pt x="1692389" y="1080579"/>
                      </a:lnTo>
                      <a:lnTo>
                        <a:pt x="1691995" y="1080350"/>
                      </a:lnTo>
                      <a:lnTo>
                        <a:pt x="1690382" y="1079093"/>
                      </a:lnTo>
                      <a:lnTo>
                        <a:pt x="1688846" y="1077772"/>
                      </a:lnTo>
                      <a:lnTo>
                        <a:pt x="1687525" y="1076147"/>
                      </a:lnTo>
                      <a:lnTo>
                        <a:pt x="1686852" y="1076261"/>
                      </a:lnTo>
                      <a:lnTo>
                        <a:pt x="1684629" y="1076769"/>
                      </a:lnTo>
                      <a:lnTo>
                        <a:pt x="1682877" y="1077455"/>
                      </a:lnTo>
                      <a:lnTo>
                        <a:pt x="1678559" y="1079601"/>
                      </a:lnTo>
                      <a:lnTo>
                        <a:pt x="1676958" y="1080249"/>
                      </a:lnTo>
                      <a:lnTo>
                        <a:pt x="1674406" y="1081062"/>
                      </a:lnTo>
                      <a:lnTo>
                        <a:pt x="1673567" y="1082725"/>
                      </a:lnTo>
                      <a:lnTo>
                        <a:pt x="1671713" y="1084757"/>
                      </a:lnTo>
                      <a:lnTo>
                        <a:pt x="1664411" y="1091819"/>
                      </a:lnTo>
                      <a:lnTo>
                        <a:pt x="1664068" y="1092847"/>
                      </a:lnTo>
                      <a:lnTo>
                        <a:pt x="1664220" y="1093431"/>
                      </a:lnTo>
                      <a:lnTo>
                        <a:pt x="1664385" y="1094574"/>
                      </a:lnTo>
                      <a:lnTo>
                        <a:pt x="1665833" y="1096225"/>
                      </a:lnTo>
                      <a:lnTo>
                        <a:pt x="1666976" y="1098372"/>
                      </a:lnTo>
                      <a:lnTo>
                        <a:pt x="1669326" y="1103769"/>
                      </a:lnTo>
                      <a:lnTo>
                        <a:pt x="1673275" y="1105789"/>
                      </a:lnTo>
                      <a:lnTo>
                        <a:pt x="1675968" y="1107948"/>
                      </a:lnTo>
                      <a:lnTo>
                        <a:pt x="1677441" y="1108417"/>
                      </a:lnTo>
                      <a:lnTo>
                        <a:pt x="1678152" y="1108710"/>
                      </a:lnTo>
                      <a:lnTo>
                        <a:pt x="1678851" y="1108824"/>
                      </a:lnTo>
                      <a:lnTo>
                        <a:pt x="1680679" y="1107897"/>
                      </a:lnTo>
                      <a:lnTo>
                        <a:pt x="1682038" y="1103464"/>
                      </a:lnTo>
                      <a:lnTo>
                        <a:pt x="1683029" y="1101521"/>
                      </a:lnTo>
                      <a:lnTo>
                        <a:pt x="1683499" y="1101166"/>
                      </a:lnTo>
                      <a:lnTo>
                        <a:pt x="1684045" y="1100912"/>
                      </a:lnTo>
                      <a:lnTo>
                        <a:pt x="1688477" y="1099515"/>
                      </a:lnTo>
                      <a:lnTo>
                        <a:pt x="1691043" y="1099146"/>
                      </a:lnTo>
                      <a:lnTo>
                        <a:pt x="1692744" y="1098105"/>
                      </a:lnTo>
                      <a:lnTo>
                        <a:pt x="1693646" y="1097686"/>
                      </a:lnTo>
                      <a:lnTo>
                        <a:pt x="1693951" y="1097407"/>
                      </a:lnTo>
                      <a:lnTo>
                        <a:pt x="1694434" y="1097089"/>
                      </a:lnTo>
                      <a:lnTo>
                        <a:pt x="1694738" y="1096759"/>
                      </a:lnTo>
                      <a:lnTo>
                        <a:pt x="1694345" y="1094879"/>
                      </a:lnTo>
                      <a:lnTo>
                        <a:pt x="1694434" y="1094422"/>
                      </a:lnTo>
                      <a:lnTo>
                        <a:pt x="1694865" y="1093520"/>
                      </a:lnTo>
                      <a:lnTo>
                        <a:pt x="1696173" y="1091679"/>
                      </a:lnTo>
                      <a:lnTo>
                        <a:pt x="1696910" y="1090282"/>
                      </a:lnTo>
                      <a:lnTo>
                        <a:pt x="1699171" y="1087805"/>
                      </a:lnTo>
                      <a:close/>
                    </a:path>
                    <a:path w="2105025" h="1483995">
                      <a:moveTo>
                        <a:pt x="1725168" y="625195"/>
                      </a:moveTo>
                      <a:lnTo>
                        <a:pt x="1724101" y="625195"/>
                      </a:lnTo>
                      <a:lnTo>
                        <a:pt x="1723021" y="623925"/>
                      </a:lnTo>
                      <a:lnTo>
                        <a:pt x="1720926" y="622655"/>
                      </a:lnTo>
                      <a:lnTo>
                        <a:pt x="1717954" y="622655"/>
                      </a:lnTo>
                      <a:lnTo>
                        <a:pt x="1717687" y="621385"/>
                      </a:lnTo>
                      <a:lnTo>
                        <a:pt x="1717332" y="621385"/>
                      </a:lnTo>
                      <a:lnTo>
                        <a:pt x="1717319" y="620115"/>
                      </a:lnTo>
                      <a:lnTo>
                        <a:pt x="1717446" y="620115"/>
                      </a:lnTo>
                      <a:lnTo>
                        <a:pt x="1717535" y="618845"/>
                      </a:lnTo>
                      <a:lnTo>
                        <a:pt x="1717814" y="617575"/>
                      </a:lnTo>
                      <a:lnTo>
                        <a:pt x="1717776" y="615035"/>
                      </a:lnTo>
                      <a:lnTo>
                        <a:pt x="1717370" y="612495"/>
                      </a:lnTo>
                      <a:lnTo>
                        <a:pt x="1718995" y="608685"/>
                      </a:lnTo>
                      <a:lnTo>
                        <a:pt x="1718843" y="606145"/>
                      </a:lnTo>
                      <a:lnTo>
                        <a:pt x="1717992" y="604875"/>
                      </a:lnTo>
                      <a:lnTo>
                        <a:pt x="1714639" y="606145"/>
                      </a:lnTo>
                      <a:lnTo>
                        <a:pt x="1714754" y="602335"/>
                      </a:lnTo>
                      <a:lnTo>
                        <a:pt x="1714220" y="601065"/>
                      </a:lnTo>
                      <a:lnTo>
                        <a:pt x="1713433" y="601065"/>
                      </a:lnTo>
                      <a:lnTo>
                        <a:pt x="1712556" y="599795"/>
                      </a:lnTo>
                      <a:lnTo>
                        <a:pt x="1711363" y="599795"/>
                      </a:lnTo>
                      <a:lnTo>
                        <a:pt x="1709140" y="598525"/>
                      </a:lnTo>
                      <a:lnTo>
                        <a:pt x="1708213" y="598525"/>
                      </a:lnTo>
                      <a:lnTo>
                        <a:pt x="1707032" y="597255"/>
                      </a:lnTo>
                      <a:lnTo>
                        <a:pt x="1705851" y="595985"/>
                      </a:lnTo>
                      <a:lnTo>
                        <a:pt x="1704809" y="594715"/>
                      </a:lnTo>
                      <a:lnTo>
                        <a:pt x="1704149" y="593445"/>
                      </a:lnTo>
                      <a:lnTo>
                        <a:pt x="1703895" y="593445"/>
                      </a:lnTo>
                      <a:lnTo>
                        <a:pt x="1704035" y="590905"/>
                      </a:lnTo>
                      <a:lnTo>
                        <a:pt x="1699564" y="590905"/>
                      </a:lnTo>
                      <a:lnTo>
                        <a:pt x="1697443" y="592175"/>
                      </a:lnTo>
                      <a:lnTo>
                        <a:pt x="1697431" y="593445"/>
                      </a:lnTo>
                      <a:lnTo>
                        <a:pt x="1694688" y="595985"/>
                      </a:lnTo>
                      <a:lnTo>
                        <a:pt x="1689646" y="592175"/>
                      </a:lnTo>
                      <a:lnTo>
                        <a:pt x="1684604" y="593445"/>
                      </a:lnTo>
                      <a:lnTo>
                        <a:pt x="1684934" y="595985"/>
                      </a:lnTo>
                      <a:lnTo>
                        <a:pt x="1679651" y="593445"/>
                      </a:lnTo>
                      <a:lnTo>
                        <a:pt x="1675688" y="592175"/>
                      </a:lnTo>
                      <a:lnTo>
                        <a:pt x="1675269" y="590905"/>
                      </a:lnTo>
                      <a:lnTo>
                        <a:pt x="1674025" y="587095"/>
                      </a:lnTo>
                      <a:lnTo>
                        <a:pt x="1672348" y="585825"/>
                      </a:lnTo>
                      <a:lnTo>
                        <a:pt x="1670456" y="584555"/>
                      </a:lnTo>
                      <a:lnTo>
                        <a:pt x="1669224" y="584555"/>
                      </a:lnTo>
                      <a:lnTo>
                        <a:pt x="1668589" y="583285"/>
                      </a:lnTo>
                      <a:lnTo>
                        <a:pt x="1666786" y="583285"/>
                      </a:lnTo>
                      <a:lnTo>
                        <a:pt x="1665998" y="582015"/>
                      </a:lnTo>
                      <a:lnTo>
                        <a:pt x="1662023" y="582015"/>
                      </a:lnTo>
                      <a:lnTo>
                        <a:pt x="1660004" y="583285"/>
                      </a:lnTo>
                      <a:lnTo>
                        <a:pt x="1656803" y="584555"/>
                      </a:lnTo>
                      <a:lnTo>
                        <a:pt x="1654695" y="583285"/>
                      </a:lnTo>
                      <a:lnTo>
                        <a:pt x="1652587" y="582015"/>
                      </a:lnTo>
                      <a:lnTo>
                        <a:pt x="1650453" y="582015"/>
                      </a:lnTo>
                      <a:lnTo>
                        <a:pt x="1647151" y="583285"/>
                      </a:lnTo>
                      <a:lnTo>
                        <a:pt x="1646186" y="580745"/>
                      </a:lnTo>
                      <a:lnTo>
                        <a:pt x="1643405" y="579475"/>
                      </a:lnTo>
                      <a:lnTo>
                        <a:pt x="1640598" y="579475"/>
                      </a:lnTo>
                      <a:lnTo>
                        <a:pt x="1639455" y="582015"/>
                      </a:lnTo>
                      <a:lnTo>
                        <a:pt x="1639938" y="582015"/>
                      </a:lnTo>
                      <a:lnTo>
                        <a:pt x="1640001" y="583285"/>
                      </a:lnTo>
                      <a:lnTo>
                        <a:pt x="1639379" y="584555"/>
                      </a:lnTo>
                      <a:lnTo>
                        <a:pt x="1636522" y="584555"/>
                      </a:lnTo>
                      <a:lnTo>
                        <a:pt x="1633639" y="585825"/>
                      </a:lnTo>
                      <a:lnTo>
                        <a:pt x="1630108" y="585825"/>
                      </a:lnTo>
                      <a:lnTo>
                        <a:pt x="1630400" y="584555"/>
                      </a:lnTo>
                      <a:lnTo>
                        <a:pt x="1628521" y="584555"/>
                      </a:lnTo>
                      <a:lnTo>
                        <a:pt x="1627581" y="583285"/>
                      </a:lnTo>
                      <a:lnTo>
                        <a:pt x="1625180" y="584555"/>
                      </a:lnTo>
                      <a:lnTo>
                        <a:pt x="1615160" y="589635"/>
                      </a:lnTo>
                      <a:lnTo>
                        <a:pt x="1612963" y="590905"/>
                      </a:lnTo>
                      <a:lnTo>
                        <a:pt x="1609331" y="589635"/>
                      </a:lnTo>
                      <a:lnTo>
                        <a:pt x="1607578" y="588365"/>
                      </a:lnTo>
                      <a:lnTo>
                        <a:pt x="1605559" y="587095"/>
                      </a:lnTo>
                      <a:lnTo>
                        <a:pt x="1605127" y="587095"/>
                      </a:lnTo>
                      <a:lnTo>
                        <a:pt x="1604822" y="588365"/>
                      </a:lnTo>
                      <a:lnTo>
                        <a:pt x="1603590" y="588365"/>
                      </a:lnTo>
                      <a:lnTo>
                        <a:pt x="1602930" y="589635"/>
                      </a:lnTo>
                      <a:lnTo>
                        <a:pt x="1602320" y="590905"/>
                      </a:lnTo>
                      <a:lnTo>
                        <a:pt x="1601330" y="592175"/>
                      </a:lnTo>
                      <a:lnTo>
                        <a:pt x="1598701" y="595985"/>
                      </a:lnTo>
                      <a:lnTo>
                        <a:pt x="1598930" y="597255"/>
                      </a:lnTo>
                      <a:lnTo>
                        <a:pt x="1598117" y="597255"/>
                      </a:lnTo>
                      <a:lnTo>
                        <a:pt x="1596771" y="596887"/>
                      </a:lnTo>
                      <a:lnTo>
                        <a:pt x="1596771" y="809345"/>
                      </a:lnTo>
                      <a:lnTo>
                        <a:pt x="1594802" y="810615"/>
                      </a:lnTo>
                      <a:lnTo>
                        <a:pt x="1594408" y="813562"/>
                      </a:lnTo>
                      <a:lnTo>
                        <a:pt x="1594294" y="813282"/>
                      </a:lnTo>
                      <a:lnTo>
                        <a:pt x="1594789" y="810564"/>
                      </a:lnTo>
                      <a:lnTo>
                        <a:pt x="1596605" y="809345"/>
                      </a:lnTo>
                      <a:lnTo>
                        <a:pt x="1596771" y="809345"/>
                      </a:lnTo>
                      <a:lnTo>
                        <a:pt x="1596771" y="596887"/>
                      </a:lnTo>
                      <a:lnTo>
                        <a:pt x="1596694" y="808075"/>
                      </a:lnTo>
                      <a:lnTo>
                        <a:pt x="1596618" y="808621"/>
                      </a:lnTo>
                      <a:lnTo>
                        <a:pt x="1596529" y="808164"/>
                      </a:lnTo>
                      <a:lnTo>
                        <a:pt x="1596605" y="807758"/>
                      </a:lnTo>
                      <a:lnTo>
                        <a:pt x="1596694" y="808075"/>
                      </a:lnTo>
                      <a:lnTo>
                        <a:pt x="1596694" y="596861"/>
                      </a:lnTo>
                      <a:lnTo>
                        <a:pt x="1593545" y="595985"/>
                      </a:lnTo>
                      <a:lnTo>
                        <a:pt x="1591348" y="595985"/>
                      </a:lnTo>
                      <a:lnTo>
                        <a:pt x="1591348" y="777595"/>
                      </a:lnTo>
                      <a:lnTo>
                        <a:pt x="1590497" y="780135"/>
                      </a:lnTo>
                      <a:lnTo>
                        <a:pt x="1590116" y="785215"/>
                      </a:lnTo>
                      <a:lnTo>
                        <a:pt x="1589697" y="787742"/>
                      </a:lnTo>
                      <a:lnTo>
                        <a:pt x="1589430" y="790067"/>
                      </a:lnTo>
                      <a:lnTo>
                        <a:pt x="1589468" y="789178"/>
                      </a:lnTo>
                      <a:lnTo>
                        <a:pt x="1589557" y="788504"/>
                      </a:lnTo>
                      <a:lnTo>
                        <a:pt x="1589697" y="787742"/>
                      </a:lnTo>
                      <a:lnTo>
                        <a:pt x="1590103" y="784834"/>
                      </a:lnTo>
                      <a:lnTo>
                        <a:pt x="1590192" y="782713"/>
                      </a:lnTo>
                      <a:lnTo>
                        <a:pt x="1590484" y="779322"/>
                      </a:lnTo>
                      <a:lnTo>
                        <a:pt x="1591132" y="777062"/>
                      </a:lnTo>
                      <a:lnTo>
                        <a:pt x="1591348" y="777595"/>
                      </a:lnTo>
                      <a:lnTo>
                        <a:pt x="1591348" y="595985"/>
                      </a:lnTo>
                      <a:lnTo>
                        <a:pt x="1589620" y="595985"/>
                      </a:lnTo>
                      <a:lnTo>
                        <a:pt x="1589620" y="766165"/>
                      </a:lnTo>
                      <a:lnTo>
                        <a:pt x="1588617" y="770534"/>
                      </a:lnTo>
                      <a:lnTo>
                        <a:pt x="1588528" y="770318"/>
                      </a:lnTo>
                      <a:lnTo>
                        <a:pt x="1588643" y="769480"/>
                      </a:lnTo>
                      <a:lnTo>
                        <a:pt x="1589608" y="765594"/>
                      </a:lnTo>
                      <a:lnTo>
                        <a:pt x="1589620" y="766165"/>
                      </a:lnTo>
                      <a:lnTo>
                        <a:pt x="1589620" y="595985"/>
                      </a:lnTo>
                      <a:lnTo>
                        <a:pt x="1585595" y="595985"/>
                      </a:lnTo>
                      <a:lnTo>
                        <a:pt x="1584540" y="594715"/>
                      </a:lnTo>
                      <a:lnTo>
                        <a:pt x="1581226" y="594715"/>
                      </a:lnTo>
                      <a:lnTo>
                        <a:pt x="1578076" y="593445"/>
                      </a:lnTo>
                      <a:lnTo>
                        <a:pt x="1576044" y="593445"/>
                      </a:lnTo>
                      <a:lnTo>
                        <a:pt x="1573364" y="592175"/>
                      </a:lnTo>
                      <a:lnTo>
                        <a:pt x="1572704" y="592175"/>
                      </a:lnTo>
                      <a:lnTo>
                        <a:pt x="1572704" y="756005"/>
                      </a:lnTo>
                      <a:lnTo>
                        <a:pt x="1572056" y="757275"/>
                      </a:lnTo>
                      <a:lnTo>
                        <a:pt x="1571523" y="758545"/>
                      </a:lnTo>
                      <a:lnTo>
                        <a:pt x="1571078" y="759752"/>
                      </a:lnTo>
                      <a:lnTo>
                        <a:pt x="1570799" y="759637"/>
                      </a:lnTo>
                      <a:lnTo>
                        <a:pt x="1572234" y="756170"/>
                      </a:lnTo>
                      <a:lnTo>
                        <a:pt x="1572514" y="755713"/>
                      </a:lnTo>
                      <a:lnTo>
                        <a:pt x="1572704" y="756005"/>
                      </a:lnTo>
                      <a:lnTo>
                        <a:pt x="1572704" y="592175"/>
                      </a:lnTo>
                      <a:lnTo>
                        <a:pt x="1570520" y="592175"/>
                      </a:lnTo>
                      <a:lnTo>
                        <a:pt x="1569554" y="590905"/>
                      </a:lnTo>
                      <a:lnTo>
                        <a:pt x="1563458" y="584555"/>
                      </a:lnTo>
                      <a:lnTo>
                        <a:pt x="1563128" y="584555"/>
                      </a:lnTo>
                      <a:lnTo>
                        <a:pt x="1563128" y="756348"/>
                      </a:lnTo>
                      <a:lnTo>
                        <a:pt x="1563039" y="756005"/>
                      </a:lnTo>
                      <a:lnTo>
                        <a:pt x="1563128" y="756348"/>
                      </a:lnTo>
                      <a:lnTo>
                        <a:pt x="1563128" y="584555"/>
                      </a:lnTo>
                      <a:lnTo>
                        <a:pt x="1561858" y="584555"/>
                      </a:lnTo>
                      <a:lnTo>
                        <a:pt x="1561109" y="583285"/>
                      </a:lnTo>
                      <a:lnTo>
                        <a:pt x="1558175" y="582015"/>
                      </a:lnTo>
                      <a:lnTo>
                        <a:pt x="1556664" y="583285"/>
                      </a:lnTo>
                      <a:lnTo>
                        <a:pt x="1555318" y="583285"/>
                      </a:lnTo>
                      <a:lnTo>
                        <a:pt x="1555318" y="770585"/>
                      </a:lnTo>
                      <a:lnTo>
                        <a:pt x="1555127" y="769975"/>
                      </a:lnTo>
                      <a:lnTo>
                        <a:pt x="1554937" y="768705"/>
                      </a:lnTo>
                      <a:lnTo>
                        <a:pt x="1555318" y="770585"/>
                      </a:lnTo>
                      <a:lnTo>
                        <a:pt x="1555318" y="583285"/>
                      </a:lnTo>
                      <a:lnTo>
                        <a:pt x="1554073" y="583285"/>
                      </a:lnTo>
                      <a:lnTo>
                        <a:pt x="1552321" y="584555"/>
                      </a:lnTo>
                      <a:lnTo>
                        <a:pt x="1550885" y="585825"/>
                      </a:lnTo>
                      <a:lnTo>
                        <a:pt x="1550314" y="587095"/>
                      </a:lnTo>
                      <a:lnTo>
                        <a:pt x="1549755" y="587095"/>
                      </a:lnTo>
                      <a:lnTo>
                        <a:pt x="1549158" y="588365"/>
                      </a:lnTo>
                      <a:lnTo>
                        <a:pt x="1548307" y="589635"/>
                      </a:lnTo>
                      <a:lnTo>
                        <a:pt x="1546453" y="592175"/>
                      </a:lnTo>
                      <a:lnTo>
                        <a:pt x="1546390" y="592366"/>
                      </a:lnTo>
                      <a:lnTo>
                        <a:pt x="1546390" y="609955"/>
                      </a:lnTo>
                      <a:lnTo>
                        <a:pt x="1540967" y="616305"/>
                      </a:lnTo>
                      <a:lnTo>
                        <a:pt x="1537335" y="622655"/>
                      </a:lnTo>
                      <a:lnTo>
                        <a:pt x="1537017" y="623011"/>
                      </a:lnTo>
                      <a:lnTo>
                        <a:pt x="1537017" y="772083"/>
                      </a:lnTo>
                      <a:lnTo>
                        <a:pt x="1536877" y="772083"/>
                      </a:lnTo>
                      <a:lnTo>
                        <a:pt x="1537017" y="772083"/>
                      </a:lnTo>
                      <a:lnTo>
                        <a:pt x="1537017" y="623011"/>
                      </a:lnTo>
                      <a:lnTo>
                        <a:pt x="1536192" y="623925"/>
                      </a:lnTo>
                      <a:lnTo>
                        <a:pt x="1536065" y="626021"/>
                      </a:lnTo>
                      <a:lnTo>
                        <a:pt x="1536065" y="627735"/>
                      </a:lnTo>
                      <a:lnTo>
                        <a:pt x="1535569" y="631545"/>
                      </a:lnTo>
                      <a:lnTo>
                        <a:pt x="1534871" y="634085"/>
                      </a:lnTo>
                      <a:lnTo>
                        <a:pt x="1534325" y="636460"/>
                      </a:lnTo>
                      <a:lnTo>
                        <a:pt x="1534325" y="650595"/>
                      </a:lnTo>
                      <a:lnTo>
                        <a:pt x="1528356" y="668375"/>
                      </a:lnTo>
                      <a:lnTo>
                        <a:pt x="1526794" y="668375"/>
                      </a:lnTo>
                      <a:lnTo>
                        <a:pt x="1523352" y="670915"/>
                      </a:lnTo>
                      <a:lnTo>
                        <a:pt x="1521472" y="672185"/>
                      </a:lnTo>
                      <a:lnTo>
                        <a:pt x="1519186" y="673455"/>
                      </a:lnTo>
                      <a:lnTo>
                        <a:pt x="1518805" y="674725"/>
                      </a:lnTo>
                      <a:lnTo>
                        <a:pt x="1518119" y="674725"/>
                      </a:lnTo>
                      <a:lnTo>
                        <a:pt x="1517840" y="675995"/>
                      </a:lnTo>
                      <a:lnTo>
                        <a:pt x="1517573" y="675995"/>
                      </a:lnTo>
                      <a:lnTo>
                        <a:pt x="1516748" y="677265"/>
                      </a:lnTo>
                      <a:lnTo>
                        <a:pt x="1515783" y="679805"/>
                      </a:lnTo>
                      <a:lnTo>
                        <a:pt x="1514221" y="682345"/>
                      </a:lnTo>
                      <a:lnTo>
                        <a:pt x="1512519" y="684885"/>
                      </a:lnTo>
                      <a:lnTo>
                        <a:pt x="1509750" y="687425"/>
                      </a:lnTo>
                      <a:lnTo>
                        <a:pt x="1509242" y="687425"/>
                      </a:lnTo>
                      <a:lnTo>
                        <a:pt x="1509242" y="701395"/>
                      </a:lnTo>
                      <a:lnTo>
                        <a:pt x="1509242" y="703935"/>
                      </a:lnTo>
                      <a:lnTo>
                        <a:pt x="1509014" y="705205"/>
                      </a:lnTo>
                      <a:lnTo>
                        <a:pt x="1508633" y="705205"/>
                      </a:lnTo>
                      <a:lnTo>
                        <a:pt x="1506232" y="710285"/>
                      </a:lnTo>
                      <a:lnTo>
                        <a:pt x="1503870" y="713790"/>
                      </a:lnTo>
                      <a:lnTo>
                        <a:pt x="1506359" y="709333"/>
                      </a:lnTo>
                      <a:lnTo>
                        <a:pt x="1508633" y="705142"/>
                      </a:lnTo>
                      <a:lnTo>
                        <a:pt x="1508848" y="704634"/>
                      </a:lnTo>
                      <a:lnTo>
                        <a:pt x="1509077" y="703745"/>
                      </a:lnTo>
                      <a:lnTo>
                        <a:pt x="1509179" y="703237"/>
                      </a:lnTo>
                      <a:lnTo>
                        <a:pt x="1509077" y="700074"/>
                      </a:lnTo>
                      <a:lnTo>
                        <a:pt x="1509242" y="701395"/>
                      </a:lnTo>
                      <a:lnTo>
                        <a:pt x="1509242" y="687425"/>
                      </a:lnTo>
                      <a:lnTo>
                        <a:pt x="1509090" y="687425"/>
                      </a:lnTo>
                      <a:lnTo>
                        <a:pt x="1508925" y="688695"/>
                      </a:lnTo>
                      <a:lnTo>
                        <a:pt x="1508925" y="687997"/>
                      </a:lnTo>
                      <a:lnTo>
                        <a:pt x="1509077" y="687362"/>
                      </a:lnTo>
                      <a:lnTo>
                        <a:pt x="1509242" y="687108"/>
                      </a:lnTo>
                      <a:lnTo>
                        <a:pt x="1509737" y="686473"/>
                      </a:lnTo>
                      <a:lnTo>
                        <a:pt x="1512519" y="683806"/>
                      </a:lnTo>
                      <a:lnTo>
                        <a:pt x="1514208" y="681393"/>
                      </a:lnTo>
                      <a:lnTo>
                        <a:pt x="1515783" y="678599"/>
                      </a:lnTo>
                      <a:lnTo>
                        <a:pt x="1516748" y="676567"/>
                      </a:lnTo>
                      <a:lnTo>
                        <a:pt x="1517573" y="675170"/>
                      </a:lnTo>
                      <a:lnTo>
                        <a:pt x="1518475" y="674027"/>
                      </a:lnTo>
                      <a:lnTo>
                        <a:pt x="1518805" y="673646"/>
                      </a:lnTo>
                      <a:lnTo>
                        <a:pt x="1519174" y="673392"/>
                      </a:lnTo>
                      <a:lnTo>
                        <a:pt x="1521460" y="671614"/>
                      </a:lnTo>
                      <a:lnTo>
                        <a:pt x="1523352" y="670344"/>
                      </a:lnTo>
                      <a:lnTo>
                        <a:pt x="1526794" y="667931"/>
                      </a:lnTo>
                      <a:lnTo>
                        <a:pt x="1528343" y="667423"/>
                      </a:lnTo>
                      <a:lnTo>
                        <a:pt x="1534210" y="650417"/>
                      </a:lnTo>
                      <a:lnTo>
                        <a:pt x="1534325" y="650595"/>
                      </a:lnTo>
                      <a:lnTo>
                        <a:pt x="1534325" y="636460"/>
                      </a:lnTo>
                      <a:lnTo>
                        <a:pt x="1534287" y="636625"/>
                      </a:lnTo>
                      <a:lnTo>
                        <a:pt x="1533664" y="637895"/>
                      </a:lnTo>
                      <a:lnTo>
                        <a:pt x="1533194" y="640372"/>
                      </a:lnTo>
                      <a:lnTo>
                        <a:pt x="1533194" y="642886"/>
                      </a:lnTo>
                      <a:lnTo>
                        <a:pt x="1533169" y="642277"/>
                      </a:lnTo>
                      <a:lnTo>
                        <a:pt x="1533194" y="640372"/>
                      </a:lnTo>
                      <a:lnTo>
                        <a:pt x="1533664" y="637451"/>
                      </a:lnTo>
                      <a:lnTo>
                        <a:pt x="1534160" y="635927"/>
                      </a:lnTo>
                      <a:lnTo>
                        <a:pt x="1534363" y="635292"/>
                      </a:lnTo>
                      <a:lnTo>
                        <a:pt x="1535976" y="627735"/>
                      </a:lnTo>
                      <a:lnTo>
                        <a:pt x="1536065" y="626021"/>
                      </a:lnTo>
                      <a:lnTo>
                        <a:pt x="1536014" y="626859"/>
                      </a:lnTo>
                      <a:lnTo>
                        <a:pt x="1536065" y="625513"/>
                      </a:lnTo>
                      <a:lnTo>
                        <a:pt x="1536179" y="623735"/>
                      </a:lnTo>
                      <a:lnTo>
                        <a:pt x="1537322" y="621957"/>
                      </a:lnTo>
                      <a:lnTo>
                        <a:pt x="1540967" y="615353"/>
                      </a:lnTo>
                      <a:lnTo>
                        <a:pt x="1546047" y="609511"/>
                      </a:lnTo>
                      <a:lnTo>
                        <a:pt x="1546390" y="609955"/>
                      </a:lnTo>
                      <a:lnTo>
                        <a:pt x="1546390" y="592366"/>
                      </a:lnTo>
                      <a:lnTo>
                        <a:pt x="1546009" y="593445"/>
                      </a:lnTo>
                      <a:lnTo>
                        <a:pt x="1544650" y="594715"/>
                      </a:lnTo>
                      <a:lnTo>
                        <a:pt x="1542770" y="593445"/>
                      </a:lnTo>
                      <a:lnTo>
                        <a:pt x="1542427" y="594715"/>
                      </a:lnTo>
                      <a:lnTo>
                        <a:pt x="1543240" y="595985"/>
                      </a:lnTo>
                      <a:lnTo>
                        <a:pt x="1543596" y="595985"/>
                      </a:lnTo>
                      <a:lnTo>
                        <a:pt x="1543761" y="597255"/>
                      </a:lnTo>
                      <a:lnTo>
                        <a:pt x="1543812" y="598525"/>
                      </a:lnTo>
                      <a:lnTo>
                        <a:pt x="1543608" y="599795"/>
                      </a:lnTo>
                      <a:lnTo>
                        <a:pt x="1543773" y="606044"/>
                      </a:lnTo>
                      <a:lnTo>
                        <a:pt x="1542961" y="605066"/>
                      </a:lnTo>
                      <a:lnTo>
                        <a:pt x="1541995" y="603923"/>
                      </a:lnTo>
                      <a:lnTo>
                        <a:pt x="1541653" y="603669"/>
                      </a:lnTo>
                      <a:lnTo>
                        <a:pt x="1540294" y="605066"/>
                      </a:lnTo>
                      <a:lnTo>
                        <a:pt x="1533918" y="603542"/>
                      </a:lnTo>
                      <a:lnTo>
                        <a:pt x="1527492" y="603161"/>
                      </a:lnTo>
                      <a:lnTo>
                        <a:pt x="1524622" y="603542"/>
                      </a:lnTo>
                      <a:lnTo>
                        <a:pt x="1517294" y="605320"/>
                      </a:lnTo>
                      <a:lnTo>
                        <a:pt x="1514424" y="607479"/>
                      </a:lnTo>
                      <a:lnTo>
                        <a:pt x="1514170" y="608241"/>
                      </a:lnTo>
                      <a:lnTo>
                        <a:pt x="1513801" y="609130"/>
                      </a:lnTo>
                      <a:lnTo>
                        <a:pt x="1513433" y="610273"/>
                      </a:lnTo>
                      <a:lnTo>
                        <a:pt x="1513573" y="611035"/>
                      </a:lnTo>
                      <a:lnTo>
                        <a:pt x="1513395" y="613321"/>
                      </a:lnTo>
                      <a:lnTo>
                        <a:pt x="1513141" y="614464"/>
                      </a:lnTo>
                      <a:lnTo>
                        <a:pt x="1512811" y="615607"/>
                      </a:lnTo>
                      <a:lnTo>
                        <a:pt x="1512366" y="618401"/>
                      </a:lnTo>
                      <a:lnTo>
                        <a:pt x="1510766" y="622084"/>
                      </a:lnTo>
                      <a:lnTo>
                        <a:pt x="1509115" y="624116"/>
                      </a:lnTo>
                      <a:lnTo>
                        <a:pt x="1508810" y="623138"/>
                      </a:lnTo>
                      <a:lnTo>
                        <a:pt x="1508315" y="620598"/>
                      </a:lnTo>
                      <a:lnTo>
                        <a:pt x="1507718" y="618058"/>
                      </a:lnTo>
                      <a:lnTo>
                        <a:pt x="1507883" y="615518"/>
                      </a:lnTo>
                      <a:lnTo>
                        <a:pt x="1507667" y="615518"/>
                      </a:lnTo>
                      <a:lnTo>
                        <a:pt x="1507210" y="614464"/>
                      </a:lnTo>
                      <a:lnTo>
                        <a:pt x="1507210" y="632028"/>
                      </a:lnTo>
                      <a:lnTo>
                        <a:pt x="1507210" y="614464"/>
                      </a:lnTo>
                      <a:lnTo>
                        <a:pt x="1507121" y="614248"/>
                      </a:lnTo>
                      <a:lnTo>
                        <a:pt x="1504556" y="611708"/>
                      </a:lnTo>
                      <a:lnTo>
                        <a:pt x="1503337" y="610717"/>
                      </a:lnTo>
                      <a:lnTo>
                        <a:pt x="1503337" y="714286"/>
                      </a:lnTo>
                      <a:lnTo>
                        <a:pt x="1499196" y="716635"/>
                      </a:lnTo>
                      <a:lnTo>
                        <a:pt x="1493964" y="720445"/>
                      </a:lnTo>
                      <a:lnTo>
                        <a:pt x="1492453" y="721715"/>
                      </a:lnTo>
                      <a:lnTo>
                        <a:pt x="1489659" y="725525"/>
                      </a:lnTo>
                      <a:lnTo>
                        <a:pt x="1488579" y="726795"/>
                      </a:lnTo>
                      <a:lnTo>
                        <a:pt x="1483360" y="726795"/>
                      </a:lnTo>
                      <a:lnTo>
                        <a:pt x="1483385" y="725843"/>
                      </a:lnTo>
                      <a:lnTo>
                        <a:pt x="1484833" y="725843"/>
                      </a:lnTo>
                      <a:lnTo>
                        <a:pt x="1486357" y="726351"/>
                      </a:lnTo>
                      <a:lnTo>
                        <a:pt x="1488567" y="725843"/>
                      </a:lnTo>
                      <a:lnTo>
                        <a:pt x="1489659" y="724700"/>
                      </a:lnTo>
                      <a:lnTo>
                        <a:pt x="1493964" y="719239"/>
                      </a:lnTo>
                      <a:lnTo>
                        <a:pt x="1497253" y="717080"/>
                      </a:lnTo>
                      <a:lnTo>
                        <a:pt x="1499184" y="715810"/>
                      </a:lnTo>
                      <a:lnTo>
                        <a:pt x="1503337" y="714286"/>
                      </a:lnTo>
                      <a:lnTo>
                        <a:pt x="1503337" y="610717"/>
                      </a:lnTo>
                      <a:lnTo>
                        <a:pt x="1499882" y="607898"/>
                      </a:lnTo>
                      <a:lnTo>
                        <a:pt x="1499679" y="607898"/>
                      </a:lnTo>
                      <a:lnTo>
                        <a:pt x="1496796" y="605066"/>
                      </a:lnTo>
                      <a:lnTo>
                        <a:pt x="1496796" y="628307"/>
                      </a:lnTo>
                      <a:lnTo>
                        <a:pt x="1496669" y="628307"/>
                      </a:lnTo>
                      <a:lnTo>
                        <a:pt x="1496796" y="628307"/>
                      </a:lnTo>
                      <a:lnTo>
                        <a:pt x="1496796" y="605066"/>
                      </a:lnTo>
                      <a:lnTo>
                        <a:pt x="1495806" y="604088"/>
                      </a:lnTo>
                      <a:lnTo>
                        <a:pt x="1494345" y="601548"/>
                      </a:lnTo>
                      <a:lnTo>
                        <a:pt x="1492605" y="599008"/>
                      </a:lnTo>
                      <a:lnTo>
                        <a:pt x="1494663" y="599008"/>
                      </a:lnTo>
                      <a:lnTo>
                        <a:pt x="1494205" y="597738"/>
                      </a:lnTo>
                      <a:lnTo>
                        <a:pt x="1491005" y="592658"/>
                      </a:lnTo>
                      <a:lnTo>
                        <a:pt x="1490662" y="592493"/>
                      </a:lnTo>
                      <a:lnTo>
                        <a:pt x="1490662" y="626948"/>
                      </a:lnTo>
                      <a:lnTo>
                        <a:pt x="1489760" y="628040"/>
                      </a:lnTo>
                      <a:lnTo>
                        <a:pt x="1489595" y="628053"/>
                      </a:lnTo>
                      <a:lnTo>
                        <a:pt x="1490294" y="626948"/>
                      </a:lnTo>
                      <a:lnTo>
                        <a:pt x="1490662" y="626948"/>
                      </a:lnTo>
                      <a:lnTo>
                        <a:pt x="1490662" y="592493"/>
                      </a:lnTo>
                      <a:lnTo>
                        <a:pt x="1488440" y="591388"/>
                      </a:lnTo>
                      <a:lnTo>
                        <a:pt x="1487766" y="587578"/>
                      </a:lnTo>
                      <a:lnTo>
                        <a:pt x="1487474" y="585038"/>
                      </a:lnTo>
                      <a:lnTo>
                        <a:pt x="1486331" y="582498"/>
                      </a:lnTo>
                      <a:lnTo>
                        <a:pt x="1485519" y="581228"/>
                      </a:lnTo>
                      <a:lnTo>
                        <a:pt x="1485519" y="578688"/>
                      </a:lnTo>
                      <a:lnTo>
                        <a:pt x="1486293" y="578688"/>
                      </a:lnTo>
                      <a:lnTo>
                        <a:pt x="1486433" y="576148"/>
                      </a:lnTo>
                      <a:lnTo>
                        <a:pt x="1486560" y="574878"/>
                      </a:lnTo>
                      <a:lnTo>
                        <a:pt x="1486547" y="573608"/>
                      </a:lnTo>
                      <a:lnTo>
                        <a:pt x="1486484" y="572338"/>
                      </a:lnTo>
                      <a:lnTo>
                        <a:pt x="1486242" y="572338"/>
                      </a:lnTo>
                      <a:lnTo>
                        <a:pt x="1485836" y="571068"/>
                      </a:lnTo>
                      <a:lnTo>
                        <a:pt x="1485214" y="571068"/>
                      </a:lnTo>
                      <a:lnTo>
                        <a:pt x="1484591" y="569988"/>
                      </a:lnTo>
                      <a:lnTo>
                        <a:pt x="1484591" y="675170"/>
                      </a:lnTo>
                      <a:lnTo>
                        <a:pt x="1484566" y="675347"/>
                      </a:lnTo>
                      <a:lnTo>
                        <a:pt x="1484579" y="674941"/>
                      </a:lnTo>
                      <a:lnTo>
                        <a:pt x="1484591" y="675170"/>
                      </a:lnTo>
                      <a:lnTo>
                        <a:pt x="1484591" y="569988"/>
                      </a:lnTo>
                      <a:lnTo>
                        <a:pt x="1484553" y="673392"/>
                      </a:lnTo>
                      <a:lnTo>
                        <a:pt x="1484350" y="672249"/>
                      </a:lnTo>
                      <a:lnTo>
                        <a:pt x="1484553" y="673392"/>
                      </a:lnTo>
                      <a:lnTo>
                        <a:pt x="1484553" y="569925"/>
                      </a:lnTo>
                      <a:lnTo>
                        <a:pt x="1484325" y="569531"/>
                      </a:lnTo>
                      <a:lnTo>
                        <a:pt x="1484325" y="677608"/>
                      </a:lnTo>
                      <a:lnTo>
                        <a:pt x="1484312" y="677837"/>
                      </a:lnTo>
                      <a:lnTo>
                        <a:pt x="1484210" y="678599"/>
                      </a:lnTo>
                      <a:lnTo>
                        <a:pt x="1484325" y="677608"/>
                      </a:lnTo>
                      <a:lnTo>
                        <a:pt x="1484325" y="569531"/>
                      </a:lnTo>
                      <a:lnTo>
                        <a:pt x="1483982" y="568934"/>
                      </a:lnTo>
                      <a:lnTo>
                        <a:pt x="1483982" y="643674"/>
                      </a:lnTo>
                      <a:lnTo>
                        <a:pt x="1483436" y="645198"/>
                      </a:lnTo>
                      <a:lnTo>
                        <a:pt x="1483436" y="717080"/>
                      </a:lnTo>
                      <a:lnTo>
                        <a:pt x="1483436" y="717905"/>
                      </a:lnTo>
                      <a:lnTo>
                        <a:pt x="1482331" y="717905"/>
                      </a:lnTo>
                      <a:lnTo>
                        <a:pt x="1481391" y="719175"/>
                      </a:lnTo>
                      <a:lnTo>
                        <a:pt x="1478254" y="719175"/>
                      </a:lnTo>
                      <a:lnTo>
                        <a:pt x="1478051" y="720445"/>
                      </a:lnTo>
                      <a:lnTo>
                        <a:pt x="1473720" y="720445"/>
                      </a:lnTo>
                      <a:lnTo>
                        <a:pt x="1473504" y="721715"/>
                      </a:lnTo>
                      <a:lnTo>
                        <a:pt x="1472996" y="722985"/>
                      </a:lnTo>
                      <a:lnTo>
                        <a:pt x="1471777" y="724255"/>
                      </a:lnTo>
                      <a:lnTo>
                        <a:pt x="1468577" y="726795"/>
                      </a:lnTo>
                      <a:lnTo>
                        <a:pt x="1468386" y="725525"/>
                      </a:lnTo>
                      <a:lnTo>
                        <a:pt x="1465541" y="722985"/>
                      </a:lnTo>
                      <a:lnTo>
                        <a:pt x="1463814" y="722985"/>
                      </a:lnTo>
                      <a:lnTo>
                        <a:pt x="1461236" y="724255"/>
                      </a:lnTo>
                      <a:lnTo>
                        <a:pt x="1459141" y="725525"/>
                      </a:lnTo>
                      <a:lnTo>
                        <a:pt x="1456524" y="728065"/>
                      </a:lnTo>
                      <a:lnTo>
                        <a:pt x="1456309" y="728065"/>
                      </a:lnTo>
                      <a:lnTo>
                        <a:pt x="1455940" y="729335"/>
                      </a:lnTo>
                      <a:lnTo>
                        <a:pt x="1455801" y="729335"/>
                      </a:lnTo>
                      <a:lnTo>
                        <a:pt x="1463814" y="722566"/>
                      </a:lnTo>
                      <a:lnTo>
                        <a:pt x="1464424" y="721982"/>
                      </a:lnTo>
                      <a:lnTo>
                        <a:pt x="1465541" y="722795"/>
                      </a:lnTo>
                      <a:lnTo>
                        <a:pt x="1468386" y="724700"/>
                      </a:lnTo>
                      <a:lnTo>
                        <a:pt x="1468564" y="726097"/>
                      </a:lnTo>
                      <a:lnTo>
                        <a:pt x="1471777" y="724192"/>
                      </a:lnTo>
                      <a:lnTo>
                        <a:pt x="1472984" y="722668"/>
                      </a:lnTo>
                      <a:lnTo>
                        <a:pt x="1473606" y="720763"/>
                      </a:lnTo>
                      <a:lnTo>
                        <a:pt x="1473758" y="720128"/>
                      </a:lnTo>
                      <a:lnTo>
                        <a:pt x="1473708" y="719620"/>
                      </a:lnTo>
                      <a:lnTo>
                        <a:pt x="1474558" y="719620"/>
                      </a:lnTo>
                      <a:lnTo>
                        <a:pt x="1475905" y="719747"/>
                      </a:lnTo>
                      <a:lnTo>
                        <a:pt x="1476540" y="719874"/>
                      </a:lnTo>
                      <a:lnTo>
                        <a:pt x="1477137" y="719620"/>
                      </a:lnTo>
                      <a:lnTo>
                        <a:pt x="1478038" y="719239"/>
                      </a:lnTo>
                      <a:lnTo>
                        <a:pt x="1478241" y="718858"/>
                      </a:lnTo>
                      <a:lnTo>
                        <a:pt x="1478661" y="718731"/>
                      </a:lnTo>
                      <a:lnTo>
                        <a:pt x="1479080" y="718604"/>
                      </a:lnTo>
                      <a:lnTo>
                        <a:pt x="1479791" y="718858"/>
                      </a:lnTo>
                      <a:lnTo>
                        <a:pt x="1480439" y="718604"/>
                      </a:lnTo>
                      <a:lnTo>
                        <a:pt x="1481391" y="718223"/>
                      </a:lnTo>
                      <a:lnTo>
                        <a:pt x="1482318" y="717461"/>
                      </a:lnTo>
                      <a:lnTo>
                        <a:pt x="1483436" y="717080"/>
                      </a:lnTo>
                      <a:lnTo>
                        <a:pt x="1483436" y="645198"/>
                      </a:lnTo>
                      <a:lnTo>
                        <a:pt x="1483271" y="645655"/>
                      </a:lnTo>
                      <a:lnTo>
                        <a:pt x="1483829" y="644055"/>
                      </a:lnTo>
                      <a:lnTo>
                        <a:pt x="1483918" y="643458"/>
                      </a:lnTo>
                      <a:lnTo>
                        <a:pt x="1483982" y="643674"/>
                      </a:lnTo>
                      <a:lnTo>
                        <a:pt x="1483982" y="568934"/>
                      </a:lnTo>
                      <a:lnTo>
                        <a:pt x="1483753" y="568528"/>
                      </a:lnTo>
                      <a:lnTo>
                        <a:pt x="1487004" y="567258"/>
                      </a:lnTo>
                      <a:lnTo>
                        <a:pt x="1488147" y="567258"/>
                      </a:lnTo>
                      <a:lnTo>
                        <a:pt x="1489087" y="564718"/>
                      </a:lnTo>
                      <a:lnTo>
                        <a:pt x="1490027" y="562178"/>
                      </a:lnTo>
                      <a:lnTo>
                        <a:pt x="1490726" y="560908"/>
                      </a:lnTo>
                      <a:lnTo>
                        <a:pt x="1491259" y="559638"/>
                      </a:lnTo>
                      <a:lnTo>
                        <a:pt x="1492796" y="557098"/>
                      </a:lnTo>
                      <a:lnTo>
                        <a:pt x="1493862" y="554558"/>
                      </a:lnTo>
                      <a:lnTo>
                        <a:pt x="1495348" y="553288"/>
                      </a:lnTo>
                      <a:lnTo>
                        <a:pt x="1496301" y="550748"/>
                      </a:lnTo>
                      <a:lnTo>
                        <a:pt x="1497114" y="550748"/>
                      </a:lnTo>
                      <a:lnTo>
                        <a:pt x="1498015" y="549478"/>
                      </a:lnTo>
                      <a:lnTo>
                        <a:pt x="1498574" y="549478"/>
                      </a:lnTo>
                      <a:lnTo>
                        <a:pt x="1499095" y="548208"/>
                      </a:lnTo>
                      <a:lnTo>
                        <a:pt x="1499476" y="546938"/>
                      </a:lnTo>
                      <a:lnTo>
                        <a:pt x="1499920" y="545668"/>
                      </a:lnTo>
                      <a:lnTo>
                        <a:pt x="1499616" y="544398"/>
                      </a:lnTo>
                      <a:lnTo>
                        <a:pt x="1498600" y="543128"/>
                      </a:lnTo>
                      <a:lnTo>
                        <a:pt x="1497952" y="541858"/>
                      </a:lnTo>
                      <a:lnTo>
                        <a:pt x="1497241" y="539318"/>
                      </a:lnTo>
                      <a:lnTo>
                        <a:pt x="1496542" y="538048"/>
                      </a:lnTo>
                      <a:lnTo>
                        <a:pt x="1495793" y="536778"/>
                      </a:lnTo>
                      <a:lnTo>
                        <a:pt x="1494980" y="534238"/>
                      </a:lnTo>
                      <a:lnTo>
                        <a:pt x="1493545" y="532968"/>
                      </a:lnTo>
                      <a:lnTo>
                        <a:pt x="1489786" y="529158"/>
                      </a:lnTo>
                      <a:lnTo>
                        <a:pt x="1485150" y="526618"/>
                      </a:lnTo>
                      <a:lnTo>
                        <a:pt x="1483245" y="524421"/>
                      </a:lnTo>
                      <a:lnTo>
                        <a:pt x="1483245" y="682688"/>
                      </a:lnTo>
                      <a:lnTo>
                        <a:pt x="1482737" y="683933"/>
                      </a:lnTo>
                      <a:lnTo>
                        <a:pt x="1481988" y="685533"/>
                      </a:lnTo>
                      <a:lnTo>
                        <a:pt x="1483245" y="682688"/>
                      </a:lnTo>
                      <a:lnTo>
                        <a:pt x="1483245" y="524421"/>
                      </a:lnTo>
                      <a:lnTo>
                        <a:pt x="1480832" y="521627"/>
                      </a:lnTo>
                      <a:lnTo>
                        <a:pt x="1480832" y="635927"/>
                      </a:lnTo>
                      <a:lnTo>
                        <a:pt x="1480464" y="636054"/>
                      </a:lnTo>
                      <a:lnTo>
                        <a:pt x="1480464" y="648169"/>
                      </a:lnTo>
                      <a:lnTo>
                        <a:pt x="1480185" y="648373"/>
                      </a:lnTo>
                      <a:lnTo>
                        <a:pt x="1479765" y="648627"/>
                      </a:lnTo>
                      <a:lnTo>
                        <a:pt x="1480464" y="648169"/>
                      </a:lnTo>
                      <a:lnTo>
                        <a:pt x="1480464" y="636054"/>
                      </a:lnTo>
                      <a:lnTo>
                        <a:pt x="1480019" y="636181"/>
                      </a:lnTo>
                      <a:lnTo>
                        <a:pt x="1480832" y="635927"/>
                      </a:lnTo>
                      <a:lnTo>
                        <a:pt x="1480832" y="521627"/>
                      </a:lnTo>
                      <a:lnTo>
                        <a:pt x="1480146" y="521538"/>
                      </a:lnTo>
                      <a:lnTo>
                        <a:pt x="1478114" y="518477"/>
                      </a:lnTo>
                      <a:lnTo>
                        <a:pt x="1478114" y="652056"/>
                      </a:lnTo>
                      <a:lnTo>
                        <a:pt x="1478089" y="652183"/>
                      </a:lnTo>
                      <a:lnTo>
                        <a:pt x="1477899" y="652691"/>
                      </a:lnTo>
                      <a:lnTo>
                        <a:pt x="1478114" y="652056"/>
                      </a:lnTo>
                      <a:lnTo>
                        <a:pt x="1478114" y="518477"/>
                      </a:lnTo>
                      <a:lnTo>
                        <a:pt x="1477619" y="517728"/>
                      </a:lnTo>
                      <a:lnTo>
                        <a:pt x="1477327" y="517728"/>
                      </a:lnTo>
                      <a:lnTo>
                        <a:pt x="1477327" y="654151"/>
                      </a:lnTo>
                      <a:lnTo>
                        <a:pt x="1476959" y="654977"/>
                      </a:lnTo>
                      <a:lnTo>
                        <a:pt x="1476209" y="656526"/>
                      </a:lnTo>
                      <a:lnTo>
                        <a:pt x="1476209" y="691045"/>
                      </a:lnTo>
                      <a:lnTo>
                        <a:pt x="1475816" y="690410"/>
                      </a:lnTo>
                      <a:lnTo>
                        <a:pt x="1475892" y="690283"/>
                      </a:lnTo>
                      <a:lnTo>
                        <a:pt x="1475828" y="690410"/>
                      </a:lnTo>
                      <a:lnTo>
                        <a:pt x="1476209" y="691045"/>
                      </a:lnTo>
                      <a:lnTo>
                        <a:pt x="1476209" y="656526"/>
                      </a:lnTo>
                      <a:lnTo>
                        <a:pt x="1476032" y="656882"/>
                      </a:lnTo>
                      <a:lnTo>
                        <a:pt x="1476692" y="655485"/>
                      </a:lnTo>
                      <a:lnTo>
                        <a:pt x="1477327" y="654151"/>
                      </a:lnTo>
                      <a:lnTo>
                        <a:pt x="1477327" y="517728"/>
                      </a:lnTo>
                      <a:lnTo>
                        <a:pt x="1476743" y="517728"/>
                      </a:lnTo>
                      <a:lnTo>
                        <a:pt x="1479461" y="513918"/>
                      </a:lnTo>
                      <a:lnTo>
                        <a:pt x="1479816" y="512648"/>
                      </a:lnTo>
                      <a:lnTo>
                        <a:pt x="1486471" y="512648"/>
                      </a:lnTo>
                      <a:lnTo>
                        <a:pt x="1487081" y="513918"/>
                      </a:lnTo>
                      <a:lnTo>
                        <a:pt x="1490281" y="513918"/>
                      </a:lnTo>
                      <a:lnTo>
                        <a:pt x="1494167" y="512648"/>
                      </a:lnTo>
                      <a:lnTo>
                        <a:pt x="1500543" y="512648"/>
                      </a:lnTo>
                      <a:lnTo>
                        <a:pt x="1499539" y="511378"/>
                      </a:lnTo>
                      <a:lnTo>
                        <a:pt x="1497838" y="510108"/>
                      </a:lnTo>
                      <a:lnTo>
                        <a:pt x="1496949" y="508838"/>
                      </a:lnTo>
                      <a:lnTo>
                        <a:pt x="1496123" y="507568"/>
                      </a:lnTo>
                      <a:lnTo>
                        <a:pt x="1494370" y="505028"/>
                      </a:lnTo>
                      <a:lnTo>
                        <a:pt x="1493443" y="501218"/>
                      </a:lnTo>
                      <a:lnTo>
                        <a:pt x="1492631" y="498678"/>
                      </a:lnTo>
                      <a:lnTo>
                        <a:pt x="1492516" y="497408"/>
                      </a:lnTo>
                      <a:lnTo>
                        <a:pt x="1492491" y="496138"/>
                      </a:lnTo>
                      <a:lnTo>
                        <a:pt x="1492973" y="494868"/>
                      </a:lnTo>
                      <a:lnTo>
                        <a:pt x="1493278" y="493598"/>
                      </a:lnTo>
                      <a:lnTo>
                        <a:pt x="1493494" y="492328"/>
                      </a:lnTo>
                      <a:lnTo>
                        <a:pt x="1493748" y="491058"/>
                      </a:lnTo>
                      <a:lnTo>
                        <a:pt x="1493875" y="491058"/>
                      </a:lnTo>
                      <a:lnTo>
                        <a:pt x="1493710" y="489788"/>
                      </a:lnTo>
                      <a:lnTo>
                        <a:pt x="1493583" y="488518"/>
                      </a:lnTo>
                      <a:lnTo>
                        <a:pt x="1492885" y="485978"/>
                      </a:lnTo>
                      <a:lnTo>
                        <a:pt x="1492681" y="484708"/>
                      </a:lnTo>
                      <a:lnTo>
                        <a:pt x="1492326" y="484708"/>
                      </a:lnTo>
                      <a:lnTo>
                        <a:pt x="1491564" y="482168"/>
                      </a:lnTo>
                      <a:lnTo>
                        <a:pt x="1490738" y="480898"/>
                      </a:lnTo>
                      <a:lnTo>
                        <a:pt x="1490179" y="478358"/>
                      </a:lnTo>
                      <a:lnTo>
                        <a:pt x="1490002" y="477088"/>
                      </a:lnTo>
                      <a:lnTo>
                        <a:pt x="1489786" y="477088"/>
                      </a:lnTo>
                      <a:lnTo>
                        <a:pt x="1489024" y="474548"/>
                      </a:lnTo>
                      <a:lnTo>
                        <a:pt x="1486814" y="473468"/>
                      </a:lnTo>
                      <a:lnTo>
                        <a:pt x="1486814" y="489788"/>
                      </a:lnTo>
                      <a:lnTo>
                        <a:pt x="1486814" y="473468"/>
                      </a:lnTo>
                      <a:lnTo>
                        <a:pt x="1486446" y="473278"/>
                      </a:lnTo>
                      <a:lnTo>
                        <a:pt x="1485950" y="472592"/>
                      </a:lnTo>
                      <a:lnTo>
                        <a:pt x="1485950" y="491007"/>
                      </a:lnTo>
                      <a:lnTo>
                        <a:pt x="1485392" y="491058"/>
                      </a:lnTo>
                      <a:lnTo>
                        <a:pt x="1484693" y="492328"/>
                      </a:lnTo>
                      <a:lnTo>
                        <a:pt x="1483118" y="493598"/>
                      </a:lnTo>
                      <a:lnTo>
                        <a:pt x="1485379" y="491007"/>
                      </a:lnTo>
                      <a:lnTo>
                        <a:pt x="1485950" y="491007"/>
                      </a:lnTo>
                      <a:lnTo>
                        <a:pt x="1485950" y="472592"/>
                      </a:lnTo>
                      <a:lnTo>
                        <a:pt x="1485531" y="472008"/>
                      </a:lnTo>
                      <a:lnTo>
                        <a:pt x="1485315" y="470738"/>
                      </a:lnTo>
                      <a:lnTo>
                        <a:pt x="1485061" y="469468"/>
                      </a:lnTo>
                      <a:lnTo>
                        <a:pt x="1480553" y="468553"/>
                      </a:lnTo>
                      <a:lnTo>
                        <a:pt x="1480553" y="494804"/>
                      </a:lnTo>
                      <a:lnTo>
                        <a:pt x="1476883" y="494868"/>
                      </a:lnTo>
                      <a:lnTo>
                        <a:pt x="1476349" y="496087"/>
                      </a:lnTo>
                      <a:lnTo>
                        <a:pt x="1475803" y="496138"/>
                      </a:lnTo>
                      <a:lnTo>
                        <a:pt x="1475803" y="689521"/>
                      </a:lnTo>
                      <a:lnTo>
                        <a:pt x="1475549" y="688632"/>
                      </a:lnTo>
                      <a:lnTo>
                        <a:pt x="1475803" y="689521"/>
                      </a:lnTo>
                      <a:lnTo>
                        <a:pt x="1475803" y="496138"/>
                      </a:lnTo>
                      <a:lnTo>
                        <a:pt x="1475257" y="497408"/>
                      </a:lnTo>
                      <a:lnTo>
                        <a:pt x="1474889" y="498678"/>
                      </a:lnTo>
                      <a:lnTo>
                        <a:pt x="1474889" y="687108"/>
                      </a:lnTo>
                      <a:lnTo>
                        <a:pt x="1474139" y="685863"/>
                      </a:lnTo>
                      <a:lnTo>
                        <a:pt x="1474889" y="687108"/>
                      </a:lnTo>
                      <a:lnTo>
                        <a:pt x="1474889" y="498678"/>
                      </a:lnTo>
                      <a:lnTo>
                        <a:pt x="1474304" y="498678"/>
                      </a:lnTo>
                      <a:lnTo>
                        <a:pt x="1474889" y="498627"/>
                      </a:lnTo>
                      <a:lnTo>
                        <a:pt x="1475257" y="497357"/>
                      </a:lnTo>
                      <a:lnTo>
                        <a:pt x="1475701" y="496087"/>
                      </a:lnTo>
                      <a:lnTo>
                        <a:pt x="1476349" y="496087"/>
                      </a:lnTo>
                      <a:lnTo>
                        <a:pt x="1476756" y="494817"/>
                      </a:lnTo>
                      <a:lnTo>
                        <a:pt x="1480515" y="494817"/>
                      </a:lnTo>
                      <a:lnTo>
                        <a:pt x="1480553" y="468553"/>
                      </a:lnTo>
                      <a:lnTo>
                        <a:pt x="1478813" y="468198"/>
                      </a:lnTo>
                      <a:lnTo>
                        <a:pt x="1479448" y="471957"/>
                      </a:lnTo>
                      <a:lnTo>
                        <a:pt x="1478800" y="468147"/>
                      </a:lnTo>
                      <a:lnTo>
                        <a:pt x="1474597" y="461797"/>
                      </a:lnTo>
                      <a:lnTo>
                        <a:pt x="1474076" y="461797"/>
                      </a:lnTo>
                      <a:lnTo>
                        <a:pt x="1474076" y="499897"/>
                      </a:lnTo>
                      <a:lnTo>
                        <a:pt x="1473479" y="499948"/>
                      </a:lnTo>
                      <a:lnTo>
                        <a:pt x="1473111" y="501218"/>
                      </a:lnTo>
                      <a:lnTo>
                        <a:pt x="1472780" y="501218"/>
                      </a:lnTo>
                      <a:lnTo>
                        <a:pt x="1472196" y="502488"/>
                      </a:lnTo>
                      <a:lnTo>
                        <a:pt x="1471650" y="502488"/>
                      </a:lnTo>
                      <a:lnTo>
                        <a:pt x="1471587" y="502780"/>
                      </a:lnTo>
                      <a:lnTo>
                        <a:pt x="1471650" y="502437"/>
                      </a:lnTo>
                      <a:lnTo>
                        <a:pt x="1472196" y="502437"/>
                      </a:lnTo>
                      <a:lnTo>
                        <a:pt x="1472780" y="501167"/>
                      </a:lnTo>
                      <a:lnTo>
                        <a:pt x="1473111" y="501167"/>
                      </a:lnTo>
                      <a:lnTo>
                        <a:pt x="1473479" y="499897"/>
                      </a:lnTo>
                      <a:lnTo>
                        <a:pt x="1474076" y="499897"/>
                      </a:lnTo>
                      <a:lnTo>
                        <a:pt x="1474076" y="461797"/>
                      </a:lnTo>
                      <a:lnTo>
                        <a:pt x="1473441" y="460527"/>
                      </a:lnTo>
                      <a:lnTo>
                        <a:pt x="1473174" y="459257"/>
                      </a:lnTo>
                      <a:lnTo>
                        <a:pt x="1471142" y="459257"/>
                      </a:lnTo>
                      <a:lnTo>
                        <a:pt x="1471142" y="504977"/>
                      </a:lnTo>
                      <a:lnTo>
                        <a:pt x="1470494" y="506298"/>
                      </a:lnTo>
                      <a:lnTo>
                        <a:pt x="1470037" y="508787"/>
                      </a:lnTo>
                      <a:lnTo>
                        <a:pt x="1469326" y="510209"/>
                      </a:lnTo>
                      <a:lnTo>
                        <a:pt x="1469326" y="689902"/>
                      </a:lnTo>
                      <a:lnTo>
                        <a:pt x="1466176" y="689533"/>
                      </a:lnTo>
                      <a:lnTo>
                        <a:pt x="1469326" y="689902"/>
                      </a:lnTo>
                      <a:lnTo>
                        <a:pt x="1469326" y="510209"/>
                      </a:lnTo>
                      <a:lnTo>
                        <a:pt x="1468716" y="511378"/>
                      </a:lnTo>
                      <a:lnTo>
                        <a:pt x="1467167" y="512648"/>
                      </a:lnTo>
                      <a:lnTo>
                        <a:pt x="1468716" y="511327"/>
                      </a:lnTo>
                      <a:lnTo>
                        <a:pt x="1470037" y="508787"/>
                      </a:lnTo>
                      <a:lnTo>
                        <a:pt x="1470494" y="506247"/>
                      </a:lnTo>
                      <a:lnTo>
                        <a:pt x="1471142" y="504977"/>
                      </a:lnTo>
                      <a:lnTo>
                        <a:pt x="1471142" y="459257"/>
                      </a:lnTo>
                      <a:lnTo>
                        <a:pt x="1467040" y="459257"/>
                      </a:lnTo>
                      <a:lnTo>
                        <a:pt x="1467040" y="515137"/>
                      </a:lnTo>
                      <a:lnTo>
                        <a:pt x="1466977" y="517677"/>
                      </a:lnTo>
                      <a:lnTo>
                        <a:pt x="1466913" y="518236"/>
                      </a:lnTo>
                      <a:lnTo>
                        <a:pt x="1466913" y="626402"/>
                      </a:lnTo>
                      <a:lnTo>
                        <a:pt x="1466748" y="626846"/>
                      </a:lnTo>
                      <a:lnTo>
                        <a:pt x="1466799" y="626656"/>
                      </a:lnTo>
                      <a:lnTo>
                        <a:pt x="1466888" y="625627"/>
                      </a:lnTo>
                      <a:lnTo>
                        <a:pt x="1466913" y="626402"/>
                      </a:lnTo>
                      <a:lnTo>
                        <a:pt x="1466913" y="518236"/>
                      </a:lnTo>
                      <a:lnTo>
                        <a:pt x="1466824" y="518947"/>
                      </a:lnTo>
                      <a:lnTo>
                        <a:pt x="1466977" y="517677"/>
                      </a:lnTo>
                      <a:lnTo>
                        <a:pt x="1467040" y="515137"/>
                      </a:lnTo>
                      <a:lnTo>
                        <a:pt x="1467040" y="459257"/>
                      </a:lnTo>
                      <a:lnTo>
                        <a:pt x="1465986" y="459892"/>
                      </a:lnTo>
                      <a:lnTo>
                        <a:pt x="1465986" y="638340"/>
                      </a:lnTo>
                      <a:lnTo>
                        <a:pt x="1465884" y="635292"/>
                      </a:lnTo>
                      <a:lnTo>
                        <a:pt x="1465986" y="638340"/>
                      </a:lnTo>
                      <a:lnTo>
                        <a:pt x="1465986" y="459892"/>
                      </a:lnTo>
                      <a:lnTo>
                        <a:pt x="1465440" y="460222"/>
                      </a:lnTo>
                      <a:lnTo>
                        <a:pt x="1465440" y="520217"/>
                      </a:lnTo>
                      <a:lnTo>
                        <a:pt x="1465440" y="460222"/>
                      </a:lnTo>
                      <a:lnTo>
                        <a:pt x="1464932" y="460527"/>
                      </a:lnTo>
                      <a:lnTo>
                        <a:pt x="1464424" y="460527"/>
                      </a:lnTo>
                      <a:lnTo>
                        <a:pt x="1464424" y="520217"/>
                      </a:lnTo>
                      <a:lnTo>
                        <a:pt x="1463586" y="520268"/>
                      </a:lnTo>
                      <a:lnTo>
                        <a:pt x="1462646" y="521538"/>
                      </a:lnTo>
                      <a:lnTo>
                        <a:pt x="1462189" y="521538"/>
                      </a:lnTo>
                      <a:lnTo>
                        <a:pt x="1462024" y="522757"/>
                      </a:lnTo>
                      <a:lnTo>
                        <a:pt x="1461503" y="524675"/>
                      </a:lnTo>
                      <a:lnTo>
                        <a:pt x="1461503" y="682790"/>
                      </a:lnTo>
                      <a:lnTo>
                        <a:pt x="1461503" y="689902"/>
                      </a:lnTo>
                      <a:lnTo>
                        <a:pt x="1461490" y="682790"/>
                      </a:lnTo>
                      <a:lnTo>
                        <a:pt x="1461503" y="524675"/>
                      </a:lnTo>
                      <a:lnTo>
                        <a:pt x="1461312" y="525348"/>
                      </a:lnTo>
                      <a:lnTo>
                        <a:pt x="1461274" y="526567"/>
                      </a:lnTo>
                      <a:lnTo>
                        <a:pt x="1461249" y="527888"/>
                      </a:lnTo>
                      <a:lnTo>
                        <a:pt x="1461274" y="526567"/>
                      </a:lnTo>
                      <a:lnTo>
                        <a:pt x="1459915" y="526567"/>
                      </a:lnTo>
                      <a:lnTo>
                        <a:pt x="1459915" y="530377"/>
                      </a:lnTo>
                      <a:lnTo>
                        <a:pt x="1459090" y="531444"/>
                      </a:lnTo>
                      <a:lnTo>
                        <a:pt x="1459090" y="719924"/>
                      </a:lnTo>
                      <a:lnTo>
                        <a:pt x="1458925" y="720128"/>
                      </a:lnTo>
                      <a:lnTo>
                        <a:pt x="1458696" y="720318"/>
                      </a:lnTo>
                      <a:lnTo>
                        <a:pt x="1458912" y="720128"/>
                      </a:lnTo>
                      <a:lnTo>
                        <a:pt x="1459090" y="719924"/>
                      </a:lnTo>
                      <a:lnTo>
                        <a:pt x="1459090" y="531444"/>
                      </a:lnTo>
                      <a:lnTo>
                        <a:pt x="1459077" y="682790"/>
                      </a:lnTo>
                      <a:lnTo>
                        <a:pt x="1458239" y="682663"/>
                      </a:lnTo>
                      <a:lnTo>
                        <a:pt x="1456588" y="682536"/>
                      </a:lnTo>
                      <a:lnTo>
                        <a:pt x="1456994" y="682536"/>
                      </a:lnTo>
                      <a:lnTo>
                        <a:pt x="1458239" y="682663"/>
                      </a:lnTo>
                      <a:lnTo>
                        <a:pt x="1459077" y="682790"/>
                      </a:lnTo>
                      <a:lnTo>
                        <a:pt x="1459077" y="531469"/>
                      </a:lnTo>
                      <a:lnTo>
                        <a:pt x="1457909" y="532930"/>
                      </a:lnTo>
                      <a:lnTo>
                        <a:pt x="1457909" y="623138"/>
                      </a:lnTo>
                      <a:lnTo>
                        <a:pt x="1454480" y="623227"/>
                      </a:lnTo>
                      <a:lnTo>
                        <a:pt x="1451063" y="623138"/>
                      </a:lnTo>
                      <a:lnTo>
                        <a:pt x="1457909" y="623138"/>
                      </a:lnTo>
                      <a:lnTo>
                        <a:pt x="1457909" y="532930"/>
                      </a:lnTo>
                      <a:lnTo>
                        <a:pt x="1457706" y="532968"/>
                      </a:lnTo>
                      <a:lnTo>
                        <a:pt x="1457871" y="532917"/>
                      </a:lnTo>
                      <a:lnTo>
                        <a:pt x="1459903" y="530377"/>
                      </a:lnTo>
                      <a:lnTo>
                        <a:pt x="1459915" y="526567"/>
                      </a:lnTo>
                      <a:lnTo>
                        <a:pt x="1452664" y="526567"/>
                      </a:lnTo>
                      <a:lnTo>
                        <a:pt x="1452664" y="535457"/>
                      </a:lnTo>
                      <a:lnTo>
                        <a:pt x="1452626" y="539318"/>
                      </a:lnTo>
                      <a:lnTo>
                        <a:pt x="1448943" y="546938"/>
                      </a:lnTo>
                      <a:lnTo>
                        <a:pt x="1448371" y="547979"/>
                      </a:lnTo>
                      <a:lnTo>
                        <a:pt x="1448371" y="689317"/>
                      </a:lnTo>
                      <a:lnTo>
                        <a:pt x="1448206" y="689279"/>
                      </a:lnTo>
                      <a:lnTo>
                        <a:pt x="1448371" y="689317"/>
                      </a:lnTo>
                      <a:lnTo>
                        <a:pt x="1448371" y="547979"/>
                      </a:lnTo>
                      <a:lnTo>
                        <a:pt x="1447723" y="549160"/>
                      </a:lnTo>
                      <a:lnTo>
                        <a:pt x="1447723" y="707809"/>
                      </a:lnTo>
                      <a:lnTo>
                        <a:pt x="1447685" y="707047"/>
                      </a:lnTo>
                      <a:lnTo>
                        <a:pt x="1447723" y="707809"/>
                      </a:lnTo>
                      <a:lnTo>
                        <a:pt x="1447723" y="549160"/>
                      </a:lnTo>
                      <a:lnTo>
                        <a:pt x="1447609" y="549363"/>
                      </a:lnTo>
                      <a:lnTo>
                        <a:pt x="1447609" y="708202"/>
                      </a:lnTo>
                      <a:lnTo>
                        <a:pt x="1447215" y="709041"/>
                      </a:lnTo>
                      <a:lnTo>
                        <a:pt x="1447609" y="708202"/>
                      </a:lnTo>
                      <a:lnTo>
                        <a:pt x="1447609" y="549363"/>
                      </a:lnTo>
                      <a:lnTo>
                        <a:pt x="1447533" y="549503"/>
                      </a:lnTo>
                      <a:lnTo>
                        <a:pt x="1447533" y="706666"/>
                      </a:lnTo>
                      <a:lnTo>
                        <a:pt x="1447393" y="706031"/>
                      </a:lnTo>
                      <a:lnTo>
                        <a:pt x="1447342" y="705523"/>
                      </a:lnTo>
                      <a:lnTo>
                        <a:pt x="1447469" y="704888"/>
                      </a:lnTo>
                      <a:lnTo>
                        <a:pt x="1447431" y="706158"/>
                      </a:lnTo>
                      <a:lnTo>
                        <a:pt x="1447533" y="706666"/>
                      </a:lnTo>
                      <a:lnTo>
                        <a:pt x="1447533" y="549503"/>
                      </a:lnTo>
                      <a:lnTo>
                        <a:pt x="1447076" y="550367"/>
                      </a:lnTo>
                      <a:lnTo>
                        <a:pt x="1447076" y="554558"/>
                      </a:lnTo>
                      <a:lnTo>
                        <a:pt x="1444688" y="554558"/>
                      </a:lnTo>
                      <a:lnTo>
                        <a:pt x="1443583" y="558660"/>
                      </a:lnTo>
                      <a:lnTo>
                        <a:pt x="1443583" y="692569"/>
                      </a:lnTo>
                      <a:lnTo>
                        <a:pt x="1443583" y="692696"/>
                      </a:lnTo>
                      <a:lnTo>
                        <a:pt x="1443101" y="692696"/>
                      </a:lnTo>
                      <a:lnTo>
                        <a:pt x="1443101" y="696556"/>
                      </a:lnTo>
                      <a:lnTo>
                        <a:pt x="1442859" y="696188"/>
                      </a:lnTo>
                      <a:lnTo>
                        <a:pt x="1443101" y="696556"/>
                      </a:lnTo>
                      <a:lnTo>
                        <a:pt x="1443101" y="692696"/>
                      </a:lnTo>
                      <a:lnTo>
                        <a:pt x="1442808" y="692696"/>
                      </a:lnTo>
                      <a:lnTo>
                        <a:pt x="1442808" y="696112"/>
                      </a:lnTo>
                      <a:lnTo>
                        <a:pt x="1442745" y="695871"/>
                      </a:lnTo>
                      <a:lnTo>
                        <a:pt x="1442808" y="696112"/>
                      </a:lnTo>
                      <a:lnTo>
                        <a:pt x="1442808" y="692696"/>
                      </a:lnTo>
                      <a:lnTo>
                        <a:pt x="1440256" y="692696"/>
                      </a:lnTo>
                      <a:lnTo>
                        <a:pt x="1440256" y="707097"/>
                      </a:lnTo>
                      <a:lnTo>
                        <a:pt x="1438910" y="707936"/>
                      </a:lnTo>
                      <a:lnTo>
                        <a:pt x="1439621" y="707428"/>
                      </a:lnTo>
                      <a:lnTo>
                        <a:pt x="1440256" y="707097"/>
                      </a:lnTo>
                      <a:lnTo>
                        <a:pt x="1440256" y="692696"/>
                      </a:lnTo>
                      <a:lnTo>
                        <a:pt x="1423238" y="692696"/>
                      </a:lnTo>
                      <a:lnTo>
                        <a:pt x="1422069" y="692696"/>
                      </a:lnTo>
                      <a:lnTo>
                        <a:pt x="1421714" y="693204"/>
                      </a:lnTo>
                      <a:lnTo>
                        <a:pt x="1420583" y="693204"/>
                      </a:lnTo>
                      <a:lnTo>
                        <a:pt x="1419186" y="692950"/>
                      </a:lnTo>
                      <a:lnTo>
                        <a:pt x="1418602" y="691172"/>
                      </a:lnTo>
                      <a:lnTo>
                        <a:pt x="1417472" y="691172"/>
                      </a:lnTo>
                      <a:lnTo>
                        <a:pt x="1417497" y="691045"/>
                      </a:lnTo>
                      <a:lnTo>
                        <a:pt x="1417764" y="689775"/>
                      </a:lnTo>
                      <a:lnTo>
                        <a:pt x="1417828" y="689521"/>
                      </a:lnTo>
                      <a:lnTo>
                        <a:pt x="1419326" y="692188"/>
                      </a:lnTo>
                      <a:lnTo>
                        <a:pt x="1420126" y="692569"/>
                      </a:lnTo>
                      <a:lnTo>
                        <a:pt x="1421295" y="692188"/>
                      </a:lnTo>
                      <a:lnTo>
                        <a:pt x="1422742" y="692569"/>
                      </a:lnTo>
                      <a:lnTo>
                        <a:pt x="1443583" y="692569"/>
                      </a:lnTo>
                      <a:lnTo>
                        <a:pt x="1443583" y="558660"/>
                      </a:lnTo>
                      <a:lnTo>
                        <a:pt x="1443291" y="559739"/>
                      </a:lnTo>
                      <a:lnTo>
                        <a:pt x="1443291" y="692188"/>
                      </a:lnTo>
                      <a:lnTo>
                        <a:pt x="1443202" y="689902"/>
                      </a:lnTo>
                      <a:lnTo>
                        <a:pt x="1443291" y="692188"/>
                      </a:lnTo>
                      <a:lnTo>
                        <a:pt x="1443291" y="559739"/>
                      </a:lnTo>
                      <a:lnTo>
                        <a:pt x="1442631" y="562178"/>
                      </a:lnTo>
                      <a:lnTo>
                        <a:pt x="1439887" y="563448"/>
                      </a:lnTo>
                      <a:lnTo>
                        <a:pt x="1438732" y="563448"/>
                      </a:lnTo>
                      <a:lnTo>
                        <a:pt x="1439887" y="563397"/>
                      </a:lnTo>
                      <a:lnTo>
                        <a:pt x="1442631" y="562127"/>
                      </a:lnTo>
                      <a:lnTo>
                        <a:pt x="1444688" y="554507"/>
                      </a:lnTo>
                      <a:lnTo>
                        <a:pt x="1447025" y="554507"/>
                      </a:lnTo>
                      <a:lnTo>
                        <a:pt x="1447076" y="550367"/>
                      </a:lnTo>
                      <a:lnTo>
                        <a:pt x="1446872" y="550748"/>
                      </a:lnTo>
                      <a:lnTo>
                        <a:pt x="1447546" y="549427"/>
                      </a:lnTo>
                      <a:lnTo>
                        <a:pt x="1448257" y="548157"/>
                      </a:lnTo>
                      <a:lnTo>
                        <a:pt x="1451952" y="540537"/>
                      </a:lnTo>
                      <a:lnTo>
                        <a:pt x="1452613" y="539292"/>
                      </a:lnTo>
                      <a:lnTo>
                        <a:pt x="1452626" y="535508"/>
                      </a:lnTo>
                      <a:lnTo>
                        <a:pt x="1452664" y="526567"/>
                      </a:lnTo>
                      <a:lnTo>
                        <a:pt x="1451965" y="526567"/>
                      </a:lnTo>
                      <a:lnTo>
                        <a:pt x="1451965" y="536727"/>
                      </a:lnTo>
                      <a:lnTo>
                        <a:pt x="1451965" y="526567"/>
                      </a:lnTo>
                      <a:lnTo>
                        <a:pt x="1446644" y="526567"/>
                      </a:lnTo>
                      <a:lnTo>
                        <a:pt x="1446644" y="551256"/>
                      </a:lnTo>
                      <a:lnTo>
                        <a:pt x="1445869" y="553262"/>
                      </a:lnTo>
                      <a:lnTo>
                        <a:pt x="1446644" y="551256"/>
                      </a:lnTo>
                      <a:lnTo>
                        <a:pt x="1446644" y="526567"/>
                      </a:lnTo>
                      <a:lnTo>
                        <a:pt x="1438224" y="526567"/>
                      </a:lnTo>
                      <a:lnTo>
                        <a:pt x="1438224" y="564273"/>
                      </a:lnTo>
                      <a:lnTo>
                        <a:pt x="1437982" y="564718"/>
                      </a:lnTo>
                      <a:lnTo>
                        <a:pt x="1437513" y="563448"/>
                      </a:lnTo>
                      <a:lnTo>
                        <a:pt x="1432356" y="557098"/>
                      </a:lnTo>
                      <a:lnTo>
                        <a:pt x="1428851" y="554558"/>
                      </a:lnTo>
                      <a:lnTo>
                        <a:pt x="1428711" y="554558"/>
                      </a:lnTo>
                      <a:lnTo>
                        <a:pt x="1428635" y="555777"/>
                      </a:lnTo>
                      <a:lnTo>
                        <a:pt x="1428165" y="555828"/>
                      </a:lnTo>
                      <a:lnTo>
                        <a:pt x="1427949" y="557047"/>
                      </a:lnTo>
                      <a:lnTo>
                        <a:pt x="1425346" y="557098"/>
                      </a:lnTo>
                      <a:lnTo>
                        <a:pt x="1424317" y="555828"/>
                      </a:lnTo>
                      <a:lnTo>
                        <a:pt x="1420901" y="555828"/>
                      </a:lnTo>
                      <a:lnTo>
                        <a:pt x="1418221" y="559638"/>
                      </a:lnTo>
                      <a:lnTo>
                        <a:pt x="1417167" y="560857"/>
                      </a:lnTo>
                      <a:lnTo>
                        <a:pt x="1416773" y="560908"/>
                      </a:lnTo>
                      <a:lnTo>
                        <a:pt x="1417167" y="560857"/>
                      </a:lnTo>
                      <a:lnTo>
                        <a:pt x="1418221" y="559587"/>
                      </a:lnTo>
                      <a:lnTo>
                        <a:pt x="1420901" y="555777"/>
                      </a:lnTo>
                      <a:lnTo>
                        <a:pt x="1424305" y="555777"/>
                      </a:lnTo>
                      <a:lnTo>
                        <a:pt x="1425346" y="557047"/>
                      </a:lnTo>
                      <a:lnTo>
                        <a:pt x="1427949" y="557047"/>
                      </a:lnTo>
                      <a:lnTo>
                        <a:pt x="1428165" y="555777"/>
                      </a:lnTo>
                      <a:lnTo>
                        <a:pt x="1428635" y="555777"/>
                      </a:lnTo>
                      <a:lnTo>
                        <a:pt x="1428711" y="554507"/>
                      </a:lnTo>
                      <a:lnTo>
                        <a:pt x="1428851" y="554507"/>
                      </a:lnTo>
                      <a:lnTo>
                        <a:pt x="1432356" y="557047"/>
                      </a:lnTo>
                      <a:lnTo>
                        <a:pt x="1437513" y="563397"/>
                      </a:lnTo>
                      <a:lnTo>
                        <a:pt x="1437982" y="564667"/>
                      </a:lnTo>
                      <a:lnTo>
                        <a:pt x="1438224" y="564273"/>
                      </a:lnTo>
                      <a:lnTo>
                        <a:pt x="1438224" y="526567"/>
                      </a:lnTo>
                      <a:lnTo>
                        <a:pt x="1416215" y="526567"/>
                      </a:lnTo>
                      <a:lnTo>
                        <a:pt x="1416215" y="563029"/>
                      </a:lnTo>
                      <a:lnTo>
                        <a:pt x="1416062" y="563448"/>
                      </a:lnTo>
                      <a:lnTo>
                        <a:pt x="1415948" y="562178"/>
                      </a:lnTo>
                      <a:lnTo>
                        <a:pt x="1415542" y="562508"/>
                      </a:lnTo>
                      <a:lnTo>
                        <a:pt x="1415948" y="562127"/>
                      </a:lnTo>
                      <a:lnTo>
                        <a:pt x="1416062" y="563397"/>
                      </a:lnTo>
                      <a:lnTo>
                        <a:pt x="1416215" y="563029"/>
                      </a:lnTo>
                      <a:lnTo>
                        <a:pt x="1416215" y="526567"/>
                      </a:lnTo>
                      <a:lnTo>
                        <a:pt x="1413370" y="526567"/>
                      </a:lnTo>
                      <a:lnTo>
                        <a:pt x="1413370" y="564248"/>
                      </a:lnTo>
                      <a:lnTo>
                        <a:pt x="1413319" y="598385"/>
                      </a:lnTo>
                      <a:lnTo>
                        <a:pt x="1412621" y="597738"/>
                      </a:lnTo>
                      <a:lnTo>
                        <a:pt x="1413230" y="597738"/>
                      </a:lnTo>
                      <a:lnTo>
                        <a:pt x="1413319" y="598385"/>
                      </a:lnTo>
                      <a:lnTo>
                        <a:pt x="1413319" y="564299"/>
                      </a:lnTo>
                      <a:lnTo>
                        <a:pt x="1412798" y="564718"/>
                      </a:lnTo>
                      <a:lnTo>
                        <a:pt x="1406779" y="571068"/>
                      </a:lnTo>
                      <a:lnTo>
                        <a:pt x="1405877" y="571068"/>
                      </a:lnTo>
                      <a:lnTo>
                        <a:pt x="1405089" y="572338"/>
                      </a:lnTo>
                      <a:lnTo>
                        <a:pt x="1404327" y="572338"/>
                      </a:lnTo>
                      <a:lnTo>
                        <a:pt x="1404239" y="572490"/>
                      </a:lnTo>
                      <a:lnTo>
                        <a:pt x="1404239" y="578688"/>
                      </a:lnTo>
                      <a:lnTo>
                        <a:pt x="1403311" y="579958"/>
                      </a:lnTo>
                      <a:lnTo>
                        <a:pt x="1402651" y="582498"/>
                      </a:lnTo>
                      <a:lnTo>
                        <a:pt x="1401864" y="583768"/>
                      </a:lnTo>
                      <a:lnTo>
                        <a:pt x="1400873" y="586308"/>
                      </a:lnTo>
                      <a:lnTo>
                        <a:pt x="1400568" y="586841"/>
                      </a:lnTo>
                      <a:lnTo>
                        <a:pt x="1400873" y="586257"/>
                      </a:lnTo>
                      <a:lnTo>
                        <a:pt x="1401368" y="584987"/>
                      </a:lnTo>
                      <a:lnTo>
                        <a:pt x="1401864" y="583717"/>
                      </a:lnTo>
                      <a:lnTo>
                        <a:pt x="1402651" y="582447"/>
                      </a:lnTo>
                      <a:lnTo>
                        <a:pt x="1403311" y="579907"/>
                      </a:lnTo>
                      <a:lnTo>
                        <a:pt x="1404213" y="578662"/>
                      </a:lnTo>
                      <a:lnTo>
                        <a:pt x="1404239" y="572490"/>
                      </a:lnTo>
                      <a:lnTo>
                        <a:pt x="1402740" y="574852"/>
                      </a:lnTo>
                      <a:lnTo>
                        <a:pt x="1404327" y="572287"/>
                      </a:lnTo>
                      <a:lnTo>
                        <a:pt x="1405089" y="572287"/>
                      </a:lnTo>
                      <a:lnTo>
                        <a:pt x="1405877" y="571017"/>
                      </a:lnTo>
                      <a:lnTo>
                        <a:pt x="1406779" y="571017"/>
                      </a:lnTo>
                      <a:lnTo>
                        <a:pt x="1412798" y="564667"/>
                      </a:lnTo>
                      <a:lnTo>
                        <a:pt x="1413370" y="564248"/>
                      </a:lnTo>
                      <a:lnTo>
                        <a:pt x="1413370" y="526567"/>
                      </a:lnTo>
                      <a:lnTo>
                        <a:pt x="1375448" y="526567"/>
                      </a:lnTo>
                      <a:lnTo>
                        <a:pt x="1375448" y="591337"/>
                      </a:lnTo>
                      <a:lnTo>
                        <a:pt x="1374660" y="592315"/>
                      </a:lnTo>
                      <a:lnTo>
                        <a:pt x="1374482" y="591337"/>
                      </a:lnTo>
                      <a:lnTo>
                        <a:pt x="1374609" y="590067"/>
                      </a:lnTo>
                      <a:lnTo>
                        <a:pt x="1374279" y="588797"/>
                      </a:lnTo>
                      <a:lnTo>
                        <a:pt x="1373530" y="588797"/>
                      </a:lnTo>
                      <a:lnTo>
                        <a:pt x="1373720" y="587527"/>
                      </a:lnTo>
                      <a:lnTo>
                        <a:pt x="1373898" y="587527"/>
                      </a:lnTo>
                      <a:lnTo>
                        <a:pt x="1374902" y="590067"/>
                      </a:lnTo>
                      <a:lnTo>
                        <a:pt x="1375448" y="591337"/>
                      </a:lnTo>
                      <a:lnTo>
                        <a:pt x="1375448" y="526567"/>
                      </a:lnTo>
                      <a:lnTo>
                        <a:pt x="1355001" y="526567"/>
                      </a:lnTo>
                      <a:lnTo>
                        <a:pt x="1355001" y="576097"/>
                      </a:lnTo>
                      <a:lnTo>
                        <a:pt x="1353362" y="576097"/>
                      </a:lnTo>
                      <a:lnTo>
                        <a:pt x="1353553" y="574827"/>
                      </a:lnTo>
                      <a:lnTo>
                        <a:pt x="1354162" y="574827"/>
                      </a:lnTo>
                      <a:lnTo>
                        <a:pt x="1355001" y="576097"/>
                      </a:lnTo>
                      <a:lnTo>
                        <a:pt x="1355001" y="526567"/>
                      </a:lnTo>
                      <a:lnTo>
                        <a:pt x="1351000" y="526567"/>
                      </a:lnTo>
                      <a:lnTo>
                        <a:pt x="1351000" y="573112"/>
                      </a:lnTo>
                      <a:lnTo>
                        <a:pt x="1350924" y="573557"/>
                      </a:lnTo>
                      <a:lnTo>
                        <a:pt x="1350518" y="573557"/>
                      </a:lnTo>
                      <a:lnTo>
                        <a:pt x="1351000" y="573112"/>
                      </a:lnTo>
                      <a:lnTo>
                        <a:pt x="1351000" y="526567"/>
                      </a:lnTo>
                      <a:lnTo>
                        <a:pt x="1320368" y="526567"/>
                      </a:lnTo>
                      <a:lnTo>
                        <a:pt x="1319288" y="526567"/>
                      </a:lnTo>
                      <a:lnTo>
                        <a:pt x="1316774" y="526567"/>
                      </a:lnTo>
                      <a:lnTo>
                        <a:pt x="1316774" y="553237"/>
                      </a:lnTo>
                      <a:lnTo>
                        <a:pt x="1316240" y="556793"/>
                      </a:lnTo>
                      <a:lnTo>
                        <a:pt x="1316761" y="553212"/>
                      </a:lnTo>
                      <a:lnTo>
                        <a:pt x="1316697" y="550545"/>
                      </a:lnTo>
                      <a:lnTo>
                        <a:pt x="1316723" y="550697"/>
                      </a:lnTo>
                      <a:lnTo>
                        <a:pt x="1316761" y="553212"/>
                      </a:lnTo>
                      <a:lnTo>
                        <a:pt x="1316774" y="526567"/>
                      </a:lnTo>
                      <a:lnTo>
                        <a:pt x="1316570" y="526567"/>
                      </a:lnTo>
                      <a:lnTo>
                        <a:pt x="1316570" y="530377"/>
                      </a:lnTo>
                      <a:lnTo>
                        <a:pt x="1316151" y="535457"/>
                      </a:lnTo>
                      <a:lnTo>
                        <a:pt x="1315923" y="539267"/>
                      </a:lnTo>
                      <a:lnTo>
                        <a:pt x="1315021" y="541743"/>
                      </a:lnTo>
                      <a:lnTo>
                        <a:pt x="1315910" y="538035"/>
                      </a:lnTo>
                      <a:lnTo>
                        <a:pt x="1316139" y="534428"/>
                      </a:lnTo>
                      <a:lnTo>
                        <a:pt x="1316545" y="530313"/>
                      </a:lnTo>
                      <a:lnTo>
                        <a:pt x="1316494" y="527138"/>
                      </a:lnTo>
                      <a:lnTo>
                        <a:pt x="1316570" y="530377"/>
                      </a:lnTo>
                      <a:lnTo>
                        <a:pt x="1316570" y="526567"/>
                      </a:lnTo>
                      <a:lnTo>
                        <a:pt x="1316494" y="526224"/>
                      </a:lnTo>
                      <a:lnTo>
                        <a:pt x="1317764" y="525183"/>
                      </a:lnTo>
                      <a:lnTo>
                        <a:pt x="1319276" y="525767"/>
                      </a:lnTo>
                      <a:lnTo>
                        <a:pt x="1320355" y="525614"/>
                      </a:lnTo>
                      <a:lnTo>
                        <a:pt x="1321460" y="525183"/>
                      </a:lnTo>
                      <a:lnTo>
                        <a:pt x="1322438" y="521982"/>
                      </a:lnTo>
                      <a:lnTo>
                        <a:pt x="1322971" y="520700"/>
                      </a:lnTo>
                      <a:lnTo>
                        <a:pt x="1323555" y="519455"/>
                      </a:lnTo>
                      <a:lnTo>
                        <a:pt x="1323873" y="518363"/>
                      </a:lnTo>
                      <a:lnTo>
                        <a:pt x="1324241" y="517347"/>
                      </a:lnTo>
                      <a:lnTo>
                        <a:pt x="1329004" y="511327"/>
                      </a:lnTo>
                      <a:lnTo>
                        <a:pt x="1329804" y="511327"/>
                      </a:lnTo>
                      <a:lnTo>
                        <a:pt x="1326883" y="515137"/>
                      </a:lnTo>
                      <a:lnTo>
                        <a:pt x="1325829" y="516407"/>
                      </a:lnTo>
                      <a:lnTo>
                        <a:pt x="1324254" y="517677"/>
                      </a:lnTo>
                      <a:lnTo>
                        <a:pt x="1323886" y="518947"/>
                      </a:lnTo>
                      <a:lnTo>
                        <a:pt x="1323568" y="520217"/>
                      </a:lnTo>
                      <a:lnTo>
                        <a:pt x="1322984" y="521487"/>
                      </a:lnTo>
                      <a:lnTo>
                        <a:pt x="1322438" y="522757"/>
                      </a:lnTo>
                      <a:lnTo>
                        <a:pt x="1321536" y="525297"/>
                      </a:lnTo>
                      <a:lnTo>
                        <a:pt x="1461312" y="525297"/>
                      </a:lnTo>
                      <a:lnTo>
                        <a:pt x="1462024" y="522757"/>
                      </a:lnTo>
                      <a:lnTo>
                        <a:pt x="1462189" y="521487"/>
                      </a:lnTo>
                      <a:lnTo>
                        <a:pt x="1462646" y="521487"/>
                      </a:lnTo>
                      <a:lnTo>
                        <a:pt x="1463586" y="520217"/>
                      </a:lnTo>
                      <a:lnTo>
                        <a:pt x="1464424" y="520217"/>
                      </a:lnTo>
                      <a:lnTo>
                        <a:pt x="1464424" y="460527"/>
                      </a:lnTo>
                      <a:lnTo>
                        <a:pt x="1463636" y="460527"/>
                      </a:lnTo>
                      <a:lnTo>
                        <a:pt x="1462443" y="461797"/>
                      </a:lnTo>
                      <a:lnTo>
                        <a:pt x="1461135" y="461797"/>
                      </a:lnTo>
                      <a:lnTo>
                        <a:pt x="1460474" y="463067"/>
                      </a:lnTo>
                      <a:lnTo>
                        <a:pt x="1455064" y="468147"/>
                      </a:lnTo>
                      <a:lnTo>
                        <a:pt x="1454721" y="468147"/>
                      </a:lnTo>
                      <a:lnTo>
                        <a:pt x="1446809" y="465607"/>
                      </a:lnTo>
                      <a:lnTo>
                        <a:pt x="1444777" y="464337"/>
                      </a:lnTo>
                      <a:lnTo>
                        <a:pt x="1440624" y="464337"/>
                      </a:lnTo>
                      <a:lnTo>
                        <a:pt x="1437106" y="463067"/>
                      </a:lnTo>
                      <a:lnTo>
                        <a:pt x="1433436" y="464337"/>
                      </a:lnTo>
                      <a:lnTo>
                        <a:pt x="1425435" y="464337"/>
                      </a:lnTo>
                      <a:lnTo>
                        <a:pt x="1423517" y="465607"/>
                      </a:lnTo>
                      <a:lnTo>
                        <a:pt x="1421638" y="465607"/>
                      </a:lnTo>
                      <a:lnTo>
                        <a:pt x="1419440" y="466877"/>
                      </a:lnTo>
                      <a:lnTo>
                        <a:pt x="1417815" y="469417"/>
                      </a:lnTo>
                      <a:lnTo>
                        <a:pt x="1416151" y="470687"/>
                      </a:lnTo>
                      <a:lnTo>
                        <a:pt x="1414653" y="471957"/>
                      </a:lnTo>
                      <a:lnTo>
                        <a:pt x="1406994" y="471957"/>
                      </a:lnTo>
                      <a:lnTo>
                        <a:pt x="1404594" y="470687"/>
                      </a:lnTo>
                      <a:lnTo>
                        <a:pt x="1401038" y="469417"/>
                      </a:lnTo>
                      <a:lnTo>
                        <a:pt x="1396873" y="466877"/>
                      </a:lnTo>
                      <a:lnTo>
                        <a:pt x="1395044" y="465607"/>
                      </a:lnTo>
                      <a:lnTo>
                        <a:pt x="1392834" y="464337"/>
                      </a:lnTo>
                      <a:lnTo>
                        <a:pt x="1386560" y="464337"/>
                      </a:lnTo>
                      <a:lnTo>
                        <a:pt x="1383957" y="466877"/>
                      </a:lnTo>
                      <a:lnTo>
                        <a:pt x="1381023" y="468147"/>
                      </a:lnTo>
                      <a:lnTo>
                        <a:pt x="1380007" y="468147"/>
                      </a:lnTo>
                      <a:lnTo>
                        <a:pt x="1378927" y="469417"/>
                      </a:lnTo>
                      <a:lnTo>
                        <a:pt x="1377670" y="469417"/>
                      </a:lnTo>
                      <a:lnTo>
                        <a:pt x="1370622" y="461797"/>
                      </a:lnTo>
                      <a:lnTo>
                        <a:pt x="1369796" y="461797"/>
                      </a:lnTo>
                      <a:lnTo>
                        <a:pt x="1368971" y="460527"/>
                      </a:lnTo>
                      <a:lnTo>
                        <a:pt x="1368094" y="460527"/>
                      </a:lnTo>
                      <a:lnTo>
                        <a:pt x="1366329" y="459257"/>
                      </a:lnTo>
                      <a:lnTo>
                        <a:pt x="1363802" y="457987"/>
                      </a:lnTo>
                      <a:lnTo>
                        <a:pt x="1360373" y="457987"/>
                      </a:lnTo>
                      <a:lnTo>
                        <a:pt x="1357947" y="456717"/>
                      </a:lnTo>
                      <a:lnTo>
                        <a:pt x="1351584" y="456717"/>
                      </a:lnTo>
                      <a:lnTo>
                        <a:pt x="1347444" y="457987"/>
                      </a:lnTo>
                      <a:lnTo>
                        <a:pt x="1343456" y="459257"/>
                      </a:lnTo>
                      <a:lnTo>
                        <a:pt x="1341564" y="459257"/>
                      </a:lnTo>
                      <a:lnTo>
                        <a:pt x="1337678" y="461797"/>
                      </a:lnTo>
                      <a:lnTo>
                        <a:pt x="1336281" y="463067"/>
                      </a:lnTo>
                      <a:lnTo>
                        <a:pt x="1336382" y="464337"/>
                      </a:lnTo>
                      <a:lnTo>
                        <a:pt x="1336179" y="465607"/>
                      </a:lnTo>
                      <a:lnTo>
                        <a:pt x="1335900" y="466877"/>
                      </a:lnTo>
                      <a:lnTo>
                        <a:pt x="1332585" y="473227"/>
                      </a:lnTo>
                      <a:lnTo>
                        <a:pt x="1332115" y="473976"/>
                      </a:lnTo>
                      <a:lnTo>
                        <a:pt x="1332115" y="502437"/>
                      </a:lnTo>
                      <a:lnTo>
                        <a:pt x="1332039" y="503707"/>
                      </a:lnTo>
                      <a:lnTo>
                        <a:pt x="1331683" y="504977"/>
                      </a:lnTo>
                      <a:lnTo>
                        <a:pt x="1330566" y="506247"/>
                      </a:lnTo>
                      <a:lnTo>
                        <a:pt x="1329436" y="506247"/>
                      </a:lnTo>
                      <a:lnTo>
                        <a:pt x="1329131" y="507517"/>
                      </a:lnTo>
                      <a:lnTo>
                        <a:pt x="1328801" y="507517"/>
                      </a:lnTo>
                      <a:lnTo>
                        <a:pt x="1328635" y="510489"/>
                      </a:lnTo>
                      <a:lnTo>
                        <a:pt x="1328788" y="507504"/>
                      </a:lnTo>
                      <a:lnTo>
                        <a:pt x="1328966" y="507047"/>
                      </a:lnTo>
                      <a:lnTo>
                        <a:pt x="1329143" y="506730"/>
                      </a:lnTo>
                      <a:lnTo>
                        <a:pt x="1329436" y="506044"/>
                      </a:lnTo>
                      <a:lnTo>
                        <a:pt x="1329944" y="505612"/>
                      </a:lnTo>
                      <a:lnTo>
                        <a:pt x="1330833" y="504698"/>
                      </a:lnTo>
                      <a:lnTo>
                        <a:pt x="1331671" y="503732"/>
                      </a:lnTo>
                      <a:lnTo>
                        <a:pt x="1332039" y="503097"/>
                      </a:lnTo>
                      <a:lnTo>
                        <a:pt x="1332026" y="502424"/>
                      </a:lnTo>
                      <a:lnTo>
                        <a:pt x="1332115" y="473976"/>
                      </a:lnTo>
                      <a:lnTo>
                        <a:pt x="1331785" y="474497"/>
                      </a:lnTo>
                      <a:lnTo>
                        <a:pt x="1330794" y="475767"/>
                      </a:lnTo>
                      <a:lnTo>
                        <a:pt x="1330210" y="475767"/>
                      </a:lnTo>
                      <a:lnTo>
                        <a:pt x="1330045" y="477037"/>
                      </a:lnTo>
                      <a:lnTo>
                        <a:pt x="1329728" y="477037"/>
                      </a:lnTo>
                      <a:lnTo>
                        <a:pt x="1329664" y="478307"/>
                      </a:lnTo>
                      <a:lnTo>
                        <a:pt x="1329029" y="482117"/>
                      </a:lnTo>
                      <a:lnTo>
                        <a:pt x="1328978" y="485927"/>
                      </a:lnTo>
                      <a:lnTo>
                        <a:pt x="1328851" y="488467"/>
                      </a:lnTo>
                      <a:lnTo>
                        <a:pt x="1328508" y="488467"/>
                      </a:lnTo>
                      <a:lnTo>
                        <a:pt x="1327632" y="491007"/>
                      </a:lnTo>
                      <a:lnTo>
                        <a:pt x="1327226" y="492556"/>
                      </a:lnTo>
                      <a:lnTo>
                        <a:pt x="1326972" y="492315"/>
                      </a:lnTo>
                      <a:lnTo>
                        <a:pt x="1327264" y="491566"/>
                      </a:lnTo>
                      <a:lnTo>
                        <a:pt x="1328115" y="489394"/>
                      </a:lnTo>
                      <a:lnTo>
                        <a:pt x="1328356" y="488823"/>
                      </a:lnTo>
                      <a:lnTo>
                        <a:pt x="1328496" y="488378"/>
                      </a:lnTo>
                      <a:lnTo>
                        <a:pt x="1328496" y="488213"/>
                      </a:lnTo>
                      <a:lnTo>
                        <a:pt x="1328394" y="487794"/>
                      </a:lnTo>
                      <a:lnTo>
                        <a:pt x="1328242" y="487273"/>
                      </a:lnTo>
                      <a:lnTo>
                        <a:pt x="1327683" y="486854"/>
                      </a:lnTo>
                      <a:lnTo>
                        <a:pt x="1324343" y="484530"/>
                      </a:lnTo>
                      <a:lnTo>
                        <a:pt x="1323238" y="483768"/>
                      </a:lnTo>
                      <a:lnTo>
                        <a:pt x="1320800" y="480656"/>
                      </a:lnTo>
                      <a:lnTo>
                        <a:pt x="1319326" y="479044"/>
                      </a:lnTo>
                      <a:lnTo>
                        <a:pt x="1313624" y="479044"/>
                      </a:lnTo>
                      <a:lnTo>
                        <a:pt x="1312887" y="479044"/>
                      </a:lnTo>
                      <a:lnTo>
                        <a:pt x="1312240" y="479450"/>
                      </a:lnTo>
                      <a:lnTo>
                        <a:pt x="1311732" y="479729"/>
                      </a:lnTo>
                      <a:lnTo>
                        <a:pt x="1311490" y="480085"/>
                      </a:lnTo>
                      <a:lnTo>
                        <a:pt x="1311376" y="480491"/>
                      </a:lnTo>
                      <a:lnTo>
                        <a:pt x="1311363" y="481609"/>
                      </a:lnTo>
                      <a:lnTo>
                        <a:pt x="1311503" y="483768"/>
                      </a:lnTo>
                      <a:lnTo>
                        <a:pt x="1311630" y="484212"/>
                      </a:lnTo>
                      <a:lnTo>
                        <a:pt x="1311643" y="484428"/>
                      </a:lnTo>
                      <a:lnTo>
                        <a:pt x="1311719" y="486562"/>
                      </a:lnTo>
                      <a:lnTo>
                        <a:pt x="1310386" y="488226"/>
                      </a:lnTo>
                      <a:lnTo>
                        <a:pt x="1306906" y="491032"/>
                      </a:lnTo>
                      <a:lnTo>
                        <a:pt x="1306055" y="491566"/>
                      </a:lnTo>
                      <a:lnTo>
                        <a:pt x="1302893" y="491413"/>
                      </a:lnTo>
                      <a:lnTo>
                        <a:pt x="1302893" y="565480"/>
                      </a:lnTo>
                      <a:lnTo>
                        <a:pt x="1302893" y="491413"/>
                      </a:lnTo>
                      <a:lnTo>
                        <a:pt x="1302562" y="491401"/>
                      </a:lnTo>
                      <a:lnTo>
                        <a:pt x="1302562" y="564248"/>
                      </a:lnTo>
                      <a:lnTo>
                        <a:pt x="1302131" y="563346"/>
                      </a:lnTo>
                      <a:lnTo>
                        <a:pt x="1302562" y="564248"/>
                      </a:lnTo>
                      <a:lnTo>
                        <a:pt x="1302562" y="491401"/>
                      </a:lnTo>
                      <a:lnTo>
                        <a:pt x="1302207" y="491375"/>
                      </a:lnTo>
                      <a:lnTo>
                        <a:pt x="1301165" y="491185"/>
                      </a:lnTo>
                      <a:lnTo>
                        <a:pt x="1301165" y="545503"/>
                      </a:lnTo>
                      <a:lnTo>
                        <a:pt x="1301064" y="546404"/>
                      </a:lnTo>
                      <a:lnTo>
                        <a:pt x="1301127" y="544741"/>
                      </a:lnTo>
                      <a:lnTo>
                        <a:pt x="1301165" y="545503"/>
                      </a:lnTo>
                      <a:lnTo>
                        <a:pt x="1301165" y="491185"/>
                      </a:lnTo>
                      <a:lnTo>
                        <a:pt x="1301038" y="491159"/>
                      </a:lnTo>
                      <a:lnTo>
                        <a:pt x="1301038" y="542848"/>
                      </a:lnTo>
                      <a:lnTo>
                        <a:pt x="1300873" y="541032"/>
                      </a:lnTo>
                      <a:lnTo>
                        <a:pt x="1300937" y="541693"/>
                      </a:lnTo>
                      <a:lnTo>
                        <a:pt x="1301038" y="542848"/>
                      </a:lnTo>
                      <a:lnTo>
                        <a:pt x="1301038" y="491159"/>
                      </a:lnTo>
                      <a:lnTo>
                        <a:pt x="1300708" y="491134"/>
                      </a:lnTo>
                      <a:lnTo>
                        <a:pt x="1300708" y="550113"/>
                      </a:lnTo>
                      <a:lnTo>
                        <a:pt x="1300695" y="550252"/>
                      </a:lnTo>
                      <a:lnTo>
                        <a:pt x="1300632" y="550633"/>
                      </a:lnTo>
                      <a:lnTo>
                        <a:pt x="1300708" y="550113"/>
                      </a:lnTo>
                      <a:lnTo>
                        <a:pt x="1300708" y="491134"/>
                      </a:lnTo>
                      <a:lnTo>
                        <a:pt x="1300264" y="491121"/>
                      </a:lnTo>
                      <a:lnTo>
                        <a:pt x="1300264" y="558368"/>
                      </a:lnTo>
                      <a:lnTo>
                        <a:pt x="1300111" y="558927"/>
                      </a:lnTo>
                      <a:lnTo>
                        <a:pt x="1300187" y="556514"/>
                      </a:lnTo>
                      <a:lnTo>
                        <a:pt x="1300264" y="558368"/>
                      </a:lnTo>
                      <a:lnTo>
                        <a:pt x="1300264" y="491121"/>
                      </a:lnTo>
                      <a:lnTo>
                        <a:pt x="1299794" y="491109"/>
                      </a:lnTo>
                      <a:lnTo>
                        <a:pt x="1298968" y="490994"/>
                      </a:lnTo>
                      <a:lnTo>
                        <a:pt x="1298219" y="490969"/>
                      </a:lnTo>
                      <a:lnTo>
                        <a:pt x="1296924" y="491401"/>
                      </a:lnTo>
                      <a:lnTo>
                        <a:pt x="1295603" y="492734"/>
                      </a:lnTo>
                      <a:lnTo>
                        <a:pt x="1295603" y="511632"/>
                      </a:lnTo>
                      <a:lnTo>
                        <a:pt x="1294942" y="511187"/>
                      </a:lnTo>
                      <a:lnTo>
                        <a:pt x="1295311" y="511416"/>
                      </a:lnTo>
                      <a:lnTo>
                        <a:pt x="1295603" y="511632"/>
                      </a:lnTo>
                      <a:lnTo>
                        <a:pt x="1295603" y="492734"/>
                      </a:lnTo>
                      <a:lnTo>
                        <a:pt x="1295323" y="493014"/>
                      </a:lnTo>
                      <a:lnTo>
                        <a:pt x="1294307" y="493737"/>
                      </a:lnTo>
                      <a:lnTo>
                        <a:pt x="1293380" y="494449"/>
                      </a:lnTo>
                      <a:lnTo>
                        <a:pt x="1292974" y="495274"/>
                      </a:lnTo>
                      <a:lnTo>
                        <a:pt x="1292542" y="495731"/>
                      </a:lnTo>
                      <a:lnTo>
                        <a:pt x="1292440" y="496201"/>
                      </a:lnTo>
                      <a:lnTo>
                        <a:pt x="1293266" y="497039"/>
                      </a:lnTo>
                      <a:lnTo>
                        <a:pt x="1292326" y="497268"/>
                      </a:lnTo>
                      <a:lnTo>
                        <a:pt x="1291412" y="497395"/>
                      </a:lnTo>
                      <a:lnTo>
                        <a:pt x="1290485" y="497471"/>
                      </a:lnTo>
                      <a:lnTo>
                        <a:pt x="1290675" y="497662"/>
                      </a:lnTo>
                      <a:lnTo>
                        <a:pt x="1290472" y="497509"/>
                      </a:lnTo>
                      <a:lnTo>
                        <a:pt x="1290256" y="497306"/>
                      </a:lnTo>
                      <a:lnTo>
                        <a:pt x="1289710" y="497357"/>
                      </a:lnTo>
                      <a:lnTo>
                        <a:pt x="1289710" y="499414"/>
                      </a:lnTo>
                      <a:lnTo>
                        <a:pt x="1289291" y="500519"/>
                      </a:lnTo>
                      <a:lnTo>
                        <a:pt x="1289710" y="499414"/>
                      </a:lnTo>
                      <a:lnTo>
                        <a:pt x="1289710" y="497357"/>
                      </a:lnTo>
                      <a:lnTo>
                        <a:pt x="1288910" y="497420"/>
                      </a:lnTo>
                      <a:lnTo>
                        <a:pt x="1288910" y="501688"/>
                      </a:lnTo>
                      <a:lnTo>
                        <a:pt x="1288808" y="505561"/>
                      </a:lnTo>
                      <a:lnTo>
                        <a:pt x="1288707" y="504786"/>
                      </a:lnTo>
                      <a:lnTo>
                        <a:pt x="1288732" y="502805"/>
                      </a:lnTo>
                      <a:lnTo>
                        <a:pt x="1288910" y="501688"/>
                      </a:lnTo>
                      <a:lnTo>
                        <a:pt x="1288910" y="497420"/>
                      </a:lnTo>
                      <a:lnTo>
                        <a:pt x="1286852" y="497573"/>
                      </a:lnTo>
                      <a:lnTo>
                        <a:pt x="1285430" y="497471"/>
                      </a:lnTo>
                      <a:lnTo>
                        <a:pt x="1285430" y="555282"/>
                      </a:lnTo>
                      <a:lnTo>
                        <a:pt x="1285189" y="555548"/>
                      </a:lnTo>
                      <a:lnTo>
                        <a:pt x="1284986" y="555675"/>
                      </a:lnTo>
                      <a:lnTo>
                        <a:pt x="1285176" y="555548"/>
                      </a:lnTo>
                      <a:lnTo>
                        <a:pt x="1285430" y="555282"/>
                      </a:lnTo>
                      <a:lnTo>
                        <a:pt x="1285430" y="497471"/>
                      </a:lnTo>
                      <a:lnTo>
                        <a:pt x="1284592" y="497395"/>
                      </a:lnTo>
                      <a:lnTo>
                        <a:pt x="1284592" y="547573"/>
                      </a:lnTo>
                      <a:lnTo>
                        <a:pt x="1284592" y="548424"/>
                      </a:lnTo>
                      <a:lnTo>
                        <a:pt x="1284503" y="548144"/>
                      </a:lnTo>
                      <a:lnTo>
                        <a:pt x="1284592" y="547573"/>
                      </a:lnTo>
                      <a:lnTo>
                        <a:pt x="1284592" y="497395"/>
                      </a:lnTo>
                      <a:lnTo>
                        <a:pt x="1284389" y="497382"/>
                      </a:lnTo>
                      <a:lnTo>
                        <a:pt x="1284389" y="528777"/>
                      </a:lnTo>
                      <a:lnTo>
                        <a:pt x="1284033" y="529196"/>
                      </a:lnTo>
                      <a:lnTo>
                        <a:pt x="1284376" y="528777"/>
                      </a:lnTo>
                      <a:lnTo>
                        <a:pt x="1284389" y="497382"/>
                      </a:lnTo>
                      <a:lnTo>
                        <a:pt x="1283944" y="497344"/>
                      </a:lnTo>
                      <a:lnTo>
                        <a:pt x="1283944" y="531660"/>
                      </a:lnTo>
                      <a:lnTo>
                        <a:pt x="1282712" y="530059"/>
                      </a:lnTo>
                      <a:lnTo>
                        <a:pt x="1283944" y="531660"/>
                      </a:lnTo>
                      <a:lnTo>
                        <a:pt x="1283944" y="497344"/>
                      </a:lnTo>
                      <a:lnTo>
                        <a:pt x="1283335" y="497306"/>
                      </a:lnTo>
                      <a:lnTo>
                        <a:pt x="1283335" y="524002"/>
                      </a:lnTo>
                      <a:lnTo>
                        <a:pt x="1282903" y="522287"/>
                      </a:lnTo>
                      <a:lnTo>
                        <a:pt x="1282966" y="522490"/>
                      </a:lnTo>
                      <a:lnTo>
                        <a:pt x="1283335" y="524002"/>
                      </a:lnTo>
                      <a:lnTo>
                        <a:pt x="1283335" y="497306"/>
                      </a:lnTo>
                      <a:lnTo>
                        <a:pt x="1282712" y="497179"/>
                      </a:lnTo>
                      <a:lnTo>
                        <a:pt x="1282712" y="521538"/>
                      </a:lnTo>
                      <a:lnTo>
                        <a:pt x="1282585" y="521081"/>
                      </a:lnTo>
                      <a:lnTo>
                        <a:pt x="1282712" y="521538"/>
                      </a:lnTo>
                      <a:lnTo>
                        <a:pt x="1282712" y="497179"/>
                      </a:lnTo>
                      <a:lnTo>
                        <a:pt x="1282522" y="497141"/>
                      </a:lnTo>
                      <a:lnTo>
                        <a:pt x="1282522" y="518261"/>
                      </a:lnTo>
                      <a:lnTo>
                        <a:pt x="1282192" y="518528"/>
                      </a:lnTo>
                      <a:lnTo>
                        <a:pt x="1282192" y="519772"/>
                      </a:lnTo>
                      <a:lnTo>
                        <a:pt x="1282103" y="519988"/>
                      </a:lnTo>
                      <a:lnTo>
                        <a:pt x="1281468" y="520839"/>
                      </a:lnTo>
                      <a:lnTo>
                        <a:pt x="1282090" y="519988"/>
                      </a:lnTo>
                      <a:lnTo>
                        <a:pt x="1282192" y="519772"/>
                      </a:lnTo>
                      <a:lnTo>
                        <a:pt x="1282192" y="518528"/>
                      </a:lnTo>
                      <a:lnTo>
                        <a:pt x="1281506" y="519049"/>
                      </a:lnTo>
                      <a:lnTo>
                        <a:pt x="1280769" y="519404"/>
                      </a:lnTo>
                      <a:lnTo>
                        <a:pt x="1281506" y="519036"/>
                      </a:lnTo>
                      <a:lnTo>
                        <a:pt x="1282522" y="518261"/>
                      </a:lnTo>
                      <a:lnTo>
                        <a:pt x="1282522" y="497141"/>
                      </a:lnTo>
                      <a:lnTo>
                        <a:pt x="1277480" y="496150"/>
                      </a:lnTo>
                      <a:lnTo>
                        <a:pt x="1277480" y="496519"/>
                      </a:lnTo>
                      <a:lnTo>
                        <a:pt x="1277454" y="496862"/>
                      </a:lnTo>
                      <a:lnTo>
                        <a:pt x="1277391" y="496519"/>
                      </a:lnTo>
                      <a:lnTo>
                        <a:pt x="1277480" y="496150"/>
                      </a:lnTo>
                      <a:lnTo>
                        <a:pt x="1276388" y="495935"/>
                      </a:lnTo>
                      <a:lnTo>
                        <a:pt x="1276667" y="496112"/>
                      </a:lnTo>
                      <a:lnTo>
                        <a:pt x="1276362" y="495985"/>
                      </a:lnTo>
                      <a:lnTo>
                        <a:pt x="1273797" y="495058"/>
                      </a:lnTo>
                      <a:lnTo>
                        <a:pt x="1271612" y="496366"/>
                      </a:lnTo>
                      <a:lnTo>
                        <a:pt x="1269771" y="498094"/>
                      </a:lnTo>
                      <a:lnTo>
                        <a:pt x="1264170" y="497420"/>
                      </a:lnTo>
                      <a:lnTo>
                        <a:pt x="1255128" y="497420"/>
                      </a:lnTo>
                      <a:lnTo>
                        <a:pt x="1250188" y="497725"/>
                      </a:lnTo>
                      <a:lnTo>
                        <a:pt x="1243558" y="498208"/>
                      </a:lnTo>
                      <a:lnTo>
                        <a:pt x="1241564" y="498195"/>
                      </a:lnTo>
                      <a:lnTo>
                        <a:pt x="1241564" y="538111"/>
                      </a:lnTo>
                      <a:lnTo>
                        <a:pt x="1241463" y="538251"/>
                      </a:lnTo>
                      <a:lnTo>
                        <a:pt x="1241463" y="537159"/>
                      </a:lnTo>
                      <a:lnTo>
                        <a:pt x="1241564" y="538111"/>
                      </a:lnTo>
                      <a:lnTo>
                        <a:pt x="1241564" y="498195"/>
                      </a:lnTo>
                      <a:lnTo>
                        <a:pt x="1240701" y="498182"/>
                      </a:lnTo>
                      <a:lnTo>
                        <a:pt x="1240701" y="532447"/>
                      </a:lnTo>
                      <a:lnTo>
                        <a:pt x="1240307" y="530961"/>
                      </a:lnTo>
                      <a:lnTo>
                        <a:pt x="1239659" y="529564"/>
                      </a:lnTo>
                      <a:lnTo>
                        <a:pt x="1239164" y="528675"/>
                      </a:lnTo>
                      <a:lnTo>
                        <a:pt x="1238313" y="526973"/>
                      </a:lnTo>
                      <a:lnTo>
                        <a:pt x="1238313" y="582599"/>
                      </a:lnTo>
                      <a:lnTo>
                        <a:pt x="1237894" y="581380"/>
                      </a:lnTo>
                      <a:lnTo>
                        <a:pt x="1237869" y="581253"/>
                      </a:lnTo>
                      <a:lnTo>
                        <a:pt x="1238084" y="581774"/>
                      </a:lnTo>
                      <a:lnTo>
                        <a:pt x="1238313" y="582599"/>
                      </a:lnTo>
                      <a:lnTo>
                        <a:pt x="1238313" y="526973"/>
                      </a:lnTo>
                      <a:lnTo>
                        <a:pt x="1238846" y="527926"/>
                      </a:lnTo>
                      <a:lnTo>
                        <a:pt x="1239278" y="528764"/>
                      </a:lnTo>
                      <a:lnTo>
                        <a:pt x="1239659" y="529450"/>
                      </a:lnTo>
                      <a:lnTo>
                        <a:pt x="1240307" y="530948"/>
                      </a:lnTo>
                      <a:lnTo>
                        <a:pt x="1240701" y="532447"/>
                      </a:lnTo>
                      <a:lnTo>
                        <a:pt x="1240701" y="498182"/>
                      </a:lnTo>
                      <a:lnTo>
                        <a:pt x="1237361" y="498144"/>
                      </a:lnTo>
                      <a:lnTo>
                        <a:pt x="1236662" y="497662"/>
                      </a:lnTo>
                      <a:lnTo>
                        <a:pt x="1236700" y="498932"/>
                      </a:lnTo>
                      <a:lnTo>
                        <a:pt x="1234846" y="500710"/>
                      </a:lnTo>
                      <a:lnTo>
                        <a:pt x="1236052" y="505040"/>
                      </a:lnTo>
                      <a:lnTo>
                        <a:pt x="1237716" y="510260"/>
                      </a:lnTo>
                      <a:lnTo>
                        <a:pt x="1237056" y="515861"/>
                      </a:lnTo>
                      <a:lnTo>
                        <a:pt x="1238694" y="519036"/>
                      </a:lnTo>
                      <a:lnTo>
                        <a:pt x="1238758" y="519760"/>
                      </a:lnTo>
                      <a:lnTo>
                        <a:pt x="1238656" y="520141"/>
                      </a:lnTo>
                      <a:lnTo>
                        <a:pt x="1238338" y="520293"/>
                      </a:lnTo>
                      <a:lnTo>
                        <a:pt x="1238250" y="526834"/>
                      </a:lnTo>
                      <a:lnTo>
                        <a:pt x="1237907" y="526135"/>
                      </a:lnTo>
                      <a:lnTo>
                        <a:pt x="1237881" y="578485"/>
                      </a:lnTo>
                      <a:lnTo>
                        <a:pt x="1237869" y="578751"/>
                      </a:lnTo>
                      <a:lnTo>
                        <a:pt x="1237830" y="578548"/>
                      </a:lnTo>
                      <a:lnTo>
                        <a:pt x="1237830" y="580174"/>
                      </a:lnTo>
                      <a:lnTo>
                        <a:pt x="1237805" y="580923"/>
                      </a:lnTo>
                      <a:lnTo>
                        <a:pt x="1237780" y="580745"/>
                      </a:lnTo>
                      <a:lnTo>
                        <a:pt x="1237830" y="580174"/>
                      </a:lnTo>
                      <a:lnTo>
                        <a:pt x="1237830" y="578548"/>
                      </a:lnTo>
                      <a:lnTo>
                        <a:pt x="1237792" y="578332"/>
                      </a:lnTo>
                      <a:lnTo>
                        <a:pt x="1237411" y="577189"/>
                      </a:lnTo>
                      <a:lnTo>
                        <a:pt x="1236319" y="576173"/>
                      </a:lnTo>
                      <a:lnTo>
                        <a:pt x="1234770" y="574268"/>
                      </a:lnTo>
                      <a:lnTo>
                        <a:pt x="1234097" y="573125"/>
                      </a:lnTo>
                      <a:lnTo>
                        <a:pt x="1234084" y="572998"/>
                      </a:lnTo>
                      <a:lnTo>
                        <a:pt x="1233995" y="572846"/>
                      </a:lnTo>
                      <a:lnTo>
                        <a:pt x="1234084" y="572973"/>
                      </a:lnTo>
                      <a:lnTo>
                        <a:pt x="1234122" y="573100"/>
                      </a:lnTo>
                      <a:lnTo>
                        <a:pt x="1234300" y="573417"/>
                      </a:lnTo>
                      <a:lnTo>
                        <a:pt x="1234414" y="573582"/>
                      </a:lnTo>
                      <a:lnTo>
                        <a:pt x="1234770" y="574154"/>
                      </a:lnTo>
                      <a:lnTo>
                        <a:pt x="1236319" y="576084"/>
                      </a:lnTo>
                      <a:lnTo>
                        <a:pt x="1237411" y="577126"/>
                      </a:lnTo>
                      <a:lnTo>
                        <a:pt x="1237881" y="578485"/>
                      </a:lnTo>
                      <a:lnTo>
                        <a:pt x="1237881" y="526072"/>
                      </a:lnTo>
                      <a:lnTo>
                        <a:pt x="1237805" y="525881"/>
                      </a:lnTo>
                      <a:lnTo>
                        <a:pt x="1237703" y="524484"/>
                      </a:lnTo>
                      <a:lnTo>
                        <a:pt x="1237805" y="525805"/>
                      </a:lnTo>
                      <a:lnTo>
                        <a:pt x="1237907" y="526122"/>
                      </a:lnTo>
                      <a:lnTo>
                        <a:pt x="1238059" y="526402"/>
                      </a:lnTo>
                      <a:lnTo>
                        <a:pt x="1238250" y="526834"/>
                      </a:lnTo>
                      <a:lnTo>
                        <a:pt x="1238250" y="520331"/>
                      </a:lnTo>
                      <a:lnTo>
                        <a:pt x="1237919" y="520420"/>
                      </a:lnTo>
                      <a:lnTo>
                        <a:pt x="1237615" y="520547"/>
                      </a:lnTo>
                      <a:lnTo>
                        <a:pt x="1237335" y="520547"/>
                      </a:lnTo>
                      <a:lnTo>
                        <a:pt x="1237068" y="520420"/>
                      </a:lnTo>
                      <a:lnTo>
                        <a:pt x="1236370" y="520166"/>
                      </a:lnTo>
                      <a:lnTo>
                        <a:pt x="1235570" y="518134"/>
                      </a:lnTo>
                      <a:lnTo>
                        <a:pt x="1235519" y="518007"/>
                      </a:lnTo>
                      <a:lnTo>
                        <a:pt x="1234541" y="516356"/>
                      </a:lnTo>
                      <a:lnTo>
                        <a:pt x="1232154" y="515785"/>
                      </a:lnTo>
                      <a:lnTo>
                        <a:pt x="1232154" y="569188"/>
                      </a:lnTo>
                      <a:lnTo>
                        <a:pt x="1231785" y="565378"/>
                      </a:lnTo>
                      <a:lnTo>
                        <a:pt x="1230858" y="557123"/>
                      </a:lnTo>
                      <a:lnTo>
                        <a:pt x="1231760" y="565010"/>
                      </a:lnTo>
                      <a:lnTo>
                        <a:pt x="1231785" y="565378"/>
                      </a:lnTo>
                      <a:lnTo>
                        <a:pt x="1232065" y="568223"/>
                      </a:lnTo>
                      <a:lnTo>
                        <a:pt x="1232154" y="569188"/>
                      </a:lnTo>
                      <a:lnTo>
                        <a:pt x="1232154" y="515785"/>
                      </a:lnTo>
                      <a:lnTo>
                        <a:pt x="1231938" y="515721"/>
                      </a:lnTo>
                      <a:lnTo>
                        <a:pt x="1231531" y="513562"/>
                      </a:lnTo>
                      <a:lnTo>
                        <a:pt x="1230922" y="513308"/>
                      </a:lnTo>
                      <a:lnTo>
                        <a:pt x="1230122" y="513054"/>
                      </a:lnTo>
                      <a:lnTo>
                        <a:pt x="1229017" y="512927"/>
                      </a:lnTo>
                      <a:lnTo>
                        <a:pt x="1227582" y="513054"/>
                      </a:lnTo>
                      <a:lnTo>
                        <a:pt x="1225308" y="512927"/>
                      </a:lnTo>
                      <a:lnTo>
                        <a:pt x="1223632" y="513130"/>
                      </a:lnTo>
                      <a:lnTo>
                        <a:pt x="1223632" y="580110"/>
                      </a:lnTo>
                      <a:lnTo>
                        <a:pt x="1223060" y="580237"/>
                      </a:lnTo>
                      <a:lnTo>
                        <a:pt x="1222832" y="579475"/>
                      </a:lnTo>
                      <a:lnTo>
                        <a:pt x="1222692" y="578840"/>
                      </a:lnTo>
                      <a:lnTo>
                        <a:pt x="1223073" y="579094"/>
                      </a:lnTo>
                      <a:lnTo>
                        <a:pt x="1223632" y="580110"/>
                      </a:lnTo>
                      <a:lnTo>
                        <a:pt x="1223632" y="513130"/>
                      </a:lnTo>
                      <a:lnTo>
                        <a:pt x="1215390" y="518134"/>
                      </a:lnTo>
                      <a:lnTo>
                        <a:pt x="1212621" y="517245"/>
                      </a:lnTo>
                      <a:lnTo>
                        <a:pt x="1210360" y="516229"/>
                      </a:lnTo>
                      <a:lnTo>
                        <a:pt x="1209268" y="516229"/>
                      </a:lnTo>
                      <a:lnTo>
                        <a:pt x="1206919" y="515086"/>
                      </a:lnTo>
                      <a:lnTo>
                        <a:pt x="1206080" y="513308"/>
                      </a:lnTo>
                      <a:lnTo>
                        <a:pt x="1205242" y="511022"/>
                      </a:lnTo>
                      <a:lnTo>
                        <a:pt x="1204976" y="510133"/>
                      </a:lnTo>
                      <a:lnTo>
                        <a:pt x="1204899" y="509879"/>
                      </a:lnTo>
                      <a:lnTo>
                        <a:pt x="1204836" y="509752"/>
                      </a:lnTo>
                      <a:lnTo>
                        <a:pt x="1204658" y="509435"/>
                      </a:lnTo>
                      <a:lnTo>
                        <a:pt x="1204658" y="581634"/>
                      </a:lnTo>
                      <a:lnTo>
                        <a:pt x="1203642" y="581888"/>
                      </a:lnTo>
                      <a:lnTo>
                        <a:pt x="1202550" y="581507"/>
                      </a:lnTo>
                      <a:lnTo>
                        <a:pt x="1201394" y="581507"/>
                      </a:lnTo>
                      <a:lnTo>
                        <a:pt x="1202347" y="580872"/>
                      </a:lnTo>
                      <a:lnTo>
                        <a:pt x="1203617" y="581380"/>
                      </a:lnTo>
                      <a:lnTo>
                        <a:pt x="1204658" y="581634"/>
                      </a:lnTo>
                      <a:lnTo>
                        <a:pt x="1204658" y="509435"/>
                      </a:lnTo>
                      <a:lnTo>
                        <a:pt x="1204150" y="508482"/>
                      </a:lnTo>
                      <a:lnTo>
                        <a:pt x="1203858" y="508101"/>
                      </a:lnTo>
                      <a:lnTo>
                        <a:pt x="1203490" y="507593"/>
                      </a:lnTo>
                      <a:lnTo>
                        <a:pt x="1203198" y="508101"/>
                      </a:lnTo>
                      <a:lnTo>
                        <a:pt x="1201166" y="507339"/>
                      </a:lnTo>
                      <a:lnTo>
                        <a:pt x="1200340" y="506831"/>
                      </a:lnTo>
                      <a:lnTo>
                        <a:pt x="1199781" y="506577"/>
                      </a:lnTo>
                      <a:lnTo>
                        <a:pt x="1198689" y="506069"/>
                      </a:lnTo>
                      <a:lnTo>
                        <a:pt x="1198321" y="506069"/>
                      </a:lnTo>
                      <a:lnTo>
                        <a:pt x="1197864" y="505942"/>
                      </a:lnTo>
                      <a:lnTo>
                        <a:pt x="1191958" y="509244"/>
                      </a:lnTo>
                      <a:lnTo>
                        <a:pt x="1190091" y="509752"/>
                      </a:lnTo>
                      <a:lnTo>
                        <a:pt x="1189405" y="509498"/>
                      </a:lnTo>
                      <a:lnTo>
                        <a:pt x="1188821" y="508736"/>
                      </a:lnTo>
                      <a:lnTo>
                        <a:pt x="1187919" y="507720"/>
                      </a:lnTo>
                      <a:lnTo>
                        <a:pt x="1187831" y="507085"/>
                      </a:lnTo>
                      <a:lnTo>
                        <a:pt x="1187907" y="505942"/>
                      </a:lnTo>
                      <a:lnTo>
                        <a:pt x="1187919" y="503783"/>
                      </a:lnTo>
                      <a:lnTo>
                        <a:pt x="1187818" y="502386"/>
                      </a:lnTo>
                      <a:lnTo>
                        <a:pt x="1186205" y="502386"/>
                      </a:lnTo>
                      <a:lnTo>
                        <a:pt x="1184452" y="502386"/>
                      </a:lnTo>
                      <a:lnTo>
                        <a:pt x="1185799" y="503783"/>
                      </a:lnTo>
                      <a:lnTo>
                        <a:pt x="1183513" y="503275"/>
                      </a:lnTo>
                      <a:lnTo>
                        <a:pt x="1182522" y="501878"/>
                      </a:lnTo>
                      <a:lnTo>
                        <a:pt x="1181404" y="504672"/>
                      </a:lnTo>
                      <a:lnTo>
                        <a:pt x="1181785" y="505942"/>
                      </a:lnTo>
                      <a:lnTo>
                        <a:pt x="1181963" y="507085"/>
                      </a:lnTo>
                      <a:lnTo>
                        <a:pt x="1180858" y="507085"/>
                      </a:lnTo>
                      <a:lnTo>
                        <a:pt x="1178433" y="506577"/>
                      </a:lnTo>
                      <a:lnTo>
                        <a:pt x="1177099" y="507974"/>
                      </a:lnTo>
                      <a:lnTo>
                        <a:pt x="1176985" y="509498"/>
                      </a:lnTo>
                      <a:lnTo>
                        <a:pt x="1176591" y="510133"/>
                      </a:lnTo>
                      <a:lnTo>
                        <a:pt x="1176388" y="509752"/>
                      </a:lnTo>
                      <a:lnTo>
                        <a:pt x="1176248" y="509498"/>
                      </a:lnTo>
                      <a:lnTo>
                        <a:pt x="1175169" y="508990"/>
                      </a:lnTo>
                      <a:lnTo>
                        <a:pt x="1174699" y="508863"/>
                      </a:lnTo>
                      <a:lnTo>
                        <a:pt x="1173670" y="508736"/>
                      </a:lnTo>
                      <a:lnTo>
                        <a:pt x="1172679" y="508736"/>
                      </a:lnTo>
                      <a:lnTo>
                        <a:pt x="1171917" y="508355"/>
                      </a:lnTo>
                      <a:lnTo>
                        <a:pt x="1171981" y="507847"/>
                      </a:lnTo>
                      <a:lnTo>
                        <a:pt x="1171600" y="507631"/>
                      </a:lnTo>
                      <a:lnTo>
                        <a:pt x="1171600" y="579729"/>
                      </a:lnTo>
                      <a:lnTo>
                        <a:pt x="1170089" y="583285"/>
                      </a:lnTo>
                      <a:lnTo>
                        <a:pt x="1168133" y="588200"/>
                      </a:lnTo>
                      <a:lnTo>
                        <a:pt x="1170305" y="582676"/>
                      </a:lnTo>
                      <a:lnTo>
                        <a:pt x="1171587" y="579729"/>
                      </a:lnTo>
                      <a:lnTo>
                        <a:pt x="1171600" y="507631"/>
                      </a:lnTo>
                      <a:lnTo>
                        <a:pt x="1170863" y="507212"/>
                      </a:lnTo>
                      <a:lnTo>
                        <a:pt x="1169644" y="506196"/>
                      </a:lnTo>
                      <a:lnTo>
                        <a:pt x="1168234" y="506069"/>
                      </a:lnTo>
                      <a:lnTo>
                        <a:pt x="1167688" y="506069"/>
                      </a:lnTo>
                      <a:lnTo>
                        <a:pt x="1167688" y="535660"/>
                      </a:lnTo>
                      <a:lnTo>
                        <a:pt x="1167599" y="535419"/>
                      </a:lnTo>
                      <a:lnTo>
                        <a:pt x="1167599" y="535698"/>
                      </a:lnTo>
                      <a:lnTo>
                        <a:pt x="1167396" y="535787"/>
                      </a:lnTo>
                      <a:lnTo>
                        <a:pt x="1167244" y="535698"/>
                      </a:lnTo>
                      <a:lnTo>
                        <a:pt x="1167599" y="535698"/>
                      </a:lnTo>
                      <a:lnTo>
                        <a:pt x="1167599" y="535419"/>
                      </a:lnTo>
                      <a:lnTo>
                        <a:pt x="1167384" y="534682"/>
                      </a:lnTo>
                      <a:lnTo>
                        <a:pt x="1167269" y="534301"/>
                      </a:lnTo>
                      <a:lnTo>
                        <a:pt x="1167130" y="533793"/>
                      </a:lnTo>
                      <a:lnTo>
                        <a:pt x="1167028" y="533412"/>
                      </a:lnTo>
                      <a:lnTo>
                        <a:pt x="1167028" y="535660"/>
                      </a:lnTo>
                      <a:lnTo>
                        <a:pt x="1166710" y="535660"/>
                      </a:lnTo>
                      <a:lnTo>
                        <a:pt x="1166533" y="535571"/>
                      </a:lnTo>
                      <a:lnTo>
                        <a:pt x="1166710" y="535571"/>
                      </a:lnTo>
                      <a:lnTo>
                        <a:pt x="1167028" y="535660"/>
                      </a:lnTo>
                      <a:lnTo>
                        <a:pt x="1167028" y="533412"/>
                      </a:lnTo>
                      <a:lnTo>
                        <a:pt x="1166863" y="532777"/>
                      </a:lnTo>
                      <a:lnTo>
                        <a:pt x="1166685" y="532142"/>
                      </a:lnTo>
                      <a:lnTo>
                        <a:pt x="1166164" y="532142"/>
                      </a:lnTo>
                      <a:lnTo>
                        <a:pt x="1166164" y="535317"/>
                      </a:lnTo>
                      <a:lnTo>
                        <a:pt x="1165987" y="534898"/>
                      </a:lnTo>
                      <a:lnTo>
                        <a:pt x="1165694" y="534771"/>
                      </a:lnTo>
                      <a:lnTo>
                        <a:pt x="1165517" y="534682"/>
                      </a:lnTo>
                      <a:lnTo>
                        <a:pt x="1165694" y="534682"/>
                      </a:lnTo>
                      <a:lnTo>
                        <a:pt x="1166012" y="534809"/>
                      </a:lnTo>
                      <a:lnTo>
                        <a:pt x="1166164" y="535317"/>
                      </a:lnTo>
                      <a:lnTo>
                        <a:pt x="1166164" y="532142"/>
                      </a:lnTo>
                      <a:lnTo>
                        <a:pt x="1165288" y="532142"/>
                      </a:lnTo>
                      <a:lnTo>
                        <a:pt x="1165288" y="534771"/>
                      </a:lnTo>
                      <a:lnTo>
                        <a:pt x="1165110" y="534771"/>
                      </a:lnTo>
                      <a:lnTo>
                        <a:pt x="1165275" y="534682"/>
                      </a:lnTo>
                      <a:lnTo>
                        <a:pt x="1165288" y="532142"/>
                      </a:lnTo>
                      <a:lnTo>
                        <a:pt x="1165085" y="532142"/>
                      </a:lnTo>
                      <a:lnTo>
                        <a:pt x="1165085" y="534771"/>
                      </a:lnTo>
                      <a:lnTo>
                        <a:pt x="1164793" y="534657"/>
                      </a:lnTo>
                      <a:lnTo>
                        <a:pt x="1164996" y="534682"/>
                      </a:lnTo>
                      <a:lnTo>
                        <a:pt x="1165085" y="532142"/>
                      </a:lnTo>
                      <a:lnTo>
                        <a:pt x="1164755" y="532142"/>
                      </a:lnTo>
                      <a:lnTo>
                        <a:pt x="1164755" y="534644"/>
                      </a:lnTo>
                      <a:lnTo>
                        <a:pt x="1164628" y="534644"/>
                      </a:lnTo>
                      <a:lnTo>
                        <a:pt x="1164463" y="534606"/>
                      </a:lnTo>
                      <a:lnTo>
                        <a:pt x="1164755" y="534644"/>
                      </a:lnTo>
                      <a:lnTo>
                        <a:pt x="1164755" y="532142"/>
                      </a:lnTo>
                      <a:lnTo>
                        <a:pt x="1164094" y="532142"/>
                      </a:lnTo>
                      <a:lnTo>
                        <a:pt x="1164094" y="534492"/>
                      </a:lnTo>
                      <a:lnTo>
                        <a:pt x="1163802" y="534390"/>
                      </a:lnTo>
                      <a:lnTo>
                        <a:pt x="1163485" y="534263"/>
                      </a:lnTo>
                      <a:lnTo>
                        <a:pt x="1163485" y="540867"/>
                      </a:lnTo>
                      <a:lnTo>
                        <a:pt x="1163256" y="540740"/>
                      </a:lnTo>
                      <a:lnTo>
                        <a:pt x="1163434" y="540778"/>
                      </a:lnTo>
                      <a:lnTo>
                        <a:pt x="1163485" y="534263"/>
                      </a:lnTo>
                      <a:lnTo>
                        <a:pt x="1163739" y="534301"/>
                      </a:lnTo>
                      <a:lnTo>
                        <a:pt x="1163942" y="534428"/>
                      </a:lnTo>
                      <a:lnTo>
                        <a:pt x="1163802" y="534301"/>
                      </a:lnTo>
                      <a:lnTo>
                        <a:pt x="1164094" y="534492"/>
                      </a:lnTo>
                      <a:lnTo>
                        <a:pt x="1164094" y="532142"/>
                      </a:lnTo>
                      <a:lnTo>
                        <a:pt x="1162494" y="532142"/>
                      </a:lnTo>
                      <a:lnTo>
                        <a:pt x="1162494" y="538746"/>
                      </a:lnTo>
                      <a:lnTo>
                        <a:pt x="1162316" y="538492"/>
                      </a:lnTo>
                      <a:lnTo>
                        <a:pt x="1162494" y="538746"/>
                      </a:lnTo>
                      <a:lnTo>
                        <a:pt x="1162494" y="532142"/>
                      </a:lnTo>
                      <a:lnTo>
                        <a:pt x="1161719" y="532142"/>
                      </a:lnTo>
                      <a:lnTo>
                        <a:pt x="1161719" y="538708"/>
                      </a:lnTo>
                      <a:lnTo>
                        <a:pt x="1161034" y="538746"/>
                      </a:lnTo>
                      <a:lnTo>
                        <a:pt x="1160526" y="538365"/>
                      </a:lnTo>
                      <a:lnTo>
                        <a:pt x="1160284" y="538238"/>
                      </a:lnTo>
                      <a:lnTo>
                        <a:pt x="1160119" y="537984"/>
                      </a:lnTo>
                      <a:lnTo>
                        <a:pt x="1159560" y="537425"/>
                      </a:lnTo>
                      <a:lnTo>
                        <a:pt x="1159560" y="557885"/>
                      </a:lnTo>
                      <a:lnTo>
                        <a:pt x="1154099" y="562533"/>
                      </a:lnTo>
                      <a:lnTo>
                        <a:pt x="1159548" y="557822"/>
                      </a:lnTo>
                      <a:lnTo>
                        <a:pt x="1159560" y="537425"/>
                      </a:lnTo>
                      <a:lnTo>
                        <a:pt x="1159192" y="536587"/>
                      </a:lnTo>
                      <a:lnTo>
                        <a:pt x="1159484" y="537311"/>
                      </a:lnTo>
                      <a:lnTo>
                        <a:pt x="1160119" y="537984"/>
                      </a:lnTo>
                      <a:lnTo>
                        <a:pt x="1160272" y="538200"/>
                      </a:lnTo>
                      <a:lnTo>
                        <a:pt x="1160437" y="538327"/>
                      </a:lnTo>
                      <a:lnTo>
                        <a:pt x="1161034" y="538708"/>
                      </a:lnTo>
                      <a:lnTo>
                        <a:pt x="1161719" y="538708"/>
                      </a:lnTo>
                      <a:lnTo>
                        <a:pt x="1161719" y="532142"/>
                      </a:lnTo>
                      <a:lnTo>
                        <a:pt x="1159751" y="532142"/>
                      </a:lnTo>
                      <a:lnTo>
                        <a:pt x="1159751" y="534568"/>
                      </a:lnTo>
                      <a:lnTo>
                        <a:pt x="1159383" y="535152"/>
                      </a:lnTo>
                      <a:lnTo>
                        <a:pt x="1159306" y="535444"/>
                      </a:lnTo>
                      <a:lnTo>
                        <a:pt x="1159395" y="535063"/>
                      </a:lnTo>
                      <a:lnTo>
                        <a:pt x="1159560" y="534784"/>
                      </a:lnTo>
                      <a:lnTo>
                        <a:pt x="1159751" y="534568"/>
                      </a:lnTo>
                      <a:lnTo>
                        <a:pt x="1159751" y="532142"/>
                      </a:lnTo>
                      <a:lnTo>
                        <a:pt x="1143723" y="532142"/>
                      </a:lnTo>
                      <a:lnTo>
                        <a:pt x="1143723" y="543699"/>
                      </a:lnTo>
                      <a:lnTo>
                        <a:pt x="1141488" y="550202"/>
                      </a:lnTo>
                      <a:lnTo>
                        <a:pt x="1143698" y="543661"/>
                      </a:lnTo>
                      <a:lnTo>
                        <a:pt x="1143723" y="532142"/>
                      </a:lnTo>
                      <a:lnTo>
                        <a:pt x="1141945" y="532142"/>
                      </a:lnTo>
                      <a:lnTo>
                        <a:pt x="1141945" y="538289"/>
                      </a:lnTo>
                      <a:lnTo>
                        <a:pt x="1141844" y="537832"/>
                      </a:lnTo>
                      <a:lnTo>
                        <a:pt x="1141945" y="538289"/>
                      </a:lnTo>
                      <a:lnTo>
                        <a:pt x="1141945" y="532142"/>
                      </a:lnTo>
                      <a:lnTo>
                        <a:pt x="1137691" y="532142"/>
                      </a:lnTo>
                      <a:lnTo>
                        <a:pt x="1137691" y="533438"/>
                      </a:lnTo>
                      <a:lnTo>
                        <a:pt x="1137145" y="532777"/>
                      </a:lnTo>
                      <a:lnTo>
                        <a:pt x="1137691" y="533438"/>
                      </a:lnTo>
                      <a:lnTo>
                        <a:pt x="1137691" y="532142"/>
                      </a:lnTo>
                      <a:lnTo>
                        <a:pt x="1130363" y="532142"/>
                      </a:lnTo>
                      <a:lnTo>
                        <a:pt x="1130363" y="534060"/>
                      </a:lnTo>
                      <a:lnTo>
                        <a:pt x="1130211" y="534771"/>
                      </a:lnTo>
                      <a:lnTo>
                        <a:pt x="1130198" y="534974"/>
                      </a:lnTo>
                      <a:lnTo>
                        <a:pt x="1130198" y="534771"/>
                      </a:lnTo>
                      <a:lnTo>
                        <a:pt x="1130274" y="534098"/>
                      </a:lnTo>
                      <a:lnTo>
                        <a:pt x="1130363" y="532142"/>
                      </a:lnTo>
                      <a:lnTo>
                        <a:pt x="1130096" y="532142"/>
                      </a:lnTo>
                      <a:lnTo>
                        <a:pt x="1130096" y="536841"/>
                      </a:lnTo>
                      <a:lnTo>
                        <a:pt x="1130046" y="537298"/>
                      </a:lnTo>
                      <a:lnTo>
                        <a:pt x="1130096" y="536841"/>
                      </a:lnTo>
                      <a:lnTo>
                        <a:pt x="1130096" y="532142"/>
                      </a:lnTo>
                      <a:lnTo>
                        <a:pt x="1127518" y="532142"/>
                      </a:lnTo>
                      <a:lnTo>
                        <a:pt x="1127518" y="538721"/>
                      </a:lnTo>
                      <a:lnTo>
                        <a:pt x="1126540" y="539496"/>
                      </a:lnTo>
                      <a:lnTo>
                        <a:pt x="1125245" y="540893"/>
                      </a:lnTo>
                      <a:lnTo>
                        <a:pt x="1125905" y="543064"/>
                      </a:lnTo>
                      <a:lnTo>
                        <a:pt x="1125232" y="540893"/>
                      </a:lnTo>
                      <a:lnTo>
                        <a:pt x="1126540" y="539483"/>
                      </a:lnTo>
                      <a:lnTo>
                        <a:pt x="1127518" y="538721"/>
                      </a:lnTo>
                      <a:lnTo>
                        <a:pt x="1127518" y="532142"/>
                      </a:lnTo>
                      <a:lnTo>
                        <a:pt x="1126782" y="532142"/>
                      </a:lnTo>
                      <a:lnTo>
                        <a:pt x="1126324" y="532142"/>
                      </a:lnTo>
                      <a:lnTo>
                        <a:pt x="1126401" y="531977"/>
                      </a:lnTo>
                      <a:lnTo>
                        <a:pt x="1126769" y="532130"/>
                      </a:lnTo>
                      <a:lnTo>
                        <a:pt x="1126959" y="531926"/>
                      </a:lnTo>
                      <a:lnTo>
                        <a:pt x="1127201" y="531228"/>
                      </a:lnTo>
                      <a:lnTo>
                        <a:pt x="1126972" y="532015"/>
                      </a:lnTo>
                      <a:lnTo>
                        <a:pt x="1166647" y="532015"/>
                      </a:lnTo>
                      <a:lnTo>
                        <a:pt x="1166418" y="531126"/>
                      </a:lnTo>
                      <a:lnTo>
                        <a:pt x="1164907" y="530110"/>
                      </a:lnTo>
                      <a:lnTo>
                        <a:pt x="1164602" y="530072"/>
                      </a:lnTo>
                      <a:lnTo>
                        <a:pt x="1164907" y="530072"/>
                      </a:lnTo>
                      <a:lnTo>
                        <a:pt x="1166418" y="531088"/>
                      </a:lnTo>
                      <a:lnTo>
                        <a:pt x="1167688" y="535660"/>
                      </a:lnTo>
                      <a:lnTo>
                        <a:pt x="1167688" y="506069"/>
                      </a:lnTo>
                      <a:lnTo>
                        <a:pt x="1167269" y="506196"/>
                      </a:lnTo>
                      <a:lnTo>
                        <a:pt x="1167257" y="524738"/>
                      </a:lnTo>
                      <a:lnTo>
                        <a:pt x="1166558" y="524205"/>
                      </a:lnTo>
                      <a:lnTo>
                        <a:pt x="1167257" y="524738"/>
                      </a:lnTo>
                      <a:lnTo>
                        <a:pt x="1167257" y="506209"/>
                      </a:lnTo>
                      <a:lnTo>
                        <a:pt x="1166571" y="506704"/>
                      </a:lnTo>
                      <a:lnTo>
                        <a:pt x="1166304" y="507339"/>
                      </a:lnTo>
                      <a:lnTo>
                        <a:pt x="1166190" y="507720"/>
                      </a:lnTo>
                      <a:lnTo>
                        <a:pt x="1165479" y="508482"/>
                      </a:lnTo>
                      <a:lnTo>
                        <a:pt x="1164971" y="508812"/>
                      </a:lnTo>
                      <a:lnTo>
                        <a:pt x="1164971" y="520674"/>
                      </a:lnTo>
                      <a:lnTo>
                        <a:pt x="1163878" y="520712"/>
                      </a:lnTo>
                      <a:lnTo>
                        <a:pt x="1162812" y="520839"/>
                      </a:lnTo>
                      <a:lnTo>
                        <a:pt x="1162011" y="520585"/>
                      </a:lnTo>
                      <a:lnTo>
                        <a:pt x="1161846" y="520458"/>
                      </a:lnTo>
                      <a:lnTo>
                        <a:pt x="1161669" y="520204"/>
                      </a:lnTo>
                      <a:lnTo>
                        <a:pt x="1161351" y="519569"/>
                      </a:lnTo>
                      <a:lnTo>
                        <a:pt x="1161834" y="520420"/>
                      </a:lnTo>
                      <a:lnTo>
                        <a:pt x="1162024" y="520547"/>
                      </a:lnTo>
                      <a:lnTo>
                        <a:pt x="1162812" y="520801"/>
                      </a:lnTo>
                      <a:lnTo>
                        <a:pt x="1163878" y="520674"/>
                      </a:lnTo>
                      <a:lnTo>
                        <a:pt x="1164971" y="520674"/>
                      </a:lnTo>
                      <a:lnTo>
                        <a:pt x="1164971" y="508812"/>
                      </a:lnTo>
                      <a:lnTo>
                        <a:pt x="1163904" y="509498"/>
                      </a:lnTo>
                      <a:lnTo>
                        <a:pt x="1162215" y="509028"/>
                      </a:lnTo>
                      <a:lnTo>
                        <a:pt x="1162050" y="508774"/>
                      </a:lnTo>
                      <a:lnTo>
                        <a:pt x="1161986" y="510933"/>
                      </a:lnTo>
                      <a:lnTo>
                        <a:pt x="1161300" y="511657"/>
                      </a:lnTo>
                      <a:lnTo>
                        <a:pt x="1161148" y="511886"/>
                      </a:lnTo>
                      <a:lnTo>
                        <a:pt x="1161300" y="511568"/>
                      </a:lnTo>
                      <a:lnTo>
                        <a:pt x="1161986" y="510933"/>
                      </a:lnTo>
                      <a:lnTo>
                        <a:pt x="1161986" y="508685"/>
                      </a:lnTo>
                      <a:lnTo>
                        <a:pt x="1161643" y="508139"/>
                      </a:lnTo>
                      <a:lnTo>
                        <a:pt x="1160830" y="507212"/>
                      </a:lnTo>
                      <a:lnTo>
                        <a:pt x="1160830" y="518134"/>
                      </a:lnTo>
                      <a:lnTo>
                        <a:pt x="1160640" y="517156"/>
                      </a:lnTo>
                      <a:lnTo>
                        <a:pt x="1160614" y="516153"/>
                      </a:lnTo>
                      <a:lnTo>
                        <a:pt x="1160665" y="517245"/>
                      </a:lnTo>
                      <a:lnTo>
                        <a:pt x="1160830" y="518134"/>
                      </a:lnTo>
                      <a:lnTo>
                        <a:pt x="1160830" y="507212"/>
                      </a:lnTo>
                      <a:lnTo>
                        <a:pt x="1160653" y="506996"/>
                      </a:lnTo>
                      <a:lnTo>
                        <a:pt x="1160500" y="506857"/>
                      </a:lnTo>
                      <a:lnTo>
                        <a:pt x="1160500" y="513651"/>
                      </a:lnTo>
                      <a:lnTo>
                        <a:pt x="1160462" y="514489"/>
                      </a:lnTo>
                      <a:lnTo>
                        <a:pt x="1160437" y="513854"/>
                      </a:lnTo>
                      <a:lnTo>
                        <a:pt x="1160500" y="513651"/>
                      </a:lnTo>
                      <a:lnTo>
                        <a:pt x="1160500" y="506857"/>
                      </a:lnTo>
                      <a:lnTo>
                        <a:pt x="1160106" y="506488"/>
                      </a:lnTo>
                      <a:lnTo>
                        <a:pt x="1159789" y="506234"/>
                      </a:lnTo>
                      <a:lnTo>
                        <a:pt x="1159306" y="505472"/>
                      </a:lnTo>
                      <a:lnTo>
                        <a:pt x="1159129" y="505091"/>
                      </a:lnTo>
                      <a:lnTo>
                        <a:pt x="1158938" y="504583"/>
                      </a:lnTo>
                      <a:lnTo>
                        <a:pt x="1158748" y="502932"/>
                      </a:lnTo>
                      <a:lnTo>
                        <a:pt x="1158811" y="501916"/>
                      </a:lnTo>
                      <a:lnTo>
                        <a:pt x="1159065" y="500519"/>
                      </a:lnTo>
                      <a:lnTo>
                        <a:pt x="1158976" y="499376"/>
                      </a:lnTo>
                      <a:lnTo>
                        <a:pt x="1158570" y="498360"/>
                      </a:lnTo>
                      <a:lnTo>
                        <a:pt x="1158176" y="497344"/>
                      </a:lnTo>
                      <a:lnTo>
                        <a:pt x="1157592" y="496836"/>
                      </a:lnTo>
                      <a:lnTo>
                        <a:pt x="1156195" y="497090"/>
                      </a:lnTo>
                      <a:lnTo>
                        <a:pt x="1155700" y="497344"/>
                      </a:lnTo>
                      <a:lnTo>
                        <a:pt x="1155763" y="497471"/>
                      </a:lnTo>
                      <a:lnTo>
                        <a:pt x="1154645" y="497979"/>
                      </a:lnTo>
                      <a:lnTo>
                        <a:pt x="1153909" y="498106"/>
                      </a:lnTo>
                      <a:lnTo>
                        <a:pt x="1153071" y="498360"/>
                      </a:lnTo>
                      <a:lnTo>
                        <a:pt x="1153401" y="497725"/>
                      </a:lnTo>
                      <a:lnTo>
                        <a:pt x="1153591" y="497344"/>
                      </a:lnTo>
                      <a:lnTo>
                        <a:pt x="1154201" y="496201"/>
                      </a:lnTo>
                      <a:lnTo>
                        <a:pt x="1154950" y="494931"/>
                      </a:lnTo>
                      <a:lnTo>
                        <a:pt x="1155814" y="494296"/>
                      </a:lnTo>
                      <a:lnTo>
                        <a:pt x="1156411" y="493915"/>
                      </a:lnTo>
                      <a:lnTo>
                        <a:pt x="1156893" y="493661"/>
                      </a:lnTo>
                      <a:lnTo>
                        <a:pt x="1157389" y="493534"/>
                      </a:lnTo>
                      <a:lnTo>
                        <a:pt x="1157757" y="493788"/>
                      </a:lnTo>
                      <a:lnTo>
                        <a:pt x="1157579" y="493534"/>
                      </a:lnTo>
                      <a:lnTo>
                        <a:pt x="1157160" y="492899"/>
                      </a:lnTo>
                      <a:lnTo>
                        <a:pt x="1156868" y="491756"/>
                      </a:lnTo>
                      <a:lnTo>
                        <a:pt x="1153604" y="488835"/>
                      </a:lnTo>
                      <a:lnTo>
                        <a:pt x="1153210" y="488581"/>
                      </a:lnTo>
                      <a:lnTo>
                        <a:pt x="1151648" y="487565"/>
                      </a:lnTo>
                      <a:lnTo>
                        <a:pt x="1151458" y="488581"/>
                      </a:lnTo>
                      <a:lnTo>
                        <a:pt x="1151178" y="487819"/>
                      </a:lnTo>
                      <a:lnTo>
                        <a:pt x="1151089" y="487565"/>
                      </a:lnTo>
                      <a:lnTo>
                        <a:pt x="1151013" y="486676"/>
                      </a:lnTo>
                      <a:lnTo>
                        <a:pt x="1151331" y="485406"/>
                      </a:lnTo>
                      <a:lnTo>
                        <a:pt x="1151458" y="484771"/>
                      </a:lnTo>
                      <a:lnTo>
                        <a:pt x="1151369" y="483628"/>
                      </a:lnTo>
                      <a:lnTo>
                        <a:pt x="1151178" y="483247"/>
                      </a:lnTo>
                      <a:lnTo>
                        <a:pt x="1150950" y="482739"/>
                      </a:lnTo>
                      <a:lnTo>
                        <a:pt x="1148410" y="478040"/>
                      </a:lnTo>
                      <a:lnTo>
                        <a:pt x="1145921" y="476389"/>
                      </a:lnTo>
                      <a:lnTo>
                        <a:pt x="1145082" y="476008"/>
                      </a:lnTo>
                      <a:lnTo>
                        <a:pt x="1143990" y="476008"/>
                      </a:lnTo>
                      <a:lnTo>
                        <a:pt x="1143673" y="477278"/>
                      </a:lnTo>
                      <a:lnTo>
                        <a:pt x="1144562" y="478294"/>
                      </a:lnTo>
                      <a:lnTo>
                        <a:pt x="1143812" y="479437"/>
                      </a:lnTo>
                      <a:lnTo>
                        <a:pt x="1142898" y="480453"/>
                      </a:lnTo>
                      <a:lnTo>
                        <a:pt x="1140066" y="480580"/>
                      </a:lnTo>
                      <a:lnTo>
                        <a:pt x="1138974" y="481342"/>
                      </a:lnTo>
                      <a:lnTo>
                        <a:pt x="1138872" y="482358"/>
                      </a:lnTo>
                      <a:lnTo>
                        <a:pt x="1137005" y="483247"/>
                      </a:lnTo>
                      <a:lnTo>
                        <a:pt x="1134922" y="481088"/>
                      </a:lnTo>
                      <a:lnTo>
                        <a:pt x="1134681" y="480834"/>
                      </a:lnTo>
                      <a:lnTo>
                        <a:pt x="1133081" y="481088"/>
                      </a:lnTo>
                      <a:lnTo>
                        <a:pt x="1132992" y="480961"/>
                      </a:lnTo>
                      <a:lnTo>
                        <a:pt x="1131328" y="480961"/>
                      </a:lnTo>
                      <a:lnTo>
                        <a:pt x="1127429" y="482104"/>
                      </a:lnTo>
                      <a:lnTo>
                        <a:pt x="1127036" y="482384"/>
                      </a:lnTo>
                      <a:lnTo>
                        <a:pt x="1127036" y="530580"/>
                      </a:lnTo>
                      <a:lnTo>
                        <a:pt x="1126401" y="528193"/>
                      </a:lnTo>
                      <a:lnTo>
                        <a:pt x="1126680" y="529094"/>
                      </a:lnTo>
                      <a:lnTo>
                        <a:pt x="1127036" y="530580"/>
                      </a:lnTo>
                      <a:lnTo>
                        <a:pt x="1127036" y="482384"/>
                      </a:lnTo>
                      <a:lnTo>
                        <a:pt x="1125905" y="483184"/>
                      </a:lnTo>
                      <a:lnTo>
                        <a:pt x="1125905" y="526948"/>
                      </a:lnTo>
                      <a:lnTo>
                        <a:pt x="1125855" y="526288"/>
                      </a:lnTo>
                      <a:lnTo>
                        <a:pt x="1125562" y="525919"/>
                      </a:lnTo>
                      <a:lnTo>
                        <a:pt x="1125855" y="526288"/>
                      </a:lnTo>
                      <a:lnTo>
                        <a:pt x="1125905" y="526948"/>
                      </a:lnTo>
                      <a:lnTo>
                        <a:pt x="1125905" y="483184"/>
                      </a:lnTo>
                      <a:lnTo>
                        <a:pt x="1125626" y="483374"/>
                      </a:lnTo>
                      <a:lnTo>
                        <a:pt x="1125194" y="483946"/>
                      </a:lnTo>
                      <a:lnTo>
                        <a:pt x="1125194" y="534504"/>
                      </a:lnTo>
                      <a:lnTo>
                        <a:pt x="1124216" y="536625"/>
                      </a:lnTo>
                      <a:lnTo>
                        <a:pt x="1125194" y="534504"/>
                      </a:lnTo>
                      <a:lnTo>
                        <a:pt x="1125194" y="483946"/>
                      </a:lnTo>
                      <a:lnTo>
                        <a:pt x="1124953" y="484263"/>
                      </a:lnTo>
                      <a:lnTo>
                        <a:pt x="1124737" y="484771"/>
                      </a:lnTo>
                      <a:lnTo>
                        <a:pt x="1123911" y="483501"/>
                      </a:lnTo>
                      <a:lnTo>
                        <a:pt x="1122807" y="481723"/>
                      </a:lnTo>
                      <a:lnTo>
                        <a:pt x="1121829" y="480580"/>
                      </a:lnTo>
                      <a:lnTo>
                        <a:pt x="1121498" y="480326"/>
                      </a:lnTo>
                      <a:lnTo>
                        <a:pt x="1121079" y="480199"/>
                      </a:lnTo>
                      <a:lnTo>
                        <a:pt x="1120863" y="480288"/>
                      </a:lnTo>
                      <a:lnTo>
                        <a:pt x="1120863" y="548525"/>
                      </a:lnTo>
                      <a:lnTo>
                        <a:pt x="1118590" y="550227"/>
                      </a:lnTo>
                      <a:lnTo>
                        <a:pt x="1117396" y="551294"/>
                      </a:lnTo>
                      <a:lnTo>
                        <a:pt x="1116888" y="551827"/>
                      </a:lnTo>
                      <a:lnTo>
                        <a:pt x="1117485" y="551180"/>
                      </a:lnTo>
                      <a:lnTo>
                        <a:pt x="1118577" y="550227"/>
                      </a:lnTo>
                      <a:lnTo>
                        <a:pt x="1120851" y="548525"/>
                      </a:lnTo>
                      <a:lnTo>
                        <a:pt x="1120863" y="480288"/>
                      </a:lnTo>
                      <a:lnTo>
                        <a:pt x="1120114" y="480453"/>
                      </a:lnTo>
                      <a:lnTo>
                        <a:pt x="1119505" y="480834"/>
                      </a:lnTo>
                      <a:lnTo>
                        <a:pt x="1118920" y="481469"/>
                      </a:lnTo>
                      <a:lnTo>
                        <a:pt x="1117663" y="482358"/>
                      </a:lnTo>
                      <a:lnTo>
                        <a:pt x="1116355" y="483501"/>
                      </a:lnTo>
                      <a:lnTo>
                        <a:pt x="1115872" y="483120"/>
                      </a:lnTo>
                      <a:lnTo>
                        <a:pt x="1115872" y="552894"/>
                      </a:lnTo>
                      <a:lnTo>
                        <a:pt x="1115517" y="553288"/>
                      </a:lnTo>
                      <a:lnTo>
                        <a:pt x="1113840" y="555523"/>
                      </a:lnTo>
                      <a:lnTo>
                        <a:pt x="1115504" y="553288"/>
                      </a:lnTo>
                      <a:lnTo>
                        <a:pt x="1115872" y="552894"/>
                      </a:lnTo>
                      <a:lnTo>
                        <a:pt x="1115872" y="483120"/>
                      </a:lnTo>
                      <a:lnTo>
                        <a:pt x="1115720" y="482993"/>
                      </a:lnTo>
                      <a:lnTo>
                        <a:pt x="1114298" y="481977"/>
                      </a:lnTo>
                      <a:lnTo>
                        <a:pt x="1113142" y="480707"/>
                      </a:lnTo>
                      <a:lnTo>
                        <a:pt x="1112583" y="480199"/>
                      </a:lnTo>
                      <a:lnTo>
                        <a:pt x="1113955" y="478040"/>
                      </a:lnTo>
                      <a:lnTo>
                        <a:pt x="1114437" y="477278"/>
                      </a:lnTo>
                      <a:lnTo>
                        <a:pt x="1102969" y="477799"/>
                      </a:lnTo>
                      <a:lnTo>
                        <a:pt x="1102969" y="513892"/>
                      </a:lnTo>
                      <a:lnTo>
                        <a:pt x="1102156" y="513892"/>
                      </a:lnTo>
                      <a:lnTo>
                        <a:pt x="1102664" y="513854"/>
                      </a:lnTo>
                      <a:lnTo>
                        <a:pt x="1102969" y="513892"/>
                      </a:lnTo>
                      <a:lnTo>
                        <a:pt x="1102969" y="477799"/>
                      </a:lnTo>
                      <a:lnTo>
                        <a:pt x="1098943" y="477989"/>
                      </a:lnTo>
                      <a:lnTo>
                        <a:pt x="1098943" y="513854"/>
                      </a:lnTo>
                      <a:lnTo>
                        <a:pt x="1098943" y="477989"/>
                      </a:lnTo>
                      <a:lnTo>
                        <a:pt x="1097648" y="478040"/>
                      </a:lnTo>
                      <a:lnTo>
                        <a:pt x="1096657" y="477824"/>
                      </a:lnTo>
                      <a:lnTo>
                        <a:pt x="1097076" y="477888"/>
                      </a:lnTo>
                      <a:lnTo>
                        <a:pt x="1097648" y="477951"/>
                      </a:lnTo>
                      <a:lnTo>
                        <a:pt x="1103249" y="477723"/>
                      </a:lnTo>
                      <a:lnTo>
                        <a:pt x="1114323" y="477202"/>
                      </a:lnTo>
                      <a:lnTo>
                        <a:pt x="1114425" y="476440"/>
                      </a:lnTo>
                      <a:lnTo>
                        <a:pt x="1114806" y="475107"/>
                      </a:lnTo>
                      <a:lnTo>
                        <a:pt x="1114679" y="473087"/>
                      </a:lnTo>
                      <a:lnTo>
                        <a:pt x="1114602" y="472122"/>
                      </a:lnTo>
                      <a:lnTo>
                        <a:pt x="1114590" y="471970"/>
                      </a:lnTo>
                      <a:lnTo>
                        <a:pt x="1114171" y="469760"/>
                      </a:lnTo>
                      <a:lnTo>
                        <a:pt x="1113815" y="467347"/>
                      </a:lnTo>
                      <a:lnTo>
                        <a:pt x="1109853" y="462788"/>
                      </a:lnTo>
                      <a:lnTo>
                        <a:pt x="1109383" y="462559"/>
                      </a:lnTo>
                      <a:lnTo>
                        <a:pt x="1109014" y="462711"/>
                      </a:lnTo>
                      <a:lnTo>
                        <a:pt x="1108900" y="463562"/>
                      </a:lnTo>
                      <a:lnTo>
                        <a:pt x="1107160" y="461860"/>
                      </a:lnTo>
                      <a:lnTo>
                        <a:pt x="1106360" y="460933"/>
                      </a:lnTo>
                      <a:lnTo>
                        <a:pt x="1105547" y="459955"/>
                      </a:lnTo>
                      <a:lnTo>
                        <a:pt x="1104392" y="458292"/>
                      </a:lnTo>
                      <a:lnTo>
                        <a:pt x="1104734" y="458177"/>
                      </a:lnTo>
                      <a:lnTo>
                        <a:pt x="1105242" y="457860"/>
                      </a:lnTo>
                      <a:lnTo>
                        <a:pt x="1105522" y="457542"/>
                      </a:lnTo>
                      <a:lnTo>
                        <a:pt x="1105446" y="456628"/>
                      </a:lnTo>
                      <a:lnTo>
                        <a:pt x="1105382" y="456387"/>
                      </a:lnTo>
                      <a:lnTo>
                        <a:pt x="1104785" y="454063"/>
                      </a:lnTo>
                      <a:lnTo>
                        <a:pt x="1093774" y="454063"/>
                      </a:lnTo>
                      <a:lnTo>
                        <a:pt x="1093774" y="477139"/>
                      </a:lnTo>
                      <a:lnTo>
                        <a:pt x="1090879" y="475500"/>
                      </a:lnTo>
                      <a:lnTo>
                        <a:pt x="1088809" y="474713"/>
                      </a:lnTo>
                      <a:lnTo>
                        <a:pt x="1088809" y="524141"/>
                      </a:lnTo>
                      <a:lnTo>
                        <a:pt x="1088567" y="524268"/>
                      </a:lnTo>
                      <a:lnTo>
                        <a:pt x="1088440" y="524141"/>
                      </a:lnTo>
                      <a:lnTo>
                        <a:pt x="1088809" y="524141"/>
                      </a:lnTo>
                      <a:lnTo>
                        <a:pt x="1088809" y="474713"/>
                      </a:lnTo>
                      <a:lnTo>
                        <a:pt x="1086878" y="473976"/>
                      </a:lnTo>
                      <a:lnTo>
                        <a:pt x="1085240" y="473214"/>
                      </a:lnTo>
                      <a:lnTo>
                        <a:pt x="1083119" y="473087"/>
                      </a:lnTo>
                      <a:lnTo>
                        <a:pt x="1081062" y="473214"/>
                      </a:lnTo>
                      <a:lnTo>
                        <a:pt x="1081062" y="478929"/>
                      </a:lnTo>
                      <a:lnTo>
                        <a:pt x="1080871" y="479183"/>
                      </a:lnTo>
                      <a:lnTo>
                        <a:pt x="1079715" y="479818"/>
                      </a:lnTo>
                      <a:lnTo>
                        <a:pt x="1078522" y="480326"/>
                      </a:lnTo>
                      <a:lnTo>
                        <a:pt x="1077595" y="480987"/>
                      </a:lnTo>
                      <a:lnTo>
                        <a:pt x="1077455" y="480974"/>
                      </a:lnTo>
                      <a:lnTo>
                        <a:pt x="1078522" y="480237"/>
                      </a:lnTo>
                      <a:lnTo>
                        <a:pt x="1079728" y="479691"/>
                      </a:lnTo>
                      <a:lnTo>
                        <a:pt x="1080871" y="479107"/>
                      </a:lnTo>
                      <a:lnTo>
                        <a:pt x="1081049" y="478917"/>
                      </a:lnTo>
                      <a:lnTo>
                        <a:pt x="1081062" y="473214"/>
                      </a:lnTo>
                      <a:lnTo>
                        <a:pt x="1078928" y="473151"/>
                      </a:lnTo>
                      <a:lnTo>
                        <a:pt x="1077023" y="473316"/>
                      </a:lnTo>
                      <a:lnTo>
                        <a:pt x="1078915" y="473151"/>
                      </a:lnTo>
                      <a:lnTo>
                        <a:pt x="1080973" y="473113"/>
                      </a:lnTo>
                      <a:lnTo>
                        <a:pt x="1083119" y="473087"/>
                      </a:lnTo>
                      <a:lnTo>
                        <a:pt x="1085240" y="473202"/>
                      </a:lnTo>
                      <a:lnTo>
                        <a:pt x="1088085" y="474370"/>
                      </a:lnTo>
                      <a:lnTo>
                        <a:pt x="1088339" y="474433"/>
                      </a:lnTo>
                      <a:lnTo>
                        <a:pt x="1090866" y="475462"/>
                      </a:lnTo>
                      <a:lnTo>
                        <a:pt x="1093774" y="477139"/>
                      </a:lnTo>
                      <a:lnTo>
                        <a:pt x="1093774" y="454063"/>
                      </a:lnTo>
                      <a:lnTo>
                        <a:pt x="1039202" y="454063"/>
                      </a:lnTo>
                      <a:lnTo>
                        <a:pt x="1038834" y="454075"/>
                      </a:lnTo>
                      <a:lnTo>
                        <a:pt x="1037831" y="454469"/>
                      </a:lnTo>
                      <a:lnTo>
                        <a:pt x="1037145" y="455472"/>
                      </a:lnTo>
                      <a:lnTo>
                        <a:pt x="1037094" y="455790"/>
                      </a:lnTo>
                      <a:lnTo>
                        <a:pt x="1037056" y="455612"/>
                      </a:lnTo>
                      <a:lnTo>
                        <a:pt x="1036916" y="455815"/>
                      </a:lnTo>
                      <a:lnTo>
                        <a:pt x="1037183" y="456133"/>
                      </a:lnTo>
                      <a:lnTo>
                        <a:pt x="1037120" y="455917"/>
                      </a:lnTo>
                      <a:lnTo>
                        <a:pt x="1037221" y="456171"/>
                      </a:lnTo>
                      <a:lnTo>
                        <a:pt x="1038428" y="457631"/>
                      </a:lnTo>
                      <a:lnTo>
                        <a:pt x="1038517" y="457060"/>
                      </a:lnTo>
                      <a:lnTo>
                        <a:pt x="1039317" y="456387"/>
                      </a:lnTo>
                      <a:lnTo>
                        <a:pt x="1039228" y="458495"/>
                      </a:lnTo>
                      <a:lnTo>
                        <a:pt x="1039406" y="459054"/>
                      </a:lnTo>
                      <a:lnTo>
                        <a:pt x="1040168" y="459524"/>
                      </a:lnTo>
                      <a:lnTo>
                        <a:pt x="1040155" y="460070"/>
                      </a:lnTo>
                      <a:lnTo>
                        <a:pt x="1040193" y="460197"/>
                      </a:lnTo>
                      <a:lnTo>
                        <a:pt x="1047965" y="459955"/>
                      </a:lnTo>
                      <a:lnTo>
                        <a:pt x="1055509" y="459333"/>
                      </a:lnTo>
                      <a:lnTo>
                        <a:pt x="1055662" y="459257"/>
                      </a:lnTo>
                      <a:lnTo>
                        <a:pt x="1056411" y="458495"/>
                      </a:lnTo>
                      <a:lnTo>
                        <a:pt x="1057198" y="457428"/>
                      </a:lnTo>
                      <a:lnTo>
                        <a:pt x="1059764" y="456628"/>
                      </a:lnTo>
                      <a:lnTo>
                        <a:pt x="1062482" y="457276"/>
                      </a:lnTo>
                      <a:lnTo>
                        <a:pt x="1065771" y="457339"/>
                      </a:lnTo>
                      <a:lnTo>
                        <a:pt x="1067917" y="459409"/>
                      </a:lnTo>
                      <a:lnTo>
                        <a:pt x="1069708" y="460527"/>
                      </a:lnTo>
                      <a:lnTo>
                        <a:pt x="1070127" y="460705"/>
                      </a:lnTo>
                      <a:lnTo>
                        <a:pt x="1070749" y="460895"/>
                      </a:lnTo>
                      <a:lnTo>
                        <a:pt x="1070940" y="460908"/>
                      </a:lnTo>
                      <a:lnTo>
                        <a:pt x="1071753" y="461048"/>
                      </a:lnTo>
                      <a:lnTo>
                        <a:pt x="1072502" y="461111"/>
                      </a:lnTo>
                      <a:lnTo>
                        <a:pt x="1073302" y="461086"/>
                      </a:lnTo>
                      <a:lnTo>
                        <a:pt x="1074902" y="461124"/>
                      </a:lnTo>
                      <a:lnTo>
                        <a:pt x="1075232" y="461086"/>
                      </a:lnTo>
                      <a:lnTo>
                        <a:pt x="1076553" y="460933"/>
                      </a:lnTo>
                      <a:lnTo>
                        <a:pt x="1078052" y="461225"/>
                      </a:lnTo>
                      <a:lnTo>
                        <a:pt x="1079258" y="462711"/>
                      </a:lnTo>
                      <a:lnTo>
                        <a:pt x="1079144" y="463105"/>
                      </a:lnTo>
                      <a:lnTo>
                        <a:pt x="1077556" y="464185"/>
                      </a:lnTo>
                      <a:lnTo>
                        <a:pt x="1075258" y="464832"/>
                      </a:lnTo>
                      <a:lnTo>
                        <a:pt x="1073391" y="465658"/>
                      </a:lnTo>
                      <a:lnTo>
                        <a:pt x="1071308" y="465048"/>
                      </a:lnTo>
                      <a:lnTo>
                        <a:pt x="1068197" y="464185"/>
                      </a:lnTo>
                      <a:lnTo>
                        <a:pt x="1065136" y="462229"/>
                      </a:lnTo>
                      <a:lnTo>
                        <a:pt x="1064844" y="462140"/>
                      </a:lnTo>
                      <a:lnTo>
                        <a:pt x="1064844" y="473290"/>
                      </a:lnTo>
                      <a:lnTo>
                        <a:pt x="1064260" y="473303"/>
                      </a:lnTo>
                      <a:lnTo>
                        <a:pt x="1064844" y="473290"/>
                      </a:lnTo>
                      <a:lnTo>
                        <a:pt x="1064844" y="462140"/>
                      </a:lnTo>
                      <a:lnTo>
                        <a:pt x="1063612" y="461759"/>
                      </a:lnTo>
                      <a:lnTo>
                        <a:pt x="1063612" y="486638"/>
                      </a:lnTo>
                      <a:lnTo>
                        <a:pt x="1061681" y="484517"/>
                      </a:lnTo>
                      <a:lnTo>
                        <a:pt x="1060792" y="484047"/>
                      </a:lnTo>
                      <a:lnTo>
                        <a:pt x="1063256" y="483755"/>
                      </a:lnTo>
                      <a:lnTo>
                        <a:pt x="1063231" y="485508"/>
                      </a:lnTo>
                      <a:lnTo>
                        <a:pt x="1063612" y="486638"/>
                      </a:lnTo>
                      <a:lnTo>
                        <a:pt x="1063612" y="461759"/>
                      </a:lnTo>
                      <a:lnTo>
                        <a:pt x="1060869" y="460895"/>
                      </a:lnTo>
                      <a:lnTo>
                        <a:pt x="1059548" y="460502"/>
                      </a:lnTo>
                      <a:lnTo>
                        <a:pt x="1060132" y="461048"/>
                      </a:lnTo>
                      <a:lnTo>
                        <a:pt x="1060183" y="461225"/>
                      </a:lnTo>
                      <a:lnTo>
                        <a:pt x="1057744" y="463969"/>
                      </a:lnTo>
                      <a:lnTo>
                        <a:pt x="1054214" y="464261"/>
                      </a:lnTo>
                      <a:lnTo>
                        <a:pt x="1052639" y="464667"/>
                      </a:lnTo>
                      <a:lnTo>
                        <a:pt x="1052423" y="464693"/>
                      </a:lnTo>
                      <a:lnTo>
                        <a:pt x="1052423" y="483044"/>
                      </a:lnTo>
                      <a:lnTo>
                        <a:pt x="1050442" y="483908"/>
                      </a:lnTo>
                      <a:lnTo>
                        <a:pt x="1049299" y="484263"/>
                      </a:lnTo>
                      <a:lnTo>
                        <a:pt x="1050683" y="483412"/>
                      </a:lnTo>
                      <a:lnTo>
                        <a:pt x="1052423" y="483044"/>
                      </a:lnTo>
                      <a:lnTo>
                        <a:pt x="1052423" y="464693"/>
                      </a:lnTo>
                      <a:lnTo>
                        <a:pt x="1051864" y="464731"/>
                      </a:lnTo>
                      <a:lnTo>
                        <a:pt x="1050874" y="465150"/>
                      </a:lnTo>
                      <a:lnTo>
                        <a:pt x="1050188" y="465836"/>
                      </a:lnTo>
                      <a:lnTo>
                        <a:pt x="1049934" y="466293"/>
                      </a:lnTo>
                      <a:lnTo>
                        <a:pt x="1038288" y="467702"/>
                      </a:lnTo>
                      <a:lnTo>
                        <a:pt x="1037640" y="467728"/>
                      </a:lnTo>
                      <a:lnTo>
                        <a:pt x="1037590" y="468363"/>
                      </a:lnTo>
                      <a:lnTo>
                        <a:pt x="1037501" y="468617"/>
                      </a:lnTo>
                      <a:lnTo>
                        <a:pt x="1037374" y="471195"/>
                      </a:lnTo>
                      <a:lnTo>
                        <a:pt x="1037272" y="473964"/>
                      </a:lnTo>
                      <a:lnTo>
                        <a:pt x="1037374" y="474840"/>
                      </a:lnTo>
                      <a:lnTo>
                        <a:pt x="1037691" y="474840"/>
                      </a:lnTo>
                      <a:lnTo>
                        <a:pt x="1042149" y="474840"/>
                      </a:lnTo>
                      <a:lnTo>
                        <a:pt x="1040612" y="474103"/>
                      </a:lnTo>
                      <a:lnTo>
                        <a:pt x="1039418" y="473964"/>
                      </a:lnTo>
                      <a:lnTo>
                        <a:pt x="1038796" y="474230"/>
                      </a:lnTo>
                      <a:lnTo>
                        <a:pt x="1038821" y="474103"/>
                      </a:lnTo>
                      <a:lnTo>
                        <a:pt x="1039025" y="473113"/>
                      </a:lnTo>
                      <a:lnTo>
                        <a:pt x="1040612" y="474103"/>
                      </a:lnTo>
                      <a:lnTo>
                        <a:pt x="1041958" y="474103"/>
                      </a:lnTo>
                      <a:lnTo>
                        <a:pt x="1043317" y="474230"/>
                      </a:lnTo>
                      <a:lnTo>
                        <a:pt x="1044676" y="474306"/>
                      </a:lnTo>
                      <a:lnTo>
                        <a:pt x="1045032" y="474205"/>
                      </a:lnTo>
                      <a:lnTo>
                        <a:pt x="1045298" y="474319"/>
                      </a:lnTo>
                      <a:lnTo>
                        <a:pt x="1045667" y="474370"/>
                      </a:lnTo>
                      <a:lnTo>
                        <a:pt x="1044676" y="474306"/>
                      </a:lnTo>
                      <a:lnTo>
                        <a:pt x="1042682" y="474268"/>
                      </a:lnTo>
                      <a:lnTo>
                        <a:pt x="1043063" y="475272"/>
                      </a:lnTo>
                      <a:lnTo>
                        <a:pt x="1042454" y="474980"/>
                      </a:lnTo>
                      <a:lnTo>
                        <a:pt x="1037386" y="474980"/>
                      </a:lnTo>
                      <a:lnTo>
                        <a:pt x="1037005" y="474992"/>
                      </a:lnTo>
                      <a:lnTo>
                        <a:pt x="1036739" y="475107"/>
                      </a:lnTo>
                      <a:lnTo>
                        <a:pt x="1036840" y="477418"/>
                      </a:lnTo>
                      <a:lnTo>
                        <a:pt x="1037082" y="477685"/>
                      </a:lnTo>
                      <a:lnTo>
                        <a:pt x="1037666" y="477951"/>
                      </a:lnTo>
                      <a:lnTo>
                        <a:pt x="1037742" y="478485"/>
                      </a:lnTo>
                      <a:lnTo>
                        <a:pt x="1044295" y="477393"/>
                      </a:lnTo>
                      <a:lnTo>
                        <a:pt x="1051077" y="476135"/>
                      </a:lnTo>
                      <a:lnTo>
                        <a:pt x="1044308" y="477393"/>
                      </a:lnTo>
                      <a:lnTo>
                        <a:pt x="1037755" y="478485"/>
                      </a:lnTo>
                      <a:lnTo>
                        <a:pt x="1037932" y="479717"/>
                      </a:lnTo>
                      <a:lnTo>
                        <a:pt x="1038148" y="479691"/>
                      </a:lnTo>
                      <a:lnTo>
                        <a:pt x="1038961" y="479501"/>
                      </a:lnTo>
                      <a:lnTo>
                        <a:pt x="1039101" y="479488"/>
                      </a:lnTo>
                      <a:lnTo>
                        <a:pt x="1039317" y="479501"/>
                      </a:lnTo>
                      <a:lnTo>
                        <a:pt x="1039774" y="479501"/>
                      </a:lnTo>
                      <a:lnTo>
                        <a:pt x="1042301" y="480733"/>
                      </a:lnTo>
                      <a:lnTo>
                        <a:pt x="1043152" y="480237"/>
                      </a:lnTo>
                      <a:lnTo>
                        <a:pt x="1044638" y="479488"/>
                      </a:lnTo>
                      <a:lnTo>
                        <a:pt x="1046162" y="478726"/>
                      </a:lnTo>
                      <a:lnTo>
                        <a:pt x="1046365" y="478688"/>
                      </a:lnTo>
                      <a:lnTo>
                        <a:pt x="1045667" y="479374"/>
                      </a:lnTo>
                      <a:lnTo>
                        <a:pt x="1044041" y="479933"/>
                      </a:lnTo>
                      <a:lnTo>
                        <a:pt x="1043508" y="481482"/>
                      </a:lnTo>
                      <a:lnTo>
                        <a:pt x="1044397" y="482854"/>
                      </a:lnTo>
                      <a:lnTo>
                        <a:pt x="1046149" y="484771"/>
                      </a:lnTo>
                      <a:lnTo>
                        <a:pt x="1046175" y="484466"/>
                      </a:lnTo>
                      <a:lnTo>
                        <a:pt x="1048969" y="484466"/>
                      </a:lnTo>
                      <a:lnTo>
                        <a:pt x="1049286" y="484276"/>
                      </a:lnTo>
                      <a:lnTo>
                        <a:pt x="1049172" y="484517"/>
                      </a:lnTo>
                      <a:lnTo>
                        <a:pt x="1048473" y="486486"/>
                      </a:lnTo>
                      <a:lnTo>
                        <a:pt x="1049642" y="486918"/>
                      </a:lnTo>
                      <a:lnTo>
                        <a:pt x="1051064" y="486486"/>
                      </a:lnTo>
                      <a:lnTo>
                        <a:pt x="1053604" y="486232"/>
                      </a:lnTo>
                      <a:lnTo>
                        <a:pt x="1054239" y="484835"/>
                      </a:lnTo>
                      <a:lnTo>
                        <a:pt x="1058506" y="484327"/>
                      </a:lnTo>
                      <a:lnTo>
                        <a:pt x="1054989" y="486714"/>
                      </a:lnTo>
                      <a:lnTo>
                        <a:pt x="1056373" y="487451"/>
                      </a:lnTo>
                      <a:lnTo>
                        <a:pt x="1056182" y="489635"/>
                      </a:lnTo>
                      <a:lnTo>
                        <a:pt x="1057656" y="487121"/>
                      </a:lnTo>
                      <a:lnTo>
                        <a:pt x="1059916" y="487921"/>
                      </a:lnTo>
                      <a:lnTo>
                        <a:pt x="1062355" y="489102"/>
                      </a:lnTo>
                      <a:lnTo>
                        <a:pt x="1060907" y="489737"/>
                      </a:lnTo>
                      <a:lnTo>
                        <a:pt x="1060996" y="489445"/>
                      </a:lnTo>
                      <a:lnTo>
                        <a:pt x="1061021" y="488861"/>
                      </a:lnTo>
                      <a:lnTo>
                        <a:pt x="1060411" y="488594"/>
                      </a:lnTo>
                      <a:lnTo>
                        <a:pt x="1059916" y="488696"/>
                      </a:lnTo>
                      <a:lnTo>
                        <a:pt x="1059535" y="489445"/>
                      </a:lnTo>
                      <a:lnTo>
                        <a:pt x="1059319" y="488899"/>
                      </a:lnTo>
                      <a:lnTo>
                        <a:pt x="1057960" y="489927"/>
                      </a:lnTo>
                      <a:lnTo>
                        <a:pt x="1055966" y="492163"/>
                      </a:lnTo>
                      <a:lnTo>
                        <a:pt x="1055382" y="492887"/>
                      </a:lnTo>
                      <a:lnTo>
                        <a:pt x="1056119" y="492620"/>
                      </a:lnTo>
                      <a:lnTo>
                        <a:pt x="1056652" y="492163"/>
                      </a:lnTo>
                      <a:lnTo>
                        <a:pt x="1057135" y="491578"/>
                      </a:lnTo>
                      <a:lnTo>
                        <a:pt x="1057300" y="491934"/>
                      </a:lnTo>
                      <a:lnTo>
                        <a:pt x="1057554" y="492048"/>
                      </a:lnTo>
                      <a:lnTo>
                        <a:pt x="1057833" y="492010"/>
                      </a:lnTo>
                      <a:lnTo>
                        <a:pt x="1058621" y="491578"/>
                      </a:lnTo>
                      <a:lnTo>
                        <a:pt x="1058748" y="491515"/>
                      </a:lnTo>
                      <a:lnTo>
                        <a:pt x="1058430" y="491794"/>
                      </a:lnTo>
                      <a:lnTo>
                        <a:pt x="1058113" y="491985"/>
                      </a:lnTo>
                      <a:lnTo>
                        <a:pt x="1057833" y="492010"/>
                      </a:lnTo>
                      <a:lnTo>
                        <a:pt x="1057008" y="492493"/>
                      </a:lnTo>
                      <a:lnTo>
                        <a:pt x="1055979" y="493191"/>
                      </a:lnTo>
                      <a:lnTo>
                        <a:pt x="1058710" y="494487"/>
                      </a:lnTo>
                      <a:lnTo>
                        <a:pt x="1060742" y="493420"/>
                      </a:lnTo>
                      <a:lnTo>
                        <a:pt x="1059586" y="496379"/>
                      </a:lnTo>
                      <a:lnTo>
                        <a:pt x="1060488" y="496290"/>
                      </a:lnTo>
                      <a:lnTo>
                        <a:pt x="1061440" y="495668"/>
                      </a:lnTo>
                      <a:lnTo>
                        <a:pt x="1062215" y="495376"/>
                      </a:lnTo>
                      <a:lnTo>
                        <a:pt x="1062164" y="496150"/>
                      </a:lnTo>
                      <a:lnTo>
                        <a:pt x="1061681" y="497268"/>
                      </a:lnTo>
                      <a:lnTo>
                        <a:pt x="1061402" y="497763"/>
                      </a:lnTo>
                      <a:lnTo>
                        <a:pt x="1062380" y="498322"/>
                      </a:lnTo>
                      <a:lnTo>
                        <a:pt x="1063523" y="496150"/>
                      </a:lnTo>
                      <a:lnTo>
                        <a:pt x="1063790" y="495376"/>
                      </a:lnTo>
                      <a:lnTo>
                        <a:pt x="1064501" y="493420"/>
                      </a:lnTo>
                      <a:lnTo>
                        <a:pt x="1065110" y="491718"/>
                      </a:lnTo>
                      <a:lnTo>
                        <a:pt x="1065377" y="491515"/>
                      </a:lnTo>
                      <a:lnTo>
                        <a:pt x="1067612" y="489864"/>
                      </a:lnTo>
                      <a:lnTo>
                        <a:pt x="1069746" y="489800"/>
                      </a:lnTo>
                      <a:lnTo>
                        <a:pt x="1070013" y="489737"/>
                      </a:lnTo>
                      <a:lnTo>
                        <a:pt x="1072857" y="489089"/>
                      </a:lnTo>
                      <a:lnTo>
                        <a:pt x="1075588" y="488721"/>
                      </a:lnTo>
                      <a:lnTo>
                        <a:pt x="1078357" y="487743"/>
                      </a:lnTo>
                      <a:lnTo>
                        <a:pt x="1079233" y="487286"/>
                      </a:lnTo>
                      <a:lnTo>
                        <a:pt x="1079461" y="487235"/>
                      </a:lnTo>
                      <a:lnTo>
                        <a:pt x="1079703" y="487489"/>
                      </a:lnTo>
                      <a:lnTo>
                        <a:pt x="1079817" y="487743"/>
                      </a:lnTo>
                      <a:lnTo>
                        <a:pt x="1080033" y="487794"/>
                      </a:lnTo>
                      <a:lnTo>
                        <a:pt x="1080312" y="487641"/>
                      </a:lnTo>
                      <a:lnTo>
                        <a:pt x="1080452" y="487514"/>
                      </a:lnTo>
                      <a:lnTo>
                        <a:pt x="1080541" y="487235"/>
                      </a:lnTo>
                      <a:lnTo>
                        <a:pt x="1080643" y="486854"/>
                      </a:lnTo>
                      <a:lnTo>
                        <a:pt x="1080706" y="486651"/>
                      </a:lnTo>
                      <a:lnTo>
                        <a:pt x="1080490" y="487565"/>
                      </a:lnTo>
                      <a:lnTo>
                        <a:pt x="1080033" y="487819"/>
                      </a:lnTo>
                      <a:lnTo>
                        <a:pt x="1079817" y="487819"/>
                      </a:lnTo>
                      <a:lnTo>
                        <a:pt x="1079728" y="487565"/>
                      </a:lnTo>
                      <a:lnTo>
                        <a:pt x="1079538" y="487311"/>
                      </a:lnTo>
                      <a:lnTo>
                        <a:pt x="1079233" y="487311"/>
                      </a:lnTo>
                      <a:lnTo>
                        <a:pt x="1078318" y="487819"/>
                      </a:lnTo>
                      <a:lnTo>
                        <a:pt x="1075588" y="488835"/>
                      </a:lnTo>
                      <a:lnTo>
                        <a:pt x="1072857" y="489089"/>
                      </a:lnTo>
                      <a:lnTo>
                        <a:pt x="1069746" y="489851"/>
                      </a:lnTo>
                      <a:lnTo>
                        <a:pt x="1067612" y="489978"/>
                      </a:lnTo>
                      <a:lnTo>
                        <a:pt x="1066749" y="490601"/>
                      </a:lnTo>
                      <a:lnTo>
                        <a:pt x="1066749" y="497344"/>
                      </a:lnTo>
                      <a:lnTo>
                        <a:pt x="1066673" y="497471"/>
                      </a:lnTo>
                      <a:lnTo>
                        <a:pt x="1066495" y="497598"/>
                      </a:lnTo>
                      <a:lnTo>
                        <a:pt x="1066546" y="497471"/>
                      </a:lnTo>
                      <a:lnTo>
                        <a:pt x="1066406" y="497344"/>
                      </a:lnTo>
                      <a:lnTo>
                        <a:pt x="1066749" y="497344"/>
                      </a:lnTo>
                      <a:lnTo>
                        <a:pt x="1066749" y="490601"/>
                      </a:lnTo>
                      <a:lnTo>
                        <a:pt x="1065110" y="491756"/>
                      </a:lnTo>
                      <a:lnTo>
                        <a:pt x="1063523" y="496201"/>
                      </a:lnTo>
                      <a:lnTo>
                        <a:pt x="1062380" y="498360"/>
                      </a:lnTo>
                      <a:lnTo>
                        <a:pt x="1062748" y="498614"/>
                      </a:lnTo>
                      <a:lnTo>
                        <a:pt x="1062050" y="498995"/>
                      </a:lnTo>
                      <a:lnTo>
                        <a:pt x="1061478" y="500138"/>
                      </a:lnTo>
                      <a:lnTo>
                        <a:pt x="1063142" y="501154"/>
                      </a:lnTo>
                      <a:lnTo>
                        <a:pt x="1062266" y="499503"/>
                      </a:lnTo>
                      <a:lnTo>
                        <a:pt x="1064158" y="499630"/>
                      </a:lnTo>
                      <a:lnTo>
                        <a:pt x="1064094" y="499503"/>
                      </a:lnTo>
                      <a:lnTo>
                        <a:pt x="1063726" y="498614"/>
                      </a:lnTo>
                      <a:lnTo>
                        <a:pt x="1063637" y="498487"/>
                      </a:lnTo>
                      <a:lnTo>
                        <a:pt x="1064107" y="497598"/>
                      </a:lnTo>
                      <a:lnTo>
                        <a:pt x="1064945" y="497598"/>
                      </a:lnTo>
                      <a:lnTo>
                        <a:pt x="1065822" y="497725"/>
                      </a:lnTo>
                      <a:lnTo>
                        <a:pt x="1066355" y="497852"/>
                      </a:lnTo>
                      <a:lnTo>
                        <a:pt x="1065542" y="498487"/>
                      </a:lnTo>
                      <a:lnTo>
                        <a:pt x="1065072" y="498614"/>
                      </a:lnTo>
                      <a:lnTo>
                        <a:pt x="1065441" y="501154"/>
                      </a:lnTo>
                      <a:lnTo>
                        <a:pt x="1065987" y="502043"/>
                      </a:lnTo>
                      <a:lnTo>
                        <a:pt x="1067308" y="500519"/>
                      </a:lnTo>
                      <a:lnTo>
                        <a:pt x="1067193" y="501281"/>
                      </a:lnTo>
                      <a:lnTo>
                        <a:pt x="1066914" y="502043"/>
                      </a:lnTo>
                      <a:lnTo>
                        <a:pt x="1067041" y="502551"/>
                      </a:lnTo>
                      <a:lnTo>
                        <a:pt x="1067981" y="501916"/>
                      </a:lnTo>
                      <a:lnTo>
                        <a:pt x="1068895" y="500519"/>
                      </a:lnTo>
                      <a:lnTo>
                        <a:pt x="1069124" y="500138"/>
                      </a:lnTo>
                      <a:lnTo>
                        <a:pt x="1069543" y="499376"/>
                      </a:lnTo>
                      <a:lnTo>
                        <a:pt x="1069162" y="500392"/>
                      </a:lnTo>
                      <a:lnTo>
                        <a:pt x="1067981" y="501916"/>
                      </a:lnTo>
                      <a:lnTo>
                        <a:pt x="1067193" y="502932"/>
                      </a:lnTo>
                      <a:lnTo>
                        <a:pt x="1067727" y="504710"/>
                      </a:lnTo>
                      <a:lnTo>
                        <a:pt x="1069073" y="504583"/>
                      </a:lnTo>
                      <a:lnTo>
                        <a:pt x="1069568" y="506361"/>
                      </a:lnTo>
                      <a:lnTo>
                        <a:pt x="1069822" y="507885"/>
                      </a:lnTo>
                      <a:lnTo>
                        <a:pt x="1070394" y="509155"/>
                      </a:lnTo>
                      <a:lnTo>
                        <a:pt x="1071994" y="508774"/>
                      </a:lnTo>
                      <a:lnTo>
                        <a:pt x="1073581" y="511822"/>
                      </a:lnTo>
                      <a:lnTo>
                        <a:pt x="1075918" y="511314"/>
                      </a:lnTo>
                      <a:lnTo>
                        <a:pt x="1075728" y="509917"/>
                      </a:lnTo>
                      <a:lnTo>
                        <a:pt x="1076756" y="509536"/>
                      </a:lnTo>
                      <a:lnTo>
                        <a:pt x="1076502" y="511060"/>
                      </a:lnTo>
                      <a:lnTo>
                        <a:pt x="1079741" y="517029"/>
                      </a:lnTo>
                      <a:lnTo>
                        <a:pt x="1081265" y="512965"/>
                      </a:lnTo>
                      <a:lnTo>
                        <a:pt x="1080325" y="516013"/>
                      </a:lnTo>
                      <a:lnTo>
                        <a:pt x="1080147" y="516140"/>
                      </a:lnTo>
                      <a:lnTo>
                        <a:pt x="1083068" y="515632"/>
                      </a:lnTo>
                      <a:lnTo>
                        <a:pt x="1081443" y="518045"/>
                      </a:lnTo>
                      <a:lnTo>
                        <a:pt x="1080897" y="519315"/>
                      </a:lnTo>
                      <a:lnTo>
                        <a:pt x="1082103" y="518680"/>
                      </a:lnTo>
                      <a:lnTo>
                        <a:pt x="1083157" y="519188"/>
                      </a:lnTo>
                      <a:lnTo>
                        <a:pt x="1084008" y="518680"/>
                      </a:lnTo>
                      <a:lnTo>
                        <a:pt x="1084224" y="518553"/>
                      </a:lnTo>
                      <a:lnTo>
                        <a:pt x="1084592" y="519950"/>
                      </a:lnTo>
                      <a:lnTo>
                        <a:pt x="1085291" y="525030"/>
                      </a:lnTo>
                      <a:lnTo>
                        <a:pt x="1087920" y="524141"/>
                      </a:lnTo>
                      <a:lnTo>
                        <a:pt x="1087539" y="524903"/>
                      </a:lnTo>
                      <a:lnTo>
                        <a:pt x="1086662" y="525030"/>
                      </a:lnTo>
                      <a:lnTo>
                        <a:pt x="1086739" y="526173"/>
                      </a:lnTo>
                      <a:lnTo>
                        <a:pt x="1086815" y="527265"/>
                      </a:lnTo>
                      <a:lnTo>
                        <a:pt x="1088542" y="527126"/>
                      </a:lnTo>
                      <a:lnTo>
                        <a:pt x="1090333" y="528154"/>
                      </a:lnTo>
                      <a:lnTo>
                        <a:pt x="1091184" y="528739"/>
                      </a:lnTo>
                      <a:lnTo>
                        <a:pt x="1088885" y="528523"/>
                      </a:lnTo>
                      <a:lnTo>
                        <a:pt x="1087894" y="531583"/>
                      </a:lnTo>
                      <a:lnTo>
                        <a:pt x="1090891" y="532980"/>
                      </a:lnTo>
                      <a:lnTo>
                        <a:pt x="1092542" y="532117"/>
                      </a:lnTo>
                      <a:lnTo>
                        <a:pt x="1092873" y="531329"/>
                      </a:lnTo>
                      <a:lnTo>
                        <a:pt x="1092771" y="532422"/>
                      </a:lnTo>
                      <a:lnTo>
                        <a:pt x="1092263" y="533209"/>
                      </a:lnTo>
                      <a:lnTo>
                        <a:pt x="1091526" y="532917"/>
                      </a:lnTo>
                      <a:lnTo>
                        <a:pt x="1090891" y="533539"/>
                      </a:lnTo>
                      <a:lnTo>
                        <a:pt x="1090790" y="534720"/>
                      </a:lnTo>
                      <a:lnTo>
                        <a:pt x="1090574" y="535635"/>
                      </a:lnTo>
                      <a:lnTo>
                        <a:pt x="1088301" y="534428"/>
                      </a:lnTo>
                      <a:lnTo>
                        <a:pt x="1087081" y="533984"/>
                      </a:lnTo>
                      <a:lnTo>
                        <a:pt x="1087005" y="534873"/>
                      </a:lnTo>
                      <a:lnTo>
                        <a:pt x="1087386" y="534911"/>
                      </a:lnTo>
                      <a:lnTo>
                        <a:pt x="1088478" y="537400"/>
                      </a:lnTo>
                      <a:lnTo>
                        <a:pt x="1088859" y="538581"/>
                      </a:lnTo>
                      <a:lnTo>
                        <a:pt x="1089571" y="537908"/>
                      </a:lnTo>
                      <a:lnTo>
                        <a:pt x="1091514" y="537451"/>
                      </a:lnTo>
                      <a:lnTo>
                        <a:pt x="1092238" y="540397"/>
                      </a:lnTo>
                      <a:lnTo>
                        <a:pt x="1092288" y="544296"/>
                      </a:lnTo>
                      <a:lnTo>
                        <a:pt x="1097064" y="545731"/>
                      </a:lnTo>
                      <a:lnTo>
                        <a:pt x="1098740" y="544461"/>
                      </a:lnTo>
                      <a:lnTo>
                        <a:pt x="1098854" y="548805"/>
                      </a:lnTo>
                      <a:lnTo>
                        <a:pt x="1099642" y="546950"/>
                      </a:lnTo>
                      <a:lnTo>
                        <a:pt x="1102804" y="546989"/>
                      </a:lnTo>
                      <a:lnTo>
                        <a:pt x="1101661" y="547776"/>
                      </a:lnTo>
                      <a:lnTo>
                        <a:pt x="1100797" y="547547"/>
                      </a:lnTo>
                      <a:lnTo>
                        <a:pt x="1099337" y="547801"/>
                      </a:lnTo>
                      <a:lnTo>
                        <a:pt x="1099540" y="548487"/>
                      </a:lnTo>
                      <a:lnTo>
                        <a:pt x="1100137" y="549808"/>
                      </a:lnTo>
                      <a:lnTo>
                        <a:pt x="1099527" y="549681"/>
                      </a:lnTo>
                      <a:lnTo>
                        <a:pt x="1098994" y="549871"/>
                      </a:lnTo>
                      <a:lnTo>
                        <a:pt x="1098384" y="549910"/>
                      </a:lnTo>
                      <a:lnTo>
                        <a:pt x="1099108" y="550075"/>
                      </a:lnTo>
                      <a:lnTo>
                        <a:pt x="1101623" y="551510"/>
                      </a:lnTo>
                      <a:lnTo>
                        <a:pt x="1104480" y="551713"/>
                      </a:lnTo>
                      <a:lnTo>
                        <a:pt x="1111719" y="555879"/>
                      </a:lnTo>
                      <a:lnTo>
                        <a:pt x="1111580" y="556031"/>
                      </a:lnTo>
                      <a:lnTo>
                        <a:pt x="1112418" y="556742"/>
                      </a:lnTo>
                      <a:lnTo>
                        <a:pt x="1113091" y="556031"/>
                      </a:lnTo>
                      <a:lnTo>
                        <a:pt x="1112431" y="556742"/>
                      </a:lnTo>
                      <a:lnTo>
                        <a:pt x="1113345" y="557517"/>
                      </a:lnTo>
                      <a:lnTo>
                        <a:pt x="1113624" y="557199"/>
                      </a:lnTo>
                      <a:lnTo>
                        <a:pt x="1115555" y="558825"/>
                      </a:lnTo>
                      <a:lnTo>
                        <a:pt x="1117460" y="560514"/>
                      </a:lnTo>
                      <a:lnTo>
                        <a:pt x="1121600" y="563346"/>
                      </a:lnTo>
                      <a:lnTo>
                        <a:pt x="1123899" y="566394"/>
                      </a:lnTo>
                      <a:lnTo>
                        <a:pt x="1131531" y="568248"/>
                      </a:lnTo>
                      <a:lnTo>
                        <a:pt x="1135646" y="573709"/>
                      </a:lnTo>
                      <a:lnTo>
                        <a:pt x="1143304" y="581139"/>
                      </a:lnTo>
                      <a:lnTo>
                        <a:pt x="1148181" y="584923"/>
                      </a:lnTo>
                      <a:lnTo>
                        <a:pt x="1164945" y="591997"/>
                      </a:lnTo>
                      <a:lnTo>
                        <a:pt x="1166355" y="592975"/>
                      </a:lnTo>
                      <a:lnTo>
                        <a:pt x="1168387" y="593293"/>
                      </a:lnTo>
                      <a:lnTo>
                        <a:pt x="1168488" y="593864"/>
                      </a:lnTo>
                      <a:lnTo>
                        <a:pt x="1169670" y="593699"/>
                      </a:lnTo>
                      <a:lnTo>
                        <a:pt x="1170787" y="593572"/>
                      </a:lnTo>
                      <a:lnTo>
                        <a:pt x="1170724" y="593318"/>
                      </a:lnTo>
                      <a:lnTo>
                        <a:pt x="1171587" y="592937"/>
                      </a:lnTo>
                      <a:lnTo>
                        <a:pt x="1172641" y="592048"/>
                      </a:lnTo>
                      <a:lnTo>
                        <a:pt x="1176997" y="589635"/>
                      </a:lnTo>
                      <a:lnTo>
                        <a:pt x="1181315" y="588492"/>
                      </a:lnTo>
                      <a:lnTo>
                        <a:pt x="1188377" y="585825"/>
                      </a:lnTo>
                      <a:lnTo>
                        <a:pt x="1191475" y="584047"/>
                      </a:lnTo>
                      <a:lnTo>
                        <a:pt x="1198270" y="583031"/>
                      </a:lnTo>
                      <a:lnTo>
                        <a:pt x="1201940" y="582904"/>
                      </a:lnTo>
                      <a:lnTo>
                        <a:pt x="1205420" y="582269"/>
                      </a:lnTo>
                      <a:lnTo>
                        <a:pt x="1205306" y="581888"/>
                      </a:lnTo>
                      <a:lnTo>
                        <a:pt x="1205242" y="581634"/>
                      </a:lnTo>
                      <a:lnTo>
                        <a:pt x="1204899" y="581634"/>
                      </a:lnTo>
                      <a:lnTo>
                        <a:pt x="1205014" y="581507"/>
                      </a:lnTo>
                      <a:lnTo>
                        <a:pt x="1205242" y="581634"/>
                      </a:lnTo>
                      <a:lnTo>
                        <a:pt x="1208735" y="582218"/>
                      </a:lnTo>
                      <a:lnTo>
                        <a:pt x="1208608" y="581507"/>
                      </a:lnTo>
                      <a:lnTo>
                        <a:pt x="1208544" y="581126"/>
                      </a:lnTo>
                      <a:lnTo>
                        <a:pt x="1210170" y="580872"/>
                      </a:lnTo>
                      <a:lnTo>
                        <a:pt x="1210983" y="580745"/>
                      </a:lnTo>
                      <a:lnTo>
                        <a:pt x="1213548" y="579983"/>
                      </a:lnTo>
                      <a:lnTo>
                        <a:pt x="1215148" y="580034"/>
                      </a:lnTo>
                      <a:lnTo>
                        <a:pt x="1211326" y="582295"/>
                      </a:lnTo>
                      <a:lnTo>
                        <a:pt x="1215288" y="582015"/>
                      </a:lnTo>
                      <a:lnTo>
                        <a:pt x="1219822" y="580745"/>
                      </a:lnTo>
                      <a:lnTo>
                        <a:pt x="1219352" y="580110"/>
                      </a:lnTo>
                      <a:lnTo>
                        <a:pt x="1219200" y="579894"/>
                      </a:lnTo>
                      <a:lnTo>
                        <a:pt x="1222552" y="579475"/>
                      </a:lnTo>
                      <a:lnTo>
                        <a:pt x="1222933" y="580237"/>
                      </a:lnTo>
                      <a:lnTo>
                        <a:pt x="1223200" y="580745"/>
                      </a:lnTo>
                      <a:lnTo>
                        <a:pt x="1221066" y="580618"/>
                      </a:lnTo>
                      <a:lnTo>
                        <a:pt x="1219987" y="580618"/>
                      </a:lnTo>
                      <a:lnTo>
                        <a:pt x="1220863" y="580999"/>
                      </a:lnTo>
                      <a:lnTo>
                        <a:pt x="1221828" y="580999"/>
                      </a:lnTo>
                      <a:lnTo>
                        <a:pt x="1224356" y="581380"/>
                      </a:lnTo>
                      <a:lnTo>
                        <a:pt x="1229055" y="583285"/>
                      </a:lnTo>
                      <a:lnTo>
                        <a:pt x="1230134" y="582396"/>
                      </a:lnTo>
                      <a:lnTo>
                        <a:pt x="1230299" y="582269"/>
                      </a:lnTo>
                      <a:lnTo>
                        <a:pt x="1230058" y="582396"/>
                      </a:lnTo>
                      <a:lnTo>
                        <a:pt x="1230160" y="581126"/>
                      </a:lnTo>
                      <a:lnTo>
                        <a:pt x="1230299" y="580745"/>
                      </a:lnTo>
                      <a:lnTo>
                        <a:pt x="1230896" y="578840"/>
                      </a:lnTo>
                      <a:lnTo>
                        <a:pt x="1232242" y="580034"/>
                      </a:lnTo>
                      <a:lnTo>
                        <a:pt x="1232369" y="580491"/>
                      </a:lnTo>
                      <a:lnTo>
                        <a:pt x="1231900" y="581634"/>
                      </a:lnTo>
                      <a:lnTo>
                        <a:pt x="1232636" y="582015"/>
                      </a:lnTo>
                      <a:lnTo>
                        <a:pt x="1232839" y="582218"/>
                      </a:lnTo>
                      <a:lnTo>
                        <a:pt x="1232839" y="582523"/>
                      </a:lnTo>
                      <a:lnTo>
                        <a:pt x="1232573" y="583692"/>
                      </a:lnTo>
                      <a:lnTo>
                        <a:pt x="1233182" y="583831"/>
                      </a:lnTo>
                      <a:lnTo>
                        <a:pt x="1234109" y="583920"/>
                      </a:lnTo>
                      <a:lnTo>
                        <a:pt x="1235506" y="583920"/>
                      </a:lnTo>
                      <a:lnTo>
                        <a:pt x="1236167" y="584098"/>
                      </a:lnTo>
                      <a:lnTo>
                        <a:pt x="1245831" y="587514"/>
                      </a:lnTo>
                      <a:lnTo>
                        <a:pt x="1247533" y="588429"/>
                      </a:lnTo>
                      <a:lnTo>
                        <a:pt x="1249781" y="587438"/>
                      </a:lnTo>
                      <a:lnTo>
                        <a:pt x="1250962" y="586486"/>
                      </a:lnTo>
                      <a:lnTo>
                        <a:pt x="1252702" y="585520"/>
                      </a:lnTo>
                      <a:lnTo>
                        <a:pt x="1253553" y="584415"/>
                      </a:lnTo>
                      <a:lnTo>
                        <a:pt x="1256830" y="582930"/>
                      </a:lnTo>
                      <a:lnTo>
                        <a:pt x="1258150" y="582333"/>
                      </a:lnTo>
                      <a:lnTo>
                        <a:pt x="1262240" y="582422"/>
                      </a:lnTo>
                      <a:lnTo>
                        <a:pt x="1262456" y="582333"/>
                      </a:lnTo>
                      <a:lnTo>
                        <a:pt x="1268679" y="579818"/>
                      </a:lnTo>
                      <a:lnTo>
                        <a:pt x="1271003" y="577456"/>
                      </a:lnTo>
                      <a:lnTo>
                        <a:pt x="1286383" y="572008"/>
                      </a:lnTo>
                      <a:lnTo>
                        <a:pt x="1284363" y="570776"/>
                      </a:lnTo>
                      <a:lnTo>
                        <a:pt x="1282369" y="569480"/>
                      </a:lnTo>
                      <a:lnTo>
                        <a:pt x="1280223" y="568490"/>
                      </a:lnTo>
                      <a:lnTo>
                        <a:pt x="1283792" y="568858"/>
                      </a:lnTo>
                      <a:lnTo>
                        <a:pt x="1285290" y="568553"/>
                      </a:lnTo>
                      <a:lnTo>
                        <a:pt x="1287068" y="573582"/>
                      </a:lnTo>
                      <a:lnTo>
                        <a:pt x="1290027" y="573417"/>
                      </a:lnTo>
                      <a:lnTo>
                        <a:pt x="1292059" y="571931"/>
                      </a:lnTo>
                      <a:lnTo>
                        <a:pt x="1293774" y="569175"/>
                      </a:lnTo>
                      <a:lnTo>
                        <a:pt x="1293990" y="569239"/>
                      </a:lnTo>
                      <a:lnTo>
                        <a:pt x="1294193" y="569328"/>
                      </a:lnTo>
                      <a:lnTo>
                        <a:pt x="1294447" y="569366"/>
                      </a:lnTo>
                      <a:lnTo>
                        <a:pt x="1294472" y="569175"/>
                      </a:lnTo>
                      <a:lnTo>
                        <a:pt x="1294549" y="568553"/>
                      </a:lnTo>
                      <a:lnTo>
                        <a:pt x="1294599" y="568223"/>
                      </a:lnTo>
                      <a:lnTo>
                        <a:pt x="1294625" y="567982"/>
                      </a:lnTo>
                      <a:lnTo>
                        <a:pt x="1295273" y="568007"/>
                      </a:lnTo>
                      <a:lnTo>
                        <a:pt x="1296009" y="567829"/>
                      </a:lnTo>
                      <a:lnTo>
                        <a:pt x="1298257" y="567105"/>
                      </a:lnTo>
                      <a:lnTo>
                        <a:pt x="1299387" y="566877"/>
                      </a:lnTo>
                      <a:lnTo>
                        <a:pt x="1300480" y="566585"/>
                      </a:lnTo>
                      <a:lnTo>
                        <a:pt x="1300695" y="566928"/>
                      </a:lnTo>
                      <a:lnTo>
                        <a:pt x="1301305" y="567867"/>
                      </a:lnTo>
                      <a:lnTo>
                        <a:pt x="1303185" y="566635"/>
                      </a:lnTo>
                      <a:lnTo>
                        <a:pt x="1303375" y="566534"/>
                      </a:lnTo>
                      <a:lnTo>
                        <a:pt x="1303566" y="566356"/>
                      </a:lnTo>
                      <a:lnTo>
                        <a:pt x="1303705" y="566140"/>
                      </a:lnTo>
                      <a:lnTo>
                        <a:pt x="1305509" y="565823"/>
                      </a:lnTo>
                      <a:lnTo>
                        <a:pt x="1307299" y="565480"/>
                      </a:lnTo>
                      <a:lnTo>
                        <a:pt x="1310208" y="565086"/>
                      </a:lnTo>
                      <a:lnTo>
                        <a:pt x="1313472" y="565277"/>
                      </a:lnTo>
                      <a:lnTo>
                        <a:pt x="1314399" y="565086"/>
                      </a:lnTo>
                      <a:lnTo>
                        <a:pt x="1315186" y="564921"/>
                      </a:lnTo>
                      <a:lnTo>
                        <a:pt x="1315618" y="564921"/>
                      </a:lnTo>
                      <a:lnTo>
                        <a:pt x="1316266" y="564845"/>
                      </a:lnTo>
                      <a:lnTo>
                        <a:pt x="1316177" y="563410"/>
                      </a:lnTo>
                      <a:lnTo>
                        <a:pt x="1317117" y="558292"/>
                      </a:lnTo>
                      <a:lnTo>
                        <a:pt x="1316380" y="563397"/>
                      </a:lnTo>
                      <a:lnTo>
                        <a:pt x="1316278" y="565937"/>
                      </a:lnTo>
                      <a:lnTo>
                        <a:pt x="1317485" y="565937"/>
                      </a:lnTo>
                      <a:lnTo>
                        <a:pt x="1317498" y="564667"/>
                      </a:lnTo>
                      <a:lnTo>
                        <a:pt x="1321066" y="564667"/>
                      </a:lnTo>
                      <a:lnTo>
                        <a:pt x="1321066" y="562127"/>
                      </a:lnTo>
                      <a:lnTo>
                        <a:pt x="1322806" y="559587"/>
                      </a:lnTo>
                      <a:lnTo>
                        <a:pt x="1326680" y="559587"/>
                      </a:lnTo>
                      <a:lnTo>
                        <a:pt x="1328089" y="560857"/>
                      </a:lnTo>
                      <a:lnTo>
                        <a:pt x="1328597" y="563397"/>
                      </a:lnTo>
                      <a:lnTo>
                        <a:pt x="1329982" y="562127"/>
                      </a:lnTo>
                      <a:lnTo>
                        <a:pt x="1331506" y="560857"/>
                      </a:lnTo>
                      <a:lnTo>
                        <a:pt x="1332407" y="562127"/>
                      </a:lnTo>
                      <a:lnTo>
                        <a:pt x="1330540" y="562127"/>
                      </a:lnTo>
                      <a:lnTo>
                        <a:pt x="1329601" y="563397"/>
                      </a:lnTo>
                      <a:lnTo>
                        <a:pt x="1329867" y="563397"/>
                      </a:lnTo>
                      <a:lnTo>
                        <a:pt x="1332890" y="564667"/>
                      </a:lnTo>
                      <a:lnTo>
                        <a:pt x="1337703" y="564667"/>
                      </a:lnTo>
                      <a:lnTo>
                        <a:pt x="1341958" y="565937"/>
                      </a:lnTo>
                      <a:lnTo>
                        <a:pt x="1343342" y="567207"/>
                      </a:lnTo>
                      <a:lnTo>
                        <a:pt x="1348651" y="572287"/>
                      </a:lnTo>
                      <a:lnTo>
                        <a:pt x="1349209" y="573557"/>
                      </a:lnTo>
                      <a:lnTo>
                        <a:pt x="1349883" y="573557"/>
                      </a:lnTo>
                      <a:lnTo>
                        <a:pt x="1351051" y="576097"/>
                      </a:lnTo>
                      <a:lnTo>
                        <a:pt x="1351267" y="576097"/>
                      </a:lnTo>
                      <a:lnTo>
                        <a:pt x="1353807" y="579907"/>
                      </a:lnTo>
                      <a:lnTo>
                        <a:pt x="1354391" y="578637"/>
                      </a:lnTo>
                      <a:lnTo>
                        <a:pt x="1356690" y="577367"/>
                      </a:lnTo>
                      <a:lnTo>
                        <a:pt x="1356868" y="578637"/>
                      </a:lnTo>
                      <a:lnTo>
                        <a:pt x="1357020" y="578637"/>
                      </a:lnTo>
                      <a:lnTo>
                        <a:pt x="1357007" y="579907"/>
                      </a:lnTo>
                      <a:lnTo>
                        <a:pt x="1354442" y="578637"/>
                      </a:lnTo>
                      <a:lnTo>
                        <a:pt x="1356728" y="588797"/>
                      </a:lnTo>
                      <a:lnTo>
                        <a:pt x="1356880" y="590067"/>
                      </a:lnTo>
                      <a:lnTo>
                        <a:pt x="1360601" y="592607"/>
                      </a:lnTo>
                      <a:lnTo>
                        <a:pt x="1363218" y="595147"/>
                      </a:lnTo>
                      <a:lnTo>
                        <a:pt x="1366088" y="595147"/>
                      </a:lnTo>
                      <a:lnTo>
                        <a:pt x="1365973" y="593877"/>
                      </a:lnTo>
                      <a:lnTo>
                        <a:pt x="1366723" y="593877"/>
                      </a:lnTo>
                      <a:lnTo>
                        <a:pt x="1367751" y="592607"/>
                      </a:lnTo>
                      <a:lnTo>
                        <a:pt x="1367256" y="593877"/>
                      </a:lnTo>
                      <a:lnTo>
                        <a:pt x="1366926" y="593877"/>
                      </a:lnTo>
                      <a:lnTo>
                        <a:pt x="1366837" y="595147"/>
                      </a:lnTo>
                      <a:lnTo>
                        <a:pt x="1370672" y="595147"/>
                      </a:lnTo>
                      <a:lnTo>
                        <a:pt x="1370266" y="593877"/>
                      </a:lnTo>
                      <a:lnTo>
                        <a:pt x="1370736" y="592607"/>
                      </a:lnTo>
                      <a:lnTo>
                        <a:pt x="1371219" y="591337"/>
                      </a:lnTo>
                      <a:lnTo>
                        <a:pt x="1371930" y="592607"/>
                      </a:lnTo>
                      <a:lnTo>
                        <a:pt x="1372120" y="593877"/>
                      </a:lnTo>
                      <a:lnTo>
                        <a:pt x="1373060" y="593877"/>
                      </a:lnTo>
                      <a:lnTo>
                        <a:pt x="1372882" y="592696"/>
                      </a:lnTo>
                      <a:lnTo>
                        <a:pt x="1373238" y="591337"/>
                      </a:lnTo>
                      <a:lnTo>
                        <a:pt x="1373606" y="590067"/>
                      </a:lnTo>
                      <a:lnTo>
                        <a:pt x="1373822" y="592607"/>
                      </a:lnTo>
                      <a:lnTo>
                        <a:pt x="1372870" y="592607"/>
                      </a:lnTo>
                      <a:lnTo>
                        <a:pt x="1372958" y="592734"/>
                      </a:lnTo>
                      <a:lnTo>
                        <a:pt x="1374940" y="593598"/>
                      </a:lnTo>
                      <a:lnTo>
                        <a:pt x="1374749" y="592734"/>
                      </a:lnTo>
                      <a:lnTo>
                        <a:pt x="1377784" y="593877"/>
                      </a:lnTo>
                      <a:lnTo>
                        <a:pt x="1377010" y="592734"/>
                      </a:lnTo>
                      <a:lnTo>
                        <a:pt x="1377010" y="592315"/>
                      </a:lnTo>
                      <a:lnTo>
                        <a:pt x="1377276" y="591337"/>
                      </a:lnTo>
                      <a:lnTo>
                        <a:pt x="1376108" y="590067"/>
                      </a:lnTo>
                      <a:lnTo>
                        <a:pt x="1376984" y="590067"/>
                      </a:lnTo>
                      <a:lnTo>
                        <a:pt x="1377099" y="588797"/>
                      </a:lnTo>
                      <a:lnTo>
                        <a:pt x="1378064" y="588797"/>
                      </a:lnTo>
                      <a:lnTo>
                        <a:pt x="1377467" y="590067"/>
                      </a:lnTo>
                      <a:lnTo>
                        <a:pt x="1377924" y="590067"/>
                      </a:lnTo>
                      <a:lnTo>
                        <a:pt x="1377378" y="591337"/>
                      </a:lnTo>
                      <a:lnTo>
                        <a:pt x="1377772" y="591337"/>
                      </a:lnTo>
                      <a:lnTo>
                        <a:pt x="1379537" y="592607"/>
                      </a:lnTo>
                      <a:lnTo>
                        <a:pt x="1380705" y="591337"/>
                      </a:lnTo>
                      <a:lnTo>
                        <a:pt x="1379537" y="590067"/>
                      </a:lnTo>
                      <a:lnTo>
                        <a:pt x="1378927" y="588797"/>
                      </a:lnTo>
                      <a:lnTo>
                        <a:pt x="1379461" y="588797"/>
                      </a:lnTo>
                      <a:lnTo>
                        <a:pt x="1380439" y="590067"/>
                      </a:lnTo>
                      <a:lnTo>
                        <a:pt x="1381302" y="590067"/>
                      </a:lnTo>
                      <a:lnTo>
                        <a:pt x="1384465" y="591337"/>
                      </a:lnTo>
                      <a:lnTo>
                        <a:pt x="1384668" y="591337"/>
                      </a:lnTo>
                      <a:lnTo>
                        <a:pt x="1385316" y="588797"/>
                      </a:lnTo>
                      <a:lnTo>
                        <a:pt x="1385951" y="590067"/>
                      </a:lnTo>
                      <a:lnTo>
                        <a:pt x="1386598" y="592607"/>
                      </a:lnTo>
                      <a:lnTo>
                        <a:pt x="1388135" y="591388"/>
                      </a:lnTo>
                      <a:lnTo>
                        <a:pt x="1395183" y="592607"/>
                      </a:lnTo>
                      <a:lnTo>
                        <a:pt x="1395869" y="591337"/>
                      </a:lnTo>
                      <a:lnTo>
                        <a:pt x="1397266" y="588797"/>
                      </a:lnTo>
                      <a:lnTo>
                        <a:pt x="1396339" y="587527"/>
                      </a:lnTo>
                      <a:lnTo>
                        <a:pt x="1396212" y="587349"/>
                      </a:lnTo>
                      <a:lnTo>
                        <a:pt x="1397635" y="588797"/>
                      </a:lnTo>
                      <a:lnTo>
                        <a:pt x="1399870" y="588797"/>
                      </a:lnTo>
                      <a:lnTo>
                        <a:pt x="1398981" y="588848"/>
                      </a:lnTo>
                      <a:lnTo>
                        <a:pt x="1399362" y="590118"/>
                      </a:lnTo>
                      <a:lnTo>
                        <a:pt x="1399451" y="591388"/>
                      </a:lnTo>
                      <a:lnTo>
                        <a:pt x="1399641" y="591388"/>
                      </a:lnTo>
                      <a:lnTo>
                        <a:pt x="1401445" y="592658"/>
                      </a:lnTo>
                      <a:lnTo>
                        <a:pt x="1401445" y="590118"/>
                      </a:lnTo>
                      <a:lnTo>
                        <a:pt x="1401165" y="588848"/>
                      </a:lnTo>
                      <a:lnTo>
                        <a:pt x="1401889" y="590118"/>
                      </a:lnTo>
                      <a:lnTo>
                        <a:pt x="1402880" y="590118"/>
                      </a:lnTo>
                      <a:lnTo>
                        <a:pt x="1403832" y="591388"/>
                      </a:lnTo>
                      <a:lnTo>
                        <a:pt x="1403743" y="590118"/>
                      </a:lnTo>
                      <a:lnTo>
                        <a:pt x="1404175" y="591388"/>
                      </a:lnTo>
                      <a:lnTo>
                        <a:pt x="1404442" y="593928"/>
                      </a:lnTo>
                      <a:lnTo>
                        <a:pt x="1406131" y="597738"/>
                      </a:lnTo>
                      <a:lnTo>
                        <a:pt x="1406296" y="597738"/>
                      </a:lnTo>
                      <a:lnTo>
                        <a:pt x="1410855" y="600278"/>
                      </a:lnTo>
                      <a:lnTo>
                        <a:pt x="1411427" y="600278"/>
                      </a:lnTo>
                      <a:lnTo>
                        <a:pt x="1414005" y="599008"/>
                      </a:lnTo>
                      <a:lnTo>
                        <a:pt x="1413827" y="598855"/>
                      </a:lnTo>
                      <a:lnTo>
                        <a:pt x="1415999" y="598055"/>
                      </a:lnTo>
                      <a:lnTo>
                        <a:pt x="1415491" y="599008"/>
                      </a:lnTo>
                      <a:lnTo>
                        <a:pt x="1415046" y="600278"/>
                      </a:lnTo>
                      <a:lnTo>
                        <a:pt x="1417053" y="600278"/>
                      </a:lnTo>
                      <a:lnTo>
                        <a:pt x="1415872" y="601548"/>
                      </a:lnTo>
                      <a:lnTo>
                        <a:pt x="1413903" y="601548"/>
                      </a:lnTo>
                      <a:lnTo>
                        <a:pt x="1414208" y="602818"/>
                      </a:lnTo>
                      <a:lnTo>
                        <a:pt x="1414500" y="602818"/>
                      </a:lnTo>
                      <a:lnTo>
                        <a:pt x="1415211" y="605358"/>
                      </a:lnTo>
                      <a:lnTo>
                        <a:pt x="1417154" y="607898"/>
                      </a:lnTo>
                      <a:lnTo>
                        <a:pt x="1420063" y="610438"/>
                      </a:lnTo>
                      <a:lnTo>
                        <a:pt x="1418755" y="614248"/>
                      </a:lnTo>
                      <a:lnTo>
                        <a:pt x="1417751" y="621868"/>
                      </a:lnTo>
                      <a:lnTo>
                        <a:pt x="1417599" y="622376"/>
                      </a:lnTo>
                      <a:lnTo>
                        <a:pt x="1417383" y="622300"/>
                      </a:lnTo>
                      <a:lnTo>
                        <a:pt x="1416900" y="623227"/>
                      </a:lnTo>
                      <a:lnTo>
                        <a:pt x="1417066" y="623316"/>
                      </a:lnTo>
                      <a:lnTo>
                        <a:pt x="1417701" y="623544"/>
                      </a:lnTo>
                      <a:lnTo>
                        <a:pt x="1417751" y="625690"/>
                      </a:lnTo>
                      <a:lnTo>
                        <a:pt x="1417878" y="628129"/>
                      </a:lnTo>
                      <a:lnTo>
                        <a:pt x="1415897" y="630707"/>
                      </a:lnTo>
                      <a:lnTo>
                        <a:pt x="1421726" y="633133"/>
                      </a:lnTo>
                      <a:lnTo>
                        <a:pt x="1421765" y="633272"/>
                      </a:lnTo>
                      <a:lnTo>
                        <a:pt x="1421282" y="634441"/>
                      </a:lnTo>
                      <a:lnTo>
                        <a:pt x="1417789" y="632993"/>
                      </a:lnTo>
                      <a:lnTo>
                        <a:pt x="1416545" y="632485"/>
                      </a:lnTo>
                      <a:lnTo>
                        <a:pt x="1416545" y="632993"/>
                      </a:lnTo>
                      <a:lnTo>
                        <a:pt x="1416304" y="633133"/>
                      </a:lnTo>
                      <a:lnTo>
                        <a:pt x="1415986" y="633183"/>
                      </a:lnTo>
                      <a:lnTo>
                        <a:pt x="1416545" y="632993"/>
                      </a:lnTo>
                      <a:lnTo>
                        <a:pt x="1416545" y="632485"/>
                      </a:lnTo>
                      <a:lnTo>
                        <a:pt x="1415211" y="631926"/>
                      </a:lnTo>
                      <a:lnTo>
                        <a:pt x="1414856" y="632790"/>
                      </a:lnTo>
                      <a:lnTo>
                        <a:pt x="1414919" y="633552"/>
                      </a:lnTo>
                      <a:lnTo>
                        <a:pt x="1415249" y="633437"/>
                      </a:lnTo>
                      <a:lnTo>
                        <a:pt x="1414589" y="633945"/>
                      </a:lnTo>
                      <a:lnTo>
                        <a:pt x="1413357" y="635533"/>
                      </a:lnTo>
                      <a:lnTo>
                        <a:pt x="1411071" y="638975"/>
                      </a:lnTo>
                      <a:lnTo>
                        <a:pt x="1410881" y="639140"/>
                      </a:lnTo>
                      <a:lnTo>
                        <a:pt x="1412709" y="639864"/>
                      </a:lnTo>
                      <a:lnTo>
                        <a:pt x="1413205" y="639470"/>
                      </a:lnTo>
                      <a:lnTo>
                        <a:pt x="1414005" y="639711"/>
                      </a:lnTo>
                      <a:lnTo>
                        <a:pt x="1414132" y="640575"/>
                      </a:lnTo>
                      <a:lnTo>
                        <a:pt x="1414881" y="640727"/>
                      </a:lnTo>
                      <a:lnTo>
                        <a:pt x="1415605" y="640600"/>
                      </a:lnTo>
                      <a:lnTo>
                        <a:pt x="1415999" y="639711"/>
                      </a:lnTo>
                      <a:lnTo>
                        <a:pt x="1416646" y="640575"/>
                      </a:lnTo>
                      <a:lnTo>
                        <a:pt x="1416710" y="641134"/>
                      </a:lnTo>
                      <a:lnTo>
                        <a:pt x="1417993" y="641235"/>
                      </a:lnTo>
                      <a:lnTo>
                        <a:pt x="1418285" y="641235"/>
                      </a:lnTo>
                      <a:lnTo>
                        <a:pt x="1420228" y="641845"/>
                      </a:lnTo>
                      <a:lnTo>
                        <a:pt x="1422628" y="641426"/>
                      </a:lnTo>
                      <a:lnTo>
                        <a:pt x="1434846" y="641426"/>
                      </a:lnTo>
                      <a:lnTo>
                        <a:pt x="1438884" y="641908"/>
                      </a:lnTo>
                      <a:lnTo>
                        <a:pt x="1439468" y="641413"/>
                      </a:lnTo>
                      <a:lnTo>
                        <a:pt x="1440472" y="640575"/>
                      </a:lnTo>
                      <a:lnTo>
                        <a:pt x="1440535" y="639711"/>
                      </a:lnTo>
                      <a:lnTo>
                        <a:pt x="1440637" y="640499"/>
                      </a:lnTo>
                      <a:lnTo>
                        <a:pt x="1438884" y="642023"/>
                      </a:lnTo>
                      <a:lnTo>
                        <a:pt x="1437868" y="641896"/>
                      </a:lnTo>
                      <a:lnTo>
                        <a:pt x="1434820" y="641515"/>
                      </a:lnTo>
                      <a:lnTo>
                        <a:pt x="1422628" y="641515"/>
                      </a:lnTo>
                      <a:lnTo>
                        <a:pt x="1420228" y="641896"/>
                      </a:lnTo>
                      <a:lnTo>
                        <a:pt x="1418285" y="641261"/>
                      </a:lnTo>
                      <a:lnTo>
                        <a:pt x="1416710" y="641134"/>
                      </a:lnTo>
                      <a:lnTo>
                        <a:pt x="1416710" y="641388"/>
                      </a:lnTo>
                      <a:lnTo>
                        <a:pt x="1415402" y="641388"/>
                      </a:lnTo>
                      <a:lnTo>
                        <a:pt x="1414335" y="641642"/>
                      </a:lnTo>
                      <a:lnTo>
                        <a:pt x="1414043" y="642277"/>
                      </a:lnTo>
                      <a:lnTo>
                        <a:pt x="1414576" y="643420"/>
                      </a:lnTo>
                      <a:lnTo>
                        <a:pt x="1414894" y="645452"/>
                      </a:lnTo>
                      <a:lnTo>
                        <a:pt x="1414932" y="647484"/>
                      </a:lnTo>
                      <a:lnTo>
                        <a:pt x="1414627" y="649135"/>
                      </a:lnTo>
                      <a:lnTo>
                        <a:pt x="1414348" y="648627"/>
                      </a:lnTo>
                      <a:lnTo>
                        <a:pt x="1414335" y="648119"/>
                      </a:lnTo>
                      <a:lnTo>
                        <a:pt x="1414373" y="647865"/>
                      </a:lnTo>
                      <a:lnTo>
                        <a:pt x="1414449" y="647484"/>
                      </a:lnTo>
                      <a:lnTo>
                        <a:pt x="1413941" y="647484"/>
                      </a:lnTo>
                      <a:lnTo>
                        <a:pt x="1414068" y="646976"/>
                      </a:lnTo>
                      <a:lnTo>
                        <a:pt x="1412849" y="647230"/>
                      </a:lnTo>
                      <a:lnTo>
                        <a:pt x="1411605" y="647738"/>
                      </a:lnTo>
                      <a:lnTo>
                        <a:pt x="1410525" y="648373"/>
                      </a:lnTo>
                      <a:lnTo>
                        <a:pt x="1411833" y="648119"/>
                      </a:lnTo>
                      <a:lnTo>
                        <a:pt x="1411922" y="649516"/>
                      </a:lnTo>
                      <a:lnTo>
                        <a:pt x="1413383" y="651675"/>
                      </a:lnTo>
                      <a:lnTo>
                        <a:pt x="1413383" y="651294"/>
                      </a:lnTo>
                      <a:lnTo>
                        <a:pt x="1415186" y="652056"/>
                      </a:lnTo>
                      <a:lnTo>
                        <a:pt x="1415859" y="652691"/>
                      </a:lnTo>
                      <a:lnTo>
                        <a:pt x="1417980" y="653326"/>
                      </a:lnTo>
                      <a:lnTo>
                        <a:pt x="1419301" y="652691"/>
                      </a:lnTo>
                      <a:lnTo>
                        <a:pt x="1420647" y="653199"/>
                      </a:lnTo>
                      <a:lnTo>
                        <a:pt x="1418501" y="653453"/>
                      </a:lnTo>
                      <a:lnTo>
                        <a:pt x="1418869" y="653453"/>
                      </a:lnTo>
                      <a:lnTo>
                        <a:pt x="1417535" y="655485"/>
                      </a:lnTo>
                      <a:lnTo>
                        <a:pt x="1417320" y="655180"/>
                      </a:lnTo>
                      <a:lnTo>
                        <a:pt x="1417320" y="691045"/>
                      </a:lnTo>
                      <a:lnTo>
                        <a:pt x="1416964" y="691172"/>
                      </a:lnTo>
                      <a:lnTo>
                        <a:pt x="1416862" y="691553"/>
                      </a:lnTo>
                      <a:lnTo>
                        <a:pt x="1416608" y="691045"/>
                      </a:lnTo>
                      <a:lnTo>
                        <a:pt x="1417320" y="691045"/>
                      </a:lnTo>
                      <a:lnTo>
                        <a:pt x="1417320" y="655180"/>
                      </a:lnTo>
                      <a:lnTo>
                        <a:pt x="1416735" y="654342"/>
                      </a:lnTo>
                      <a:lnTo>
                        <a:pt x="1416469" y="653961"/>
                      </a:lnTo>
                      <a:lnTo>
                        <a:pt x="1415694" y="653707"/>
                      </a:lnTo>
                      <a:lnTo>
                        <a:pt x="1414373" y="653948"/>
                      </a:lnTo>
                      <a:lnTo>
                        <a:pt x="1414246" y="653453"/>
                      </a:lnTo>
                      <a:lnTo>
                        <a:pt x="1413979" y="653567"/>
                      </a:lnTo>
                      <a:lnTo>
                        <a:pt x="1413979" y="678980"/>
                      </a:lnTo>
                      <a:lnTo>
                        <a:pt x="1413154" y="678853"/>
                      </a:lnTo>
                      <a:lnTo>
                        <a:pt x="1412976" y="678802"/>
                      </a:lnTo>
                      <a:lnTo>
                        <a:pt x="1413611" y="678853"/>
                      </a:lnTo>
                      <a:lnTo>
                        <a:pt x="1413979" y="678980"/>
                      </a:lnTo>
                      <a:lnTo>
                        <a:pt x="1413979" y="653567"/>
                      </a:lnTo>
                      <a:lnTo>
                        <a:pt x="1413192" y="654342"/>
                      </a:lnTo>
                      <a:lnTo>
                        <a:pt x="1413040" y="654342"/>
                      </a:lnTo>
                      <a:lnTo>
                        <a:pt x="1412798" y="653707"/>
                      </a:lnTo>
                      <a:lnTo>
                        <a:pt x="1412798" y="653580"/>
                      </a:lnTo>
                      <a:lnTo>
                        <a:pt x="1412049" y="653453"/>
                      </a:lnTo>
                      <a:lnTo>
                        <a:pt x="1412100" y="653199"/>
                      </a:lnTo>
                      <a:lnTo>
                        <a:pt x="1412265" y="652437"/>
                      </a:lnTo>
                      <a:lnTo>
                        <a:pt x="1411262" y="653199"/>
                      </a:lnTo>
                      <a:lnTo>
                        <a:pt x="1411452" y="652691"/>
                      </a:lnTo>
                      <a:lnTo>
                        <a:pt x="1411427" y="652437"/>
                      </a:lnTo>
                      <a:lnTo>
                        <a:pt x="1411109" y="651929"/>
                      </a:lnTo>
                      <a:lnTo>
                        <a:pt x="1410398" y="651548"/>
                      </a:lnTo>
                      <a:lnTo>
                        <a:pt x="1410462" y="652056"/>
                      </a:lnTo>
                      <a:lnTo>
                        <a:pt x="1410589" y="652691"/>
                      </a:lnTo>
                      <a:lnTo>
                        <a:pt x="1410817" y="653453"/>
                      </a:lnTo>
                      <a:lnTo>
                        <a:pt x="1411173" y="659549"/>
                      </a:lnTo>
                      <a:lnTo>
                        <a:pt x="1408518" y="663867"/>
                      </a:lnTo>
                      <a:lnTo>
                        <a:pt x="1406105" y="668439"/>
                      </a:lnTo>
                      <a:lnTo>
                        <a:pt x="1406245" y="667677"/>
                      </a:lnTo>
                      <a:lnTo>
                        <a:pt x="1406537" y="666026"/>
                      </a:lnTo>
                      <a:lnTo>
                        <a:pt x="1404747" y="667677"/>
                      </a:lnTo>
                      <a:lnTo>
                        <a:pt x="1403172" y="667080"/>
                      </a:lnTo>
                      <a:lnTo>
                        <a:pt x="1403388" y="667550"/>
                      </a:lnTo>
                      <a:lnTo>
                        <a:pt x="1404607" y="672630"/>
                      </a:lnTo>
                      <a:lnTo>
                        <a:pt x="1409509" y="676694"/>
                      </a:lnTo>
                      <a:lnTo>
                        <a:pt x="1409077" y="675678"/>
                      </a:lnTo>
                      <a:lnTo>
                        <a:pt x="1410931" y="674408"/>
                      </a:lnTo>
                      <a:lnTo>
                        <a:pt x="1411185" y="675043"/>
                      </a:lnTo>
                      <a:lnTo>
                        <a:pt x="1411262" y="675678"/>
                      </a:lnTo>
                      <a:lnTo>
                        <a:pt x="1409560" y="677456"/>
                      </a:lnTo>
                      <a:lnTo>
                        <a:pt x="1410004" y="678091"/>
                      </a:lnTo>
                      <a:lnTo>
                        <a:pt x="1410398" y="678599"/>
                      </a:lnTo>
                      <a:lnTo>
                        <a:pt x="1412227" y="678738"/>
                      </a:lnTo>
                      <a:lnTo>
                        <a:pt x="1412062" y="679361"/>
                      </a:lnTo>
                      <a:lnTo>
                        <a:pt x="1411503" y="679107"/>
                      </a:lnTo>
                      <a:lnTo>
                        <a:pt x="1411160" y="678980"/>
                      </a:lnTo>
                      <a:lnTo>
                        <a:pt x="1410576" y="679488"/>
                      </a:lnTo>
                      <a:lnTo>
                        <a:pt x="1410284" y="678853"/>
                      </a:lnTo>
                      <a:lnTo>
                        <a:pt x="1410004" y="678091"/>
                      </a:lnTo>
                      <a:lnTo>
                        <a:pt x="1409484" y="677710"/>
                      </a:lnTo>
                      <a:lnTo>
                        <a:pt x="1409458" y="681393"/>
                      </a:lnTo>
                      <a:lnTo>
                        <a:pt x="1410855" y="683171"/>
                      </a:lnTo>
                      <a:lnTo>
                        <a:pt x="1410944" y="682409"/>
                      </a:lnTo>
                      <a:lnTo>
                        <a:pt x="1415669" y="684187"/>
                      </a:lnTo>
                      <a:lnTo>
                        <a:pt x="1412913" y="688505"/>
                      </a:lnTo>
                      <a:lnTo>
                        <a:pt x="1415465" y="690410"/>
                      </a:lnTo>
                      <a:lnTo>
                        <a:pt x="1415351" y="690283"/>
                      </a:lnTo>
                      <a:lnTo>
                        <a:pt x="1415122" y="689775"/>
                      </a:lnTo>
                      <a:lnTo>
                        <a:pt x="1416735" y="691553"/>
                      </a:lnTo>
                      <a:lnTo>
                        <a:pt x="1420075" y="695236"/>
                      </a:lnTo>
                      <a:lnTo>
                        <a:pt x="1425270" y="700570"/>
                      </a:lnTo>
                      <a:lnTo>
                        <a:pt x="1430566" y="705904"/>
                      </a:lnTo>
                      <a:lnTo>
                        <a:pt x="1435785" y="711111"/>
                      </a:lnTo>
                      <a:lnTo>
                        <a:pt x="1435468" y="712000"/>
                      </a:lnTo>
                      <a:lnTo>
                        <a:pt x="1436497" y="712381"/>
                      </a:lnTo>
                      <a:lnTo>
                        <a:pt x="1437017" y="711111"/>
                      </a:lnTo>
                      <a:lnTo>
                        <a:pt x="1436979" y="711238"/>
                      </a:lnTo>
                      <a:lnTo>
                        <a:pt x="1436497" y="712381"/>
                      </a:lnTo>
                      <a:lnTo>
                        <a:pt x="1437373" y="712762"/>
                      </a:lnTo>
                      <a:lnTo>
                        <a:pt x="1437817" y="713270"/>
                      </a:lnTo>
                      <a:lnTo>
                        <a:pt x="1438262" y="713651"/>
                      </a:lnTo>
                      <a:lnTo>
                        <a:pt x="1440599" y="715429"/>
                      </a:lnTo>
                      <a:lnTo>
                        <a:pt x="1442161" y="717334"/>
                      </a:lnTo>
                      <a:lnTo>
                        <a:pt x="1446453" y="721525"/>
                      </a:lnTo>
                      <a:lnTo>
                        <a:pt x="1447711" y="724446"/>
                      </a:lnTo>
                      <a:lnTo>
                        <a:pt x="1449362" y="727621"/>
                      </a:lnTo>
                      <a:lnTo>
                        <a:pt x="1449489" y="727519"/>
                      </a:lnTo>
                      <a:lnTo>
                        <a:pt x="1449362" y="727633"/>
                      </a:lnTo>
                      <a:lnTo>
                        <a:pt x="1449400" y="727760"/>
                      </a:lnTo>
                      <a:lnTo>
                        <a:pt x="1449120" y="728116"/>
                      </a:lnTo>
                      <a:lnTo>
                        <a:pt x="1449451" y="727976"/>
                      </a:lnTo>
                      <a:lnTo>
                        <a:pt x="1449743" y="729119"/>
                      </a:lnTo>
                      <a:lnTo>
                        <a:pt x="1450276" y="729957"/>
                      </a:lnTo>
                      <a:lnTo>
                        <a:pt x="1451279" y="730554"/>
                      </a:lnTo>
                      <a:lnTo>
                        <a:pt x="1451406" y="731824"/>
                      </a:lnTo>
                      <a:lnTo>
                        <a:pt x="1451927" y="733475"/>
                      </a:lnTo>
                      <a:lnTo>
                        <a:pt x="1452003" y="737336"/>
                      </a:lnTo>
                      <a:lnTo>
                        <a:pt x="1451495" y="737425"/>
                      </a:lnTo>
                      <a:lnTo>
                        <a:pt x="1451838" y="738657"/>
                      </a:lnTo>
                      <a:lnTo>
                        <a:pt x="1452880" y="738479"/>
                      </a:lnTo>
                      <a:lnTo>
                        <a:pt x="1456131" y="738035"/>
                      </a:lnTo>
                      <a:lnTo>
                        <a:pt x="1457274" y="736815"/>
                      </a:lnTo>
                      <a:lnTo>
                        <a:pt x="1457325" y="736955"/>
                      </a:lnTo>
                      <a:lnTo>
                        <a:pt x="1456131" y="738225"/>
                      </a:lnTo>
                      <a:lnTo>
                        <a:pt x="1452880" y="739495"/>
                      </a:lnTo>
                      <a:lnTo>
                        <a:pt x="1451838" y="739495"/>
                      </a:lnTo>
                      <a:lnTo>
                        <a:pt x="1452118" y="740765"/>
                      </a:lnTo>
                      <a:lnTo>
                        <a:pt x="1452448" y="740765"/>
                      </a:lnTo>
                      <a:lnTo>
                        <a:pt x="1452753" y="742035"/>
                      </a:lnTo>
                      <a:lnTo>
                        <a:pt x="1453426" y="742035"/>
                      </a:lnTo>
                      <a:lnTo>
                        <a:pt x="1453388" y="742315"/>
                      </a:lnTo>
                      <a:lnTo>
                        <a:pt x="1452562" y="743318"/>
                      </a:lnTo>
                      <a:lnTo>
                        <a:pt x="1453832" y="745172"/>
                      </a:lnTo>
                      <a:lnTo>
                        <a:pt x="1456690" y="750646"/>
                      </a:lnTo>
                      <a:lnTo>
                        <a:pt x="1457744" y="751916"/>
                      </a:lnTo>
                      <a:lnTo>
                        <a:pt x="1461262" y="757542"/>
                      </a:lnTo>
                      <a:lnTo>
                        <a:pt x="1462798" y="762063"/>
                      </a:lnTo>
                      <a:lnTo>
                        <a:pt x="1465465" y="769480"/>
                      </a:lnTo>
                      <a:lnTo>
                        <a:pt x="1468513" y="772833"/>
                      </a:lnTo>
                      <a:lnTo>
                        <a:pt x="1468564" y="776389"/>
                      </a:lnTo>
                      <a:lnTo>
                        <a:pt x="1468666" y="779322"/>
                      </a:lnTo>
                      <a:lnTo>
                        <a:pt x="1468755" y="780618"/>
                      </a:lnTo>
                      <a:lnTo>
                        <a:pt x="1465986" y="783043"/>
                      </a:lnTo>
                      <a:lnTo>
                        <a:pt x="1464284" y="784313"/>
                      </a:lnTo>
                      <a:lnTo>
                        <a:pt x="1462824" y="786892"/>
                      </a:lnTo>
                      <a:lnTo>
                        <a:pt x="1465110" y="789178"/>
                      </a:lnTo>
                      <a:lnTo>
                        <a:pt x="1467104" y="794473"/>
                      </a:lnTo>
                      <a:lnTo>
                        <a:pt x="1468513" y="798842"/>
                      </a:lnTo>
                      <a:lnTo>
                        <a:pt x="1471676" y="806221"/>
                      </a:lnTo>
                      <a:lnTo>
                        <a:pt x="1474597" y="809663"/>
                      </a:lnTo>
                      <a:lnTo>
                        <a:pt x="1474647" y="817232"/>
                      </a:lnTo>
                      <a:lnTo>
                        <a:pt x="1475689" y="822325"/>
                      </a:lnTo>
                      <a:lnTo>
                        <a:pt x="1469847" y="835901"/>
                      </a:lnTo>
                      <a:lnTo>
                        <a:pt x="1620774" y="835901"/>
                      </a:lnTo>
                      <a:lnTo>
                        <a:pt x="1621218" y="834859"/>
                      </a:lnTo>
                      <a:lnTo>
                        <a:pt x="1621345" y="834517"/>
                      </a:lnTo>
                      <a:lnTo>
                        <a:pt x="1622171" y="831253"/>
                      </a:lnTo>
                      <a:lnTo>
                        <a:pt x="1621218" y="827100"/>
                      </a:lnTo>
                      <a:lnTo>
                        <a:pt x="1620799" y="817232"/>
                      </a:lnTo>
                      <a:lnTo>
                        <a:pt x="1620710" y="815047"/>
                      </a:lnTo>
                      <a:lnTo>
                        <a:pt x="1620685" y="814476"/>
                      </a:lnTo>
                      <a:lnTo>
                        <a:pt x="1620621" y="813206"/>
                      </a:lnTo>
                      <a:lnTo>
                        <a:pt x="1622171" y="814425"/>
                      </a:lnTo>
                      <a:lnTo>
                        <a:pt x="1625727" y="815695"/>
                      </a:lnTo>
                      <a:lnTo>
                        <a:pt x="1626666" y="818235"/>
                      </a:lnTo>
                      <a:lnTo>
                        <a:pt x="1626235" y="819505"/>
                      </a:lnTo>
                      <a:lnTo>
                        <a:pt x="1625117" y="819505"/>
                      </a:lnTo>
                      <a:lnTo>
                        <a:pt x="1625206" y="820775"/>
                      </a:lnTo>
                      <a:lnTo>
                        <a:pt x="1629410" y="820775"/>
                      </a:lnTo>
                      <a:lnTo>
                        <a:pt x="1630908" y="819505"/>
                      </a:lnTo>
                      <a:lnTo>
                        <a:pt x="1631619" y="819505"/>
                      </a:lnTo>
                      <a:lnTo>
                        <a:pt x="1632839" y="818235"/>
                      </a:lnTo>
                      <a:lnTo>
                        <a:pt x="1638617" y="818235"/>
                      </a:lnTo>
                      <a:lnTo>
                        <a:pt x="1639150" y="816965"/>
                      </a:lnTo>
                      <a:lnTo>
                        <a:pt x="1639671" y="816965"/>
                      </a:lnTo>
                      <a:lnTo>
                        <a:pt x="1639646" y="818235"/>
                      </a:lnTo>
                      <a:lnTo>
                        <a:pt x="1639646" y="822045"/>
                      </a:lnTo>
                      <a:lnTo>
                        <a:pt x="1640852" y="824585"/>
                      </a:lnTo>
                      <a:lnTo>
                        <a:pt x="1642287" y="824585"/>
                      </a:lnTo>
                      <a:lnTo>
                        <a:pt x="1642046" y="825855"/>
                      </a:lnTo>
                      <a:lnTo>
                        <a:pt x="1646008" y="825855"/>
                      </a:lnTo>
                      <a:lnTo>
                        <a:pt x="1663471" y="828395"/>
                      </a:lnTo>
                      <a:lnTo>
                        <a:pt x="1663522" y="825855"/>
                      </a:lnTo>
                      <a:lnTo>
                        <a:pt x="1663712" y="825855"/>
                      </a:lnTo>
                      <a:lnTo>
                        <a:pt x="1664246" y="823315"/>
                      </a:lnTo>
                      <a:lnTo>
                        <a:pt x="1667471" y="823315"/>
                      </a:lnTo>
                      <a:lnTo>
                        <a:pt x="1668729" y="825855"/>
                      </a:lnTo>
                      <a:lnTo>
                        <a:pt x="1670494" y="829665"/>
                      </a:lnTo>
                      <a:lnTo>
                        <a:pt x="1671434" y="832205"/>
                      </a:lnTo>
                      <a:lnTo>
                        <a:pt x="1675307" y="832205"/>
                      </a:lnTo>
                      <a:lnTo>
                        <a:pt x="1677708" y="833475"/>
                      </a:lnTo>
                      <a:lnTo>
                        <a:pt x="1679409" y="834745"/>
                      </a:lnTo>
                      <a:lnTo>
                        <a:pt x="1682978" y="834745"/>
                      </a:lnTo>
                      <a:lnTo>
                        <a:pt x="1694357" y="849985"/>
                      </a:lnTo>
                      <a:lnTo>
                        <a:pt x="1695742" y="849985"/>
                      </a:lnTo>
                      <a:lnTo>
                        <a:pt x="1698282" y="848715"/>
                      </a:lnTo>
                      <a:lnTo>
                        <a:pt x="1699755" y="847445"/>
                      </a:lnTo>
                      <a:lnTo>
                        <a:pt x="1700771" y="846175"/>
                      </a:lnTo>
                      <a:lnTo>
                        <a:pt x="1702117" y="847445"/>
                      </a:lnTo>
                      <a:lnTo>
                        <a:pt x="1702650" y="848715"/>
                      </a:lnTo>
                      <a:lnTo>
                        <a:pt x="1700707" y="848715"/>
                      </a:lnTo>
                      <a:lnTo>
                        <a:pt x="1702485" y="849985"/>
                      </a:lnTo>
                      <a:lnTo>
                        <a:pt x="1704022" y="849985"/>
                      </a:lnTo>
                      <a:lnTo>
                        <a:pt x="1703984" y="846175"/>
                      </a:lnTo>
                      <a:lnTo>
                        <a:pt x="1703882" y="832205"/>
                      </a:lnTo>
                      <a:lnTo>
                        <a:pt x="1703870" y="830935"/>
                      </a:lnTo>
                      <a:lnTo>
                        <a:pt x="1702447" y="832205"/>
                      </a:lnTo>
                      <a:lnTo>
                        <a:pt x="1700339" y="830935"/>
                      </a:lnTo>
                      <a:lnTo>
                        <a:pt x="1698688" y="833475"/>
                      </a:lnTo>
                      <a:lnTo>
                        <a:pt x="1699221" y="834745"/>
                      </a:lnTo>
                      <a:lnTo>
                        <a:pt x="1693151" y="834745"/>
                      </a:lnTo>
                      <a:lnTo>
                        <a:pt x="1691995" y="833475"/>
                      </a:lnTo>
                      <a:lnTo>
                        <a:pt x="1691792" y="832205"/>
                      </a:lnTo>
                      <a:lnTo>
                        <a:pt x="1689900" y="829665"/>
                      </a:lnTo>
                      <a:lnTo>
                        <a:pt x="1685150" y="827125"/>
                      </a:lnTo>
                      <a:lnTo>
                        <a:pt x="1684883" y="825855"/>
                      </a:lnTo>
                      <a:lnTo>
                        <a:pt x="1683562" y="823315"/>
                      </a:lnTo>
                      <a:lnTo>
                        <a:pt x="1682254" y="820775"/>
                      </a:lnTo>
                      <a:lnTo>
                        <a:pt x="1684223" y="816965"/>
                      </a:lnTo>
                      <a:lnTo>
                        <a:pt x="1684883" y="815695"/>
                      </a:lnTo>
                      <a:lnTo>
                        <a:pt x="1685518" y="813155"/>
                      </a:lnTo>
                      <a:lnTo>
                        <a:pt x="1686814" y="808075"/>
                      </a:lnTo>
                      <a:lnTo>
                        <a:pt x="1687372" y="806805"/>
                      </a:lnTo>
                      <a:lnTo>
                        <a:pt x="1686839" y="804265"/>
                      </a:lnTo>
                      <a:lnTo>
                        <a:pt x="1686737" y="802995"/>
                      </a:lnTo>
                      <a:lnTo>
                        <a:pt x="1686458" y="802995"/>
                      </a:lnTo>
                      <a:lnTo>
                        <a:pt x="1687118" y="800455"/>
                      </a:lnTo>
                      <a:lnTo>
                        <a:pt x="1686852" y="799185"/>
                      </a:lnTo>
                      <a:lnTo>
                        <a:pt x="1687309" y="797915"/>
                      </a:lnTo>
                      <a:lnTo>
                        <a:pt x="1687537" y="796645"/>
                      </a:lnTo>
                      <a:lnTo>
                        <a:pt x="1687080" y="795375"/>
                      </a:lnTo>
                      <a:lnTo>
                        <a:pt x="1686445" y="794105"/>
                      </a:lnTo>
                      <a:lnTo>
                        <a:pt x="1686064" y="792835"/>
                      </a:lnTo>
                      <a:lnTo>
                        <a:pt x="1685861" y="792835"/>
                      </a:lnTo>
                      <a:lnTo>
                        <a:pt x="1685480" y="790295"/>
                      </a:lnTo>
                      <a:lnTo>
                        <a:pt x="1683473" y="790295"/>
                      </a:lnTo>
                      <a:lnTo>
                        <a:pt x="1683664" y="789025"/>
                      </a:lnTo>
                      <a:lnTo>
                        <a:pt x="1685328" y="786485"/>
                      </a:lnTo>
                      <a:lnTo>
                        <a:pt x="1688579" y="783945"/>
                      </a:lnTo>
                      <a:lnTo>
                        <a:pt x="1690471" y="782675"/>
                      </a:lnTo>
                      <a:lnTo>
                        <a:pt x="1691500" y="781405"/>
                      </a:lnTo>
                      <a:lnTo>
                        <a:pt x="1691716" y="780135"/>
                      </a:lnTo>
                      <a:lnTo>
                        <a:pt x="1691640" y="778865"/>
                      </a:lnTo>
                      <a:lnTo>
                        <a:pt x="1691322" y="778865"/>
                      </a:lnTo>
                      <a:lnTo>
                        <a:pt x="1690928" y="777595"/>
                      </a:lnTo>
                      <a:lnTo>
                        <a:pt x="1715058" y="773785"/>
                      </a:lnTo>
                      <a:lnTo>
                        <a:pt x="1714881" y="772515"/>
                      </a:lnTo>
                      <a:lnTo>
                        <a:pt x="1713953" y="773785"/>
                      </a:lnTo>
                      <a:lnTo>
                        <a:pt x="1712036" y="771245"/>
                      </a:lnTo>
                      <a:lnTo>
                        <a:pt x="1710639" y="768705"/>
                      </a:lnTo>
                      <a:lnTo>
                        <a:pt x="1709216" y="763625"/>
                      </a:lnTo>
                      <a:lnTo>
                        <a:pt x="1708950" y="761085"/>
                      </a:lnTo>
                      <a:lnTo>
                        <a:pt x="1703717" y="754735"/>
                      </a:lnTo>
                      <a:lnTo>
                        <a:pt x="1695678" y="744575"/>
                      </a:lnTo>
                      <a:lnTo>
                        <a:pt x="1694840" y="743305"/>
                      </a:lnTo>
                      <a:lnTo>
                        <a:pt x="1695119" y="740765"/>
                      </a:lnTo>
                      <a:lnTo>
                        <a:pt x="1695208" y="742035"/>
                      </a:lnTo>
                      <a:lnTo>
                        <a:pt x="1696085" y="740765"/>
                      </a:lnTo>
                      <a:lnTo>
                        <a:pt x="1696872" y="740765"/>
                      </a:lnTo>
                      <a:lnTo>
                        <a:pt x="1697850" y="738225"/>
                      </a:lnTo>
                      <a:lnTo>
                        <a:pt x="1695526" y="733145"/>
                      </a:lnTo>
                      <a:lnTo>
                        <a:pt x="1693824" y="728065"/>
                      </a:lnTo>
                      <a:lnTo>
                        <a:pt x="1694141" y="726795"/>
                      </a:lnTo>
                      <a:lnTo>
                        <a:pt x="1694459" y="725525"/>
                      </a:lnTo>
                      <a:lnTo>
                        <a:pt x="1695411" y="719175"/>
                      </a:lnTo>
                      <a:lnTo>
                        <a:pt x="1696516" y="716635"/>
                      </a:lnTo>
                      <a:lnTo>
                        <a:pt x="1695754" y="714095"/>
                      </a:lnTo>
                      <a:lnTo>
                        <a:pt x="1695310" y="715365"/>
                      </a:lnTo>
                      <a:lnTo>
                        <a:pt x="1695183" y="717905"/>
                      </a:lnTo>
                      <a:lnTo>
                        <a:pt x="1693062" y="719175"/>
                      </a:lnTo>
                      <a:lnTo>
                        <a:pt x="1693202" y="716635"/>
                      </a:lnTo>
                      <a:lnTo>
                        <a:pt x="1693735" y="714095"/>
                      </a:lnTo>
                      <a:lnTo>
                        <a:pt x="1694599" y="709015"/>
                      </a:lnTo>
                      <a:lnTo>
                        <a:pt x="1694903" y="707745"/>
                      </a:lnTo>
                      <a:lnTo>
                        <a:pt x="1695157" y="706475"/>
                      </a:lnTo>
                      <a:lnTo>
                        <a:pt x="1695361" y="705205"/>
                      </a:lnTo>
                      <a:lnTo>
                        <a:pt x="1695500" y="705205"/>
                      </a:lnTo>
                      <a:lnTo>
                        <a:pt x="1695615" y="703935"/>
                      </a:lnTo>
                      <a:lnTo>
                        <a:pt x="1695742" y="701395"/>
                      </a:lnTo>
                      <a:lnTo>
                        <a:pt x="1695551" y="700125"/>
                      </a:lnTo>
                      <a:lnTo>
                        <a:pt x="1694383" y="698855"/>
                      </a:lnTo>
                      <a:lnTo>
                        <a:pt x="1694205" y="697585"/>
                      </a:lnTo>
                      <a:lnTo>
                        <a:pt x="1692821" y="696315"/>
                      </a:lnTo>
                      <a:lnTo>
                        <a:pt x="1692732" y="695045"/>
                      </a:lnTo>
                      <a:lnTo>
                        <a:pt x="1692694" y="696315"/>
                      </a:lnTo>
                      <a:lnTo>
                        <a:pt x="1692084" y="695045"/>
                      </a:lnTo>
                      <a:lnTo>
                        <a:pt x="1690814" y="692505"/>
                      </a:lnTo>
                      <a:lnTo>
                        <a:pt x="1691093" y="691235"/>
                      </a:lnTo>
                      <a:lnTo>
                        <a:pt x="1691259" y="691235"/>
                      </a:lnTo>
                      <a:lnTo>
                        <a:pt x="1692313" y="689965"/>
                      </a:lnTo>
                      <a:lnTo>
                        <a:pt x="1693837" y="688695"/>
                      </a:lnTo>
                      <a:lnTo>
                        <a:pt x="1694154" y="687425"/>
                      </a:lnTo>
                      <a:lnTo>
                        <a:pt x="1694395" y="687425"/>
                      </a:lnTo>
                      <a:lnTo>
                        <a:pt x="1694929" y="684885"/>
                      </a:lnTo>
                      <a:lnTo>
                        <a:pt x="1694522" y="681075"/>
                      </a:lnTo>
                      <a:lnTo>
                        <a:pt x="1698269" y="678535"/>
                      </a:lnTo>
                      <a:lnTo>
                        <a:pt x="1699069" y="677265"/>
                      </a:lnTo>
                      <a:lnTo>
                        <a:pt x="1700339" y="675995"/>
                      </a:lnTo>
                      <a:lnTo>
                        <a:pt x="1700822" y="675995"/>
                      </a:lnTo>
                      <a:lnTo>
                        <a:pt x="1700364" y="669645"/>
                      </a:lnTo>
                      <a:lnTo>
                        <a:pt x="1701419" y="665835"/>
                      </a:lnTo>
                      <a:lnTo>
                        <a:pt x="1702168" y="658215"/>
                      </a:lnTo>
                      <a:lnTo>
                        <a:pt x="1703400" y="655675"/>
                      </a:lnTo>
                      <a:lnTo>
                        <a:pt x="1705216" y="650595"/>
                      </a:lnTo>
                      <a:lnTo>
                        <a:pt x="1705724" y="648055"/>
                      </a:lnTo>
                      <a:lnTo>
                        <a:pt x="1706029" y="646785"/>
                      </a:lnTo>
                      <a:lnTo>
                        <a:pt x="1706283" y="645515"/>
                      </a:lnTo>
                      <a:lnTo>
                        <a:pt x="1706575" y="644245"/>
                      </a:lnTo>
                      <a:lnTo>
                        <a:pt x="1706981" y="644245"/>
                      </a:lnTo>
                      <a:lnTo>
                        <a:pt x="1708023" y="642975"/>
                      </a:lnTo>
                      <a:lnTo>
                        <a:pt x="1710969" y="640435"/>
                      </a:lnTo>
                      <a:lnTo>
                        <a:pt x="1713420" y="637895"/>
                      </a:lnTo>
                      <a:lnTo>
                        <a:pt x="1715782" y="636625"/>
                      </a:lnTo>
                      <a:lnTo>
                        <a:pt x="1720354" y="631545"/>
                      </a:lnTo>
                      <a:lnTo>
                        <a:pt x="1723351" y="627735"/>
                      </a:lnTo>
                      <a:lnTo>
                        <a:pt x="1724317" y="626465"/>
                      </a:lnTo>
                      <a:lnTo>
                        <a:pt x="1725168" y="625195"/>
                      </a:lnTo>
                      <a:close/>
                    </a:path>
                    <a:path w="2105025" h="1483995">
                      <a:moveTo>
                        <a:pt x="1752765" y="857631"/>
                      </a:moveTo>
                      <a:close/>
                    </a:path>
                    <a:path w="2105025" h="1483995">
                      <a:moveTo>
                        <a:pt x="1753273" y="194081"/>
                      </a:moveTo>
                      <a:lnTo>
                        <a:pt x="1751139" y="193484"/>
                      </a:lnTo>
                      <a:lnTo>
                        <a:pt x="1750402" y="194259"/>
                      </a:lnTo>
                      <a:lnTo>
                        <a:pt x="1748650" y="195072"/>
                      </a:lnTo>
                      <a:lnTo>
                        <a:pt x="1750199" y="194805"/>
                      </a:lnTo>
                      <a:lnTo>
                        <a:pt x="1751736" y="194424"/>
                      </a:lnTo>
                      <a:lnTo>
                        <a:pt x="1753273" y="194081"/>
                      </a:lnTo>
                      <a:close/>
                    </a:path>
                    <a:path w="2105025" h="1483995">
                      <a:moveTo>
                        <a:pt x="1767941" y="661339"/>
                      </a:moveTo>
                      <a:lnTo>
                        <a:pt x="1767827" y="661200"/>
                      </a:lnTo>
                      <a:lnTo>
                        <a:pt x="1767941" y="661339"/>
                      </a:lnTo>
                      <a:close/>
                    </a:path>
                    <a:path w="2105025" h="1483995">
                      <a:moveTo>
                        <a:pt x="1785950" y="587616"/>
                      </a:moveTo>
                      <a:lnTo>
                        <a:pt x="1785874" y="587260"/>
                      </a:lnTo>
                      <a:lnTo>
                        <a:pt x="1785734" y="587451"/>
                      </a:lnTo>
                      <a:lnTo>
                        <a:pt x="1785950" y="587616"/>
                      </a:lnTo>
                      <a:close/>
                    </a:path>
                    <a:path w="2105025" h="1483995">
                      <a:moveTo>
                        <a:pt x="1786064" y="586981"/>
                      </a:moveTo>
                      <a:lnTo>
                        <a:pt x="1785848" y="586232"/>
                      </a:lnTo>
                      <a:lnTo>
                        <a:pt x="1785874" y="587260"/>
                      </a:lnTo>
                      <a:lnTo>
                        <a:pt x="1786064" y="586981"/>
                      </a:lnTo>
                      <a:close/>
                    </a:path>
                    <a:path w="2105025" h="1483995">
                      <a:moveTo>
                        <a:pt x="1787017" y="588441"/>
                      </a:moveTo>
                      <a:lnTo>
                        <a:pt x="1786496" y="588060"/>
                      </a:lnTo>
                      <a:lnTo>
                        <a:pt x="1785950" y="587616"/>
                      </a:lnTo>
                      <a:lnTo>
                        <a:pt x="1786432" y="588137"/>
                      </a:lnTo>
                      <a:lnTo>
                        <a:pt x="1786775" y="588441"/>
                      </a:lnTo>
                      <a:lnTo>
                        <a:pt x="1787017" y="588441"/>
                      </a:lnTo>
                      <a:close/>
                    </a:path>
                    <a:path w="2105025" h="1483995">
                      <a:moveTo>
                        <a:pt x="1899856" y="825728"/>
                      </a:moveTo>
                      <a:lnTo>
                        <a:pt x="1898789" y="824966"/>
                      </a:lnTo>
                      <a:lnTo>
                        <a:pt x="1898434" y="823544"/>
                      </a:lnTo>
                      <a:lnTo>
                        <a:pt x="1898205" y="822528"/>
                      </a:lnTo>
                      <a:lnTo>
                        <a:pt x="1898472" y="821639"/>
                      </a:lnTo>
                      <a:lnTo>
                        <a:pt x="1897824" y="817422"/>
                      </a:lnTo>
                      <a:lnTo>
                        <a:pt x="1896630" y="821004"/>
                      </a:lnTo>
                      <a:lnTo>
                        <a:pt x="1896275" y="822769"/>
                      </a:lnTo>
                      <a:lnTo>
                        <a:pt x="1895703" y="825385"/>
                      </a:lnTo>
                      <a:lnTo>
                        <a:pt x="1896783" y="825525"/>
                      </a:lnTo>
                      <a:lnTo>
                        <a:pt x="1899246" y="827430"/>
                      </a:lnTo>
                      <a:lnTo>
                        <a:pt x="1899856" y="825728"/>
                      </a:lnTo>
                      <a:close/>
                    </a:path>
                    <a:path w="2105025" h="1483995">
                      <a:moveTo>
                        <a:pt x="1904987" y="833920"/>
                      </a:moveTo>
                      <a:lnTo>
                        <a:pt x="1904098" y="832980"/>
                      </a:lnTo>
                      <a:lnTo>
                        <a:pt x="1903056" y="831799"/>
                      </a:lnTo>
                      <a:lnTo>
                        <a:pt x="1901748" y="832002"/>
                      </a:lnTo>
                      <a:lnTo>
                        <a:pt x="1902714" y="832802"/>
                      </a:lnTo>
                      <a:lnTo>
                        <a:pt x="1903869" y="833310"/>
                      </a:lnTo>
                      <a:lnTo>
                        <a:pt x="1904987" y="833920"/>
                      </a:lnTo>
                      <a:close/>
                    </a:path>
                    <a:path w="2105025" h="1483995">
                      <a:moveTo>
                        <a:pt x="1914867" y="830021"/>
                      </a:moveTo>
                      <a:lnTo>
                        <a:pt x="1913978" y="829589"/>
                      </a:lnTo>
                      <a:lnTo>
                        <a:pt x="1913293" y="829246"/>
                      </a:lnTo>
                      <a:lnTo>
                        <a:pt x="1911896" y="831570"/>
                      </a:lnTo>
                      <a:lnTo>
                        <a:pt x="1910156" y="830707"/>
                      </a:lnTo>
                      <a:lnTo>
                        <a:pt x="1911477" y="831875"/>
                      </a:lnTo>
                      <a:lnTo>
                        <a:pt x="1912975" y="832840"/>
                      </a:lnTo>
                      <a:lnTo>
                        <a:pt x="1914398" y="833882"/>
                      </a:lnTo>
                      <a:lnTo>
                        <a:pt x="1914436" y="833323"/>
                      </a:lnTo>
                      <a:lnTo>
                        <a:pt x="1914867" y="830021"/>
                      </a:lnTo>
                      <a:close/>
                    </a:path>
                    <a:path w="2105025" h="1483995">
                      <a:moveTo>
                        <a:pt x="1925510" y="839736"/>
                      </a:moveTo>
                      <a:lnTo>
                        <a:pt x="1923427" y="838377"/>
                      </a:lnTo>
                      <a:lnTo>
                        <a:pt x="1921611" y="837209"/>
                      </a:lnTo>
                      <a:lnTo>
                        <a:pt x="1921992" y="839520"/>
                      </a:lnTo>
                      <a:lnTo>
                        <a:pt x="1922805" y="840447"/>
                      </a:lnTo>
                      <a:lnTo>
                        <a:pt x="1923199" y="841159"/>
                      </a:lnTo>
                      <a:lnTo>
                        <a:pt x="1923542" y="841870"/>
                      </a:lnTo>
                      <a:lnTo>
                        <a:pt x="1923961" y="842530"/>
                      </a:lnTo>
                      <a:lnTo>
                        <a:pt x="1923542" y="840752"/>
                      </a:lnTo>
                      <a:lnTo>
                        <a:pt x="1925510" y="839736"/>
                      </a:lnTo>
                      <a:close/>
                    </a:path>
                    <a:path w="2105025" h="1483995">
                      <a:moveTo>
                        <a:pt x="1941512" y="790130"/>
                      </a:moveTo>
                      <a:lnTo>
                        <a:pt x="1940966" y="789889"/>
                      </a:lnTo>
                      <a:lnTo>
                        <a:pt x="1940318" y="789774"/>
                      </a:lnTo>
                      <a:lnTo>
                        <a:pt x="1939734" y="789838"/>
                      </a:lnTo>
                      <a:lnTo>
                        <a:pt x="1940318" y="790003"/>
                      </a:lnTo>
                      <a:lnTo>
                        <a:pt x="1940928" y="790117"/>
                      </a:lnTo>
                      <a:lnTo>
                        <a:pt x="1941512" y="790130"/>
                      </a:lnTo>
                      <a:close/>
                    </a:path>
                    <a:path w="2105025" h="1483995">
                      <a:moveTo>
                        <a:pt x="1943125" y="790511"/>
                      </a:moveTo>
                      <a:lnTo>
                        <a:pt x="1941893" y="790752"/>
                      </a:lnTo>
                      <a:lnTo>
                        <a:pt x="1940737" y="791222"/>
                      </a:lnTo>
                      <a:lnTo>
                        <a:pt x="1939531" y="791629"/>
                      </a:lnTo>
                      <a:lnTo>
                        <a:pt x="1940471" y="791349"/>
                      </a:lnTo>
                      <a:lnTo>
                        <a:pt x="1942465" y="791260"/>
                      </a:lnTo>
                      <a:lnTo>
                        <a:pt x="1943125" y="790511"/>
                      </a:lnTo>
                      <a:close/>
                    </a:path>
                    <a:path w="2105025" h="1483995">
                      <a:moveTo>
                        <a:pt x="1957070" y="598944"/>
                      </a:moveTo>
                      <a:lnTo>
                        <a:pt x="1876920" y="598957"/>
                      </a:lnTo>
                      <a:lnTo>
                        <a:pt x="1876221" y="598970"/>
                      </a:lnTo>
                      <a:lnTo>
                        <a:pt x="1876221" y="599833"/>
                      </a:lnTo>
                      <a:lnTo>
                        <a:pt x="1864004" y="615188"/>
                      </a:lnTo>
                      <a:lnTo>
                        <a:pt x="1864004" y="661250"/>
                      </a:lnTo>
                      <a:lnTo>
                        <a:pt x="1863902" y="661797"/>
                      </a:lnTo>
                      <a:lnTo>
                        <a:pt x="1863991" y="660819"/>
                      </a:lnTo>
                      <a:lnTo>
                        <a:pt x="1864004" y="661250"/>
                      </a:lnTo>
                      <a:lnTo>
                        <a:pt x="1864004" y="615188"/>
                      </a:lnTo>
                      <a:lnTo>
                        <a:pt x="1863966" y="619099"/>
                      </a:lnTo>
                      <a:lnTo>
                        <a:pt x="1863966" y="639013"/>
                      </a:lnTo>
                      <a:lnTo>
                        <a:pt x="1863902" y="618782"/>
                      </a:lnTo>
                      <a:lnTo>
                        <a:pt x="1863966" y="619099"/>
                      </a:lnTo>
                      <a:lnTo>
                        <a:pt x="1863966" y="615226"/>
                      </a:lnTo>
                      <a:lnTo>
                        <a:pt x="1863420" y="615873"/>
                      </a:lnTo>
                      <a:lnTo>
                        <a:pt x="1870443" y="607072"/>
                      </a:lnTo>
                      <a:lnTo>
                        <a:pt x="1876221" y="599833"/>
                      </a:lnTo>
                      <a:lnTo>
                        <a:pt x="1876221" y="598970"/>
                      </a:lnTo>
                      <a:lnTo>
                        <a:pt x="1874215" y="598970"/>
                      </a:lnTo>
                      <a:lnTo>
                        <a:pt x="1870456" y="599389"/>
                      </a:lnTo>
                      <a:lnTo>
                        <a:pt x="1869452" y="599338"/>
                      </a:lnTo>
                      <a:lnTo>
                        <a:pt x="1868703" y="599300"/>
                      </a:lnTo>
                      <a:lnTo>
                        <a:pt x="1868170" y="599338"/>
                      </a:lnTo>
                      <a:lnTo>
                        <a:pt x="1867649" y="599338"/>
                      </a:lnTo>
                      <a:lnTo>
                        <a:pt x="1866963" y="599186"/>
                      </a:lnTo>
                      <a:lnTo>
                        <a:pt x="1866328" y="598779"/>
                      </a:lnTo>
                      <a:lnTo>
                        <a:pt x="1864474" y="597890"/>
                      </a:lnTo>
                      <a:lnTo>
                        <a:pt x="1862874" y="595985"/>
                      </a:lnTo>
                      <a:lnTo>
                        <a:pt x="1861185" y="594512"/>
                      </a:lnTo>
                      <a:lnTo>
                        <a:pt x="1860651" y="594525"/>
                      </a:lnTo>
                      <a:lnTo>
                        <a:pt x="1846732" y="600875"/>
                      </a:lnTo>
                      <a:lnTo>
                        <a:pt x="1845564" y="605548"/>
                      </a:lnTo>
                      <a:lnTo>
                        <a:pt x="1843290" y="606513"/>
                      </a:lnTo>
                      <a:lnTo>
                        <a:pt x="1842706" y="607072"/>
                      </a:lnTo>
                      <a:lnTo>
                        <a:pt x="1842731" y="606729"/>
                      </a:lnTo>
                      <a:lnTo>
                        <a:pt x="1841334" y="606348"/>
                      </a:lnTo>
                      <a:lnTo>
                        <a:pt x="1838934" y="606272"/>
                      </a:lnTo>
                      <a:lnTo>
                        <a:pt x="1836280" y="605739"/>
                      </a:lnTo>
                      <a:lnTo>
                        <a:pt x="1833867" y="605358"/>
                      </a:lnTo>
                      <a:lnTo>
                        <a:pt x="1833168" y="605320"/>
                      </a:lnTo>
                      <a:lnTo>
                        <a:pt x="1830146" y="605155"/>
                      </a:lnTo>
                      <a:lnTo>
                        <a:pt x="1825345" y="605320"/>
                      </a:lnTo>
                      <a:lnTo>
                        <a:pt x="1824977" y="605320"/>
                      </a:lnTo>
                      <a:lnTo>
                        <a:pt x="1819554" y="601675"/>
                      </a:lnTo>
                      <a:lnTo>
                        <a:pt x="1816976" y="599655"/>
                      </a:lnTo>
                      <a:lnTo>
                        <a:pt x="1813382" y="597623"/>
                      </a:lnTo>
                      <a:lnTo>
                        <a:pt x="1811413" y="596633"/>
                      </a:lnTo>
                      <a:lnTo>
                        <a:pt x="1809546" y="595388"/>
                      </a:lnTo>
                      <a:lnTo>
                        <a:pt x="1807616" y="594309"/>
                      </a:lnTo>
                      <a:lnTo>
                        <a:pt x="1806384" y="593648"/>
                      </a:lnTo>
                      <a:lnTo>
                        <a:pt x="1805432" y="593242"/>
                      </a:lnTo>
                      <a:lnTo>
                        <a:pt x="1804835" y="592963"/>
                      </a:lnTo>
                      <a:lnTo>
                        <a:pt x="1802968" y="592391"/>
                      </a:lnTo>
                      <a:lnTo>
                        <a:pt x="1802295" y="592251"/>
                      </a:lnTo>
                      <a:lnTo>
                        <a:pt x="1793049" y="592061"/>
                      </a:lnTo>
                      <a:lnTo>
                        <a:pt x="1791373" y="589559"/>
                      </a:lnTo>
                      <a:lnTo>
                        <a:pt x="1789620" y="589584"/>
                      </a:lnTo>
                      <a:lnTo>
                        <a:pt x="1788223" y="589584"/>
                      </a:lnTo>
                      <a:lnTo>
                        <a:pt x="1768894" y="589749"/>
                      </a:lnTo>
                      <a:lnTo>
                        <a:pt x="1768271" y="590931"/>
                      </a:lnTo>
                      <a:lnTo>
                        <a:pt x="1766785" y="592404"/>
                      </a:lnTo>
                      <a:lnTo>
                        <a:pt x="1765960" y="593090"/>
                      </a:lnTo>
                      <a:lnTo>
                        <a:pt x="1764093" y="595071"/>
                      </a:lnTo>
                      <a:lnTo>
                        <a:pt x="1763915" y="595236"/>
                      </a:lnTo>
                      <a:lnTo>
                        <a:pt x="1764055" y="595731"/>
                      </a:lnTo>
                      <a:lnTo>
                        <a:pt x="1764804" y="597623"/>
                      </a:lnTo>
                      <a:lnTo>
                        <a:pt x="1765122" y="599008"/>
                      </a:lnTo>
                      <a:lnTo>
                        <a:pt x="1769211" y="602754"/>
                      </a:lnTo>
                      <a:lnTo>
                        <a:pt x="1769795" y="603059"/>
                      </a:lnTo>
                      <a:lnTo>
                        <a:pt x="1771396" y="608355"/>
                      </a:lnTo>
                      <a:lnTo>
                        <a:pt x="1771650" y="610057"/>
                      </a:lnTo>
                      <a:lnTo>
                        <a:pt x="1772158" y="611860"/>
                      </a:lnTo>
                      <a:lnTo>
                        <a:pt x="1773161" y="613244"/>
                      </a:lnTo>
                      <a:lnTo>
                        <a:pt x="1774863" y="615962"/>
                      </a:lnTo>
                      <a:lnTo>
                        <a:pt x="1777428" y="618782"/>
                      </a:lnTo>
                      <a:lnTo>
                        <a:pt x="1776984" y="622846"/>
                      </a:lnTo>
                      <a:lnTo>
                        <a:pt x="1778127" y="627481"/>
                      </a:lnTo>
                      <a:lnTo>
                        <a:pt x="1778203" y="627710"/>
                      </a:lnTo>
                      <a:lnTo>
                        <a:pt x="1778596" y="629297"/>
                      </a:lnTo>
                      <a:lnTo>
                        <a:pt x="1777212" y="631558"/>
                      </a:lnTo>
                      <a:lnTo>
                        <a:pt x="1776095" y="633907"/>
                      </a:lnTo>
                      <a:lnTo>
                        <a:pt x="1775637" y="635050"/>
                      </a:lnTo>
                      <a:lnTo>
                        <a:pt x="1775460" y="635558"/>
                      </a:lnTo>
                      <a:lnTo>
                        <a:pt x="1775333" y="636612"/>
                      </a:lnTo>
                      <a:lnTo>
                        <a:pt x="1775879" y="637667"/>
                      </a:lnTo>
                      <a:lnTo>
                        <a:pt x="1775040" y="639013"/>
                      </a:lnTo>
                      <a:lnTo>
                        <a:pt x="1773631" y="638848"/>
                      </a:lnTo>
                      <a:lnTo>
                        <a:pt x="1772488" y="639521"/>
                      </a:lnTo>
                      <a:lnTo>
                        <a:pt x="1772259" y="639749"/>
                      </a:lnTo>
                      <a:lnTo>
                        <a:pt x="1772158" y="640130"/>
                      </a:lnTo>
                      <a:lnTo>
                        <a:pt x="1772005" y="640029"/>
                      </a:lnTo>
                      <a:lnTo>
                        <a:pt x="1771840" y="640029"/>
                      </a:lnTo>
                      <a:lnTo>
                        <a:pt x="1771573" y="640130"/>
                      </a:lnTo>
                      <a:lnTo>
                        <a:pt x="1768817" y="644296"/>
                      </a:lnTo>
                      <a:lnTo>
                        <a:pt x="1768119" y="645439"/>
                      </a:lnTo>
                      <a:lnTo>
                        <a:pt x="1767522" y="646099"/>
                      </a:lnTo>
                      <a:lnTo>
                        <a:pt x="1766214" y="647801"/>
                      </a:lnTo>
                      <a:lnTo>
                        <a:pt x="1765312" y="649363"/>
                      </a:lnTo>
                      <a:lnTo>
                        <a:pt x="1764855" y="650392"/>
                      </a:lnTo>
                      <a:lnTo>
                        <a:pt x="1764487" y="651154"/>
                      </a:lnTo>
                      <a:lnTo>
                        <a:pt x="1764030" y="651802"/>
                      </a:lnTo>
                      <a:lnTo>
                        <a:pt x="1763928" y="652373"/>
                      </a:lnTo>
                      <a:lnTo>
                        <a:pt x="1763801" y="654265"/>
                      </a:lnTo>
                      <a:lnTo>
                        <a:pt x="1763585" y="655650"/>
                      </a:lnTo>
                      <a:lnTo>
                        <a:pt x="1767827" y="661200"/>
                      </a:lnTo>
                      <a:lnTo>
                        <a:pt x="1769897" y="660031"/>
                      </a:lnTo>
                      <a:lnTo>
                        <a:pt x="1768678" y="659206"/>
                      </a:lnTo>
                      <a:lnTo>
                        <a:pt x="1769186" y="658431"/>
                      </a:lnTo>
                      <a:lnTo>
                        <a:pt x="1773567" y="657313"/>
                      </a:lnTo>
                      <a:lnTo>
                        <a:pt x="1774469" y="657148"/>
                      </a:lnTo>
                      <a:lnTo>
                        <a:pt x="1774126" y="658380"/>
                      </a:lnTo>
                      <a:lnTo>
                        <a:pt x="1776222" y="658939"/>
                      </a:lnTo>
                      <a:lnTo>
                        <a:pt x="1775968" y="660781"/>
                      </a:lnTo>
                      <a:lnTo>
                        <a:pt x="1775129" y="659841"/>
                      </a:lnTo>
                      <a:lnTo>
                        <a:pt x="1774278" y="660374"/>
                      </a:lnTo>
                      <a:lnTo>
                        <a:pt x="1774748" y="660552"/>
                      </a:lnTo>
                      <a:lnTo>
                        <a:pt x="1773161" y="660806"/>
                      </a:lnTo>
                      <a:lnTo>
                        <a:pt x="1772691" y="660463"/>
                      </a:lnTo>
                      <a:lnTo>
                        <a:pt x="1771472" y="660742"/>
                      </a:lnTo>
                      <a:lnTo>
                        <a:pt x="1771078" y="660006"/>
                      </a:lnTo>
                      <a:lnTo>
                        <a:pt x="1771142" y="662825"/>
                      </a:lnTo>
                      <a:lnTo>
                        <a:pt x="1769694" y="663371"/>
                      </a:lnTo>
                      <a:lnTo>
                        <a:pt x="1769846" y="662825"/>
                      </a:lnTo>
                      <a:lnTo>
                        <a:pt x="1769897" y="662647"/>
                      </a:lnTo>
                      <a:lnTo>
                        <a:pt x="1770011" y="662254"/>
                      </a:lnTo>
                      <a:lnTo>
                        <a:pt x="1768767" y="662089"/>
                      </a:lnTo>
                      <a:lnTo>
                        <a:pt x="1769249" y="662647"/>
                      </a:lnTo>
                      <a:lnTo>
                        <a:pt x="1768449" y="662317"/>
                      </a:lnTo>
                      <a:lnTo>
                        <a:pt x="1767611" y="662825"/>
                      </a:lnTo>
                      <a:lnTo>
                        <a:pt x="1767992" y="661797"/>
                      </a:lnTo>
                      <a:lnTo>
                        <a:pt x="1766430" y="662076"/>
                      </a:lnTo>
                      <a:lnTo>
                        <a:pt x="1766900" y="662089"/>
                      </a:lnTo>
                      <a:lnTo>
                        <a:pt x="1765655" y="663371"/>
                      </a:lnTo>
                      <a:lnTo>
                        <a:pt x="1764474" y="665568"/>
                      </a:lnTo>
                      <a:lnTo>
                        <a:pt x="1764931" y="667156"/>
                      </a:lnTo>
                      <a:lnTo>
                        <a:pt x="1766392" y="667499"/>
                      </a:lnTo>
                      <a:lnTo>
                        <a:pt x="1766468" y="668578"/>
                      </a:lnTo>
                      <a:lnTo>
                        <a:pt x="1765960" y="669201"/>
                      </a:lnTo>
                      <a:lnTo>
                        <a:pt x="1864652" y="669201"/>
                      </a:lnTo>
                      <a:lnTo>
                        <a:pt x="1864982" y="669632"/>
                      </a:lnTo>
                      <a:lnTo>
                        <a:pt x="1765617" y="669632"/>
                      </a:lnTo>
                      <a:lnTo>
                        <a:pt x="1764601" y="669632"/>
                      </a:lnTo>
                      <a:lnTo>
                        <a:pt x="1764284" y="670204"/>
                      </a:lnTo>
                      <a:lnTo>
                        <a:pt x="1811388" y="696518"/>
                      </a:lnTo>
                      <a:lnTo>
                        <a:pt x="1812671" y="697941"/>
                      </a:lnTo>
                      <a:lnTo>
                        <a:pt x="1815426" y="700201"/>
                      </a:lnTo>
                      <a:lnTo>
                        <a:pt x="1816125" y="700646"/>
                      </a:lnTo>
                      <a:lnTo>
                        <a:pt x="1816392" y="701281"/>
                      </a:lnTo>
                      <a:lnTo>
                        <a:pt x="1816481" y="702716"/>
                      </a:lnTo>
                      <a:lnTo>
                        <a:pt x="1816379" y="703211"/>
                      </a:lnTo>
                      <a:lnTo>
                        <a:pt x="1815922" y="704989"/>
                      </a:lnTo>
                      <a:lnTo>
                        <a:pt x="1815998" y="705612"/>
                      </a:lnTo>
                      <a:lnTo>
                        <a:pt x="1816290" y="706145"/>
                      </a:lnTo>
                      <a:lnTo>
                        <a:pt x="1816442" y="706247"/>
                      </a:lnTo>
                      <a:lnTo>
                        <a:pt x="1820151" y="709714"/>
                      </a:lnTo>
                      <a:lnTo>
                        <a:pt x="1824177" y="712431"/>
                      </a:lnTo>
                      <a:lnTo>
                        <a:pt x="1828406" y="715467"/>
                      </a:lnTo>
                      <a:lnTo>
                        <a:pt x="1829422" y="716267"/>
                      </a:lnTo>
                      <a:lnTo>
                        <a:pt x="1831390" y="717613"/>
                      </a:lnTo>
                      <a:lnTo>
                        <a:pt x="1838198" y="722503"/>
                      </a:lnTo>
                      <a:lnTo>
                        <a:pt x="1839023" y="722210"/>
                      </a:lnTo>
                      <a:lnTo>
                        <a:pt x="1841322" y="720572"/>
                      </a:lnTo>
                      <a:lnTo>
                        <a:pt x="1842947" y="719543"/>
                      </a:lnTo>
                      <a:lnTo>
                        <a:pt x="1843963" y="716889"/>
                      </a:lnTo>
                      <a:lnTo>
                        <a:pt x="1844230" y="716114"/>
                      </a:lnTo>
                      <a:lnTo>
                        <a:pt x="1844649" y="715416"/>
                      </a:lnTo>
                      <a:lnTo>
                        <a:pt x="1845195" y="713968"/>
                      </a:lnTo>
                      <a:lnTo>
                        <a:pt x="1843455" y="712812"/>
                      </a:lnTo>
                      <a:lnTo>
                        <a:pt x="1846427" y="712177"/>
                      </a:lnTo>
                      <a:lnTo>
                        <a:pt x="1847697" y="711085"/>
                      </a:lnTo>
                      <a:lnTo>
                        <a:pt x="1847811" y="708101"/>
                      </a:lnTo>
                      <a:lnTo>
                        <a:pt x="1846808" y="707644"/>
                      </a:lnTo>
                      <a:lnTo>
                        <a:pt x="1846808" y="706031"/>
                      </a:lnTo>
                      <a:lnTo>
                        <a:pt x="1848929" y="704024"/>
                      </a:lnTo>
                      <a:lnTo>
                        <a:pt x="1851329" y="702271"/>
                      </a:lnTo>
                      <a:lnTo>
                        <a:pt x="1851279" y="702716"/>
                      </a:lnTo>
                      <a:lnTo>
                        <a:pt x="1851469" y="702271"/>
                      </a:lnTo>
                      <a:lnTo>
                        <a:pt x="1852053" y="700976"/>
                      </a:lnTo>
                      <a:lnTo>
                        <a:pt x="1852866" y="699262"/>
                      </a:lnTo>
                      <a:lnTo>
                        <a:pt x="1852637" y="698906"/>
                      </a:lnTo>
                      <a:lnTo>
                        <a:pt x="1852942" y="691667"/>
                      </a:lnTo>
                      <a:lnTo>
                        <a:pt x="1856905" y="693432"/>
                      </a:lnTo>
                      <a:lnTo>
                        <a:pt x="1858352" y="691667"/>
                      </a:lnTo>
                      <a:lnTo>
                        <a:pt x="1860156" y="689470"/>
                      </a:lnTo>
                      <a:lnTo>
                        <a:pt x="1861197" y="687997"/>
                      </a:lnTo>
                      <a:lnTo>
                        <a:pt x="1863039" y="687565"/>
                      </a:lnTo>
                      <a:lnTo>
                        <a:pt x="1863420" y="689063"/>
                      </a:lnTo>
                      <a:lnTo>
                        <a:pt x="1863598" y="688314"/>
                      </a:lnTo>
                      <a:lnTo>
                        <a:pt x="1863318" y="687565"/>
                      </a:lnTo>
                      <a:lnTo>
                        <a:pt x="1862861" y="686460"/>
                      </a:lnTo>
                      <a:lnTo>
                        <a:pt x="1862543" y="685812"/>
                      </a:lnTo>
                      <a:lnTo>
                        <a:pt x="1862366" y="684809"/>
                      </a:lnTo>
                      <a:lnTo>
                        <a:pt x="1862315" y="683996"/>
                      </a:lnTo>
                      <a:lnTo>
                        <a:pt x="1863039" y="684695"/>
                      </a:lnTo>
                      <a:lnTo>
                        <a:pt x="1863267" y="683996"/>
                      </a:lnTo>
                      <a:lnTo>
                        <a:pt x="1863420" y="683552"/>
                      </a:lnTo>
                      <a:lnTo>
                        <a:pt x="1864131" y="683044"/>
                      </a:lnTo>
                      <a:lnTo>
                        <a:pt x="1863280" y="684784"/>
                      </a:lnTo>
                      <a:lnTo>
                        <a:pt x="1864042" y="684809"/>
                      </a:lnTo>
                      <a:lnTo>
                        <a:pt x="1866201" y="684212"/>
                      </a:lnTo>
                      <a:lnTo>
                        <a:pt x="1866900" y="683552"/>
                      </a:lnTo>
                      <a:lnTo>
                        <a:pt x="1867700" y="683044"/>
                      </a:lnTo>
                      <a:lnTo>
                        <a:pt x="1869008" y="682218"/>
                      </a:lnTo>
                      <a:lnTo>
                        <a:pt x="1870913" y="681304"/>
                      </a:lnTo>
                      <a:lnTo>
                        <a:pt x="1871497" y="680135"/>
                      </a:lnTo>
                      <a:lnTo>
                        <a:pt x="1871840" y="680046"/>
                      </a:lnTo>
                      <a:lnTo>
                        <a:pt x="1872996" y="679729"/>
                      </a:lnTo>
                      <a:lnTo>
                        <a:pt x="1872678" y="678611"/>
                      </a:lnTo>
                      <a:lnTo>
                        <a:pt x="1874354" y="675271"/>
                      </a:lnTo>
                      <a:lnTo>
                        <a:pt x="1876005" y="671918"/>
                      </a:lnTo>
                      <a:lnTo>
                        <a:pt x="1877847" y="668667"/>
                      </a:lnTo>
                      <a:lnTo>
                        <a:pt x="1877847" y="669290"/>
                      </a:lnTo>
                      <a:lnTo>
                        <a:pt x="1878495" y="668667"/>
                      </a:lnTo>
                      <a:lnTo>
                        <a:pt x="1884324" y="663105"/>
                      </a:lnTo>
                      <a:lnTo>
                        <a:pt x="1890496" y="656348"/>
                      </a:lnTo>
                      <a:lnTo>
                        <a:pt x="1896783" y="649617"/>
                      </a:lnTo>
                      <a:lnTo>
                        <a:pt x="1903564" y="643534"/>
                      </a:lnTo>
                      <a:lnTo>
                        <a:pt x="1919058" y="631558"/>
                      </a:lnTo>
                      <a:lnTo>
                        <a:pt x="1921294" y="629399"/>
                      </a:lnTo>
                      <a:lnTo>
                        <a:pt x="1931174" y="623900"/>
                      </a:lnTo>
                      <a:lnTo>
                        <a:pt x="1936686" y="618439"/>
                      </a:lnTo>
                      <a:lnTo>
                        <a:pt x="1942896" y="612851"/>
                      </a:lnTo>
                      <a:lnTo>
                        <a:pt x="1947659" y="608444"/>
                      </a:lnTo>
                      <a:lnTo>
                        <a:pt x="1952218" y="603961"/>
                      </a:lnTo>
                      <a:lnTo>
                        <a:pt x="1957070" y="598944"/>
                      </a:lnTo>
                      <a:close/>
                    </a:path>
                    <a:path w="2105025" h="1483995">
                      <a:moveTo>
                        <a:pt x="1969262" y="846239"/>
                      </a:moveTo>
                      <a:lnTo>
                        <a:pt x="1968957" y="846061"/>
                      </a:lnTo>
                      <a:lnTo>
                        <a:pt x="1968461" y="845731"/>
                      </a:lnTo>
                      <a:lnTo>
                        <a:pt x="1967268" y="845997"/>
                      </a:lnTo>
                      <a:lnTo>
                        <a:pt x="1967026" y="846861"/>
                      </a:lnTo>
                      <a:lnTo>
                        <a:pt x="1966760" y="848042"/>
                      </a:lnTo>
                      <a:lnTo>
                        <a:pt x="1968271" y="848525"/>
                      </a:lnTo>
                      <a:lnTo>
                        <a:pt x="1969071" y="849007"/>
                      </a:lnTo>
                      <a:lnTo>
                        <a:pt x="1969223" y="848614"/>
                      </a:lnTo>
                      <a:lnTo>
                        <a:pt x="1969262" y="846239"/>
                      </a:lnTo>
                      <a:close/>
                    </a:path>
                    <a:path w="2105025" h="1483995">
                      <a:moveTo>
                        <a:pt x="1991360" y="890879"/>
                      </a:moveTo>
                      <a:lnTo>
                        <a:pt x="1990826" y="890130"/>
                      </a:lnTo>
                      <a:lnTo>
                        <a:pt x="1989886" y="888809"/>
                      </a:lnTo>
                      <a:lnTo>
                        <a:pt x="1989315" y="887996"/>
                      </a:lnTo>
                      <a:lnTo>
                        <a:pt x="1988515" y="888809"/>
                      </a:lnTo>
                      <a:lnTo>
                        <a:pt x="1988553" y="887691"/>
                      </a:lnTo>
                      <a:lnTo>
                        <a:pt x="1988578" y="886828"/>
                      </a:lnTo>
                      <a:lnTo>
                        <a:pt x="1988591" y="886294"/>
                      </a:lnTo>
                      <a:lnTo>
                        <a:pt x="1988604" y="885977"/>
                      </a:lnTo>
                      <a:lnTo>
                        <a:pt x="1988502" y="883932"/>
                      </a:lnTo>
                      <a:lnTo>
                        <a:pt x="1988019" y="882256"/>
                      </a:lnTo>
                      <a:lnTo>
                        <a:pt x="1987740" y="881164"/>
                      </a:lnTo>
                      <a:lnTo>
                        <a:pt x="1987677" y="879627"/>
                      </a:lnTo>
                      <a:lnTo>
                        <a:pt x="1987664" y="879411"/>
                      </a:lnTo>
                      <a:lnTo>
                        <a:pt x="1988235" y="879055"/>
                      </a:lnTo>
                      <a:lnTo>
                        <a:pt x="1952155" y="879055"/>
                      </a:lnTo>
                      <a:lnTo>
                        <a:pt x="1950516" y="879055"/>
                      </a:lnTo>
                      <a:lnTo>
                        <a:pt x="1949450" y="879627"/>
                      </a:lnTo>
                      <a:lnTo>
                        <a:pt x="1949894" y="878357"/>
                      </a:lnTo>
                      <a:lnTo>
                        <a:pt x="1950008" y="878128"/>
                      </a:lnTo>
                      <a:lnTo>
                        <a:pt x="1951342" y="876363"/>
                      </a:lnTo>
                      <a:lnTo>
                        <a:pt x="1948408" y="874877"/>
                      </a:lnTo>
                      <a:lnTo>
                        <a:pt x="1947252" y="876388"/>
                      </a:lnTo>
                      <a:lnTo>
                        <a:pt x="1944357" y="878357"/>
                      </a:lnTo>
                      <a:lnTo>
                        <a:pt x="1942592" y="879106"/>
                      </a:lnTo>
                      <a:lnTo>
                        <a:pt x="1940471" y="881557"/>
                      </a:lnTo>
                      <a:lnTo>
                        <a:pt x="1940331" y="882256"/>
                      </a:lnTo>
                      <a:lnTo>
                        <a:pt x="1940229" y="883069"/>
                      </a:lnTo>
                      <a:lnTo>
                        <a:pt x="1941283" y="884936"/>
                      </a:lnTo>
                      <a:lnTo>
                        <a:pt x="1942249" y="884961"/>
                      </a:lnTo>
                      <a:lnTo>
                        <a:pt x="1942401" y="885977"/>
                      </a:lnTo>
                      <a:lnTo>
                        <a:pt x="1941245" y="885088"/>
                      </a:lnTo>
                      <a:lnTo>
                        <a:pt x="1940623" y="886294"/>
                      </a:lnTo>
                      <a:lnTo>
                        <a:pt x="1939620" y="885583"/>
                      </a:lnTo>
                      <a:lnTo>
                        <a:pt x="1938782" y="884961"/>
                      </a:lnTo>
                      <a:lnTo>
                        <a:pt x="1939048" y="884301"/>
                      </a:lnTo>
                      <a:lnTo>
                        <a:pt x="1939315" y="883704"/>
                      </a:lnTo>
                      <a:lnTo>
                        <a:pt x="1939366" y="883373"/>
                      </a:lnTo>
                      <a:lnTo>
                        <a:pt x="1939112" y="883005"/>
                      </a:lnTo>
                      <a:lnTo>
                        <a:pt x="1937727" y="881202"/>
                      </a:lnTo>
                      <a:lnTo>
                        <a:pt x="1936343" y="883704"/>
                      </a:lnTo>
                      <a:lnTo>
                        <a:pt x="1935035" y="884301"/>
                      </a:lnTo>
                      <a:lnTo>
                        <a:pt x="1935048" y="883945"/>
                      </a:lnTo>
                      <a:lnTo>
                        <a:pt x="1935111" y="882662"/>
                      </a:lnTo>
                      <a:lnTo>
                        <a:pt x="1934032" y="883932"/>
                      </a:lnTo>
                      <a:lnTo>
                        <a:pt x="1933727" y="883945"/>
                      </a:lnTo>
                      <a:lnTo>
                        <a:pt x="1933333" y="883945"/>
                      </a:lnTo>
                      <a:lnTo>
                        <a:pt x="1932762" y="883932"/>
                      </a:lnTo>
                      <a:lnTo>
                        <a:pt x="1931441" y="883373"/>
                      </a:lnTo>
                      <a:lnTo>
                        <a:pt x="1929942" y="884593"/>
                      </a:lnTo>
                      <a:lnTo>
                        <a:pt x="1929434" y="885634"/>
                      </a:lnTo>
                      <a:lnTo>
                        <a:pt x="1927047" y="886828"/>
                      </a:lnTo>
                      <a:lnTo>
                        <a:pt x="1926666" y="886510"/>
                      </a:lnTo>
                      <a:lnTo>
                        <a:pt x="1925548" y="887691"/>
                      </a:lnTo>
                      <a:lnTo>
                        <a:pt x="1925358" y="885952"/>
                      </a:lnTo>
                      <a:lnTo>
                        <a:pt x="1925040" y="885240"/>
                      </a:lnTo>
                      <a:lnTo>
                        <a:pt x="1923313" y="886714"/>
                      </a:lnTo>
                      <a:lnTo>
                        <a:pt x="1921954" y="887831"/>
                      </a:lnTo>
                      <a:lnTo>
                        <a:pt x="1920925" y="889723"/>
                      </a:lnTo>
                      <a:lnTo>
                        <a:pt x="1917865" y="890130"/>
                      </a:lnTo>
                      <a:lnTo>
                        <a:pt x="1915515" y="888771"/>
                      </a:lnTo>
                      <a:lnTo>
                        <a:pt x="1911896" y="890371"/>
                      </a:lnTo>
                      <a:lnTo>
                        <a:pt x="1911934" y="897890"/>
                      </a:lnTo>
                      <a:lnTo>
                        <a:pt x="1910041" y="902652"/>
                      </a:lnTo>
                      <a:lnTo>
                        <a:pt x="1908378" y="904684"/>
                      </a:lnTo>
                      <a:lnTo>
                        <a:pt x="1906498" y="907605"/>
                      </a:lnTo>
                      <a:lnTo>
                        <a:pt x="1905723" y="908989"/>
                      </a:lnTo>
                      <a:lnTo>
                        <a:pt x="1908086" y="919988"/>
                      </a:lnTo>
                      <a:lnTo>
                        <a:pt x="1909076" y="924839"/>
                      </a:lnTo>
                      <a:lnTo>
                        <a:pt x="1909927" y="928789"/>
                      </a:lnTo>
                      <a:lnTo>
                        <a:pt x="1910283" y="932167"/>
                      </a:lnTo>
                      <a:lnTo>
                        <a:pt x="1913940" y="937590"/>
                      </a:lnTo>
                      <a:lnTo>
                        <a:pt x="1913940" y="938288"/>
                      </a:lnTo>
                      <a:lnTo>
                        <a:pt x="1912289" y="943381"/>
                      </a:lnTo>
                      <a:lnTo>
                        <a:pt x="1912975" y="945972"/>
                      </a:lnTo>
                      <a:lnTo>
                        <a:pt x="1911388" y="949312"/>
                      </a:lnTo>
                      <a:lnTo>
                        <a:pt x="1911121" y="950671"/>
                      </a:lnTo>
                      <a:lnTo>
                        <a:pt x="1910626" y="951534"/>
                      </a:lnTo>
                      <a:lnTo>
                        <a:pt x="1910016" y="952690"/>
                      </a:lnTo>
                      <a:lnTo>
                        <a:pt x="1909191" y="952995"/>
                      </a:lnTo>
                      <a:lnTo>
                        <a:pt x="1908035" y="955446"/>
                      </a:lnTo>
                      <a:lnTo>
                        <a:pt x="1907578" y="956144"/>
                      </a:lnTo>
                      <a:lnTo>
                        <a:pt x="1906727" y="957173"/>
                      </a:lnTo>
                      <a:lnTo>
                        <a:pt x="1905152" y="959192"/>
                      </a:lnTo>
                      <a:lnTo>
                        <a:pt x="1905889" y="962329"/>
                      </a:lnTo>
                      <a:lnTo>
                        <a:pt x="1902561" y="966127"/>
                      </a:lnTo>
                      <a:lnTo>
                        <a:pt x="1899907" y="963917"/>
                      </a:lnTo>
                      <a:lnTo>
                        <a:pt x="1899361" y="968209"/>
                      </a:lnTo>
                      <a:lnTo>
                        <a:pt x="1899640" y="969060"/>
                      </a:lnTo>
                      <a:lnTo>
                        <a:pt x="1899208" y="970648"/>
                      </a:lnTo>
                      <a:lnTo>
                        <a:pt x="1899056" y="970343"/>
                      </a:lnTo>
                      <a:lnTo>
                        <a:pt x="1897634" y="972413"/>
                      </a:lnTo>
                      <a:lnTo>
                        <a:pt x="1897672" y="973048"/>
                      </a:lnTo>
                      <a:lnTo>
                        <a:pt x="1897316" y="974521"/>
                      </a:lnTo>
                      <a:lnTo>
                        <a:pt x="1897253" y="974369"/>
                      </a:lnTo>
                      <a:lnTo>
                        <a:pt x="1896935" y="974001"/>
                      </a:lnTo>
                      <a:lnTo>
                        <a:pt x="1896008" y="976172"/>
                      </a:lnTo>
                      <a:lnTo>
                        <a:pt x="1895894" y="979157"/>
                      </a:lnTo>
                      <a:lnTo>
                        <a:pt x="1896325" y="981506"/>
                      </a:lnTo>
                      <a:lnTo>
                        <a:pt x="1897253" y="986853"/>
                      </a:lnTo>
                      <a:lnTo>
                        <a:pt x="1901685" y="995743"/>
                      </a:lnTo>
                      <a:lnTo>
                        <a:pt x="1902180" y="996835"/>
                      </a:lnTo>
                      <a:lnTo>
                        <a:pt x="1903145" y="998143"/>
                      </a:lnTo>
                      <a:lnTo>
                        <a:pt x="1903374" y="999985"/>
                      </a:lnTo>
                      <a:lnTo>
                        <a:pt x="1902218" y="999985"/>
                      </a:lnTo>
                      <a:lnTo>
                        <a:pt x="1901952" y="1000442"/>
                      </a:lnTo>
                      <a:lnTo>
                        <a:pt x="1901367" y="1001560"/>
                      </a:lnTo>
                      <a:lnTo>
                        <a:pt x="1902104" y="1002982"/>
                      </a:lnTo>
                      <a:lnTo>
                        <a:pt x="1902447" y="1006665"/>
                      </a:lnTo>
                      <a:lnTo>
                        <a:pt x="1901723" y="1009586"/>
                      </a:lnTo>
                      <a:lnTo>
                        <a:pt x="1902879" y="1012050"/>
                      </a:lnTo>
                      <a:lnTo>
                        <a:pt x="1903996" y="1014349"/>
                      </a:lnTo>
                      <a:lnTo>
                        <a:pt x="1905685" y="1016368"/>
                      </a:lnTo>
                      <a:lnTo>
                        <a:pt x="1907730" y="1020965"/>
                      </a:lnTo>
                      <a:lnTo>
                        <a:pt x="1907692" y="1021118"/>
                      </a:lnTo>
                      <a:lnTo>
                        <a:pt x="1915795" y="1025817"/>
                      </a:lnTo>
                      <a:lnTo>
                        <a:pt x="1921852" y="1031455"/>
                      </a:lnTo>
                      <a:lnTo>
                        <a:pt x="1932330" y="1028992"/>
                      </a:lnTo>
                      <a:lnTo>
                        <a:pt x="1935416" y="1025550"/>
                      </a:lnTo>
                      <a:lnTo>
                        <a:pt x="1942084" y="1023175"/>
                      </a:lnTo>
                      <a:lnTo>
                        <a:pt x="1944636" y="1024242"/>
                      </a:lnTo>
                      <a:lnTo>
                        <a:pt x="1947087" y="1023175"/>
                      </a:lnTo>
                      <a:lnTo>
                        <a:pt x="1948764" y="1022451"/>
                      </a:lnTo>
                      <a:lnTo>
                        <a:pt x="1949411" y="1022362"/>
                      </a:lnTo>
                      <a:lnTo>
                        <a:pt x="1954428" y="1011466"/>
                      </a:lnTo>
                      <a:lnTo>
                        <a:pt x="1955736" y="1009015"/>
                      </a:lnTo>
                      <a:lnTo>
                        <a:pt x="1966188" y="974521"/>
                      </a:lnTo>
                      <a:lnTo>
                        <a:pt x="1967369" y="970648"/>
                      </a:lnTo>
                      <a:lnTo>
                        <a:pt x="1968741" y="966127"/>
                      </a:lnTo>
                      <a:lnTo>
                        <a:pt x="1975396" y="944168"/>
                      </a:lnTo>
                      <a:lnTo>
                        <a:pt x="1977682" y="936129"/>
                      </a:lnTo>
                      <a:lnTo>
                        <a:pt x="1981530" y="922972"/>
                      </a:lnTo>
                      <a:lnTo>
                        <a:pt x="1982990" y="917841"/>
                      </a:lnTo>
                      <a:lnTo>
                        <a:pt x="1985391" y="909739"/>
                      </a:lnTo>
                      <a:lnTo>
                        <a:pt x="1985162" y="907897"/>
                      </a:lnTo>
                      <a:lnTo>
                        <a:pt x="1985086" y="907034"/>
                      </a:lnTo>
                      <a:lnTo>
                        <a:pt x="1984349" y="906691"/>
                      </a:lnTo>
                      <a:lnTo>
                        <a:pt x="1985962" y="904227"/>
                      </a:lnTo>
                      <a:lnTo>
                        <a:pt x="1987245" y="902652"/>
                      </a:lnTo>
                      <a:lnTo>
                        <a:pt x="1989429" y="899807"/>
                      </a:lnTo>
                      <a:lnTo>
                        <a:pt x="1990902" y="899477"/>
                      </a:lnTo>
                      <a:lnTo>
                        <a:pt x="1988515" y="897737"/>
                      </a:lnTo>
                      <a:lnTo>
                        <a:pt x="1989124" y="896632"/>
                      </a:lnTo>
                      <a:lnTo>
                        <a:pt x="1989899" y="894156"/>
                      </a:lnTo>
                      <a:lnTo>
                        <a:pt x="1991360" y="890879"/>
                      </a:lnTo>
                      <a:close/>
                    </a:path>
                    <a:path w="2105025" h="1483995">
                      <a:moveTo>
                        <a:pt x="1993099" y="897394"/>
                      </a:moveTo>
                      <a:lnTo>
                        <a:pt x="1992172" y="899185"/>
                      </a:lnTo>
                      <a:lnTo>
                        <a:pt x="1990471" y="902843"/>
                      </a:lnTo>
                      <a:lnTo>
                        <a:pt x="1991436" y="901001"/>
                      </a:lnTo>
                      <a:lnTo>
                        <a:pt x="1992363" y="899337"/>
                      </a:lnTo>
                      <a:lnTo>
                        <a:pt x="1993099" y="897394"/>
                      </a:lnTo>
                      <a:close/>
                    </a:path>
                    <a:path w="2105025" h="1483995">
                      <a:moveTo>
                        <a:pt x="2000199" y="873480"/>
                      </a:moveTo>
                      <a:lnTo>
                        <a:pt x="1999488" y="872020"/>
                      </a:lnTo>
                      <a:lnTo>
                        <a:pt x="1998383" y="869721"/>
                      </a:lnTo>
                      <a:lnTo>
                        <a:pt x="1998027" y="868387"/>
                      </a:lnTo>
                      <a:lnTo>
                        <a:pt x="1997278" y="865670"/>
                      </a:lnTo>
                      <a:lnTo>
                        <a:pt x="1994141" y="850620"/>
                      </a:lnTo>
                      <a:lnTo>
                        <a:pt x="1994052" y="849617"/>
                      </a:lnTo>
                      <a:lnTo>
                        <a:pt x="1993950" y="848334"/>
                      </a:lnTo>
                      <a:lnTo>
                        <a:pt x="1992134" y="844296"/>
                      </a:lnTo>
                      <a:lnTo>
                        <a:pt x="1991436" y="842695"/>
                      </a:lnTo>
                      <a:lnTo>
                        <a:pt x="1989874" y="841654"/>
                      </a:lnTo>
                      <a:lnTo>
                        <a:pt x="1987194" y="838771"/>
                      </a:lnTo>
                      <a:lnTo>
                        <a:pt x="1984959" y="835202"/>
                      </a:lnTo>
                      <a:lnTo>
                        <a:pt x="1984235" y="834097"/>
                      </a:lnTo>
                      <a:lnTo>
                        <a:pt x="1983714" y="832777"/>
                      </a:lnTo>
                      <a:lnTo>
                        <a:pt x="1983270" y="831659"/>
                      </a:lnTo>
                      <a:lnTo>
                        <a:pt x="1981835" y="832777"/>
                      </a:lnTo>
                      <a:lnTo>
                        <a:pt x="1982152" y="831964"/>
                      </a:lnTo>
                      <a:lnTo>
                        <a:pt x="1982914" y="831037"/>
                      </a:lnTo>
                      <a:lnTo>
                        <a:pt x="1983727" y="831164"/>
                      </a:lnTo>
                      <a:lnTo>
                        <a:pt x="1983689" y="831037"/>
                      </a:lnTo>
                      <a:lnTo>
                        <a:pt x="1983384" y="829932"/>
                      </a:lnTo>
                      <a:lnTo>
                        <a:pt x="1982800" y="828763"/>
                      </a:lnTo>
                      <a:lnTo>
                        <a:pt x="1982304" y="827595"/>
                      </a:lnTo>
                      <a:lnTo>
                        <a:pt x="1980641" y="829525"/>
                      </a:lnTo>
                      <a:lnTo>
                        <a:pt x="1979142" y="831761"/>
                      </a:lnTo>
                      <a:lnTo>
                        <a:pt x="1976564" y="834110"/>
                      </a:lnTo>
                      <a:lnTo>
                        <a:pt x="1974557" y="834199"/>
                      </a:lnTo>
                      <a:lnTo>
                        <a:pt x="1976869" y="836549"/>
                      </a:lnTo>
                      <a:lnTo>
                        <a:pt x="1976716" y="837006"/>
                      </a:lnTo>
                      <a:lnTo>
                        <a:pt x="1977326" y="838860"/>
                      </a:lnTo>
                      <a:lnTo>
                        <a:pt x="1978291" y="841654"/>
                      </a:lnTo>
                      <a:lnTo>
                        <a:pt x="1976564" y="842746"/>
                      </a:lnTo>
                      <a:lnTo>
                        <a:pt x="1975700" y="846988"/>
                      </a:lnTo>
                      <a:lnTo>
                        <a:pt x="1976602" y="847369"/>
                      </a:lnTo>
                      <a:lnTo>
                        <a:pt x="1974900" y="848398"/>
                      </a:lnTo>
                      <a:lnTo>
                        <a:pt x="1973935" y="849007"/>
                      </a:lnTo>
                      <a:lnTo>
                        <a:pt x="1971967" y="849617"/>
                      </a:lnTo>
                      <a:lnTo>
                        <a:pt x="1971471" y="848258"/>
                      </a:lnTo>
                      <a:lnTo>
                        <a:pt x="1971497" y="849007"/>
                      </a:lnTo>
                      <a:lnTo>
                        <a:pt x="1972119" y="850188"/>
                      </a:lnTo>
                      <a:lnTo>
                        <a:pt x="1971471" y="850442"/>
                      </a:lnTo>
                      <a:lnTo>
                        <a:pt x="1971103" y="850620"/>
                      </a:lnTo>
                      <a:lnTo>
                        <a:pt x="1969427" y="850607"/>
                      </a:lnTo>
                      <a:lnTo>
                        <a:pt x="1968881" y="852030"/>
                      </a:lnTo>
                      <a:lnTo>
                        <a:pt x="1968804" y="855687"/>
                      </a:lnTo>
                      <a:lnTo>
                        <a:pt x="1966925" y="853427"/>
                      </a:lnTo>
                      <a:lnTo>
                        <a:pt x="1966607" y="853109"/>
                      </a:lnTo>
                      <a:lnTo>
                        <a:pt x="1966531" y="852030"/>
                      </a:lnTo>
                      <a:lnTo>
                        <a:pt x="1966455" y="851865"/>
                      </a:lnTo>
                      <a:lnTo>
                        <a:pt x="1966264" y="851408"/>
                      </a:lnTo>
                      <a:lnTo>
                        <a:pt x="1966074" y="851865"/>
                      </a:lnTo>
                      <a:lnTo>
                        <a:pt x="1965579" y="851408"/>
                      </a:lnTo>
                      <a:lnTo>
                        <a:pt x="1964829" y="850658"/>
                      </a:lnTo>
                      <a:lnTo>
                        <a:pt x="1964994" y="850582"/>
                      </a:lnTo>
                      <a:lnTo>
                        <a:pt x="1964067" y="850341"/>
                      </a:lnTo>
                      <a:lnTo>
                        <a:pt x="1961311" y="852246"/>
                      </a:lnTo>
                      <a:lnTo>
                        <a:pt x="1961261" y="852398"/>
                      </a:lnTo>
                      <a:lnTo>
                        <a:pt x="1966036" y="858672"/>
                      </a:lnTo>
                      <a:lnTo>
                        <a:pt x="1964486" y="861644"/>
                      </a:lnTo>
                      <a:lnTo>
                        <a:pt x="1964423" y="860996"/>
                      </a:lnTo>
                      <a:lnTo>
                        <a:pt x="1964461" y="860094"/>
                      </a:lnTo>
                      <a:lnTo>
                        <a:pt x="1964728" y="859129"/>
                      </a:lnTo>
                      <a:lnTo>
                        <a:pt x="1963254" y="858786"/>
                      </a:lnTo>
                      <a:lnTo>
                        <a:pt x="1963216" y="859307"/>
                      </a:lnTo>
                      <a:lnTo>
                        <a:pt x="1963915" y="860844"/>
                      </a:lnTo>
                      <a:lnTo>
                        <a:pt x="1962023" y="860996"/>
                      </a:lnTo>
                      <a:lnTo>
                        <a:pt x="1961642" y="860094"/>
                      </a:lnTo>
                      <a:lnTo>
                        <a:pt x="1961045" y="861644"/>
                      </a:lnTo>
                      <a:lnTo>
                        <a:pt x="1960702" y="862609"/>
                      </a:lnTo>
                      <a:lnTo>
                        <a:pt x="1959864" y="865365"/>
                      </a:lnTo>
                      <a:lnTo>
                        <a:pt x="1961095" y="866317"/>
                      </a:lnTo>
                      <a:lnTo>
                        <a:pt x="1963026" y="865670"/>
                      </a:lnTo>
                      <a:lnTo>
                        <a:pt x="1964524" y="866495"/>
                      </a:lnTo>
                      <a:lnTo>
                        <a:pt x="1964778" y="867359"/>
                      </a:lnTo>
                      <a:lnTo>
                        <a:pt x="1964486" y="868387"/>
                      </a:lnTo>
                      <a:lnTo>
                        <a:pt x="1964334" y="867968"/>
                      </a:lnTo>
                      <a:lnTo>
                        <a:pt x="1964182" y="867359"/>
                      </a:lnTo>
                      <a:lnTo>
                        <a:pt x="1964016" y="867041"/>
                      </a:lnTo>
                      <a:lnTo>
                        <a:pt x="1963597" y="866203"/>
                      </a:lnTo>
                      <a:lnTo>
                        <a:pt x="1963445" y="867041"/>
                      </a:lnTo>
                      <a:lnTo>
                        <a:pt x="1961286" y="866305"/>
                      </a:lnTo>
                      <a:lnTo>
                        <a:pt x="1959902" y="866470"/>
                      </a:lnTo>
                      <a:lnTo>
                        <a:pt x="1957552" y="870445"/>
                      </a:lnTo>
                      <a:lnTo>
                        <a:pt x="1955965" y="872020"/>
                      </a:lnTo>
                      <a:lnTo>
                        <a:pt x="1956003" y="870585"/>
                      </a:lnTo>
                      <a:lnTo>
                        <a:pt x="1957247" y="870077"/>
                      </a:lnTo>
                      <a:lnTo>
                        <a:pt x="1956777" y="867016"/>
                      </a:lnTo>
                      <a:lnTo>
                        <a:pt x="1956435" y="867156"/>
                      </a:lnTo>
                      <a:lnTo>
                        <a:pt x="1954072" y="869721"/>
                      </a:lnTo>
                      <a:lnTo>
                        <a:pt x="1951418" y="874712"/>
                      </a:lnTo>
                      <a:lnTo>
                        <a:pt x="1951647" y="876477"/>
                      </a:lnTo>
                      <a:lnTo>
                        <a:pt x="1951609" y="876147"/>
                      </a:lnTo>
                      <a:lnTo>
                        <a:pt x="1953082" y="878128"/>
                      </a:lnTo>
                      <a:lnTo>
                        <a:pt x="1953387" y="878255"/>
                      </a:lnTo>
                      <a:lnTo>
                        <a:pt x="1952244" y="878992"/>
                      </a:lnTo>
                      <a:lnTo>
                        <a:pt x="1988337" y="878992"/>
                      </a:lnTo>
                      <a:lnTo>
                        <a:pt x="1991436" y="877125"/>
                      </a:lnTo>
                      <a:lnTo>
                        <a:pt x="1992363" y="880173"/>
                      </a:lnTo>
                      <a:lnTo>
                        <a:pt x="1995690" y="887437"/>
                      </a:lnTo>
                      <a:lnTo>
                        <a:pt x="1998573" y="882256"/>
                      </a:lnTo>
                      <a:lnTo>
                        <a:pt x="1999945" y="879411"/>
                      </a:lnTo>
                      <a:lnTo>
                        <a:pt x="2000072" y="878992"/>
                      </a:lnTo>
                      <a:lnTo>
                        <a:pt x="2000110" y="877125"/>
                      </a:lnTo>
                      <a:lnTo>
                        <a:pt x="2000135" y="876147"/>
                      </a:lnTo>
                      <a:lnTo>
                        <a:pt x="2000199" y="873480"/>
                      </a:lnTo>
                      <a:close/>
                    </a:path>
                    <a:path w="2105025" h="1483995">
                      <a:moveTo>
                        <a:pt x="2013140" y="505637"/>
                      </a:moveTo>
                      <a:lnTo>
                        <a:pt x="2012022" y="505091"/>
                      </a:lnTo>
                      <a:lnTo>
                        <a:pt x="2010879" y="504545"/>
                      </a:lnTo>
                      <a:lnTo>
                        <a:pt x="2009825" y="504151"/>
                      </a:lnTo>
                      <a:lnTo>
                        <a:pt x="2009559" y="504571"/>
                      </a:lnTo>
                      <a:lnTo>
                        <a:pt x="2008593" y="505218"/>
                      </a:lnTo>
                      <a:lnTo>
                        <a:pt x="2008822" y="505091"/>
                      </a:lnTo>
                      <a:lnTo>
                        <a:pt x="2007743" y="505726"/>
                      </a:lnTo>
                      <a:lnTo>
                        <a:pt x="2007400" y="505891"/>
                      </a:lnTo>
                      <a:lnTo>
                        <a:pt x="2007666" y="505396"/>
                      </a:lnTo>
                      <a:lnTo>
                        <a:pt x="2007933" y="505510"/>
                      </a:lnTo>
                      <a:lnTo>
                        <a:pt x="2008238" y="505396"/>
                      </a:lnTo>
                      <a:lnTo>
                        <a:pt x="2008365" y="505345"/>
                      </a:lnTo>
                      <a:lnTo>
                        <a:pt x="2008593" y="505218"/>
                      </a:lnTo>
                      <a:lnTo>
                        <a:pt x="2008441" y="504393"/>
                      </a:lnTo>
                      <a:lnTo>
                        <a:pt x="2009292" y="503961"/>
                      </a:lnTo>
                      <a:lnTo>
                        <a:pt x="2009406" y="503288"/>
                      </a:lnTo>
                      <a:lnTo>
                        <a:pt x="2009127" y="502729"/>
                      </a:lnTo>
                      <a:lnTo>
                        <a:pt x="2008784" y="499567"/>
                      </a:lnTo>
                      <a:lnTo>
                        <a:pt x="2008289" y="496938"/>
                      </a:lnTo>
                      <a:lnTo>
                        <a:pt x="2008251" y="491401"/>
                      </a:lnTo>
                      <a:lnTo>
                        <a:pt x="2010092" y="488365"/>
                      </a:lnTo>
                      <a:lnTo>
                        <a:pt x="2011108" y="485482"/>
                      </a:lnTo>
                      <a:lnTo>
                        <a:pt x="2008593" y="484720"/>
                      </a:lnTo>
                      <a:lnTo>
                        <a:pt x="2003818" y="482219"/>
                      </a:lnTo>
                      <a:lnTo>
                        <a:pt x="2000923" y="484720"/>
                      </a:lnTo>
                      <a:lnTo>
                        <a:pt x="2000808" y="485622"/>
                      </a:lnTo>
                      <a:lnTo>
                        <a:pt x="2000300" y="486181"/>
                      </a:lnTo>
                      <a:lnTo>
                        <a:pt x="1998573" y="488238"/>
                      </a:lnTo>
                      <a:lnTo>
                        <a:pt x="1993404" y="488886"/>
                      </a:lnTo>
                      <a:lnTo>
                        <a:pt x="1976983" y="494144"/>
                      </a:lnTo>
                      <a:lnTo>
                        <a:pt x="1955114" y="495122"/>
                      </a:lnTo>
                      <a:lnTo>
                        <a:pt x="1953768" y="496036"/>
                      </a:lnTo>
                      <a:lnTo>
                        <a:pt x="1951075" y="497751"/>
                      </a:lnTo>
                      <a:lnTo>
                        <a:pt x="1950250" y="498436"/>
                      </a:lnTo>
                      <a:lnTo>
                        <a:pt x="1946668" y="499757"/>
                      </a:lnTo>
                      <a:lnTo>
                        <a:pt x="1943354" y="502729"/>
                      </a:lnTo>
                      <a:lnTo>
                        <a:pt x="1939963" y="501891"/>
                      </a:lnTo>
                      <a:lnTo>
                        <a:pt x="1939340" y="501154"/>
                      </a:lnTo>
                      <a:lnTo>
                        <a:pt x="1937537" y="500545"/>
                      </a:lnTo>
                      <a:lnTo>
                        <a:pt x="1934603" y="499935"/>
                      </a:lnTo>
                      <a:lnTo>
                        <a:pt x="1929625" y="502132"/>
                      </a:lnTo>
                      <a:lnTo>
                        <a:pt x="1925624" y="503986"/>
                      </a:lnTo>
                      <a:lnTo>
                        <a:pt x="1919871" y="506323"/>
                      </a:lnTo>
                      <a:lnTo>
                        <a:pt x="1917014" y="506082"/>
                      </a:lnTo>
                      <a:lnTo>
                        <a:pt x="1913051" y="506361"/>
                      </a:lnTo>
                      <a:lnTo>
                        <a:pt x="1911273" y="505891"/>
                      </a:lnTo>
                      <a:lnTo>
                        <a:pt x="1907184" y="502361"/>
                      </a:lnTo>
                      <a:lnTo>
                        <a:pt x="1904060" y="500265"/>
                      </a:lnTo>
                      <a:lnTo>
                        <a:pt x="1901469" y="496912"/>
                      </a:lnTo>
                      <a:lnTo>
                        <a:pt x="1899704" y="493433"/>
                      </a:lnTo>
                      <a:lnTo>
                        <a:pt x="1898675" y="492594"/>
                      </a:lnTo>
                      <a:lnTo>
                        <a:pt x="1897240" y="491566"/>
                      </a:lnTo>
                      <a:lnTo>
                        <a:pt x="1897519" y="491070"/>
                      </a:lnTo>
                      <a:lnTo>
                        <a:pt x="1896465" y="490474"/>
                      </a:lnTo>
                      <a:lnTo>
                        <a:pt x="1895983" y="491566"/>
                      </a:lnTo>
                      <a:lnTo>
                        <a:pt x="1894027" y="495731"/>
                      </a:lnTo>
                      <a:lnTo>
                        <a:pt x="1891753" y="497598"/>
                      </a:lnTo>
                      <a:lnTo>
                        <a:pt x="1890242" y="499935"/>
                      </a:lnTo>
                      <a:lnTo>
                        <a:pt x="1889848" y="500545"/>
                      </a:lnTo>
                      <a:lnTo>
                        <a:pt x="1889683" y="500862"/>
                      </a:lnTo>
                      <a:lnTo>
                        <a:pt x="1887943" y="502856"/>
                      </a:lnTo>
                      <a:lnTo>
                        <a:pt x="1887867" y="503986"/>
                      </a:lnTo>
                      <a:lnTo>
                        <a:pt x="1889772" y="506082"/>
                      </a:lnTo>
                      <a:lnTo>
                        <a:pt x="1890255" y="506857"/>
                      </a:lnTo>
                      <a:lnTo>
                        <a:pt x="1891804" y="509257"/>
                      </a:lnTo>
                      <a:lnTo>
                        <a:pt x="1896084" y="516077"/>
                      </a:lnTo>
                      <a:lnTo>
                        <a:pt x="1897354" y="518807"/>
                      </a:lnTo>
                      <a:lnTo>
                        <a:pt x="1900542" y="522160"/>
                      </a:lnTo>
                      <a:lnTo>
                        <a:pt x="1903031" y="523544"/>
                      </a:lnTo>
                      <a:lnTo>
                        <a:pt x="1905127" y="524891"/>
                      </a:lnTo>
                      <a:lnTo>
                        <a:pt x="1906181" y="525691"/>
                      </a:lnTo>
                      <a:lnTo>
                        <a:pt x="1909356" y="527850"/>
                      </a:lnTo>
                      <a:lnTo>
                        <a:pt x="1913166" y="528497"/>
                      </a:lnTo>
                      <a:lnTo>
                        <a:pt x="1944547" y="539178"/>
                      </a:lnTo>
                      <a:lnTo>
                        <a:pt x="1947697" y="540931"/>
                      </a:lnTo>
                      <a:lnTo>
                        <a:pt x="1950275" y="540994"/>
                      </a:lnTo>
                      <a:lnTo>
                        <a:pt x="1954631" y="541934"/>
                      </a:lnTo>
                      <a:lnTo>
                        <a:pt x="1959978" y="541020"/>
                      </a:lnTo>
                      <a:lnTo>
                        <a:pt x="1964321" y="541020"/>
                      </a:lnTo>
                      <a:lnTo>
                        <a:pt x="1936635" y="568274"/>
                      </a:lnTo>
                      <a:lnTo>
                        <a:pt x="1927783" y="577786"/>
                      </a:lnTo>
                      <a:lnTo>
                        <a:pt x="1924761" y="581063"/>
                      </a:lnTo>
                      <a:lnTo>
                        <a:pt x="1923923" y="582015"/>
                      </a:lnTo>
                      <a:lnTo>
                        <a:pt x="1923072" y="583057"/>
                      </a:lnTo>
                      <a:lnTo>
                        <a:pt x="1919909" y="586092"/>
                      </a:lnTo>
                      <a:lnTo>
                        <a:pt x="1917014" y="585241"/>
                      </a:lnTo>
                      <a:lnTo>
                        <a:pt x="1912175" y="585000"/>
                      </a:lnTo>
                      <a:lnTo>
                        <a:pt x="1911299" y="584987"/>
                      </a:lnTo>
                      <a:lnTo>
                        <a:pt x="1910232" y="584873"/>
                      </a:lnTo>
                      <a:lnTo>
                        <a:pt x="1908619" y="584784"/>
                      </a:lnTo>
                      <a:lnTo>
                        <a:pt x="1907527" y="584873"/>
                      </a:lnTo>
                      <a:lnTo>
                        <a:pt x="1906181" y="585127"/>
                      </a:lnTo>
                      <a:lnTo>
                        <a:pt x="1905304" y="585216"/>
                      </a:lnTo>
                      <a:lnTo>
                        <a:pt x="1904415" y="585355"/>
                      </a:lnTo>
                      <a:lnTo>
                        <a:pt x="1898383" y="586638"/>
                      </a:lnTo>
                      <a:lnTo>
                        <a:pt x="1894090" y="590918"/>
                      </a:lnTo>
                      <a:lnTo>
                        <a:pt x="1889925" y="593890"/>
                      </a:lnTo>
                      <a:lnTo>
                        <a:pt x="1888896" y="594372"/>
                      </a:lnTo>
                      <a:lnTo>
                        <a:pt x="1887829" y="594728"/>
                      </a:lnTo>
                      <a:lnTo>
                        <a:pt x="1884934" y="595109"/>
                      </a:lnTo>
                      <a:lnTo>
                        <a:pt x="1882165" y="594918"/>
                      </a:lnTo>
                      <a:lnTo>
                        <a:pt x="1879777" y="595884"/>
                      </a:lnTo>
                      <a:lnTo>
                        <a:pt x="1879155" y="596468"/>
                      </a:lnTo>
                      <a:lnTo>
                        <a:pt x="1878596" y="597090"/>
                      </a:lnTo>
                      <a:lnTo>
                        <a:pt x="1878088" y="597573"/>
                      </a:lnTo>
                      <a:lnTo>
                        <a:pt x="1877606" y="598106"/>
                      </a:lnTo>
                      <a:lnTo>
                        <a:pt x="1877072" y="598792"/>
                      </a:lnTo>
                      <a:lnTo>
                        <a:pt x="1876933" y="598944"/>
                      </a:lnTo>
                      <a:lnTo>
                        <a:pt x="1877783" y="598944"/>
                      </a:lnTo>
                      <a:lnTo>
                        <a:pt x="1957070" y="598944"/>
                      </a:lnTo>
                      <a:lnTo>
                        <a:pt x="1972437" y="578561"/>
                      </a:lnTo>
                      <a:lnTo>
                        <a:pt x="1975942" y="573049"/>
                      </a:lnTo>
                      <a:lnTo>
                        <a:pt x="1979409" y="567740"/>
                      </a:lnTo>
                      <a:lnTo>
                        <a:pt x="1981873" y="561975"/>
                      </a:lnTo>
                      <a:lnTo>
                        <a:pt x="1986419" y="552488"/>
                      </a:lnTo>
                      <a:lnTo>
                        <a:pt x="1988007" y="548932"/>
                      </a:lnTo>
                      <a:lnTo>
                        <a:pt x="1989391" y="545007"/>
                      </a:lnTo>
                      <a:lnTo>
                        <a:pt x="1990547" y="541629"/>
                      </a:lnTo>
                      <a:lnTo>
                        <a:pt x="1991106" y="541020"/>
                      </a:lnTo>
                      <a:lnTo>
                        <a:pt x="1992058" y="539991"/>
                      </a:lnTo>
                      <a:lnTo>
                        <a:pt x="1997252" y="534187"/>
                      </a:lnTo>
                      <a:lnTo>
                        <a:pt x="1999068" y="530123"/>
                      </a:lnTo>
                      <a:lnTo>
                        <a:pt x="2002459" y="524459"/>
                      </a:lnTo>
                      <a:lnTo>
                        <a:pt x="2004656" y="521843"/>
                      </a:lnTo>
                      <a:lnTo>
                        <a:pt x="2004745" y="519582"/>
                      </a:lnTo>
                      <a:lnTo>
                        <a:pt x="2004860" y="517486"/>
                      </a:lnTo>
                      <a:lnTo>
                        <a:pt x="2005088" y="515594"/>
                      </a:lnTo>
                      <a:lnTo>
                        <a:pt x="2006015" y="510781"/>
                      </a:lnTo>
                      <a:lnTo>
                        <a:pt x="2004695" y="507669"/>
                      </a:lnTo>
                      <a:lnTo>
                        <a:pt x="2008047" y="506361"/>
                      </a:lnTo>
                      <a:lnTo>
                        <a:pt x="2009254" y="505891"/>
                      </a:lnTo>
                      <a:lnTo>
                        <a:pt x="2009444" y="505815"/>
                      </a:lnTo>
                      <a:lnTo>
                        <a:pt x="2011286" y="506323"/>
                      </a:lnTo>
                      <a:lnTo>
                        <a:pt x="2012657" y="505815"/>
                      </a:lnTo>
                      <a:lnTo>
                        <a:pt x="2013140" y="505637"/>
                      </a:lnTo>
                      <a:close/>
                    </a:path>
                    <a:path w="2105025" h="1483995">
                      <a:moveTo>
                        <a:pt x="2026450" y="481088"/>
                      </a:moveTo>
                      <a:lnTo>
                        <a:pt x="2025789" y="480517"/>
                      </a:lnTo>
                      <a:lnTo>
                        <a:pt x="2023757" y="479374"/>
                      </a:lnTo>
                      <a:lnTo>
                        <a:pt x="2022830" y="479806"/>
                      </a:lnTo>
                      <a:lnTo>
                        <a:pt x="2023948" y="480441"/>
                      </a:lnTo>
                      <a:lnTo>
                        <a:pt x="2025256" y="480707"/>
                      </a:lnTo>
                      <a:lnTo>
                        <a:pt x="2026450" y="481088"/>
                      </a:lnTo>
                      <a:close/>
                    </a:path>
                    <a:path w="2105025" h="1483995">
                      <a:moveTo>
                        <a:pt x="2057869" y="475208"/>
                      </a:moveTo>
                      <a:lnTo>
                        <a:pt x="2056511" y="474573"/>
                      </a:lnTo>
                      <a:lnTo>
                        <a:pt x="2054288" y="473760"/>
                      </a:lnTo>
                      <a:lnTo>
                        <a:pt x="2050656" y="472694"/>
                      </a:lnTo>
                      <a:lnTo>
                        <a:pt x="2048383" y="474116"/>
                      </a:lnTo>
                      <a:lnTo>
                        <a:pt x="2046185" y="473646"/>
                      </a:lnTo>
                      <a:lnTo>
                        <a:pt x="2045182" y="473430"/>
                      </a:lnTo>
                      <a:lnTo>
                        <a:pt x="2043988" y="472300"/>
                      </a:lnTo>
                      <a:lnTo>
                        <a:pt x="2041601" y="473583"/>
                      </a:lnTo>
                      <a:lnTo>
                        <a:pt x="2041944" y="475449"/>
                      </a:lnTo>
                      <a:lnTo>
                        <a:pt x="2040331" y="475297"/>
                      </a:lnTo>
                      <a:lnTo>
                        <a:pt x="2042299" y="476631"/>
                      </a:lnTo>
                      <a:lnTo>
                        <a:pt x="2044534" y="477608"/>
                      </a:lnTo>
                      <a:lnTo>
                        <a:pt x="2046655" y="478713"/>
                      </a:lnTo>
                      <a:lnTo>
                        <a:pt x="2049043" y="478320"/>
                      </a:lnTo>
                      <a:lnTo>
                        <a:pt x="2051037" y="478358"/>
                      </a:lnTo>
                      <a:lnTo>
                        <a:pt x="2054364" y="476923"/>
                      </a:lnTo>
                      <a:lnTo>
                        <a:pt x="2056638" y="475132"/>
                      </a:lnTo>
                      <a:lnTo>
                        <a:pt x="2057869" y="475208"/>
                      </a:lnTo>
                      <a:close/>
                    </a:path>
                    <a:path w="2105025" h="1483995">
                      <a:moveTo>
                        <a:pt x="2078469" y="966520"/>
                      </a:moveTo>
                      <a:lnTo>
                        <a:pt x="2075649" y="958735"/>
                      </a:lnTo>
                      <a:lnTo>
                        <a:pt x="2071954" y="958938"/>
                      </a:lnTo>
                      <a:lnTo>
                        <a:pt x="2065896" y="959104"/>
                      </a:lnTo>
                      <a:lnTo>
                        <a:pt x="2068207" y="965949"/>
                      </a:lnTo>
                      <a:lnTo>
                        <a:pt x="2078469" y="966520"/>
                      </a:lnTo>
                      <a:close/>
                    </a:path>
                    <a:path w="2105025" h="1483995">
                      <a:moveTo>
                        <a:pt x="2104644" y="949007"/>
                      </a:moveTo>
                      <a:lnTo>
                        <a:pt x="2103488" y="945273"/>
                      </a:lnTo>
                      <a:lnTo>
                        <a:pt x="2101481" y="945857"/>
                      </a:lnTo>
                      <a:lnTo>
                        <a:pt x="2099551" y="946899"/>
                      </a:lnTo>
                      <a:lnTo>
                        <a:pt x="2098865" y="951217"/>
                      </a:lnTo>
                      <a:lnTo>
                        <a:pt x="2098243" y="953198"/>
                      </a:lnTo>
                      <a:lnTo>
                        <a:pt x="2100592" y="953223"/>
                      </a:lnTo>
                      <a:lnTo>
                        <a:pt x="2103488" y="953617"/>
                      </a:lnTo>
                      <a:lnTo>
                        <a:pt x="2104250" y="950518"/>
                      </a:lnTo>
                      <a:lnTo>
                        <a:pt x="2104644" y="949007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590" name="object 130">
                  <a:extLst>
                    <a:ext uri="{FF2B5EF4-FFF2-40B4-BE49-F238E27FC236}">
                      <a16:creationId xmlns:a16="http://schemas.microsoft.com/office/drawing/2014/main" id="{E3A21481-E0BF-A9CB-AAF8-B0E678D26DC0}"/>
                    </a:ext>
                  </a:extLst>
                </p:cNvPr>
                <p:cNvPicPr/>
                <p:nvPr/>
              </p:nvPicPr>
              <p:blipFill>
                <a:blip r:embed="rId13" cstate="print"/>
                <a:stretch>
                  <a:fillRect/>
                </a:stretch>
              </p:blipFill>
              <p:spPr>
                <a:xfrm>
                  <a:off x="1905312" y="3322646"/>
                  <a:ext cx="75488" cy="78905"/>
                </a:xfrm>
                <a:prstGeom prst="rect">
                  <a:avLst/>
                </a:prstGeom>
              </p:spPr>
            </p:pic>
            <p:sp>
              <p:nvSpPr>
                <p:cNvPr id="591" name="object 131">
                  <a:extLst>
                    <a:ext uri="{FF2B5EF4-FFF2-40B4-BE49-F238E27FC236}">
                      <a16:creationId xmlns:a16="http://schemas.microsoft.com/office/drawing/2014/main" id="{6024AA02-4514-1A2D-E13D-3A60AACDA7BC}"/>
                    </a:ext>
                  </a:extLst>
                </p:cNvPr>
                <p:cNvSpPr/>
                <p:nvPr/>
              </p:nvSpPr>
              <p:spPr>
                <a:xfrm>
                  <a:off x="1657327" y="3132594"/>
                  <a:ext cx="125730" cy="6032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730" h="603250">
                      <a:moveTo>
                        <a:pt x="47260" y="592286"/>
                      </a:moveTo>
                      <a:lnTo>
                        <a:pt x="49872" y="598170"/>
                      </a:lnTo>
                      <a:lnTo>
                        <a:pt x="52565" y="599440"/>
                      </a:lnTo>
                      <a:lnTo>
                        <a:pt x="53174" y="600710"/>
                      </a:lnTo>
                      <a:lnTo>
                        <a:pt x="56438" y="600710"/>
                      </a:lnTo>
                      <a:lnTo>
                        <a:pt x="59258" y="603250"/>
                      </a:lnTo>
                      <a:lnTo>
                        <a:pt x="67538" y="603250"/>
                      </a:lnTo>
                      <a:lnTo>
                        <a:pt x="68008" y="601980"/>
                      </a:lnTo>
                      <a:lnTo>
                        <a:pt x="68745" y="599440"/>
                      </a:lnTo>
                      <a:lnTo>
                        <a:pt x="69151" y="598170"/>
                      </a:lnTo>
                      <a:lnTo>
                        <a:pt x="53314" y="598170"/>
                      </a:lnTo>
                      <a:lnTo>
                        <a:pt x="54190" y="595630"/>
                      </a:lnTo>
                      <a:lnTo>
                        <a:pt x="51612" y="595630"/>
                      </a:lnTo>
                      <a:lnTo>
                        <a:pt x="50558" y="594360"/>
                      </a:lnTo>
                      <a:lnTo>
                        <a:pt x="53136" y="594360"/>
                      </a:lnTo>
                      <a:lnTo>
                        <a:pt x="52975" y="593090"/>
                      </a:lnTo>
                      <a:lnTo>
                        <a:pt x="48513" y="593090"/>
                      </a:lnTo>
                      <a:lnTo>
                        <a:pt x="47260" y="592286"/>
                      </a:lnTo>
                      <a:close/>
                    </a:path>
                    <a:path w="125730" h="603250">
                      <a:moveTo>
                        <a:pt x="70611" y="582930"/>
                      </a:moveTo>
                      <a:lnTo>
                        <a:pt x="67043" y="582930"/>
                      </a:lnTo>
                      <a:lnTo>
                        <a:pt x="66332" y="584200"/>
                      </a:lnTo>
                      <a:lnTo>
                        <a:pt x="65125" y="586740"/>
                      </a:lnTo>
                      <a:lnTo>
                        <a:pt x="63906" y="588010"/>
                      </a:lnTo>
                      <a:lnTo>
                        <a:pt x="61937" y="589280"/>
                      </a:lnTo>
                      <a:lnTo>
                        <a:pt x="60667" y="589280"/>
                      </a:lnTo>
                      <a:lnTo>
                        <a:pt x="59372" y="590550"/>
                      </a:lnTo>
                      <a:lnTo>
                        <a:pt x="57848" y="590550"/>
                      </a:lnTo>
                      <a:lnTo>
                        <a:pt x="56574" y="592621"/>
                      </a:lnTo>
                      <a:lnTo>
                        <a:pt x="56921" y="593090"/>
                      </a:lnTo>
                      <a:lnTo>
                        <a:pt x="56977" y="593560"/>
                      </a:lnTo>
                      <a:lnTo>
                        <a:pt x="58153" y="594360"/>
                      </a:lnTo>
                      <a:lnTo>
                        <a:pt x="56400" y="596900"/>
                      </a:lnTo>
                      <a:lnTo>
                        <a:pt x="53314" y="598170"/>
                      </a:lnTo>
                      <a:lnTo>
                        <a:pt x="69151" y="598170"/>
                      </a:lnTo>
                      <a:lnTo>
                        <a:pt x="68859" y="596900"/>
                      </a:lnTo>
                      <a:lnTo>
                        <a:pt x="68300" y="595630"/>
                      </a:lnTo>
                      <a:lnTo>
                        <a:pt x="68338" y="593090"/>
                      </a:lnTo>
                      <a:lnTo>
                        <a:pt x="69049" y="590550"/>
                      </a:lnTo>
                      <a:lnTo>
                        <a:pt x="70357" y="588010"/>
                      </a:lnTo>
                      <a:lnTo>
                        <a:pt x="71869" y="585470"/>
                      </a:lnTo>
                      <a:lnTo>
                        <a:pt x="70015" y="584200"/>
                      </a:lnTo>
                      <a:lnTo>
                        <a:pt x="70865" y="584200"/>
                      </a:lnTo>
                      <a:lnTo>
                        <a:pt x="70611" y="582930"/>
                      </a:lnTo>
                      <a:close/>
                    </a:path>
                    <a:path w="125730" h="603250">
                      <a:moveTo>
                        <a:pt x="46062" y="594360"/>
                      </a:moveTo>
                      <a:lnTo>
                        <a:pt x="42837" y="594360"/>
                      </a:lnTo>
                      <a:lnTo>
                        <a:pt x="43751" y="596900"/>
                      </a:lnTo>
                      <a:lnTo>
                        <a:pt x="48602" y="596900"/>
                      </a:lnTo>
                      <a:lnTo>
                        <a:pt x="47713" y="595630"/>
                      </a:lnTo>
                      <a:lnTo>
                        <a:pt x="46062" y="594360"/>
                      </a:lnTo>
                      <a:close/>
                    </a:path>
                    <a:path w="125730" h="603250">
                      <a:moveTo>
                        <a:pt x="54622" y="590550"/>
                      </a:moveTo>
                      <a:lnTo>
                        <a:pt x="53022" y="591820"/>
                      </a:lnTo>
                      <a:lnTo>
                        <a:pt x="54089" y="593090"/>
                      </a:lnTo>
                      <a:lnTo>
                        <a:pt x="53479" y="594360"/>
                      </a:lnTo>
                      <a:lnTo>
                        <a:pt x="51612" y="595630"/>
                      </a:lnTo>
                      <a:lnTo>
                        <a:pt x="54190" y="595630"/>
                      </a:lnTo>
                      <a:lnTo>
                        <a:pt x="55854" y="596900"/>
                      </a:lnTo>
                      <a:lnTo>
                        <a:pt x="57073" y="594360"/>
                      </a:lnTo>
                      <a:lnTo>
                        <a:pt x="56977" y="593560"/>
                      </a:lnTo>
                      <a:lnTo>
                        <a:pt x="56286" y="593090"/>
                      </a:lnTo>
                      <a:lnTo>
                        <a:pt x="56574" y="592621"/>
                      </a:lnTo>
                      <a:lnTo>
                        <a:pt x="55981" y="591820"/>
                      </a:lnTo>
                      <a:lnTo>
                        <a:pt x="54622" y="590550"/>
                      </a:lnTo>
                      <a:close/>
                    </a:path>
                    <a:path w="125730" h="603250">
                      <a:moveTo>
                        <a:pt x="44856" y="593090"/>
                      </a:moveTo>
                      <a:lnTo>
                        <a:pt x="40424" y="593090"/>
                      </a:lnTo>
                      <a:lnTo>
                        <a:pt x="41605" y="594360"/>
                      </a:lnTo>
                      <a:lnTo>
                        <a:pt x="42671" y="595630"/>
                      </a:lnTo>
                      <a:lnTo>
                        <a:pt x="42837" y="594360"/>
                      </a:lnTo>
                      <a:lnTo>
                        <a:pt x="46062" y="594360"/>
                      </a:lnTo>
                      <a:lnTo>
                        <a:pt x="44856" y="593090"/>
                      </a:lnTo>
                      <a:close/>
                    </a:path>
                    <a:path w="125730" h="603250">
                      <a:moveTo>
                        <a:pt x="36487" y="589280"/>
                      </a:moveTo>
                      <a:lnTo>
                        <a:pt x="35356" y="589280"/>
                      </a:lnTo>
                      <a:lnTo>
                        <a:pt x="36766" y="590550"/>
                      </a:lnTo>
                      <a:lnTo>
                        <a:pt x="37718" y="591820"/>
                      </a:lnTo>
                      <a:lnTo>
                        <a:pt x="39750" y="593090"/>
                      </a:lnTo>
                      <a:lnTo>
                        <a:pt x="44856" y="593090"/>
                      </a:lnTo>
                      <a:lnTo>
                        <a:pt x="46202" y="594360"/>
                      </a:lnTo>
                      <a:lnTo>
                        <a:pt x="47129" y="593090"/>
                      </a:lnTo>
                      <a:lnTo>
                        <a:pt x="46532" y="591820"/>
                      </a:lnTo>
                      <a:lnTo>
                        <a:pt x="43205" y="591820"/>
                      </a:lnTo>
                      <a:lnTo>
                        <a:pt x="41630" y="590550"/>
                      </a:lnTo>
                      <a:lnTo>
                        <a:pt x="37312" y="590550"/>
                      </a:lnTo>
                      <a:lnTo>
                        <a:pt x="36487" y="589280"/>
                      </a:lnTo>
                      <a:close/>
                    </a:path>
                    <a:path w="125730" h="603250">
                      <a:moveTo>
                        <a:pt x="56574" y="592621"/>
                      </a:moveTo>
                      <a:lnTo>
                        <a:pt x="56286" y="593090"/>
                      </a:lnTo>
                      <a:lnTo>
                        <a:pt x="56977" y="593560"/>
                      </a:lnTo>
                      <a:lnTo>
                        <a:pt x="56921" y="593090"/>
                      </a:lnTo>
                      <a:lnTo>
                        <a:pt x="56574" y="592621"/>
                      </a:lnTo>
                      <a:close/>
                    </a:path>
                    <a:path w="125730" h="603250">
                      <a:moveTo>
                        <a:pt x="47459" y="591727"/>
                      </a:moveTo>
                      <a:lnTo>
                        <a:pt x="47053" y="591820"/>
                      </a:lnTo>
                      <a:lnTo>
                        <a:pt x="47260" y="592286"/>
                      </a:lnTo>
                      <a:lnTo>
                        <a:pt x="48513" y="593090"/>
                      </a:lnTo>
                      <a:lnTo>
                        <a:pt x="47548" y="591820"/>
                      </a:lnTo>
                      <a:close/>
                    </a:path>
                    <a:path w="125730" h="603250">
                      <a:moveTo>
                        <a:pt x="48887" y="591404"/>
                      </a:moveTo>
                      <a:lnTo>
                        <a:pt x="47459" y="591727"/>
                      </a:lnTo>
                      <a:lnTo>
                        <a:pt x="48513" y="593090"/>
                      </a:lnTo>
                      <a:lnTo>
                        <a:pt x="52975" y="593090"/>
                      </a:lnTo>
                      <a:lnTo>
                        <a:pt x="52815" y="591820"/>
                      </a:lnTo>
                      <a:lnTo>
                        <a:pt x="50139" y="591820"/>
                      </a:lnTo>
                      <a:lnTo>
                        <a:pt x="48887" y="591404"/>
                      </a:lnTo>
                      <a:close/>
                    </a:path>
                    <a:path w="125730" h="603250">
                      <a:moveTo>
                        <a:pt x="46316" y="590550"/>
                      </a:moveTo>
                      <a:lnTo>
                        <a:pt x="43357" y="590550"/>
                      </a:lnTo>
                      <a:lnTo>
                        <a:pt x="43675" y="591820"/>
                      </a:lnTo>
                      <a:lnTo>
                        <a:pt x="46532" y="591820"/>
                      </a:lnTo>
                      <a:lnTo>
                        <a:pt x="47260" y="592286"/>
                      </a:lnTo>
                      <a:lnTo>
                        <a:pt x="47053" y="591820"/>
                      </a:lnTo>
                      <a:lnTo>
                        <a:pt x="47459" y="591727"/>
                      </a:lnTo>
                      <a:lnTo>
                        <a:pt x="46316" y="590550"/>
                      </a:lnTo>
                      <a:close/>
                    </a:path>
                    <a:path w="125730" h="603250">
                      <a:moveTo>
                        <a:pt x="49606" y="591240"/>
                      </a:moveTo>
                      <a:lnTo>
                        <a:pt x="48887" y="591404"/>
                      </a:lnTo>
                      <a:lnTo>
                        <a:pt x="50139" y="591820"/>
                      </a:lnTo>
                      <a:lnTo>
                        <a:pt x="49606" y="591240"/>
                      </a:lnTo>
                      <a:close/>
                    </a:path>
                    <a:path w="125730" h="603250">
                      <a:moveTo>
                        <a:pt x="52654" y="590550"/>
                      </a:moveTo>
                      <a:lnTo>
                        <a:pt x="49606" y="591240"/>
                      </a:lnTo>
                      <a:lnTo>
                        <a:pt x="50139" y="591820"/>
                      </a:lnTo>
                      <a:lnTo>
                        <a:pt x="52815" y="591820"/>
                      </a:lnTo>
                      <a:lnTo>
                        <a:pt x="52654" y="590550"/>
                      </a:lnTo>
                      <a:close/>
                    </a:path>
                    <a:path w="125730" h="603250">
                      <a:moveTo>
                        <a:pt x="48971" y="590550"/>
                      </a:moveTo>
                      <a:lnTo>
                        <a:pt x="46316" y="590550"/>
                      </a:lnTo>
                      <a:lnTo>
                        <a:pt x="48887" y="591404"/>
                      </a:lnTo>
                      <a:lnTo>
                        <a:pt x="49606" y="591240"/>
                      </a:lnTo>
                      <a:lnTo>
                        <a:pt x="48971" y="590550"/>
                      </a:lnTo>
                      <a:close/>
                    </a:path>
                    <a:path w="125730" h="603250">
                      <a:moveTo>
                        <a:pt x="39662" y="589280"/>
                      </a:moveTo>
                      <a:lnTo>
                        <a:pt x="39065" y="589280"/>
                      </a:lnTo>
                      <a:lnTo>
                        <a:pt x="37312" y="590550"/>
                      </a:lnTo>
                      <a:lnTo>
                        <a:pt x="41401" y="590550"/>
                      </a:lnTo>
                      <a:lnTo>
                        <a:pt x="41291" y="590331"/>
                      </a:lnTo>
                      <a:lnTo>
                        <a:pt x="39662" y="589280"/>
                      </a:lnTo>
                      <a:close/>
                    </a:path>
                    <a:path w="125730" h="603250">
                      <a:moveTo>
                        <a:pt x="41291" y="590331"/>
                      </a:moveTo>
                      <a:lnTo>
                        <a:pt x="41401" y="590550"/>
                      </a:lnTo>
                      <a:lnTo>
                        <a:pt x="41630" y="590550"/>
                      </a:lnTo>
                      <a:lnTo>
                        <a:pt x="41291" y="590331"/>
                      </a:lnTo>
                      <a:close/>
                    </a:path>
                    <a:path w="125730" h="603250">
                      <a:moveTo>
                        <a:pt x="44132" y="580390"/>
                      </a:moveTo>
                      <a:lnTo>
                        <a:pt x="42722" y="581660"/>
                      </a:lnTo>
                      <a:lnTo>
                        <a:pt x="40805" y="584200"/>
                      </a:lnTo>
                      <a:lnTo>
                        <a:pt x="40119" y="588010"/>
                      </a:lnTo>
                      <a:lnTo>
                        <a:pt x="41291" y="590331"/>
                      </a:lnTo>
                      <a:lnTo>
                        <a:pt x="41630" y="590550"/>
                      </a:lnTo>
                      <a:lnTo>
                        <a:pt x="50939" y="590550"/>
                      </a:lnTo>
                      <a:lnTo>
                        <a:pt x="51346" y="589280"/>
                      </a:lnTo>
                      <a:lnTo>
                        <a:pt x="48704" y="589280"/>
                      </a:lnTo>
                      <a:lnTo>
                        <a:pt x="49085" y="588010"/>
                      </a:lnTo>
                      <a:lnTo>
                        <a:pt x="45923" y="588010"/>
                      </a:lnTo>
                      <a:lnTo>
                        <a:pt x="47866" y="586740"/>
                      </a:lnTo>
                      <a:lnTo>
                        <a:pt x="55968" y="586740"/>
                      </a:lnTo>
                      <a:lnTo>
                        <a:pt x="57251" y="585470"/>
                      </a:lnTo>
                      <a:lnTo>
                        <a:pt x="59023" y="584200"/>
                      </a:lnTo>
                      <a:lnTo>
                        <a:pt x="43548" y="584200"/>
                      </a:lnTo>
                      <a:lnTo>
                        <a:pt x="43789" y="582930"/>
                      </a:lnTo>
                      <a:lnTo>
                        <a:pt x="42049" y="582930"/>
                      </a:lnTo>
                      <a:lnTo>
                        <a:pt x="44215" y="580496"/>
                      </a:lnTo>
                      <a:close/>
                    </a:path>
                    <a:path w="125730" h="603250">
                      <a:moveTo>
                        <a:pt x="40233" y="586740"/>
                      </a:moveTo>
                      <a:lnTo>
                        <a:pt x="35013" y="586740"/>
                      </a:lnTo>
                      <a:lnTo>
                        <a:pt x="36410" y="589280"/>
                      </a:lnTo>
                      <a:lnTo>
                        <a:pt x="40233" y="586740"/>
                      </a:lnTo>
                      <a:close/>
                    </a:path>
                    <a:path w="125730" h="603250">
                      <a:moveTo>
                        <a:pt x="55968" y="586740"/>
                      </a:moveTo>
                      <a:lnTo>
                        <a:pt x="47866" y="586740"/>
                      </a:lnTo>
                      <a:lnTo>
                        <a:pt x="50418" y="588010"/>
                      </a:lnTo>
                      <a:lnTo>
                        <a:pt x="53505" y="589280"/>
                      </a:lnTo>
                      <a:lnTo>
                        <a:pt x="54127" y="588010"/>
                      </a:lnTo>
                      <a:lnTo>
                        <a:pt x="55968" y="586740"/>
                      </a:lnTo>
                      <a:close/>
                    </a:path>
                    <a:path w="125730" h="603250">
                      <a:moveTo>
                        <a:pt x="39839" y="582930"/>
                      </a:moveTo>
                      <a:lnTo>
                        <a:pt x="32511" y="582930"/>
                      </a:lnTo>
                      <a:lnTo>
                        <a:pt x="34607" y="584200"/>
                      </a:lnTo>
                      <a:lnTo>
                        <a:pt x="37210" y="584200"/>
                      </a:lnTo>
                      <a:lnTo>
                        <a:pt x="35775" y="585470"/>
                      </a:lnTo>
                      <a:lnTo>
                        <a:pt x="33667" y="586740"/>
                      </a:lnTo>
                      <a:lnTo>
                        <a:pt x="40119" y="586740"/>
                      </a:lnTo>
                      <a:lnTo>
                        <a:pt x="40233" y="585470"/>
                      </a:lnTo>
                      <a:lnTo>
                        <a:pt x="39560" y="584200"/>
                      </a:lnTo>
                      <a:lnTo>
                        <a:pt x="39839" y="582930"/>
                      </a:lnTo>
                      <a:close/>
                    </a:path>
                    <a:path w="125730" h="603250">
                      <a:moveTo>
                        <a:pt x="37210" y="584200"/>
                      </a:moveTo>
                      <a:lnTo>
                        <a:pt x="35153" y="584200"/>
                      </a:lnTo>
                      <a:lnTo>
                        <a:pt x="35534" y="585470"/>
                      </a:lnTo>
                      <a:lnTo>
                        <a:pt x="37210" y="584200"/>
                      </a:lnTo>
                      <a:close/>
                    </a:path>
                    <a:path w="125730" h="603250">
                      <a:moveTo>
                        <a:pt x="47078" y="582930"/>
                      </a:moveTo>
                      <a:lnTo>
                        <a:pt x="45084" y="582930"/>
                      </a:lnTo>
                      <a:lnTo>
                        <a:pt x="43548" y="584200"/>
                      </a:lnTo>
                      <a:lnTo>
                        <a:pt x="47650" y="584200"/>
                      </a:lnTo>
                      <a:lnTo>
                        <a:pt x="47078" y="582930"/>
                      </a:lnTo>
                      <a:close/>
                    </a:path>
                    <a:path w="125730" h="603250">
                      <a:moveTo>
                        <a:pt x="70827" y="581660"/>
                      </a:moveTo>
                      <a:lnTo>
                        <a:pt x="48577" y="581660"/>
                      </a:lnTo>
                      <a:lnTo>
                        <a:pt x="47650" y="584200"/>
                      </a:lnTo>
                      <a:lnTo>
                        <a:pt x="59023" y="584200"/>
                      </a:lnTo>
                      <a:lnTo>
                        <a:pt x="60794" y="582930"/>
                      </a:lnTo>
                      <a:lnTo>
                        <a:pt x="71793" y="582930"/>
                      </a:lnTo>
                      <a:lnTo>
                        <a:pt x="70827" y="581660"/>
                      </a:lnTo>
                      <a:close/>
                    </a:path>
                    <a:path w="125730" h="603250">
                      <a:moveTo>
                        <a:pt x="48348" y="576580"/>
                      </a:moveTo>
                      <a:lnTo>
                        <a:pt x="40589" y="576580"/>
                      </a:lnTo>
                      <a:lnTo>
                        <a:pt x="36884" y="578829"/>
                      </a:lnTo>
                      <a:lnTo>
                        <a:pt x="35953" y="580390"/>
                      </a:lnTo>
                      <a:lnTo>
                        <a:pt x="34315" y="580390"/>
                      </a:lnTo>
                      <a:lnTo>
                        <a:pt x="36169" y="582930"/>
                      </a:lnTo>
                      <a:lnTo>
                        <a:pt x="41763" y="582930"/>
                      </a:lnTo>
                      <a:lnTo>
                        <a:pt x="42722" y="581660"/>
                      </a:lnTo>
                      <a:lnTo>
                        <a:pt x="39738" y="581660"/>
                      </a:lnTo>
                      <a:lnTo>
                        <a:pt x="40043" y="580390"/>
                      </a:lnTo>
                      <a:lnTo>
                        <a:pt x="35204" y="580390"/>
                      </a:lnTo>
                      <a:lnTo>
                        <a:pt x="34966" y="579994"/>
                      </a:lnTo>
                      <a:lnTo>
                        <a:pt x="40221" y="579994"/>
                      </a:lnTo>
                      <a:lnTo>
                        <a:pt x="40614" y="579120"/>
                      </a:lnTo>
                      <a:lnTo>
                        <a:pt x="42608" y="577850"/>
                      </a:lnTo>
                      <a:lnTo>
                        <a:pt x="46024" y="577850"/>
                      </a:lnTo>
                      <a:lnTo>
                        <a:pt x="48348" y="576580"/>
                      </a:lnTo>
                      <a:close/>
                    </a:path>
                    <a:path w="125730" h="603250">
                      <a:moveTo>
                        <a:pt x="44215" y="580496"/>
                      </a:moveTo>
                      <a:lnTo>
                        <a:pt x="42049" y="582930"/>
                      </a:lnTo>
                      <a:lnTo>
                        <a:pt x="44742" y="582930"/>
                      </a:lnTo>
                      <a:lnTo>
                        <a:pt x="45123" y="581660"/>
                      </a:lnTo>
                      <a:lnTo>
                        <a:pt x="44215" y="580496"/>
                      </a:lnTo>
                      <a:close/>
                    </a:path>
                    <a:path w="125730" h="603250">
                      <a:moveTo>
                        <a:pt x="31203" y="580390"/>
                      </a:moveTo>
                      <a:lnTo>
                        <a:pt x="30924" y="580390"/>
                      </a:lnTo>
                      <a:lnTo>
                        <a:pt x="30810" y="581660"/>
                      </a:lnTo>
                      <a:lnTo>
                        <a:pt x="31203" y="580390"/>
                      </a:lnTo>
                      <a:close/>
                    </a:path>
                    <a:path w="125730" h="603250">
                      <a:moveTo>
                        <a:pt x="43459" y="579120"/>
                      </a:moveTo>
                      <a:lnTo>
                        <a:pt x="41186" y="579120"/>
                      </a:lnTo>
                      <a:lnTo>
                        <a:pt x="40703" y="580390"/>
                      </a:lnTo>
                      <a:lnTo>
                        <a:pt x="39738" y="581660"/>
                      </a:lnTo>
                      <a:lnTo>
                        <a:pt x="42722" y="581660"/>
                      </a:lnTo>
                      <a:lnTo>
                        <a:pt x="44132" y="580390"/>
                      </a:lnTo>
                      <a:lnTo>
                        <a:pt x="43853" y="580390"/>
                      </a:lnTo>
                      <a:lnTo>
                        <a:pt x="43459" y="579120"/>
                      </a:lnTo>
                      <a:close/>
                    </a:path>
                    <a:path w="125730" h="603250">
                      <a:moveTo>
                        <a:pt x="81051" y="579120"/>
                      </a:moveTo>
                      <a:lnTo>
                        <a:pt x="51511" y="579120"/>
                      </a:lnTo>
                      <a:lnTo>
                        <a:pt x="51295" y="581660"/>
                      </a:lnTo>
                      <a:lnTo>
                        <a:pt x="70357" y="581660"/>
                      </a:lnTo>
                      <a:lnTo>
                        <a:pt x="72618" y="580390"/>
                      </a:lnTo>
                      <a:lnTo>
                        <a:pt x="74777" y="580390"/>
                      </a:lnTo>
                      <a:lnTo>
                        <a:pt x="81051" y="579120"/>
                      </a:lnTo>
                      <a:close/>
                    </a:path>
                    <a:path w="125730" h="603250">
                      <a:moveTo>
                        <a:pt x="44310" y="580390"/>
                      </a:moveTo>
                      <a:lnTo>
                        <a:pt x="44132" y="580390"/>
                      </a:lnTo>
                      <a:lnTo>
                        <a:pt x="44310" y="580390"/>
                      </a:lnTo>
                      <a:close/>
                    </a:path>
                    <a:path w="125730" h="603250">
                      <a:moveTo>
                        <a:pt x="42659" y="575310"/>
                      </a:moveTo>
                      <a:lnTo>
                        <a:pt x="32080" y="575310"/>
                      </a:lnTo>
                      <a:lnTo>
                        <a:pt x="31978" y="576580"/>
                      </a:lnTo>
                      <a:lnTo>
                        <a:pt x="28613" y="580390"/>
                      </a:lnTo>
                      <a:lnTo>
                        <a:pt x="30746" y="579120"/>
                      </a:lnTo>
                      <a:lnTo>
                        <a:pt x="33337" y="579120"/>
                      </a:lnTo>
                      <a:lnTo>
                        <a:pt x="34061" y="577850"/>
                      </a:lnTo>
                      <a:lnTo>
                        <a:pt x="37469" y="577850"/>
                      </a:lnTo>
                      <a:lnTo>
                        <a:pt x="38226" y="576580"/>
                      </a:lnTo>
                      <a:lnTo>
                        <a:pt x="40652" y="576580"/>
                      </a:lnTo>
                      <a:lnTo>
                        <a:pt x="42659" y="575310"/>
                      </a:lnTo>
                      <a:close/>
                    </a:path>
                    <a:path w="125730" h="603250">
                      <a:moveTo>
                        <a:pt x="33058" y="579120"/>
                      </a:moveTo>
                      <a:lnTo>
                        <a:pt x="30746" y="579120"/>
                      </a:lnTo>
                      <a:lnTo>
                        <a:pt x="30899" y="580390"/>
                      </a:lnTo>
                      <a:lnTo>
                        <a:pt x="31762" y="580390"/>
                      </a:lnTo>
                      <a:lnTo>
                        <a:pt x="33058" y="579120"/>
                      </a:lnTo>
                      <a:close/>
                    </a:path>
                    <a:path w="125730" h="603250">
                      <a:moveTo>
                        <a:pt x="36884" y="578829"/>
                      </a:moveTo>
                      <a:lnTo>
                        <a:pt x="34966" y="579994"/>
                      </a:lnTo>
                      <a:lnTo>
                        <a:pt x="35204" y="580390"/>
                      </a:lnTo>
                      <a:lnTo>
                        <a:pt x="35953" y="580390"/>
                      </a:lnTo>
                      <a:lnTo>
                        <a:pt x="36884" y="578829"/>
                      </a:lnTo>
                      <a:close/>
                    </a:path>
                    <a:path w="125730" h="603250">
                      <a:moveTo>
                        <a:pt x="90322" y="568960"/>
                      </a:moveTo>
                      <a:lnTo>
                        <a:pt x="45542" y="568960"/>
                      </a:lnTo>
                      <a:lnTo>
                        <a:pt x="45731" y="569623"/>
                      </a:lnTo>
                      <a:lnTo>
                        <a:pt x="47167" y="570230"/>
                      </a:lnTo>
                      <a:lnTo>
                        <a:pt x="46810" y="573408"/>
                      </a:lnTo>
                      <a:lnTo>
                        <a:pt x="46989" y="574040"/>
                      </a:lnTo>
                      <a:lnTo>
                        <a:pt x="46730" y="574116"/>
                      </a:lnTo>
                      <a:lnTo>
                        <a:pt x="46596" y="575310"/>
                      </a:lnTo>
                      <a:lnTo>
                        <a:pt x="42786" y="575310"/>
                      </a:lnTo>
                      <a:lnTo>
                        <a:pt x="40652" y="576580"/>
                      </a:lnTo>
                      <a:lnTo>
                        <a:pt x="48348" y="576580"/>
                      </a:lnTo>
                      <a:lnTo>
                        <a:pt x="47929" y="577850"/>
                      </a:lnTo>
                      <a:lnTo>
                        <a:pt x="47332" y="577850"/>
                      </a:lnTo>
                      <a:lnTo>
                        <a:pt x="47180" y="580390"/>
                      </a:lnTo>
                      <a:lnTo>
                        <a:pt x="49441" y="579120"/>
                      </a:lnTo>
                      <a:lnTo>
                        <a:pt x="86004" y="579120"/>
                      </a:lnTo>
                      <a:lnTo>
                        <a:pt x="90944" y="574040"/>
                      </a:lnTo>
                      <a:lnTo>
                        <a:pt x="91960" y="571500"/>
                      </a:lnTo>
                      <a:lnTo>
                        <a:pt x="97078" y="571500"/>
                      </a:lnTo>
                      <a:lnTo>
                        <a:pt x="92176" y="570230"/>
                      </a:lnTo>
                      <a:lnTo>
                        <a:pt x="90322" y="568960"/>
                      </a:lnTo>
                      <a:close/>
                    </a:path>
                    <a:path w="125730" h="603250">
                      <a:moveTo>
                        <a:pt x="37469" y="577850"/>
                      </a:moveTo>
                      <a:lnTo>
                        <a:pt x="34061" y="577850"/>
                      </a:lnTo>
                      <a:lnTo>
                        <a:pt x="34442" y="579120"/>
                      </a:lnTo>
                      <a:lnTo>
                        <a:pt x="34966" y="579994"/>
                      </a:lnTo>
                      <a:lnTo>
                        <a:pt x="36884" y="578829"/>
                      </a:lnTo>
                      <a:lnTo>
                        <a:pt x="37469" y="577850"/>
                      </a:lnTo>
                      <a:close/>
                    </a:path>
                    <a:path w="125730" h="603250">
                      <a:moveTo>
                        <a:pt x="44157" y="568960"/>
                      </a:moveTo>
                      <a:lnTo>
                        <a:pt x="43002" y="568960"/>
                      </a:lnTo>
                      <a:lnTo>
                        <a:pt x="42443" y="571500"/>
                      </a:lnTo>
                      <a:lnTo>
                        <a:pt x="40957" y="572770"/>
                      </a:lnTo>
                      <a:lnTo>
                        <a:pt x="31559" y="572770"/>
                      </a:lnTo>
                      <a:lnTo>
                        <a:pt x="31165" y="574040"/>
                      </a:lnTo>
                      <a:lnTo>
                        <a:pt x="29413" y="574040"/>
                      </a:lnTo>
                      <a:lnTo>
                        <a:pt x="30391" y="576580"/>
                      </a:lnTo>
                      <a:lnTo>
                        <a:pt x="32080" y="575310"/>
                      </a:lnTo>
                      <a:lnTo>
                        <a:pt x="42659" y="575310"/>
                      </a:lnTo>
                      <a:lnTo>
                        <a:pt x="46730" y="574116"/>
                      </a:lnTo>
                      <a:lnTo>
                        <a:pt x="46810" y="573408"/>
                      </a:lnTo>
                      <a:lnTo>
                        <a:pt x="45731" y="569623"/>
                      </a:lnTo>
                      <a:lnTo>
                        <a:pt x="44157" y="568960"/>
                      </a:lnTo>
                      <a:close/>
                    </a:path>
                    <a:path w="125730" h="603250">
                      <a:moveTo>
                        <a:pt x="97078" y="571500"/>
                      </a:moveTo>
                      <a:lnTo>
                        <a:pt x="93370" y="571500"/>
                      </a:lnTo>
                      <a:lnTo>
                        <a:pt x="96367" y="572770"/>
                      </a:lnTo>
                      <a:lnTo>
                        <a:pt x="104762" y="576580"/>
                      </a:lnTo>
                      <a:lnTo>
                        <a:pt x="105409" y="575310"/>
                      </a:lnTo>
                      <a:lnTo>
                        <a:pt x="101676" y="572770"/>
                      </a:lnTo>
                      <a:lnTo>
                        <a:pt x="97078" y="571500"/>
                      </a:lnTo>
                      <a:close/>
                    </a:path>
                    <a:path w="125730" h="603250">
                      <a:moveTo>
                        <a:pt x="46810" y="573408"/>
                      </a:moveTo>
                      <a:lnTo>
                        <a:pt x="46730" y="574116"/>
                      </a:lnTo>
                      <a:lnTo>
                        <a:pt x="46989" y="574040"/>
                      </a:lnTo>
                      <a:lnTo>
                        <a:pt x="46810" y="573408"/>
                      </a:lnTo>
                      <a:close/>
                    </a:path>
                    <a:path w="125730" h="603250">
                      <a:moveTo>
                        <a:pt x="38785" y="570230"/>
                      </a:moveTo>
                      <a:lnTo>
                        <a:pt x="31114" y="570230"/>
                      </a:lnTo>
                      <a:lnTo>
                        <a:pt x="31419" y="571500"/>
                      </a:lnTo>
                      <a:lnTo>
                        <a:pt x="30721" y="572770"/>
                      </a:lnTo>
                      <a:lnTo>
                        <a:pt x="40957" y="572770"/>
                      </a:lnTo>
                      <a:lnTo>
                        <a:pt x="40735" y="571500"/>
                      </a:lnTo>
                      <a:lnTo>
                        <a:pt x="38417" y="571500"/>
                      </a:lnTo>
                      <a:lnTo>
                        <a:pt x="38785" y="570230"/>
                      </a:lnTo>
                      <a:close/>
                    </a:path>
                    <a:path w="125730" h="603250">
                      <a:moveTo>
                        <a:pt x="40512" y="570230"/>
                      </a:moveTo>
                      <a:lnTo>
                        <a:pt x="38417" y="571500"/>
                      </a:lnTo>
                      <a:lnTo>
                        <a:pt x="40735" y="571500"/>
                      </a:lnTo>
                      <a:lnTo>
                        <a:pt x="40512" y="570230"/>
                      </a:lnTo>
                      <a:close/>
                    </a:path>
                    <a:path w="125730" h="603250">
                      <a:moveTo>
                        <a:pt x="28384" y="566420"/>
                      </a:moveTo>
                      <a:lnTo>
                        <a:pt x="29883" y="570230"/>
                      </a:lnTo>
                      <a:lnTo>
                        <a:pt x="35750" y="570230"/>
                      </a:lnTo>
                      <a:lnTo>
                        <a:pt x="35432" y="568960"/>
                      </a:lnTo>
                      <a:lnTo>
                        <a:pt x="31876" y="568960"/>
                      </a:lnTo>
                      <a:lnTo>
                        <a:pt x="28384" y="566420"/>
                      </a:lnTo>
                      <a:close/>
                    </a:path>
                    <a:path w="125730" h="603250">
                      <a:moveTo>
                        <a:pt x="37223" y="566420"/>
                      </a:moveTo>
                      <a:lnTo>
                        <a:pt x="35178" y="566420"/>
                      </a:lnTo>
                      <a:lnTo>
                        <a:pt x="35826" y="567690"/>
                      </a:lnTo>
                      <a:lnTo>
                        <a:pt x="36194" y="570230"/>
                      </a:lnTo>
                      <a:lnTo>
                        <a:pt x="36404" y="569869"/>
                      </a:lnTo>
                      <a:lnTo>
                        <a:pt x="36258" y="568960"/>
                      </a:lnTo>
                      <a:lnTo>
                        <a:pt x="36931" y="568960"/>
                      </a:lnTo>
                      <a:lnTo>
                        <a:pt x="37668" y="567690"/>
                      </a:lnTo>
                      <a:lnTo>
                        <a:pt x="37223" y="566420"/>
                      </a:lnTo>
                      <a:close/>
                    </a:path>
                    <a:path w="125730" h="603250">
                      <a:moveTo>
                        <a:pt x="39636" y="568960"/>
                      </a:moveTo>
                      <a:lnTo>
                        <a:pt x="36931" y="568960"/>
                      </a:lnTo>
                      <a:lnTo>
                        <a:pt x="36546" y="569623"/>
                      </a:lnTo>
                      <a:lnTo>
                        <a:pt x="36461" y="570230"/>
                      </a:lnTo>
                      <a:lnTo>
                        <a:pt x="39420" y="570230"/>
                      </a:lnTo>
                      <a:lnTo>
                        <a:pt x="39636" y="568960"/>
                      </a:lnTo>
                      <a:close/>
                    </a:path>
                    <a:path w="125730" h="603250">
                      <a:moveTo>
                        <a:pt x="42621" y="563880"/>
                      </a:moveTo>
                      <a:lnTo>
                        <a:pt x="40537" y="568458"/>
                      </a:lnTo>
                      <a:lnTo>
                        <a:pt x="40424" y="570230"/>
                      </a:lnTo>
                      <a:lnTo>
                        <a:pt x="41440" y="570230"/>
                      </a:lnTo>
                      <a:lnTo>
                        <a:pt x="42163" y="568960"/>
                      </a:lnTo>
                      <a:lnTo>
                        <a:pt x="44157" y="568960"/>
                      </a:lnTo>
                      <a:lnTo>
                        <a:pt x="44441" y="568458"/>
                      </a:lnTo>
                      <a:lnTo>
                        <a:pt x="42621" y="563880"/>
                      </a:lnTo>
                      <a:close/>
                    </a:path>
                    <a:path w="125730" h="603250">
                      <a:moveTo>
                        <a:pt x="36931" y="568960"/>
                      </a:moveTo>
                      <a:lnTo>
                        <a:pt x="36258" y="568960"/>
                      </a:lnTo>
                      <a:lnTo>
                        <a:pt x="36404" y="569869"/>
                      </a:lnTo>
                      <a:lnTo>
                        <a:pt x="36931" y="568960"/>
                      </a:lnTo>
                      <a:close/>
                    </a:path>
                    <a:path w="125730" h="603250">
                      <a:moveTo>
                        <a:pt x="44441" y="568458"/>
                      </a:moveTo>
                      <a:lnTo>
                        <a:pt x="44157" y="568960"/>
                      </a:lnTo>
                      <a:lnTo>
                        <a:pt x="45731" y="569623"/>
                      </a:lnTo>
                      <a:lnTo>
                        <a:pt x="45542" y="568960"/>
                      </a:lnTo>
                      <a:lnTo>
                        <a:pt x="44640" y="568960"/>
                      </a:lnTo>
                      <a:lnTo>
                        <a:pt x="44441" y="568458"/>
                      </a:lnTo>
                      <a:close/>
                    </a:path>
                    <a:path w="125730" h="603250">
                      <a:moveTo>
                        <a:pt x="32118" y="565150"/>
                      </a:moveTo>
                      <a:lnTo>
                        <a:pt x="28282" y="565150"/>
                      </a:lnTo>
                      <a:lnTo>
                        <a:pt x="33439" y="568960"/>
                      </a:lnTo>
                      <a:lnTo>
                        <a:pt x="35432" y="568960"/>
                      </a:lnTo>
                      <a:lnTo>
                        <a:pt x="34912" y="567690"/>
                      </a:lnTo>
                      <a:lnTo>
                        <a:pt x="33070" y="567690"/>
                      </a:lnTo>
                      <a:lnTo>
                        <a:pt x="32118" y="565150"/>
                      </a:lnTo>
                      <a:close/>
                    </a:path>
                    <a:path w="125730" h="603250">
                      <a:moveTo>
                        <a:pt x="45592" y="566420"/>
                      </a:moveTo>
                      <a:lnTo>
                        <a:pt x="44441" y="568458"/>
                      </a:lnTo>
                      <a:lnTo>
                        <a:pt x="44640" y="568960"/>
                      </a:lnTo>
                      <a:lnTo>
                        <a:pt x="87972" y="568960"/>
                      </a:lnTo>
                      <a:lnTo>
                        <a:pt x="85788" y="567690"/>
                      </a:lnTo>
                      <a:lnTo>
                        <a:pt x="46266" y="567690"/>
                      </a:lnTo>
                      <a:lnTo>
                        <a:pt x="45592" y="566420"/>
                      </a:lnTo>
                      <a:close/>
                    </a:path>
                    <a:path w="125730" h="603250">
                      <a:moveTo>
                        <a:pt x="38379" y="562610"/>
                      </a:moveTo>
                      <a:lnTo>
                        <a:pt x="31445" y="562610"/>
                      </a:lnTo>
                      <a:lnTo>
                        <a:pt x="31407" y="563880"/>
                      </a:lnTo>
                      <a:lnTo>
                        <a:pt x="33362" y="566420"/>
                      </a:lnTo>
                      <a:lnTo>
                        <a:pt x="33693" y="567690"/>
                      </a:lnTo>
                      <a:lnTo>
                        <a:pt x="34912" y="567690"/>
                      </a:lnTo>
                      <a:lnTo>
                        <a:pt x="35178" y="566420"/>
                      </a:lnTo>
                      <a:lnTo>
                        <a:pt x="37223" y="566420"/>
                      </a:lnTo>
                      <a:lnTo>
                        <a:pt x="38404" y="565150"/>
                      </a:lnTo>
                      <a:lnTo>
                        <a:pt x="38226" y="565150"/>
                      </a:lnTo>
                      <a:lnTo>
                        <a:pt x="37134" y="563880"/>
                      </a:lnTo>
                      <a:lnTo>
                        <a:pt x="38379" y="562610"/>
                      </a:lnTo>
                      <a:close/>
                    </a:path>
                    <a:path w="125730" h="603250">
                      <a:moveTo>
                        <a:pt x="48501" y="558800"/>
                      </a:moveTo>
                      <a:lnTo>
                        <a:pt x="43891" y="558800"/>
                      </a:lnTo>
                      <a:lnTo>
                        <a:pt x="46735" y="562610"/>
                      </a:lnTo>
                      <a:lnTo>
                        <a:pt x="47955" y="565150"/>
                      </a:lnTo>
                      <a:lnTo>
                        <a:pt x="46989" y="566420"/>
                      </a:lnTo>
                      <a:lnTo>
                        <a:pt x="46266" y="567690"/>
                      </a:lnTo>
                      <a:lnTo>
                        <a:pt x="55562" y="567690"/>
                      </a:lnTo>
                      <a:lnTo>
                        <a:pt x="54851" y="566420"/>
                      </a:lnTo>
                      <a:lnTo>
                        <a:pt x="54317" y="566420"/>
                      </a:lnTo>
                      <a:lnTo>
                        <a:pt x="53949" y="565150"/>
                      </a:lnTo>
                      <a:lnTo>
                        <a:pt x="53809" y="563880"/>
                      </a:lnTo>
                      <a:lnTo>
                        <a:pt x="52679" y="562610"/>
                      </a:lnTo>
                      <a:lnTo>
                        <a:pt x="51422" y="562610"/>
                      </a:lnTo>
                      <a:lnTo>
                        <a:pt x="49631" y="561340"/>
                      </a:lnTo>
                      <a:lnTo>
                        <a:pt x="48501" y="558800"/>
                      </a:lnTo>
                      <a:close/>
                    </a:path>
                    <a:path w="125730" h="603250">
                      <a:moveTo>
                        <a:pt x="78524" y="566420"/>
                      </a:moveTo>
                      <a:lnTo>
                        <a:pt x="74167" y="567690"/>
                      </a:lnTo>
                      <a:lnTo>
                        <a:pt x="82219" y="567690"/>
                      </a:lnTo>
                      <a:lnTo>
                        <a:pt x="78524" y="566420"/>
                      </a:lnTo>
                      <a:close/>
                    </a:path>
                    <a:path w="125730" h="603250">
                      <a:moveTo>
                        <a:pt x="39254" y="564853"/>
                      </a:moveTo>
                      <a:lnTo>
                        <a:pt x="38404" y="565150"/>
                      </a:lnTo>
                      <a:lnTo>
                        <a:pt x="39192" y="565150"/>
                      </a:lnTo>
                      <a:lnTo>
                        <a:pt x="39254" y="564853"/>
                      </a:lnTo>
                      <a:close/>
                    </a:path>
                    <a:path w="125730" h="603250">
                      <a:moveTo>
                        <a:pt x="42049" y="563880"/>
                      </a:moveTo>
                      <a:lnTo>
                        <a:pt x="39458" y="563880"/>
                      </a:lnTo>
                      <a:lnTo>
                        <a:pt x="39254" y="564853"/>
                      </a:lnTo>
                      <a:lnTo>
                        <a:pt x="42049" y="563880"/>
                      </a:lnTo>
                      <a:close/>
                    </a:path>
                    <a:path w="125730" h="603250">
                      <a:moveTo>
                        <a:pt x="45072" y="561340"/>
                      </a:moveTo>
                      <a:lnTo>
                        <a:pt x="39128" y="561340"/>
                      </a:lnTo>
                      <a:lnTo>
                        <a:pt x="39992" y="563880"/>
                      </a:lnTo>
                      <a:lnTo>
                        <a:pt x="40220" y="562610"/>
                      </a:lnTo>
                      <a:lnTo>
                        <a:pt x="46215" y="562610"/>
                      </a:lnTo>
                      <a:lnTo>
                        <a:pt x="45072" y="561340"/>
                      </a:lnTo>
                      <a:close/>
                    </a:path>
                    <a:path w="125730" h="603250">
                      <a:moveTo>
                        <a:pt x="46215" y="562610"/>
                      </a:moveTo>
                      <a:lnTo>
                        <a:pt x="42659" y="562610"/>
                      </a:lnTo>
                      <a:lnTo>
                        <a:pt x="42849" y="563880"/>
                      </a:lnTo>
                      <a:lnTo>
                        <a:pt x="45084" y="563880"/>
                      </a:lnTo>
                      <a:lnTo>
                        <a:pt x="46215" y="562610"/>
                      </a:lnTo>
                      <a:close/>
                    </a:path>
                    <a:path w="125730" h="603250">
                      <a:moveTo>
                        <a:pt x="43535" y="560070"/>
                      </a:moveTo>
                      <a:lnTo>
                        <a:pt x="27787" y="560070"/>
                      </a:lnTo>
                      <a:lnTo>
                        <a:pt x="28028" y="561340"/>
                      </a:lnTo>
                      <a:lnTo>
                        <a:pt x="29641" y="562610"/>
                      </a:lnTo>
                      <a:lnTo>
                        <a:pt x="29908" y="562610"/>
                      </a:lnTo>
                      <a:lnTo>
                        <a:pt x="29895" y="561340"/>
                      </a:lnTo>
                      <a:lnTo>
                        <a:pt x="43548" y="561340"/>
                      </a:lnTo>
                      <a:lnTo>
                        <a:pt x="43535" y="560070"/>
                      </a:lnTo>
                      <a:close/>
                    </a:path>
                    <a:path w="125730" h="603250">
                      <a:moveTo>
                        <a:pt x="38290" y="561340"/>
                      </a:moveTo>
                      <a:lnTo>
                        <a:pt x="32867" y="561340"/>
                      </a:lnTo>
                      <a:lnTo>
                        <a:pt x="31813" y="562610"/>
                      </a:lnTo>
                      <a:lnTo>
                        <a:pt x="39052" y="562610"/>
                      </a:lnTo>
                      <a:lnTo>
                        <a:pt x="38290" y="561340"/>
                      </a:lnTo>
                      <a:close/>
                    </a:path>
                    <a:path w="125730" h="603250">
                      <a:moveTo>
                        <a:pt x="28371" y="556260"/>
                      </a:moveTo>
                      <a:lnTo>
                        <a:pt x="28028" y="556260"/>
                      </a:lnTo>
                      <a:lnTo>
                        <a:pt x="27381" y="557530"/>
                      </a:lnTo>
                      <a:lnTo>
                        <a:pt x="26911" y="558800"/>
                      </a:lnTo>
                      <a:lnTo>
                        <a:pt x="26822" y="560070"/>
                      </a:lnTo>
                      <a:lnTo>
                        <a:pt x="30543" y="560070"/>
                      </a:lnTo>
                      <a:lnTo>
                        <a:pt x="30175" y="558800"/>
                      </a:lnTo>
                      <a:lnTo>
                        <a:pt x="29171" y="557530"/>
                      </a:lnTo>
                      <a:lnTo>
                        <a:pt x="28371" y="556260"/>
                      </a:lnTo>
                      <a:close/>
                    </a:path>
                    <a:path w="125730" h="603250">
                      <a:moveTo>
                        <a:pt x="37299" y="556260"/>
                      </a:moveTo>
                      <a:lnTo>
                        <a:pt x="30619" y="556260"/>
                      </a:lnTo>
                      <a:lnTo>
                        <a:pt x="31216" y="557530"/>
                      </a:lnTo>
                      <a:lnTo>
                        <a:pt x="31076" y="560070"/>
                      </a:lnTo>
                      <a:lnTo>
                        <a:pt x="42049" y="560070"/>
                      </a:lnTo>
                      <a:lnTo>
                        <a:pt x="38988" y="558800"/>
                      </a:lnTo>
                      <a:lnTo>
                        <a:pt x="38315" y="557530"/>
                      </a:lnTo>
                      <a:lnTo>
                        <a:pt x="35737" y="557530"/>
                      </a:lnTo>
                      <a:lnTo>
                        <a:pt x="37299" y="556260"/>
                      </a:lnTo>
                      <a:close/>
                    </a:path>
                    <a:path w="125730" h="603250">
                      <a:moveTo>
                        <a:pt x="48958" y="556260"/>
                      </a:moveTo>
                      <a:lnTo>
                        <a:pt x="37299" y="556260"/>
                      </a:lnTo>
                      <a:lnTo>
                        <a:pt x="38557" y="557530"/>
                      </a:lnTo>
                      <a:lnTo>
                        <a:pt x="42163" y="558800"/>
                      </a:lnTo>
                      <a:lnTo>
                        <a:pt x="48120" y="558800"/>
                      </a:lnTo>
                      <a:lnTo>
                        <a:pt x="48336" y="557530"/>
                      </a:lnTo>
                      <a:lnTo>
                        <a:pt x="48958" y="556260"/>
                      </a:lnTo>
                      <a:close/>
                    </a:path>
                    <a:path w="125730" h="603250">
                      <a:moveTo>
                        <a:pt x="50025" y="552450"/>
                      </a:moveTo>
                      <a:lnTo>
                        <a:pt x="28473" y="552450"/>
                      </a:lnTo>
                      <a:lnTo>
                        <a:pt x="29336" y="553720"/>
                      </a:lnTo>
                      <a:lnTo>
                        <a:pt x="28917" y="554990"/>
                      </a:lnTo>
                      <a:lnTo>
                        <a:pt x="30098" y="556260"/>
                      </a:lnTo>
                      <a:lnTo>
                        <a:pt x="49225" y="556260"/>
                      </a:lnTo>
                      <a:lnTo>
                        <a:pt x="49733" y="554990"/>
                      </a:lnTo>
                      <a:lnTo>
                        <a:pt x="50190" y="553720"/>
                      </a:lnTo>
                      <a:lnTo>
                        <a:pt x="50025" y="552450"/>
                      </a:lnTo>
                      <a:close/>
                    </a:path>
                    <a:path w="125730" h="603250">
                      <a:moveTo>
                        <a:pt x="48386" y="549910"/>
                      </a:moveTo>
                      <a:lnTo>
                        <a:pt x="25044" y="549910"/>
                      </a:lnTo>
                      <a:lnTo>
                        <a:pt x="25311" y="551180"/>
                      </a:lnTo>
                      <a:lnTo>
                        <a:pt x="25895" y="552450"/>
                      </a:lnTo>
                      <a:lnTo>
                        <a:pt x="27838" y="553720"/>
                      </a:lnTo>
                      <a:lnTo>
                        <a:pt x="27990" y="551180"/>
                      </a:lnTo>
                      <a:lnTo>
                        <a:pt x="48374" y="551180"/>
                      </a:lnTo>
                      <a:lnTo>
                        <a:pt x="48386" y="549910"/>
                      </a:lnTo>
                      <a:close/>
                    </a:path>
                    <a:path w="125730" h="603250">
                      <a:moveTo>
                        <a:pt x="27063" y="546100"/>
                      </a:moveTo>
                      <a:lnTo>
                        <a:pt x="23279" y="546100"/>
                      </a:lnTo>
                      <a:lnTo>
                        <a:pt x="21894" y="547370"/>
                      </a:lnTo>
                      <a:lnTo>
                        <a:pt x="22123" y="549910"/>
                      </a:lnTo>
                      <a:lnTo>
                        <a:pt x="23228" y="552450"/>
                      </a:lnTo>
                      <a:lnTo>
                        <a:pt x="25323" y="552450"/>
                      </a:lnTo>
                      <a:lnTo>
                        <a:pt x="24891" y="551180"/>
                      </a:lnTo>
                      <a:lnTo>
                        <a:pt x="25044" y="549910"/>
                      </a:lnTo>
                      <a:lnTo>
                        <a:pt x="48628" y="549910"/>
                      </a:lnTo>
                      <a:lnTo>
                        <a:pt x="49682" y="548640"/>
                      </a:lnTo>
                      <a:lnTo>
                        <a:pt x="50076" y="547370"/>
                      </a:lnTo>
                      <a:lnTo>
                        <a:pt x="27495" y="547370"/>
                      </a:lnTo>
                      <a:lnTo>
                        <a:pt x="27063" y="546100"/>
                      </a:lnTo>
                      <a:close/>
                    </a:path>
                    <a:path w="125730" h="603250">
                      <a:moveTo>
                        <a:pt x="48831" y="551180"/>
                      </a:moveTo>
                      <a:lnTo>
                        <a:pt x="27990" y="551180"/>
                      </a:lnTo>
                      <a:lnTo>
                        <a:pt x="29565" y="552450"/>
                      </a:lnTo>
                      <a:lnTo>
                        <a:pt x="49123" y="552450"/>
                      </a:lnTo>
                      <a:lnTo>
                        <a:pt x="48831" y="551180"/>
                      </a:lnTo>
                      <a:close/>
                    </a:path>
                    <a:path w="125730" h="603250">
                      <a:moveTo>
                        <a:pt x="29974" y="541240"/>
                      </a:moveTo>
                      <a:lnTo>
                        <a:pt x="28930" y="543560"/>
                      </a:lnTo>
                      <a:lnTo>
                        <a:pt x="28676" y="547370"/>
                      </a:lnTo>
                      <a:lnTo>
                        <a:pt x="50076" y="547370"/>
                      </a:lnTo>
                      <a:lnTo>
                        <a:pt x="49974" y="543560"/>
                      </a:lnTo>
                      <a:lnTo>
                        <a:pt x="31343" y="543560"/>
                      </a:lnTo>
                      <a:lnTo>
                        <a:pt x="31009" y="541734"/>
                      </a:lnTo>
                      <a:lnTo>
                        <a:pt x="29974" y="541240"/>
                      </a:lnTo>
                      <a:close/>
                    </a:path>
                    <a:path w="125730" h="603250">
                      <a:moveTo>
                        <a:pt x="22961" y="538480"/>
                      </a:moveTo>
                      <a:lnTo>
                        <a:pt x="21221" y="538480"/>
                      </a:lnTo>
                      <a:lnTo>
                        <a:pt x="22339" y="541020"/>
                      </a:lnTo>
                      <a:lnTo>
                        <a:pt x="23507" y="546100"/>
                      </a:lnTo>
                      <a:lnTo>
                        <a:pt x="28219" y="543560"/>
                      </a:lnTo>
                      <a:lnTo>
                        <a:pt x="27609" y="542290"/>
                      </a:lnTo>
                      <a:lnTo>
                        <a:pt x="23748" y="542290"/>
                      </a:lnTo>
                      <a:lnTo>
                        <a:pt x="22961" y="538480"/>
                      </a:lnTo>
                      <a:close/>
                    </a:path>
                    <a:path w="125730" h="603250">
                      <a:moveTo>
                        <a:pt x="35940" y="537210"/>
                      </a:moveTo>
                      <a:lnTo>
                        <a:pt x="31419" y="537210"/>
                      </a:lnTo>
                      <a:lnTo>
                        <a:pt x="31153" y="538480"/>
                      </a:lnTo>
                      <a:lnTo>
                        <a:pt x="29349" y="539750"/>
                      </a:lnTo>
                      <a:lnTo>
                        <a:pt x="30645" y="539750"/>
                      </a:lnTo>
                      <a:lnTo>
                        <a:pt x="31009" y="541734"/>
                      </a:lnTo>
                      <a:lnTo>
                        <a:pt x="32169" y="542290"/>
                      </a:lnTo>
                      <a:lnTo>
                        <a:pt x="32638" y="542290"/>
                      </a:lnTo>
                      <a:lnTo>
                        <a:pt x="31343" y="543560"/>
                      </a:lnTo>
                      <a:lnTo>
                        <a:pt x="37071" y="543560"/>
                      </a:lnTo>
                      <a:lnTo>
                        <a:pt x="36791" y="542290"/>
                      </a:lnTo>
                      <a:lnTo>
                        <a:pt x="36372" y="541020"/>
                      </a:lnTo>
                      <a:lnTo>
                        <a:pt x="36067" y="538480"/>
                      </a:lnTo>
                      <a:lnTo>
                        <a:pt x="35940" y="537210"/>
                      </a:lnTo>
                      <a:close/>
                    </a:path>
                    <a:path w="125730" h="603250">
                      <a:moveTo>
                        <a:pt x="44297" y="541020"/>
                      </a:moveTo>
                      <a:lnTo>
                        <a:pt x="41846" y="541020"/>
                      </a:lnTo>
                      <a:lnTo>
                        <a:pt x="40995" y="542290"/>
                      </a:lnTo>
                      <a:lnTo>
                        <a:pt x="40030" y="543560"/>
                      </a:lnTo>
                      <a:lnTo>
                        <a:pt x="49949" y="543560"/>
                      </a:lnTo>
                      <a:lnTo>
                        <a:pt x="49707" y="542290"/>
                      </a:lnTo>
                      <a:lnTo>
                        <a:pt x="44246" y="542290"/>
                      </a:lnTo>
                      <a:lnTo>
                        <a:pt x="44297" y="541020"/>
                      </a:lnTo>
                      <a:close/>
                    </a:path>
                    <a:path w="125730" h="603250">
                      <a:moveTo>
                        <a:pt x="29019" y="538480"/>
                      </a:moveTo>
                      <a:lnTo>
                        <a:pt x="25552" y="538480"/>
                      </a:lnTo>
                      <a:lnTo>
                        <a:pt x="25653" y="539750"/>
                      </a:lnTo>
                      <a:lnTo>
                        <a:pt x="23986" y="539750"/>
                      </a:lnTo>
                      <a:lnTo>
                        <a:pt x="23748" y="542290"/>
                      </a:lnTo>
                      <a:lnTo>
                        <a:pt x="27609" y="542290"/>
                      </a:lnTo>
                      <a:lnTo>
                        <a:pt x="28549" y="539750"/>
                      </a:lnTo>
                      <a:lnTo>
                        <a:pt x="24891" y="539750"/>
                      </a:lnTo>
                      <a:lnTo>
                        <a:pt x="24104" y="538480"/>
                      </a:lnTo>
                      <a:lnTo>
                        <a:pt x="29019" y="538480"/>
                      </a:lnTo>
                      <a:close/>
                    </a:path>
                    <a:path w="125730" h="603250">
                      <a:moveTo>
                        <a:pt x="49529" y="539750"/>
                      </a:moveTo>
                      <a:lnTo>
                        <a:pt x="46253" y="541020"/>
                      </a:lnTo>
                      <a:lnTo>
                        <a:pt x="45402" y="541020"/>
                      </a:lnTo>
                      <a:lnTo>
                        <a:pt x="45275" y="542290"/>
                      </a:lnTo>
                      <a:lnTo>
                        <a:pt x="49707" y="542290"/>
                      </a:lnTo>
                      <a:lnTo>
                        <a:pt x="49529" y="539750"/>
                      </a:lnTo>
                      <a:close/>
                    </a:path>
                    <a:path w="125730" h="603250">
                      <a:moveTo>
                        <a:pt x="30645" y="539750"/>
                      </a:moveTo>
                      <a:lnTo>
                        <a:pt x="29974" y="541240"/>
                      </a:lnTo>
                      <a:lnTo>
                        <a:pt x="31009" y="541734"/>
                      </a:lnTo>
                      <a:lnTo>
                        <a:pt x="30645" y="539750"/>
                      </a:lnTo>
                      <a:close/>
                    </a:path>
                    <a:path w="125730" h="603250">
                      <a:moveTo>
                        <a:pt x="30645" y="539750"/>
                      </a:moveTo>
                      <a:lnTo>
                        <a:pt x="29400" y="539750"/>
                      </a:lnTo>
                      <a:lnTo>
                        <a:pt x="29514" y="541020"/>
                      </a:lnTo>
                      <a:lnTo>
                        <a:pt x="29974" y="541240"/>
                      </a:lnTo>
                      <a:lnTo>
                        <a:pt x="30645" y="539750"/>
                      </a:lnTo>
                      <a:close/>
                    </a:path>
                    <a:path w="125730" h="603250">
                      <a:moveTo>
                        <a:pt x="35534" y="535940"/>
                      </a:moveTo>
                      <a:lnTo>
                        <a:pt x="20358" y="535940"/>
                      </a:lnTo>
                      <a:lnTo>
                        <a:pt x="20573" y="538480"/>
                      </a:lnTo>
                      <a:lnTo>
                        <a:pt x="22821" y="537210"/>
                      </a:lnTo>
                      <a:lnTo>
                        <a:pt x="35940" y="537210"/>
                      </a:lnTo>
                      <a:lnTo>
                        <a:pt x="35534" y="535940"/>
                      </a:lnTo>
                      <a:close/>
                    </a:path>
                    <a:path w="125730" h="603250">
                      <a:moveTo>
                        <a:pt x="31419" y="537210"/>
                      </a:moveTo>
                      <a:lnTo>
                        <a:pt x="24206" y="537210"/>
                      </a:lnTo>
                      <a:lnTo>
                        <a:pt x="22377" y="538480"/>
                      </a:lnTo>
                      <a:lnTo>
                        <a:pt x="30060" y="538480"/>
                      </a:lnTo>
                      <a:lnTo>
                        <a:pt x="31419" y="537210"/>
                      </a:lnTo>
                      <a:close/>
                    </a:path>
                    <a:path w="125730" h="603250">
                      <a:moveTo>
                        <a:pt x="22224" y="533400"/>
                      </a:moveTo>
                      <a:lnTo>
                        <a:pt x="16916" y="533400"/>
                      </a:lnTo>
                      <a:lnTo>
                        <a:pt x="16751" y="534670"/>
                      </a:lnTo>
                      <a:lnTo>
                        <a:pt x="18605" y="535940"/>
                      </a:lnTo>
                      <a:lnTo>
                        <a:pt x="19456" y="537210"/>
                      </a:lnTo>
                      <a:lnTo>
                        <a:pt x="20358" y="535940"/>
                      </a:lnTo>
                      <a:lnTo>
                        <a:pt x="35534" y="535940"/>
                      </a:lnTo>
                      <a:lnTo>
                        <a:pt x="35394" y="534670"/>
                      </a:lnTo>
                      <a:lnTo>
                        <a:pt x="23202" y="534670"/>
                      </a:lnTo>
                      <a:lnTo>
                        <a:pt x="22224" y="533400"/>
                      </a:lnTo>
                      <a:close/>
                    </a:path>
                    <a:path w="125730" h="603250">
                      <a:moveTo>
                        <a:pt x="22188" y="533209"/>
                      </a:moveTo>
                      <a:lnTo>
                        <a:pt x="22123" y="533400"/>
                      </a:lnTo>
                      <a:lnTo>
                        <a:pt x="23202" y="534670"/>
                      </a:lnTo>
                      <a:lnTo>
                        <a:pt x="22188" y="533209"/>
                      </a:lnTo>
                      <a:close/>
                    </a:path>
                    <a:path w="125730" h="603250">
                      <a:moveTo>
                        <a:pt x="32016" y="530860"/>
                      </a:moveTo>
                      <a:lnTo>
                        <a:pt x="21551" y="530860"/>
                      </a:lnTo>
                      <a:lnTo>
                        <a:pt x="22555" y="532130"/>
                      </a:lnTo>
                      <a:lnTo>
                        <a:pt x="22188" y="533209"/>
                      </a:lnTo>
                      <a:lnTo>
                        <a:pt x="23202" y="534670"/>
                      </a:lnTo>
                      <a:lnTo>
                        <a:pt x="25717" y="534670"/>
                      </a:lnTo>
                      <a:lnTo>
                        <a:pt x="25209" y="533400"/>
                      </a:lnTo>
                      <a:lnTo>
                        <a:pt x="33058" y="533400"/>
                      </a:lnTo>
                      <a:lnTo>
                        <a:pt x="32384" y="532130"/>
                      </a:lnTo>
                      <a:lnTo>
                        <a:pt x="32194" y="532130"/>
                      </a:lnTo>
                      <a:lnTo>
                        <a:pt x="32016" y="530860"/>
                      </a:lnTo>
                      <a:close/>
                    </a:path>
                    <a:path w="125730" h="603250">
                      <a:moveTo>
                        <a:pt x="34518" y="533400"/>
                      </a:moveTo>
                      <a:lnTo>
                        <a:pt x="25476" y="533400"/>
                      </a:lnTo>
                      <a:lnTo>
                        <a:pt x="27063" y="534670"/>
                      </a:lnTo>
                      <a:lnTo>
                        <a:pt x="35217" y="534670"/>
                      </a:lnTo>
                      <a:lnTo>
                        <a:pt x="34518" y="533400"/>
                      </a:lnTo>
                      <a:close/>
                    </a:path>
                    <a:path w="125730" h="603250">
                      <a:moveTo>
                        <a:pt x="20713" y="530860"/>
                      </a:moveTo>
                      <a:lnTo>
                        <a:pt x="18821" y="530860"/>
                      </a:lnTo>
                      <a:lnTo>
                        <a:pt x="17830" y="532130"/>
                      </a:lnTo>
                      <a:lnTo>
                        <a:pt x="16040" y="532130"/>
                      </a:lnTo>
                      <a:lnTo>
                        <a:pt x="15468" y="533400"/>
                      </a:lnTo>
                      <a:lnTo>
                        <a:pt x="22123" y="533400"/>
                      </a:lnTo>
                      <a:lnTo>
                        <a:pt x="22188" y="533209"/>
                      </a:lnTo>
                      <a:lnTo>
                        <a:pt x="21437" y="532130"/>
                      </a:lnTo>
                      <a:lnTo>
                        <a:pt x="20713" y="530860"/>
                      </a:lnTo>
                      <a:close/>
                    </a:path>
                    <a:path w="125730" h="603250">
                      <a:moveTo>
                        <a:pt x="22453" y="528320"/>
                      </a:moveTo>
                      <a:lnTo>
                        <a:pt x="19710" y="528320"/>
                      </a:lnTo>
                      <a:lnTo>
                        <a:pt x="20345" y="529590"/>
                      </a:lnTo>
                      <a:lnTo>
                        <a:pt x="20929" y="530860"/>
                      </a:lnTo>
                      <a:lnTo>
                        <a:pt x="24917" y="530860"/>
                      </a:lnTo>
                      <a:lnTo>
                        <a:pt x="23571" y="529590"/>
                      </a:lnTo>
                      <a:lnTo>
                        <a:pt x="22364" y="529590"/>
                      </a:lnTo>
                      <a:lnTo>
                        <a:pt x="22453" y="528320"/>
                      </a:lnTo>
                      <a:close/>
                    </a:path>
                    <a:path w="125730" h="603250">
                      <a:moveTo>
                        <a:pt x="31622" y="527050"/>
                      </a:moveTo>
                      <a:lnTo>
                        <a:pt x="25222" y="527050"/>
                      </a:lnTo>
                      <a:lnTo>
                        <a:pt x="26517" y="528320"/>
                      </a:lnTo>
                      <a:lnTo>
                        <a:pt x="25996" y="528320"/>
                      </a:lnTo>
                      <a:lnTo>
                        <a:pt x="25374" y="528842"/>
                      </a:lnTo>
                      <a:lnTo>
                        <a:pt x="25438" y="529590"/>
                      </a:lnTo>
                      <a:lnTo>
                        <a:pt x="25907" y="529590"/>
                      </a:lnTo>
                      <a:lnTo>
                        <a:pt x="24917" y="530860"/>
                      </a:lnTo>
                      <a:lnTo>
                        <a:pt x="31915" y="530860"/>
                      </a:lnTo>
                      <a:lnTo>
                        <a:pt x="31838" y="528842"/>
                      </a:lnTo>
                      <a:lnTo>
                        <a:pt x="31622" y="527050"/>
                      </a:lnTo>
                      <a:close/>
                    </a:path>
                    <a:path w="125730" h="603250">
                      <a:moveTo>
                        <a:pt x="24893" y="529247"/>
                      </a:moveTo>
                      <a:lnTo>
                        <a:pt x="24485" y="529590"/>
                      </a:lnTo>
                      <a:lnTo>
                        <a:pt x="25438" y="529590"/>
                      </a:lnTo>
                      <a:lnTo>
                        <a:pt x="24893" y="529247"/>
                      </a:lnTo>
                      <a:close/>
                    </a:path>
                    <a:path w="125730" h="603250">
                      <a:moveTo>
                        <a:pt x="25374" y="528842"/>
                      </a:moveTo>
                      <a:lnTo>
                        <a:pt x="24893" y="529247"/>
                      </a:lnTo>
                      <a:lnTo>
                        <a:pt x="25438" y="529590"/>
                      </a:lnTo>
                      <a:lnTo>
                        <a:pt x="25374" y="528842"/>
                      </a:lnTo>
                      <a:close/>
                    </a:path>
                    <a:path w="125730" h="603250">
                      <a:moveTo>
                        <a:pt x="31394" y="520700"/>
                      </a:moveTo>
                      <a:lnTo>
                        <a:pt x="26606" y="520700"/>
                      </a:lnTo>
                      <a:lnTo>
                        <a:pt x="26669" y="523240"/>
                      </a:lnTo>
                      <a:lnTo>
                        <a:pt x="28613" y="523240"/>
                      </a:lnTo>
                      <a:lnTo>
                        <a:pt x="30137" y="524510"/>
                      </a:lnTo>
                      <a:lnTo>
                        <a:pt x="29209" y="525780"/>
                      </a:lnTo>
                      <a:lnTo>
                        <a:pt x="18821" y="525780"/>
                      </a:lnTo>
                      <a:lnTo>
                        <a:pt x="21932" y="528320"/>
                      </a:lnTo>
                      <a:lnTo>
                        <a:pt x="23418" y="528320"/>
                      </a:lnTo>
                      <a:lnTo>
                        <a:pt x="24893" y="529247"/>
                      </a:lnTo>
                      <a:lnTo>
                        <a:pt x="25374" y="528842"/>
                      </a:lnTo>
                      <a:lnTo>
                        <a:pt x="25222" y="527050"/>
                      </a:lnTo>
                      <a:lnTo>
                        <a:pt x="31622" y="527050"/>
                      </a:lnTo>
                      <a:lnTo>
                        <a:pt x="32073" y="525780"/>
                      </a:lnTo>
                      <a:lnTo>
                        <a:pt x="19684" y="525780"/>
                      </a:lnTo>
                      <a:lnTo>
                        <a:pt x="19845" y="525372"/>
                      </a:lnTo>
                      <a:lnTo>
                        <a:pt x="32218" y="525372"/>
                      </a:lnTo>
                      <a:lnTo>
                        <a:pt x="32524" y="524510"/>
                      </a:lnTo>
                      <a:lnTo>
                        <a:pt x="32207" y="521970"/>
                      </a:lnTo>
                      <a:lnTo>
                        <a:pt x="31572" y="521970"/>
                      </a:lnTo>
                      <a:lnTo>
                        <a:pt x="31394" y="520700"/>
                      </a:lnTo>
                      <a:close/>
                    </a:path>
                    <a:path w="125730" h="603250">
                      <a:moveTo>
                        <a:pt x="20714" y="525025"/>
                      </a:moveTo>
                      <a:lnTo>
                        <a:pt x="19845" y="525372"/>
                      </a:lnTo>
                      <a:lnTo>
                        <a:pt x="19684" y="525780"/>
                      </a:lnTo>
                      <a:lnTo>
                        <a:pt x="20714" y="525025"/>
                      </a:lnTo>
                      <a:close/>
                    </a:path>
                    <a:path w="125730" h="603250">
                      <a:moveTo>
                        <a:pt x="29057" y="524510"/>
                      </a:moveTo>
                      <a:lnTo>
                        <a:pt x="22009" y="524510"/>
                      </a:lnTo>
                      <a:lnTo>
                        <a:pt x="20714" y="525025"/>
                      </a:lnTo>
                      <a:lnTo>
                        <a:pt x="19684" y="525780"/>
                      </a:lnTo>
                      <a:lnTo>
                        <a:pt x="29209" y="525780"/>
                      </a:lnTo>
                      <a:lnTo>
                        <a:pt x="29057" y="524510"/>
                      </a:lnTo>
                      <a:close/>
                    </a:path>
                    <a:path w="125730" h="603250">
                      <a:moveTo>
                        <a:pt x="24036" y="520276"/>
                      </a:moveTo>
                      <a:lnTo>
                        <a:pt x="21183" y="521970"/>
                      </a:lnTo>
                      <a:lnTo>
                        <a:pt x="19845" y="525372"/>
                      </a:lnTo>
                      <a:lnTo>
                        <a:pt x="20714" y="525025"/>
                      </a:lnTo>
                      <a:lnTo>
                        <a:pt x="23152" y="523240"/>
                      </a:lnTo>
                      <a:lnTo>
                        <a:pt x="26441" y="523240"/>
                      </a:lnTo>
                      <a:lnTo>
                        <a:pt x="26047" y="521970"/>
                      </a:lnTo>
                      <a:lnTo>
                        <a:pt x="24955" y="521970"/>
                      </a:lnTo>
                      <a:lnTo>
                        <a:pt x="25107" y="520700"/>
                      </a:lnTo>
                      <a:lnTo>
                        <a:pt x="24333" y="520700"/>
                      </a:lnTo>
                      <a:lnTo>
                        <a:pt x="24036" y="520276"/>
                      </a:lnTo>
                      <a:close/>
                    </a:path>
                    <a:path w="125730" h="603250">
                      <a:moveTo>
                        <a:pt x="26441" y="523240"/>
                      </a:moveTo>
                      <a:lnTo>
                        <a:pt x="23152" y="523240"/>
                      </a:lnTo>
                      <a:lnTo>
                        <a:pt x="24142" y="524510"/>
                      </a:lnTo>
                      <a:lnTo>
                        <a:pt x="27609" y="524510"/>
                      </a:lnTo>
                      <a:lnTo>
                        <a:pt x="26441" y="523240"/>
                      </a:lnTo>
                      <a:close/>
                    </a:path>
                    <a:path w="125730" h="603250">
                      <a:moveTo>
                        <a:pt x="25291" y="519531"/>
                      </a:moveTo>
                      <a:lnTo>
                        <a:pt x="25212" y="519828"/>
                      </a:lnTo>
                      <a:lnTo>
                        <a:pt x="24955" y="521970"/>
                      </a:lnTo>
                      <a:lnTo>
                        <a:pt x="25294" y="520276"/>
                      </a:lnTo>
                      <a:lnTo>
                        <a:pt x="25291" y="519531"/>
                      </a:lnTo>
                      <a:close/>
                    </a:path>
                    <a:path w="125730" h="603250">
                      <a:moveTo>
                        <a:pt x="25383" y="519828"/>
                      </a:moveTo>
                      <a:lnTo>
                        <a:pt x="24955" y="521970"/>
                      </a:lnTo>
                      <a:lnTo>
                        <a:pt x="26047" y="521970"/>
                      </a:lnTo>
                      <a:lnTo>
                        <a:pt x="25383" y="519828"/>
                      </a:lnTo>
                      <a:close/>
                    </a:path>
                    <a:path w="125730" h="603250">
                      <a:moveTo>
                        <a:pt x="24701" y="511810"/>
                      </a:moveTo>
                      <a:lnTo>
                        <a:pt x="19202" y="511810"/>
                      </a:lnTo>
                      <a:lnTo>
                        <a:pt x="19278" y="513080"/>
                      </a:lnTo>
                      <a:lnTo>
                        <a:pt x="19799" y="515620"/>
                      </a:lnTo>
                      <a:lnTo>
                        <a:pt x="18795" y="516890"/>
                      </a:lnTo>
                      <a:lnTo>
                        <a:pt x="20358" y="519430"/>
                      </a:lnTo>
                      <a:lnTo>
                        <a:pt x="21755" y="520700"/>
                      </a:lnTo>
                      <a:lnTo>
                        <a:pt x="23191" y="519531"/>
                      </a:lnTo>
                      <a:lnTo>
                        <a:pt x="23122" y="516890"/>
                      </a:lnTo>
                      <a:lnTo>
                        <a:pt x="23025" y="515620"/>
                      </a:lnTo>
                      <a:lnTo>
                        <a:pt x="22605" y="514350"/>
                      </a:lnTo>
                      <a:lnTo>
                        <a:pt x="24333" y="514350"/>
                      </a:lnTo>
                      <a:lnTo>
                        <a:pt x="24701" y="511810"/>
                      </a:lnTo>
                      <a:close/>
                    </a:path>
                    <a:path w="125730" h="603250">
                      <a:moveTo>
                        <a:pt x="25244" y="519559"/>
                      </a:moveTo>
                      <a:lnTo>
                        <a:pt x="24036" y="520276"/>
                      </a:lnTo>
                      <a:lnTo>
                        <a:pt x="24333" y="520700"/>
                      </a:lnTo>
                      <a:lnTo>
                        <a:pt x="25107" y="520700"/>
                      </a:lnTo>
                      <a:lnTo>
                        <a:pt x="25244" y="519559"/>
                      </a:lnTo>
                      <a:close/>
                    </a:path>
                    <a:path w="125730" h="603250">
                      <a:moveTo>
                        <a:pt x="31724" y="519430"/>
                      </a:moveTo>
                      <a:lnTo>
                        <a:pt x="25463" y="519430"/>
                      </a:lnTo>
                      <a:lnTo>
                        <a:pt x="25383" y="519828"/>
                      </a:lnTo>
                      <a:lnTo>
                        <a:pt x="25653" y="520700"/>
                      </a:lnTo>
                      <a:lnTo>
                        <a:pt x="31470" y="520700"/>
                      </a:lnTo>
                      <a:lnTo>
                        <a:pt x="31724" y="519430"/>
                      </a:lnTo>
                      <a:close/>
                    </a:path>
                    <a:path w="125730" h="603250">
                      <a:moveTo>
                        <a:pt x="32702" y="516890"/>
                      </a:moveTo>
                      <a:lnTo>
                        <a:pt x="24841" y="516890"/>
                      </a:lnTo>
                      <a:lnTo>
                        <a:pt x="23444" y="519430"/>
                      </a:lnTo>
                      <a:lnTo>
                        <a:pt x="24036" y="520276"/>
                      </a:lnTo>
                      <a:lnTo>
                        <a:pt x="25244" y="519559"/>
                      </a:lnTo>
                      <a:lnTo>
                        <a:pt x="25260" y="519430"/>
                      </a:lnTo>
                      <a:lnTo>
                        <a:pt x="31724" y="519430"/>
                      </a:lnTo>
                      <a:lnTo>
                        <a:pt x="32080" y="518160"/>
                      </a:lnTo>
                      <a:lnTo>
                        <a:pt x="32702" y="516890"/>
                      </a:lnTo>
                      <a:close/>
                    </a:path>
                    <a:path w="125730" h="603250">
                      <a:moveTo>
                        <a:pt x="25463" y="519430"/>
                      </a:moveTo>
                      <a:lnTo>
                        <a:pt x="25260" y="519430"/>
                      </a:lnTo>
                      <a:lnTo>
                        <a:pt x="25463" y="519430"/>
                      </a:lnTo>
                      <a:close/>
                    </a:path>
                    <a:path w="125730" h="603250">
                      <a:moveTo>
                        <a:pt x="42862" y="509270"/>
                      </a:moveTo>
                      <a:lnTo>
                        <a:pt x="19392" y="509270"/>
                      </a:lnTo>
                      <a:lnTo>
                        <a:pt x="19062" y="510540"/>
                      </a:lnTo>
                      <a:lnTo>
                        <a:pt x="24193" y="510540"/>
                      </a:lnTo>
                      <a:lnTo>
                        <a:pt x="26517" y="511810"/>
                      </a:lnTo>
                      <a:lnTo>
                        <a:pt x="26098" y="511810"/>
                      </a:lnTo>
                      <a:lnTo>
                        <a:pt x="24968" y="514350"/>
                      </a:lnTo>
                      <a:lnTo>
                        <a:pt x="25501" y="516890"/>
                      </a:lnTo>
                      <a:lnTo>
                        <a:pt x="34162" y="516890"/>
                      </a:lnTo>
                      <a:lnTo>
                        <a:pt x="35013" y="515620"/>
                      </a:lnTo>
                      <a:lnTo>
                        <a:pt x="38366" y="515620"/>
                      </a:lnTo>
                      <a:lnTo>
                        <a:pt x="40220" y="511810"/>
                      </a:lnTo>
                      <a:lnTo>
                        <a:pt x="41567" y="510540"/>
                      </a:lnTo>
                      <a:lnTo>
                        <a:pt x="42862" y="509270"/>
                      </a:lnTo>
                      <a:close/>
                    </a:path>
                    <a:path w="125730" h="603250">
                      <a:moveTo>
                        <a:pt x="24333" y="514350"/>
                      </a:moveTo>
                      <a:lnTo>
                        <a:pt x="22605" y="514350"/>
                      </a:lnTo>
                      <a:lnTo>
                        <a:pt x="23863" y="515620"/>
                      </a:lnTo>
                      <a:lnTo>
                        <a:pt x="24333" y="514350"/>
                      </a:lnTo>
                      <a:close/>
                    </a:path>
                    <a:path w="125730" h="603250">
                      <a:moveTo>
                        <a:pt x="24193" y="510540"/>
                      </a:moveTo>
                      <a:lnTo>
                        <a:pt x="18516" y="510540"/>
                      </a:lnTo>
                      <a:lnTo>
                        <a:pt x="18630" y="511810"/>
                      </a:lnTo>
                      <a:lnTo>
                        <a:pt x="19265" y="513080"/>
                      </a:lnTo>
                      <a:lnTo>
                        <a:pt x="19202" y="511810"/>
                      </a:lnTo>
                      <a:lnTo>
                        <a:pt x="24701" y="511810"/>
                      </a:lnTo>
                      <a:lnTo>
                        <a:pt x="24193" y="510540"/>
                      </a:lnTo>
                      <a:close/>
                    </a:path>
                    <a:path w="125730" h="603250">
                      <a:moveTo>
                        <a:pt x="45148" y="508000"/>
                      </a:moveTo>
                      <a:lnTo>
                        <a:pt x="19138" y="508000"/>
                      </a:lnTo>
                      <a:lnTo>
                        <a:pt x="18808" y="509270"/>
                      </a:lnTo>
                      <a:lnTo>
                        <a:pt x="44068" y="509270"/>
                      </a:lnTo>
                      <a:lnTo>
                        <a:pt x="45148" y="508000"/>
                      </a:lnTo>
                      <a:close/>
                    </a:path>
                    <a:path w="125730" h="603250">
                      <a:moveTo>
                        <a:pt x="45745" y="505460"/>
                      </a:moveTo>
                      <a:lnTo>
                        <a:pt x="22745" y="505460"/>
                      </a:lnTo>
                      <a:lnTo>
                        <a:pt x="24320" y="506730"/>
                      </a:lnTo>
                      <a:lnTo>
                        <a:pt x="20281" y="506730"/>
                      </a:lnTo>
                      <a:lnTo>
                        <a:pt x="18643" y="508000"/>
                      </a:lnTo>
                      <a:lnTo>
                        <a:pt x="45770" y="508000"/>
                      </a:lnTo>
                      <a:lnTo>
                        <a:pt x="45745" y="505460"/>
                      </a:lnTo>
                      <a:close/>
                    </a:path>
                    <a:path w="125730" h="603250">
                      <a:moveTo>
                        <a:pt x="22974" y="501650"/>
                      </a:moveTo>
                      <a:lnTo>
                        <a:pt x="20878" y="501650"/>
                      </a:lnTo>
                      <a:lnTo>
                        <a:pt x="19405" y="504190"/>
                      </a:lnTo>
                      <a:lnTo>
                        <a:pt x="21018" y="506730"/>
                      </a:lnTo>
                      <a:lnTo>
                        <a:pt x="22745" y="505460"/>
                      </a:lnTo>
                      <a:lnTo>
                        <a:pt x="45758" y="505460"/>
                      </a:lnTo>
                      <a:lnTo>
                        <a:pt x="45758" y="504190"/>
                      </a:lnTo>
                      <a:lnTo>
                        <a:pt x="24828" y="504190"/>
                      </a:lnTo>
                      <a:lnTo>
                        <a:pt x="25069" y="502920"/>
                      </a:lnTo>
                      <a:lnTo>
                        <a:pt x="23952" y="502920"/>
                      </a:lnTo>
                      <a:lnTo>
                        <a:pt x="22974" y="501650"/>
                      </a:lnTo>
                      <a:close/>
                    </a:path>
                    <a:path w="125730" h="603250">
                      <a:moveTo>
                        <a:pt x="46100" y="500380"/>
                      </a:moveTo>
                      <a:lnTo>
                        <a:pt x="25552" y="500380"/>
                      </a:lnTo>
                      <a:lnTo>
                        <a:pt x="26339" y="502920"/>
                      </a:lnTo>
                      <a:lnTo>
                        <a:pt x="24828" y="504190"/>
                      </a:lnTo>
                      <a:lnTo>
                        <a:pt x="45758" y="504190"/>
                      </a:lnTo>
                      <a:lnTo>
                        <a:pt x="45707" y="501650"/>
                      </a:lnTo>
                      <a:lnTo>
                        <a:pt x="45910" y="501650"/>
                      </a:lnTo>
                      <a:lnTo>
                        <a:pt x="46100" y="500380"/>
                      </a:lnTo>
                      <a:close/>
                    </a:path>
                    <a:path w="125730" h="603250">
                      <a:moveTo>
                        <a:pt x="49199" y="499110"/>
                      </a:moveTo>
                      <a:lnTo>
                        <a:pt x="23482" y="499110"/>
                      </a:lnTo>
                      <a:lnTo>
                        <a:pt x="24917" y="500380"/>
                      </a:lnTo>
                      <a:lnTo>
                        <a:pt x="48107" y="500380"/>
                      </a:lnTo>
                      <a:lnTo>
                        <a:pt x="49199" y="499110"/>
                      </a:lnTo>
                      <a:close/>
                    </a:path>
                    <a:path w="125730" h="603250">
                      <a:moveTo>
                        <a:pt x="20758" y="494030"/>
                      </a:moveTo>
                      <a:lnTo>
                        <a:pt x="17805" y="494030"/>
                      </a:lnTo>
                      <a:lnTo>
                        <a:pt x="18148" y="495300"/>
                      </a:lnTo>
                      <a:lnTo>
                        <a:pt x="19024" y="495300"/>
                      </a:lnTo>
                      <a:lnTo>
                        <a:pt x="20370" y="496570"/>
                      </a:lnTo>
                      <a:lnTo>
                        <a:pt x="21259" y="499110"/>
                      </a:lnTo>
                      <a:lnTo>
                        <a:pt x="21691" y="499110"/>
                      </a:lnTo>
                      <a:lnTo>
                        <a:pt x="23115" y="497913"/>
                      </a:lnTo>
                      <a:lnTo>
                        <a:pt x="23761" y="497840"/>
                      </a:lnTo>
                      <a:lnTo>
                        <a:pt x="21056" y="496570"/>
                      </a:lnTo>
                      <a:lnTo>
                        <a:pt x="21310" y="495300"/>
                      </a:lnTo>
                      <a:lnTo>
                        <a:pt x="20758" y="494030"/>
                      </a:lnTo>
                      <a:close/>
                    </a:path>
                    <a:path w="125730" h="603250">
                      <a:moveTo>
                        <a:pt x="49631" y="497840"/>
                      </a:moveTo>
                      <a:lnTo>
                        <a:pt x="23202" y="497840"/>
                      </a:lnTo>
                      <a:lnTo>
                        <a:pt x="22517" y="499110"/>
                      </a:lnTo>
                      <a:lnTo>
                        <a:pt x="49517" y="499110"/>
                      </a:lnTo>
                      <a:lnTo>
                        <a:pt x="49631" y="497840"/>
                      </a:lnTo>
                      <a:close/>
                    </a:path>
                    <a:path w="125730" h="603250">
                      <a:moveTo>
                        <a:pt x="23202" y="497840"/>
                      </a:moveTo>
                      <a:close/>
                    </a:path>
                    <a:path w="125730" h="603250">
                      <a:moveTo>
                        <a:pt x="27558" y="492760"/>
                      </a:moveTo>
                      <a:lnTo>
                        <a:pt x="20599" y="492760"/>
                      </a:lnTo>
                      <a:lnTo>
                        <a:pt x="23761" y="497840"/>
                      </a:lnTo>
                      <a:lnTo>
                        <a:pt x="49568" y="497840"/>
                      </a:lnTo>
                      <a:lnTo>
                        <a:pt x="49593" y="496570"/>
                      </a:lnTo>
                      <a:lnTo>
                        <a:pt x="30975" y="496570"/>
                      </a:lnTo>
                      <a:lnTo>
                        <a:pt x="31343" y="495300"/>
                      </a:lnTo>
                      <a:lnTo>
                        <a:pt x="30454" y="494030"/>
                      </a:lnTo>
                      <a:lnTo>
                        <a:pt x="27228" y="494030"/>
                      </a:lnTo>
                      <a:lnTo>
                        <a:pt x="27558" y="492760"/>
                      </a:lnTo>
                      <a:close/>
                    </a:path>
                    <a:path w="125730" h="603250">
                      <a:moveTo>
                        <a:pt x="33439" y="495300"/>
                      </a:moveTo>
                      <a:lnTo>
                        <a:pt x="32092" y="495300"/>
                      </a:lnTo>
                      <a:lnTo>
                        <a:pt x="31546" y="496570"/>
                      </a:lnTo>
                      <a:lnTo>
                        <a:pt x="34493" y="496570"/>
                      </a:lnTo>
                      <a:lnTo>
                        <a:pt x="33439" y="495300"/>
                      </a:lnTo>
                      <a:close/>
                    </a:path>
                    <a:path w="125730" h="603250">
                      <a:moveTo>
                        <a:pt x="49390" y="494030"/>
                      </a:moveTo>
                      <a:lnTo>
                        <a:pt x="35623" y="494030"/>
                      </a:lnTo>
                      <a:lnTo>
                        <a:pt x="35547" y="495300"/>
                      </a:lnTo>
                      <a:lnTo>
                        <a:pt x="34861" y="495300"/>
                      </a:lnTo>
                      <a:lnTo>
                        <a:pt x="34493" y="496570"/>
                      </a:lnTo>
                      <a:lnTo>
                        <a:pt x="49529" y="496570"/>
                      </a:lnTo>
                      <a:lnTo>
                        <a:pt x="49402" y="495300"/>
                      </a:lnTo>
                      <a:lnTo>
                        <a:pt x="49390" y="494030"/>
                      </a:lnTo>
                      <a:close/>
                    </a:path>
                    <a:path w="125730" h="603250">
                      <a:moveTo>
                        <a:pt x="19215" y="491490"/>
                      </a:moveTo>
                      <a:lnTo>
                        <a:pt x="15087" y="491490"/>
                      </a:lnTo>
                      <a:lnTo>
                        <a:pt x="15913" y="495300"/>
                      </a:lnTo>
                      <a:lnTo>
                        <a:pt x="17805" y="494030"/>
                      </a:lnTo>
                      <a:lnTo>
                        <a:pt x="20758" y="494030"/>
                      </a:lnTo>
                      <a:lnTo>
                        <a:pt x="20195" y="492747"/>
                      </a:lnTo>
                      <a:lnTo>
                        <a:pt x="19215" y="491490"/>
                      </a:lnTo>
                      <a:close/>
                    </a:path>
                    <a:path w="125730" h="603250">
                      <a:moveTo>
                        <a:pt x="30733" y="491490"/>
                      </a:moveTo>
                      <a:lnTo>
                        <a:pt x="30416" y="492760"/>
                      </a:lnTo>
                      <a:lnTo>
                        <a:pt x="32270" y="494030"/>
                      </a:lnTo>
                      <a:lnTo>
                        <a:pt x="33972" y="495300"/>
                      </a:lnTo>
                      <a:lnTo>
                        <a:pt x="34467" y="495300"/>
                      </a:lnTo>
                      <a:lnTo>
                        <a:pt x="35623" y="494030"/>
                      </a:lnTo>
                      <a:lnTo>
                        <a:pt x="49047" y="494030"/>
                      </a:lnTo>
                      <a:lnTo>
                        <a:pt x="47751" y="492760"/>
                      </a:lnTo>
                      <a:lnTo>
                        <a:pt x="33022" y="492747"/>
                      </a:lnTo>
                      <a:lnTo>
                        <a:pt x="30733" y="491490"/>
                      </a:lnTo>
                      <a:close/>
                    </a:path>
                    <a:path w="125730" h="603250">
                      <a:moveTo>
                        <a:pt x="29044" y="492760"/>
                      </a:moveTo>
                      <a:lnTo>
                        <a:pt x="27711" y="494030"/>
                      </a:lnTo>
                      <a:lnTo>
                        <a:pt x="28549" y="494030"/>
                      </a:lnTo>
                      <a:lnTo>
                        <a:pt x="29044" y="492760"/>
                      </a:lnTo>
                      <a:close/>
                    </a:path>
                    <a:path w="125730" h="603250">
                      <a:moveTo>
                        <a:pt x="33036" y="492755"/>
                      </a:moveTo>
                      <a:close/>
                    </a:path>
                    <a:path w="125730" h="603250">
                      <a:moveTo>
                        <a:pt x="46151" y="491490"/>
                      </a:moveTo>
                      <a:lnTo>
                        <a:pt x="34150" y="491490"/>
                      </a:lnTo>
                      <a:lnTo>
                        <a:pt x="36283" y="492760"/>
                      </a:lnTo>
                      <a:lnTo>
                        <a:pt x="46964" y="492760"/>
                      </a:lnTo>
                      <a:lnTo>
                        <a:pt x="46151" y="491490"/>
                      </a:lnTo>
                      <a:close/>
                    </a:path>
                    <a:path w="125730" h="603250">
                      <a:moveTo>
                        <a:pt x="49085" y="483870"/>
                      </a:moveTo>
                      <a:lnTo>
                        <a:pt x="19456" y="483870"/>
                      </a:lnTo>
                      <a:lnTo>
                        <a:pt x="20612" y="485140"/>
                      </a:lnTo>
                      <a:lnTo>
                        <a:pt x="29895" y="485140"/>
                      </a:lnTo>
                      <a:lnTo>
                        <a:pt x="30441" y="486410"/>
                      </a:lnTo>
                      <a:lnTo>
                        <a:pt x="29702" y="487409"/>
                      </a:lnTo>
                      <a:lnTo>
                        <a:pt x="29578" y="488950"/>
                      </a:lnTo>
                      <a:lnTo>
                        <a:pt x="30987" y="490220"/>
                      </a:lnTo>
                      <a:lnTo>
                        <a:pt x="33036" y="492755"/>
                      </a:lnTo>
                      <a:lnTo>
                        <a:pt x="34150" y="491490"/>
                      </a:lnTo>
                      <a:lnTo>
                        <a:pt x="46151" y="491490"/>
                      </a:lnTo>
                      <a:lnTo>
                        <a:pt x="49085" y="483870"/>
                      </a:lnTo>
                      <a:close/>
                    </a:path>
                    <a:path w="125730" h="603250">
                      <a:moveTo>
                        <a:pt x="29895" y="485140"/>
                      </a:moveTo>
                      <a:lnTo>
                        <a:pt x="24498" y="485140"/>
                      </a:lnTo>
                      <a:lnTo>
                        <a:pt x="23482" y="486410"/>
                      </a:lnTo>
                      <a:lnTo>
                        <a:pt x="21183" y="486410"/>
                      </a:lnTo>
                      <a:lnTo>
                        <a:pt x="20463" y="487409"/>
                      </a:lnTo>
                      <a:lnTo>
                        <a:pt x="20396" y="487680"/>
                      </a:lnTo>
                      <a:lnTo>
                        <a:pt x="19469" y="487680"/>
                      </a:lnTo>
                      <a:lnTo>
                        <a:pt x="23279" y="488950"/>
                      </a:lnTo>
                      <a:lnTo>
                        <a:pt x="24866" y="490220"/>
                      </a:lnTo>
                      <a:lnTo>
                        <a:pt x="28930" y="488950"/>
                      </a:lnTo>
                      <a:lnTo>
                        <a:pt x="28460" y="486410"/>
                      </a:lnTo>
                      <a:lnTo>
                        <a:pt x="29895" y="485140"/>
                      </a:lnTo>
                      <a:close/>
                    </a:path>
                    <a:path w="125730" h="603250">
                      <a:moveTo>
                        <a:pt x="14198" y="486410"/>
                      </a:moveTo>
                      <a:lnTo>
                        <a:pt x="16522" y="488950"/>
                      </a:lnTo>
                      <a:lnTo>
                        <a:pt x="17691" y="487680"/>
                      </a:lnTo>
                      <a:lnTo>
                        <a:pt x="16878" y="487680"/>
                      </a:lnTo>
                      <a:lnTo>
                        <a:pt x="14198" y="486410"/>
                      </a:lnTo>
                      <a:close/>
                    </a:path>
                    <a:path w="125730" h="603250">
                      <a:moveTo>
                        <a:pt x="19888" y="485140"/>
                      </a:moveTo>
                      <a:lnTo>
                        <a:pt x="17932" y="485140"/>
                      </a:lnTo>
                      <a:lnTo>
                        <a:pt x="16878" y="487680"/>
                      </a:lnTo>
                      <a:lnTo>
                        <a:pt x="20269" y="487680"/>
                      </a:lnTo>
                      <a:lnTo>
                        <a:pt x="20463" y="487409"/>
                      </a:lnTo>
                      <a:lnTo>
                        <a:pt x="20713" y="486410"/>
                      </a:lnTo>
                      <a:lnTo>
                        <a:pt x="20548" y="486410"/>
                      </a:lnTo>
                      <a:lnTo>
                        <a:pt x="19888" y="485140"/>
                      </a:lnTo>
                      <a:close/>
                    </a:path>
                    <a:path w="125730" h="603250">
                      <a:moveTo>
                        <a:pt x="20463" y="487409"/>
                      </a:moveTo>
                      <a:lnTo>
                        <a:pt x="20269" y="487680"/>
                      </a:lnTo>
                      <a:lnTo>
                        <a:pt x="20396" y="487680"/>
                      </a:lnTo>
                      <a:lnTo>
                        <a:pt x="20463" y="487409"/>
                      </a:lnTo>
                      <a:close/>
                    </a:path>
                    <a:path w="125730" h="603250">
                      <a:moveTo>
                        <a:pt x="22491" y="485140"/>
                      </a:moveTo>
                      <a:lnTo>
                        <a:pt x="21589" y="486410"/>
                      </a:lnTo>
                      <a:lnTo>
                        <a:pt x="23482" y="486410"/>
                      </a:lnTo>
                      <a:lnTo>
                        <a:pt x="22491" y="485140"/>
                      </a:lnTo>
                      <a:close/>
                    </a:path>
                    <a:path w="125730" h="603250">
                      <a:moveTo>
                        <a:pt x="48882" y="482600"/>
                      </a:moveTo>
                      <a:lnTo>
                        <a:pt x="18605" y="482600"/>
                      </a:lnTo>
                      <a:lnTo>
                        <a:pt x="18986" y="483870"/>
                      </a:lnTo>
                      <a:lnTo>
                        <a:pt x="49428" y="483870"/>
                      </a:lnTo>
                      <a:lnTo>
                        <a:pt x="48882" y="482600"/>
                      </a:lnTo>
                      <a:close/>
                    </a:path>
                    <a:path w="125730" h="603250">
                      <a:moveTo>
                        <a:pt x="22593" y="478790"/>
                      </a:moveTo>
                      <a:lnTo>
                        <a:pt x="21170" y="478790"/>
                      </a:lnTo>
                      <a:lnTo>
                        <a:pt x="18516" y="481330"/>
                      </a:lnTo>
                      <a:lnTo>
                        <a:pt x="17716" y="482600"/>
                      </a:lnTo>
                      <a:lnTo>
                        <a:pt x="49250" y="482600"/>
                      </a:lnTo>
                      <a:lnTo>
                        <a:pt x="50698" y="481330"/>
                      </a:lnTo>
                      <a:lnTo>
                        <a:pt x="53060" y="480060"/>
                      </a:lnTo>
                      <a:lnTo>
                        <a:pt x="23621" y="480060"/>
                      </a:lnTo>
                      <a:lnTo>
                        <a:pt x="22593" y="478790"/>
                      </a:lnTo>
                      <a:close/>
                    </a:path>
                    <a:path w="125730" h="603250">
                      <a:moveTo>
                        <a:pt x="25133" y="477520"/>
                      </a:moveTo>
                      <a:lnTo>
                        <a:pt x="24409" y="478790"/>
                      </a:lnTo>
                      <a:lnTo>
                        <a:pt x="24193" y="480060"/>
                      </a:lnTo>
                      <a:lnTo>
                        <a:pt x="54114" y="480060"/>
                      </a:lnTo>
                      <a:lnTo>
                        <a:pt x="54736" y="478790"/>
                      </a:lnTo>
                      <a:lnTo>
                        <a:pt x="25476" y="478790"/>
                      </a:lnTo>
                      <a:lnTo>
                        <a:pt x="25133" y="477520"/>
                      </a:lnTo>
                      <a:close/>
                    </a:path>
                    <a:path w="125730" h="603250">
                      <a:moveTo>
                        <a:pt x="54622" y="473710"/>
                      </a:moveTo>
                      <a:lnTo>
                        <a:pt x="23875" y="473710"/>
                      </a:lnTo>
                      <a:lnTo>
                        <a:pt x="26517" y="474980"/>
                      </a:lnTo>
                      <a:lnTo>
                        <a:pt x="25628" y="478790"/>
                      </a:lnTo>
                      <a:lnTo>
                        <a:pt x="55651" y="478790"/>
                      </a:lnTo>
                      <a:lnTo>
                        <a:pt x="54622" y="473710"/>
                      </a:lnTo>
                      <a:close/>
                    </a:path>
                    <a:path w="125730" h="603250">
                      <a:moveTo>
                        <a:pt x="26974" y="458470"/>
                      </a:moveTo>
                      <a:lnTo>
                        <a:pt x="24993" y="459740"/>
                      </a:lnTo>
                      <a:lnTo>
                        <a:pt x="25844" y="459740"/>
                      </a:lnTo>
                      <a:lnTo>
                        <a:pt x="26669" y="462280"/>
                      </a:lnTo>
                      <a:lnTo>
                        <a:pt x="8826" y="462280"/>
                      </a:lnTo>
                      <a:lnTo>
                        <a:pt x="9169" y="463550"/>
                      </a:lnTo>
                      <a:lnTo>
                        <a:pt x="6222" y="463550"/>
                      </a:lnTo>
                      <a:lnTo>
                        <a:pt x="4127" y="466090"/>
                      </a:lnTo>
                      <a:lnTo>
                        <a:pt x="0" y="467360"/>
                      </a:lnTo>
                      <a:lnTo>
                        <a:pt x="990" y="471170"/>
                      </a:lnTo>
                      <a:lnTo>
                        <a:pt x="1727" y="472440"/>
                      </a:lnTo>
                      <a:lnTo>
                        <a:pt x="4000" y="473710"/>
                      </a:lnTo>
                      <a:lnTo>
                        <a:pt x="7111" y="471170"/>
                      </a:lnTo>
                      <a:lnTo>
                        <a:pt x="4825" y="471170"/>
                      </a:lnTo>
                      <a:lnTo>
                        <a:pt x="4292" y="469900"/>
                      </a:lnTo>
                      <a:lnTo>
                        <a:pt x="1689" y="469900"/>
                      </a:lnTo>
                      <a:lnTo>
                        <a:pt x="2438" y="468630"/>
                      </a:lnTo>
                      <a:lnTo>
                        <a:pt x="3530" y="468630"/>
                      </a:lnTo>
                      <a:lnTo>
                        <a:pt x="5460" y="467360"/>
                      </a:lnTo>
                      <a:lnTo>
                        <a:pt x="9150" y="467360"/>
                      </a:lnTo>
                      <a:lnTo>
                        <a:pt x="9905" y="466090"/>
                      </a:lnTo>
                      <a:lnTo>
                        <a:pt x="24879" y="466090"/>
                      </a:lnTo>
                      <a:lnTo>
                        <a:pt x="27711" y="463550"/>
                      </a:lnTo>
                      <a:lnTo>
                        <a:pt x="29349" y="459740"/>
                      </a:lnTo>
                      <a:lnTo>
                        <a:pt x="26974" y="458470"/>
                      </a:lnTo>
                      <a:close/>
                    </a:path>
                    <a:path w="125730" h="603250">
                      <a:moveTo>
                        <a:pt x="56591" y="469900"/>
                      </a:moveTo>
                      <a:lnTo>
                        <a:pt x="20307" y="469900"/>
                      </a:lnTo>
                      <a:lnTo>
                        <a:pt x="21386" y="471170"/>
                      </a:lnTo>
                      <a:lnTo>
                        <a:pt x="21729" y="472440"/>
                      </a:lnTo>
                      <a:lnTo>
                        <a:pt x="22478" y="473710"/>
                      </a:lnTo>
                      <a:lnTo>
                        <a:pt x="54343" y="473710"/>
                      </a:lnTo>
                      <a:lnTo>
                        <a:pt x="56299" y="471170"/>
                      </a:lnTo>
                      <a:lnTo>
                        <a:pt x="56591" y="469900"/>
                      </a:lnTo>
                      <a:close/>
                    </a:path>
                    <a:path w="125730" h="603250">
                      <a:moveTo>
                        <a:pt x="16027" y="469900"/>
                      </a:moveTo>
                      <a:lnTo>
                        <a:pt x="13830" y="469900"/>
                      </a:lnTo>
                      <a:lnTo>
                        <a:pt x="13728" y="471170"/>
                      </a:lnTo>
                      <a:lnTo>
                        <a:pt x="14770" y="471170"/>
                      </a:lnTo>
                      <a:lnTo>
                        <a:pt x="16027" y="472440"/>
                      </a:lnTo>
                      <a:lnTo>
                        <a:pt x="18046" y="472440"/>
                      </a:lnTo>
                      <a:lnTo>
                        <a:pt x="16713" y="471170"/>
                      </a:lnTo>
                      <a:lnTo>
                        <a:pt x="16027" y="469900"/>
                      </a:lnTo>
                      <a:close/>
                    </a:path>
                    <a:path w="125730" h="603250">
                      <a:moveTo>
                        <a:pt x="5994" y="469900"/>
                      </a:moveTo>
                      <a:lnTo>
                        <a:pt x="4825" y="471170"/>
                      </a:lnTo>
                      <a:lnTo>
                        <a:pt x="5105" y="471170"/>
                      </a:lnTo>
                      <a:lnTo>
                        <a:pt x="5994" y="469900"/>
                      </a:lnTo>
                      <a:close/>
                    </a:path>
                    <a:path w="125730" h="603250">
                      <a:moveTo>
                        <a:pt x="24879" y="466090"/>
                      </a:moveTo>
                      <a:lnTo>
                        <a:pt x="10172" y="466090"/>
                      </a:lnTo>
                      <a:lnTo>
                        <a:pt x="9842" y="468630"/>
                      </a:lnTo>
                      <a:lnTo>
                        <a:pt x="10388" y="469900"/>
                      </a:lnTo>
                      <a:lnTo>
                        <a:pt x="13246" y="471170"/>
                      </a:lnTo>
                      <a:lnTo>
                        <a:pt x="13144" y="469900"/>
                      </a:lnTo>
                      <a:lnTo>
                        <a:pt x="58191" y="469900"/>
                      </a:lnTo>
                      <a:lnTo>
                        <a:pt x="58813" y="468630"/>
                      </a:lnTo>
                      <a:lnTo>
                        <a:pt x="27317" y="468630"/>
                      </a:lnTo>
                      <a:lnTo>
                        <a:pt x="24879" y="466090"/>
                      </a:lnTo>
                      <a:close/>
                    </a:path>
                    <a:path w="125730" h="603250">
                      <a:moveTo>
                        <a:pt x="18338" y="469900"/>
                      </a:moveTo>
                      <a:lnTo>
                        <a:pt x="16027" y="469900"/>
                      </a:lnTo>
                      <a:lnTo>
                        <a:pt x="16789" y="471170"/>
                      </a:lnTo>
                      <a:lnTo>
                        <a:pt x="17627" y="471170"/>
                      </a:lnTo>
                      <a:lnTo>
                        <a:pt x="18338" y="469900"/>
                      </a:lnTo>
                      <a:close/>
                    </a:path>
                    <a:path w="125730" h="603250">
                      <a:moveTo>
                        <a:pt x="3975" y="468630"/>
                      </a:moveTo>
                      <a:lnTo>
                        <a:pt x="2298" y="469900"/>
                      </a:lnTo>
                      <a:lnTo>
                        <a:pt x="5460" y="469900"/>
                      </a:lnTo>
                      <a:lnTo>
                        <a:pt x="3975" y="468630"/>
                      </a:lnTo>
                      <a:close/>
                    </a:path>
                    <a:path w="125730" h="603250">
                      <a:moveTo>
                        <a:pt x="7937" y="467360"/>
                      </a:moveTo>
                      <a:lnTo>
                        <a:pt x="5460" y="467360"/>
                      </a:lnTo>
                      <a:lnTo>
                        <a:pt x="7188" y="468630"/>
                      </a:lnTo>
                      <a:lnTo>
                        <a:pt x="7937" y="467360"/>
                      </a:lnTo>
                      <a:close/>
                    </a:path>
                    <a:path w="125730" h="603250">
                      <a:moveTo>
                        <a:pt x="9150" y="467360"/>
                      </a:moveTo>
                      <a:lnTo>
                        <a:pt x="7937" y="467360"/>
                      </a:lnTo>
                      <a:lnTo>
                        <a:pt x="8394" y="468630"/>
                      </a:lnTo>
                      <a:lnTo>
                        <a:pt x="9150" y="467360"/>
                      </a:lnTo>
                      <a:close/>
                    </a:path>
                    <a:path w="125730" h="603250">
                      <a:moveTo>
                        <a:pt x="56184" y="459740"/>
                      </a:moveTo>
                      <a:lnTo>
                        <a:pt x="31838" y="459740"/>
                      </a:lnTo>
                      <a:lnTo>
                        <a:pt x="32308" y="461010"/>
                      </a:lnTo>
                      <a:lnTo>
                        <a:pt x="31737" y="462280"/>
                      </a:lnTo>
                      <a:lnTo>
                        <a:pt x="29603" y="464820"/>
                      </a:lnTo>
                      <a:lnTo>
                        <a:pt x="28892" y="466090"/>
                      </a:lnTo>
                      <a:lnTo>
                        <a:pt x="27990" y="466090"/>
                      </a:lnTo>
                      <a:lnTo>
                        <a:pt x="27317" y="468630"/>
                      </a:lnTo>
                      <a:lnTo>
                        <a:pt x="58813" y="468630"/>
                      </a:lnTo>
                      <a:lnTo>
                        <a:pt x="57950" y="466090"/>
                      </a:lnTo>
                      <a:lnTo>
                        <a:pt x="56184" y="459740"/>
                      </a:lnTo>
                      <a:close/>
                    </a:path>
                    <a:path w="125730" h="603250">
                      <a:moveTo>
                        <a:pt x="7404" y="462280"/>
                      </a:moveTo>
                      <a:lnTo>
                        <a:pt x="6591" y="463550"/>
                      </a:lnTo>
                      <a:lnTo>
                        <a:pt x="7658" y="463550"/>
                      </a:lnTo>
                      <a:lnTo>
                        <a:pt x="7404" y="462280"/>
                      </a:lnTo>
                      <a:close/>
                    </a:path>
                    <a:path w="125730" h="603250">
                      <a:moveTo>
                        <a:pt x="9575" y="459740"/>
                      </a:moveTo>
                      <a:lnTo>
                        <a:pt x="8762" y="462280"/>
                      </a:lnTo>
                      <a:lnTo>
                        <a:pt x="19989" y="462280"/>
                      </a:lnTo>
                      <a:lnTo>
                        <a:pt x="19145" y="461010"/>
                      </a:lnTo>
                      <a:lnTo>
                        <a:pt x="10540" y="461010"/>
                      </a:lnTo>
                      <a:lnTo>
                        <a:pt x="9575" y="459740"/>
                      </a:lnTo>
                      <a:close/>
                    </a:path>
                    <a:path w="125730" h="603250">
                      <a:moveTo>
                        <a:pt x="24587" y="459740"/>
                      </a:moveTo>
                      <a:lnTo>
                        <a:pt x="22224" y="461010"/>
                      </a:lnTo>
                      <a:lnTo>
                        <a:pt x="19989" y="462280"/>
                      </a:lnTo>
                      <a:lnTo>
                        <a:pt x="24333" y="462280"/>
                      </a:lnTo>
                      <a:lnTo>
                        <a:pt x="24866" y="461010"/>
                      </a:lnTo>
                      <a:lnTo>
                        <a:pt x="24612" y="461010"/>
                      </a:lnTo>
                      <a:lnTo>
                        <a:pt x="24587" y="459740"/>
                      </a:lnTo>
                      <a:close/>
                    </a:path>
                    <a:path w="125730" h="603250">
                      <a:moveTo>
                        <a:pt x="25196" y="461010"/>
                      </a:moveTo>
                      <a:lnTo>
                        <a:pt x="24333" y="462280"/>
                      </a:lnTo>
                      <a:lnTo>
                        <a:pt x="26314" y="462280"/>
                      </a:lnTo>
                      <a:lnTo>
                        <a:pt x="25196" y="461010"/>
                      </a:lnTo>
                      <a:close/>
                    </a:path>
                    <a:path w="125730" h="603250">
                      <a:moveTo>
                        <a:pt x="56908" y="449580"/>
                      </a:moveTo>
                      <a:lnTo>
                        <a:pt x="35191" y="449580"/>
                      </a:lnTo>
                      <a:lnTo>
                        <a:pt x="36842" y="450850"/>
                      </a:lnTo>
                      <a:lnTo>
                        <a:pt x="34531" y="450850"/>
                      </a:lnTo>
                      <a:lnTo>
                        <a:pt x="32842" y="452120"/>
                      </a:lnTo>
                      <a:lnTo>
                        <a:pt x="31800" y="454660"/>
                      </a:lnTo>
                      <a:lnTo>
                        <a:pt x="30594" y="455930"/>
                      </a:lnTo>
                      <a:lnTo>
                        <a:pt x="30022" y="457200"/>
                      </a:lnTo>
                      <a:lnTo>
                        <a:pt x="29248" y="462280"/>
                      </a:lnTo>
                      <a:lnTo>
                        <a:pt x="30391" y="462280"/>
                      </a:lnTo>
                      <a:lnTo>
                        <a:pt x="30721" y="461010"/>
                      </a:lnTo>
                      <a:lnTo>
                        <a:pt x="31838" y="459740"/>
                      </a:lnTo>
                      <a:lnTo>
                        <a:pt x="56248" y="459740"/>
                      </a:lnTo>
                      <a:lnTo>
                        <a:pt x="58013" y="457200"/>
                      </a:lnTo>
                      <a:lnTo>
                        <a:pt x="58521" y="457200"/>
                      </a:lnTo>
                      <a:lnTo>
                        <a:pt x="59207" y="455930"/>
                      </a:lnTo>
                      <a:lnTo>
                        <a:pt x="58178" y="454660"/>
                      </a:lnTo>
                      <a:lnTo>
                        <a:pt x="57696" y="453390"/>
                      </a:lnTo>
                      <a:lnTo>
                        <a:pt x="57061" y="452120"/>
                      </a:lnTo>
                      <a:lnTo>
                        <a:pt x="56934" y="450850"/>
                      </a:lnTo>
                      <a:lnTo>
                        <a:pt x="56908" y="449580"/>
                      </a:lnTo>
                      <a:close/>
                    </a:path>
                    <a:path w="125730" h="603250">
                      <a:moveTo>
                        <a:pt x="18300" y="459740"/>
                      </a:moveTo>
                      <a:lnTo>
                        <a:pt x="13207" y="459740"/>
                      </a:lnTo>
                      <a:lnTo>
                        <a:pt x="12179" y="461010"/>
                      </a:lnTo>
                      <a:lnTo>
                        <a:pt x="19145" y="461010"/>
                      </a:lnTo>
                      <a:lnTo>
                        <a:pt x="18300" y="459740"/>
                      </a:lnTo>
                      <a:close/>
                    </a:path>
                    <a:path w="125730" h="603250">
                      <a:moveTo>
                        <a:pt x="24295" y="454660"/>
                      </a:moveTo>
                      <a:lnTo>
                        <a:pt x="14884" y="454660"/>
                      </a:lnTo>
                      <a:lnTo>
                        <a:pt x="14820" y="457200"/>
                      </a:lnTo>
                      <a:lnTo>
                        <a:pt x="14566" y="458470"/>
                      </a:lnTo>
                      <a:lnTo>
                        <a:pt x="13969" y="459740"/>
                      </a:lnTo>
                      <a:lnTo>
                        <a:pt x="18300" y="459740"/>
                      </a:lnTo>
                      <a:lnTo>
                        <a:pt x="19621" y="461010"/>
                      </a:lnTo>
                      <a:lnTo>
                        <a:pt x="20967" y="461010"/>
                      </a:lnTo>
                      <a:lnTo>
                        <a:pt x="26276" y="458470"/>
                      </a:lnTo>
                      <a:lnTo>
                        <a:pt x="23761" y="458470"/>
                      </a:lnTo>
                      <a:lnTo>
                        <a:pt x="24549" y="455930"/>
                      </a:lnTo>
                      <a:lnTo>
                        <a:pt x="24295" y="454660"/>
                      </a:lnTo>
                      <a:close/>
                    </a:path>
                    <a:path w="125730" h="603250">
                      <a:moveTo>
                        <a:pt x="13563" y="455930"/>
                      </a:moveTo>
                      <a:lnTo>
                        <a:pt x="12788" y="455930"/>
                      </a:lnTo>
                      <a:lnTo>
                        <a:pt x="11683" y="457200"/>
                      </a:lnTo>
                      <a:lnTo>
                        <a:pt x="7810" y="457200"/>
                      </a:lnTo>
                      <a:lnTo>
                        <a:pt x="12788" y="459740"/>
                      </a:lnTo>
                      <a:lnTo>
                        <a:pt x="13563" y="455930"/>
                      </a:lnTo>
                      <a:close/>
                    </a:path>
                    <a:path w="125730" h="603250">
                      <a:moveTo>
                        <a:pt x="25184" y="455930"/>
                      </a:moveTo>
                      <a:lnTo>
                        <a:pt x="24079" y="458470"/>
                      </a:lnTo>
                      <a:lnTo>
                        <a:pt x="26276" y="458470"/>
                      </a:lnTo>
                      <a:lnTo>
                        <a:pt x="25184" y="455930"/>
                      </a:lnTo>
                      <a:close/>
                    </a:path>
                    <a:path w="125730" h="603250">
                      <a:moveTo>
                        <a:pt x="14884" y="454660"/>
                      </a:moveTo>
                      <a:lnTo>
                        <a:pt x="9423" y="454660"/>
                      </a:lnTo>
                      <a:lnTo>
                        <a:pt x="10401" y="457200"/>
                      </a:lnTo>
                      <a:lnTo>
                        <a:pt x="10566" y="455930"/>
                      </a:lnTo>
                      <a:lnTo>
                        <a:pt x="13563" y="455930"/>
                      </a:lnTo>
                      <a:lnTo>
                        <a:pt x="14884" y="454660"/>
                      </a:lnTo>
                      <a:close/>
                    </a:path>
                    <a:path w="125730" h="603250">
                      <a:moveTo>
                        <a:pt x="16078" y="452120"/>
                      </a:moveTo>
                      <a:lnTo>
                        <a:pt x="12433" y="453390"/>
                      </a:lnTo>
                      <a:lnTo>
                        <a:pt x="11417" y="454660"/>
                      </a:lnTo>
                      <a:lnTo>
                        <a:pt x="14808" y="454660"/>
                      </a:lnTo>
                      <a:lnTo>
                        <a:pt x="16078" y="452120"/>
                      </a:lnTo>
                      <a:close/>
                    </a:path>
                    <a:path w="125730" h="603250">
                      <a:moveTo>
                        <a:pt x="18160" y="452120"/>
                      </a:moveTo>
                      <a:lnTo>
                        <a:pt x="14808" y="454660"/>
                      </a:lnTo>
                      <a:lnTo>
                        <a:pt x="16548" y="454660"/>
                      </a:lnTo>
                      <a:lnTo>
                        <a:pt x="18160" y="452120"/>
                      </a:lnTo>
                      <a:close/>
                    </a:path>
                    <a:path w="125730" h="603250">
                      <a:moveTo>
                        <a:pt x="18338" y="452120"/>
                      </a:moveTo>
                      <a:lnTo>
                        <a:pt x="18618" y="454660"/>
                      </a:lnTo>
                      <a:lnTo>
                        <a:pt x="23367" y="454660"/>
                      </a:lnTo>
                      <a:lnTo>
                        <a:pt x="23888" y="453390"/>
                      </a:lnTo>
                      <a:lnTo>
                        <a:pt x="19646" y="453390"/>
                      </a:lnTo>
                      <a:lnTo>
                        <a:pt x="18338" y="452120"/>
                      </a:lnTo>
                      <a:close/>
                    </a:path>
                    <a:path w="125730" h="603250">
                      <a:moveTo>
                        <a:pt x="22809" y="452120"/>
                      </a:moveTo>
                      <a:lnTo>
                        <a:pt x="22021" y="453390"/>
                      </a:lnTo>
                      <a:lnTo>
                        <a:pt x="23888" y="453390"/>
                      </a:lnTo>
                      <a:lnTo>
                        <a:pt x="22809" y="452120"/>
                      </a:lnTo>
                      <a:close/>
                    </a:path>
                    <a:path w="125730" h="603250">
                      <a:moveTo>
                        <a:pt x="35229" y="441960"/>
                      </a:moveTo>
                      <a:lnTo>
                        <a:pt x="34836" y="445770"/>
                      </a:lnTo>
                      <a:lnTo>
                        <a:pt x="34455" y="445770"/>
                      </a:lnTo>
                      <a:lnTo>
                        <a:pt x="33121" y="447040"/>
                      </a:lnTo>
                      <a:lnTo>
                        <a:pt x="31991" y="449580"/>
                      </a:lnTo>
                      <a:lnTo>
                        <a:pt x="31280" y="452120"/>
                      </a:lnTo>
                      <a:lnTo>
                        <a:pt x="32016" y="452120"/>
                      </a:lnTo>
                      <a:lnTo>
                        <a:pt x="32677" y="450850"/>
                      </a:lnTo>
                      <a:lnTo>
                        <a:pt x="34861" y="449580"/>
                      </a:lnTo>
                      <a:lnTo>
                        <a:pt x="57467" y="449580"/>
                      </a:lnTo>
                      <a:lnTo>
                        <a:pt x="58470" y="448310"/>
                      </a:lnTo>
                      <a:lnTo>
                        <a:pt x="59766" y="448310"/>
                      </a:lnTo>
                      <a:lnTo>
                        <a:pt x="61556" y="447040"/>
                      </a:lnTo>
                      <a:lnTo>
                        <a:pt x="39484" y="447040"/>
                      </a:lnTo>
                      <a:lnTo>
                        <a:pt x="37541" y="445770"/>
                      </a:lnTo>
                      <a:lnTo>
                        <a:pt x="35229" y="441960"/>
                      </a:lnTo>
                      <a:close/>
                    </a:path>
                    <a:path w="125730" h="603250">
                      <a:moveTo>
                        <a:pt x="63576" y="443230"/>
                      </a:moveTo>
                      <a:lnTo>
                        <a:pt x="37312" y="443230"/>
                      </a:lnTo>
                      <a:lnTo>
                        <a:pt x="38646" y="445770"/>
                      </a:lnTo>
                      <a:lnTo>
                        <a:pt x="40690" y="445770"/>
                      </a:lnTo>
                      <a:lnTo>
                        <a:pt x="43040" y="447040"/>
                      </a:lnTo>
                      <a:lnTo>
                        <a:pt x="61848" y="447040"/>
                      </a:lnTo>
                      <a:lnTo>
                        <a:pt x="63080" y="444500"/>
                      </a:lnTo>
                      <a:lnTo>
                        <a:pt x="63626" y="444500"/>
                      </a:lnTo>
                      <a:lnTo>
                        <a:pt x="63576" y="443230"/>
                      </a:lnTo>
                      <a:close/>
                    </a:path>
                    <a:path w="125730" h="603250">
                      <a:moveTo>
                        <a:pt x="60985" y="439420"/>
                      </a:moveTo>
                      <a:lnTo>
                        <a:pt x="35077" y="439420"/>
                      </a:lnTo>
                      <a:lnTo>
                        <a:pt x="35140" y="441960"/>
                      </a:lnTo>
                      <a:lnTo>
                        <a:pt x="31483" y="443230"/>
                      </a:lnTo>
                      <a:lnTo>
                        <a:pt x="35098" y="443230"/>
                      </a:lnTo>
                      <a:lnTo>
                        <a:pt x="35229" y="441960"/>
                      </a:lnTo>
                      <a:lnTo>
                        <a:pt x="62788" y="441960"/>
                      </a:lnTo>
                      <a:lnTo>
                        <a:pt x="62153" y="440690"/>
                      </a:lnTo>
                      <a:lnTo>
                        <a:pt x="61607" y="440690"/>
                      </a:lnTo>
                      <a:lnTo>
                        <a:pt x="60985" y="439420"/>
                      </a:lnTo>
                      <a:close/>
                    </a:path>
                    <a:path w="125730" h="603250">
                      <a:moveTo>
                        <a:pt x="62788" y="441960"/>
                      </a:moveTo>
                      <a:lnTo>
                        <a:pt x="35229" y="441960"/>
                      </a:lnTo>
                      <a:lnTo>
                        <a:pt x="36000" y="443230"/>
                      </a:lnTo>
                      <a:lnTo>
                        <a:pt x="63423" y="443230"/>
                      </a:lnTo>
                      <a:lnTo>
                        <a:pt x="62788" y="441960"/>
                      </a:lnTo>
                      <a:close/>
                    </a:path>
                    <a:path w="125730" h="603250">
                      <a:moveTo>
                        <a:pt x="60299" y="438150"/>
                      </a:moveTo>
                      <a:lnTo>
                        <a:pt x="36245" y="438150"/>
                      </a:lnTo>
                      <a:lnTo>
                        <a:pt x="32308" y="439420"/>
                      </a:lnTo>
                      <a:lnTo>
                        <a:pt x="60502" y="439420"/>
                      </a:lnTo>
                      <a:lnTo>
                        <a:pt x="60299" y="438150"/>
                      </a:lnTo>
                      <a:close/>
                    </a:path>
                    <a:path w="125730" h="603250">
                      <a:moveTo>
                        <a:pt x="53606" y="436880"/>
                      </a:moveTo>
                      <a:lnTo>
                        <a:pt x="38239" y="436880"/>
                      </a:lnTo>
                      <a:lnTo>
                        <a:pt x="36842" y="438150"/>
                      </a:lnTo>
                      <a:lnTo>
                        <a:pt x="55067" y="438150"/>
                      </a:lnTo>
                      <a:lnTo>
                        <a:pt x="53606" y="436880"/>
                      </a:lnTo>
                      <a:close/>
                    </a:path>
                    <a:path w="125730" h="603250">
                      <a:moveTo>
                        <a:pt x="58813" y="436880"/>
                      </a:moveTo>
                      <a:lnTo>
                        <a:pt x="56908" y="438150"/>
                      </a:lnTo>
                      <a:lnTo>
                        <a:pt x="60134" y="438150"/>
                      </a:lnTo>
                      <a:lnTo>
                        <a:pt x="58813" y="436880"/>
                      </a:lnTo>
                      <a:close/>
                    </a:path>
                    <a:path w="125730" h="603250">
                      <a:moveTo>
                        <a:pt x="43497" y="433070"/>
                      </a:moveTo>
                      <a:lnTo>
                        <a:pt x="41706" y="435610"/>
                      </a:lnTo>
                      <a:lnTo>
                        <a:pt x="40589" y="435610"/>
                      </a:lnTo>
                      <a:lnTo>
                        <a:pt x="38938" y="436880"/>
                      </a:lnTo>
                      <a:lnTo>
                        <a:pt x="52755" y="436880"/>
                      </a:lnTo>
                      <a:lnTo>
                        <a:pt x="53136" y="435610"/>
                      </a:lnTo>
                      <a:lnTo>
                        <a:pt x="52704" y="434340"/>
                      </a:lnTo>
                      <a:lnTo>
                        <a:pt x="43319" y="434340"/>
                      </a:lnTo>
                      <a:lnTo>
                        <a:pt x="43497" y="433070"/>
                      </a:lnTo>
                      <a:close/>
                    </a:path>
                    <a:path w="125730" h="603250">
                      <a:moveTo>
                        <a:pt x="66713" y="429260"/>
                      </a:moveTo>
                      <a:lnTo>
                        <a:pt x="45211" y="429260"/>
                      </a:lnTo>
                      <a:lnTo>
                        <a:pt x="43865" y="430530"/>
                      </a:lnTo>
                      <a:lnTo>
                        <a:pt x="44310" y="431800"/>
                      </a:lnTo>
                      <a:lnTo>
                        <a:pt x="43319" y="434340"/>
                      </a:lnTo>
                      <a:lnTo>
                        <a:pt x="61226" y="434340"/>
                      </a:lnTo>
                      <a:lnTo>
                        <a:pt x="62496" y="435610"/>
                      </a:lnTo>
                      <a:lnTo>
                        <a:pt x="63576" y="435610"/>
                      </a:lnTo>
                      <a:lnTo>
                        <a:pt x="64922" y="434340"/>
                      </a:lnTo>
                      <a:lnTo>
                        <a:pt x="64782" y="431800"/>
                      </a:lnTo>
                      <a:lnTo>
                        <a:pt x="66154" y="431800"/>
                      </a:lnTo>
                      <a:lnTo>
                        <a:pt x="66420" y="430530"/>
                      </a:lnTo>
                      <a:lnTo>
                        <a:pt x="66865" y="430530"/>
                      </a:lnTo>
                      <a:lnTo>
                        <a:pt x="66713" y="429260"/>
                      </a:lnTo>
                      <a:close/>
                    </a:path>
                    <a:path w="125730" h="603250">
                      <a:moveTo>
                        <a:pt x="41440" y="416560"/>
                      </a:moveTo>
                      <a:lnTo>
                        <a:pt x="40957" y="416560"/>
                      </a:lnTo>
                      <a:lnTo>
                        <a:pt x="39369" y="417830"/>
                      </a:lnTo>
                      <a:lnTo>
                        <a:pt x="38925" y="420370"/>
                      </a:lnTo>
                      <a:lnTo>
                        <a:pt x="37579" y="422910"/>
                      </a:lnTo>
                      <a:lnTo>
                        <a:pt x="36537" y="422910"/>
                      </a:lnTo>
                      <a:lnTo>
                        <a:pt x="35585" y="424180"/>
                      </a:lnTo>
                      <a:lnTo>
                        <a:pt x="36499" y="424180"/>
                      </a:lnTo>
                      <a:lnTo>
                        <a:pt x="37147" y="425450"/>
                      </a:lnTo>
                      <a:lnTo>
                        <a:pt x="38785" y="425450"/>
                      </a:lnTo>
                      <a:lnTo>
                        <a:pt x="39369" y="426720"/>
                      </a:lnTo>
                      <a:lnTo>
                        <a:pt x="41668" y="427990"/>
                      </a:lnTo>
                      <a:lnTo>
                        <a:pt x="42887" y="430530"/>
                      </a:lnTo>
                      <a:lnTo>
                        <a:pt x="45211" y="429260"/>
                      </a:lnTo>
                      <a:lnTo>
                        <a:pt x="66103" y="429260"/>
                      </a:lnTo>
                      <a:lnTo>
                        <a:pt x="64490" y="427990"/>
                      </a:lnTo>
                      <a:lnTo>
                        <a:pt x="56095" y="427990"/>
                      </a:lnTo>
                      <a:lnTo>
                        <a:pt x="57442" y="422910"/>
                      </a:lnTo>
                      <a:lnTo>
                        <a:pt x="57835" y="421640"/>
                      </a:lnTo>
                      <a:lnTo>
                        <a:pt x="58165" y="421640"/>
                      </a:lnTo>
                      <a:lnTo>
                        <a:pt x="58800" y="420370"/>
                      </a:lnTo>
                      <a:lnTo>
                        <a:pt x="59093" y="419100"/>
                      </a:lnTo>
                      <a:lnTo>
                        <a:pt x="58534" y="417830"/>
                      </a:lnTo>
                      <a:lnTo>
                        <a:pt x="41973" y="417830"/>
                      </a:lnTo>
                      <a:lnTo>
                        <a:pt x="41440" y="416560"/>
                      </a:lnTo>
                      <a:close/>
                    </a:path>
                    <a:path w="125730" h="603250">
                      <a:moveTo>
                        <a:pt x="58013" y="415290"/>
                      </a:moveTo>
                      <a:lnTo>
                        <a:pt x="42570" y="415290"/>
                      </a:lnTo>
                      <a:lnTo>
                        <a:pt x="41973" y="417830"/>
                      </a:lnTo>
                      <a:lnTo>
                        <a:pt x="58534" y="417830"/>
                      </a:lnTo>
                      <a:lnTo>
                        <a:pt x="58013" y="415290"/>
                      </a:lnTo>
                      <a:close/>
                    </a:path>
                    <a:path w="125730" h="603250">
                      <a:moveTo>
                        <a:pt x="40512" y="415290"/>
                      </a:moveTo>
                      <a:lnTo>
                        <a:pt x="39496" y="415290"/>
                      </a:lnTo>
                      <a:lnTo>
                        <a:pt x="38861" y="416560"/>
                      </a:lnTo>
                      <a:lnTo>
                        <a:pt x="40512" y="415290"/>
                      </a:lnTo>
                      <a:close/>
                    </a:path>
                    <a:path w="125730" h="603250">
                      <a:moveTo>
                        <a:pt x="57683" y="414020"/>
                      </a:moveTo>
                      <a:lnTo>
                        <a:pt x="40703" y="414020"/>
                      </a:lnTo>
                      <a:lnTo>
                        <a:pt x="40220" y="415290"/>
                      </a:lnTo>
                      <a:lnTo>
                        <a:pt x="57873" y="415290"/>
                      </a:lnTo>
                      <a:lnTo>
                        <a:pt x="57683" y="414020"/>
                      </a:lnTo>
                      <a:close/>
                    </a:path>
                    <a:path w="125730" h="603250">
                      <a:moveTo>
                        <a:pt x="55879" y="408940"/>
                      </a:moveTo>
                      <a:lnTo>
                        <a:pt x="39179" y="408940"/>
                      </a:lnTo>
                      <a:lnTo>
                        <a:pt x="37553" y="411480"/>
                      </a:lnTo>
                      <a:lnTo>
                        <a:pt x="38696" y="414020"/>
                      </a:lnTo>
                      <a:lnTo>
                        <a:pt x="57289" y="414020"/>
                      </a:lnTo>
                      <a:lnTo>
                        <a:pt x="57048" y="412750"/>
                      </a:lnTo>
                      <a:lnTo>
                        <a:pt x="56692" y="412750"/>
                      </a:lnTo>
                      <a:lnTo>
                        <a:pt x="54952" y="411480"/>
                      </a:lnTo>
                      <a:lnTo>
                        <a:pt x="54521" y="411480"/>
                      </a:lnTo>
                      <a:lnTo>
                        <a:pt x="55879" y="408940"/>
                      </a:lnTo>
                      <a:close/>
                    </a:path>
                    <a:path w="125730" h="603250">
                      <a:moveTo>
                        <a:pt x="42570" y="403860"/>
                      </a:moveTo>
                      <a:lnTo>
                        <a:pt x="41084" y="403860"/>
                      </a:lnTo>
                      <a:lnTo>
                        <a:pt x="41160" y="406400"/>
                      </a:lnTo>
                      <a:lnTo>
                        <a:pt x="40284" y="408940"/>
                      </a:lnTo>
                      <a:lnTo>
                        <a:pt x="57619" y="408940"/>
                      </a:lnTo>
                      <a:lnTo>
                        <a:pt x="57810" y="407670"/>
                      </a:lnTo>
                      <a:lnTo>
                        <a:pt x="58305" y="407670"/>
                      </a:lnTo>
                      <a:lnTo>
                        <a:pt x="57137" y="406400"/>
                      </a:lnTo>
                      <a:lnTo>
                        <a:pt x="53416" y="406400"/>
                      </a:lnTo>
                      <a:lnTo>
                        <a:pt x="52863" y="405130"/>
                      </a:lnTo>
                      <a:lnTo>
                        <a:pt x="43243" y="405130"/>
                      </a:lnTo>
                      <a:lnTo>
                        <a:pt x="42570" y="403860"/>
                      </a:lnTo>
                      <a:close/>
                    </a:path>
                    <a:path w="125730" h="603250">
                      <a:moveTo>
                        <a:pt x="55968" y="405130"/>
                      </a:moveTo>
                      <a:lnTo>
                        <a:pt x="53416" y="406400"/>
                      </a:lnTo>
                      <a:lnTo>
                        <a:pt x="57137" y="406400"/>
                      </a:lnTo>
                      <a:lnTo>
                        <a:pt x="55968" y="405130"/>
                      </a:lnTo>
                      <a:close/>
                    </a:path>
                    <a:path w="125730" h="603250">
                      <a:moveTo>
                        <a:pt x="43390" y="394006"/>
                      </a:moveTo>
                      <a:lnTo>
                        <a:pt x="40335" y="398780"/>
                      </a:lnTo>
                      <a:lnTo>
                        <a:pt x="42798" y="402590"/>
                      </a:lnTo>
                      <a:lnTo>
                        <a:pt x="43243" y="405130"/>
                      </a:lnTo>
                      <a:lnTo>
                        <a:pt x="52863" y="405130"/>
                      </a:lnTo>
                      <a:lnTo>
                        <a:pt x="52311" y="403860"/>
                      </a:lnTo>
                      <a:lnTo>
                        <a:pt x="52006" y="403860"/>
                      </a:lnTo>
                      <a:lnTo>
                        <a:pt x="52095" y="400050"/>
                      </a:lnTo>
                      <a:lnTo>
                        <a:pt x="52196" y="397510"/>
                      </a:lnTo>
                      <a:lnTo>
                        <a:pt x="52374" y="396240"/>
                      </a:lnTo>
                      <a:lnTo>
                        <a:pt x="44284" y="396240"/>
                      </a:lnTo>
                      <a:lnTo>
                        <a:pt x="43773" y="394381"/>
                      </a:lnTo>
                      <a:lnTo>
                        <a:pt x="43390" y="394006"/>
                      </a:lnTo>
                      <a:close/>
                    </a:path>
                    <a:path w="125730" h="603250">
                      <a:moveTo>
                        <a:pt x="55435" y="381000"/>
                      </a:moveTo>
                      <a:lnTo>
                        <a:pt x="46850" y="381000"/>
                      </a:lnTo>
                      <a:lnTo>
                        <a:pt x="44665" y="382270"/>
                      </a:lnTo>
                      <a:lnTo>
                        <a:pt x="42341" y="383540"/>
                      </a:lnTo>
                      <a:lnTo>
                        <a:pt x="41147" y="386080"/>
                      </a:lnTo>
                      <a:lnTo>
                        <a:pt x="47256" y="386080"/>
                      </a:lnTo>
                      <a:lnTo>
                        <a:pt x="47091" y="387350"/>
                      </a:lnTo>
                      <a:lnTo>
                        <a:pt x="48653" y="393700"/>
                      </a:lnTo>
                      <a:lnTo>
                        <a:pt x="47282" y="394970"/>
                      </a:lnTo>
                      <a:lnTo>
                        <a:pt x="45300" y="394970"/>
                      </a:lnTo>
                      <a:lnTo>
                        <a:pt x="46062" y="396240"/>
                      </a:lnTo>
                      <a:lnTo>
                        <a:pt x="52374" y="396240"/>
                      </a:lnTo>
                      <a:lnTo>
                        <a:pt x="52552" y="394970"/>
                      </a:lnTo>
                      <a:lnTo>
                        <a:pt x="52946" y="391160"/>
                      </a:lnTo>
                      <a:lnTo>
                        <a:pt x="52400" y="389890"/>
                      </a:lnTo>
                      <a:lnTo>
                        <a:pt x="57899" y="387350"/>
                      </a:lnTo>
                      <a:lnTo>
                        <a:pt x="57467" y="387350"/>
                      </a:lnTo>
                      <a:lnTo>
                        <a:pt x="57378" y="386080"/>
                      </a:lnTo>
                      <a:lnTo>
                        <a:pt x="55803" y="382270"/>
                      </a:lnTo>
                      <a:lnTo>
                        <a:pt x="55435" y="381000"/>
                      </a:lnTo>
                      <a:close/>
                    </a:path>
                    <a:path w="125730" h="603250">
                      <a:moveTo>
                        <a:pt x="47034" y="393700"/>
                      </a:moveTo>
                      <a:lnTo>
                        <a:pt x="43586" y="393700"/>
                      </a:lnTo>
                      <a:lnTo>
                        <a:pt x="43773" y="394381"/>
                      </a:lnTo>
                      <a:lnTo>
                        <a:pt x="44373" y="394970"/>
                      </a:lnTo>
                      <a:lnTo>
                        <a:pt x="47282" y="394970"/>
                      </a:lnTo>
                      <a:lnTo>
                        <a:pt x="47034" y="393700"/>
                      </a:lnTo>
                      <a:close/>
                    </a:path>
                    <a:path w="125730" h="603250">
                      <a:moveTo>
                        <a:pt x="43586" y="393700"/>
                      </a:moveTo>
                      <a:lnTo>
                        <a:pt x="43390" y="394006"/>
                      </a:lnTo>
                      <a:lnTo>
                        <a:pt x="43773" y="394381"/>
                      </a:lnTo>
                      <a:lnTo>
                        <a:pt x="43586" y="393700"/>
                      </a:lnTo>
                      <a:close/>
                    </a:path>
                    <a:path w="125730" h="603250">
                      <a:moveTo>
                        <a:pt x="44576" y="388620"/>
                      </a:moveTo>
                      <a:lnTo>
                        <a:pt x="42290" y="391160"/>
                      </a:lnTo>
                      <a:lnTo>
                        <a:pt x="42811" y="391160"/>
                      </a:lnTo>
                      <a:lnTo>
                        <a:pt x="43078" y="393700"/>
                      </a:lnTo>
                      <a:lnTo>
                        <a:pt x="43390" y="394006"/>
                      </a:lnTo>
                      <a:lnTo>
                        <a:pt x="43586" y="393700"/>
                      </a:lnTo>
                      <a:lnTo>
                        <a:pt x="47034" y="393700"/>
                      </a:lnTo>
                      <a:lnTo>
                        <a:pt x="46786" y="392430"/>
                      </a:lnTo>
                      <a:lnTo>
                        <a:pt x="46380" y="391160"/>
                      </a:lnTo>
                      <a:lnTo>
                        <a:pt x="46151" y="389890"/>
                      </a:lnTo>
                      <a:lnTo>
                        <a:pt x="44576" y="388620"/>
                      </a:lnTo>
                      <a:close/>
                    </a:path>
                    <a:path w="125730" h="603250">
                      <a:moveTo>
                        <a:pt x="45846" y="386080"/>
                      </a:moveTo>
                      <a:lnTo>
                        <a:pt x="42951" y="386080"/>
                      </a:lnTo>
                      <a:lnTo>
                        <a:pt x="44881" y="387350"/>
                      </a:lnTo>
                      <a:lnTo>
                        <a:pt x="45846" y="386080"/>
                      </a:lnTo>
                      <a:close/>
                    </a:path>
                    <a:path w="125730" h="603250">
                      <a:moveTo>
                        <a:pt x="33629" y="382270"/>
                      </a:moveTo>
                      <a:lnTo>
                        <a:pt x="30721" y="382270"/>
                      </a:lnTo>
                      <a:lnTo>
                        <a:pt x="32054" y="383540"/>
                      </a:lnTo>
                      <a:lnTo>
                        <a:pt x="33629" y="382270"/>
                      </a:lnTo>
                      <a:close/>
                    </a:path>
                    <a:path w="125730" h="603250">
                      <a:moveTo>
                        <a:pt x="29338" y="379382"/>
                      </a:moveTo>
                      <a:lnTo>
                        <a:pt x="29146" y="382270"/>
                      </a:lnTo>
                      <a:lnTo>
                        <a:pt x="36779" y="382270"/>
                      </a:lnTo>
                      <a:lnTo>
                        <a:pt x="39027" y="381000"/>
                      </a:lnTo>
                      <a:lnTo>
                        <a:pt x="31445" y="381000"/>
                      </a:lnTo>
                      <a:lnTo>
                        <a:pt x="30422" y="379730"/>
                      </a:lnTo>
                      <a:lnTo>
                        <a:pt x="29984" y="379730"/>
                      </a:lnTo>
                      <a:lnTo>
                        <a:pt x="29338" y="379382"/>
                      </a:lnTo>
                      <a:close/>
                    </a:path>
                    <a:path w="125730" h="603250">
                      <a:moveTo>
                        <a:pt x="55178" y="378460"/>
                      </a:moveTo>
                      <a:lnTo>
                        <a:pt x="37553" y="378460"/>
                      </a:lnTo>
                      <a:lnTo>
                        <a:pt x="41046" y="379730"/>
                      </a:lnTo>
                      <a:lnTo>
                        <a:pt x="44462" y="382270"/>
                      </a:lnTo>
                      <a:lnTo>
                        <a:pt x="46850" y="381000"/>
                      </a:lnTo>
                      <a:lnTo>
                        <a:pt x="55435" y="381000"/>
                      </a:lnTo>
                      <a:lnTo>
                        <a:pt x="55067" y="379730"/>
                      </a:lnTo>
                      <a:lnTo>
                        <a:pt x="55178" y="378460"/>
                      </a:lnTo>
                      <a:close/>
                    </a:path>
                    <a:path w="125730" h="603250">
                      <a:moveTo>
                        <a:pt x="37553" y="378460"/>
                      </a:moveTo>
                      <a:lnTo>
                        <a:pt x="32346" y="378460"/>
                      </a:lnTo>
                      <a:lnTo>
                        <a:pt x="31445" y="381000"/>
                      </a:lnTo>
                      <a:lnTo>
                        <a:pt x="39027" y="381000"/>
                      </a:lnTo>
                      <a:lnTo>
                        <a:pt x="37553" y="378460"/>
                      </a:lnTo>
                      <a:close/>
                    </a:path>
                    <a:path w="125730" h="603250">
                      <a:moveTo>
                        <a:pt x="29400" y="378460"/>
                      </a:moveTo>
                      <a:lnTo>
                        <a:pt x="29338" y="379382"/>
                      </a:lnTo>
                      <a:lnTo>
                        <a:pt x="29984" y="379730"/>
                      </a:lnTo>
                      <a:lnTo>
                        <a:pt x="30422" y="379730"/>
                      </a:lnTo>
                      <a:lnTo>
                        <a:pt x="29400" y="378460"/>
                      </a:lnTo>
                      <a:close/>
                    </a:path>
                    <a:path w="125730" h="603250">
                      <a:moveTo>
                        <a:pt x="32346" y="378460"/>
                      </a:moveTo>
                      <a:lnTo>
                        <a:pt x="29400" y="378460"/>
                      </a:lnTo>
                      <a:lnTo>
                        <a:pt x="30422" y="379730"/>
                      </a:lnTo>
                      <a:lnTo>
                        <a:pt x="31559" y="379730"/>
                      </a:lnTo>
                      <a:lnTo>
                        <a:pt x="32346" y="378460"/>
                      </a:lnTo>
                      <a:close/>
                    </a:path>
                    <a:path w="125730" h="603250">
                      <a:moveTo>
                        <a:pt x="31292" y="304800"/>
                      </a:moveTo>
                      <a:lnTo>
                        <a:pt x="29298" y="306070"/>
                      </a:lnTo>
                      <a:lnTo>
                        <a:pt x="30429" y="307340"/>
                      </a:lnTo>
                      <a:lnTo>
                        <a:pt x="30556" y="312420"/>
                      </a:lnTo>
                      <a:lnTo>
                        <a:pt x="29286" y="312420"/>
                      </a:lnTo>
                      <a:lnTo>
                        <a:pt x="33426" y="318770"/>
                      </a:lnTo>
                      <a:lnTo>
                        <a:pt x="31648" y="322580"/>
                      </a:lnTo>
                      <a:lnTo>
                        <a:pt x="32537" y="331470"/>
                      </a:lnTo>
                      <a:lnTo>
                        <a:pt x="34493" y="336550"/>
                      </a:lnTo>
                      <a:lnTo>
                        <a:pt x="36487" y="344170"/>
                      </a:lnTo>
                      <a:lnTo>
                        <a:pt x="34975" y="347980"/>
                      </a:lnTo>
                      <a:lnTo>
                        <a:pt x="33934" y="350520"/>
                      </a:lnTo>
                      <a:lnTo>
                        <a:pt x="31127" y="350520"/>
                      </a:lnTo>
                      <a:lnTo>
                        <a:pt x="28689" y="353060"/>
                      </a:lnTo>
                      <a:lnTo>
                        <a:pt x="29248" y="355600"/>
                      </a:lnTo>
                      <a:lnTo>
                        <a:pt x="24891" y="369570"/>
                      </a:lnTo>
                      <a:lnTo>
                        <a:pt x="26682" y="373380"/>
                      </a:lnTo>
                      <a:lnTo>
                        <a:pt x="27520" y="377190"/>
                      </a:lnTo>
                      <a:lnTo>
                        <a:pt x="27622" y="378460"/>
                      </a:lnTo>
                      <a:lnTo>
                        <a:pt x="29338" y="379382"/>
                      </a:lnTo>
                      <a:lnTo>
                        <a:pt x="29400" y="378460"/>
                      </a:lnTo>
                      <a:lnTo>
                        <a:pt x="55178" y="378460"/>
                      </a:lnTo>
                      <a:lnTo>
                        <a:pt x="55511" y="374650"/>
                      </a:lnTo>
                      <a:lnTo>
                        <a:pt x="55981" y="372110"/>
                      </a:lnTo>
                      <a:lnTo>
                        <a:pt x="55892" y="369570"/>
                      </a:lnTo>
                      <a:lnTo>
                        <a:pt x="55638" y="367030"/>
                      </a:lnTo>
                      <a:lnTo>
                        <a:pt x="55219" y="364490"/>
                      </a:lnTo>
                      <a:lnTo>
                        <a:pt x="55422" y="363220"/>
                      </a:lnTo>
                      <a:lnTo>
                        <a:pt x="56959" y="360680"/>
                      </a:lnTo>
                      <a:lnTo>
                        <a:pt x="57988" y="358140"/>
                      </a:lnTo>
                      <a:lnTo>
                        <a:pt x="57848" y="358140"/>
                      </a:lnTo>
                      <a:lnTo>
                        <a:pt x="57569" y="356870"/>
                      </a:lnTo>
                      <a:lnTo>
                        <a:pt x="56857" y="355600"/>
                      </a:lnTo>
                      <a:lnTo>
                        <a:pt x="56718" y="351790"/>
                      </a:lnTo>
                      <a:lnTo>
                        <a:pt x="59689" y="351790"/>
                      </a:lnTo>
                      <a:lnTo>
                        <a:pt x="59493" y="350520"/>
                      </a:lnTo>
                      <a:lnTo>
                        <a:pt x="33934" y="350520"/>
                      </a:lnTo>
                      <a:lnTo>
                        <a:pt x="33731" y="347980"/>
                      </a:lnTo>
                      <a:lnTo>
                        <a:pt x="59099" y="347980"/>
                      </a:lnTo>
                      <a:lnTo>
                        <a:pt x="58902" y="346710"/>
                      </a:lnTo>
                      <a:lnTo>
                        <a:pt x="58953" y="345440"/>
                      </a:lnTo>
                      <a:lnTo>
                        <a:pt x="61074" y="345440"/>
                      </a:lnTo>
                      <a:lnTo>
                        <a:pt x="61480" y="344170"/>
                      </a:lnTo>
                      <a:lnTo>
                        <a:pt x="61734" y="344170"/>
                      </a:lnTo>
                      <a:lnTo>
                        <a:pt x="61772" y="342900"/>
                      </a:lnTo>
                      <a:lnTo>
                        <a:pt x="62725" y="335280"/>
                      </a:lnTo>
                      <a:lnTo>
                        <a:pt x="62776" y="334010"/>
                      </a:lnTo>
                      <a:lnTo>
                        <a:pt x="63487" y="334010"/>
                      </a:lnTo>
                      <a:lnTo>
                        <a:pt x="66166" y="332740"/>
                      </a:lnTo>
                      <a:lnTo>
                        <a:pt x="69659" y="331470"/>
                      </a:lnTo>
                      <a:lnTo>
                        <a:pt x="70624" y="328930"/>
                      </a:lnTo>
                      <a:lnTo>
                        <a:pt x="69214" y="326390"/>
                      </a:lnTo>
                      <a:lnTo>
                        <a:pt x="68427" y="322580"/>
                      </a:lnTo>
                      <a:lnTo>
                        <a:pt x="67221" y="320040"/>
                      </a:lnTo>
                      <a:lnTo>
                        <a:pt x="66967" y="316230"/>
                      </a:lnTo>
                      <a:lnTo>
                        <a:pt x="66573" y="312420"/>
                      </a:lnTo>
                      <a:lnTo>
                        <a:pt x="66078" y="309880"/>
                      </a:lnTo>
                      <a:lnTo>
                        <a:pt x="66078" y="306070"/>
                      </a:lnTo>
                      <a:lnTo>
                        <a:pt x="33553" y="306070"/>
                      </a:lnTo>
                      <a:lnTo>
                        <a:pt x="31292" y="304800"/>
                      </a:lnTo>
                      <a:close/>
                    </a:path>
                    <a:path w="125730" h="603250">
                      <a:moveTo>
                        <a:pt x="59689" y="351790"/>
                      </a:moveTo>
                      <a:lnTo>
                        <a:pt x="56718" y="351790"/>
                      </a:lnTo>
                      <a:lnTo>
                        <a:pt x="57530" y="354330"/>
                      </a:lnTo>
                      <a:lnTo>
                        <a:pt x="59689" y="351790"/>
                      </a:lnTo>
                      <a:close/>
                    </a:path>
                    <a:path w="125730" h="603250">
                      <a:moveTo>
                        <a:pt x="123469" y="88900"/>
                      </a:moveTo>
                      <a:lnTo>
                        <a:pt x="75387" y="88900"/>
                      </a:lnTo>
                      <a:lnTo>
                        <a:pt x="74980" y="95250"/>
                      </a:lnTo>
                      <a:lnTo>
                        <a:pt x="74320" y="100330"/>
                      </a:lnTo>
                      <a:lnTo>
                        <a:pt x="74206" y="109220"/>
                      </a:lnTo>
                      <a:lnTo>
                        <a:pt x="75590" y="113030"/>
                      </a:lnTo>
                      <a:lnTo>
                        <a:pt x="76492" y="114300"/>
                      </a:lnTo>
                      <a:lnTo>
                        <a:pt x="75780" y="118110"/>
                      </a:lnTo>
                      <a:lnTo>
                        <a:pt x="75260" y="119380"/>
                      </a:lnTo>
                      <a:lnTo>
                        <a:pt x="73672" y="121920"/>
                      </a:lnTo>
                      <a:lnTo>
                        <a:pt x="72186" y="124460"/>
                      </a:lnTo>
                      <a:lnTo>
                        <a:pt x="72428" y="127000"/>
                      </a:lnTo>
                      <a:lnTo>
                        <a:pt x="73621" y="128270"/>
                      </a:lnTo>
                      <a:lnTo>
                        <a:pt x="72643" y="133350"/>
                      </a:lnTo>
                      <a:lnTo>
                        <a:pt x="72135" y="138430"/>
                      </a:lnTo>
                      <a:lnTo>
                        <a:pt x="68935" y="146050"/>
                      </a:lnTo>
                      <a:lnTo>
                        <a:pt x="69008" y="148590"/>
                      </a:lnTo>
                      <a:lnTo>
                        <a:pt x="69341" y="152400"/>
                      </a:lnTo>
                      <a:lnTo>
                        <a:pt x="67690" y="156210"/>
                      </a:lnTo>
                      <a:lnTo>
                        <a:pt x="66255" y="157480"/>
                      </a:lnTo>
                      <a:lnTo>
                        <a:pt x="65912" y="162560"/>
                      </a:lnTo>
                      <a:lnTo>
                        <a:pt x="65455" y="165100"/>
                      </a:lnTo>
                      <a:lnTo>
                        <a:pt x="63017" y="171450"/>
                      </a:lnTo>
                      <a:lnTo>
                        <a:pt x="60731" y="171450"/>
                      </a:lnTo>
                      <a:lnTo>
                        <a:pt x="61188" y="176530"/>
                      </a:lnTo>
                      <a:lnTo>
                        <a:pt x="61404" y="177800"/>
                      </a:lnTo>
                      <a:lnTo>
                        <a:pt x="63969" y="181610"/>
                      </a:lnTo>
                      <a:lnTo>
                        <a:pt x="63868" y="185420"/>
                      </a:lnTo>
                      <a:lnTo>
                        <a:pt x="64312" y="186690"/>
                      </a:lnTo>
                      <a:lnTo>
                        <a:pt x="63868" y="189230"/>
                      </a:lnTo>
                      <a:lnTo>
                        <a:pt x="63271" y="189230"/>
                      </a:lnTo>
                      <a:lnTo>
                        <a:pt x="63017" y="190500"/>
                      </a:lnTo>
                      <a:lnTo>
                        <a:pt x="62814" y="193040"/>
                      </a:lnTo>
                      <a:lnTo>
                        <a:pt x="61315" y="193040"/>
                      </a:lnTo>
                      <a:lnTo>
                        <a:pt x="61163" y="194310"/>
                      </a:lnTo>
                      <a:lnTo>
                        <a:pt x="58305" y="195580"/>
                      </a:lnTo>
                      <a:lnTo>
                        <a:pt x="58483" y="195580"/>
                      </a:lnTo>
                      <a:lnTo>
                        <a:pt x="59207" y="210820"/>
                      </a:lnTo>
                      <a:lnTo>
                        <a:pt x="59969" y="218440"/>
                      </a:lnTo>
                      <a:lnTo>
                        <a:pt x="60001" y="220980"/>
                      </a:lnTo>
                      <a:lnTo>
                        <a:pt x="59905" y="222250"/>
                      </a:lnTo>
                      <a:lnTo>
                        <a:pt x="60845" y="226060"/>
                      </a:lnTo>
                      <a:lnTo>
                        <a:pt x="62585" y="227330"/>
                      </a:lnTo>
                      <a:lnTo>
                        <a:pt x="61823" y="229870"/>
                      </a:lnTo>
                      <a:lnTo>
                        <a:pt x="61912" y="232410"/>
                      </a:lnTo>
                      <a:lnTo>
                        <a:pt x="60096" y="234950"/>
                      </a:lnTo>
                      <a:lnTo>
                        <a:pt x="58102" y="236220"/>
                      </a:lnTo>
                      <a:lnTo>
                        <a:pt x="57340" y="240030"/>
                      </a:lnTo>
                      <a:lnTo>
                        <a:pt x="58610" y="241300"/>
                      </a:lnTo>
                      <a:lnTo>
                        <a:pt x="58699" y="247650"/>
                      </a:lnTo>
                      <a:lnTo>
                        <a:pt x="58953" y="247650"/>
                      </a:lnTo>
                      <a:lnTo>
                        <a:pt x="54228" y="254000"/>
                      </a:lnTo>
                      <a:lnTo>
                        <a:pt x="53898" y="260350"/>
                      </a:lnTo>
                      <a:lnTo>
                        <a:pt x="52057" y="266700"/>
                      </a:lnTo>
                      <a:lnTo>
                        <a:pt x="51028" y="270510"/>
                      </a:lnTo>
                      <a:lnTo>
                        <a:pt x="44310" y="280670"/>
                      </a:lnTo>
                      <a:lnTo>
                        <a:pt x="45885" y="281940"/>
                      </a:lnTo>
                      <a:lnTo>
                        <a:pt x="44335" y="284480"/>
                      </a:lnTo>
                      <a:lnTo>
                        <a:pt x="42760" y="285750"/>
                      </a:lnTo>
                      <a:lnTo>
                        <a:pt x="41909" y="289560"/>
                      </a:lnTo>
                      <a:lnTo>
                        <a:pt x="41452" y="290830"/>
                      </a:lnTo>
                      <a:lnTo>
                        <a:pt x="39801" y="297180"/>
                      </a:lnTo>
                      <a:lnTo>
                        <a:pt x="40043" y="297180"/>
                      </a:lnTo>
                      <a:lnTo>
                        <a:pt x="36741" y="298450"/>
                      </a:lnTo>
                      <a:lnTo>
                        <a:pt x="37757" y="299720"/>
                      </a:lnTo>
                      <a:lnTo>
                        <a:pt x="37033" y="302260"/>
                      </a:lnTo>
                      <a:lnTo>
                        <a:pt x="36855" y="304800"/>
                      </a:lnTo>
                      <a:lnTo>
                        <a:pt x="34899" y="304800"/>
                      </a:lnTo>
                      <a:lnTo>
                        <a:pt x="33553" y="306070"/>
                      </a:lnTo>
                      <a:lnTo>
                        <a:pt x="66065" y="306070"/>
                      </a:lnTo>
                      <a:lnTo>
                        <a:pt x="66547" y="302260"/>
                      </a:lnTo>
                      <a:lnTo>
                        <a:pt x="67576" y="294640"/>
                      </a:lnTo>
                      <a:lnTo>
                        <a:pt x="67970" y="292100"/>
                      </a:lnTo>
                      <a:lnTo>
                        <a:pt x="72288" y="292100"/>
                      </a:lnTo>
                      <a:lnTo>
                        <a:pt x="73621" y="290830"/>
                      </a:lnTo>
                      <a:lnTo>
                        <a:pt x="73532" y="289560"/>
                      </a:lnTo>
                      <a:lnTo>
                        <a:pt x="74129" y="289560"/>
                      </a:lnTo>
                      <a:lnTo>
                        <a:pt x="74409" y="288290"/>
                      </a:lnTo>
                      <a:lnTo>
                        <a:pt x="76428" y="288290"/>
                      </a:lnTo>
                      <a:lnTo>
                        <a:pt x="76555" y="284480"/>
                      </a:lnTo>
                      <a:lnTo>
                        <a:pt x="77342" y="280670"/>
                      </a:lnTo>
                      <a:lnTo>
                        <a:pt x="75387" y="275590"/>
                      </a:lnTo>
                      <a:lnTo>
                        <a:pt x="74244" y="274320"/>
                      </a:lnTo>
                      <a:lnTo>
                        <a:pt x="74548" y="273050"/>
                      </a:lnTo>
                      <a:lnTo>
                        <a:pt x="75514" y="273050"/>
                      </a:lnTo>
                      <a:lnTo>
                        <a:pt x="76441" y="271780"/>
                      </a:lnTo>
                      <a:lnTo>
                        <a:pt x="76974" y="270510"/>
                      </a:lnTo>
                      <a:lnTo>
                        <a:pt x="77317" y="270510"/>
                      </a:lnTo>
                      <a:lnTo>
                        <a:pt x="77850" y="269240"/>
                      </a:lnTo>
                      <a:lnTo>
                        <a:pt x="78066" y="267970"/>
                      </a:lnTo>
                      <a:lnTo>
                        <a:pt x="78676" y="265430"/>
                      </a:lnTo>
                      <a:lnTo>
                        <a:pt x="82105" y="257810"/>
                      </a:lnTo>
                      <a:lnTo>
                        <a:pt x="83883" y="257810"/>
                      </a:lnTo>
                      <a:lnTo>
                        <a:pt x="85140" y="256540"/>
                      </a:lnTo>
                      <a:lnTo>
                        <a:pt x="84556" y="256540"/>
                      </a:lnTo>
                      <a:lnTo>
                        <a:pt x="84213" y="255270"/>
                      </a:lnTo>
                      <a:lnTo>
                        <a:pt x="84124" y="252730"/>
                      </a:lnTo>
                      <a:lnTo>
                        <a:pt x="84188" y="251460"/>
                      </a:lnTo>
                      <a:lnTo>
                        <a:pt x="85509" y="243840"/>
                      </a:lnTo>
                      <a:lnTo>
                        <a:pt x="85128" y="242570"/>
                      </a:lnTo>
                      <a:lnTo>
                        <a:pt x="82778" y="242570"/>
                      </a:lnTo>
                      <a:lnTo>
                        <a:pt x="81838" y="241300"/>
                      </a:lnTo>
                      <a:lnTo>
                        <a:pt x="81610" y="240030"/>
                      </a:lnTo>
                      <a:lnTo>
                        <a:pt x="80721" y="237490"/>
                      </a:lnTo>
                      <a:lnTo>
                        <a:pt x="81508" y="234950"/>
                      </a:lnTo>
                      <a:lnTo>
                        <a:pt x="80759" y="231140"/>
                      </a:lnTo>
                      <a:lnTo>
                        <a:pt x="80479" y="229870"/>
                      </a:lnTo>
                      <a:lnTo>
                        <a:pt x="78993" y="226060"/>
                      </a:lnTo>
                      <a:lnTo>
                        <a:pt x="78752" y="226060"/>
                      </a:lnTo>
                      <a:lnTo>
                        <a:pt x="77685" y="223520"/>
                      </a:lnTo>
                      <a:lnTo>
                        <a:pt x="77254" y="222250"/>
                      </a:lnTo>
                      <a:lnTo>
                        <a:pt x="77558" y="222250"/>
                      </a:lnTo>
                      <a:lnTo>
                        <a:pt x="77876" y="220980"/>
                      </a:lnTo>
                      <a:lnTo>
                        <a:pt x="79006" y="220980"/>
                      </a:lnTo>
                      <a:lnTo>
                        <a:pt x="79006" y="219710"/>
                      </a:lnTo>
                      <a:lnTo>
                        <a:pt x="78676" y="219710"/>
                      </a:lnTo>
                      <a:lnTo>
                        <a:pt x="77889" y="218440"/>
                      </a:lnTo>
                      <a:lnTo>
                        <a:pt x="77025" y="217170"/>
                      </a:lnTo>
                      <a:lnTo>
                        <a:pt x="74599" y="212090"/>
                      </a:lnTo>
                      <a:lnTo>
                        <a:pt x="74396" y="209550"/>
                      </a:lnTo>
                      <a:lnTo>
                        <a:pt x="75895" y="207010"/>
                      </a:lnTo>
                      <a:lnTo>
                        <a:pt x="78003" y="207010"/>
                      </a:lnTo>
                      <a:lnTo>
                        <a:pt x="78244" y="205740"/>
                      </a:lnTo>
                      <a:lnTo>
                        <a:pt x="78778" y="205740"/>
                      </a:lnTo>
                      <a:lnTo>
                        <a:pt x="78612" y="204470"/>
                      </a:lnTo>
                      <a:lnTo>
                        <a:pt x="78574" y="201930"/>
                      </a:lnTo>
                      <a:lnTo>
                        <a:pt x="78790" y="200660"/>
                      </a:lnTo>
                      <a:lnTo>
                        <a:pt x="79578" y="198120"/>
                      </a:lnTo>
                      <a:lnTo>
                        <a:pt x="79794" y="198120"/>
                      </a:lnTo>
                      <a:lnTo>
                        <a:pt x="80441" y="196850"/>
                      </a:lnTo>
                      <a:lnTo>
                        <a:pt x="81368" y="195580"/>
                      </a:lnTo>
                      <a:lnTo>
                        <a:pt x="82676" y="194310"/>
                      </a:lnTo>
                      <a:lnTo>
                        <a:pt x="83667" y="194310"/>
                      </a:lnTo>
                      <a:lnTo>
                        <a:pt x="85001" y="193040"/>
                      </a:lnTo>
                      <a:lnTo>
                        <a:pt x="84975" y="191770"/>
                      </a:lnTo>
                      <a:lnTo>
                        <a:pt x="83502" y="191770"/>
                      </a:lnTo>
                      <a:lnTo>
                        <a:pt x="83578" y="186690"/>
                      </a:lnTo>
                      <a:lnTo>
                        <a:pt x="83781" y="184150"/>
                      </a:lnTo>
                      <a:lnTo>
                        <a:pt x="82410" y="181610"/>
                      </a:lnTo>
                      <a:lnTo>
                        <a:pt x="82321" y="177800"/>
                      </a:lnTo>
                      <a:lnTo>
                        <a:pt x="83270" y="177800"/>
                      </a:lnTo>
                      <a:lnTo>
                        <a:pt x="85242" y="173990"/>
                      </a:lnTo>
                      <a:lnTo>
                        <a:pt x="86105" y="170180"/>
                      </a:lnTo>
                      <a:lnTo>
                        <a:pt x="87223" y="165100"/>
                      </a:lnTo>
                      <a:lnTo>
                        <a:pt x="87604" y="165100"/>
                      </a:lnTo>
                      <a:lnTo>
                        <a:pt x="89026" y="161290"/>
                      </a:lnTo>
                      <a:lnTo>
                        <a:pt x="92138" y="158750"/>
                      </a:lnTo>
                      <a:lnTo>
                        <a:pt x="94246" y="156210"/>
                      </a:lnTo>
                      <a:lnTo>
                        <a:pt x="94449" y="156210"/>
                      </a:lnTo>
                      <a:lnTo>
                        <a:pt x="96659" y="153670"/>
                      </a:lnTo>
                      <a:lnTo>
                        <a:pt x="97777" y="148590"/>
                      </a:lnTo>
                      <a:lnTo>
                        <a:pt x="99352" y="146050"/>
                      </a:lnTo>
                      <a:lnTo>
                        <a:pt x="99948" y="144780"/>
                      </a:lnTo>
                      <a:lnTo>
                        <a:pt x="106146" y="144780"/>
                      </a:lnTo>
                      <a:lnTo>
                        <a:pt x="106578" y="143510"/>
                      </a:lnTo>
                      <a:lnTo>
                        <a:pt x="106730" y="142240"/>
                      </a:lnTo>
                      <a:lnTo>
                        <a:pt x="106667" y="140970"/>
                      </a:lnTo>
                      <a:lnTo>
                        <a:pt x="106286" y="140970"/>
                      </a:lnTo>
                      <a:lnTo>
                        <a:pt x="105333" y="138430"/>
                      </a:lnTo>
                      <a:lnTo>
                        <a:pt x="103225" y="137160"/>
                      </a:lnTo>
                      <a:lnTo>
                        <a:pt x="102590" y="134620"/>
                      </a:lnTo>
                      <a:lnTo>
                        <a:pt x="102819" y="133350"/>
                      </a:lnTo>
                      <a:lnTo>
                        <a:pt x="103200" y="130810"/>
                      </a:lnTo>
                      <a:lnTo>
                        <a:pt x="103327" y="115570"/>
                      </a:lnTo>
                      <a:lnTo>
                        <a:pt x="104800" y="115570"/>
                      </a:lnTo>
                      <a:lnTo>
                        <a:pt x="106019" y="114300"/>
                      </a:lnTo>
                      <a:lnTo>
                        <a:pt x="104686" y="113030"/>
                      </a:lnTo>
                      <a:lnTo>
                        <a:pt x="103111" y="110490"/>
                      </a:lnTo>
                      <a:lnTo>
                        <a:pt x="103301" y="107950"/>
                      </a:lnTo>
                      <a:lnTo>
                        <a:pt x="104025" y="106680"/>
                      </a:lnTo>
                      <a:lnTo>
                        <a:pt x="104952" y="106680"/>
                      </a:lnTo>
                      <a:lnTo>
                        <a:pt x="105371" y="105410"/>
                      </a:lnTo>
                      <a:lnTo>
                        <a:pt x="105829" y="105410"/>
                      </a:lnTo>
                      <a:lnTo>
                        <a:pt x="107187" y="104140"/>
                      </a:lnTo>
                      <a:lnTo>
                        <a:pt x="108381" y="102870"/>
                      </a:lnTo>
                      <a:lnTo>
                        <a:pt x="117106" y="99060"/>
                      </a:lnTo>
                      <a:lnTo>
                        <a:pt x="118351" y="99060"/>
                      </a:lnTo>
                      <a:lnTo>
                        <a:pt x="119379" y="97790"/>
                      </a:lnTo>
                      <a:lnTo>
                        <a:pt x="120497" y="97790"/>
                      </a:lnTo>
                      <a:lnTo>
                        <a:pt x="122034" y="95250"/>
                      </a:lnTo>
                      <a:lnTo>
                        <a:pt x="122402" y="91440"/>
                      </a:lnTo>
                      <a:lnTo>
                        <a:pt x="123469" y="88900"/>
                      </a:lnTo>
                      <a:close/>
                    </a:path>
                    <a:path w="125730" h="603250">
                      <a:moveTo>
                        <a:pt x="72288" y="292100"/>
                      </a:moveTo>
                      <a:lnTo>
                        <a:pt x="67970" y="292100"/>
                      </a:lnTo>
                      <a:lnTo>
                        <a:pt x="70954" y="293370"/>
                      </a:lnTo>
                      <a:lnTo>
                        <a:pt x="72288" y="292100"/>
                      </a:lnTo>
                      <a:close/>
                    </a:path>
                    <a:path w="125730" h="603250">
                      <a:moveTo>
                        <a:pt x="83270" y="177800"/>
                      </a:moveTo>
                      <a:lnTo>
                        <a:pt x="82321" y="177800"/>
                      </a:lnTo>
                      <a:lnTo>
                        <a:pt x="82613" y="179070"/>
                      </a:lnTo>
                      <a:lnTo>
                        <a:pt x="83270" y="177800"/>
                      </a:lnTo>
                      <a:close/>
                    </a:path>
                    <a:path w="125730" h="603250">
                      <a:moveTo>
                        <a:pt x="103187" y="144780"/>
                      </a:moveTo>
                      <a:lnTo>
                        <a:pt x="102031" y="144780"/>
                      </a:lnTo>
                      <a:lnTo>
                        <a:pt x="102107" y="146050"/>
                      </a:lnTo>
                      <a:lnTo>
                        <a:pt x="102730" y="146050"/>
                      </a:lnTo>
                      <a:lnTo>
                        <a:pt x="103187" y="144780"/>
                      </a:lnTo>
                      <a:close/>
                    </a:path>
                    <a:path w="125730" h="603250">
                      <a:moveTo>
                        <a:pt x="96401" y="13970"/>
                      </a:moveTo>
                      <a:lnTo>
                        <a:pt x="76949" y="13970"/>
                      </a:lnTo>
                      <a:lnTo>
                        <a:pt x="78371" y="22860"/>
                      </a:lnTo>
                      <a:lnTo>
                        <a:pt x="79239" y="30480"/>
                      </a:lnTo>
                      <a:lnTo>
                        <a:pt x="79849" y="36830"/>
                      </a:lnTo>
                      <a:lnTo>
                        <a:pt x="80898" y="50800"/>
                      </a:lnTo>
                      <a:lnTo>
                        <a:pt x="81140" y="53340"/>
                      </a:lnTo>
                      <a:lnTo>
                        <a:pt x="82067" y="57150"/>
                      </a:lnTo>
                      <a:lnTo>
                        <a:pt x="78346" y="78740"/>
                      </a:lnTo>
                      <a:lnTo>
                        <a:pt x="79171" y="83820"/>
                      </a:lnTo>
                      <a:lnTo>
                        <a:pt x="74320" y="83820"/>
                      </a:lnTo>
                      <a:lnTo>
                        <a:pt x="74307" y="85090"/>
                      </a:lnTo>
                      <a:lnTo>
                        <a:pt x="73799" y="87630"/>
                      </a:lnTo>
                      <a:lnTo>
                        <a:pt x="73621" y="90170"/>
                      </a:lnTo>
                      <a:lnTo>
                        <a:pt x="75082" y="90170"/>
                      </a:lnTo>
                      <a:lnTo>
                        <a:pt x="75387" y="88900"/>
                      </a:lnTo>
                      <a:lnTo>
                        <a:pt x="123469" y="88900"/>
                      </a:lnTo>
                      <a:lnTo>
                        <a:pt x="124536" y="86360"/>
                      </a:lnTo>
                      <a:lnTo>
                        <a:pt x="124853" y="83820"/>
                      </a:lnTo>
                      <a:lnTo>
                        <a:pt x="125196" y="82550"/>
                      </a:lnTo>
                      <a:lnTo>
                        <a:pt x="125069" y="82550"/>
                      </a:lnTo>
                      <a:lnTo>
                        <a:pt x="124840" y="81280"/>
                      </a:lnTo>
                      <a:lnTo>
                        <a:pt x="124650" y="81280"/>
                      </a:lnTo>
                      <a:lnTo>
                        <a:pt x="124104" y="80010"/>
                      </a:lnTo>
                      <a:lnTo>
                        <a:pt x="113398" y="80010"/>
                      </a:lnTo>
                      <a:lnTo>
                        <a:pt x="113156" y="78740"/>
                      </a:lnTo>
                      <a:lnTo>
                        <a:pt x="112839" y="78740"/>
                      </a:lnTo>
                      <a:lnTo>
                        <a:pt x="113182" y="77470"/>
                      </a:lnTo>
                      <a:lnTo>
                        <a:pt x="113144" y="74930"/>
                      </a:lnTo>
                      <a:lnTo>
                        <a:pt x="112433" y="73660"/>
                      </a:lnTo>
                      <a:lnTo>
                        <a:pt x="112128" y="72390"/>
                      </a:lnTo>
                      <a:lnTo>
                        <a:pt x="112179" y="71120"/>
                      </a:lnTo>
                      <a:lnTo>
                        <a:pt x="112090" y="69850"/>
                      </a:lnTo>
                      <a:lnTo>
                        <a:pt x="111099" y="68580"/>
                      </a:lnTo>
                      <a:lnTo>
                        <a:pt x="110426" y="67310"/>
                      </a:lnTo>
                      <a:lnTo>
                        <a:pt x="109702" y="66040"/>
                      </a:lnTo>
                      <a:lnTo>
                        <a:pt x="109791" y="64770"/>
                      </a:lnTo>
                      <a:lnTo>
                        <a:pt x="109308" y="62230"/>
                      </a:lnTo>
                      <a:lnTo>
                        <a:pt x="109029" y="57150"/>
                      </a:lnTo>
                      <a:lnTo>
                        <a:pt x="107797" y="55880"/>
                      </a:lnTo>
                      <a:lnTo>
                        <a:pt x="107391" y="54610"/>
                      </a:lnTo>
                      <a:lnTo>
                        <a:pt x="107022" y="54610"/>
                      </a:lnTo>
                      <a:lnTo>
                        <a:pt x="106222" y="53340"/>
                      </a:lnTo>
                      <a:lnTo>
                        <a:pt x="105892" y="52070"/>
                      </a:lnTo>
                      <a:lnTo>
                        <a:pt x="104838" y="52070"/>
                      </a:lnTo>
                      <a:lnTo>
                        <a:pt x="103771" y="50800"/>
                      </a:lnTo>
                      <a:lnTo>
                        <a:pt x="103530" y="50800"/>
                      </a:lnTo>
                      <a:lnTo>
                        <a:pt x="104101" y="48260"/>
                      </a:lnTo>
                      <a:lnTo>
                        <a:pt x="104368" y="46990"/>
                      </a:lnTo>
                      <a:lnTo>
                        <a:pt x="103708" y="45720"/>
                      </a:lnTo>
                      <a:lnTo>
                        <a:pt x="103314" y="45720"/>
                      </a:lnTo>
                      <a:lnTo>
                        <a:pt x="102006" y="44450"/>
                      </a:lnTo>
                      <a:lnTo>
                        <a:pt x="100279" y="43180"/>
                      </a:lnTo>
                      <a:lnTo>
                        <a:pt x="100063" y="41910"/>
                      </a:lnTo>
                      <a:lnTo>
                        <a:pt x="99936" y="39370"/>
                      </a:lnTo>
                      <a:lnTo>
                        <a:pt x="100088" y="39370"/>
                      </a:lnTo>
                      <a:lnTo>
                        <a:pt x="100228" y="38100"/>
                      </a:lnTo>
                      <a:lnTo>
                        <a:pt x="102247" y="38100"/>
                      </a:lnTo>
                      <a:lnTo>
                        <a:pt x="103073" y="36830"/>
                      </a:lnTo>
                      <a:lnTo>
                        <a:pt x="103657" y="36830"/>
                      </a:lnTo>
                      <a:lnTo>
                        <a:pt x="102505" y="34290"/>
                      </a:lnTo>
                      <a:lnTo>
                        <a:pt x="101117" y="34290"/>
                      </a:lnTo>
                      <a:lnTo>
                        <a:pt x="102171" y="31750"/>
                      </a:lnTo>
                      <a:lnTo>
                        <a:pt x="102946" y="30480"/>
                      </a:lnTo>
                      <a:lnTo>
                        <a:pt x="103784" y="29210"/>
                      </a:lnTo>
                      <a:lnTo>
                        <a:pt x="104851" y="29210"/>
                      </a:lnTo>
                      <a:lnTo>
                        <a:pt x="103136" y="26670"/>
                      </a:lnTo>
                      <a:lnTo>
                        <a:pt x="96304" y="15240"/>
                      </a:lnTo>
                      <a:lnTo>
                        <a:pt x="96401" y="13970"/>
                      </a:lnTo>
                      <a:close/>
                    </a:path>
                    <a:path w="125730" h="603250">
                      <a:moveTo>
                        <a:pt x="101930" y="33020"/>
                      </a:moveTo>
                      <a:lnTo>
                        <a:pt x="101117" y="34290"/>
                      </a:lnTo>
                      <a:lnTo>
                        <a:pt x="102505" y="34290"/>
                      </a:lnTo>
                      <a:lnTo>
                        <a:pt x="101930" y="33020"/>
                      </a:lnTo>
                      <a:close/>
                    </a:path>
                    <a:path w="125730" h="603250">
                      <a:moveTo>
                        <a:pt x="89712" y="0"/>
                      </a:moveTo>
                      <a:lnTo>
                        <a:pt x="87299" y="1270"/>
                      </a:lnTo>
                      <a:lnTo>
                        <a:pt x="84531" y="3810"/>
                      </a:lnTo>
                      <a:lnTo>
                        <a:pt x="85369" y="5080"/>
                      </a:lnTo>
                      <a:lnTo>
                        <a:pt x="85610" y="10160"/>
                      </a:lnTo>
                      <a:lnTo>
                        <a:pt x="75984" y="12700"/>
                      </a:lnTo>
                      <a:lnTo>
                        <a:pt x="76517" y="15240"/>
                      </a:lnTo>
                      <a:lnTo>
                        <a:pt x="76949" y="13970"/>
                      </a:lnTo>
                      <a:lnTo>
                        <a:pt x="96401" y="13970"/>
                      </a:lnTo>
                      <a:lnTo>
                        <a:pt x="96596" y="11430"/>
                      </a:lnTo>
                      <a:lnTo>
                        <a:pt x="96113" y="10160"/>
                      </a:lnTo>
                      <a:lnTo>
                        <a:pt x="96037" y="8890"/>
                      </a:lnTo>
                      <a:lnTo>
                        <a:pt x="95872" y="8890"/>
                      </a:lnTo>
                      <a:lnTo>
                        <a:pt x="95415" y="7620"/>
                      </a:lnTo>
                      <a:lnTo>
                        <a:pt x="92506" y="7620"/>
                      </a:lnTo>
                      <a:lnTo>
                        <a:pt x="90843" y="3810"/>
                      </a:lnTo>
                      <a:lnTo>
                        <a:pt x="90360" y="1270"/>
                      </a:lnTo>
                      <a:lnTo>
                        <a:pt x="89712" y="0"/>
                      </a:lnTo>
                      <a:close/>
                    </a:path>
                    <a:path w="125730" h="603250">
                      <a:moveTo>
                        <a:pt x="92405" y="6350"/>
                      </a:moveTo>
                      <a:lnTo>
                        <a:pt x="92506" y="7620"/>
                      </a:lnTo>
                      <a:lnTo>
                        <a:pt x="94462" y="7620"/>
                      </a:lnTo>
                      <a:lnTo>
                        <a:pt x="92405" y="635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592" name="object 132">
                  <a:extLst>
                    <a:ext uri="{FF2B5EF4-FFF2-40B4-BE49-F238E27FC236}">
                      <a16:creationId xmlns:a16="http://schemas.microsoft.com/office/drawing/2014/main" id="{AD148EB3-EA4E-646A-0A18-7173CD91EDCD}"/>
                    </a:ext>
                  </a:extLst>
                </p:cNvPr>
                <p:cNvPicPr/>
                <p:nvPr/>
              </p:nvPicPr>
              <p:blipFill>
                <a:blip r:embed="rId14" cstate="print"/>
                <a:stretch>
                  <a:fillRect/>
                </a:stretch>
              </p:blipFill>
              <p:spPr>
                <a:xfrm>
                  <a:off x="1744482" y="3018853"/>
                  <a:ext cx="174612" cy="193039"/>
                </a:xfrm>
                <a:prstGeom prst="rect">
                  <a:avLst/>
                </a:prstGeom>
              </p:spPr>
            </p:pic>
            <p:sp>
              <p:nvSpPr>
                <p:cNvPr id="593" name="object 133">
                  <a:extLst>
                    <a:ext uri="{FF2B5EF4-FFF2-40B4-BE49-F238E27FC236}">
                      <a16:creationId xmlns:a16="http://schemas.microsoft.com/office/drawing/2014/main" id="{CCF93817-24AB-6423-A613-518342BF39D0}"/>
                    </a:ext>
                  </a:extLst>
                </p:cNvPr>
                <p:cNvSpPr/>
                <p:nvPr/>
              </p:nvSpPr>
              <p:spPr>
                <a:xfrm>
                  <a:off x="1960524" y="2795304"/>
                  <a:ext cx="42545" cy="53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2544" h="53975">
                      <a:moveTo>
                        <a:pt x="0" y="50469"/>
                      </a:moveTo>
                      <a:lnTo>
                        <a:pt x="1634" y="51396"/>
                      </a:lnTo>
                      <a:lnTo>
                        <a:pt x="3347" y="52374"/>
                      </a:lnTo>
                      <a:lnTo>
                        <a:pt x="5422" y="53276"/>
                      </a:lnTo>
                      <a:lnTo>
                        <a:pt x="6388" y="53835"/>
                      </a:lnTo>
                      <a:lnTo>
                        <a:pt x="7200" y="53695"/>
                      </a:lnTo>
                      <a:lnTo>
                        <a:pt x="7162" y="53225"/>
                      </a:lnTo>
                      <a:lnTo>
                        <a:pt x="8064" y="52933"/>
                      </a:lnTo>
                      <a:lnTo>
                        <a:pt x="8348" y="52755"/>
                      </a:lnTo>
                      <a:lnTo>
                        <a:pt x="10058" y="51828"/>
                      </a:lnTo>
                      <a:lnTo>
                        <a:pt x="12331" y="51485"/>
                      </a:lnTo>
                      <a:lnTo>
                        <a:pt x="14554" y="51219"/>
                      </a:lnTo>
                      <a:lnTo>
                        <a:pt x="15544" y="50952"/>
                      </a:lnTo>
                      <a:lnTo>
                        <a:pt x="16535" y="50723"/>
                      </a:lnTo>
                      <a:lnTo>
                        <a:pt x="26542" y="50698"/>
                      </a:lnTo>
                      <a:lnTo>
                        <a:pt x="26711" y="50558"/>
                      </a:lnTo>
                      <a:lnTo>
                        <a:pt x="228" y="50546"/>
                      </a:lnTo>
                      <a:lnTo>
                        <a:pt x="0" y="50469"/>
                      </a:lnTo>
                      <a:close/>
                    </a:path>
                    <a:path w="42544" h="53975">
                      <a:moveTo>
                        <a:pt x="26526" y="50711"/>
                      </a:moveTo>
                      <a:lnTo>
                        <a:pt x="18402" y="50711"/>
                      </a:lnTo>
                      <a:lnTo>
                        <a:pt x="18458" y="51219"/>
                      </a:lnTo>
                      <a:lnTo>
                        <a:pt x="18738" y="52349"/>
                      </a:lnTo>
                      <a:lnTo>
                        <a:pt x="19062" y="52603"/>
                      </a:lnTo>
                      <a:lnTo>
                        <a:pt x="19469" y="52768"/>
                      </a:lnTo>
                      <a:lnTo>
                        <a:pt x="22669" y="52933"/>
                      </a:lnTo>
                      <a:lnTo>
                        <a:pt x="23482" y="52755"/>
                      </a:lnTo>
                      <a:lnTo>
                        <a:pt x="24218" y="52425"/>
                      </a:lnTo>
                      <a:lnTo>
                        <a:pt x="24701" y="52133"/>
                      </a:lnTo>
                      <a:lnTo>
                        <a:pt x="25145" y="51752"/>
                      </a:lnTo>
                      <a:lnTo>
                        <a:pt x="26526" y="50711"/>
                      </a:lnTo>
                      <a:close/>
                    </a:path>
                    <a:path w="42544" h="53975">
                      <a:moveTo>
                        <a:pt x="18327" y="50723"/>
                      </a:moveTo>
                      <a:lnTo>
                        <a:pt x="16535" y="50723"/>
                      </a:lnTo>
                      <a:lnTo>
                        <a:pt x="17322" y="50863"/>
                      </a:lnTo>
                      <a:lnTo>
                        <a:pt x="17881" y="50800"/>
                      </a:lnTo>
                      <a:lnTo>
                        <a:pt x="18327" y="50723"/>
                      </a:lnTo>
                      <a:close/>
                    </a:path>
                    <a:path w="42544" h="53975">
                      <a:moveTo>
                        <a:pt x="7988" y="0"/>
                      </a:moveTo>
                      <a:lnTo>
                        <a:pt x="7315" y="3441"/>
                      </a:lnTo>
                      <a:lnTo>
                        <a:pt x="6476" y="5486"/>
                      </a:lnTo>
                      <a:lnTo>
                        <a:pt x="6095" y="6972"/>
                      </a:lnTo>
                      <a:lnTo>
                        <a:pt x="1421" y="15201"/>
                      </a:lnTo>
                      <a:lnTo>
                        <a:pt x="1816" y="19088"/>
                      </a:lnTo>
                      <a:lnTo>
                        <a:pt x="2682" y="21590"/>
                      </a:lnTo>
                      <a:lnTo>
                        <a:pt x="4648" y="26085"/>
                      </a:lnTo>
                      <a:lnTo>
                        <a:pt x="5778" y="28219"/>
                      </a:lnTo>
                      <a:lnTo>
                        <a:pt x="7137" y="30949"/>
                      </a:lnTo>
                      <a:lnTo>
                        <a:pt x="7759" y="31534"/>
                      </a:lnTo>
                      <a:lnTo>
                        <a:pt x="8089" y="32118"/>
                      </a:lnTo>
                      <a:lnTo>
                        <a:pt x="8394" y="33337"/>
                      </a:lnTo>
                      <a:lnTo>
                        <a:pt x="8254" y="34048"/>
                      </a:lnTo>
                      <a:lnTo>
                        <a:pt x="7823" y="34988"/>
                      </a:lnTo>
                      <a:lnTo>
                        <a:pt x="7073" y="36156"/>
                      </a:lnTo>
                      <a:lnTo>
                        <a:pt x="6769" y="37604"/>
                      </a:lnTo>
                      <a:lnTo>
                        <a:pt x="6680" y="39535"/>
                      </a:lnTo>
                      <a:lnTo>
                        <a:pt x="6527" y="39839"/>
                      </a:lnTo>
                      <a:lnTo>
                        <a:pt x="6438" y="40157"/>
                      </a:lnTo>
                      <a:lnTo>
                        <a:pt x="6095" y="42659"/>
                      </a:lnTo>
                      <a:lnTo>
                        <a:pt x="5740" y="43561"/>
                      </a:lnTo>
                      <a:lnTo>
                        <a:pt x="5638" y="43713"/>
                      </a:lnTo>
                      <a:lnTo>
                        <a:pt x="5587" y="43967"/>
                      </a:lnTo>
                      <a:lnTo>
                        <a:pt x="1066" y="49314"/>
                      </a:lnTo>
                      <a:lnTo>
                        <a:pt x="0" y="50469"/>
                      </a:lnTo>
                      <a:lnTo>
                        <a:pt x="228" y="50546"/>
                      </a:lnTo>
                      <a:lnTo>
                        <a:pt x="26711" y="50558"/>
                      </a:lnTo>
                      <a:lnTo>
                        <a:pt x="27444" y="49949"/>
                      </a:lnTo>
                      <a:lnTo>
                        <a:pt x="28155" y="49072"/>
                      </a:lnTo>
                      <a:lnTo>
                        <a:pt x="28282" y="48882"/>
                      </a:lnTo>
                      <a:lnTo>
                        <a:pt x="28460" y="48679"/>
                      </a:lnTo>
                      <a:lnTo>
                        <a:pt x="29235" y="47167"/>
                      </a:lnTo>
                      <a:lnTo>
                        <a:pt x="29349" y="45897"/>
                      </a:lnTo>
                      <a:lnTo>
                        <a:pt x="30111" y="44221"/>
                      </a:lnTo>
                      <a:lnTo>
                        <a:pt x="30772" y="43014"/>
                      </a:lnTo>
                      <a:lnTo>
                        <a:pt x="31241" y="41884"/>
                      </a:lnTo>
                      <a:lnTo>
                        <a:pt x="31762" y="40728"/>
                      </a:lnTo>
                      <a:lnTo>
                        <a:pt x="32232" y="39370"/>
                      </a:lnTo>
                      <a:lnTo>
                        <a:pt x="33134" y="38112"/>
                      </a:lnTo>
                      <a:lnTo>
                        <a:pt x="34772" y="35344"/>
                      </a:lnTo>
                      <a:lnTo>
                        <a:pt x="37130" y="32473"/>
                      </a:lnTo>
                      <a:lnTo>
                        <a:pt x="41376" y="26492"/>
                      </a:lnTo>
                      <a:lnTo>
                        <a:pt x="42138" y="24434"/>
                      </a:lnTo>
                      <a:lnTo>
                        <a:pt x="41503" y="24193"/>
                      </a:lnTo>
                      <a:lnTo>
                        <a:pt x="41313" y="22809"/>
                      </a:lnTo>
                      <a:lnTo>
                        <a:pt x="41071" y="21882"/>
                      </a:lnTo>
                      <a:lnTo>
                        <a:pt x="36461" y="21882"/>
                      </a:lnTo>
                      <a:lnTo>
                        <a:pt x="36990" y="21247"/>
                      </a:lnTo>
                      <a:lnTo>
                        <a:pt x="37299" y="20840"/>
                      </a:lnTo>
                      <a:lnTo>
                        <a:pt x="37655" y="20281"/>
                      </a:lnTo>
                      <a:lnTo>
                        <a:pt x="37477" y="19392"/>
                      </a:lnTo>
                      <a:lnTo>
                        <a:pt x="36918" y="18732"/>
                      </a:lnTo>
                      <a:lnTo>
                        <a:pt x="35101" y="16078"/>
                      </a:lnTo>
                      <a:lnTo>
                        <a:pt x="32042" y="16078"/>
                      </a:lnTo>
                      <a:lnTo>
                        <a:pt x="32816" y="15240"/>
                      </a:lnTo>
                      <a:lnTo>
                        <a:pt x="32943" y="14312"/>
                      </a:lnTo>
                      <a:lnTo>
                        <a:pt x="32519" y="14033"/>
                      </a:lnTo>
                      <a:lnTo>
                        <a:pt x="31521" y="14033"/>
                      </a:lnTo>
                      <a:lnTo>
                        <a:pt x="28778" y="9309"/>
                      </a:lnTo>
                      <a:lnTo>
                        <a:pt x="23291" y="6007"/>
                      </a:lnTo>
                      <a:lnTo>
                        <a:pt x="18072" y="4864"/>
                      </a:lnTo>
                      <a:lnTo>
                        <a:pt x="9347" y="1244"/>
                      </a:lnTo>
                      <a:lnTo>
                        <a:pt x="9550" y="317"/>
                      </a:lnTo>
                      <a:lnTo>
                        <a:pt x="7988" y="0"/>
                      </a:lnTo>
                      <a:close/>
                    </a:path>
                    <a:path w="42544" h="53975">
                      <a:moveTo>
                        <a:pt x="38176" y="17576"/>
                      </a:moveTo>
                      <a:lnTo>
                        <a:pt x="38002" y="18084"/>
                      </a:lnTo>
                      <a:lnTo>
                        <a:pt x="37921" y="18732"/>
                      </a:lnTo>
                      <a:lnTo>
                        <a:pt x="37996" y="19646"/>
                      </a:lnTo>
                      <a:lnTo>
                        <a:pt x="37655" y="20281"/>
                      </a:lnTo>
                      <a:lnTo>
                        <a:pt x="37731" y="21056"/>
                      </a:lnTo>
                      <a:lnTo>
                        <a:pt x="37172" y="21590"/>
                      </a:lnTo>
                      <a:lnTo>
                        <a:pt x="36461" y="21882"/>
                      </a:lnTo>
                      <a:lnTo>
                        <a:pt x="41071" y="21882"/>
                      </a:lnTo>
                      <a:lnTo>
                        <a:pt x="40979" y="21526"/>
                      </a:lnTo>
                      <a:lnTo>
                        <a:pt x="40861" y="20840"/>
                      </a:lnTo>
                      <a:lnTo>
                        <a:pt x="40728" y="19646"/>
                      </a:lnTo>
                      <a:lnTo>
                        <a:pt x="39001" y="18084"/>
                      </a:lnTo>
                      <a:lnTo>
                        <a:pt x="38176" y="17576"/>
                      </a:lnTo>
                      <a:close/>
                    </a:path>
                    <a:path w="42544" h="53975">
                      <a:moveTo>
                        <a:pt x="34950" y="15201"/>
                      </a:moveTo>
                      <a:lnTo>
                        <a:pt x="32042" y="16078"/>
                      </a:lnTo>
                      <a:lnTo>
                        <a:pt x="35101" y="16078"/>
                      </a:lnTo>
                      <a:lnTo>
                        <a:pt x="34683" y="15468"/>
                      </a:lnTo>
                      <a:lnTo>
                        <a:pt x="34950" y="15201"/>
                      </a:lnTo>
                      <a:close/>
                    </a:path>
                    <a:path w="42544" h="53975">
                      <a:moveTo>
                        <a:pt x="31902" y="13627"/>
                      </a:moveTo>
                      <a:lnTo>
                        <a:pt x="31521" y="14033"/>
                      </a:lnTo>
                      <a:lnTo>
                        <a:pt x="32519" y="14033"/>
                      </a:lnTo>
                      <a:lnTo>
                        <a:pt x="31902" y="13627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594" name="object 134">
                  <a:extLst>
                    <a:ext uri="{FF2B5EF4-FFF2-40B4-BE49-F238E27FC236}">
                      <a16:creationId xmlns:a16="http://schemas.microsoft.com/office/drawing/2014/main" id="{EEF5AEEF-1394-96EF-E2A2-87AE26E8AA73}"/>
                    </a:ext>
                  </a:extLst>
                </p:cNvPr>
                <p:cNvPicPr/>
                <p:nvPr/>
              </p:nvPicPr>
              <p:blipFill>
                <a:blip r:embed="rId15" cstate="print"/>
                <a:stretch>
                  <a:fillRect/>
                </a:stretch>
              </p:blipFill>
              <p:spPr>
                <a:xfrm>
                  <a:off x="1691796" y="2703714"/>
                  <a:ext cx="193675" cy="166370"/>
                </a:xfrm>
                <a:prstGeom prst="rect">
                  <a:avLst/>
                </a:prstGeom>
              </p:spPr>
            </p:pic>
            <p:sp>
              <p:nvSpPr>
                <p:cNvPr id="595" name="object 135">
                  <a:extLst>
                    <a:ext uri="{FF2B5EF4-FFF2-40B4-BE49-F238E27FC236}">
                      <a16:creationId xmlns:a16="http://schemas.microsoft.com/office/drawing/2014/main" id="{9AC54F55-C6D6-74A6-3245-13284A0B5467}"/>
                    </a:ext>
                  </a:extLst>
                </p:cNvPr>
                <p:cNvSpPr/>
                <p:nvPr/>
              </p:nvSpPr>
              <p:spPr>
                <a:xfrm>
                  <a:off x="1682761" y="2804494"/>
                  <a:ext cx="561975" cy="5765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1975" h="576579">
                      <a:moveTo>
                        <a:pt x="312813" y="547369"/>
                      </a:moveTo>
                      <a:lnTo>
                        <a:pt x="286562" y="547369"/>
                      </a:lnTo>
                      <a:lnTo>
                        <a:pt x="289178" y="552449"/>
                      </a:lnTo>
                      <a:lnTo>
                        <a:pt x="290309" y="553719"/>
                      </a:lnTo>
                      <a:lnTo>
                        <a:pt x="290512" y="553719"/>
                      </a:lnTo>
                      <a:lnTo>
                        <a:pt x="292646" y="557529"/>
                      </a:lnTo>
                      <a:lnTo>
                        <a:pt x="295147" y="558799"/>
                      </a:lnTo>
                      <a:lnTo>
                        <a:pt x="298030" y="560069"/>
                      </a:lnTo>
                      <a:lnTo>
                        <a:pt x="296671" y="562609"/>
                      </a:lnTo>
                      <a:lnTo>
                        <a:pt x="294449" y="565149"/>
                      </a:lnTo>
                      <a:lnTo>
                        <a:pt x="293192" y="567689"/>
                      </a:lnTo>
                      <a:lnTo>
                        <a:pt x="292607" y="568959"/>
                      </a:lnTo>
                      <a:lnTo>
                        <a:pt x="292290" y="574039"/>
                      </a:lnTo>
                      <a:lnTo>
                        <a:pt x="293725" y="575309"/>
                      </a:lnTo>
                      <a:lnTo>
                        <a:pt x="294157" y="576579"/>
                      </a:lnTo>
                      <a:lnTo>
                        <a:pt x="295605" y="576579"/>
                      </a:lnTo>
                      <a:lnTo>
                        <a:pt x="304558" y="568959"/>
                      </a:lnTo>
                      <a:lnTo>
                        <a:pt x="307314" y="563879"/>
                      </a:lnTo>
                      <a:lnTo>
                        <a:pt x="307886" y="561339"/>
                      </a:lnTo>
                      <a:lnTo>
                        <a:pt x="310794" y="556259"/>
                      </a:lnTo>
                      <a:lnTo>
                        <a:pt x="313093" y="553719"/>
                      </a:lnTo>
                      <a:lnTo>
                        <a:pt x="313664" y="549909"/>
                      </a:lnTo>
                      <a:lnTo>
                        <a:pt x="312585" y="549909"/>
                      </a:lnTo>
                      <a:lnTo>
                        <a:pt x="312788" y="548639"/>
                      </a:lnTo>
                      <a:lnTo>
                        <a:pt x="312813" y="547369"/>
                      </a:lnTo>
                      <a:close/>
                    </a:path>
                    <a:path w="561975" h="576579">
                      <a:moveTo>
                        <a:pt x="329031" y="534669"/>
                      </a:moveTo>
                      <a:lnTo>
                        <a:pt x="325081" y="534669"/>
                      </a:lnTo>
                      <a:lnTo>
                        <a:pt x="326707" y="539749"/>
                      </a:lnTo>
                      <a:lnTo>
                        <a:pt x="323634" y="542289"/>
                      </a:lnTo>
                      <a:lnTo>
                        <a:pt x="322402" y="543559"/>
                      </a:lnTo>
                      <a:lnTo>
                        <a:pt x="319849" y="546099"/>
                      </a:lnTo>
                      <a:lnTo>
                        <a:pt x="316331" y="547369"/>
                      </a:lnTo>
                      <a:lnTo>
                        <a:pt x="314147" y="547369"/>
                      </a:lnTo>
                      <a:lnTo>
                        <a:pt x="314210" y="548639"/>
                      </a:lnTo>
                      <a:lnTo>
                        <a:pt x="313778" y="551179"/>
                      </a:lnTo>
                      <a:lnTo>
                        <a:pt x="313842" y="552449"/>
                      </a:lnTo>
                      <a:lnTo>
                        <a:pt x="314705" y="549909"/>
                      </a:lnTo>
                      <a:lnTo>
                        <a:pt x="317131" y="548639"/>
                      </a:lnTo>
                      <a:lnTo>
                        <a:pt x="321640" y="546099"/>
                      </a:lnTo>
                      <a:lnTo>
                        <a:pt x="323684" y="543559"/>
                      </a:lnTo>
                      <a:lnTo>
                        <a:pt x="329742" y="538479"/>
                      </a:lnTo>
                      <a:lnTo>
                        <a:pt x="331859" y="535939"/>
                      </a:lnTo>
                      <a:lnTo>
                        <a:pt x="328968" y="535939"/>
                      </a:lnTo>
                      <a:lnTo>
                        <a:pt x="329031" y="534669"/>
                      </a:lnTo>
                      <a:close/>
                    </a:path>
                    <a:path w="561975" h="576579">
                      <a:moveTo>
                        <a:pt x="323849" y="530859"/>
                      </a:moveTo>
                      <a:lnTo>
                        <a:pt x="264464" y="530859"/>
                      </a:lnTo>
                      <a:lnTo>
                        <a:pt x="267144" y="535939"/>
                      </a:lnTo>
                      <a:lnTo>
                        <a:pt x="270636" y="539749"/>
                      </a:lnTo>
                      <a:lnTo>
                        <a:pt x="274624" y="539749"/>
                      </a:lnTo>
                      <a:lnTo>
                        <a:pt x="277914" y="541019"/>
                      </a:lnTo>
                      <a:lnTo>
                        <a:pt x="278282" y="542289"/>
                      </a:lnTo>
                      <a:lnTo>
                        <a:pt x="279844" y="544829"/>
                      </a:lnTo>
                      <a:lnTo>
                        <a:pt x="281774" y="546099"/>
                      </a:lnTo>
                      <a:lnTo>
                        <a:pt x="284886" y="547369"/>
                      </a:lnTo>
                      <a:lnTo>
                        <a:pt x="311543" y="547369"/>
                      </a:lnTo>
                      <a:lnTo>
                        <a:pt x="311670" y="544829"/>
                      </a:lnTo>
                      <a:lnTo>
                        <a:pt x="313689" y="541019"/>
                      </a:lnTo>
                      <a:lnTo>
                        <a:pt x="314953" y="541019"/>
                      </a:lnTo>
                      <a:lnTo>
                        <a:pt x="314858" y="539749"/>
                      </a:lnTo>
                      <a:lnTo>
                        <a:pt x="317766" y="537209"/>
                      </a:lnTo>
                      <a:lnTo>
                        <a:pt x="320763" y="535939"/>
                      </a:lnTo>
                      <a:lnTo>
                        <a:pt x="322630" y="534669"/>
                      </a:lnTo>
                      <a:lnTo>
                        <a:pt x="322211" y="533399"/>
                      </a:lnTo>
                      <a:lnTo>
                        <a:pt x="323900" y="532129"/>
                      </a:lnTo>
                      <a:lnTo>
                        <a:pt x="323849" y="530859"/>
                      </a:lnTo>
                      <a:close/>
                    </a:path>
                    <a:path w="561975" h="576579">
                      <a:moveTo>
                        <a:pt x="314953" y="541019"/>
                      </a:moveTo>
                      <a:lnTo>
                        <a:pt x="313689" y="541019"/>
                      </a:lnTo>
                      <a:lnTo>
                        <a:pt x="314769" y="543559"/>
                      </a:lnTo>
                      <a:lnTo>
                        <a:pt x="315048" y="542289"/>
                      </a:lnTo>
                      <a:lnTo>
                        <a:pt x="314953" y="541019"/>
                      </a:lnTo>
                      <a:close/>
                    </a:path>
                    <a:path w="561975" h="576579">
                      <a:moveTo>
                        <a:pt x="340429" y="521969"/>
                      </a:moveTo>
                      <a:lnTo>
                        <a:pt x="335521" y="521969"/>
                      </a:lnTo>
                      <a:lnTo>
                        <a:pt x="335292" y="524509"/>
                      </a:lnTo>
                      <a:lnTo>
                        <a:pt x="333006" y="524509"/>
                      </a:lnTo>
                      <a:lnTo>
                        <a:pt x="334276" y="525779"/>
                      </a:lnTo>
                      <a:lnTo>
                        <a:pt x="333870" y="530859"/>
                      </a:lnTo>
                      <a:lnTo>
                        <a:pt x="328015" y="532129"/>
                      </a:lnTo>
                      <a:lnTo>
                        <a:pt x="331012" y="532129"/>
                      </a:lnTo>
                      <a:lnTo>
                        <a:pt x="328968" y="535939"/>
                      </a:lnTo>
                      <a:lnTo>
                        <a:pt x="331859" y="535939"/>
                      </a:lnTo>
                      <a:lnTo>
                        <a:pt x="332917" y="534669"/>
                      </a:lnTo>
                      <a:lnTo>
                        <a:pt x="337057" y="528319"/>
                      </a:lnTo>
                      <a:lnTo>
                        <a:pt x="338531" y="525779"/>
                      </a:lnTo>
                      <a:lnTo>
                        <a:pt x="339164" y="524509"/>
                      </a:lnTo>
                      <a:lnTo>
                        <a:pt x="334517" y="524509"/>
                      </a:lnTo>
                      <a:lnTo>
                        <a:pt x="333768" y="523239"/>
                      </a:lnTo>
                      <a:lnTo>
                        <a:pt x="339796" y="523239"/>
                      </a:lnTo>
                      <a:lnTo>
                        <a:pt x="340429" y="521969"/>
                      </a:lnTo>
                      <a:close/>
                    </a:path>
                    <a:path w="561975" h="576579">
                      <a:moveTo>
                        <a:pt x="325285" y="518159"/>
                      </a:moveTo>
                      <a:lnTo>
                        <a:pt x="243141" y="518159"/>
                      </a:lnTo>
                      <a:lnTo>
                        <a:pt x="245910" y="519429"/>
                      </a:lnTo>
                      <a:lnTo>
                        <a:pt x="249529" y="523239"/>
                      </a:lnTo>
                      <a:lnTo>
                        <a:pt x="251675" y="524509"/>
                      </a:lnTo>
                      <a:lnTo>
                        <a:pt x="253936" y="527049"/>
                      </a:lnTo>
                      <a:lnTo>
                        <a:pt x="256641" y="528319"/>
                      </a:lnTo>
                      <a:lnTo>
                        <a:pt x="258406" y="532129"/>
                      </a:lnTo>
                      <a:lnTo>
                        <a:pt x="257340" y="534669"/>
                      </a:lnTo>
                      <a:lnTo>
                        <a:pt x="259892" y="534669"/>
                      </a:lnTo>
                      <a:lnTo>
                        <a:pt x="261073" y="533399"/>
                      </a:lnTo>
                      <a:lnTo>
                        <a:pt x="260730" y="533399"/>
                      </a:lnTo>
                      <a:lnTo>
                        <a:pt x="262349" y="532306"/>
                      </a:lnTo>
                      <a:lnTo>
                        <a:pt x="262369" y="532129"/>
                      </a:lnTo>
                      <a:lnTo>
                        <a:pt x="262661" y="530859"/>
                      </a:lnTo>
                      <a:lnTo>
                        <a:pt x="323849" y="530859"/>
                      </a:lnTo>
                      <a:lnTo>
                        <a:pt x="323697" y="527049"/>
                      </a:lnTo>
                      <a:lnTo>
                        <a:pt x="325170" y="527049"/>
                      </a:lnTo>
                      <a:lnTo>
                        <a:pt x="325107" y="525779"/>
                      </a:lnTo>
                      <a:lnTo>
                        <a:pt x="325920" y="524509"/>
                      </a:lnTo>
                      <a:lnTo>
                        <a:pt x="327228" y="524509"/>
                      </a:lnTo>
                      <a:lnTo>
                        <a:pt x="327863" y="523239"/>
                      </a:lnTo>
                      <a:lnTo>
                        <a:pt x="327024" y="523239"/>
                      </a:lnTo>
                      <a:lnTo>
                        <a:pt x="326072" y="521969"/>
                      </a:lnTo>
                      <a:lnTo>
                        <a:pt x="325500" y="520699"/>
                      </a:lnTo>
                      <a:lnTo>
                        <a:pt x="325285" y="518159"/>
                      </a:lnTo>
                      <a:close/>
                    </a:path>
                    <a:path w="561975" h="576579">
                      <a:moveTo>
                        <a:pt x="262610" y="532129"/>
                      </a:moveTo>
                      <a:lnTo>
                        <a:pt x="262349" y="532306"/>
                      </a:lnTo>
                      <a:lnTo>
                        <a:pt x="262229" y="533399"/>
                      </a:lnTo>
                      <a:lnTo>
                        <a:pt x="262610" y="532129"/>
                      </a:lnTo>
                      <a:close/>
                    </a:path>
                    <a:path w="561975" h="576579">
                      <a:moveTo>
                        <a:pt x="325170" y="527049"/>
                      </a:moveTo>
                      <a:lnTo>
                        <a:pt x="323697" y="527049"/>
                      </a:lnTo>
                      <a:lnTo>
                        <a:pt x="324319" y="528319"/>
                      </a:lnTo>
                      <a:lnTo>
                        <a:pt x="325246" y="530859"/>
                      </a:lnTo>
                      <a:lnTo>
                        <a:pt x="325119" y="529589"/>
                      </a:lnTo>
                      <a:lnTo>
                        <a:pt x="325170" y="527049"/>
                      </a:lnTo>
                      <a:close/>
                    </a:path>
                    <a:path w="561975" h="576579">
                      <a:moveTo>
                        <a:pt x="365163" y="473709"/>
                      </a:moveTo>
                      <a:lnTo>
                        <a:pt x="288175" y="473709"/>
                      </a:lnTo>
                      <a:lnTo>
                        <a:pt x="287680" y="474979"/>
                      </a:lnTo>
                      <a:lnTo>
                        <a:pt x="279501" y="478789"/>
                      </a:lnTo>
                      <a:lnTo>
                        <a:pt x="275767" y="478789"/>
                      </a:lnTo>
                      <a:lnTo>
                        <a:pt x="273723" y="480059"/>
                      </a:lnTo>
                      <a:lnTo>
                        <a:pt x="272148" y="482599"/>
                      </a:lnTo>
                      <a:lnTo>
                        <a:pt x="269443" y="483869"/>
                      </a:lnTo>
                      <a:lnTo>
                        <a:pt x="268122" y="485139"/>
                      </a:lnTo>
                      <a:lnTo>
                        <a:pt x="266484" y="486409"/>
                      </a:lnTo>
                      <a:lnTo>
                        <a:pt x="266153" y="487679"/>
                      </a:lnTo>
                      <a:lnTo>
                        <a:pt x="265353" y="487679"/>
                      </a:lnTo>
                      <a:lnTo>
                        <a:pt x="264502" y="488949"/>
                      </a:lnTo>
                      <a:lnTo>
                        <a:pt x="261975" y="488949"/>
                      </a:lnTo>
                      <a:lnTo>
                        <a:pt x="261137" y="490219"/>
                      </a:lnTo>
                      <a:lnTo>
                        <a:pt x="260692" y="491489"/>
                      </a:lnTo>
                      <a:lnTo>
                        <a:pt x="261569" y="492759"/>
                      </a:lnTo>
                      <a:lnTo>
                        <a:pt x="260883" y="494029"/>
                      </a:lnTo>
                      <a:lnTo>
                        <a:pt x="258787" y="494029"/>
                      </a:lnTo>
                      <a:lnTo>
                        <a:pt x="255892" y="497839"/>
                      </a:lnTo>
                      <a:lnTo>
                        <a:pt x="254571" y="499109"/>
                      </a:lnTo>
                      <a:lnTo>
                        <a:pt x="252247" y="500379"/>
                      </a:lnTo>
                      <a:lnTo>
                        <a:pt x="250355" y="504189"/>
                      </a:lnTo>
                      <a:lnTo>
                        <a:pt x="248399" y="506729"/>
                      </a:lnTo>
                      <a:lnTo>
                        <a:pt x="244436" y="510539"/>
                      </a:lnTo>
                      <a:lnTo>
                        <a:pt x="240042" y="515619"/>
                      </a:lnTo>
                      <a:lnTo>
                        <a:pt x="235407" y="519429"/>
                      </a:lnTo>
                      <a:lnTo>
                        <a:pt x="234784" y="520699"/>
                      </a:lnTo>
                      <a:lnTo>
                        <a:pt x="235826" y="520699"/>
                      </a:lnTo>
                      <a:lnTo>
                        <a:pt x="239242" y="523239"/>
                      </a:lnTo>
                      <a:lnTo>
                        <a:pt x="241287" y="521969"/>
                      </a:lnTo>
                      <a:lnTo>
                        <a:pt x="241020" y="520699"/>
                      </a:lnTo>
                      <a:lnTo>
                        <a:pt x="243141" y="518159"/>
                      </a:lnTo>
                      <a:lnTo>
                        <a:pt x="342328" y="518159"/>
                      </a:lnTo>
                      <a:lnTo>
                        <a:pt x="346125" y="510539"/>
                      </a:lnTo>
                      <a:lnTo>
                        <a:pt x="346875" y="507999"/>
                      </a:lnTo>
                      <a:lnTo>
                        <a:pt x="359765" y="496569"/>
                      </a:lnTo>
                      <a:lnTo>
                        <a:pt x="360921" y="496569"/>
                      </a:lnTo>
                      <a:lnTo>
                        <a:pt x="361289" y="495299"/>
                      </a:lnTo>
                      <a:lnTo>
                        <a:pt x="359625" y="495299"/>
                      </a:lnTo>
                      <a:lnTo>
                        <a:pt x="359740" y="492759"/>
                      </a:lnTo>
                      <a:lnTo>
                        <a:pt x="359917" y="491489"/>
                      </a:lnTo>
                      <a:lnTo>
                        <a:pt x="361530" y="491489"/>
                      </a:lnTo>
                      <a:lnTo>
                        <a:pt x="363194" y="490219"/>
                      </a:lnTo>
                      <a:lnTo>
                        <a:pt x="363207" y="474979"/>
                      </a:lnTo>
                      <a:lnTo>
                        <a:pt x="363359" y="474979"/>
                      </a:lnTo>
                      <a:lnTo>
                        <a:pt x="365163" y="473709"/>
                      </a:lnTo>
                      <a:close/>
                    </a:path>
                    <a:path w="561975" h="576579">
                      <a:moveTo>
                        <a:pt x="342328" y="518159"/>
                      </a:moveTo>
                      <a:lnTo>
                        <a:pt x="325285" y="518159"/>
                      </a:lnTo>
                      <a:lnTo>
                        <a:pt x="325932" y="519429"/>
                      </a:lnTo>
                      <a:lnTo>
                        <a:pt x="325564" y="520699"/>
                      </a:lnTo>
                      <a:lnTo>
                        <a:pt x="328625" y="523239"/>
                      </a:lnTo>
                      <a:lnTo>
                        <a:pt x="332574" y="521969"/>
                      </a:lnTo>
                      <a:lnTo>
                        <a:pt x="340429" y="521969"/>
                      </a:lnTo>
                      <a:lnTo>
                        <a:pt x="342328" y="518159"/>
                      </a:lnTo>
                      <a:close/>
                    </a:path>
                    <a:path w="561975" h="576579">
                      <a:moveTo>
                        <a:pt x="361530" y="491489"/>
                      </a:moveTo>
                      <a:lnTo>
                        <a:pt x="359917" y="491489"/>
                      </a:lnTo>
                      <a:lnTo>
                        <a:pt x="360667" y="492759"/>
                      </a:lnTo>
                      <a:lnTo>
                        <a:pt x="360984" y="492759"/>
                      </a:lnTo>
                      <a:lnTo>
                        <a:pt x="361226" y="494029"/>
                      </a:lnTo>
                      <a:lnTo>
                        <a:pt x="361530" y="491489"/>
                      </a:lnTo>
                      <a:close/>
                    </a:path>
                    <a:path w="561975" h="576579">
                      <a:moveTo>
                        <a:pt x="252983" y="478789"/>
                      </a:moveTo>
                      <a:lnTo>
                        <a:pt x="249554" y="478789"/>
                      </a:lnTo>
                      <a:lnTo>
                        <a:pt x="250278" y="480059"/>
                      </a:lnTo>
                      <a:lnTo>
                        <a:pt x="252628" y="480059"/>
                      </a:lnTo>
                      <a:lnTo>
                        <a:pt x="252983" y="478789"/>
                      </a:lnTo>
                      <a:close/>
                    </a:path>
                    <a:path w="561975" h="576579">
                      <a:moveTo>
                        <a:pt x="244881" y="477519"/>
                      </a:moveTo>
                      <a:lnTo>
                        <a:pt x="237477" y="477519"/>
                      </a:lnTo>
                      <a:lnTo>
                        <a:pt x="239293" y="478789"/>
                      </a:lnTo>
                      <a:lnTo>
                        <a:pt x="244881" y="477519"/>
                      </a:lnTo>
                      <a:close/>
                    </a:path>
                    <a:path w="561975" h="576579">
                      <a:moveTo>
                        <a:pt x="255282" y="477519"/>
                      </a:moveTo>
                      <a:lnTo>
                        <a:pt x="246684" y="477519"/>
                      </a:lnTo>
                      <a:lnTo>
                        <a:pt x="248843" y="478789"/>
                      </a:lnTo>
                      <a:lnTo>
                        <a:pt x="254419" y="478789"/>
                      </a:lnTo>
                      <a:lnTo>
                        <a:pt x="255282" y="477519"/>
                      </a:lnTo>
                      <a:close/>
                    </a:path>
                    <a:path w="561975" h="576579">
                      <a:moveTo>
                        <a:pt x="257809" y="476249"/>
                      </a:moveTo>
                      <a:lnTo>
                        <a:pt x="233337" y="476249"/>
                      </a:lnTo>
                      <a:lnTo>
                        <a:pt x="235305" y="477519"/>
                      </a:lnTo>
                      <a:lnTo>
                        <a:pt x="257047" y="477519"/>
                      </a:lnTo>
                      <a:lnTo>
                        <a:pt x="257809" y="476249"/>
                      </a:lnTo>
                      <a:close/>
                    </a:path>
                    <a:path w="561975" h="576579">
                      <a:moveTo>
                        <a:pt x="263169" y="476249"/>
                      </a:moveTo>
                      <a:lnTo>
                        <a:pt x="258178" y="476249"/>
                      </a:lnTo>
                      <a:lnTo>
                        <a:pt x="259194" y="477519"/>
                      </a:lnTo>
                      <a:lnTo>
                        <a:pt x="261200" y="477519"/>
                      </a:lnTo>
                      <a:lnTo>
                        <a:pt x="263169" y="476249"/>
                      </a:lnTo>
                      <a:close/>
                    </a:path>
                    <a:path w="561975" h="576579">
                      <a:moveTo>
                        <a:pt x="228091" y="474979"/>
                      </a:moveTo>
                      <a:lnTo>
                        <a:pt x="220065" y="474979"/>
                      </a:lnTo>
                      <a:lnTo>
                        <a:pt x="220192" y="476249"/>
                      </a:lnTo>
                      <a:lnTo>
                        <a:pt x="223837" y="476249"/>
                      </a:lnTo>
                      <a:lnTo>
                        <a:pt x="228091" y="474979"/>
                      </a:lnTo>
                      <a:close/>
                    </a:path>
                    <a:path w="561975" h="576579">
                      <a:moveTo>
                        <a:pt x="263118" y="473709"/>
                      </a:moveTo>
                      <a:lnTo>
                        <a:pt x="219862" y="473709"/>
                      </a:lnTo>
                      <a:lnTo>
                        <a:pt x="219443" y="474979"/>
                      </a:lnTo>
                      <a:lnTo>
                        <a:pt x="228091" y="474979"/>
                      </a:lnTo>
                      <a:lnTo>
                        <a:pt x="232028" y="476249"/>
                      </a:lnTo>
                      <a:lnTo>
                        <a:pt x="263283" y="476249"/>
                      </a:lnTo>
                      <a:lnTo>
                        <a:pt x="263372" y="474979"/>
                      </a:lnTo>
                      <a:lnTo>
                        <a:pt x="263118" y="473709"/>
                      </a:lnTo>
                      <a:close/>
                    </a:path>
                    <a:path w="561975" h="576579">
                      <a:moveTo>
                        <a:pt x="423989" y="408939"/>
                      </a:moveTo>
                      <a:lnTo>
                        <a:pt x="171615" y="408939"/>
                      </a:lnTo>
                      <a:lnTo>
                        <a:pt x="172186" y="410209"/>
                      </a:lnTo>
                      <a:lnTo>
                        <a:pt x="174053" y="411479"/>
                      </a:lnTo>
                      <a:lnTo>
                        <a:pt x="176174" y="414019"/>
                      </a:lnTo>
                      <a:lnTo>
                        <a:pt x="177761" y="415289"/>
                      </a:lnTo>
                      <a:lnTo>
                        <a:pt x="179527" y="416559"/>
                      </a:lnTo>
                      <a:lnTo>
                        <a:pt x="181203" y="419099"/>
                      </a:lnTo>
                      <a:lnTo>
                        <a:pt x="184657" y="421639"/>
                      </a:lnTo>
                      <a:lnTo>
                        <a:pt x="186423" y="422909"/>
                      </a:lnTo>
                      <a:lnTo>
                        <a:pt x="188582" y="424179"/>
                      </a:lnTo>
                      <a:lnTo>
                        <a:pt x="193852" y="424179"/>
                      </a:lnTo>
                      <a:lnTo>
                        <a:pt x="197472" y="425449"/>
                      </a:lnTo>
                      <a:lnTo>
                        <a:pt x="198970" y="425449"/>
                      </a:lnTo>
                      <a:lnTo>
                        <a:pt x="201828" y="426719"/>
                      </a:lnTo>
                      <a:lnTo>
                        <a:pt x="203288" y="427989"/>
                      </a:lnTo>
                      <a:lnTo>
                        <a:pt x="208013" y="431799"/>
                      </a:lnTo>
                      <a:lnTo>
                        <a:pt x="208978" y="431799"/>
                      </a:lnTo>
                      <a:lnTo>
                        <a:pt x="214769" y="435609"/>
                      </a:lnTo>
                      <a:lnTo>
                        <a:pt x="220713" y="438149"/>
                      </a:lnTo>
                      <a:lnTo>
                        <a:pt x="226723" y="441959"/>
                      </a:lnTo>
                      <a:lnTo>
                        <a:pt x="232714" y="444499"/>
                      </a:lnTo>
                      <a:lnTo>
                        <a:pt x="234581" y="445769"/>
                      </a:lnTo>
                      <a:lnTo>
                        <a:pt x="234975" y="448309"/>
                      </a:lnTo>
                      <a:lnTo>
                        <a:pt x="232854" y="452119"/>
                      </a:lnTo>
                      <a:lnTo>
                        <a:pt x="230416" y="455929"/>
                      </a:lnTo>
                      <a:lnTo>
                        <a:pt x="226161" y="461009"/>
                      </a:lnTo>
                      <a:lnTo>
                        <a:pt x="225183" y="464819"/>
                      </a:lnTo>
                      <a:lnTo>
                        <a:pt x="223418" y="471169"/>
                      </a:lnTo>
                      <a:lnTo>
                        <a:pt x="221030" y="472439"/>
                      </a:lnTo>
                      <a:lnTo>
                        <a:pt x="219951" y="473709"/>
                      </a:lnTo>
                      <a:lnTo>
                        <a:pt x="263880" y="473709"/>
                      </a:lnTo>
                      <a:lnTo>
                        <a:pt x="264655" y="472439"/>
                      </a:lnTo>
                      <a:lnTo>
                        <a:pt x="266230" y="472439"/>
                      </a:lnTo>
                      <a:lnTo>
                        <a:pt x="267665" y="471169"/>
                      </a:lnTo>
                      <a:lnTo>
                        <a:pt x="268808" y="469899"/>
                      </a:lnTo>
                      <a:lnTo>
                        <a:pt x="269989" y="468629"/>
                      </a:lnTo>
                      <a:lnTo>
                        <a:pt x="271932" y="467359"/>
                      </a:lnTo>
                      <a:lnTo>
                        <a:pt x="274459" y="464819"/>
                      </a:lnTo>
                      <a:lnTo>
                        <a:pt x="274954" y="464819"/>
                      </a:lnTo>
                      <a:lnTo>
                        <a:pt x="275399" y="463549"/>
                      </a:lnTo>
                      <a:lnTo>
                        <a:pt x="276542" y="459739"/>
                      </a:lnTo>
                      <a:lnTo>
                        <a:pt x="277482" y="449579"/>
                      </a:lnTo>
                      <a:lnTo>
                        <a:pt x="366255" y="449579"/>
                      </a:lnTo>
                      <a:lnTo>
                        <a:pt x="365709" y="448309"/>
                      </a:lnTo>
                      <a:lnTo>
                        <a:pt x="363029" y="448309"/>
                      </a:lnTo>
                      <a:lnTo>
                        <a:pt x="362445" y="447039"/>
                      </a:lnTo>
                      <a:lnTo>
                        <a:pt x="361835" y="447039"/>
                      </a:lnTo>
                      <a:lnTo>
                        <a:pt x="361556" y="445769"/>
                      </a:lnTo>
                      <a:lnTo>
                        <a:pt x="364820" y="445769"/>
                      </a:lnTo>
                      <a:lnTo>
                        <a:pt x="365683" y="444499"/>
                      </a:lnTo>
                      <a:lnTo>
                        <a:pt x="371999" y="444499"/>
                      </a:lnTo>
                      <a:lnTo>
                        <a:pt x="373887" y="441959"/>
                      </a:lnTo>
                      <a:lnTo>
                        <a:pt x="372630" y="441959"/>
                      </a:lnTo>
                      <a:lnTo>
                        <a:pt x="372135" y="440689"/>
                      </a:lnTo>
                      <a:lnTo>
                        <a:pt x="374345" y="439419"/>
                      </a:lnTo>
                      <a:lnTo>
                        <a:pt x="376415" y="436879"/>
                      </a:lnTo>
                      <a:lnTo>
                        <a:pt x="382333" y="434339"/>
                      </a:lnTo>
                      <a:lnTo>
                        <a:pt x="386003" y="431799"/>
                      </a:lnTo>
                      <a:lnTo>
                        <a:pt x="389521" y="429259"/>
                      </a:lnTo>
                      <a:lnTo>
                        <a:pt x="393306" y="426719"/>
                      </a:lnTo>
                      <a:lnTo>
                        <a:pt x="395719" y="425449"/>
                      </a:lnTo>
                      <a:lnTo>
                        <a:pt x="395338" y="424179"/>
                      </a:lnTo>
                      <a:lnTo>
                        <a:pt x="395389" y="422909"/>
                      </a:lnTo>
                      <a:lnTo>
                        <a:pt x="401231" y="422909"/>
                      </a:lnTo>
                      <a:lnTo>
                        <a:pt x="402843" y="421639"/>
                      </a:lnTo>
                      <a:lnTo>
                        <a:pt x="409092" y="421639"/>
                      </a:lnTo>
                      <a:lnTo>
                        <a:pt x="409930" y="420369"/>
                      </a:lnTo>
                      <a:lnTo>
                        <a:pt x="410819" y="420369"/>
                      </a:lnTo>
                      <a:lnTo>
                        <a:pt x="415302" y="417829"/>
                      </a:lnTo>
                      <a:lnTo>
                        <a:pt x="418591" y="416559"/>
                      </a:lnTo>
                      <a:lnTo>
                        <a:pt x="422236" y="415289"/>
                      </a:lnTo>
                      <a:lnTo>
                        <a:pt x="421703" y="414019"/>
                      </a:lnTo>
                      <a:lnTo>
                        <a:pt x="421385" y="414019"/>
                      </a:lnTo>
                      <a:lnTo>
                        <a:pt x="420674" y="412749"/>
                      </a:lnTo>
                      <a:lnTo>
                        <a:pt x="420230" y="412749"/>
                      </a:lnTo>
                      <a:lnTo>
                        <a:pt x="419773" y="410209"/>
                      </a:lnTo>
                      <a:lnTo>
                        <a:pt x="420890" y="410209"/>
                      </a:lnTo>
                      <a:lnTo>
                        <a:pt x="423989" y="408939"/>
                      </a:lnTo>
                      <a:close/>
                    </a:path>
                    <a:path w="561975" h="576579">
                      <a:moveTo>
                        <a:pt x="366725" y="448309"/>
                      </a:moveTo>
                      <a:lnTo>
                        <a:pt x="366255" y="449579"/>
                      </a:lnTo>
                      <a:lnTo>
                        <a:pt x="286296" y="449579"/>
                      </a:lnTo>
                      <a:lnTo>
                        <a:pt x="286765" y="450849"/>
                      </a:lnTo>
                      <a:lnTo>
                        <a:pt x="287172" y="450849"/>
                      </a:lnTo>
                      <a:lnTo>
                        <a:pt x="291731" y="461009"/>
                      </a:lnTo>
                      <a:lnTo>
                        <a:pt x="290537" y="464819"/>
                      </a:lnTo>
                      <a:lnTo>
                        <a:pt x="290169" y="468629"/>
                      </a:lnTo>
                      <a:lnTo>
                        <a:pt x="290017" y="468629"/>
                      </a:lnTo>
                      <a:lnTo>
                        <a:pt x="289585" y="469899"/>
                      </a:lnTo>
                      <a:lnTo>
                        <a:pt x="289394" y="471169"/>
                      </a:lnTo>
                      <a:lnTo>
                        <a:pt x="288670" y="473709"/>
                      </a:lnTo>
                      <a:lnTo>
                        <a:pt x="362394" y="473709"/>
                      </a:lnTo>
                      <a:lnTo>
                        <a:pt x="362788" y="469899"/>
                      </a:lnTo>
                      <a:lnTo>
                        <a:pt x="362127" y="466089"/>
                      </a:lnTo>
                      <a:lnTo>
                        <a:pt x="363791" y="463549"/>
                      </a:lnTo>
                      <a:lnTo>
                        <a:pt x="362788" y="462279"/>
                      </a:lnTo>
                      <a:lnTo>
                        <a:pt x="363740" y="462279"/>
                      </a:lnTo>
                      <a:lnTo>
                        <a:pt x="364401" y="461009"/>
                      </a:lnTo>
                      <a:lnTo>
                        <a:pt x="362153" y="461009"/>
                      </a:lnTo>
                      <a:lnTo>
                        <a:pt x="361607" y="459739"/>
                      </a:lnTo>
                      <a:lnTo>
                        <a:pt x="361175" y="458469"/>
                      </a:lnTo>
                      <a:lnTo>
                        <a:pt x="360705" y="457199"/>
                      </a:lnTo>
                      <a:lnTo>
                        <a:pt x="363537" y="457199"/>
                      </a:lnTo>
                      <a:lnTo>
                        <a:pt x="364159" y="453389"/>
                      </a:lnTo>
                      <a:lnTo>
                        <a:pt x="362813" y="453389"/>
                      </a:lnTo>
                      <a:lnTo>
                        <a:pt x="364020" y="452119"/>
                      </a:lnTo>
                      <a:lnTo>
                        <a:pt x="366991" y="449579"/>
                      </a:lnTo>
                      <a:lnTo>
                        <a:pt x="366725" y="448309"/>
                      </a:lnTo>
                      <a:close/>
                    </a:path>
                    <a:path w="561975" h="576579">
                      <a:moveTo>
                        <a:pt x="364756" y="458469"/>
                      </a:moveTo>
                      <a:lnTo>
                        <a:pt x="363448" y="458469"/>
                      </a:lnTo>
                      <a:lnTo>
                        <a:pt x="362851" y="459739"/>
                      </a:lnTo>
                      <a:lnTo>
                        <a:pt x="362534" y="459739"/>
                      </a:lnTo>
                      <a:lnTo>
                        <a:pt x="362153" y="461009"/>
                      </a:lnTo>
                      <a:lnTo>
                        <a:pt x="364401" y="461009"/>
                      </a:lnTo>
                      <a:lnTo>
                        <a:pt x="365061" y="459739"/>
                      </a:lnTo>
                      <a:lnTo>
                        <a:pt x="364756" y="458469"/>
                      </a:lnTo>
                      <a:close/>
                    </a:path>
                    <a:path w="561975" h="576579">
                      <a:moveTo>
                        <a:pt x="363537" y="457199"/>
                      </a:moveTo>
                      <a:lnTo>
                        <a:pt x="361022" y="457199"/>
                      </a:lnTo>
                      <a:lnTo>
                        <a:pt x="361264" y="458469"/>
                      </a:lnTo>
                      <a:lnTo>
                        <a:pt x="361645" y="459739"/>
                      </a:lnTo>
                      <a:lnTo>
                        <a:pt x="362508" y="458469"/>
                      </a:lnTo>
                      <a:lnTo>
                        <a:pt x="363537" y="457199"/>
                      </a:lnTo>
                      <a:close/>
                    </a:path>
                    <a:path w="561975" h="576579">
                      <a:moveTo>
                        <a:pt x="282282" y="449579"/>
                      </a:moveTo>
                      <a:lnTo>
                        <a:pt x="278218" y="449579"/>
                      </a:lnTo>
                      <a:lnTo>
                        <a:pt x="278701" y="450849"/>
                      </a:lnTo>
                      <a:lnTo>
                        <a:pt x="281165" y="450849"/>
                      </a:lnTo>
                      <a:lnTo>
                        <a:pt x="282282" y="449579"/>
                      </a:lnTo>
                      <a:close/>
                    </a:path>
                    <a:path w="561975" h="576579">
                      <a:moveTo>
                        <a:pt x="361556" y="445769"/>
                      </a:moveTo>
                      <a:lnTo>
                        <a:pt x="361835" y="447039"/>
                      </a:lnTo>
                      <a:lnTo>
                        <a:pt x="361556" y="445769"/>
                      </a:lnTo>
                      <a:close/>
                    </a:path>
                    <a:path w="561975" h="576579">
                      <a:moveTo>
                        <a:pt x="364820" y="445769"/>
                      </a:moveTo>
                      <a:lnTo>
                        <a:pt x="361556" y="445769"/>
                      </a:lnTo>
                      <a:lnTo>
                        <a:pt x="361899" y="447039"/>
                      </a:lnTo>
                      <a:lnTo>
                        <a:pt x="363321" y="447039"/>
                      </a:lnTo>
                      <a:lnTo>
                        <a:pt x="364820" y="445769"/>
                      </a:lnTo>
                      <a:close/>
                    </a:path>
                    <a:path w="561975" h="576579">
                      <a:moveTo>
                        <a:pt x="371999" y="444499"/>
                      </a:moveTo>
                      <a:lnTo>
                        <a:pt x="367245" y="444499"/>
                      </a:lnTo>
                      <a:lnTo>
                        <a:pt x="367283" y="445769"/>
                      </a:lnTo>
                      <a:lnTo>
                        <a:pt x="371055" y="445769"/>
                      </a:lnTo>
                      <a:lnTo>
                        <a:pt x="371999" y="444499"/>
                      </a:lnTo>
                      <a:close/>
                    </a:path>
                    <a:path w="561975" h="576579">
                      <a:moveTo>
                        <a:pt x="401231" y="422909"/>
                      </a:moveTo>
                      <a:lnTo>
                        <a:pt x="395389" y="422909"/>
                      </a:lnTo>
                      <a:lnTo>
                        <a:pt x="395897" y="424179"/>
                      </a:lnTo>
                      <a:lnTo>
                        <a:pt x="398030" y="424179"/>
                      </a:lnTo>
                      <a:lnTo>
                        <a:pt x="401231" y="422909"/>
                      </a:lnTo>
                      <a:close/>
                    </a:path>
                    <a:path w="561975" h="576579">
                      <a:moveTo>
                        <a:pt x="409092" y="421639"/>
                      </a:moveTo>
                      <a:lnTo>
                        <a:pt x="402843" y="421639"/>
                      </a:lnTo>
                      <a:lnTo>
                        <a:pt x="406031" y="422909"/>
                      </a:lnTo>
                      <a:lnTo>
                        <a:pt x="409714" y="422909"/>
                      </a:lnTo>
                      <a:lnTo>
                        <a:pt x="409092" y="421639"/>
                      </a:lnTo>
                      <a:close/>
                    </a:path>
                    <a:path w="561975" h="576579">
                      <a:moveTo>
                        <a:pt x="420890" y="410209"/>
                      </a:moveTo>
                      <a:lnTo>
                        <a:pt x="419773" y="410209"/>
                      </a:lnTo>
                      <a:lnTo>
                        <a:pt x="420204" y="411479"/>
                      </a:lnTo>
                      <a:lnTo>
                        <a:pt x="420890" y="410209"/>
                      </a:lnTo>
                      <a:close/>
                    </a:path>
                    <a:path w="561975" h="576579">
                      <a:moveTo>
                        <a:pt x="458342" y="407669"/>
                      </a:moveTo>
                      <a:lnTo>
                        <a:pt x="442163" y="407669"/>
                      </a:lnTo>
                      <a:lnTo>
                        <a:pt x="444449" y="408939"/>
                      </a:lnTo>
                      <a:lnTo>
                        <a:pt x="447052" y="408939"/>
                      </a:lnTo>
                      <a:lnTo>
                        <a:pt x="451142" y="410209"/>
                      </a:lnTo>
                      <a:lnTo>
                        <a:pt x="456666" y="411479"/>
                      </a:lnTo>
                      <a:lnTo>
                        <a:pt x="458088" y="410209"/>
                      </a:lnTo>
                      <a:lnTo>
                        <a:pt x="457758" y="410209"/>
                      </a:lnTo>
                      <a:lnTo>
                        <a:pt x="457822" y="408939"/>
                      </a:lnTo>
                      <a:lnTo>
                        <a:pt x="458342" y="407669"/>
                      </a:lnTo>
                      <a:close/>
                    </a:path>
                    <a:path w="561975" h="576579">
                      <a:moveTo>
                        <a:pt x="429691" y="408939"/>
                      </a:moveTo>
                      <a:lnTo>
                        <a:pt x="425297" y="408939"/>
                      </a:lnTo>
                      <a:lnTo>
                        <a:pt x="424116" y="410209"/>
                      </a:lnTo>
                      <a:lnTo>
                        <a:pt x="428485" y="410209"/>
                      </a:lnTo>
                      <a:lnTo>
                        <a:pt x="429691" y="408939"/>
                      </a:lnTo>
                      <a:close/>
                    </a:path>
                    <a:path w="561975" h="576579">
                      <a:moveTo>
                        <a:pt x="441464" y="408939"/>
                      </a:moveTo>
                      <a:lnTo>
                        <a:pt x="433235" y="408939"/>
                      </a:lnTo>
                      <a:lnTo>
                        <a:pt x="436168" y="410209"/>
                      </a:lnTo>
                      <a:lnTo>
                        <a:pt x="441350" y="410209"/>
                      </a:lnTo>
                      <a:lnTo>
                        <a:pt x="441464" y="408939"/>
                      </a:lnTo>
                      <a:close/>
                    </a:path>
                    <a:path w="561975" h="576579">
                      <a:moveTo>
                        <a:pt x="440550" y="407669"/>
                      </a:moveTo>
                      <a:lnTo>
                        <a:pt x="170637" y="407669"/>
                      </a:lnTo>
                      <a:lnTo>
                        <a:pt x="171018" y="408939"/>
                      </a:lnTo>
                      <a:lnTo>
                        <a:pt x="440601" y="408939"/>
                      </a:lnTo>
                      <a:lnTo>
                        <a:pt x="440550" y="407669"/>
                      </a:lnTo>
                      <a:close/>
                    </a:path>
                    <a:path w="561975" h="576579">
                      <a:moveTo>
                        <a:pt x="481723" y="368299"/>
                      </a:moveTo>
                      <a:lnTo>
                        <a:pt x="171437" y="368299"/>
                      </a:lnTo>
                      <a:lnTo>
                        <a:pt x="170865" y="369569"/>
                      </a:lnTo>
                      <a:lnTo>
                        <a:pt x="170256" y="370839"/>
                      </a:lnTo>
                      <a:lnTo>
                        <a:pt x="169075" y="372109"/>
                      </a:lnTo>
                      <a:lnTo>
                        <a:pt x="168782" y="373379"/>
                      </a:lnTo>
                      <a:lnTo>
                        <a:pt x="168567" y="373379"/>
                      </a:lnTo>
                      <a:lnTo>
                        <a:pt x="168452" y="374649"/>
                      </a:lnTo>
                      <a:lnTo>
                        <a:pt x="168147" y="375919"/>
                      </a:lnTo>
                      <a:lnTo>
                        <a:pt x="168033" y="377189"/>
                      </a:lnTo>
                      <a:lnTo>
                        <a:pt x="168008" y="379729"/>
                      </a:lnTo>
                      <a:lnTo>
                        <a:pt x="167538" y="383539"/>
                      </a:lnTo>
                      <a:lnTo>
                        <a:pt x="166141" y="386079"/>
                      </a:lnTo>
                      <a:lnTo>
                        <a:pt x="163969" y="393699"/>
                      </a:lnTo>
                      <a:lnTo>
                        <a:pt x="162953" y="396239"/>
                      </a:lnTo>
                      <a:lnTo>
                        <a:pt x="162280" y="398779"/>
                      </a:lnTo>
                      <a:lnTo>
                        <a:pt x="162534" y="398779"/>
                      </a:lnTo>
                      <a:lnTo>
                        <a:pt x="163004" y="400049"/>
                      </a:lnTo>
                      <a:lnTo>
                        <a:pt x="165912" y="401319"/>
                      </a:lnTo>
                      <a:lnTo>
                        <a:pt x="166928" y="402589"/>
                      </a:lnTo>
                      <a:lnTo>
                        <a:pt x="167233" y="402589"/>
                      </a:lnTo>
                      <a:lnTo>
                        <a:pt x="168389" y="403859"/>
                      </a:lnTo>
                      <a:lnTo>
                        <a:pt x="169113" y="406399"/>
                      </a:lnTo>
                      <a:lnTo>
                        <a:pt x="169925" y="406399"/>
                      </a:lnTo>
                      <a:lnTo>
                        <a:pt x="170179" y="407669"/>
                      </a:lnTo>
                      <a:lnTo>
                        <a:pt x="440321" y="407669"/>
                      </a:lnTo>
                      <a:lnTo>
                        <a:pt x="442391" y="405129"/>
                      </a:lnTo>
                      <a:lnTo>
                        <a:pt x="458193" y="405129"/>
                      </a:lnTo>
                      <a:lnTo>
                        <a:pt x="458088" y="401319"/>
                      </a:lnTo>
                      <a:lnTo>
                        <a:pt x="464083" y="400049"/>
                      </a:lnTo>
                      <a:lnTo>
                        <a:pt x="468071" y="397509"/>
                      </a:lnTo>
                      <a:lnTo>
                        <a:pt x="472516" y="396239"/>
                      </a:lnTo>
                      <a:lnTo>
                        <a:pt x="472909" y="393699"/>
                      </a:lnTo>
                      <a:lnTo>
                        <a:pt x="472414" y="392429"/>
                      </a:lnTo>
                      <a:lnTo>
                        <a:pt x="472109" y="391159"/>
                      </a:lnTo>
                      <a:lnTo>
                        <a:pt x="479361" y="374649"/>
                      </a:lnTo>
                      <a:lnTo>
                        <a:pt x="482066" y="372109"/>
                      </a:lnTo>
                      <a:lnTo>
                        <a:pt x="481634" y="370839"/>
                      </a:lnTo>
                      <a:lnTo>
                        <a:pt x="481723" y="368299"/>
                      </a:lnTo>
                      <a:close/>
                    </a:path>
                    <a:path w="561975" h="576579">
                      <a:moveTo>
                        <a:pt x="458193" y="405129"/>
                      </a:moveTo>
                      <a:lnTo>
                        <a:pt x="442391" y="405129"/>
                      </a:lnTo>
                      <a:lnTo>
                        <a:pt x="443890" y="406399"/>
                      </a:lnTo>
                      <a:lnTo>
                        <a:pt x="442848" y="406399"/>
                      </a:lnTo>
                      <a:lnTo>
                        <a:pt x="443077" y="407669"/>
                      </a:lnTo>
                      <a:lnTo>
                        <a:pt x="458812" y="407669"/>
                      </a:lnTo>
                      <a:lnTo>
                        <a:pt x="458228" y="406399"/>
                      </a:lnTo>
                      <a:lnTo>
                        <a:pt x="458193" y="405129"/>
                      </a:lnTo>
                      <a:close/>
                    </a:path>
                    <a:path w="561975" h="576579">
                      <a:moveTo>
                        <a:pt x="459930" y="406399"/>
                      </a:moveTo>
                      <a:lnTo>
                        <a:pt x="458812" y="407669"/>
                      </a:lnTo>
                      <a:lnTo>
                        <a:pt x="459371" y="407669"/>
                      </a:lnTo>
                      <a:lnTo>
                        <a:pt x="459930" y="406399"/>
                      </a:lnTo>
                      <a:close/>
                    </a:path>
                    <a:path w="561975" h="576579">
                      <a:moveTo>
                        <a:pt x="499033" y="271779"/>
                      </a:moveTo>
                      <a:lnTo>
                        <a:pt x="188810" y="271779"/>
                      </a:lnTo>
                      <a:lnTo>
                        <a:pt x="190715" y="273049"/>
                      </a:lnTo>
                      <a:lnTo>
                        <a:pt x="191998" y="274319"/>
                      </a:lnTo>
                      <a:lnTo>
                        <a:pt x="193586" y="275589"/>
                      </a:lnTo>
                      <a:lnTo>
                        <a:pt x="194030" y="276859"/>
                      </a:lnTo>
                      <a:lnTo>
                        <a:pt x="194462" y="276859"/>
                      </a:lnTo>
                      <a:lnTo>
                        <a:pt x="194424" y="278129"/>
                      </a:lnTo>
                      <a:lnTo>
                        <a:pt x="194271" y="278129"/>
                      </a:lnTo>
                      <a:lnTo>
                        <a:pt x="194284" y="281939"/>
                      </a:lnTo>
                      <a:lnTo>
                        <a:pt x="196202" y="285749"/>
                      </a:lnTo>
                      <a:lnTo>
                        <a:pt x="196405" y="290829"/>
                      </a:lnTo>
                      <a:lnTo>
                        <a:pt x="196494" y="292099"/>
                      </a:lnTo>
                      <a:lnTo>
                        <a:pt x="195872" y="293369"/>
                      </a:lnTo>
                      <a:lnTo>
                        <a:pt x="192189" y="293369"/>
                      </a:lnTo>
                      <a:lnTo>
                        <a:pt x="194589" y="295909"/>
                      </a:lnTo>
                      <a:lnTo>
                        <a:pt x="197904" y="299719"/>
                      </a:lnTo>
                      <a:lnTo>
                        <a:pt x="197383" y="303529"/>
                      </a:lnTo>
                      <a:lnTo>
                        <a:pt x="197878" y="309879"/>
                      </a:lnTo>
                      <a:lnTo>
                        <a:pt x="224104" y="309879"/>
                      </a:lnTo>
                      <a:lnTo>
                        <a:pt x="224256" y="312419"/>
                      </a:lnTo>
                      <a:lnTo>
                        <a:pt x="224066" y="312419"/>
                      </a:lnTo>
                      <a:lnTo>
                        <a:pt x="222935" y="314959"/>
                      </a:lnTo>
                      <a:lnTo>
                        <a:pt x="221907" y="316229"/>
                      </a:lnTo>
                      <a:lnTo>
                        <a:pt x="222821" y="323849"/>
                      </a:lnTo>
                      <a:lnTo>
                        <a:pt x="223608" y="325119"/>
                      </a:lnTo>
                      <a:lnTo>
                        <a:pt x="227533" y="327659"/>
                      </a:lnTo>
                      <a:lnTo>
                        <a:pt x="231787" y="328929"/>
                      </a:lnTo>
                      <a:lnTo>
                        <a:pt x="233400" y="332739"/>
                      </a:lnTo>
                      <a:lnTo>
                        <a:pt x="233425" y="334009"/>
                      </a:lnTo>
                      <a:lnTo>
                        <a:pt x="234949" y="336549"/>
                      </a:lnTo>
                      <a:lnTo>
                        <a:pt x="235940" y="337819"/>
                      </a:lnTo>
                      <a:lnTo>
                        <a:pt x="236334" y="339089"/>
                      </a:lnTo>
                      <a:lnTo>
                        <a:pt x="235407" y="339089"/>
                      </a:lnTo>
                      <a:lnTo>
                        <a:pt x="235000" y="340359"/>
                      </a:lnTo>
                      <a:lnTo>
                        <a:pt x="234784" y="340359"/>
                      </a:lnTo>
                      <a:lnTo>
                        <a:pt x="234226" y="341629"/>
                      </a:lnTo>
                      <a:lnTo>
                        <a:pt x="234048" y="344169"/>
                      </a:lnTo>
                      <a:lnTo>
                        <a:pt x="233883" y="345439"/>
                      </a:lnTo>
                      <a:lnTo>
                        <a:pt x="233629" y="346709"/>
                      </a:lnTo>
                      <a:lnTo>
                        <a:pt x="233006" y="349249"/>
                      </a:lnTo>
                      <a:lnTo>
                        <a:pt x="232600" y="350519"/>
                      </a:lnTo>
                      <a:lnTo>
                        <a:pt x="231838" y="351789"/>
                      </a:lnTo>
                      <a:lnTo>
                        <a:pt x="230200" y="355599"/>
                      </a:lnTo>
                      <a:lnTo>
                        <a:pt x="228980" y="358139"/>
                      </a:lnTo>
                      <a:lnTo>
                        <a:pt x="228206" y="359409"/>
                      </a:lnTo>
                      <a:lnTo>
                        <a:pt x="227647" y="361949"/>
                      </a:lnTo>
                      <a:lnTo>
                        <a:pt x="227495" y="361949"/>
                      </a:lnTo>
                      <a:lnTo>
                        <a:pt x="228815" y="363219"/>
                      </a:lnTo>
                      <a:lnTo>
                        <a:pt x="231736" y="365759"/>
                      </a:lnTo>
                      <a:lnTo>
                        <a:pt x="230352" y="365759"/>
                      </a:lnTo>
                      <a:lnTo>
                        <a:pt x="228307" y="367029"/>
                      </a:lnTo>
                      <a:lnTo>
                        <a:pt x="226974" y="367029"/>
                      </a:lnTo>
                      <a:lnTo>
                        <a:pt x="226682" y="368299"/>
                      </a:lnTo>
                      <a:lnTo>
                        <a:pt x="481723" y="368299"/>
                      </a:lnTo>
                      <a:lnTo>
                        <a:pt x="484543" y="370839"/>
                      </a:lnTo>
                      <a:lnTo>
                        <a:pt x="483438" y="367029"/>
                      </a:lnTo>
                      <a:lnTo>
                        <a:pt x="486409" y="363219"/>
                      </a:lnTo>
                      <a:lnTo>
                        <a:pt x="490270" y="359409"/>
                      </a:lnTo>
                      <a:lnTo>
                        <a:pt x="491388" y="354329"/>
                      </a:lnTo>
                      <a:lnTo>
                        <a:pt x="490867" y="353059"/>
                      </a:lnTo>
                      <a:lnTo>
                        <a:pt x="490613" y="350519"/>
                      </a:lnTo>
                      <a:lnTo>
                        <a:pt x="490385" y="341629"/>
                      </a:lnTo>
                      <a:lnTo>
                        <a:pt x="493737" y="337819"/>
                      </a:lnTo>
                      <a:lnTo>
                        <a:pt x="498944" y="332739"/>
                      </a:lnTo>
                      <a:lnTo>
                        <a:pt x="499021" y="330199"/>
                      </a:lnTo>
                      <a:lnTo>
                        <a:pt x="498347" y="328929"/>
                      </a:lnTo>
                      <a:lnTo>
                        <a:pt x="496976" y="322579"/>
                      </a:lnTo>
                      <a:lnTo>
                        <a:pt x="500291" y="314959"/>
                      </a:lnTo>
                      <a:lnTo>
                        <a:pt x="502272" y="306069"/>
                      </a:lnTo>
                      <a:lnTo>
                        <a:pt x="501662" y="302259"/>
                      </a:lnTo>
                      <a:lnTo>
                        <a:pt x="501294" y="281939"/>
                      </a:lnTo>
                      <a:lnTo>
                        <a:pt x="501218" y="280669"/>
                      </a:lnTo>
                      <a:lnTo>
                        <a:pt x="501980" y="276859"/>
                      </a:lnTo>
                      <a:lnTo>
                        <a:pt x="501929" y="275589"/>
                      </a:lnTo>
                      <a:lnTo>
                        <a:pt x="501395" y="275589"/>
                      </a:lnTo>
                      <a:lnTo>
                        <a:pt x="498995" y="273049"/>
                      </a:lnTo>
                      <a:lnTo>
                        <a:pt x="499033" y="271779"/>
                      </a:lnTo>
                      <a:close/>
                    </a:path>
                    <a:path w="561975" h="576579">
                      <a:moveTo>
                        <a:pt x="213601" y="354329"/>
                      </a:moveTo>
                      <a:lnTo>
                        <a:pt x="209207" y="354329"/>
                      </a:lnTo>
                      <a:lnTo>
                        <a:pt x="208445" y="355599"/>
                      </a:lnTo>
                      <a:lnTo>
                        <a:pt x="199148" y="355599"/>
                      </a:lnTo>
                      <a:lnTo>
                        <a:pt x="194741" y="356869"/>
                      </a:lnTo>
                      <a:lnTo>
                        <a:pt x="192582" y="356869"/>
                      </a:lnTo>
                      <a:lnTo>
                        <a:pt x="186410" y="358139"/>
                      </a:lnTo>
                      <a:lnTo>
                        <a:pt x="182397" y="359409"/>
                      </a:lnTo>
                      <a:lnTo>
                        <a:pt x="177342" y="359409"/>
                      </a:lnTo>
                      <a:lnTo>
                        <a:pt x="176110" y="360679"/>
                      </a:lnTo>
                      <a:lnTo>
                        <a:pt x="175107" y="360679"/>
                      </a:lnTo>
                      <a:lnTo>
                        <a:pt x="174663" y="361949"/>
                      </a:lnTo>
                      <a:lnTo>
                        <a:pt x="173989" y="364489"/>
                      </a:lnTo>
                      <a:lnTo>
                        <a:pt x="173443" y="365759"/>
                      </a:lnTo>
                      <a:lnTo>
                        <a:pt x="172135" y="368299"/>
                      </a:lnTo>
                      <a:lnTo>
                        <a:pt x="226567" y="368299"/>
                      </a:lnTo>
                      <a:lnTo>
                        <a:pt x="226860" y="365759"/>
                      </a:lnTo>
                      <a:lnTo>
                        <a:pt x="226771" y="364489"/>
                      </a:lnTo>
                      <a:lnTo>
                        <a:pt x="226796" y="363219"/>
                      </a:lnTo>
                      <a:lnTo>
                        <a:pt x="213601" y="354329"/>
                      </a:lnTo>
                      <a:close/>
                    </a:path>
                    <a:path w="561975" h="576579">
                      <a:moveTo>
                        <a:pt x="224104" y="309879"/>
                      </a:moveTo>
                      <a:lnTo>
                        <a:pt x="201040" y="309879"/>
                      </a:lnTo>
                      <a:lnTo>
                        <a:pt x="209283" y="311149"/>
                      </a:lnTo>
                      <a:lnTo>
                        <a:pt x="212991" y="311149"/>
                      </a:lnTo>
                      <a:lnTo>
                        <a:pt x="224104" y="309879"/>
                      </a:lnTo>
                      <a:close/>
                    </a:path>
                    <a:path w="561975" h="576579">
                      <a:moveTo>
                        <a:pt x="501878" y="274319"/>
                      </a:moveTo>
                      <a:lnTo>
                        <a:pt x="501713" y="275589"/>
                      </a:lnTo>
                      <a:lnTo>
                        <a:pt x="501929" y="275589"/>
                      </a:lnTo>
                      <a:lnTo>
                        <a:pt x="501878" y="274319"/>
                      </a:lnTo>
                      <a:close/>
                    </a:path>
                    <a:path w="561975" h="576579">
                      <a:moveTo>
                        <a:pt x="501268" y="267969"/>
                      </a:moveTo>
                      <a:lnTo>
                        <a:pt x="499503" y="270509"/>
                      </a:lnTo>
                      <a:lnTo>
                        <a:pt x="186461" y="270509"/>
                      </a:lnTo>
                      <a:lnTo>
                        <a:pt x="187566" y="271779"/>
                      </a:lnTo>
                      <a:lnTo>
                        <a:pt x="499033" y="271779"/>
                      </a:lnTo>
                      <a:lnTo>
                        <a:pt x="499833" y="273049"/>
                      </a:lnTo>
                      <a:lnTo>
                        <a:pt x="501624" y="271779"/>
                      </a:lnTo>
                      <a:lnTo>
                        <a:pt x="501268" y="267969"/>
                      </a:lnTo>
                      <a:close/>
                    </a:path>
                    <a:path w="561975" h="576579">
                      <a:moveTo>
                        <a:pt x="179108" y="269239"/>
                      </a:moveTo>
                      <a:lnTo>
                        <a:pt x="173354" y="269239"/>
                      </a:lnTo>
                      <a:lnTo>
                        <a:pt x="173647" y="270509"/>
                      </a:lnTo>
                      <a:lnTo>
                        <a:pt x="178511" y="270509"/>
                      </a:lnTo>
                      <a:lnTo>
                        <a:pt x="179108" y="269239"/>
                      </a:lnTo>
                      <a:close/>
                    </a:path>
                    <a:path w="561975" h="576579">
                      <a:moveTo>
                        <a:pt x="503986" y="262889"/>
                      </a:moveTo>
                      <a:lnTo>
                        <a:pt x="165823" y="262889"/>
                      </a:lnTo>
                      <a:lnTo>
                        <a:pt x="170141" y="265429"/>
                      </a:lnTo>
                      <a:lnTo>
                        <a:pt x="170408" y="266699"/>
                      </a:lnTo>
                      <a:lnTo>
                        <a:pt x="172504" y="267969"/>
                      </a:lnTo>
                      <a:lnTo>
                        <a:pt x="172948" y="269239"/>
                      </a:lnTo>
                      <a:lnTo>
                        <a:pt x="183832" y="269239"/>
                      </a:lnTo>
                      <a:lnTo>
                        <a:pt x="185673" y="270509"/>
                      </a:lnTo>
                      <a:lnTo>
                        <a:pt x="499503" y="270509"/>
                      </a:lnTo>
                      <a:lnTo>
                        <a:pt x="499973" y="269239"/>
                      </a:lnTo>
                      <a:lnTo>
                        <a:pt x="499973" y="267969"/>
                      </a:lnTo>
                      <a:lnTo>
                        <a:pt x="500494" y="266699"/>
                      </a:lnTo>
                      <a:lnTo>
                        <a:pt x="501592" y="266699"/>
                      </a:lnTo>
                      <a:lnTo>
                        <a:pt x="502589" y="265429"/>
                      </a:lnTo>
                      <a:lnTo>
                        <a:pt x="503986" y="262889"/>
                      </a:lnTo>
                      <a:close/>
                    </a:path>
                    <a:path w="561975" h="576579">
                      <a:moveTo>
                        <a:pt x="501592" y="266699"/>
                      </a:moveTo>
                      <a:lnTo>
                        <a:pt x="500545" y="266699"/>
                      </a:lnTo>
                      <a:lnTo>
                        <a:pt x="500532" y="267969"/>
                      </a:lnTo>
                      <a:lnTo>
                        <a:pt x="501592" y="266699"/>
                      </a:lnTo>
                      <a:close/>
                    </a:path>
                    <a:path w="561975" h="576579">
                      <a:moveTo>
                        <a:pt x="504913" y="260349"/>
                      </a:moveTo>
                      <a:lnTo>
                        <a:pt x="158432" y="260349"/>
                      </a:lnTo>
                      <a:lnTo>
                        <a:pt x="159105" y="261619"/>
                      </a:lnTo>
                      <a:lnTo>
                        <a:pt x="162344" y="264159"/>
                      </a:lnTo>
                      <a:lnTo>
                        <a:pt x="165823" y="262889"/>
                      </a:lnTo>
                      <a:lnTo>
                        <a:pt x="503986" y="262889"/>
                      </a:lnTo>
                      <a:lnTo>
                        <a:pt x="504913" y="260349"/>
                      </a:lnTo>
                      <a:close/>
                    </a:path>
                    <a:path w="561975" h="576579">
                      <a:moveTo>
                        <a:pt x="525233" y="234949"/>
                      </a:moveTo>
                      <a:lnTo>
                        <a:pt x="122986" y="234949"/>
                      </a:lnTo>
                      <a:lnTo>
                        <a:pt x="122897" y="236219"/>
                      </a:lnTo>
                      <a:lnTo>
                        <a:pt x="123012" y="237489"/>
                      </a:lnTo>
                      <a:lnTo>
                        <a:pt x="123291" y="237489"/>
                      </a:lnTo>
                      <a:lnTo>
                        <a:pt x="123507" y="238759"/>
                      </a:lnTo>
                      <a:lnTo>
                        <a:pt x="124078" y="240029"/>
                      </a:lnTo>
                      <a:lnTo>
                        <a:pt x="124980" y="241299"/>
                      </a:lnTo>
                      <a:lnTo>
                        <a:pt x="125729" y="242569"/>
                      </a:lnTo>
                      <a:lnTo>
                        <a:pt x="126542" y="243839"/>
                      </a:lnTo>
                      <a:lnTo>
                        <a:pt x="127393" y="245109"/>
                      </a:lnTo>
                      <a:lnTo>
                        <a:pt x="134175" y="251459"/>
                      </a:lnTo>
                      <a:lnTo>
                        <a:pt x="135597" y="252729"/>
                      </a:lnTo>
                      <a:lnTo>
                        <a:pt x="137363" y="255269"/>
                      </a:lnTo>
                      <a:lnTo>
                        <a:pt x="504761" y="255269"/>
                      </a:lnTo>
                      <a:lnTo>
                        <a:pt x="508507" y="259079"/>
                      </a:lnTo>
                      <a:lnTo>
                        <a:pt x="508126" y="260349"/>
                      </a:lnTo>
                      <a:lnTo>
                        <a:pt x="508698" y="262889"/>
                      </a:lnTo>
                      <a:lnTo>
                        <a:pt x="510705" y="260349"/>
                      </a:lnTo>
                      <a:lnTo>
                        <a:pt x="512038" y="260349"/>
                      </a:lnTo>
                      <a:lnTo>
                        <a:pt x="514388" y="256539"/>
                      </a:lnTo>
                      <a:lnTo>
                        <a:pt x="515073" y="256539"/>
                      </a:lnTo>
                      <a:lnTo>
                        <a:pt x="516902" y="253999"/>
                      </a:lnTo>
                      <a:lnTo>
                        <a:pt x="517994" y="251459"/>
                      </a:lnTo>
                      <a:lnTo>
                        <a:pt x="520649" y="246379"/>
                      </a:lnTo>
                      <a:lnTo>
                        <a:pt x="523620" y="242569"/>
                      </a:lnTo>
                      <a:lnTo>
                        <a:pt x="523894" y="241299"/>
                      </a:lnTo>
                      <a:lnTo>
                        <a:pt x="522731" y="241299"/>
                      </a:lnTo>
                      <a:lnTo>
                        <a:pt x="523303" y="238759"/>
                      </a:lnTo>
                      <a:lnTo>
                        <a:pt x="523735" y="237489"/>
                      </a:lnTo>
                      <a:lnTo>
                        <a:pt x="525233" y="234949"/>
                      </a:lnTo>
                      <a:close/>
                    </a:path>
                    <a:path w="561975" h="576579">
                      <a:moveTo>
                        <a:pt x="502831" y="257809"/>
                      </a:moveTo>
                      <a:lnTo>
                        <a:pt x="156425" y="257809"/>
                      </a:lnTo>
                      <a:lnTo>
                        <a:pt x="156552" y="259079"/>
                      </a:lnTo>
                      <a:lnTo>
                        <a:pt x="157238" y="260349"/>
                      </a:lnTo>
                      <a:lnTo>
                        <a:pt x="503796" y="260349"/>
                      </a:lnTo>
                      <a:lnTo>
                        <a:pt x="501751" y="259079"/>
                      </a:lnTo>
                      <a:lnTo>
                        <a:pt x="502831" y="257809"/>
                      </a:lnTo>
                      <a:close/>
                    </a:path>
                    <a:path w="561975" h="576579">
                      <a:moveTo>
                        <a:pt x="504761" y="255269"/>
                      </a:moveTo>
                      <a:lnTo>
                        <a:pt x="148158" y="255269"/>
                      </a:lnTo>
                      <a:lnTo>
                        <a:pt x="153098" y="256539"/>
                      </a:lnTo>
                      <a:lnTo>
                        <a:pt x="153733" y="256539"/>
                      </a:lnTo>
                      <a:lnTo>
                        <a:pt x="155016" y="257809"/>
                      </a:lnTo>
                      <a:lnTo>
                        <a:pt x="502894" y="257809"/>
                      </a:lnTo>
                      <a:lnTo>
                        <a:pt x="502945" y="259079"/>
                      </a:lnTo>
                      <a:lnTo>
                        <a:pt x="504456" y="257809"/>
                      </a:lnTo>
                      <a:lnTo>
                        <a:pt x="504761" y="255269"/>
                      </a:lnTo>
                      <a:close/>
                    </a:path>
                    <a:path w="561975" h="576579">
                      <a:moveTo>
                        <a:pt x="524167" y="240029"/>
                      </a:moveTo>
                      <a:lnTo>
                        <a:pt x="523151" y="240029"/>
                      </a:lnTo>
                      <a:lnTo>
                        <a:pt x="522731" y="241299"/>
                      </a:lnTo>
                      <a:lnTo>
                        <a:pt x="523894" y="241299"/>
                      </a:lnTo>
                      <a:lnTo>
                        <a:pt x="524167" y="240029"/>
                      </a:lnTo>
                      <a:close/>
                    </a:path>
                    <a:path w="561975" h="576579">
                      <a:moveTo>
                        <a:pt x="82765" y="232409"/>
                      </a:moveTo>
                      <a:lnTo>
                        <a:pt x="62191" y="232409"/>
                      </a:lnTo>
                      <a:lnTo>
                        <a:pt x="63550" y="233679"/>
                      </a:lnTo>
                      <a:lnTo>
                        <a:pt x="67005" y="233679"/>
                      </a:lnTo>
                      <a:lnTo>
                        <a:pt x="77228" y="236219"/>
                      </a:lnTo>
                      <a:lnTo>
                        <a:pt x="82765" y="232409"/>
                      </a:lnTo>
                      <a:close/>
                    </a:path>
                    <a:path w="561975" h="576579">
                      <a:moveTo>
                        <a:pt x="528294" y="234949"/>
                      </a:moveTo>
                      <a:lnTo>
                        <a:pt x="525233" y="234949"/>
                      </a:lnTo>
                      <a:lnTo>
                        <a:pt x="525906" y="236219"/>
                      </a:lnTo>
                      <a:lnTo>
                        <a:pt x="528294" y="234949"/>
                      </a:lnTo>
                      <a:close/>
                    </a:path>
                    <a:path w="561975" h="576579">
                      <a:moveTo>
                        <a:pt x="57619" y="232409"/>
                      </a:moveTo>
                      <a:lnTo>
                        <a:pt x="49364" y="232409"/>
                      </a:lnTo>
                      <a:lnTo>
                        <a:pt x="51231" y="234949"/>
                      </a:lnTo>
                      <a:lnTo>
                        <a:pt x="54432" y="233679"/>
                      </a:lnTo>
                      <a:lnTo>
                        <a:pt x="55575" y="233679"/>
                      </a:lnTo>
                      <a:lnTo>
                        <a:pt x="57619" y="232409"/>
                      </a:lnTo>
                      <a:close/>
                    </a:path>
                    <a:path w="561975" h="576579">
                      <a:moveTo>
                        <a:pt x="547039" y="214629"/>
                      </a:moveTo>
                      <a:lnTo>
                        <a:pt x="122923" y="214629"/>
                      </a:lnTo>
                      <a:lnTo>
                        <a:pt x="123723" y="215899"/>
                      </a:lnTo>
                      <a:lnTo>
                        <a:pt x="124015" y="215899"/>
                      </a:lnTo>
                      <a:lnTo>
                        <a:pt x="124205" y="217169"/>
                      </a:lnTo>
                      <a:lnTo>
                        <a:pt x="124040" y="218439"/>
                      </a:lnTo>
                      <a:lnTo>
                        <a:pt x="123164" y="223519"/>
                      </a:lnTo>
                      <a:lnTo>
                        <a:pt x="123012" y="224789"/>
                      </a:lnTo>
                      <a:lnTo>
                        <a:pt x="122847" y="229869"/>
                      </a:lnTo>
                      <a:lnTo>
                        <a:pt x="122935" y="231139"/>
                      </a:lnTo>
                      <a:lnTo>
                        <a:pt x="123240" y="232409"/>
                      </a:lnTo>
                      <a:lnTo>
                        <a:pt x="123723" y="233679"/>
                      </a:lnTo>
                      <a:lnTo>
                        <a:pt x="123583" y="234949"/>
                      </a:lnTo>
                      <a:lnTo>
                        <a:pt x="526326" y="234949"/>
                      </a:lnTo>
                      <a:lnTo>
                        <a:pt x="525856" y="233679"/>
                      </a:lnTo>
                      <a:lnTo>
                        <a:pt x="527329" y="233679"/>
                      </a:lnTo>
                      <a:lnTo>
                        <a:pt x="530593" y="232409"/>
                      </a:lnTo>
                      <a:lnTo>
                        <a:pt x="529602" y="232409"/>
                      </a:lnTo>
                      <a:lnTo>
                        <a:pt x="529526" y="231931"/>
                      </a:lnTo>
                      <a:lnTo>
                        <a:pt x="527761" y="231139"/>
                      </a:lnTo>
                      <a:lnTo>
                        <a:pt x="527888" y="229869"/>
                      </a:lnTo>
                      <a:lnTo>
                        <a:pt x="532091" y="229869"/>
                      </a:lnTo>
                      <a:lnTo>
                        <a:pt x="534288" y="227329"/>
                      </a:lnTo>
                      <a:lnTo>
                        <a:pt x="535571" y="227329"/>
                      </a:lnTo>
                      <a:lnTo>
                        <a:pt x="538403" y="226059"/>
                      </a:lnTo>
                      <a:lnTo>
                        <a:pt x="538670" y="224789"/>
                      </a:lnTo>
                      <a:lnTo>
                        <a:pt x="541210" y="220979"/>
                      </a:lnTo>
                      <a:lnTo>
                        <a:pt x="547039" y="214629"/>
                      </a:lnTo>
                      <a:close/>
                    </a:path>
                    <a:path w="561975" h="576579">
                      <a:moveTo>
                        <a:pt x="48983" y="214629"/>
                      </a:moveTo>
                      <a:lnTo>
                        <a:pt x="46799" y="220979"/>
                      </a:lnTo>
                      <a:lnTo>
                        <a:pt x="48056" y="228599"/>
                      </a:lnTo>
                      <a:lnTo>
                        <a:pt x="48031" y="233679"/>
                      </a:lnTo>
                      <a:lnTo>
                        <a:pt x="49364" y="232409"/>
                      </a:lnTo>
                      <a:lnTo>
                        <a:pt x="82765" y="232409"/>
                      </a:lnTo>
                      <a:lnTo>
                        <a:pt x="82448" y="231139"/>
                      </a:lnTo>
                      <a:lnTo>
                        <a:pt x="85356" y="229869"/>
                      </a:lnTo>
                      <a:lnTo>
                        <a:pt x="88760" y="229869"/>
                      </a:lnTo>
                      <a:lnTo>
                        <a:pt x="90004" y="228599"/>
                      </a:lnTo>
                      <a:lnTo>
                        <a:pt x="90614" y="228599"/>
                      </a:lnTo>
                      <a:lnTo>
                        <a:pt x="91097" y="227329"/>
                      </a:lnTo>
                      <a:lnTo>
                        <a:pt x="91427" y="227329"/>
                      </a:lnTo>
                      <a:lnTo>
                        <a:pt x="93891" y="224789"/>
                      </a:lnTo>
                      <a:lnTo>
                        <a:pt x="95859" y="224789"/>
                      </a:lnTo>
                      <a:lnTo>
                        <a:pt x="101434" y="220979"/>
                      </a:lnTo>
                      <a:lnTo>
                        <a:pt x="104495" y="218439"/>
                      </a:lnTo>
                      <a:lnTo>
                        <a:pt x="105778" y="218439"/>
                      </a:lnTo>
                      <a:lnTo>
                        <a:pt x="107111" y="217169"/>
                      </a:lnTo>
                      <a:lnTo>
                        <a:pt x="115341" y="215899"/>
                      </a:lnTo>
                      <a:lnTo>
                        <a:pt x="49339" y="215899"/>
                      </a:lnTo>
                      <a:lnTo>
                        <a:pt x="48983" y="214629"/>
                      </a:lnTo>
                      <a:close/>
                    </a:path>
                    <a:path w="561975" h="576579">
                      <a:moveTo>
                        <a:pt x="529526" y="231931"/>
                      </a:moveTo>
                      <a:lnTo>
                        <a:pt x="529602" y="232409"/>
                      </a:lnTo>
                      <a:lnTo>
                        <a:pt x="529861" y="232081"/>
                      </a:lnTo>
                      <a:lnTo>
                        <a:pt x="529526" y="231931"/>
                      </a:lnTo>
                      <a:close/>
                    </a:path>
                    <a:path w="561975" h="576579">
                      <a:moveTo>
                        <a:pt x="529861" y="232081"/>
                      </a:moveTo>
                      <a:lnTo>
                        <a:pt x="529602" y="232409"/>
                      </a:lnTo>
                      <a:lnTo>
                        <a:pt x="530593" y="232409"/>
                      </a:lnTo>
                      <a:lnTo>
                        <a:pt x="529861" y="232081"/>
                      </a:lnTo>
                      <a:close/>
                    </a:path>
                    <a:path w="561975" h="576579">
                      <a:moveTo>
                        <a:pt x="532091" y="229869"/>
                      </a:moveTo>
                      <a:lnTo>
                        <a:pt x="529272" y="229869"/>
                      </a:lnTo>
                      <a:lnTo>
                        <a:pt x="529399" y="231139"/>
                      </a:lnTo>
                      <a:lnTo>
                        <a:pt x="529526" y="231931"/>
                      </a:lnTo>
                      <a:lnTo>
                        <a:pt x="529861" y="232081"/>
                      </a:lnTo>
                      <a:lnTo>
                        <a:pt x="530605" y="231139"/>
                      </a:lnTo>
                      <a:lnTo>
                        <a:pt x="532091" y="229869"/>
                      </a:lnTo>
                      <a:close/>
                    </a:path>
                    <a:path w="561975" h="576579">
                      <a:moveTo>
                        <a:pt x="39547" y="218439"/>
                      </a:moveTo>
                      <a:lnTo>
                        <a:pt x="28168" y="218439"/>
                      </a:lnTo>
                      <a:lnTo>
                        <a:pt x="31305" y="219709"/>
                      </a:lnTo>
                      <a:lnTo>
                        <a:pt x="37553" y="219709"/>
                      </a:lnTo>
                      <a:lnTo>
                        <a:pt x="39547" y="218439"/>
                      </a:lnTo>
                      <a:close/>
                    </a:path>
                    <a:path w="561975" h="576579">
                      <a:moveTo>
                        <a:pt x="40982" y="217169"/>
                      </a:moveTo>
                      <a:lnTo>
                        <a:pt x="26428" y="217169"/>
                      </a:lnTo>
                      <a:lnTo>
                        <a:pt x="25780" y="218439"/>
                      </a:lnTo>
                      <a:lnTo>
                        <a:pt x="39890" y="218439"/>
                      </a:lnTo>
                      <a:lnTo>
                        <a:pt x="40982" y="217169"/>
                      </a:lnTo>
                      <a:close/>
                    </a:path>
                    <a:path w="561975" h="576579">
                      <a:moveTo>
                        <a:pt x="49618" y="210819"/>
                      </a:moveTo>
                      <a:lnTo>
                        <a:pt x="23507" y="210819"/>
                      </a:lnTo>
                      <a:lnTo>
                        <a:pt x="24752" y="214629"/>
                      </a:lnTo>
                      <a:lnTo>
                        <a:pt x="25488" y="215899"/>
                      </a:lnTo>
                      <a:lnTo>
                        <a:pt x="26200" y="217169"/>
                      </a:lnTo>
                      <a:lnTo>
                        <a:pt x="41922" y="217169"/>
                      </a:lnTo>
                      <a:lnTo>
                        <a:pt x="43091" y="215899"/>
                      </a:lnTo>
                      <a:lnTo>
                        <a:pt x="43649" y="215899"/>
                      </a:lnTo>
                      <a:lnTo>
                        <a:pt x="45618" y="213359"/>
                      </a:lnTo>
                      <a:lnTo>
                        <a:pt x="49618" y="210819"/>
                      </a:lnTo>
                      <a:close/>
                    </a:path>
                    <a:path w="561975" h="576579">
                      <a:moveTo>
                        <a:pt x="545033" y="213359"/>
                      </a:moveTo>
                      <a:lnTo>
                        <a:pt x="48399" y="213359"/>
                      </a:lnTo>
                      <a:lnTo>
                        <a:pt x="49174" y="214629"/>
                      </a:lnTo>
                      <a:lnTo>
                        <a:pt x="49339" y="215899"/>
                      </a:lnTo>
                      <a:lnTo>
                        <a:pt x="120611" y="215899"/>
                      </a:lnTo>
                      <a:lnTo>
                        <a:pt x="121780" y="214629"/>
                      </a:lnTo>
                      <a:lnTo>
                        <a:pt x="546049" y="214629"/>
                      </a:lnTo>
                      <a:lnTo>
                        <a:pt x="545033" y="213359"/>
                      </a:lnTo>
                      <a:close/>
                    </a:path>
                    <a:path w="561975" h="576579">
                      <a:moveTo>
                        <a:pt x="551256" y="144779"/>
                      </a:moveTo>
                      <a:lnTo>
                        <a:pt x="541121" y="148589"/>
                      </a:lnTo>
                      <a:lnTo>
                        <a:pt x="16103" y="148589"/>
                      </a:lnTo>
                      <a:lnTo>
                        <a:pt x="15214" y="153669"/>
                      </a:lnTo>
                      <a:lnTo>
                        <a:pt x="14566" y="156209"/>
                      </a:lnTo>
                      <a:lnTo>
                        <a:pt x="14389" y="157479"/>
                      </a:lnTo>
                      <a:lnTo>
                        <a:pt x="13677" y="158749"/>
                      </a:lnTo>
                      <a:lnTo>
                        <a:pt x="12674" y="160019"/>
                      </a:lnTo>
                      <a:lnTo>
                        <a:pt x="12052" y="162559"/>
                      </a:lnTo>
                      <a:lnTo>
                        <a:pt x="11849" y="162559"/>
                      </a:lnTo>
                      <a:lnTo>
                        <a:pt x="11760" y="165099"/>
                      </a:lnTo>
                      <a:lnTo>
                        <a:pt x="11963" y="165099"/>
                      </a:lnTo>
                      <a:lnTo>
                        <a:pt x="12191" y="167639"/>
                      </a:lnTo>
                      <a:lnTo>
                        <a:pt x="11544" y="167639"/>
                      </a:lnTo>
                      <a:lnTo>
                        <a:pt x="10794" y="168909"/>
                      </a:lnTo>
                      <a:lnTo>
                        <a:pt x="9397" y="170179"/>
                      </a:lnTo>
                      <a:lnTo>
                        <a:pt x="5829" y="171449"/>
                      </a:lnTo>
                      <a:lnTo>
                        <a:pt x="4546" y="172719"/>
                      </a:lnTo>
                      <a:lnTo>
                        <a:pt x="2666" y="176529"/>
                      </a:lnTo>
                      <a:lnTo>
                        <a:pt x="2641" y="177799"/>
                      </a:lnTo>
                      <a:lnTo>
                        <a:pt x="3352" y="179069"/>
                      </a:lnTo>
                      <a:lnTo>
                        <a:pt x="3708" y="179069"/>
                      </a:lnTo>
                      <a:lnTo>
                        <a:pt x="4025" y="180339"/>
                      </a:lnTo>
                      <a:lnTo>
                        <a:pt x="3721" y="180339"/>
                      </a:lnTo>
                      <a:lnTo>
                        <a:pt x="3467" y="181609"/>
                      </a:lnTo>
                      <a:lnTo>
                        <a:pt x="571" y="182879"/>
                      </a:lnTo>
                      <a:lnTo>
                        <a:pt x="0" y="182879"/>
                      </a:lnTo>
                      <a:lnTo>
                        <a:pt x="1358" y="184149"/>
                      </a:lnTo>
                      <a:lnTo>
                        <a:pt x="3390" y="185419"/>
                      </a:lnTo>
                      <a:lnTo>
                        <a:pt x="5219" y="189229"/>
                      </a:lnTo>
                      <a:lnTo>
                        <a:pt x="5232" y="191769"/>
                      </a:lnTo>
                      <a:lnTo>
                        <a:pt x="7962" y="196849"/>
                      </a:lnTo>
                      <a:lnTo>
                        <a:pt x="10071" y="199389"/>
                      </a:lnTo>
                      <a:lnTo>
                        <a:pt x="13119" y="203199"/>
                      </a:lnTo>
                      <a:lnTo>
                        <a:pt x="14681" y="204469"/>
                      </a:lnTo>
                      <a:lnTo>
                        <a:pt x="14998" y="207009"/>
                      </a:lnTo>
                      <a:lnTo>
                        <a:pt x="11201" y="210819"/>
                      </a:lnTo>
                      <a:lnTo>
                        <a:pt x="49618" y="210819"/>
                      </a:lnTo>
                      <a:lnTo>
                        <a:pt x="48323" y="213359"/>
                      </a:lnTo>
                      <a:lnTo>
                        <a:pt x="545553" y="213359"/>
                      </a:lnTo>
                      <a:lnTo>
                        <a:pt x="560679" y="186689"/>
                      </a:lnTo>
                      <a:lnTo>
                        <a:pt x="559574" y="184149"/>
                      </a:lnTo>
                      <a:lnTo>
                        <a:pt x="560057" y="182879"/>
                      </a:lnTo>
                      <a:lnTo>
                        <a:pt x="560514" y="180339"/>
                      </a:lnTo>
                      <a:lnTo>
                        <a:pt x="561517" y="179069"/>
                      </a:lnTo>
                      <a:lnTo>
                        <a:pt x="560004" y="170179"/>
                      </a:lnTo>
                      <a:lnTo>
                        <a:pt x="558050" y="163829"/>
                      </a:lnTo>
                      <a:lnTo>
                        <a:pt x="555735" y="158749"/>
                      </a:lnTo>
                      <a:lnTo>
                        <a:pt x="553567" y="152399"/>
                      </a:lnTo>
                      <a:lnTo>
                        <a:pt x="551256" y="144779"/>
                      </a:lnTo>
                      <a:close/>
                    </a:path>
                    <a:path w="561975" h="576579">
                      <a:moveTo>
                        <a:pt x="242963" y="45719"/>
                      </a:moveTo>
                      <a:lnTo>
                        <a:pt x="239115" y="45719"/>
                      </a:lnTo>
                      <a:lnTo>
                        <a:pt x="235864" y="50799"/>
                      </a:lnTo>
                      <a:lnTo>
                        <a:pt x="230797" y="52069"/>
                      </a:lnTo>
                      <a:lnTo>
                        <a:pt x="221653" y="54609"/>
                      </a:lnTo>
                      <a:lnTo>
                        <a:pt x="222580" y="55879"/>
                      </a:lnTo>
                      <a:lnTo>
                        <a:pt x="222364" y="57149"/>
                      </a:lnTo>
                      <a:lnTo>
                        <a:pt x="215734" y="58419"/>
                      </a:lnTo>
                      <a:lnTo>
                        <a:pt x="127279" y="58419"/>
                      </a:lnTo>
                      <a:lnTo>
                        <a:pt x="125107" y="60959"/>
                      </a:lnTo>
                      <a:lnTo>
                        <a:pt x="121069" y="66039"/>
                      </a:lnTo>
                      <a:lnTo>
                        <a:pt x="55702" y="66039"/>
                      </a:lnTo>
                      <a:lnTo>
                        <a:pt x="56337" y="71119"/>
                      </a:lnTo>
                      <a:lnTo>
                        <a:pt x="55943" y="71119"/>
                      </a:lnTo>
                      <a:lnTo>
                        <a:pt x="55460" y="77469"/>
                      </a:lnTo>
                      <a:lnTo>
                        <a:pt x="58839" y="80009"/>
                      </a:lnTo>
                      <a:lnTo>
                        <a:pt x="64134" y="82549"/>
                      </a:lnTo>
                      <a:lnTo>
                        <a:pt x="63334" y="87629"/>
                      </a:lnTo>
                      <a:lnTo>
                        <a:pt x="65417" y="91439"/>
                      </a:lnTo>
                      <a:lnTo>
                        <a:pt x="61938" y="111759"/>
                      </a:lnTo>
                      <a:lnTo>
                        <a:pt x="60129" y="121919"/>
                      </a:lnTo>
                      <a:lnTo>
                        <a:pt x="57289" y="135889"/>
                      </a:lnTo>
                      <a:lnTo>
                        <a:pt x="57670" y="135889"/>
                      </a:lnTo>
                      <a:lnTo>
                        <a:pt x="57950" y="137159"/>
                      </a:lnTo>
                      <a:lnTo>
                        <a:pt x="44284" y="137159"/>
                      </a:lnTo>
                      <a:lnTo>
                        <a:pt x="42773" y="138429"/>
                      </a:lnTo>
                      <a:lnTo>
                        <a:pt x="36766" y="138429"/>
                      </a:lnTo>
                      <a:lnTo>
                        <a:pt x="34493" y="139699"/>
                      </a:lnTo>
                      <a:lnTo>
                        <a:pt x="30441" y="139699"/>
                      </a:lnTo>
                      <a:lnTo>
                        <a:pt x="27787" y="140969"/>
                      </a:lnTo>
                      <a:lnTo>
                        <a:pt x="25234" y="142239"/>
                      </a:lnTo>
                      <a:lnTo>
                        <a:pt x="23012" y="144779"/>
                      </a:lnTo>
                      <a:lnTo>
                        <a:pt x="20853" y="146049"/>
                      </a:lnTo>
                      <a:lnTo>
                        <a:pt x="18503" y="147319"/>
                      </a:lnTo>
                      <a:lnTo>
                        <a:pt x="17919" y="147319"/>
                      </a:lnTo>
                      <a:lnTo>
                        <a:pt x="16852" y="148589"/>
                      </a:lnTo>
                      <a:lnTo>
                        <a:pt x="532472" y="148589"/>
                      </a:lnTo>
                      <a:lnTo>
                        <a:pt x="528116" y="146049"/>
                      </a:lnTo>
                      <a:lnTo>
                        <a:pt x="522198" y="140969"/>
                      </a:lnTo>
                      <a:lnTo>
                        <a:pt x="518871" y="138429"/>
                      </a:lnTo>
                      <a:lnTo>
                        <a:pt x="515797" y="135889"/>
                      </a:lnTo>
                      <a:lnTo>
                        <a:pt x="510809" y="132079"/>
                      </a:lnTo>
                      <a:lnTo>
                        <a:pt x="505674" y="128269"/>
                      </a:lnTo>
                      <a:lnTo>
                        <a:pt x="500336" y="124459"/>
                      </a:lnTo>
                      <a:lnTo>
                        <a:pt x="496606" y="121919"/>
                      </a:lnTo>
                      <a:lnTo>
                        <a:pt x="418376" y="121919"/>
                      </a:lnTo>
                      <a:lnTo>
                        <a:pt x="418439" y="120649"/>
                      </a:lnTo>
                      <a:lnTo>
                        <a:pt x="419087" y="120649"/>
                      </a:lnTo>
                      <a:lnTo>
                        <a:pt x="420077" y="118109"/>
                      </a:lnTo>
                      <a:lnTo>
                        <a:pt x="420204" y="114299"/>
                      </a:lnTo>
                      <a:lnTo>
                        <a:pt x="421398" y="111759"/>
                      </a:lnTo>
                      <a:lnTo>
                        <a:pt x="350735" y="111759"/>
                      </a:lnTo>
                      <a:lnTo>
                        <a:pt x="350024" y="110489"/>
                      </a:lnTo>
                      <a:lnTo>
                        <a:pt x="351624" y="106679"/>
                      </a:lnTo>
                      <a:lnTo>
                        <a:pt x="352361" y="104139"/>
                      </a:lnTo>
                      <a:lnTo>
                        <a:pt x="345236" y="104139"/>
                      </a:lnTo>
                      <a:lnTo>
                        <a:pt x="345232" y="102869"/>
                      </a:lnTo>
                      <a:lnTo>
                        <a:pt x="340956" y="102869"/>
                      </a:lnTo>
                      <a:lnTo>
                        <a:pt x="339940" y="101599"/>
                      </a:lnTo>
                      <a:lnTo>
                        <a:pt x="336359" y="101599"/>
                      </a:lnTo>
                      <a:lnTo>
                        <a:pt x="335305" y="100329"/>
                      </a:lnTo>
                      <a:lnTo>
                        <a:pt x="310972" y="100329"/>
                      </a:lnTo>
                      <a:lnTo>
                        <a:pt x="310883" y="97789"/>
                      </a:lnTo>
                      <a:lnTo>
                        <a:pt x="304571" y="97789"/>
                      </a:lnTo>
                      <a:lnTo>
                        <a:pt x="304685" y="96519"/>
                      </a:lnTo>
                      <a:lnTo>
                        <a:pt x="309473" y="95249"/>
                      </a:lnTo>
                      <a:lnTo>
                        <a:pt x="311772" y="93979"/>
                      </a:lnTo>
                      <a:lnTo>
                        <a:pt x="316172" y="93979"/>
                      </a:lnTo>
                      <a:lnTo>
                        <a:pt x="316204" y="91439"/>
                      </a:lnTo>
                      <a:lnTo>
                        <a:pt x="325132" y="77469"/>
                      </a:lnTo>
                      <a:lnTo>
                        <a:pt x="326339" y="76199"/>
                      </a:lnTo>
                      <a:lnTo>
                        <a:pt x="332955" y="71119"/>
                      </a:lnTo>
                      <a:lnTo>
                        <a:pt x="337350" y="66039"/>
                      </a:lnTo>
                      <a:lnTo>
                        <a:pt x="345046" y="58419"/>
                      </a:lnTo>
                      <a:lnTo>
                        <a:pt x="344792" y="57149"/>
                      </a:lnTo>
                      <a:lnTo>
                        <a:pt x="341680" y="57149"/>
                      </a:lnTo>
                      <a:lnTo>
                        <a:pt x="344423" y="55879"/>
                      </a:lnTo>
                      <a:lnTo>
                        <a:pt x="345452" y="55879"/>
                      </a:lnTo>
                      <a:lnTo>
                        <a:pt x="344728" y="50799"/>
                      </a:lnTo>
                      <a:lnTo>
                        <a:pt x="343865" y="49529"/>
                      </a:lnTo>
                      <a:lnTo>
                        <a:pt x="258571" y="49529"/>
                      </a:lnTo>
                      <a:lnTo>
                        <a:pt x="257721" y="48259"/>
                      </a:lnTo>
                      <a:lnTo>
                        <a:pt x="244792" y="48259"/>
                      </a:lnTo>
                      <a:lnTo>
                        <a:pt x="242481" y="46989"/>
                      </a:lnTo>
                      <a:lnTo>
                        <a:pt x="242963" y="45719"/>
                      </a:lnTo>
                      <a:close/>
                    </a:path>
                    <a:path w="561975" h="576579">
                      <a:moveTo>
                        <a:pt x="49974" y="133349"/>
                      </a:moveTo>
                      <a:lnTo>
                        <a:pt x="47294" y="134619"/>
                      </a:lnTo>
                      <a:lnTo>
                        <a:pt x="46354" y="135889"/>
                      </a:lnTo>
                      <a:lnTo>
                        <a:pt x="45542" y="135889"/>
                      </a:lnTo>
                      <a:lnTo>
                        <a:pt x="44894" y="137159"/>
                      </a:lnTo>
                      <a:lnTo>
                        <a:pt x="52641" y="137159"/>
                      </a:lnTo>
                      <a:lnTo>
                        <a:pt x="52641" y="135889"/>
                      </a:lnTo>
                      <a:lnTo>
                        <a:pt x="51549" y="134619"/>
                      </a:lnTo>
                      <a:lnTo>
                        <a:pt x="49974" y="133349"/>
                      </a:lnTo>
                      <a:close/>
                    </a:path>
                    <a:path w="561975" h="576579">
                      <a:moveTo>
                        <a:pt x="54914" y="135889"/>
                      </a:moveTo>
                      <a:lnTo>
                        <a:pt x="52641" y="137159"/>
                      </a:lnTo>
                      <a:lnTo>
                        <a:pt x="57073" y="137159"/>
                      </a:lnTo>
                      <a:lnTo>
                        <a:pt x="54914" y="135889"/>
                      </a:lnTo>
                      <a:close/>
                    </a:path>
                    <a:path w="561975" h="576579">
                      <a:moveTo>
                        <a:pt x="428917" y="109219"/>
                      </a:moveTo>
                      <a:lnTo>
                        <a:pt x="428002" y="109219"/>
                      </a:lnTo>
                      <a:lnTo>
                        <a:pt x="424802" y="110489"/>
                      </a:lnTo>
                      <a:lnTo>
                        <a:pt x="423900" y="111759"/>
                      </a:lnTo>
                      <a:lnTo>
                        <a:pt x="423964" y="114299"/>
                      </a:lnTo>
                      <a:lnTo>
                        <a:pt x="423163" y="118109"/>
                      </a:lnTo>
                      <a:lnTo>
                        <a:pt x="421081" y="119379"/>
                      </a:lnTo>
                      <a:lnTo>
                        <a:pt x="418376" y="121919"/>
                      </a:lnTo>
                      <a:lnTo>
                        <a:pt x="496606" y="121919"/>
                      </a:lnTo>
                      <a:lnTo>
                        <a:pt x="494741" y="120649"/>
                      </a:lnTo>
                      <a:lnTo>
                        <a:pt x="490575" y="118109"/>
                      </a:lnTo>
                      <a:lnTo>
                        <a:pt x="468756" y="118109"/>
                      </a:lnTo>
                      <a:lnTo>
                        <a:pt x="464451" y="115569"/>
                      </a:lnTo>
                      <a:lnTo>
                        <a:pt x="427342" y="115569"/>
                      </a:lnTo>
                      <a:lnTo>
                        <a:pt x="424611" y="114299"/>
                      </a:lnTo>
                      <a:lnTo>
                        <a:pt x="426631" y="114299"/>
                      </a:lnTo>
                      <a:lnTo>
                        <a:pt x="427964" y="111759"/>
                      </a:lnTo>
                      <a:lnTo>
                        <a:pt x="428917" y="109219"/>
                      </a:lnTo>
                      <a:close/>
                    </a:path>
                    <a:path w="561975" h="576579">
                      <a:moveTo>
                        <a:pt x="468744" y="118051"/>
                      </a:moveTo>
                      <a:close/>
                    </a:path>
                    <a:path w="561975" h="576579">
                      <a:moveTo>
                        <a:pt x="479640" y="114299"/>
                      </a:moveTo>
                      <a:lnTo>
                        <a:pt x="479640" y="115569"/>
                      </a:lnTo>
                      <a:lnTo>
                        <a:pt x="469341" y="115569"/>
                      </a:lnTo>
                      <a:lnTo>
                        <a:pt x="468083" y="116839"/>
                      </a:lnTo>
                      <a:lnTo>
                        <a:pt x="468477" y="116839"/>
                      </a:lnTo>
                      <a:lnTo>
                        <a:pt x="468744" y="118051"/>
                      </a:lnTo>
                      <a:lnTo>
                        <a:pt x="490575" y="118109"/>
                      </a:lnTo>
                      <a:lnTo>
                        <a:pt x="486422" y="116839"/>
                      </a:lnTo>
                      <a:lnTo>
                        <a:pt x="479640" y="114299"/>
                      </a:lnTo>
                      <a:close/>
                    </a:path>
                    <a:path w="561975" h="576579">
                      <a:moveTo>
                        <a:pt x="436257" y="107949"/>
                      </a:moveTo>
                      <a:lnTo>
                        <a:pt x="437057" y="109219"/>
                      </a:lnTo>
                      <a:lnTo>
                        <a:pt x="434898" y="110489"/>
                      </a:lnTo>
                      <a:lnTo>
                        <a:pt x="432257" y="110489"/>
                      </a:lnTo>
                      <a:lnTo>
                        <a:pt x="430034" y="111759"/>
                      </a:lnTo>
                      <a:lnTo>
                        <a:pt x="427647" y="114299"/>
                      </a:lnTo>
                      <a:lnTo>
                        <a:pt x="427342" y="115569"/>
                      </a:lnTo>
                      <a:lnTo>
                        <a:pt x="453377" y="115569"/>
                      </a:lnTo>
                      <a:lnTo>
                        <a:pt x="451929" y="114299"/>
                      </a:lnTo>
                      <a:lnTo>
                        <a:pt x="436257" y="107949"/>
                      </a:lnTo>
                      <a:close/>
                    </a:path>
                    <a:path w="561975" h="576579">
                      <a:moveTo>
                        <a:pt x="462254" y="114299"/>
                      </a:moveTo>
                      <a:lnTo>
                        <a:pt x="458381" y="114299"/>
                      </a:lnTo>
                      <a:lnTo>
                        <a:pt x="456247" y="115569"/>
                      </a:lnTo>
                      <a:lnTo>
                        <a:pt x="464451" y="115569"/>
                      </a:lnTo>
                      <a:lnTo>
                        <a:pt x="462254" y="114299"/>
                      </a:lnTo>
                      <a:close/>
                    </a:path>
                    <a:path w="561975" h="576579">
                      <a:moveTo>
                        <a:pt x="364083" y="95249"/>
                      </a:moveTo>
                      <a:lnTo>
                        <a:pt x="359511" y="99059"/>
                      </a:lnTo>
                      <a:lnTo>
                        <a:pt x="356273" y="100329"/>
                      </a:lnTo>
                      <a:lnTo>
                        <a:pt x="352831" y="105409"/>
                      </a:lnTo>
                      <a:lnTo>
                        <a:pt x="351853" y="109219"/>
                      </a:lnTo>
                      <a:lnTo>
                        <a:pt x="350735" y="111759"/>
                      </a:lnTo>
                      <a:lnTo>
                        <a:pt x="420128" y="111759"/>
                      </a:lnTo>
                      <a:lnTo>
                        <a:pt x="422814" y="107949"/>
                      </a:lnTo>
                      <a:lnTo>
                        <a:pt x="417690" y="107949"/>
                      </a:lnTo>
                      <a:lnTo>
                        <a:pt x="418655" y="106679"/>
                      </a:lnTo>
                      <a:lnTo>
                        <a:pt x="419506" y="106679"/>
                      </a:lnTo>
                      <a:lnTo>
                        <a:pt x="420700" y="105409"/>
                      </a:lnTo>
                      <a:lnTo>
                        <a:pt x="421817" y="101599"/>
                      </a:lnTo>
                      <a:lnTo>
                        <a:pt x="420230" y="101599"/>
                      </a:lnTo>
                      <a:lnTo>
                        <a:pt x="419023" y="100329"/>
                      </a:lnTo>
                      <a:lnTo>
                        <a:pt x="410921" y="100329"/>
                      </a:lnTo>
                      <a:lnTo>
                        <a:pt x="410832" y="99059"/>
                      </a:lnTo>
                      <a:lnTo>
                        <a:pt x="365772" y="99059"/>
                      </a:lnTo>
                      <a:lnTo>
                        <a:pt x="363702" y="97789"/>
                      </a:lnTo>
                      <a:lnTo>
                        <a:pt x="364083" y="95249"/>
                      </a:lnTo>
                      <a:close/>
                    </a:path>
                    <a:path w="561975" h="576579">
                      <a:moveTo>
                        <a:pt x="423341" y="105409"/>
                      </a:moveTo>
                      <a:lnTo>
                        <a:pt x="422300" y="105409"/>
                      </a:lnTo>
                      <a:lnTo>
                        <a:pt x="421373" y="106679"/>
                      </a:lnTo>
                      <a:lnTo>
                        <a:pt x="420865" y="107949"/>
                      </a:lnTo>
                      <a:lnTo>
                        <a:pt x="422814" y="107949"/>
                      </a:lnTo>
                      <a:lnTo>
                        <a:pt x="423710" y="106679"/>
                      </a:lnTo>
                      <a:lnTo>
                        <a:pt x="423341" y="105409"/>
                      </a:lnTo>
                      <a:close/>
                    </a:path>
                    <a:path w="561975" h="576579">
                      <a:moveTo>
                        <a:pt x="353479" y="99059"/>
                      </a:moveTo>
                      <a:lnTo>
                        <a:pt x="351739" y="100329"/>
                      </a:lnTo>
                      <a:lnTo>
                        <a:pt x="350685" y="100329"/>
                      </a:lnTo>
                      <a:lnTo>
                        <a:pt x="348526" y="101599"/>
                      </a:lnTo>
                      <a:lnTo>
                        <a:pt x="347649" y="101599"/>
                      </a:lnTo>
                      <a:lnTo>
                        <a:pt x="345655" y="102869"/>
                      </a:lnTo>
                      <a:lnTo>
                        <a:pt x="345922" y="102869"/>
                      </a:lnTo>
                      <a:lnTo>
                        <a:pt x="345236" y="104139"/>
                      </a:lnTo>
                      <a:lnTo>
                        <a:pt x="352361" y="104139"/>
                      </a:lnTo>
                      <a:lnTo>
                        <a:pt x="353098" y="101599"/>
                      </a:lnTo>
                      <a:lnTo>
                        <a:pt x="353479" y="99059"/>
                      </a:lnTo>
                      <a:close/>
                    </a:path>
                    <a:path w="561975" h="576579">
                      <a:moveTo>
                        <a:pt x="342303" y="100329"/>
                      </a:moveTo>
                      <a:lnTo>
                        <a:pt x="341248" y="100329"/>
                      </a:lnTo>
                      <a:lnTo>
                        <a:pt x="340956" y="102869"/>
                      </a:lnTo>
                      <a:lnTo>
                        <a:pt x="345232" y="102869"/>
                      </a:lnTo>
                      <a:lnTo>
                        <a:pt x="345227" y="101311"/>
                      </a:lnTo>
                      <a:lnTo>
                        <a:pt x="342303" y="100329"/>
                      </a:lnTo>
                      <a:close/>
                    </a:path>
                    <a:path w="561975" h="576579">
                      <a:moveTo>
                        <a:pt x="340817" y="100329"/>
                      </a:moveTo>
                      <a:lnTo>
                        <a:pt x="336118" y="100329"/>
                      </a:lnTo>
                      <a:lnTo>
                        <a:pt x="336359" y="101599"/>
                      </a:lnTo>
                      <a:lnTo>
                        <a:pt x="337743" y="101599"/>
                      </a:lnTo>
                      <a:lnTo>
                        <a:pt x="340817" y="100329"/>
                      </a:lnTo>
                      <a:close/>
                    </a:path>
                    <a:path w="561975" h="576579">
                      <a:moveTo>
                        <a:pt x="346735" y="100329"/>
                      </a:moveTo>
                      <a:lnTo>
                        <a:pt x="345224" y="100329"/>
                      </a:lnTo>
                      <a:lnTo>
                        <a:pt x="345227" y="101311"/>
                      </a:lnTo>
                      <a:lnTo>
                        <a:pt x="346087" y="101599"/>
                      </a:lnTo>
                      <a:lnTo>
                        <a:pt x="346735" y="100329"/>
                      </a:lnTo>
                      <a:close/>
                    </a:path>
                    <a:path w="561975" h="576579">
                      <a:moveTo>
                        <a:pt x="420090" y="99059"/>
                      </a:moveTo>
                      <a:lnTo>
                        <a:pt x="420230" y="101599"/>
                      </a:lnTo>
                      <a:lnTo>
                        <a:pt x="421817" y="101599"/>
                      </a:lnTo>
                      <a:lnTo>
                        <a:pt x="421385" y="100329"/>
                      </a:lnTo>
                      <a:lnTo>
                        <a:pt x="420712" y="100329"/>
                      </a:lnTo>
                      <a:lnTo>
                        <a:pt x="420090" y="99059"/>
                      </a:lnTo>
                      <a:close/>
                    </a:path>
                    <a:path w="561975" h="576579">
                      <a:moveTo>
                        <a:pt x="345224" y="100329"/>
                      </a:moveTo>
                      <a:lnTo>
                        <a:pt x="342303" y="100329"/>
                      </a:lnTo>
                      <a:lnTo>
                        <a:pt x="345227" y="101311"/>
                      </a:lnTo>
                      <a:lnTo>
                        <a:pt x="345224" y="100329"/>
                      </a:lnTo>
                      <a:close/>
                    </a:path>
                    <a:path w="561975" h="576579">
                      <a:moveTo>
                        <a:pt x="310972" y="99101"/>
                      </a:moveTo>
                      <a:lnTo>
                        <a:pt x="310972" y="100329"/>
                      </a:lnTo>
                      <a:lnTo>
                        <a:pt x="312089" y="100329"/>
                      </a:lnTo>
                      <a:lnTo>
                        <a:pt x="310972" y="99101"/>
                      </a:lnTo>
                      <a:close/>
                    </a:path>
                    <a:path w="561975" h="576579">
                      <a:moveTo>
                        <a:pt x="331012" y="87629"/>
                      </a:moveTo>
                      <a:lnTo>
                        <a:pt x="328701" y="88899"/>
                      </a:lnTo>
                      <a:lnTo>
                        <a:pt x="328066" y="90169"/>
                      </a:lnTo>
                      <a:lnTo>
                        <a:pt x="326339" y="91439"/>
                      </a:lnTo>
                      <a:lnTo>
                        <a:pt x="325704" y="91439"/>
                      </a:lnTo>
                      <a:lnTo>
                        <a:pt x="322986" y="93979"/>
                      </a:lnTo>
                      <a:lnTo>
                        <a:pt x="320700" y="93979"/>
                      </a:lnTo>
                      <a:lnTo>
                        <a:pt x="317195" y="96519"/>
                      </a:lnTo>
                      <a:lnTo>
                        <a:pt x="312089" y="100329"/>
                      </a:lnTo>
                      <a:lnTo>
                        <a:pt x="333247" y="100329"/>
                      </a:lnTo>
                      <a:lnTo>
                        <a:pt x="332828" y="97789"/>
                      </a:lnTo>
                      <a:lnTo>
                        <a:pt x="331698" y="95249"/>
                      </a:lnTo>
                      <a:lnTo>
                        <a:pt x="331419" y="91439"/>
                      </a:lnTo>
                      <a:lnTo>
                        <a:pt x="331012" y="87629"/>
                      </a:lnTo>
                      <a:close/>
                    </a:path>
                    <a:path w="561975" h="576579">
                      <a:moveTo>
                        <a:pt x="361784" y="91439"/>
                      </a:moveTo>
                      <a:lnTo>
                        <a:pt x="331508" y="91439"/>
                      </a:lnTo>
                      <a:lnTo>
                        <a:pt x="332016" y="92709"/>
                      </a:lnTo>
                      <a:lnTo>
                        <a:pt x="332587" y="93979"/>
                      </a:lnTo>
                      <a:lnTo>
                        <a:pt x="332816" y="95249"/>
                      </a:lnTo>
                      <a:lnTo>
                        <a:pt x="333209" y="95249"/>
                      </a:lnTo>
                      <a:lnTo>
                        <a:pt x="333832" y="96519"/>
                      </a:lnTo>
                      <a:lnTo>
                        <a:pt x="334632" y="99059"/>
                      </a:lnTo>
                      <a:lnTo>
                        <a:pt x="335876" y="100329"/>
                      </a:lnTo>
                      <a:lnTo>
                        <a:pt x="349542" y="100329"/>
                      </a:lnTo>
                      <a:lnTo>
                        <a:pt x="349732" y="99059"/>
                      </a:lnTo>
                      <a:lnTo>
                        <a:pt x="350342" y="99059"/>
                      </a:lnTo>
                      <a:lnTo>
                        <a:pt x="350405" y="97789"/>
                      </a:lnTo>
                      <a:lnTo>
                        <a:pt x="350342" y="96519"/>
                      </a:lnTo>
                      <a:lnTo>
                        <a:pt x="359841" y="96519"/>
                      </a:lnTo>
                      <a:lnTo>
                        <a:pt x="360616" y="95249"/>
                      </a:lnTo>
                      <a:lnTo>
                        <a:pt x="361137" y="93979"/>
                      </a:lnTo>
                      <a:lnTo>
                        <a:pt x="361784" y="91439"/>
                      </a:lnTo>
                      <a:close/>
                    </a:path>
                    <a:path w="561975" h="576579">
                      <a:moveTo>
                        <a:pt x="415188" y="96519"/>
                      </a:moveTo>
                      <a:lnTo>
                        <a:pt x="411899" y="96519"/>
                      </a:lnTo>
                      <a:lnTo>
                        <a:pt x="411314" y="97789"/>
                      </a:lnTo>
                      <a:lnTo>
                        <a:pt x="410921" y="100329"/>
                      </a:lnTo>
                      <a:lnTo>
                        <a:pt x="418833" y="100329"/>
                      </a:lnTo>
                      <a:lnTo>
                        <a:pt x="419252" y="99059"/>
                      </a:lnTo>
                      <a:lnTo>
                        <a:pt x="417487" y="99059"/>
                      </a:lnTo>
                      <a:lnTo>
                        <a:pt x="415899" y="97789"/>
                      </a:lnTo>
                      <a:lnTo>
                        <a:pt x="415632" y="97789"/>
                      </a:lnTo>
                      <a:lnTo>
                        <a:pt x="415188" y="96519"/>
                      </a:lnTo>
                      <a:close/>
                    </a:path>
                    <a:path w="561975" h="576579">
                      <a:moveTo>
                        <a:pt x="310972" y="99059"/>
                      </a:moveTo>
                      <a:close/>
                    </a:path>
                    <a:path w="561975" h="576579">
                      <a:moveTo>
                        <a:pt x="359841" y="96519"/>
                      </a:moveTo>
                      <a:lnTo>
                        <a:pt x="350494" y="96519"/>
                      </a:lnTo>
                      <a:lnTo>
                        <a:pt x="351002" y="97789"/>
                      </a:lnTo>
                      <a:lnTo>
                        <a:pt x="351256" y="99059"/>
                      </a:lnTo>
                      <a:lnTo>
                        <a:pt x="354431" y="99059"/>
                      </a:lnTo>
                      <a:lnTo>
                        <a:pt x="356247" y="97789"/>
                      </a:lnTo>
                      <a:lnTo>
                        <a:pt x="359067" y="97789"/>
                      </a:lnTo>
                      <a:lnTo>
                        <a:pt x="359841" y="96519"/>
                      </a:lnTo>
                      <a:close/>
                    </a:path>
                    <a:path w="561975" h="576579">
                      <a:moveTo>
                        <a:pt x="410235" y="93979"/>
                      </a:moveTo>
                      <a:lnTo>
                        <a:pt x="409244" y="95249"/>
                      </a:lnTo>
                      <a:lnTo>
                        <a:pt x="409409" y="95249"/>
                      </a:lnTo>
                      <a:lnTo>
                        <a:pt x="407390" y="96519"/>
                      </a:lnTo>
                      <a:lnTo>
                        <a:pt x="364629" y="96519"/>
                      </a:lnTo>
                      <a:lnTo>
                        <a:pt x="365772" y="99059"/>
                      </a:lnTo>
                      <a:lnTo>
                        <a:pt x="410832" y="99059"/>
                      </a:lnTo>
                      <a:lnTo>
                        <a:pt x="410730" y="95249"/>
                      </a:lnTo>
                      <a:lnTo>
                        <a:pt x="410235" y="93979"/>
                      </a:lnTo>
                      <a:close/>
                    </a:path>
                    <a:path w="561975" h="576579">
                      <a:moveTo>
                        <a:pt x="417220" y="96519"/>
                      </a:moveTo>
                      <a:lnTo>
                        <a:pt x="417487" y="99059"/>
                      </a:lnTo>
                      <a:lnTo>
                        <a:pt x="418147" y="99059"/>
                      </a:lnTo>
                      <a:lnTo>
                        <a:pt x="417918" y="97789"/>
                      </a:lnTo>
                      <a:lnTo>
                        <a:pt x="417220" y="96519"/>
                      </a:lnTo>
                      <a:close/>
                    </a:path>
                    <a:path w="561975" h="576579">
                      <a:moveTo>
                        <a:pt x="308940" y="96519"/>
                      </a:moveTo>
                      <a:lnTo>
                        <a:pt x="305676" y="97789"/>
                      </a:lnTo>
                      <a:lnTo>
                        <a:pt x="310718" y="97789"/>
                      </a:lnTo>
                      <a:lnTo>
                        <a:pt x="308940" y="96519"/>
                      </a:lnTo>
                      <a:close/>
                    </a:path>
                    <a:path w="561975" h="576579">
                      <a:moveTo>
                        <a:pt x="417029" y="95249"/>
                      </a:moveTo>
                      <a:lnTo>
                        <a:pt x="416407" y="96519"/>
                      </a:lnTo>
                      <a:lnTo>
                        <a:pt x="415645" y="96519"/>
                      </a:lnTo>
                      <a:lnTo>
                        <a:pt x="415632" y="97789"/>
                      </a:lnTo>
                      <a:lnTo>
                        <a:pt x="416483" y="97789"/>
                      </a:lnTo>
                      <a:lnTo>
                        <a:pt x="416813" y="96519"/>
                      </a:lnTo>
                      <a:lnTo>
                        <a:pt x="417029" y="95249"/>
                      </a:lnTo>
                      <a:close/>
                    </a:path>
                    <a:path w="561975" h="576579">
                      <a:moveTo>
                        <a:pt x="316172" y="93979"/>
                      </a:moveTo>
                      <a:lnTo>
                        <a:pt x="313372" y="93979"/>
                      </a:lnTo>
                      <a:lnTo>
                        <a:pt x="316141" y="96519"/>
                      </a:lnTo>
                      <a:lnTo>
                        <a:pt x="316172" y="93979"/>
                      </a:lnTo>
                      <a:close/>
                    </a:path>
                    <a:path w="561975" h="576579">
                      <a:moveTo>
                        <a:pt x="399719" y="88899"/>
                      </a:moveTo>
                      <a:lnTo>
                        <a:pt x="398627" y="91439"/>
                      </a:lnTo>
                      <a:lnTo>
                        <a:pt x="368579" y="91439"/>
                      </a:lnTo>
                      <a:lnTo>
                        <a:pt x="365353" y="93979"/>
                      </a:lnTo>
                      <a:lnTo>
                        <a:pt x="364413" y="95249"/>
                      </a:lnTo>
                      <a:lnTo>
                        <a:pt x="365353" y="96519"/>
                      </a:lnTo>
                      <a:lnTo>
                        <a:pt x="368414" y="95249"/>
                      </a:lnTo>
                      <a:lnTo>
                        <a:pt x="408546" y="95249"/>
                      </a:lnTo>
                      <a:lnTo>
                        <a:pt x="409003" y="93979"/>
                      </a:lnTo>
                      <a:lnTo>
                        <a:pt x="404571" y="93979"/>
                      </a:lnTo>
                      <a:lnTo>
                        <a:pt x="404710" y="92709"/>
                      </a:lnTo>
                      <a:lnTo>
                        <a:pt x="399503" y="92709"/>
                      </a:lnTo>
                      <a:lnTo>
                        <a:pt x="399719" y="88899"/>
                      </a:lnTo>
                      <a:close/>
                    </a:path>
                    <a:path w="561975" h="576579">
                      <a:moveTo>
                        <a:pt x="408266" y="95249"/>
                      </a:moveTo>
                      <a:lnTo>
                        <a:pt x="368414" y="95249"/>
                      </a:lnTo>
                      <a:lnTo>
                        <a:pt x="369201" y="96519"/>
                      </a:lnTo>
                      <a:lnTo>
                        <a:pt x="407390" y="96519"/>
                      </a:lnTo>
                      <a:lnTo>
                        <a:pt x="408266" y="95249"/>
                      </a:lnTo>
                      <a:close/>
                    </a:path>
                    <a:path w="561975" h="576579">
                      <a:moveTo>
                        <a:pt x="414121" y="95249"/>
                      </a:moveTo>
                      <a:lnTo>
                        <a:pt x="414070" y="96519"/>
                      </a:lnTo>
                      <a:lnTo>
                        <a:pt x="414718" y="96519"/>
                      </a:lnTo>
                      <a:lnTo>
                        <a:pt x="414121" y="95249"/>
                      </a:lnTo>
                      <a:close/>
                    </a:path>
                    <a:path w="561975" h="576579">
                      <a:moveTo>
                        <a:pt x="313232" y="93979"/>
                      </a:moveTo>
                      <a:lnTo>
                        <a:pt x="311772" y="93979"/>
                      </a:lnTo>
                      <a:lnTo>
                        <a:pt x="312572" y="95249"/>
                      </a:lnTo>
                      <a:lnTo>
                        <a:pt x="313232" y="93979"/>
                      </a:lnTo>
                      <a:close/>
                    </a:path>
                    <a:path w="561975" h="576579">
                      <a:moveTo>
                        <a:pt x="407454" y="92709"/>
                      </a:moveTo>
                      <a:lnTo>
                        <a:pt x="406057" y="92709"/>
                      </a:lnTo>
                      <a:lnTo>
                        <a:pt x="405752" y="93979"/>
                      </a:lnTo>
                      <a:lnTo>
                        <a:pt x="408076" y="93979"/>
                      </a:lnTo>
                      <a:lnTo>
                        <a:pt x="407454" y="92709"/>
                      </a:lnTo>
                      <a:close/>
                    </a:path>
                    <a:path w="561975" h="576579">
                      <a:moveTo>
                        <a:pt x="400837" y="90580"/>
                      </a:moveTo>
                      <a:lnTo>
                        <a:pt x="400519" y="91439"/>
                      </a:lnTo>
                      <a:lnTo>
                        <a:pt x="400049" y="91439"/>
                      </a:lnTo>
                      <a:lnTo>
                        <a:pt x="399503" y="92709"/>
                      </a:lnTo>
                      <a:lnTo>
                        <a:pt x="400773" y="92709"/>
                      </a:lnTo>
                      <a:lnTo>
                        <a:pt x="400837" y="90580"/>
                      </a:lnTo>
                      <a:close/>
                    </a:path>
                    <a:path w="561975" h="576579">
                      <a:moveTo>
                        <a:pt x="402945" y="91439"/>
                      </a:moveTo>
                      <a:lnTo>
                        <a:pt x="401751" y="91439"/>
                      </a:lnTo>
                      <a:lnTo>
                        <a:pt x="400773" y="92709"/>
                      </a:lnTo>
                      <a:lnTo>
                        <a:pt x="403364" y="92709"/>
                      </a:lnTo>
                      <a:lnTo>
                        <a:pt x="402945" y="91439"/>
                      </a:lnTo>
                      <a:close/>
                    </a:path>
                    <a:path w="561975" h="576579">
                      <a:moveTo>
                        <a:pt x="404850" y="91439"/>
                      </a:moveTo>
                      <a:lnTo>
                        <a:pt x="404723" y="91439"/>
                      </a:lnTo>
                      <a:lnTo>
                        <a:pt x="404418" y="92709"/>
                      </a:lnTo>
                      <a:lnTo>
                        <a:pt x="404710" y="92709"/>
                      </a:lnTo>
                      <a:lnTo>
                        <a:pt x="404850" y="91439"/>
                      </a:lnTo>
                      <a:close/>
                    </a:path>
                    <a:path w="561975" h="576579">
                      <a:moveTo>
                        <a:pt x="363194" y="88899"/>
                      </a:moveTo>
                      <a:lnTo>
                        <a:pt x="332498" y="88899"/>
                      </a:lnTo>
                      <a:lnTo>
                        <a:pt x="332993" y="90169"/>
                      </a:lnTo>
                      <a:lnTo>
                        <a:pt x="333959" y="91439"/>
                      </a:lnTo>
                      <a:lnTo>
                        <a:pt x="335013" y="90169"/>
                      </a:lnTo>
                      <a:lnTo>
                        <a:pt x="363143" y="90169"/>
                      </a:lnTo>
                      <a:lnTo>
                        <a:pt x="363194" y="88899"/>
                      </a:lnTo>
                      <a:close/>
                    </a:path>
                    <a:path w="561975" h="576579">
                      <a:moveTo>
                        <a:pt x="363156" y="90169"/>
                      </a:moveTo>
                      <a:lnTo>
                        <a:pt x="335775" y="90169"/>
                      </a:lnTo>
                      <a:lnTo>
                        <a:pt x="335076" y="91439"/>
                      </a:lnTo>
                      <a:lnTo>
                        <a:pt x="362826" y="91439"/>
                      </a:lnTo>
                      <a:lnTo>
                        <a:pt x="363156" y="90169"/>
                      </a:lnTo>
                      <a:close/>
                    </a:path>
                    <a:path w="561975" h="576579">
                      <a:moveTo>
                        <a:pt x="398030" y="87629"/>
                      </a:moveTo>
                      <a:lnTo>
                        <a:pt x="397294" y="88899"/>
                      </a:lnTo>
                      <a:lnTo>
                        <a:pt x="396874" y="88899"/>
                      </a:lnTo>
                      <a:lnTo>
                        <a:pt x="396227" y="90169"/>
                      </a:lnTo>
                      <a:lnTo>
                        <a:pt x="367931" y="90169"/>
                      </a:lnTo>
                      <a:lnTo>
                        <a:pt x="367931" y="91439"/>
                      </a:lnTo>
                      <a:lnTo>
                        <a:pt x="397116" y="91439"/>
                      </a:lnTo>
                      <a:lnTo>
                        <a:pt x="397598" y="90169"/>
                      </a:lnTo>
                      <a:lnTo>
                        <a:pt x="398017" y="88899"/>
                      </a:lnTo>
                      <a:lnTo>
                        <a:pt x="398030" y="87629"/>
                      </a:lnTo>
                      <a:close/>
                    </a:path>
                    <a:path w="561975" h="576579">
                      <a:moveTo>
                        <a:pt x="400989" y="90169"/>
                      </a:moveTo>
                      <a:lnTo>
                        <a:pt x="400850" y="90169"/>
                      </a:lnTo>
                      <a:lnTo>
                        <a:pt x="400837" y="90580"/>
                      </a:lnTo>
                      <a:lnTo>
                        <a:pt x="400989" y="90169"/>
                      </a:lnTo>
                      <a:close/>
                    </a:path>
                    <a:path w="561975" h="576579">
                      <a:moveTo>
                        <a:pt x="379628" y="82549"/>
                      </a:moveTo>
                      <a:lnTo>
                        <a:pt x="378561" y="83819"/>
                      </a:lnTo>
                      <a:lnTo>
                        <a:pt x="372897" y="85089"/>
                      </a:lnTo>
                      <a:lnTo>
                        <a:pt x="370636" y="85089"/>
                      </a:lnTo>
                      <a:lnTo>
                        <a:pt x="367588" y="88899"/>
                      </a:lnTo>
                      <a:lnTo>
                        <a:pt x="367487" y="90169"/>
                      </a:lnTo>
                      <a:lnTo>
                        <a:pt x="391756" y="90169"/>
                      </a:lnTo>
                      <a:lnTo>
                        <a:pt x="390029" y="88899"/>
                      </a:lnTo>
                      <a:lnTo>
                        <a:pt x="385775" y="88899"/>
                      </a:lnTo>
                      <a:lnTo>
                        <a:pt x="382816" y="85089"/>
                      </a:lnTo>
                      <a:lnTo>
                        <a:pt x="379628" y="82549"/>
                      </a:lnTo>
                      <a:close/>
                    </a:path>
                    <a:path w="561975" h="576579">
                      <a:moveTo>
                        <a:pt x="364286" y="87629"/>
                      </a:moveTo>
                      <a:lnTo>
                        <a:pt x="332016" y="87629"/>
                      </a:lnTo>
                      <a:lnTo>
                        <a:pt x="332028" y="88899"/>
                      </a:lnTo>
                      <a:lnTo>
                        <a:pt x="363715" y="88899"/>
                      </a:lnTo>
                      <a:lnTo>
                        <a:pt x="364286" y="87629"/>
                      </a:lnTo>
                      <a:close/>
                    </a:path>
                    <a:path w="561975" h="576579">
                      <a:moveTo>
                        <a:pt x="386549" y="86359"/>
                      </a:moveTo>
                      <a:lnTo>
                        <a:pt x="385775" y="88899"/>
                      </a:lnTo>
                      <a:lnTo>
                        <a:pt x="390347" y="88899"/>
                      </a:lnTo>
                      <a:lnTo>
                        <a:pt x="389039" y="87629"/>
                      </a:lnTo>
                      <a:lnTo>
                        <a:pt x="386765" y="87629"/>
                      </a:lnTo>
                      <a:lnTo>
                        <a:pt x="386549" y="86359"/>
                      </a:lnTo>
                      <a:close/>
                    </a:path>
                    <a:path w="561975" h="576579">
                      <a:moveTo>
                        <a:pt x="390461" y="86359"/>
                      </a:moveTo>
                      <a:lnTo>
                        <a:pt x="390347" y="88899"/>
                      </a:lnTo>
                      <a:lnTo>
                        <a:pt x="390791" y="88899"/>
                      </a:lnTo>
                      <a:lnTo>
                        <a:pt x="392671" y="87629"/>
                      </a:lnTo>
                      <a:lnTo>
                        <a:pt x="390461" y="86359"/>
                      </a:lnTo>
                      <a:close/>
                    </a:path>
                    <a:path w="561975" h="576579">
                      <a:moveTo>
                        <a:pt x="364896" y="85089"/>
                      </a:moveTo>
                      <a:lnTo>
                        <a:pt x="332028" y="85089"/>
                      </a:lnTo>
                      <a:lnTo>
                        <a:pt x="331889" y="87629"/>
                      </a:lnTo>
                      <a:lnTo>
                        <a:pt x="364489" y="87629"/>
                      </a:lnTo>
                      <a:lnTo>
                        <a:pt x="364502" y="86359"/>
                      </a:lnTo>
                      <a:lnTo>
                        <a:pt x="364756" y="86359"/>
                      </a:lnTo>
                      <a:lnTo>
                        <a:pt x="364896" y="85089"/>
                      </a:lnTo>
                      <a:close/>
                    </a:path>
                    <a:path w="561975" h="576579">
                      <a:moveTo>
                        <a:pt x="388937" y="85089"/>
                      </a:moveTo>
                      <a:lnTo>
                        <a:pt x="388391" y="86359"/>
                      </a:lnTo>
                      <a:lnTo>
                        <a:pt x="387692" y="86359"/>
                      </a:lnTo>
                      <a:lnTo>
                        <a:pt x="387095" y="87629"/>
                      </a:lnTo>
                      <a:lnTo>
                        <a:pt x="389039" y="87629"/>
                      </a:lnTo>
                      <a:lnTo>
                        <a:pt x="389089" y="86359"/>
                      </a:lnTo>
                      <a:lnTo>
                        <a:pt x="388937" y="85089"/>
                      </a:lnTo>
                      <a:close/>
                    </a:path>
                    <a:path w="561975" h="576579">
                      <a:moveTo>
                        <a:pt x="332917" y="83819"/>
                      </a:moveTo>
                      <a:lnTo>
                        <a:pt x="332498" y="83819"/>
                      </a:lnTo>
                      <a:lnTo>
                        <a:pt x="332295" y="85089"/>
                      </a:lnTo>
                      <a:lnTo>
                        <a:pt x="333235" y="85089"/>
                      </a:lnTo>
                      <a:lnTo>
                        <a:pt x="332917" y="83819"/>
                      </a:lnTo>
                      <a:close/>
                    </a:path>
                    <a:path w="561975" h="576579">
                      <a:moveTo>
                        <a:pt x="337502" y="77469"/>
                      </a:moveTo>
                      <a:lnTo>
                        <a:pt x="335686" y="77469"/>
                      </a:lnTo>
                      <a:lnTo>
                        <a:pt x="333514" y="80009"/>
                      </a:lnTo>
                      <a:lnTo>
                        <a:pt x="332993" y="81279"/>
                      </a:lnTo>
                      <a:lnTo>
                        <a:pt x="333552" y="82549"/>
                      </a:lnTo>
                      <a:lnTo>
                        <a:pt x="333908" y="83819"/>
                      </a:lnTo>
                      <a:lnTo>
                        <a:pt x="334378" y="83819"/>
                      </a:lnTo>
                      <a:lnTo>
                        <a:pt x="334975" y="85089"/>
                      </a:lnTo>
                      <a:lnTo>
                        <a:pt x="365175" y="85089"/>
                      </a:lnTo>
                      <a:lnTo>
                        <a:pt x="365188" y="83819"/>
                      </a:lnTo>
                      <a:lnTo>
                        <a:pt x="365429" y="82549"/>
                      </a:lnTo>
                      <a:lnTo>
                        <a:pt x="366064" y="82549"/>
                      </a:lnTo>
                      <a:lnTo>
                        <a:pt x="366306" y="81279"/>
                      </a:lnTo>
                      <a:lnTo>
                        <a:pt x="366534" y="81279"/>
                      </a:lnTo>
                      <a:lnTo>
                        <a:pt x="366623" y="80009"/>
                      </a:lnTo>
                      <a:lnTo>
                        <a:pt x="365429" y="80009"/>
                      </a:lnTo>
                      <a:lnTo>
                        <a:pt x="362838" y="78739"/>
                      </a:lnTo>
                      <a:lnTo>
                        <a:pt x="351281" y="78739"/>
                      </a:lnTo>
                      <a:lnTo>
                        <a:pt x="337502" y="77469"/>
                      </a:lnTo>
                      <a:close/>
                    </a:path>
                    <a:path w="561975" h="576579">
                      <a:moveTo>
                        <a:pt x="358317" y="77469"/>
                      </a:moveTo>
                      <a:lnTo>
                        <a:pt x="352882" y="77469"/>
                      </a:lnTo>
                      <a:lnTo>
                        <a:pt x="352285" y="78739"/>
                      </a:lnTo>
                      <a:lnTo>
                        <a:pt x="360883" y="78739"/>
                      </a:lnTo>
                      <a:lnTo>
                        <a:pt x="358317" y="77469"/>
                      </a:lnTo>
                      <a:close/>
                    </a:path>
                    <a:path w="561975" h="576579">
                      <a:moveTo>
                        <a:pt x="63576" y="63499"/>
                      </a:moveTo>
                      <a:lnTo>
                        <a:pt x="62445" y="64769"/>
                      </a:lnTo>
                      <a:lnTo>
                        <a:pt x="59397" y="66039"/>
                      </a:lnTo>
                      <a:lnTo>
                        <a:pt x="67589" y="66039"/>
                      </a:lnTo>
                      <a:lnTo>
                        <a:pt x="63576" y="63499"/>
                      </a:lnTo>
                      <a:close/>
                    </a:path>
                    <a:path w="561975" h="576579">
                      <a:moveTo>
                        <a:pt x="103352" y="58419"/>
                      </a:moveTo>
                      <a:lnTo>
                        <a:pt x="66624" y="58419"/>
                      </a:lnTo>
                      <a:lnTo>
                        <a:pt x="67703" y="60959"/>
                      </a:lnTo>
                      <a:lnTo>
                        <a:pt x="69011" y="63499"/>
                      </a:lnTo>
                      <a:lnTo>
                        <a:pt x="69341" y="66039"/>
                      </a:lnTo>
                      <a:lnTo>
                        <a:pt x="121069" y="66039"/>
                      </a:lnTo>
                      <a:lnTo>
                        <a:pt x="119824" y="64769"/>
                      </a:lnTo>
                      <a:lnTo>
                        <a:pt x="110274" y="64769"/>
                      </a:lnTo>
                      <a:lnTo>
                        <a:pt x="108864" y="63499"/>
                      </a:lnTo>
                      <a:lnTo>
                        <a:pt x="106197" y="60959"/>
                      </a:lnTo>
                      <a:lnTo>
                        <a:pt x="103352" y="58419"/>
                      </a:lnTo>
                      <a:close/>
                    </a:path>
                    <a:path w="561975" h="576579">
                      <a:moveTo>
                        <a:pt x="120776" y="60959"/>
                      </a:moveTo>
                      <a:lnTo>
                        <a:pt x="118643" y="60959"/>
                      </a:lnTo>
                      <a:lnTo>
                        <a:pt x="113626" y="64769"/>
                      </a:lnTo>
                      <a:lnTo>
                        <a:pt x="120535" y="64769"/>
                      </a:lnTo>
                      <a:lnTo>
                        <a:pt x="120789" y="63499"/>
                      </a:lnTo>
                      <a:lnTo>
                        <a:pt x="121653" y="62229"/>
                      </a:lnTo>
                      <a:lnTo>
                        <a:pt x="120967" y="62229"/>
                      </a:lnTo>
                      <a:lnTo>
                        <a:pt x="120776" y="60959"/>
                      </a:lnTo>
                      <a:close/>
                    </a:path>
                    <a:path w="561975" h="576579">
                      <a:moveTo>
                        <a:pt x="82905" y="45719"/>
                      </a:moveTo>
                      <a:lnTo>
                        <a:pt x="80695" y="48259"/>
                      </a:lnTo>
                      <a:lnTo>
                        <a:pt x="82994" y="50799"/>
                      </a:lnTo>
                      <a:lnTo>
                        <a:pt x="59029" y="50799"/>
                      </a:lnTo>
                      <a:lnTo>
                        <a:pt x="59080" y="59689"/>
                      </a:lnTo>
                      <a:lnTo>
                        <a:pt x="60947" y="58419"/>
                      </a:lnTo>
                      <a:lnTo>
                        <a:pt x="98285" y="58419"/>
                      </a:lnTo>
                      <a:lnTo>
                        <a:pt x="98209" y="55879"/>
                      </a:lnTo>
                      <a:lnTo>
                        <a:pt x="99275" y="50799"/>
                      </a:lnTo>
                      <a:lnTo>
                        <a:pt x="71259" y="50799"/>
                      </a:lnTo>
                      <a:lnTo>
                        <a:pt x="60782" y="49529"/>
                      </a:lnTo>
                      <a:lnTo>
                        <a:pt x="85242" y="49529"/>
                      </a:lnTo>
                      <a:lnTo>
                        <a:pt x="82905" y="45719"/>
                      </a:lnTo>
                      <a:close/>
                    </a:path>
                    <a:path w="561975" h="576579">
                      <a:moveTo>
                        <a:pt x="66624" y="58419"/>
                      </a:moveTo>
                      <a:lnTo>
                        <a:pt x="60947" y="58419"/>
                      </a:lnTo>
                      <a:lnTo>
                        <a:pt x="64160" y="59689"/>
                      </a:lnTo>
                      <a:lnTo>
                        <a:pt x="65366" y="59689"/>
                      </a:lnTo>
                      <a:lnTo>
                        <a:pt x="66624" y="58419"/>
                      </a:lnTo>
                      <a:close/>
                    </a:path>
                    <a:path w="561975" h="576579">
                      <a:moveTo>
                        <a:pt x="101676" y="57149"/>
                      </a:moveTo>
                      <a:lnTo>
                        <a:pt x="101536" y="57149"/>
                      </a:lnTo>
                      <a:lnTo>
                        <a:pt x="98285" y="58419"/>
                      </a:lnTo>
                      <a:lnTo>
                        <a:pt x="102158" y="58419"/>
                      </a:lnTo>
                      <a:lnTo>
                        <a:pt x="101676" y="57149"/>
                      </a:lnTo>
                      <a:close/>
                    </a:path>
                    <a:path w="561975" h="576579">
                      <a:moveTo>
                        <a:pt x="137731" y="53339"/>
                      </a:moveTo>
                      <a:lnTo>
                        <a:pt x="135470" y="54609"/>
                      </a:lnTo>
                      <a:lnTo>
                        <a:pt x="133565" y="57149"/>
                      </a:lnTo>
                      <a:lnTo>
                        <a:pt x="128396" y="58419"/>
                      </a:lnTo>
                      <a:lnTo>
                        <a:pt x="215734" y="58419"/>
                      </a:lnTo>
                      <a:lnTo>
                        <a:pt x="216090" y="55879"/>
                      </a:lnTo>
                      <a:lnTo>
                        <a:pt x="137134" y="55879"/>
                      </a:lnTo>
                      <a:lnTo>
                        <a:pt x="137248" y="54609"/>
                      </a:lnTo>
                      <a:lnTo>
                        <a:pt x="137566" y="54609"/>
                      </a:lnTo>
                      <a:lnTo>
                        <a:pt x="137731" y="53339"/>
                      </a:lnTo>
                      <a:close/>
                    </a:path>
                    <a:path w="561975" h="576579">
                      <a:moveTo>
                        <a:pt x="344538" y="55879"/>
                      </a:moveTo>
                      <a:lnTo>
                        <a:pt x="342785" y="57149"/>
                      </a:lnTo>
                      <a:lnTo>
                        <a:pt x="344792" y="57149"/>
                      </a:lnTo>
                      <a:lnTo>
                        <a:pt x="344538" y="55879"/>
                      </a:lnTo>
                      <a:close/>
                    </a:path>
                    <a:path w="561975" h="576579">
                      <a:moveTo>
                        <a:pt x="202006" y="40639"/>
                      </a:moveTo>
                      <a:lnTo>
                        <a:pt x="151980" y="40639"/>
                      </a:lnTo>
                      <a:lnTo>
                        <a:pt x="151841" y="41909"/>
                      </a:lnTo>
                      <a:lnTo>
                        <a:pt x="151549" y="43179"/>
                      </a:lnTo>
                      <a:lnTo>
                        <a:pt x="151079" y="43179"/>
                      </a:lnTo>
                      <a:lnTo>
                        <a:pt x="148907" y="44449"/>
                      </a:lnTo>
                      <a:lnTo>
                        <a:pt x="146989" y="44449"/>
                      </a:lnTo>
                      <a:lnTo>
                        <a:pt x="145046" y="45719"/>
                      </a:lnTo>
                      <a:lnTo>
                        <a:pt x="141617" y="48259"/>
                      </a:lnTo>
                      <a:lnTo>
                        <a:pt x="142544" y="48259"/>
                      </a:lnTo>
                      <a:lnTo>
                        <a:pt x="142036" y="49529"/>
                      </a:lnTo>
                      <a:lnTo>
                        <a:pt x="141122" y="50799"/>
                      </a:lnTo>
                      <a:lnTo>
                        <a:pt x="139445" y="53339"/>
                      </a:lnTo>
                      <a:lnTo>
                        <a:pt x="138188" y="54609"/>
                      </a:lnTo>
                      <a:lnTo>
                        <a:pt x="137985" y="55879"/>
                      </a:lnTo>
                      <a:lnTo>
                        <a:pt x="210311" y="55879"/>
                      </a:lnTo>
                      <a:lnTo>
                        <a:pt x="208991" y="53339"/>
                      </a:lnTo>
                      <a:lnTo>
                        <a:pt x="207657" y="52069"/>
                      </a:lnTo>
                      <a:lnTo>
                        <a:pt x="204889" y="49529"/>
                      </a:lnTo>
                      <a:lnTo>
                        <a:pt x="204647" y="43179"/>
                      </a:lnTo>
                      <a:lnTo>
                        <a:pt x="202006" y="40639"/>
                      </a:lnTo>
                      <a:close/>
                    </a:path>
                    <a:path w="561975" h="576579">
                      <a:moveTo>
                        <a:pt x="94157" y="44449"/>
                      </a:moveTo>
                      <a:lnTo>
                        <a:pt x="92227" y="45719"/>
                      </a:lnTo>
                      <a:lnTo>
                        <a:pt x="87934" y="49529"/>
                      </a:lnTo>
                      <a:lnTo>
                        <a:pt x="98237" y="49529"/>
                      </a:lnTo>
                      <a:lnTo>
                        <a:pt x="95122" y="45719"/>
                      </a:lnTo>
                      <a:lnTo>
                        <a:pt x="94157" y="44449"/>
                      </a:lnTo>
                      <a:close/>
                    </a:path>
                    <a:path w="561975" h="576579">
                      <a:moveTo>
                        <a:pt x="338899" y="46989"/>
                      </a:moveTo>
                      <a:lnTo>
                        <a:pt x="258749" y="46989"/>
                      </a:lnTo>
                      <a:lnTo>
                        <a:pt x="258571" y="49529"/>
                      </a:lnTo>
                      <a:lnTo>
                        <a:pt x="338759" y="49529"/>
                      </a:lnTo>
                      <a:lnTo>
                        <a:pt x="337972" y="48259"/>
                      </a:lnTo>
                      <a:lnTo>
                        <a:pt x="338569" y="48259"/>
                      </a:lnTo>
                      <a:lnTo>
                        <a:pt x="338899" y="46989"/>
                      </a:lnTo>
                      <a:close/>
                    </a:path>
                    <a:path w="561975" h="576579">
                      <a:moveTo>
                        <a:pt x="340817" y="48259"/>
                      </a:moveTo>
                      <a:lnTo>
                        <a:pt x="338759" y="49529"/>
                      </a:lnTo>
                      <a:lnTo>
                        <a:pt x="341807" y="49529"/>
                      </a:lnTo>
                      <a:lnTo>
                        <a:pt x="340817" y="48259"/>
                      </a:lnTo>
                      <a:close/>
                    </a:path>
                    <a:path w="561975" h="576579">
                      <a:moveTo>
                        <a:pt x="249974" y="46989"/>
                      </a:moveTo>
                      <a:lnTo>
                        <a:pt x="249631" y="46989"/>
                      </a:lnTo>
                      <a:lnTo>
                        <a:pt x="247688" y="48259"/>
                      </a:lnTo>
                      <a:lnTo>
                        <a:pt x="251853" y="48259"/>
                      </a:lnTo>
                      <a:lnTo>
                        <a:pt x="249974" y="46989"/>
                      </a:lnTo>
                      <a:close/>
                    </a:path>
                    <a:path w="561975" h="576579">
                      <a:moveTo>
                        <a:pt x="258267" y="39369"/>
                      </a:moveTo>
                      <a:lnTo>
                        <a:pt x="258000" y="39369"/>
                      </a:lnTo>
                      <a:lnTo>
                        <a:pt x="257073" y="40639"/>
                      </a:lnTo>
                      <a:lnTo>
                        <a:pt x="256565" y="41909"/>
                      </a:lnTo>
                      <a:lnTo>
                        <a:pt x="256628" y="44449"/>
                      </a:lnTo>
                      <a:lnTo>
                        <a:pt x="257835" y="44449"/>
                      </a:lnTo>
                      <a:lnTo>
                        <a:pt x="258813" y="46989"/>
                      </a:lnTo>
                      <a:lnTo>
                        <a:pt x="339077" y="46989"/>
                      </a:lnTo>
                      <a:lnTo>
                        <a:pt x="338975" y="45719"/>
                      </a:lnTo>
                      <a:lnTo>
                        <a:pt x="284149" y="45719"/>
                      </a:lnTo>
                      <a:lnTo>
                        <a:pt x="283184" y="44449"/>
                      </a:lnTo>
                      <a:lnTo>
                        <a:pt x="281050" y="43179"/>
                      </a:lnTo>
                      <a:lnTo>
                        <a:pt x="279285" y="43179"/>
                      </a:lnTo>
                      <a:lnTo>
                        <a:pt x="277723" y="41909"/>
                      </a:lnTo>
                      <a:lnTo>
                        <a:pt x="276974" y="41909"/>
                      </a:lnTo>
                      <a:lnTo>
                        <a:pt x="276034" y="40639"/>
                      </a:lnTo>
                      <a:lnTo>
                        <a:pt x="260261" y="40639"/>
                      </a:lnTo>
                      <a:lnTo>
                        <a:pt x="258267" y="39369"/>
                      </a:lnTo>
                      <a:close/>
                    </a:path>
                    <a:path w="561975" h="576579">
                      <a:moveTo>
                        <a:pt x="332193" y="44449"/>
                      </a:moveTo>
                      <a:lnTo>
                        <a:pt x="284924" y="44449"/>
                      </a:lnTo>
                      <a:lnTo>
                        <a:pt x="284975" y="45719"/>
                      </a:lnTo>
                      <a:lnTo>
                        <a:pt x="332117" y="45719"/>
                      </a:lnTo>
                      <a:lnTo>
                        <a:pt x="332193" y="44449"/>
                      </a:lnTo>
                      <a:close/>
                    </a:path>
                    <a:path w="561975" h="576579">
                      <a:moveTo>
                        <a:pt x="334987" y="44449"/>
                      </a:moveTo>
                      <a:lnTo>
                        <a:pt x="333286" y="44449"/>
                      </a:lnTo>
                      <a:lnTo>
                        <a:pt x="332117" y="45719"/>
                      </a:lnTo>
                      <a:lnTo>
                        <a:pt x="335648" y="45719"/>
                      </a:lnTo>
                      <a:lnTo>
                        <a:pt x="334987" y="44449"/>
                      </a:lnTo>
                      <a:close/>
                    </a:path>
                    <a:path w="561975" h="576579">
                      <a:moveTo>
                        <a:pt x="337896" y="44449"/>
                      </a:moveTo>
                      <a:lnTo>
                        <a:pt x="337134" y="44449"/>
                      </a:lnTo>
                      <a:lnTo>
                        <a:pt x="336511" y="45719"/>
                      </a:lnTo>
                      <a:lnTo>
                        <a:pt x="338975" y="45719"/>
                      </a:lnTo>
                      <a:lnTo>
                        <a:pt x="337896" y="44449"/>
                      </a:lnTo>
                      <a:close/>
                    </a:path>
                    <a:path w="561975" h="576579">
                      <a:moveTo>
                        <a:pt x="296506" y="43179"/>
                      </a:moveTo>
                      <a:lnTo>
                        <a:pt x="287820" y="43179"/>
                      </a:lnTo>
                      <a:lnTo>
                        <a:pt x="286016" y="44449"/>
                      </a:lnTo>
                      <a:lnTo>
                        <a:pt x="296824" y="44449"/>
                      </a:lnTo>
                      <a:lnTo>
                        <a:pt x="296506" y="43179"/>
                      </a:lnTo>
                      <a:close/>
                    </a:path>
                    <a:path w="561975" h="576579">
                      <a:moveTo>
                        <a:pt x="321373" y="11429"/>
                      </a:moveTo>
                      <a:lnTo>
                        <a:pt x="320535" y="12699"/>
                      </a:lnTo>
                      <a:lnTo>
                        <a:pt x="321538" y="15239"/>
                      </a:lnTo>
                      <a:lnTo>
                        <a:pt x="320497" y="15239"/>
                      </a:lnTo>
                      <a:lnTo>
                        <a:pt x="320192" y="16509"/>
                      </a:lnTo>
                      <a:lnTo>
                        <a:pt x="319900" y="16509"/>
                      </a:lnTo>
                      <a:lnTo>
                        <a:pt x="319138" y="17779"/>
                      </a:lnTo>
                      <a:lnTo>
                        <a:pt x="314820" y="24129"/>
                      </a:lnTo>
                      <a:lnTo>
                        <a:pt x="312534" y="26669"/>
                      </a:lnTo>
                      <a:lnTo>
                        <a:pt x="310895" y="29209"/>
                      </a:lnTo>
                      <a:lnTo>
                        <a:pt x="309994" y="30479"/>
                      </a:lnTo>
                      <a:lnTo>
                        <a:pt x="309524" y="31749"/>
                      </a:lnTo>
                      <a:lnTo>
                        <a:pt x="309003" y="33019"/>
                      </a:lnTo>
                      <a:lnTo>
                        <a:pt x="308533" y="34289"/>
                      </a:lnTo>
                      <a:lnTo>
                        <a:pt x="307111" y="36829"/>
                      </a:lnTo>
                      <a:lnTo>
                        <a:pt x="306997" y="38099"/>
                      </a:lnTo>
                      <a:lnTo>
                        <a:pt x="306222" y="40639"/>
                      </a:lnTo>
                      <a:lnTo>
                        <a:pt x="305917" y="40639"/>
                      </a:lnTo>
                      <a:lnTo>
                        <a:pt x="305206" y="41909"/>
                      </a:lnTo>
                      <a:lnTo>
                        <a:pt x="304304" y="41909"/>
                      </a:lnTo>
                      <a:lnTo>
                        <a:pt x="302920" y="43179"/>
                      </a:lnTo>
                      <a:lnTo>
                        <a:pt x="302463" y="43179"/>
                      </a:lnTo>
                      <a:lnTo>
                        <a:pt x="301612" y="44449"/>
                      </a:lnTo>
                      <a:lnTo>
                        <a:pt x="332816" y="44449"/>
                      </a:lnTo>
                      <a:lnTo>
                        <a:pt x="332473" y="39369"/>
                      </a:lnTo>
                      <a:lnTo>
                        <a:pt x="329780" y="34289"/>
                      </a:lnTo>
                      <a:lnTo>
                        <a:pt x="327913" y="25399"/>
                      </a:lnTo>
                      <a:lnTo>
                        <a:pt x="328510" y="21589"/>
                      </a:lnTo>
                      <a:lnTo>
                        <a:pt x="326415" y="21589"/>
                      </a:lnTo>
                      <a:lnTo>
                        <a:pt x="326504" y="20319"/>
                      </a:lnTo>
                      <a:lnTo>
                        <a:pt x="326466" y="16509"/>
                      </a:lnTo>
                      <a:lnTo>
                        <a:pt x="323405" y="13969"/>
                      </a:lnTo>
                      <a:lnTo>
                        <a:pt x="321373" y="11429"/>
                      </a:lnTo>
                      <a:close/>
                    </a:path>
                    <a:path w="561975" h="576579">
                      <a:moveTo>
                        <a:pt x="296163" y="41909"/>
                      </a:moveTo>
                      <a:lnTo>
                        <a:pt x="293306" y="41909"/>
                      </a:lnTo>
                      <a:lnTo>
                        <a:pt x="292315" y="43179"/>
                      </a:lnTo>
                      <a:lnTo>
                        <a:pt x="296240" y="43179"/>
                      </a:lnTo>
                      <a:lnTo>
                        <a:pt x="296163" y="41909"/>
                      </a:lnTo>
                      <a:close/>
                    </a:path>
                    <a:path w="561975" h="576579">
                      <a:moveTo>
                        <a:pt x="204546" y="11429"/>
                      </a:moveTo>
                      <a:lnTo>
                        <a:pt x="180416" y="11429"/>
                      </a:lnTo>
                      <a:lnTo>
                        <a:pt x="179717" y="12699"/>
                      </a:lnTo>
                      <a:lnTo>
                        <a:pt x="178777" y="12699"/>
                      </a:lnTo>
                      <a:lnTo>
                        <a:pt x="177812" y="13969"/>
                      </a:lnTo>
                      <a:lnTo>
                        <a:pt x="172135" y="15239"/>
                      </a:lnTo>
                      <a:lnTo>
                        <a:pt x="167944" y="15239"/>
                      </a:lnTo>
                      <a:lnTo>
                        <a:pt x="161912" y="16509"/>
                      </a:lnTo>
                      <a:lnTo>
                        <a:pt x="160908" y="16509"/>
                      </a:lnTo>
                      <a:lnTo>
                        <a:pt x="160426" y="19049"/>
                      </a:lnTo>
                      <a:lnTo>
                        <a:pt x="160578" y="20319"/>
                      </a:lnTo>
                      <a:lnTo>
                        <a:pt x="160096" y="21589"/>
                      </a:lnTo>
                      <a:lnTo>
                        <a:pt x="159816" y="22859"/>
                      </a:lnTo>
                      <a:lnTo>
                        <a:pt x="159296" y="24129"/>
                      </a:lnTo>
                      <a:lnTo>
                        <a:pt x="140284" y="24129"/>
                      </a:lnTo>
                      <a:lnTo>
                        <a:pt x="139763" y="25399"/>
                      </a:lnTo>
                      <a:lnTo>
                        <a:pt x="140119" y="29209"/>
                      </a:lnTo>
                      <a:lnTo>
                        <a:pt x="142265" y="31749"/>
                      </a:lnTo>
                      <a:lnTo>
                        <a:pt x="142925" y="35559"/>
                      </a:lnTo>
                      <a:lnTo>
                        <a:pt x="141998" y="38099"/>
                      </a:lnTo>
                      <a:lnTo>
                        <a:pt x="142798" y="40639"/>
                      </a:lnTo>
                      <a:lnTo>
                        <a:pt x="201574" y="40639"/>
                      </a:lnTo>
                      <a:lnTo>
                        <a:pt x="201218" y="39369"/>
                      </a:lnTo>
                      <a:lnTo>
                        <a:pt x="198678" y="35559"/>
                      </a:lnTo>
                      <a:lnTo>
                        <a:pt x="204469" y="22859"/>
                      </a:lnTo>
                      <a:lnTo>
                        <a:pt x="205917" y="21589"/>
                      </a:lnTo>
                      <a:lnTo>
                        <a:pt x="206641" y="20319"/>
                      </a:lnTo>
                      <a:lnTo>
                        <a:pt x="207009" y="19049"/>
                      </a:lnTo>
                      <a:lnTo>
                        <a:pt x="204660" y="16509"/>
                      </a:lnTo>
                      <a:lnTo>
                        <a:pt x="203580" y="13969"/>
                      </a:lnTo>
                      <a:lnTo>
                        <a:pt x="204546" y="12699"/>
                      </a:lnTo>
                      <a:lnTo>
                        <a:pt x="204546" y="11429"/>
                      </a:lnTo>
                      <a:close/>
                    </a:path>
                    <a:path w="561975" h="576579">
                      <a:moveTo>
                        <a:pt x="272262" y="38099"/>
                      </a:moveTo>
                      <a:lnTo>
                        <a:pt x="271170" y="38099"/>
                      </a:lnTo>
                      <a:lnTo>
                        <a:pt x="268503" y="39369"/>
                      </a:lnTo>
                      <a:lnTo>
                        <a:pt x="267512" y="40639"/>
                      </a:lnTo>
                      <a:lnTo>
                        <a:pt x="275031" y="40639"/>
                      </a:lnTo>
                      <a:lnTo>
                        <a:pt x="274510" y="39369"/>
                      </a:lnTo>
                      <a:lnTo>
                        <a:pt x="272427" y="39369"/>
                      </a:lnTo>
                      <a:lnTo>
                        <a:pt x="272262" y="38099"/>
                      </a:lnTo>
                      <a:close/>
                    </a:path>
                    <a:path w="561975" h="576579">
                      <a:moveTo>
                        <a:pt x="136067" y="13969"/>
                      </a:moveTo>
                      <a:lnTo>
                        <a:pt x="132410" y="13969"/>
                      </a:lnTo>
                      <a:lnTo>
                        <a:pt x="131965" y="15239"/>
                      </a:lnTo>
                      <a:lnTo>
                        <a:pt x="132270" y="15239"/>
                      </a:lnTo>
                      <a:lnTo>
                        <a:pt x="133743" y="16509"/>
                      </a:lnTo>
                      <a:lnTo>
                        <a:pt x="134772" y="19049"/>
                      </a:lnTo>
                      <a:lnTo>
                        <a:pt x="136855" y="21589"/>
                      </a:lnTo>
                      <a:lnTo>
                        <a:pt x="138531" y="21589"/>
                      </a:lnTo>
                      <a:lnTo>
                        <a:pt x="139814" y="22859"/>
                      </a:lnTo>
                      <a:lnTo>
                        <a:pt x="140055" y="24129"/>
                      </a:lnTo>
                      <a:lnTo>
                        <a:pt x="157213" y="24129"/>
                      </a:lnTo>
                      <a:lnTo>
                        <a:pt x="155486" y="21589"/>
                      </a:lnTo>
                      <a:lnTo>
                        <a:pt x="153860" y="19049"/>
                      </a:lnTo>
                      <a:lnTo>
                        <a:pt x="142544" y="19049"/>
                      </a:lnTo>
                      <a:lnTo>
                        <a:pt x="139420" y="17779"/>
                      </a:lnTo>
                      <a:lnTo>
                        <a:pt x="136067" y="13969"/>
                      </a:lnTo>
                      <a:close/>
                    </a:path>
                    <a:path w="561975" h="576579">
                      <a:moveTo>
                        <a:pt x="327596" y="19049"/>
                      </a:moveTo>
                      <a:lnTo>
                        <a:pt x="326720" y="19049"/>
                      </a:lnTo>
                      <a:lnTo>
                        <a:pt x="326847" y="21589"/>
                      </a:lnTo>
                      <a:lnTo>
                        <a:pt x="328510" y="21589"/>
                      </a:lnTo>
                      <a:lnTo>
                        <a:pt x="327596" y="19049"/>
                      </a:lnTo>
                      <a:close/>
                    </a:path>
                    <a:path w="561975" h="576579">
                      <a:moveTo>
                        <a:pt x="147891" y="17779"/>
                      </a:moveTo>
                      <a:lnTo>
                        <a:pt x="146469" y="19049"/>
                      </a:lnTo>
                      <a:lnTo>
                        <a:pt x="150228" y="19049"/>
                      </a:lnTo>
                      <a:lnTo>
                        <a:pt x="147891" y="17779"/>
                      </a:lnTo>
                      <a:close/>
                    </a:path>
                    <a:path w="561975" h="576579">
                      <a:moveTo>
                        <a:pt x="152438" y="17779"/>
                      </a:moveTo>
                      <a:lnTo>
                        <a:pt x="150875" y="17779"/>
                      </a:lnTo>
                      <a:lnTo>
                        <a:pt x="150228" y="19049"/>
                      </a:lnTo>
                      <a:lnTo>
                        <a:pt x="153860" y="19049"/>
                      </a:lnTo>
                      <a:lnTo>
                        <a:pt x="152438" y="17779"/>
                      </a:lnTo>
                      <a:close/>
                    </a:path>
                    <a:path w="561975" h="576579">
                      <a:moveTo>
                        <a:pt x="321005" y="13969"/>
                      </a:moveTo>
                      <a:lnTo>
                        <a:pt x="320789" y="13969"/>
                      </a:lnTo>
                      <a:lnTo>
                        <a:pt x="320725" y="15239"/>
                      </a:lnTo>
                      <a:lnTo>
                        <a:pt x="321424" y="15239"/>
                      </a:lnTo>
                      <a:lnTo>
                        <a:pt x="321005" y="13969"/>
                      </a:lnTo>
                      <a:close/>
                    </a:path>
                    <a:path w="561975" h="576579">
                      <a:moveTo>
                        <a:pt x="194081" y="0"/>
                      </a:moveTo>
                      <a:lnTo>
                        <a:pt x="190576" y="1269"/>
                      </a:lnTo>
                      <a:lnTo>
                        <a:pt x="190880" y="2539"/>
                      </a:lnTo>
                      <a:lnTo>
                        <a:pt x="191249" y="2539"/>
                      </a:lnTo>
                      <a:lnTo>
                        <a:pt x="191363" y="3809"/>
                      </a:lnTo>
                      <a:lnTo>
                        <a:pt x="191249" y="5079"/>
                      </a:lnTo>
                      <a:lnTo>
                        <a:pt x="190880" y="5079"/>
                      </a:lnTo>
                      <a:lnTo>
                        <a:pt x="190207" y="6349"/>
                      </a:lnTo>
                      <a:lnTo>
                        <a:pt x="189052" y="7619"/>
                      </a:lnTo>
                      <a:lnTo>
                        <a:pt x="186131" y="10159"/>
                      </a:lnTo>
                      <a:lnTo>
                        <a:pt x="182206" y="10159"/>
                      </a:lnTo>
                      <a:lnTo>
                        <a:pt x="181571" y="11429"/>
                      </a:lnTo>
                      <a:lnTo>
                        <a:pt x="198234" y="11429"/>
                      </a:lnTo>
                      <a:lnTo>
                        <a:pt x="200264" y="3809"/>
                      </a:lnTo>
                      <a:lnTo>
                        <a:pt x="198096" y="1269"/>
                      </a:lnTo>
                      <a:lnTo>
                        <a:pt x="194081" y="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596" name="object 136">
                  <a:extLst>
                    <a:ext uri="{FF2B5EF4-FFF2-40B4-BE49-F238E27FC236}">
                      <a16:creationId xmlns:a16="http://schemas.microsoft.com/office/drawing/2014/main" id="{EA4F3486-FF45-E6C5-15A9-E01383228AC1}"/>
                    </a:ext>
                  </a:extLst>
                </p:cNvPr>
                <p:cNvPicPr/>
                <p:nvPr/>
              </p:nvPicPr>
              <p:blipFill>
                <a:blip r:embed="rId16" cstate="print"/>
                <a:stretch>
                  <a:fillRect/>
                </a:stretch>
              </p:blipFill>
              <p:spPr>
                <a:xfrm>
                  <a:off x="1863396" y="2755128"/>
                  <a:ext cx="105385" cy="107784"/>
                </a:xfrm>
                <a:prstGeom prst="rect">
                  <a:avLst/>
                </a:prstGeom>
              </p:spPr>
            </p:pic>
            <p:sp>
              <p:nvSpPr>
                <p:cNvPr id="597" name="object 137">
                  <a:extLst>
                    <a:ext uri="{FF2B5EF4-FFF2-40B4-BE49-F238E27FC236}">
                      <a16:creationId xmlns:a16="http://schemas.microsoft.com/office/drawing/2014/main" id="{70691C2F-EDEB-17AF-8C10-ED6A7006EF92}"/>
                    </a:ext>
                  </a:extLst>
                </p:cNvPr>
                <p:cNvSpPr/>
                <p:nvPr/>
              </p:nvSpPr>
              <p:spPr>
                <a:xfrm>
                  <a:off x="1421180" y="2620896"/>
                  <a:ext cx="58419" cy="609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8419" h="60960">
                      <a:moveTo>
                        <a:pt x="32245" y="57543"/>
                      </a:moveTo>
                      <a:lnTo>
                        <a:pt x="21564" y="57543"/>
                      </a:lnTo>
                      <a:lnTo>
                        <a:pt x="25247" y="57937"/>
                      </a:lnTo>
                      <a:lnTo>
                        <a:pt x="27076" y="58839"/>
                      </a:lnTo>
                      <a:lnTo>
                        <a:pt x="29171" y="59702"/>
                      </a:lnTo>
                      <a:lnTo>
                        <a:pt x="30467" y="60375"/>
                      </a:lnTo>
                      <a:lnTo>
                        <a:pt x="30886" y="60299"/>
                      </a:lnTo>
                      <a:lnTo>
                        <a:pt x="32143" y="57670"/>
                      </a:lnTo>
                      <a:close/>
                    </a:path>
                    <a:path w="58419" h="60960">
                      <a:moveTo>
                        <a:pt x="30923" y="60299"/>
                      </a:moveTo>
                      <a:close/>
                    </a:path>
                    <a:path w="58419" h="60960">
                      <a:moveTo>
                        <a:pt x="42127" y="49745"/>
                      </a:moveTo>
                      <a:lnTo>
                        <a:pt x="1409" y="49745"/>
                      </a:lnTo>
                      <a:lnTo>
                        <a:pt x="2564" y="50495"/>
                      </a:lnTo>
                      <a:lnTo>
                        <a:pt x="3962" y="51498"/>
                      </a:lnTo>
                      <a:lnTo>
                        <a:pt x="5257" y="52971"/>
                      </a:lnTo>
                      <a:lnTo>
                        <a:pt x="10693" y="55981"/>
                      </a:lnTo>
                      <a:lnTo>
                        <a:pt x="13423" y="57289"/>
                      </a:lnTo>
                      <a:lnTo>
                        <a:pt x="19697" y="58102"/>
                      </a:lnTo>
                      <a:lnTo>
                        <a:pt x="21564" y="57543"/>
                      </a:lnTo>
                      <a:lnTo>
                        <a:pt x="32245" y="57543"/>
                      </a:lnTo>
                      <a:lnTo>
                        <a:pt x="32715" y="56959"/>
                      </a:lnTo>
                      <a:lnTo>
                        <a:pt x="33451" y="56413"/>
                      </a:lnTo>
                      <a:lnTo>
                        <a:pt x="34226" y="56108"/>
                      </a:lnTo>
                      <a:lnTo>
                        <a:pt x="34861" y="55803"/>
                      </a:lnTo>
                      <a:lnTo>
                        <a:pt x="35509" y="55740"/>
                      </a:lnTo>
                      <a:lnTo>
                        <a:pt x="36066" y="55740"/>
                      </a:lnTo>
                      <a:lnTo>
                        <a:pt x="36004" y="54876"/>
                      </a:lnTo>
                      <a:lnTo>
                        <a:pt x="36639" y="54508"/>
                      </a:lnTo>
                      <a:lnTo>
                        <a:pt x="37706" y="54190"/>
                      </a:lnTo>
                      <a:lnTo>
                        <a:pt x="38912" y="53911"/>
                      </a:lnTo>
                      <a:lnTo>
                        <a:pt x="39281" y="53213"/>
                      </a:lnTo>
                      <a:lnTo>
                        <a:pt x="38963" y="52527"/>
                      </a:lnTo>
                      <a:lnTo>
                        <a:pt x="38671" y="52057"/>
                      </a:lnTo>
                      <a:lnTo>
                        <a:pt x="38277" y="51587"/>
                      </a:lnTo>
                      <a:lnTo>
                        <a:pt x="38506" y="50787"/>
                      </a:lnTo>
                      <a:lnTo>
                        <a:pt x="39268" y="50495"/>
                      </a:lnTo>
                      <a:lnTo>
                        <a:pt x="40030" y="50380"/>
                      </a:lnTo>
                      <a:lnTo>
                        <a:pt x="41059" y="50139"/>
                      </a:lnTo>
                      <a:lnTo>
                        <a:pt x="41811" y="50139"/>
                      </a:lnTo>
                      <a:lnTo>
                        <a:pt x="42127" y="49745"/>
                      </a:lnTo>
                      <a:close/>
                    </a:path>
                    <a:path w="58419" h="60960">
                      <a:moveTo>
                        <a:pt x="36066" y="55740"/>
                      </a:moveTo>
                      <a:lnTo>
                        <a:pt x="35509" y="55740"/>
                      </a:lnTo>
                      <a:lnTo>
                        <a:pt x="36080" y="56121"/>
                      </a:lnTo>
                      <a:lnTo>
                        <a:pt x="36066" y="55740"/>
                      </a:lnTo>
                      <a:close/>
                    </a:path>
                    <a:path w="58419" h="60960">
                      <a:moveTo>
                        <a:pt x="41811" y="50139"/>
                      </a:moveTo>
                      <a:lnTo>
                        <a:pt x="41059" y="50139"/>
                      </a:lnTo>
                      <a:lnTo>
                        <a:pt x="41567" y="50444"/>
                      </a:lnTo>
                      <a:lnTo>
                        <a:pt x="41811" y="50139"/>
                      </a:lnTo>
                      <a:close/>
                    </a:path>
                    <a:path w="58419" h="60960">
                      <a:moveTo>
                        <a:pt x="2438" y="40754"/>
                      </a:moveTo>
                      <a:lnTo>
                        <a:pt x="2273" y="41617"/>
                      </a:lnTo>
                      <a:lnTo>
                        <a:pt x="2070" y="41795"/>
                      </a:lnTo>
                      <a:lnTo>
                        <a:pt x="1841" y="41922"/>
                      </a:lnTo>
                      <a:lnTo>
                        <a:pt x="1498" y="42545"/>
                      </a:lnTo>
                      <a:lnTo>
                        <a:pt x="1562" y="43853"/>
                      </a:lnTo>
                      <a:lnTo>
                        <a:pt x="1219" y="44462"/>
                      </a:lnTo>
                      <a:lnTo>
                        <a:pt x="1249" y="45745"/>
                      </a:lnTo>
                      <a:lnTo>
                        <a:pt x="1346" y="47167"/>
                      </a:lnTo>
                      <a:lnTo>
                        <a:pt x="1244" y="47358"/>
                      </a:lnTo>
                      <a:lnTo>
                        <a:pt x="0" y="49237"/>
                      </a:lnTo>
                      <a:lnTo>
                        <a:pt x="1104" y="50139"/>
                      </a:lnTo>
                      <a:lnTo>
                        <a:pt x="1409" y="49745"/>
                      </a:lnTo>
                      <a:lnTo>
                        <a:pt x="42127" y="49745"/>
                      </a:lnTo>
                      <a:lnTo>
                        <a:pt x="42748" y="48971"/>
                      </a:lnTo>
                      <a:lnTo>
                        <a:pt x="45300" y="47853"/>
                      </a:lnTo>
                      <a:lnTo>
                        <a:pt x="44500" y="45910"/>
                      </a:lnTo>
                      <a:lnTo>
                        <a:pt x="44449" y="45745"/>
                      </a:lnTo>
                      <a:lnTo>
                        <a:pt x="44081" y="45212"/>
                      </a:lnTo>
                      <a:lnTo>
                        <a:pt x="43992" y="44894"/>
                      </a:lnTo>
                      <a:lnTo>
                        <a:pt x="43871" y="43853"/>
                      </a:lnTo>
                      <a:lnTo>
                        <a:pt x="43936" y="43408"/>
                      </a:lnTo>
                      <a:lnTo>
                        <a:pt x="44399" y="42557"/>
                      </a:lnTo>
                      <a:lnTo>
                        <a:pt x="44545" y="40843"/>
                      </a:lnTo>
                      <a:lnTo>
                        <a:pt x="2692" y="40843"/>
                      </a:lnTo>
                      <a:lnTo>
                        <a:pt x="2438" y="40754"/>
                      </a:lnTo>
                      <a:close/>
                    </a:path>
                    <a:path w="58419" h="60960">
                      <a:moveTo>
                        <a:pt x="13360" y="26098"/>
                      </a:moveTo>
                      <a:lnTo>
                        <a:pt x="11036" y="26543"/>
                      </a:lnTo>
                      <a:lnTo>
                        <a:pt x="10096" y="26670"/>
                      </a:lnTo>
                      <a:lnTo>
                        <a:pt x="9232" y="26974"/>
                      </a:lnTo>
                      <a:lnTo>
                        <a:pt x="7746" y="27698"/>
                      </a:lnTo>
                      <a:lnTo>
                        <a:pt x="6857" y="28219"/>
                      </a:lnTo>
                      <a:lnTo>
                        <a:pt x="6371" y="28689"/>
                      </a:lnTo>
                      <a:lnTo>
                        <a:pt x="5867" y="29451"/>
                      </a:lnTo>
                      <a:lnTo>
                        <a:pt x="4457" y="31483"/>
                      </a:lnTo>
                      <a:lnTo>
                        <a:pt x="2552" y="34201"/>
                      </a:lnTo>
                      <a:lnTo>
                        <a:pt x="1689" y="36576"/>
                      </a:lnTo>
                      <a:lnTo>
                        <a:pt x="1549" y="36868"/>
                      </a:lnTo>
                      <a:lnTo>
                        <a:pt x="1117" y="38620"/>
                      </a:lnTo>
                      <a:lnTo>
                        <a:pt x="1219" y="38938"/>
                      </a:lnTo>
                      <a:lnTo>
                        <a:pt x="2692" y="40843"/>
                      </a:lnTo>
                      <a:lnTo>
                        <a:pt x="44545" y="40843"/>
                      </a:lnTo>
                      <a:lnTo>
                        <a:pt x="46812" y="40017"/>
                      </a:lnTo>
                      <a:lnTo>
                        <a:pt x="48120" y="39344"/>
                      </a:lnTo>
                      <a:lnTo>
                        <a:pt x="50825" y="37477"/>
                      </a:lnTo>
                      <a:lnTo>
                        <a:pt x="54381" y="34417"/>
                      </a:lnTo>
                      <a:lnTo>
                        <a:pt x="56527" y="32245"/>
                      </a:lnTo>
                      <a:lnTo>
                        <a:pt x="58140" y="31026"/>
                      </a:lnTo>
                      <a:lnTo>
                        <a:pt x="58066" y="30848"/>
                      </a:lnTo>
                      <a:lnTo>
                        <a:pt x="51727" y="30848"/>
                      </a:lnTo>
                      <a:lnTo>
                        <a:pt x="51168" y="30645"/>
                      </a:lnTo>
                      <a:lnTo>
                        <a:pt x="48463" y="29235"/>
                      </a:lnTo>
                      <a:lnTo>
                        <a:pt x="47878" y="29108"/>
                      </a:lnTo>
                      <a:lnTo>
                        <a:pt x="47378" y="29032"/>
                      </a:lnTo>
                      <a:lnTo>
                        <a:pt x="44957" y="29019"/>
                      </a:lnTo>
                      <a:lnTo>
                        <a:pt x="43421" y="29019"/>
                      </a:lnTo>
                      <a:lnTo>
                        <a:pt x="43596" y="26339"/>
                      </a:lnTo>
                      <a:lnTo>
                        <a:pt x="19964" y="26339"/>
                      </a:lnTo>
                      <a:lnTo>
                        <a:pt x="15824" y="26314"/>
                      </a:lnTo>
                      <a:lnTo>
                        <a:pt x="13360" y="26098"/>
                      </a:lnTo>
                      <a:close/>
                    </a:path>
                    <a:path w="58419" h="60960">
                      <a:moveTo>
                        <a:pt x="52450" y="28016"/>
                      </a:moveTo>
                      <a:lnTo>
                        <a:pt x="52831" y="28689"/>
                      </a:lnTo>
                      <a:lnTo>
                        <a:pt x="53378" y="29248"/>
                      </a:lnTo>
                      <a:lnTo>
                        <a:pt x="53962" y="29692"/>
                      </a:lnTo>
                      <a:lnTo>
                        <a:pt x="51727" y="30848"/>
                      </a:lnTo>
                      <a:lnTo>
                        <a:pt x="58066" y="30848"/>
                      </a:lnTo>
                      <a:lnTo>
                        <a:pt x="57932" y="30530"/>
                      </a:lnTo>
                      <a:lnTo>
                        <a:pt x="56451" y="30530"/>
                      </a:lnTo>
                      <a:lnTo>
                        <a:pt x="53733" y="28536"/>
                      </a:lnTo>
                      <a:lnTo>
                        <a:pt x="52450" y="28016"/>
                      </a:lnTo>
                      <a:close/>
                    </a:path>
                    <a:path w="58419" h="60960">
                      <a:moveTo>
                        <a:pt x="57645" y="29845"/>
                      </a:moveTo>
                      <a:lnTo>
                        <a:pt x="57251" y="29997"/>
                      </a:lnTo>
                      <a:lnTo>
                        <a:pt x="56451" y="30530"/>
                      </a:lnTo>
                      <a:lnTo>
                        <a:pt x="57932" y="30530"/>
                      </a:lnTo>
                      <a:lnTo>
                        <a:pt x="57645" y="29845"/>
                      </a:lnTo>
                      <a:close/>
                    </a:path>
                    <a:path w="58419" h="60960">
                      <a:moveTo>
                        <a:pt x="47332" y="28994"/>
                      </a:moveTo>
                      <a:lnTo>
                        <a:pt x="45834" y="29032"/>
                      </a:lnTo>
                      <a:lnTo>
                        <a:pt x="47378" y="29032"/>
                      </a:lnTo>
                      <a:close/>
                    </a:path>
                    <a:path w="58419" h="60960">
                      <a:moveTo>
                        <a:pt x="44081" y="29006"/>
                      </a:moveTo>
                      <a:lnTo>
                        <a:pt x="43421" y="29019"/>
                      </a:lnTo>
                      <a:lnTo>
                        <a:pt x="44957" y="29019"/>
                      </a:lnTo>
                      <a:lnTo>
                        <a:pt x="44081" y="29006"/>
                      </a:lnTo>
                      <a:close/>
                    </a:path>
                    <a:path w="58419" h="60960">
                      <a:moveTo>
                        <a:pt x="18859" y="0"/>
                      </a:moveTo>
                      <a:lnTo>
                        <a:pt x="17462" y="1638"/>
                      </a:lnTo>
                      <a:lnTo>
                        <a:pt x="18249" y="6985"/>
                      </a:lnTo>
                      <a:lnTo>
                        <a:pt x="18275" y="8356"/>
                      </a:lnTo>
                      <a:lnTo>
                        <a:pt x="18122" y="8674"/>
                      </a:lnTo>
                      <a:lnTo>
                        <a:pt x="17856" y="8877"/>
                      </a:lnTo>
                      <a:lnTo>
                        <a:pt x="11798" y="8966"/>
                      </a:lnTo>
                      <a:lnTo>
                        <a:pt x="13030" y="9880"/>
                      </a:lnTo>
                      <a:lnTo>
                        <a:pt x="16332" y="12890"/>
                      </a:lnTo>
                      <a:lnTo>
                        <a:pt x="17335" y="13855"/>
                      </a:lnTo>
                      <a:lnTo>
                        <a:pt x="20192" y="16433"/>
                      </a:lnTo>
                      <a:lnTo>
                        <a:pt x="22212" y="18910"/>
                      </a:lnTo>
                      <a:lnTo>
                        <a:pt x="24650" y="20383"/>
                      </a:lnTo>
                      <a:lnTo>
                        <a:pt x="24904" y="20561"/>
                      </a:lnTo>
                      <a:lnTo>
                        <a:pt x="25209" y="20726"/>
                      </a:lnTo>
                      <a:lnTo>
                        <a:pt x="25514" y="20853"/>
                      </a:lnTo>
                      <a:lnTo>
                        <a:pt x="25806" y="21005"/>
                      </a:lnTo>
                      <a:lnTo>
                        <a:pt x="26250" y="21323"/>
                      </a:lnTo>
                      <a:lnTo>
                        <a:pt x="26949" y="21983"/>
                      </a:lnTo>
                      <a:lnTo>
                        <a:pt x="26479" y="24066"/>
                      </a:lnTo>
                      <a:lnTo>
                        <a:pt x="26479" y="24968"/>
                      </a:lnTo>
                      <a:lnTo>
                        <a:pt x="26174" y="25552"/>
                      </a:lnTo>
                      <a:lnTo>
                        <a:pt x="26073" y="26047"/>
                      </a:lnTo>
                      <a:lnTo>
                        <a:pt x="25907" y="26301"/>
                      </a:lnTo>
                      <a:lnTo>
                        <a:pt x="19964" y="26339"/>
                      </a:lnTo>
                      <a:lnTo>
                        <a:pt x="43596" y="26339"/>
                      </a:lnTo>
                      <a:lnTo>
                        <a:pt x="44244" y="16433"/>
                      </a:lnTo>
                      <a:lnTo>
                        <a:pt x="44469" y="8674"/>
                      </a:lnTo>
                      <a:lnTo>
                        <a:pt x="44535" y="1562"/>
                      </a:lnTo>
                      <a:lnTo>
                        <a:pt x="43954" y="1562"/>
                      </a:lnTo>
                      <a:lnTo>
                        <a:pt x="43992" y="1244"/>
                      </a:lnTo>
                      <a:lnTo>
                        <a:pt x="44197" y="698"/>
                      </a:lnTo>
                      <a:lnTo>
                        <a:pt x="42964" y="698"/>
                      </a:lnTo>
                      <a:lnTo>
                        <a:pt x="23291" y="647"/>
                      </a:lnTo>
                      <a:lnTo>
                        <a:pt x="18859" y="0"/>
                      </a:lnTo>
                      <a:close/>
                    </a:path>
                    <a:path w="58419" h="60960">
                      <a:moveTo>
                        <a:pt x="44310" y="431"/>
                      </a:moveTo>
                      <a:lnTo>
                        <a:pt x="44132" y="850"/>
                      </a:lnTo>
                      <a:lnTo>
                        <a:pt x="43992" y="1244"/>
                      </a:lnTo>
                      <a:lnTo>
                        <a:pt x="43954" y="1562"/>
                      </a:lnTo>
                      <a:lnTo>
                        <a:pt x="44535" y="1562"/>
                      </a:lnTo>
                      <a:lnTo>
                        <a:pt x="44568" y="1244"/>
                      </a:lnTo>
                      <a:lnTo>
                        <a:pt x="44681" y="850"/>
                      </a:lnTo>
                      <a:lnTo>
                        <a:pt x="44691" y="482"/>
                      </a:lnTo>
                      <a:lnTo>
                        <a:pt x="44310" y="431"/>
                      </a:lnTo>
                      <a:close/>
                    </a:path>
                    <a:path w="58419" h="60960">
                      <a:moveTo>
                        <a:pt x="44056" y="406"/>
                      </a:moveTo>
                      <a:lnTo>
                        <a:pt x="43623" y="482"/>
                      </a:lnTo>
                      <a:lnTo>
                        <a:pt x="42964" y="698"/>
                      </a:lnTo>
                      <a:lnTo>
                        <a:pt x="44197" y="698"/>
                      </a:lnTo>
                      <a:lnTo>
                        <a:pt x="44310" y="431"/>
                      </a:lnTo>
                      <a:lnTo>
                        <a:pt x="44056" y="406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98" name="object 138">
                  <a:extLst>
                    <a:ext uri="{FF2B5EF4-FFF2-40B4-BE49-F238E27FC236}">
                      <a16:creationId xmlns:a16="http://schemas.microsoft.com/office/drawing/2014/main" id="{EAFDBF69-3D80-ECBA-5AFD-AE0EC1021254}"/>
                    </a:ext>
                  </a:extLst>
                </p:cNvPr>
                <p:cNvSpPr/>
                <p:nvPr/>
              </p:nvSpPr>
              <p:spPr>
                <a:xfrm>
                  <a:off x="359981" y="1627746"/>
                  <a:ext cx="1174750" cy="5340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74750" h="534035">
                      <a:moveTo>
                        <a:pt x="38989" y="252730"/>
                      </a:moveTo>
                      <a:lnTo>
                        <a:pt x="37376" y="251460"/>
                      </a:lnTo>
                      <a:lnTo>
                        <a:pt x="35585" y="252730"/>
                      </a:lnTo>
                      <a:lnTo>
                        <a:pt x="38989" y="252730"/>
                      </a:lnTo>
                      <a:close/>
                    </a:path>
                    <a:path w="1174750" h="534035">
                      <a:moveTo>
                        <a:pt x="44678" y="375780"/>
                      </a:moveTo>
                      <a:lnTo>
                        <a:pt x="44526" y="375920"/>
                      </a:lnTo>
                      <a:lnTo>
                        <a:pt x="43459" y="377190"/>
                      </a:lnTo>
                      <a:lnTo>
                        <a:pt x="43853" y="377190"/>
                      </a:lnTo>
                      <a:lnTo>
                        <a:pt x="44653" y="375920"/>
                      </a:lnTo>
                      <a:lnTo>
                        <a:pt x="44678" y="375780"/>
                      </a:lnTo>
                      <a:close/>
                    </a:path>
                    <a:path w="1174750" h="534035">
                      <a:moveTo>
                        <a:pt x="46723" y="369570"/>
                      </a:moveTo>
                      <a:lnTo>
                        <a:pt x="46151" y="369570"/>
                      </a:lnTo>
                      <a:lnTo>
                        <a:pt x="44208" y="370840"/>
                      </a:lnTo>
                      <a:lnTo>
                        <a:pt x="44526" y="370840"/>
                      </a:lnTo>
                      <a:lnTo>
                        <a:pt x="44234" y="373380"/>
                      </a:lnTo>
                      <a:lnTo>
                        <a:pt x="44894" y="373380"/>
                      </a:lnTo>
                      <a:lnTo>
                        <a:pt x="44678" y="375780"/>
                      </a:lnTo>
                      <a:lnTo>
                        <a:pt x="45847" y="374650"/>
                      </a:lnTo>
                      <a:lnTo>
                        <a:pt x="46583" y="373380"/>
                      </a:lnTo>
                      <a:lnTo>
                        <a:pt x="45656" y="373380"/>
                      </a:lnTo>
                      <a:lnTo>
                        <a:pt x="45008" y="372110"/>
                      </a:lnTo>
                      <a:lnTo>
                        <a:pt x="46723" y="369570"/>
                      </a:lnTo>
                      <a:close/>
                    </a:path>
                    <a:path w="1174750" h="534035">
                      <a:moveTo>
                        <a:pt x="52819" y="366128"/>
                      </a:moveTo>
                      <a:lnTo>
                        <a:pt x="52489" y="365760"/>
                      </a:lnTo>
                      <a:lnTo>
                        <a:pt x="52527" y="366382"/>
                      </a:lnTo>
                      <a:lnTo>
                        <a:pt x="52819" y="366128"/>
                      </a:lnTo>
                      <a:close/>
                    </a:path>
                    <a:path w="1174750" h="534035">
                      <a:moveTo>
                        <a:pt x="55029" y="374650"/>
                      </a:moveTo>
                      <a:lnTo>
                        <a:pt x="54686" y="374650"/>
                      </a:lnTo>
                      <a:lnTo>
                        <a:pt x="54648" y="373380"/>
                      </a:lnTo>
                      <a:lnTo>
                        <a:pt x="54076" y="373380"/>
                      </a:lnTo>
                      <a:lnTo>
                        <a:pt x="53987" y="370840"/>
                      </a:lnTo>
                      <a:lnTo>
                        <a:pt x="54190" y="370840"/>
                      </a:lnTo>
                      <a:lnTo>
                        <a:pt x="54025" y="369570"/>
                      </a:lnTo>
                      <a:lnTo>
                        <a:pt x="53517" y="370840"/>
                      </a:lnTo>
                      <a:lnTo>
                        <a:pt x="53289" y="369570"/>
                      </a:lnTo>
                      <a:lnTo>
                        <a:pt x="52679" y="369570"/>
                      </a:lnTo>
                      <a:lnTo>
                        <a:pt x="52527" y="366382"/>
                      </a:lnTo>
                      <a:lnTo>
                        <a:pt x="47548" y="370840"/>
                      </a:lnTo>
                      <a:lnTo>
                        <a:pt x="47040" y="369570"/>
                      </a:lnTo>
                      <a:lnTo>
                        <a:pt x="46723" y="369570"/>
                      </a:lnTo>
                      <a:lnTo>
                        <a:pt x="48475" y="373380"/>
                      </a:lnTo>
                      <a:lnTo>
                        <a:pt x="49771" y="373380"/>
                      </a:lnTo>
                      <a:lnTo>
                        <a:pt x="46964" y="375920"/>
                      </a:lnTo>
                      <a:lnTo>
                        <a:pt x="55029" y="374650"/>
                      </a:lnTo>
                      <a:close/>
                    </a:path>
                    <a:path w="1174750" h="534035">
                      <a:moveTo>
                        <a:pt x="66497" y="295910"/>
                      </a:moveTo>
                      <a:lnTo>
                        <a:pt x="66421" y="295668"/>
                      </a:lnTo>
                      <a:lnTo>
                        <a:pt x="66255" y="295910"/>
                      </a:lnTo>
                      <a:lnTo>
                        <a:pt x="66497" y="295910"/>
                      </a:lnTo>
                      <a:close/>
                    </a:path>
                    <a:path w="1174750" h="534035">
                      <a:moveTo>
                        <a:pt x="113855" y="15519"/>
                      </a:moveTo>
                      <a:lnTo>
                        <a:pt x="113588" y="15240"/>
                      </a:lnTo>
                      <a:lnTo>
                        <a:pt x="113118" y="15240"/>
                      </a:lnTo>
                      <a:lnTo>
                        <a:pt x="113855" y="15519"/>
                      </a:lnTo>
                      <a:close/>
                    </a:path>
                    <a:path w="1174750" h="534035">
                      <a:moveTo>
                        <a:pt x="211264" y="281940"/>
                      </a:moveTo>
                      <a:close/>
                    </a:path>
                    <a:path w="1174750" h="534035">
                      <a:moveTo>
                        <a:pt x="241084" y="276860"/>
                      </a:moveTo>
                      <a:lnTo>
                        <a:pt x="240614" y="275590"/>
                      </a:lnTo>
                      <a:lnTo>
                        <a:pt x="239953" y="274332"/>
                      </a:lnTo>
                      <a:lnTo>
                        <a:pt x="240322" y="275590"/>
                      </a:lnTo>
                      <a:lnTo>
                        <a:pt x="240055" y="275590"/>
                      </a:lnTo>
                      <a:lnTo>
                        <a:pt x="240842" y="276860"/>
                      </a:lnTo>
                      <a:lnTo>
                        <a:pt x="241084" y="276860"/>
                      </a:lnTo>
                      <a:close/>
                    </a:path>
                    <a:path w="1174750" h="534035">
                      <a:moveTo>
                        <a:pt x="256882" y="252730"/>
                      </a:moveTo>
                      <a:lnTo>
                        <a:pt x="254800" y="252730"/>
                      </a:lnTo>
                      <a:lnTo>
                        <a:pt x="253809" y="254000"/>
                      </a:lnTo>
                      <a:lnTo>
                        <a:pt x="255485" y="254000"/>
                      </a:lnTo>
                      <a:lnTo>
                        <a:pt x="256882" y="252730"/>
                      </a:lnTo>
                      <a:close/>
                    </a:path>
                    <a:path w="1174750" h="534035">
                      <a:moveTo>
                        <a:pt x="285965" y="254000"/>
                      </a:moveTo>
                      <a:lnTo>
                        <a:pt x="283641" y="254000"/>
                      </a:lnTo>
                      <a:lnTo>
                        <a:pt x="283184" y="255270"/>
                      </a:lnTo>
                      <a:lnTo>
                        <a:pt x="282181" y="255270"/>
                      </a:lnTo>
                      <a:lnTo>
                        <a:pt x="282829" y="256540"/>
                      </a:lnTo>
                      <a:lnTo>
                        <a:pt x="285965" y="254000"/>
                      </a:lnTo>
                      <a:close/>
                    </a:path>
                    <a:path w="1174750" h="534035">
                      <a:moveTo>
                        <a:pt x="387731" y="274320"/>
                      </a:moveTo>
                      <a:lnTo>
                        <a:pt x="387477" y="273050"/>
                      </a:lnTo>
                      <a:lnTo>
                        <a:pt x="387489" y="273659"/>
                      </a:lnTo>
                      <a:lnTo>
                        <a:pt x="387731" y="274320"/>
                      </a:lnTo>
                      <a:close/>
                    </a:path>
                    <a:path w="1174750" h="534035">
                      <a:moveTo>
                        <a:pt x="465353" y="298450"/>
                      </a:moveTo>
                      <a:lnTo>
                        <a:pt x="462280" y="295910"/>
                      </a:lnTo>
                      <a:lnTo>
                        <a:pt x="460146" y="294640"/>
                      </a:lnTo>
                      <a:lnTo>
                        <a:pt x="457619" y="289560"/>
                      </a:lnTo>
                      <a:lnTo>
                        <a:pt x="456374" y="288290"/>
                      </a:lnTo>
                      <a:lnTo>
                        <a:pt x="454317" y="288290"/>
                      </a:lnTo>
                      <a:lnTo>
                        <a:pt x="453504" y="287020"/>
                      </a:lnTo>
                      <a:lnTo>
                        <a:pt x="452539" y="287020"/>
                      </a:lnTo>
                      <a:lnTo>
                        <a:pt x="450773" y="285750"/>
                      </a:lnTo>
                      <a:lnTo>
                        <a:pt x="449821" y="285750"/>
                      </a:lnTo>
                      <a:lnTo>
                        <a:pt x="448970" y="284480"/>
                      </a:lnTo>
                      <a:lnTo>
                        <a:pt x="447662" y="281940"/>
                      </a:lnTo>
                      <a:lnTo>
                        <a:pt x="446265" y="279400"/>
                      </a:lnTo>
                      <a:lnTo>
                        <a:pt x="444665" y="278130"/>
                      </a:lnTo>
                      <a:lnTo>
                        <a:pt x="443852" y="276860"/>
                      </a:lnTo>
                      <a:lnTo>
                        <a:pt x="442772" y="275590"/>
                      </a:lnTo>
                      <a:lnTo>
                        <a:pt x="439229" y="275590"/>
                      </a:lnTo>
                      <a:lnTo>
                        <a:pt x="438150" y="276860"/>
                      </a:lnTo>
                      <a:lnTo>
                        <a:pt x="435952" y="276860"/>
                      </a:lnTo>
                      <a:lnTo>
                        <a:pt x="434047" y="278130"/>
                      </a:lnTo>
                      <a:lnTo>
                        <a:pt x="433832" y="278130"/>
                      </a:lnTo>
                      <a:lnTo>
                        <a:pt x="433832" y="293776"/>
                      </a:lnTo>
                      <a:lnTo>
                        <a:pt x="433146" y="292100"/>
                      </a:lnTo>
                      <a:lnTo>
                        <a:pt x="432828" y="290830"/>
                      </a:lnTo>
                      <a:lnTo>
                        <a:pt x="433743" y="292100"/>
                      </a:lnTo>
                      <a:lnTo>
                        <a:pt x="433832" y="293776"/>
                      </a:lnTo>
                      <a:lnTo>
                        <a:pt x="433832" y="278130"/>
                      </a:lnTo>
                      <a:lnTo>
                        <a:pt x="431723" y="278130"/>
                      </a:lnTo>
                      <a:lnTo>
                        <a:pt x="430860" y="279400"/>
                      </a:lnTo>
                      <a:lnTo>
                        <a:pt x="431419" y="279400"/>
                      </a:lnTo>
                      <a:lnTo>
                        <a:pt x="431520" y="280670"/>
                      </a:lnTo>
                      <a:lnTo>
                        <a:pt x="431317" y="280670"/>
                      </a:lnTo>
                      <a:lnTo>
                        <a:pt x="430745" y="281940"/>
                      </a:lnTo>
                      <a:lnTo>
                        <a:pt x="428485" y="281940"/>
                      </a:lnTo>
                      <a:lnTo>
                        <a:pt x="428409" y="285750"/>
                      </a:lnTo>
                      <a:lnTo>
                        <a:pt x="427964" y="287020"/>
                      </a:lnTo>
                      <a:lnTo>
                        <a:pt x="427355" y="287020"/>
                      </a:lnTo>
                      <a:lnTo>
                        <a:pt x="426935" y="288290"/>
                      </a:lnTo>
                      <a:lnTo>
                        <a:pt x="422402" y="288290"/>
                      </a:lnTo>
                      <a:lnTo>
                        <a:pt x="421284" y="289560"/>
                      </a:lnTo>
                      <a:lnTo>
                        <a:pt x="420243" y="290830"/>
                      </a:lnTo>
                      <a:lnTo>
                        <a:pt x="416864" y="292100"/>
                      </a:lnTo>
                      <a:lnTo>
                        <a:pt x="415696" y="292100"/>
                      </a:lnTo>
                      <a:lnTo>
                        <a:pt x="415175" y="293370"/>
                      </a:lnTo>
                      <a:lnTo>
                        <a:pt x="413639" y="293370"/>
                      </a:lnTo>
                      <a:lnTo>
                        <a:pt x="413829" y="292100"/>
                      </a:lnTo>
                      <a:lnTo>
                        <a:pt x="412978" y="288290"/>
                      </a:lnTo>
                      <a:lnTo>
                        <a:pt x="412762" y="287020"/>
                      </a:lnTo>
                      <a:lnTo>
                        <a:pt x="411734" y="285750"/>
                      </a:lnTo>
                      <a:lnTo>
                        <a:pt x="410222" y="284480"/>
                      </a:lnTo>
                      <a:lnTo>
                        <a:pt x="407568" y="283210"/>
                      </a:lnTo>
                      <a:lnTo>
                        <a:pt x="405612" y="281940"/>
                      </a:lnTo>
                      <a:lnTo>
                        <a:pt x="405307" y="281940"/>
                      </a:lnTo>
                      <a:lnTo>
                        <a:pt x="400481" y="278130"/>
                      </a:lnTo>
                      <a:lnTo>
                        <a:pt x="395960" y="274320"/>
                      </a:lnTo>
                      <a:lnTo>
                        <a:pt x="391426" y="270510"/>
                      </a:lnTo>
                      <a:lnTo>
                        <a:pt x="391261" y="270510"/>
                      </a:lnTo>
                      <a:lnTo>
                        <a:pt x="390359" y="269240"/>
                      </a:lnTo>
                      <a:lnTo>
                        <a:pt x="389851" y="267970"/>
                      </a:lnTo>
                      <a:lnTo>
                        <a:pt x="390093" y="266700"/>
                      </a:lnTo>
                      <a:lnTo>
                        <a:pt x="390550" y="265430"/>
                      </a:lnTo>
                      <a:lnTo>
                        <a:pt x="391172" y="264160"/>
                      </a:lnTo>
                      <a:lnTo>
                        <a:pt x="390194" y="262890"/>
                      </a:lnTo>
                      <a:lnTo>
                        <a:pt x="383755" y="262890"/>
                      </a:lnTo>
                      <a:lnTo>
                        <a:pt x="380644" y="264160"/>
                      </a:lnTo>
                      <a:lnTo>
                        <a:pt x="379336" y="266700"/>
                      </a:lnTo>
                      <a:lnTo>
                        <a:pt x="363270" y="264160"/>
                      </a:lnTo>
                      <a:lnTo>
                        <a:pt x="363537" y="262890"/>
                      </a:lnTo>
                      <a:lnTo>
                        <a:pt x="363537" y="248920"/>
                      </a:lnTo>
                      <a:lnTo>
                        <a:pt x="363537" y="246380"/>
                      </a:lnTo>
                      <a:lnTo>
                        <a:pt x="363537" y="162560"/>
                      </a:lnTo>
                      <a:lnTo>
                        <a:pt x="363550" y="160020"/>
                      </a:lnTo>
                      <a:lnTo>
                        <a:pt x="363550" y="153670"/>
                      </a:lnTo>
                      <a:lnTo>
                        <a:pt x="363537" y="135890"/>
                      </a:lnTo>
                      <a:lnTo>
                        <a:pt x="363537" y="124460"/>
                      </a:lnTo>
                      <a:lnTo>
                        <a:pt x="363550" y="121920"/>
                      </a:lnTo>
                      <a:lnTo>
                        <a:pt x="363562" y="110490"/>
                      </a:lnTo>
                      <a:lnTo>
                        <a:pt x="363562" y="107950"/>
                      </a:lnTo>
                      <a:lnTo>
                        <a:pt x="363550" y="91440"/>
                      </a:lnTo>
                      <a:lnTo>
                        <a:pt x="363512" y="45720"/>
                      </a:lnTo>
                      <a:lnTo>
                        <a:pt x="362712" y="45720"/>
                      </a:lnTo>
                      <a:lnTo>
                        <a:pt x="342620" y="38100"/>
                      </a:lnTo>
                      <a:lnTo>
                        <a:pt x="339267" y="36830"/>
                      </a:lnTo>
                      <a:lnTo>
                        <a:pt x="328764" y="36830"/>
                      </a:lnTo>
                      <a:lnTo>
                        <a:pt x="323291" y="35560"/>
                      </a:lnTo>
                      <a:lnTo>
                        <a:pt x="319265" y="36830"/>
                      </a:lnTo>
                      <a:lnTo>
                        <a:pt x="320128" y="38100"/>
                      </a:lnTo>
                      <a:lnTo>
                        <a:pt x="316979" y="36830"/>
                      </a:lnTo>
                      <a:lnTo>
                        <a:pt x="312153" y="36830"/>
                      </a:lnTo>
                      <a:lnTo>
                        <a:pt x="311556" y="38011"/>
                      </a:lnTo>
                      <a:lnTo>
                        <a:pt x="311556" y="255270"/>
                      </a:lnTo>
                      <a:lnTo>
                        <a:pt x="309714" y="256413"/>
                      </a:lnTo>
                      <a:lnTo>
                        <a:pt x="310375" y="255270"/>
                      </a:lnTo>
                      <a:lnTo>
                        <a:pt x="311556" y="255270"/>
                      </a:lnTo>
                      <a:lnTo>
                        <a:pt x="311556" y="38011"/>
                      </a:lnTo>
                      <a:lnTo>
                        <a:pt x="304038" y="38100"/>
                      </a:lnTo>
                      <a:lnTo>
                        <a:pt x="297611" y="35560"/>
                      </a:lnTo>
                      <a:lnTo>
                        <a:pt x="295325" y="33020"/>
                      </a:lnTo>
                      <a:lnTo>
                        <a:pt x="287324" y="33020"/>
                      </a:lnTo>
                      <a:lnTo>
                        <a:pt x="287324" y="246380"/>
                      </a:lnTo>
                      <a:lnTo>
                        <a:pt x="286270" y="247650"/>
                      </a:lnTo>
                      <a:lnTo>
                        <a:pt x="282143" y="247650"/>
                      </a:lnTo>
                      <a:lnTo>
                        <a:pt x="281736" y="247650"/>
                      </a:lnTo>
                      <a:lnTo>
                        <a:pt x="284086" y="246380"/>
                      </a:lnTo>
                      <a:lnTo>
                        <a:pt x="287324" y="246380"/>
                      </a:lnTo>
                      <a:lnTo>
                        <a:pt x="287324" y="33020"/>
                      </a:lnTo>
                      <a:lnTo>
                        <a:pt x="282879" y="31750"/>
                      </a:lnTo>
                      <a:lnTo>
                        <a:pt x="276758" y="33020"/>
                      </a:lnTo>
                      <a:lnTo>
                        <a:pt x="274637" y="33020"/>
                      </a:lnTo>
                      <a:lnTo>
                        <a:pt x="264121" y="31750"/>
                      </a:lnTo>
                      <a:lnTo>
                        <a:pt x="255866" y="29210"/>
                      </a:lnTo>
                      <a:lnTo>
                        <a:pt x="248704" y="27940"/>
                      </a:lnTo>
                      <a:lnTo>
                        <a:pt x="241541" y="26670"/>
                      </a:lnTo>
                      <a:lnTo>
                        <a:pt x="235750" y="25400"/>
                      </a:lnTo>
                      <a:lnTo>
                        <a:pt x="229158" y="26670"/>
                      </a:lnTo>
                      <a:lnTo>
                        <a:pt x="215366" y="24130"/>
                      </a:lnTo>
                      <a:lnTo>
                        <a:pt x="217817" y="27940"/>
                      </a:lnTo>
                      <a:lnTo>
                        <a:pt x="216268" y="27940"/>
                      </a:lnTo>
                      <a:lnTo>
                        <a:pt x="214553" y="26670"/>
                      </a:lnTo>
                      <a:lnTo>
                        <a:pt x="210591" y="26670"/>
                      </a:lnTo>
                      <a:lnTo>
                        <a:pt x="208635" y="24130"/>
                      </a:lnTo>
                      <a:lnTo>
                        <a:pt x="209169" y="24130"/>
                      </a:lnTo>
                      <a:lnTo>
                        <a:pt x="209334" y="22860"/>
                      </a:lnTo>
                      <a:lnTo>
                        <a:pt x="204990" y="22860"/>
                      </a:lnTo>
                      <a:lnTo>
                        <a:pt x="203085" y="21590"/>
                      </a:lnTo>
                      <a:lnTo>
                        <a:pt x="200837" y="20320"/>
                      </a:lnTo>
                      <a:lnTo>
                        <a:pt x="199021" y="19050"/>
                      </a:lnTo>
                      <a:lnTo>
                        <a:pt x="199440" y="19050"/>
                      </a:lnTo>
                      <a:lnTo>
                        <a:pt x="202145" y="17780"/>
                      </a:lnTo>
                      <a:lnTo>
                        <a:pt x="202552" y="16510"/>
                      </a:lnTo>
                      <a:lnTo>
                        <a:pt x="203200" y="15240"/>
                      </a:lnTo>
                      <a:lnTo>
                        <a:pt x="191985" y="15240"/>
                      </a:lnTo>
                      <a:lnTo>
                        <a:pt x="187985" y="13970"/>
                      </a:lnTo>
                      <a:lnTo>
                        <a:pt x="178219" y="13970"/>
                      </a:lnTo>
                      <a:lnTo>
                        <a:pt x="177673" y="15240"/>
                      </a:lnTo>
                      <a:lnTo>
                        <a:pt x="174167" y="17780"/>
                      </a:lnTo>
                      <a:lnTo>
                        <a:pt x="171437" y="16510"/>
                      </a:lnTo>
                      <a:lnTo>
                        <a:pt x="167233" y="13970"/>
                      </a:lnTo>
                      <a:lnTo>
                        <a:pt x="169265" y="12700"/>
                      </a:lnTo>
                      <a:lnTo>
                        <a:pt x="168681" y="11430"/>
                      </a:lnTo>
                      <a:lnTo>
                        <a:pt x="166890" y="7620"/>
                      </a:lnTo>
                      <a:lnTo>
                        <a:pt x="163207" y="11430"/>
                      </a:lnTo>
                      <a:lnTo>
                        <a:pt x="161734" y="10160"/>
                      </a:lnTo>
                      <a:lnTo>
                        <a:pt x="163118" y="8890"/>
                      </a:lnTo>
                      <a:lnTo>
                        <a:pt x="161721" y="7620"/>
                      </a:lnTo>
                      <a:lnTo>
                        <a:pt x="159613" y="8890"/>
                      </a:lnTo>
                      <a:lnTo>
                        <a:pt x="159232" y="10160"/>
                      </a:lnTo>
                      <a:lnTo>
                        <a:pt x="159359" y="10160"/>
                      </a:lnTo>
                      <a:lnTo>
                        <a:pt x="160274" y="10160"/>
                      </a:lnTo>
                      <a:lnTo>
                        <a:pt x="160439" y="12700"/>
                      </a:lnTo>
                      <a:lnTo>
                        <a:pt x="159359" y="10160"/>
                      </a:lnTo>
                      <a:lnTo>
                        <a:pt x="157327" y="11430"/>
                      </a:lnTo>
                      <a:lnTo>
                        <a:pt x="155968" y="12700"/>
                      </a:lnTo>
                      <a:lnTo>
                        <a:pt x="155562" y="13970"/>
                      </a:lnTo>
                      <a:lnTo>
                        <a:pt x="155816" y="13970"/>
                      </a:lnTo>
                      <a:lnTo>
                        <a:pt x="154584" y="16510"/>
                      </a:lnTo>
                      <a:lnTo>
                        <a:pt x="153441" y="15240"/>
                      </a:lnTo>
                      <a:lnTo>
                        <a:pt x="150558" y="15240"/>
                      </a:lnTo>
                      <a:lnTo>
                        <a:pt x="149656" y="16510"/>
                      </a:lnTo>
                      <a:lnTo>
                        <a:pt x="150647" y="17780"/>
                      </a:lnTo>
                      <a:lnTo>
                        <a:pt x="149085" y="17780"/>
                      </a:lnTo>
                      <a:lnTo>
                        <a:pt x="148958" y="13970"/>
                      </a:lnTo>
                      <a:lnTo>
                        <a:pt x="149948" y="11430"/>
                      </a:lnTo>
                      <a:lnTo>
                        <a:pt x="150723" y="12700"/>
                      </a:lnTo>
                      <a:lnTo>
                        <a:pt x="152438" y="11430"/>
                      </a:lnTo>
                      <a:lnTo>
                        <a:pt x="154152" y="10160"/>
                      </a:lnTo>
                      <a:lnTo>
                        <a:pt x="155625" y="8890"/>
                      </a:lnTo>
                      <a:lnTo>
                        <a:pt x="154736" y="8890"/>
                      </a:lnTo>
                      <a:lnTo>
                        <a:pt x="151206" y="7620"/>
                      </a:lnTo>
                      <a:lnTo>
                        <a:pt x="149034" y="7620"/>
                      </a:lnTo>
                      <a:lnTo>
                        <a:pt x="144970" y="6350"/>
                      </a:lnTo>
                      <a:lnTo>
                        <a:pt x="141566" y="5080"/>
                      </a:lnTo>
                      <a:lnTo>
                        <a:pt x="140423" y="2540"/>
                      </a:lnTo>
                      <a:lnTo>
                        <a:pt x="141312" y="2540"/>
                      </a:lnTo>
                      <a:lnTo>
                        <a:pt x="142405" y="1270"/>
                      </a:lnTo>
                      <a:lnTo>
                        <a:pt x="143433" y="1270"/>
                      </a:lnTo>
                      <a:lnTo>
                        <a:pt x="141516" y="0"/>
                      </a:lnTo>
                      <a:lnTo>
                        <a:pt x="141046" y="1270"/>
                      </a:lnTo>
                      <a:lnTo>
                        <a:pt x="129082" y="11430"/>
                      </a:lnTo>
                      <a:lnTo>
                        <a:pt x="126365" y="12700"/>
                      </a:lnTo>
                      <a:lnTo>
                        <a:pt x="119748" y="16421"/>
                      </a:lnTo>
                      <a:lnTo>
                        <a:pt x="119748" y="293370"/>
                      </a:lnTo>
                      <a:lnTo>
                        <a:pt x="118287" y="292100"/>
                      </a:lnTo>
                      <a:lnTo>
                        <a:pt x="117309" y="290830"/>
                      </a:lnTo>
                      <a:lnTo>
                        <a:pt x="118287" y="290830"/>
                      </a:lnTo>
                      <a:lnTo>
                        <a:pt x="119405" y="292100"/>
                      </a:lnTo>
                      <a:lnTo>
                        <a:pt x="119748" y="293370"/>
                      </a:lnTo>
                      <a:lnTo>
                        <a:pt x="119748" y="16421"/>
                      </a:lnTo>
                      <a:lnTo>
                        <a:pt x="119583" y="16510"/>
                      </a:lnTo>
                      <a:lnTo>
                        <a:pt x="116484" y="16510"/>
                      </a:lnTo>
                      <a:lnTo>
                        <a:pt x="113855" y="15519"/>
                      </a:lnTo>
                      <a:lnTo>
                        <a:pt x="114782" y="16510"/>
                      </a:lnTo>
                      <a:lnTo>
                        <a:pt x="114554" y="16510"/>
                      </a:lnTo>
                      <a:lnTo>
                        <a:pt x="114554" y="290830"/>
                      </a:lnTo>
                      <a:lnTo>
                        <a:pt x="113842" y="290830"/>
                      </a:lnTo>
                      <a:lnTo>
                        <a:pt x="112471" y="288378"/>
                      </a:lnTo>
                      <a:lnTo>
                        <a:pt x="112471" y="289560"/>
                      </a:lnTo>
                      <a:lnTo>
                        <a:pt x="112407" y="288290"/>
                      </a:lnTo>
                      <a:lnTo>
                        <a:pt x="114046" y="289560"/>
                      </a:lnTo>
                      <a:lnTo>
                        <a:pt x="114554" y="290830"/>
                      </a:lnTo>
                      <a:lnTo>
                        <a:pt x="114554" y="16510"/>
                      </a:lnTo>
                      <a:lnTo>
                        <a:pt x="112204" y="16510"/>
                      </a:lnTo>
                      <a:lnTo>
                        <a:pt x="110363" y="17513"/>
                      </a:lnTo>
                      <a:lnTo>
                        <a:pt x="110363" y="293370"/>
                      </a:lnTo>
                      <a:lnTo>
                        <a:pt x="109524" y="294068"/>
                      </a:lnTo>
                      <a:lnTo>
                        <a:pt x="108775" y="293370"/>
                      </a:lnTo>
                      <a:lnTo>
                        <a:pt x="110363" y="293370"/>
                      </a:lnTo>
                      <a:lnTo>
                        <a:pt x="110363" y="17513"/>
                      </a:lnTo>
                      <a:lnTo>
                        <a:pt x="109867" y="17780"/>
                      </a:lnTo>
                      <a:lnTo>
                        <a:pt x="105105" y="16510"/>
                      </a:lnTo>
                      <a:lnTo>
                        <a:pt x="103568" y="16510"/>
                      </a:lnTo>
                      <a:lnTo>
                        <a:pt x="103238" y="15913"/>
                      </a:lnTo>
                      <a:lnTo>
                        <a:pt x="103238" y="16510"/>
                      </a:lnTo>
                      <a:lnTo>
                        <a:pt x="101460" y="17780"/>
                      </a:lnTo>
                      <a:lnTo>
                        <a:pt x="99656" y="17780"/>
                      </a:lnTo>
                      <a:lnTo>
                        <a:pt x="100787" y="16510"/>
                      </a:lnTo>
                      <a:lnTo>
                        <a:pt x="103238" y="16510"/>
                      </a:lnTo>
                      <a:lnTo>
                        <a:pt x="103238" y="15913"/>
                      </a:lnTo>
                      <a:lnTo>
                        <a:pt x="102870" y="15240"/>
                      </a:lnTo>
                      <a:lnTo>
                        <a:pt x="99898" y="15240"/>
                      </a:lnTo>
                      <a:lnTo>
                        <a:pt x="97040" y="16510"/>
                      </a:lnTo>
                      <a:lnTo>
                        <a:pt x="93814" y="19050"/>
                      </a:lnTo>
                      <a:lnTo>
                        <a:pt x="91897" y="20320"/>
                      </a:lnTo>
                      <a:lnTo>
                        <a:pt x="90233" y="20320"/>
                      </a:lnTo>
                      <a:lnTo>
                        <a:pt x="91465" y="21590"/>
                      </a:lnTo>
                      <a:lnTo>
                        <a:pt x="92176" y="20320"/>
                      </a:lnTo>
                      <a:lnTo>
                        <a:pt x="93764" y="22860"/>
                      </a:lnTo>
                      <a:lnTo>
                        <a:pt x="95999" y="25400"/>
                      </a:lnTo>
                      <a:lnTo>
                        <a:pt x="97815" y="24130"/>
                      </a:lnTo>
                      <a:lnTo>
                        <a:pt x="98348" y="24130"/>
                      </a:lnTo>
                      <a:lnTo>
                        <a:pt x="95732" y="26670"/>
                      </a:lnTo>
                      <a:lnTo>
                        <a:pt x="94576" y="24130"/>
                      </a:lnTo>
                      <a:lnTo>
                        <a:pt x="93929" y="25400"/>
                      </a:lnTo>
                      <a:lnTo>
                        <a:pt x="93573" y="27940"/>
                      </a:lnTo>
                      <a:lnTo>
                        <a:pt x="94132" y="30480"/>
                      </a:lnTo>
                      <a:lnTo>
                        <a:pt x="94754" y="30480"/>
                      </a:lnTo>
                      <a:lnTo>
                        <a:pt x="94869" y="31750"/>
                      </a:lnTo>
                      <a:lnTo>
                        <a:pt x="94475" y="31750"/>
                      </a:lnTo>
                      <a:lnTo>
                        <a:pt x="93268" y="30480"/>
                      </a:lnTo>
                      <a:lnTo>
                        <a:pt x="92849" y="29210"/>
                      </a:lnTo>
                      <a:lnTo>
                        <a:pt x="91452" y="27940"/>
                      </a:lnTo>
                      <a:lnTo>
                        <a:pt x="91224" y="29210"/>
                      </a:lnTo>
                      <a:lnTo>
                        <a:pt x="89789" y="29210"/>
                      </a:lnTo>
                      <a:lnTo>
                        <a:pt x="90373" y="27940"/>
                      </a:lnTo>
                      <a:lnTo>
                        <a:pt x="91757" y="26670"/>
                      </a:lnTo>
                      <a:lnTo>
                        <a:pt x="92113" y="25400"/>
                      </a:lnTo>
                      <a:lnTo>
                        <a:pt x="88988" y="25400"/>
                      </a:lnTo>
                      <a:lnTo>
                        <a:pt x="89903" y="24130"/>
                      </a:lnTo>
                      <a:lnTo>
                        <a:pt x="93586" y="24130"/>
                      </a:lnTo>
                      <a:lnTo>
                        <a:pt x="92163" y="22860"/>
                      </a:lnTo>
                      <a:lnTo>
                        <a:pt x="90728" y="21590"/>
                      </a:lnTo>
                      <a:lnTo>
                        <a:pt x="89776" y="22860"/>
                      </a:lnTo>
                      <a:lnTo>
                        <a:pt x="89192" y="21590"/>
                      </a:lnTo>
                      <a:lnTo>
                        <a:pt x="86436" y="24130"/>
                      </a:lnTo>
                      <a:lnTo>
                        <a:pt x="83261" y="25400"/>
                      </a:lnTo>
                      <a:lnTo>
                        <a:pt x="80264" y="26670"/>
                      </a:lnTo>
                      <a:lnTo>
                        <a:pt x="81902" y="26670"/>
                      </a:lnTo>
                      <a:lnTo>
                        <a:pt x="79476" y="29210"/>
                      </a:lnTo>
                      <a:lnTo>
                        <a:pt x="74422" y="30480"/>
                      </a:lnTo>
                      <a:lnTo>
                        <a:pt x="67513" y="30480"/>
                      </a:lnTo>
                      <a:lnTo>
                        <a:pt x="67043" y="31750"/>
                      </a:lnTo>
                      <a:lnTo>
                        <a:pt x="65024" y="32816"/>
                      </a:lnTo>
                      <a:lnTo>
                        <a:pt x="66065" y="31750"/>
                      </a:lnTo>
                      <a:lnTo>
                        <a:pt x="65633" y="31750"/>
                      </a:lnTo>
                      <a:lnTo>
                        <a:pt x="65049" y="30480"/>
                      </a:lnTo>
                      <a:lnTo>
                        <a:pt x="65595" y="30480"/>
                      </a:lnTo>
                      <a:lnTo>
                        <a:pt x="64782" y="29210"/>
                      </a:lnTo>
                      <a:lnTo>
                        <a:pt x="64731" y="32956"/>
                      </a:lnTo>
                      <a:lnTo>
                        <a:pt x="61493" y="33020"/>
                      </a:lnTo>
                      <a:lnTo>
                        <a:pt x="63080" y="31750"/>
                      </a:lnTo>
                      <a:lnTo>
                        <a:pt x="64731" y="32956"/>
                      </a:lnTo>
                      <a:lnTo>
                        <a:pt x="64731" y="29235"/>
                      </a:lnTo>
                      <a:lnTo>
                        <a:pt x="62014" y="30480"/>
                      </a:lnTo>
                      <a:lnTo>
                        <a:pt x="60858" y="33020"/>
                      </a:lnTo>
                      <a:lnTo>
                        <a:pt x="57899" y="34556"/>
                      </a:lnTo>
                      <a:lnTo>
                        <a:pt x="57899" y="107950"/>
                      </a:lnTo>
                      <a:lnTo>
                        <a:pt x="57772" y="110490"/>
                      </a:lnTo>
                      <a:lnTo>
                        <a:pt x="55219" y="111569"/>
                      </a:lnTo>
                      <a:lnTo>
                        <a:pt x="55435" y="110490"/>
                      </a:lnTo>
                      <a:lnTo>
                        <a:pt x="56642" y="110490"/>
                      </a:lnTo>
                      <a:lnTo>
                        <a:pt x="57454" y="109220"/>
                      </a:lnTo>
                      <a:lnTo>
                        <a:pt x="57899" y="107950"/>
                      </a:lnTo>
                      <a:lnTo>
                        <a:pt x="57899" y="34556"/>
                      </a:lnTo>
                      <a:lnTo>
                        <a:pt x="55956" y="35560"/>
                      </a:lnTo>
                      <a:lnTo>
                        <a:pt x="53555" y="39370"/>
                      </a:lnTo>
                      <a:lnTo>
                        <a:pt x="47586" y="44450"/>
                      </a:lnTo>
                      <a:lnTo>
                        <a:pt x="22250" y="64770"/>
                      </a:lnTo>
                      <a:lnTo>
                        <a:pt x="18681" y="66040"/>
                      </a:lnTo>
                      <a:lnTo>
                        <a:pt x="2552" y="66040"/>
                      </a:lnTo>
                      <a:lnTo>
                        <a:pt x="2578" y="69850"/>
                      </a:lnTo>
                      <a:lnTo>
                        <a:pt x="2336" y="73660"/>
                      </a:lnTo>
                      <a:lnTo>
                        <a:pt x="1041" y="76200"/>
                      </a:lnTo>
                      <a:lnTo>
                        <a:pt x="901" y="76200"/>
                      </a:lnTo>
                      <a:lnTo>
                        <a:pt x="101" y="77470"/>
                      </a:lnTo>
                      <a:lnTo>
                        <a:pt x="0" y="80010"/>
                      </a:lnTo>
                      <a:lnTo>
                        <a:pt x="215" y="80010"/>
                      </a:lnTo>
                      <a:lnTo>
                        <a:pt x="4457" y="82550"/>
                      </a:lnTo>
                      <a:lnTo>
                        <a:pt x="5194" y="82550"/>
                      </a:lnTo>
                      <a:lnTo>
                        <a:pt x="7620" y="85090"/>
                      </a:lnTo>
                      <a:lnTo>
                        <a:pt x="9105" y="85090"/>
                      </a:lnTo>
                      <a:lnTo>
                        <a:pt x="15811" y="86360"/>
                      </a:lnTo>
                      <a:lnTo>
                        <a:pt x="19011" y="90170"/>
                      </a:lnTo>
                      <a:lnTo>
                        <a:pt x="23837" y="92710"/>
                      </a:lnTo>
                      <a:lnTo>
                        <a:pt x="23749" y="91440"/>
                      </a:lnTo>
                      <a:lnTo>
                        <a:pt x="25654" y="92710"/>
                      </a:lnTo>
                      <a:lnTo>
                        <a:pt x="27305" y="93980"/>
                      </a:lnTo>
                      <a:lnTo>
                        <a:pt x="28282" y="95250"/>
                      </a:lnTo>
                      <a:lnTo>
                        <a:pt x="31813" y="96520"/>
                      </a:lnTo>
                      <a:lnTo>
                        <a:pt x="33515" y="97790"/>
                      </a:lnTo>
                      <a:lnTo>
                        <a:pt x="35598" y="100330"/>
                      </a:lnTo>
                      <a:lnTo>
                        <a:pt x="36499" y="102870"/>
                      </a:lnTo>
                      <a:lnTo>
                        <a:pt x="37299" y="105410"/>
                      </a:lnTo>
                      <a:lnTo>
                        <a:pt x="37020" y="106680"/>
                      </a:lnTo>
                      <a:lnTo>
                        <a:pt x="38646" y="110490"/>
                      </a:lnTo>
                      <a:lnTo>
                        <a:pt x="47066" y="110490"/>
                      </a:lnTo>
                      <a:lnTo>
                        <a:pt x="48971" y="111760"/>
                      </a:lnTo>
                      <a:lnTo>
                        <a:pt x="51155" y="111760"/>
                      </a:lnTo>
                      <a:lnTo>
                        <a:pt x="50965" y="110490"/>
                      </a:lnTo>
                      <a:lnTo>
                        <a:pt x="53530" y="110490"/>
                      </a:lnTo>
                      <a:lnTo>
                        <a:pt x="53733" y="111760"/>
                      </a:lnTo>
                      <a:lnTo>
                        <a:pt x="54762" y="111760"/>
                      </a:lnTo>
                      <a:lnTo>
                        <a:pt x="55168" y="111760"/>
                      </a:lnTo>
                      <a:lnTo>
                        <a:pt x="57785" y="111760"/>
                      </a:lnTo>
                      <a:lnTo>
                        <a:pt x="58978" y="111760"/>
                      </a:lnTo>
                      <a:lnTo>
                        <a:pt x="58737" y="110490"/>
                      </a:lnTo>
                      <a:lnTo>
                        <a:pt x="59486" y="110490"/>
                      </a:lnTo>
                      <a:lnTo>
                        <a:pt x="59537" y="111760"/>
                      </a:lnTo>
                      <a:lnTo>
                        <a:pt x="61277" y="111760"/>
                      </a:lnTo>
                      <a:lnTo>
                        <a:pt x="65341" y="110490"/>
                      </a:lnTo>
                      <a:lnTo>
                        <a:pt x="67144" y="111760"/>
                      </a:lnTo>
                      <a:lnTo>
                        <a:pt x="69964" y="111760"/>
                      </a:lnTo>
                      <a:lnTo>
                        <a:pt x="67932" y="114300"/>
                      </a:lnTo>
                      <a:lnTo>
                        <a:pt x="63017" y="115570"/>
                      </a:lnTo>
                      <a:lnTo>
                        <a:pt x="66243" y="120650"/>
                      </a:lnTo>
                      <a:lnTo>
                        <a:pt x="69430" y="120650"/>
                      </a:lnTo>
                      <a:lnTo>
                        <a:pt x="69443" y="121920"/>
                      </a:lnTo>
                      <a:lnTo>
                        <a:pt x="63207" y="121920"/>
                      </a:lnTo>
                      <a:lnTo>
                        <a:pt x="61518" y="119380"/>
                      </a:lnTo>
                      <a:lnTo>
                        <a:pt x="62966" y="118110"/>
                      </a:lnTo>
                      <a:lnTo>
                        <a:pt x="62623" y="116840"/>
                      </a:lnTo>
                      <a:lnTo>
                        <a:pt x="60375" y="115570"/>
                      </a:lnTo>
                      <a:lnTo>
                        <a:pt x="58928" y="114300"/>
                      </a:lnTo>
                      <a:lnTo>
                        <a:pt x="57785" y="111760"/>
                      </a:lnTo>
                      <a:lnTo>
                        <a:pt x="55092" y="115570"/>
                      </a:lnTo>
                      <a:lnTo>
                        <a:pt x="54521" y="116840"/>
                      </a:lnTo>
                      <a:lnTo>
                        <a:pt x="57543" y="119380"/>
                      </a:lnTo>
                      <a:lnTo>
                        <a:pt x="59143" y="118110"/>
                      </a:lnTo>
                      <a:lnTo>
                        <a:pt x="61391" y="120650"/>
                      </a:lnTo>
                      <a:lnTo>
                        <a:pt x="61950" y="120650"/>
                      </a:lnTo>
                      <a:lnTo>
                        <a:pt x="63969" y="123190"/>
                      </a:lnTo>
                      <a:lnTo>
                        <a:pt x="64858" y="123190"/>
                      </a:lnTo>
                      <a:lnTo>
                        <a:pt x="64744" y="125730"/>
                      </a:lnTo>
                      <a:lnTo>
                        <a:pt x="63512" y="127000"/>
                      </a:lnTo>
                      <a:lnTo>
                        <a:pt x="63525" y="130810"/>
                      </a:lnTo>
                      <a:lnTo>
                        <a:pt x="65290" y="127000"/>
                      </a:lnTo>
                      <a:lnTo>
                        <a:pt x="67906" y="124460"/>
                      </a:lnTo>
                      <a:lnTo>
                        <a:pt x="73863" y="127000"/>
                      </a:lnTo>
                      <a:lnTo>
                        <a:pt x="76720" y="128270"/>
                      </a:lnTo>
                      <a:lnTo>
                        <a:pt x="77317" y="129540"/>
                      </a:lnTo>
                      <a:lnTo>
                        <a:pt x="77038" y="132080"/>
                      </a:lnTo>
                      <a:lnTo>
                        <a:pt x="74891" y="134620"/>
                      </a:lnTo>
                      <a:lnTo>
                        <a:pt x="76187" y="129540"/>
                      </a:lnTo>
                      <a:lnTo>
                        <a:pt x="72580" y="130810"/>
                      </a:lnTo>
                      <a:lnTo>
                        <a:pt x="70256" y="130810"/>
                      </a:lnTo>
                      <a:lnTo>
                        <a:pt x="67843" y="132080"/>
                      </a:lnTo>
                      <a:lnTo>
                        <a:pt x="66929" y="133350"/>
                      </a:lnTo>
                      <a:lnTo>
                        <a:pt x="66167" y="133350"/>
                      </a:lnTo>
                      <a:lnTo>
                        <a:pt x="66675" y="134620"/>
                      </a:lnTo>
                      <a:lnTo>
                        <a:pt x="65951" y="134620"/>
                      </a:lnTo>
                      <a:lnTo>
                        <a:pt x="64554" y="135890"/>
                      </a:lnTo>
                      <a:lnTo>
                        <a:pt x="64223" y="135890"/>
                      </a:lnTo>
                      <a:lnTo>
                        <a:pt x="53467" y="134620"/>
                      </a:lnTo>
                      <a:lnTo>
                        <a:pt x="53467" y="135890"/>
                      </a:lnTo>
                      <a:lnTo>
                        <a:pt x="49974" y="134620"/>
                      </a:lnTo>
                      <a:lnTo>
                        <a:pt x="46482" y="133350"/>
                      </a:lnTo>
                      <a:lnTo>
                        <a:pt x="41643" y="133350"/>
                      </a:lnTo>
                      <a:lnTo>
                        <a:pt x="40462" y="134620"/>
                      </a:lnTo>
                      <a:lnTo>
                        <a:pt x="37592" y="133350"/>
                      </a:lnTo>
                      <a:lnTo>
                        <a:pt x="33794" y="132080"/>
                      </a:lnTo>
                      <a:lnTo>
                        <a:pt x="33756" y="130810"/>
                      </a:lnTo>
                      <a:lnTo>
                        <a:pt x="37160" y="130810"/>
                      </a:lnTo>
                      <a:lnTo>
                        <a:pt x="35547" y="127000"/>
                      </a:lnTo>
                      <a:lnTo>
                        <a:pt x="37236" y="124460"/>
                      </a:lnTo>
                      <a:lnTo>
                        <a:pt x="38658" y="123190"/>
                      </a:lnTo>
                      <a:lnTo>
                        <a:pt x="36296" y="121920"/>
                      </a:lnTo>
                      <a:lnTo>
                        <a:pt x="31775" y="121920"/>
                      </a:lnTo>
                      <a:lnTo>
                        <a:pt x="23114" y="123190"/>
                      </a:lnTo>
                      <a:lnTo>
                        <a:pt x="21145" y="124460"/>
                      </a:lnTo>
                      <a:lnTo>
                        <a:pt x="18707" y="127000"/>
                      </a:lnTo>
                      <a:lnTo>
                        <a:pt x="19443" y="125730"/>
                      </a:lnTo>
                      <a:lnTo>
                        <a:pt x="15201" y="124460"/>
                      </a:lnTo>
                      <a:lnTo>
                        <a:pt x="10896" y="127000"/>
                      </a:lnTo>
                      <a:lnTo>
                        <a:pt x="7632" y="129540"/>
                      </a:lnTo>
                      <a:lnTo>
                        <a:pt x="6642" y="129540"/>
                      </a:lnTo>
                      <a:lnTo>
                        <a:pt x="10223" y="130810"/>
                      </a:lnTo>
                      <a:lnTo>
                        <a:pt x="11442" y="132080"/>
                      </a:lnTo>
                      <a:lnTo>
                        <a:pt x="12674" y="132080"/>
                      </a:lnTo>
                      <a:lnTo>
                        <a:pt x="10871" y="133350"/>
                      </a:lnTo>
                      <a:lnTo>
                        <a:pt x="6273" y="133350"/>
                      </a:lnTo>
                      <a:lnTo>
                        <a:pt x="4711" y="132702"/>
                      </a:lnTo>
                      <a:lnTo>
                        <a:pt x="4711" y="153670"/>
                      </a:lnTo>
                      <a:lnTo>
                        <a:pt x="3416" y="153670"/>
                      </a:lnTo>
                      <a:lnTo>
                        <a:pt x="2057" y="152400"/>
                      </a:lnTo>
                      <a:lnTo>
                        <a:pt x="2933" y="152400"/>
                      </a:lnTo>
                      <a:lnTo>
                        <a:pt x="4711" y="153670"/>
                      </a:lnTo>
                      <a:lnTo>
                        <a:pt x="4711" y="132702"/>
                      </a:lnTo>
                      <a:lnTo>
                        <a:pt x="3225" y="132080"/>
                      </a:lnTo>
                      <a:lnTo>
                        <a:pt x="1612" y="130810"/>
                      </a:lnTo>
                      <a:lnTo>
                        <a:pt x="914" y="132080"/>
                      </a:lnTo>
                      <a:lnTo>
                        <a:pt x="0" y="132080"/>
                      </a:lnTo>
                      <a:lnTo>
                        <a:pt x="0" y="151130"/>
                      </a:lnTo>
                      <a:lnTo>
                        <a:pt x="1041" y="152400"/>
                      </a:lnTo>
                      <a:lnTo>
                        <a:pt x="368" y="152400"/>
                      </a:lnTo>
                      <a:lnTo>
                        <a:pt x="0" y="153670"/>
                      </a:lnTo>
                      <a:lnTo>
                        <a:pt x="0" y="161290"/>
                      </a:lnTo>
                      <a:lnTo>
                        <a:pt x="825" y="161290"/>
                      </a:lnTo>
                      <a:lnTo>
                        <a:pt x="0" y="162560"/>
                      </a:lnTo>
                      <a:lnTo>
                        <a:pt x="0" y="166370"/>
                      </a:lnTo>
                      <a:lnTo>
                        <a:pt x="469" y="166370"/>
                      </a:lnTo>
                      <a:lnTo>
                        <a:pt x="4267" y="168910"/>
                      </a:lnTo>
                      <a:lnTo>
                        <a:pt x="7150" y="168910"/>
                      </a:lnTo>
                      <a:lnTo>
                        <a:pt x="13385" y="170180"/>
                      </a:lnTo>
                      <a:lnTo>
                        <a:pt x="19621" y="172720"/>
                      </a:lnTo>
                      <a:lnTo>
                        <a:pt x="23152" y="171450"/>
                      </a:lnTo>
                      <a:lnTo>
                        <a:pt x="20116" y="171450"/>
                      </a:lnTo>
                      <a:lnTo>
                        <a:pt x="22618" y="170180"/>
                      </a:lnTo>
                      <a:lnTo>
                        <a:pt x="26441" y="170180"/>
                      </a:lnTo>
                      <a:lnTo>
                        <a:pt x="28422" y="168910"/>
                      </a:lnTo>
                      <a:lnTo>
                        <a:pt x="40805" y="168910"/>
                      </a:lnTo>
                      <a:lnTo>
                        <a:pt x="43484" y="170180"/>
                      </a:lnTo>
                      <a:lnTo>
                        <a:pt x="44640" y="171450"/>
                      </a:lnTo>
                      <a:lnTo>
                        <a:pt x="46443" y="173990"/>
                      </a:lnTo>
                      <a:lnTo>
                        <a:pt x="46570" y="172720"/>
                      </a:lnTo>
                      <a:lnTo>
                        <a:pt x="47294" y="171450"/>
                      </a:lnTo>
                      <a:lnTo>
                        <a:pt x="48196" y="171450"/>
                      </a:lnTo>
                      <a:lnTo>
                        <a:pt x="47802" y="170180"/>
                      </a:lnTo>
                      <a:lnTo>
                        <a:pt x="46278" y="170180"/>
                      </a:lnTo>
                      <a:lnTo>
                        <a:pt x="44081" y="168910"/>
                      </a:lnTo>
                      <a:lnTo>
                        <a:pt x="43243" y="168910"/>
                      </a:lnTo>
                      <a:lnTo>
                        <a:pt x="45224" y="166370"/>
                      </a:lnTo>
                      <a:lnTo>
                        <a:pt x="46291" y="167640"/>
                      </a:lnTo>
                      <a:lnTo>
                        <a:pt x="49263" y="170180"/>
                      </a:lnTo>
                      <a:lnTo>
                        <a:pt x="50596" y="170180"/>
                      </a:lnTo>
                      <a:lnTo>
                        <a:pt x="51777" y="173990"/>
                      </a:lnTo>
                      <a:lnTo>
                        <a:pt x="50622" y="175260"/>
                      </a:lnTo>
                      <a:lnTo>
                        <a:pt x="54152" y="172720"/>
                      </a:lnTo>
                      <a:lnTo>
                        <a:pt x="53479" y="172720"/>
                      </a:lnTo>
                      <a:lnTo>
                        <a:pt x="55016" y="168910"/>
                      </a:lnTo>
                      <a:lnTo>
                        <a:pt x="57708" y="168910"/>
                      </a:lnTo>
                      <a:lnTo>
                        <a:pt x="60401" y="167640"/>
                      </a:lnTo>
                      <a:lnTo>
                        <a:pt x="60401" y="166370"/>
                      </a:lnTo>
                      <a:lnTo>
                        <a:pt x="63919" y="166370"/>
                      </a:lnTo>
                      <a:lnTo>
                        <a:pt x="65824" y="165100"/>
                      </a:lnTo>
                      <a:lnTo>
                        <a:pt x="66802" y="163830"/>
                      </a:lnTo>
                      <a:lnTo>
                        <a:pt x="68211" y="165100"/>
                      </a:lnTo>
                      <a:lnTo>
                        <a:pt x="70078" y="165100"/>
                      </a:lnTo>
                      <a:lnTo>
                        <a:pt x="73367" y="163830"/>
                      </a:lnTo>
                      <a:lnTo>
                        <a:pt x="73355" y="160020"/>
                      </a:lnTo>
                      <a:lnTo>
                        <a:pt x="77266" y="161290"/>
                      </a:lnTo>
                      <a:lnTo>
                        <a:pt x="77317" y="160020"/>
                      </a:lnTo>
                      <a:lnTo>
                        <a:pt x="77558" y="163830"/>
                      </a:lnTo>
                      <a:lnTo>
                        <a:pt x="78181" y="162560"/>
                      </a:lnTo>
                      <a:lnTo>
                        <a:pt x="79895" y="165100"/>
                      </a:lnTo>
                      <a:lnTo>
                        <a:pt x="80492" y="165100"/>
                      </a:lnTo>
                      <a:lnTo>
                        <a:pt x="77177" y="168910"/>
                      </a:lnTo>
                      <a:lnTo>
                        <a:pt x="72898" y="170180"/>
                      </a:lnTo>
                      <a:lnTo>
                        <a:pt x="71970" y="170180"/>
                      </a:lnTo>
                      <a:lnTo>
                        <a:pt x="70853" y="171450"/>
                      </a:lnTo>
                      <a:lnTo>
                        <a:pt x="71589" y="172720"/>
                      </a:lnTo>
                      <a:lnTo>
                        <a:pt x="74498" y="172720"/>
                      </a:lnTo>
                      <a:lnTo>
                        <a:pt x="75082" y="173990"/>
                      </a:lnTo>
                      <a:lnTo>
                        <a:pt x="76606" y="176530"/>
                      </a:lnTo>
                      <a:lnTo>
                        <a:pt x="77660" y="176530"/>
                      </a:lnTo>
                      <a:lnTo>
                        <a:pt x="78333" y="177800"/>
                      </a:lnTo>
                      <a:lnTo>
                        <a:pt x="77825" y="180340"/>
                      </a:lnTo>
                      <a:lnTo>
                        <a:pt x="78473" y="181610"/>
                      </a:lnTo>
                      <a:lnTo>
                        <a:pt x="79184" y="182880"/>
                      </a:lnTo>
                      <a:lnTo>
                        <a:pt x="81076" y="186690"/>
                      </a:lnTo>
                      <a:lnTo>
                        <a:pt x="80721" y="187960"/>
                      </a:lnTo>
                      <a:lnTo>
                        <a:pt x="77647" y="190500"/>
                      </a:lnTo>
                      <a:lnTo>
                        <a:pt x="76784" y="191770"/>
                      </a:lnTo>
                      <a:lnTo>
                        <a:pt x="73240" y="194310"/>
                      </a:lnTo>
                      <a:lnTo>
                        <a:pt x="68910" y="193255"/>
                      </a:lnTo>
                      <a:lnTo>
                        <a:pt x="68910" y="289560"/>
                      </a:lnTo>
                      <a:lnTo>
                        <a:pt x="68262" y="289560"/>
                      </a:lnTo>
                      <a:lnTo>
                        <a:pt x="65455" y="290830"/>
                      </a:lnTo>
                      <a:lnTo>
                        <a:pt x="67081" y="287020"/>
                      </a:lnTo>
                      <a:lnTo>
                        <a:pt x="68910" y="289560"/>
                      </a:lnTo>
                      <a:lnTo>
                        <a:pt x="68910" y="193255"/>
                      </a:lnTo>
                      <a:lnTo>
                        <a:pt x="68046" y="193040"/>
                      </a:lnTo>
                      <a:lnTo>
                        <a:pt x="64389" y="193040"/>
                      </a:lnTo>
                      <a:lnTo>
                        <a:pt x="64389" y="255270"/>
                      </a:lnTo>
                      <a:lnTo>
                        <a:pt x="63436" y="257810"/>
                      </a:lnTo>
                      <a:lnTo>
                        <a:pt x="61747" y="256641"/>
                      </a:lnTo>
                      <a:lnTo>
                        <a:pt x="61937" y="256540"/>
                      </a:lnTo>
                      <a:lnTo>
                        <a:pt x="60998" y="255270"/>
                      </a:lnTo>
                      <a:lnTo>
                        <a:pt x="62382" y="256540"/>
                      </a:lnTo>
                      <a:lnTo>
                        <a:pt x="62839" y="255270"/>
                      </a:lnTo>
                      <a:lnTo>
                        <a:pt x="64389" y="255270"/>
                      </a:lnTo>
                      <a:lnTo>
                        <a:pt x="64389" y="193040"/>
                      </a:lnTo>
                      <a:lnTo>
                        <a:pt x="57658" y="193040"/>
                      </a:lnTo>
                      <a:lnTo>
                        <a:pt x="56857" y="195580"/>
                      </a:lnTo>
                      <a:lnTo>
                        <a:pt x="55435" y="198120"/>
                      </a:lnTo>
                      <a:lnTo>
                        <a:pt x="54597" y="198120"/>
                      </a:lnTo>
                      <a:lnTo>
                        <a:pt x="53200" y="199390"/>
                      </a:lnTo>
                      <a:lnTo>
                        <a:pt x="52590" y="199390"/>
                      </a:lnTo>
                      <a:lnTo>
                        <a:pt x="50787" y="200660"/>
                      </a:lnTo>
                      <a:lnTo>
                        <a:pt x="51244" y="200660"/>
                      </a:lnTo>
                      <a:lnTo>
                        <a:pt x="47028" y="204470"/>
                      </a:lnTo>
                      <a:lnTo>
                        <a:pt x="43091" y="204470"/>
                      </a:lnTo>
                      <a:lnTo>
                        <a:pt x="37973" y="200660"/>
                      </a:lnTo>
                      <a:lnTo>
                        <a:pt x="37795" y="199390"/>
                      </a:lnTo>
                      <a:lnTo>
                        <a:pt x="32486" y="199390"/>
                      </a:lnTo>
                      <a:lnTo>
                        <a:pt x="29019" y="200660"/>
                      </a:lnTo>
                      <a:lnTo>
                        <a:pt x="25869" y="201930"/>
                      </a:lnTo>
                      <a:lnTo>
                        <a:pt x="26885" y="203200"/>
                      </a:lnTo>
                      <a:lnTo>
                        <a:pt x="29197" y="203200"/>
                      </a:lnTo>
                      <a:lnTo>
                        <a:pt x="29718" y="204470"/>
                      </a:lnTo>
                      <a:lnTo>
                        <a:pt x="27038" y="205740"/>
                      </a:lnTo>
                      <a:lnTo>
                        <a:pt x="24549" y="203200"/>
                      </a:lnTo>
                      <a:lnTo>
                        <a:pt x="22186" y="207010"/>
                      </a:lnTo>
                      <a:lnTo>
                        <a:pt x="21615" y="208280"/>
                      </a:lnTo>
                      <a:lnTo>
                        <a:pt x="22326" y="215696"/>
                      </a:lnTo>
                      <a:lnTo>
                        <a:pt x="24180" y="210820"/>
                      </a:lnTo>
                      <a:lnTo>
                        <a:pt x="27406" y="210820"/>
                      </a:lnTo>
                      <a:lnTo>
                        <a:pt x="23025" y="216395"/>
                      </a:lnTo>
                      <a:lnTo>
                        <a:pt x="23025" y="246380"/>
                      </a:lnTo>
                      <a:lnTo>
                        <a:pt x="21932" y="247650"/>
                      </a:lnTo>
                      <a:lnTo>
                        <a:pt x="21793" y="247535"/>
                      </a:lnTo>
                      <a:lnTo>
                        <a:pt x="23025" y="246380"/>
                      </a:lnTo>
                      <a:lnTo>
                        <a:pt x="23025" y="216395"/>
                      </a:lnTo>
                      <a:lnTo>
                        <a:pt x="22415" y="217170"/>
                      </a:lnTo>
                      <a:lnTo>
                        <a:pt x="22707" y="215900"/>
                      </a:lnTo>
                      <a:lnTo>
                        <a:pt x="22402" y="215734"/>
                      </a:lnTo>
                      <a:lnTo>
                        <a:pt x="22339" y="215900"/>
                      </a:lnTo>
                      <a:lnTo>
                        <a:pt x="22326" y="215696"/>
                      </a:lnTo>
                      <a:lnTo>
                        <a:pt x="20281" y="214630"/>
                      </a:lnTo>
                      <a:lnTo>
                        <a:pt x="19367" y="214630"/>
                      </a:lnTo>
                      <a:lnTo>
                        <a:pt x="15303" y="218440"/>
                      </a:lnTo>
                      <a:lnTo>
                        <a:pt x="12636" y="220980"/>
                      </a:lnTo>
                      <a:lnTo>
                        <a:pt x="8978" y="226060"/>
                      </a:lnTo>
                      <a:lnTo>
                        <a:pt x="9093" y="227330"/>
                      </a:lnTo>
                      <a:lnTo>
                        <a:pt x="11125" y="231140"/>
                      </a:lnTo>
                      <a:lnTo>
                        <a:pt x="4432" y="231140"/>
                      </a:lnTo>
                      <a:lnTo>
                        <a:pt x="5676" y="232410"/>
                      </a:lnTo>
                      <a:lnTo>
                        <a:pt x="7645" y="232410"/>
                      </a:lnTo>
                      <a:lnTo>
                        <a:pt x="8521" y="233680"/>
                      </a:lnTo>
                      <a:lnTo>
                        <a:pt x="7239" y="234950"/>
                      </a:lnTo>
                      <a:lnTo>
                        <a:pt x="4267" y="236220"/>
                      </a:lnTo>
                      <a:lnTo>
                        <a:pt x="3213" y="234950"/>
                      </a:lnTo>
                      <a:lnTo>
                        <a:pt x="2463" y="237490"/>
                      </a:lnTo>
                      <a:lnTo>
                        <a:pt x="6502" y="237490"/>
                      </a:lnTo>
                      <a:lnTo>
                        <a:pt x="7632" y="236220"/>
                      </a:lnTo>
                      <a:lnTo>
                        <a:pt x="8953" y="238760"/>
                      </a:lnTo>
                      <a:lnTo>
                        <a:pt x="7378" y="238760"/>
                      </a:lnTo>
                      <a:lnTo>
                        <a:pt x="6362" y="242570"/>
                      </a:lnTo>
                      <a:lnTo>
                        <a:pt x="10325" y="241300"/>
                      </a:lnTo>
                      <a:lnTo>
                        <a:pt x="11430" y="243840"/>
                      </a:lnTo>
                      <a:lnTo>
                        <a:pt x="10553" y="245110"/>
                      </a:lnTo>
                      <a:lnTo>
                        <a:pt x="11823" y="247650"/>
                      </a:lnTo>
                      <a:lnTo>
                        <a:pt x="14833" y="247650"/>
                      </a:lnTo>
                      <a:lnTo>
                        <a:pt x="14820" y="246380"/>
                      </a:lnTo>
                      <a:lnTo>
                        <a:pt x="14516" y="245110"/>
                      </a:lnTo>
                      <a:lnTo>
                        <a:pt x="15163" y="242570"/>
                      </a:lnTo>
                      <a:lnTo>
                        <a:pt x="16713" y="243840"/>
                      </a:lnTo>
                      <a:lnTo>
                        <a:pt x="16662" y="242570"/>
                      </a:lnTo>
                      <a:lnTo>
                        <a:pt x="17132" y="243840"/>
                      </a:lnTo>
                      <a:lnTo>
                        <a:pt x="16713" y="243840"/>
                      </a:lnTo>
                      <a:lnTo>
                        <a:pt x="15557" y="243840"/>
                      </a:lnTo>
                      <a:lnTo>
                        <a:pt x="14859" y="245110"/>
                      </a:lnTo>
                      <a:lnTo>
                        <a:pt x="17995" y="245110"/>
                      </a:lnTo>
                      <a:lnTo>
                        <a:pt x="18351" y="243840"/>
                      </a:lnTo>
                      <a:lnTo>
                        <a:pt x="18796" y="243840"/>
                      </a:lnTo>
                      <a:lnTo>
                        <a:pt x="18694" y="245110"/>
                      </a:lnTo>
                      <a:lnTo>
                        <a:pt x="17995" y="245110"/>
                      </a:lnTo>
                      <a:lnTo>
                        <a:pt x="17360" y="246380"/>
                      </a:lnTo>
                      <a:lnTo>
                        <a:pt x="18580" y="246380"/>
                      </a:lnTo>
                      <a:lnTo>
                        <a:pt x="20472" y="247154"/>
                      </a:lnTo>
                      <a:lnTo>
                        <a:pt x="20701" y="248920"/>
                      </a:lnTo>
                      <a:lnTo>
                        <a:pt x="18059" y="248920"/>
                      </a:lnTo>
                      <a:lnTo>
                        <a:pt x="17233" y="250190"/>
                      </a:lnTo>
                      <a:lnTo>
                        <a:pt x="21412" y="250190"/>
                      </a:lnTo>
                      <a:lnTo>
                        <a:pt x="22783" y="250190"/>
                      </a:lnTo>
                      <a:lnTo>
                        <a:pt x="23672" y="251460"/>
                      </a:lnTo>
                      <a:lnTo>
                        <a:pt x="24206" y="250190"/>
                      </a:lnTo>
                      <a:lnTo>
                        <a:pt x="25984" y="250190"/>
                      </a:lnTo>
                      <a:lnTo>
                        <a:pt x="26631" y="251460"/>
                      </a:lnTo>
                      <a:lnTo>
                        <a:pt x="28867" y="252730"/>
                      </a:lnTo>
                      <a:lnTo>
                        <a:pt x="30137" y="251460"/>
                      </a:lnTo>
                      <a:lnTo>
                        <a:pt x="32143" y="251460"/>
                      </a:lnTo>
                      <a:lnTo>
                        <a:pt x="33350" y="252730"/>
                      </a:lnTo>
                      <a:lnTo>
                        <a:pt x="35331" y="251460"/>
                      </a:lnTo>
                      <a:lnTo>
                        <a:pt x="35128" y="251460"/>
                      </a:lnTo>
                      <a:lnTo>
                        <a:pt x="36195" y="250190"/>
                      </a:lnTo>
                      <a:lnTo>
                        <a:pt x="37642" y="248920"/>
                      </a:lnTo>
                      <a:lnTo>
                        <a:pt x="39039" y="248920"/>
                      </a:lnTo>
                      <a:lnTo>
                        <a:pt x="38531" y="250190"/>
                      </a:lnTo>
                      <a:lnTo>
                        <a:pt x="40513" y="251460"/>
                      </a:lnTo>
                      <a:lnTo>
                        <a:pt x="38989" y="252730"/>
                      </a:lnTo>
                      <a:lnTo>
                        <a:pt x="41287" y="252730"/>
                      </a:lnTo>
                      <a:lnTo>
                        <a:pt x="43078" y="255270"/>
                      </a:lnTo>
                      <a:lnTo>
                        <a:pt x="39116" y="259080"/>
                      </a:lnTo>
                      <a:lnTo>
                        <a:pt x="35763" y="257810"/>
                      </a:lnTo>
                      <a:lnTo>
                        <a:pt x="37223" y="254000"/>
                      </a:lnTo>
                      <a:lnTo>
                        <a:pt x="33274" y="254000"/>
                      </a:lnTo>
                      <a:lnTo>
                        <a:pt x="33261" y="255270"/>
                      </a:lnTo>
                      <a:lnTo>
                        <a:pt x="31927" y="256540"/>
                      </a:lnTo>
                      <a:lnTo>
                        <a:pt x="31064" y="256540"/>
                      </a:lnTo>
                      <a:lnTo>
                        <a:pt x="29362" y="257810"/>
                      </a:lnTo>
                      <a:lnTo>
                        <a:pt x="29083" y="259080"/>
                      </a:lnTo>
                      <a:lnTo>
                        <a:pt x="28181" y="259080"/>
                      </a:lnTo>
                      <a:lnTo>
                        <a:pt x="28409" y="257810"/>
                      </a:lnTo>
                      <a:lnTo>
                        <a:pt x="29133" y="257810"/>
                      </a:lnTo>
                      <a:lnTo>
                        <a:pt x="29641" y="256540"/>
                      </a:lnTo>
                      <a:lnTo>
                        <a:pt x="30784" y="256540"/>
                      </a:lnTo>
                      <a:lnTo>
                        <a:pt x="31572" y="254000"/>
                      </a:lnTo>
                      <a:lnTo>
                        <a:pt x="30060" y="254000"/>
                      </a:lnTo>
                      <a:lnTo>
                        <a:pt x="27419" y="252730"/>
                      </a:lnTo>
                      <a:lnTo>
                        <a:pt x="25755" y="254000"/>
                      </a:lnTo>
                      <a:lnTo>
                        <a:pt x="24079" y="252730"/>
                      </a:lnTo>
                      <a:lnTo>
                        <a:pt x="24003" y="251460"/>
                      </a:lnTo>
                      <a:lnTo>
                        <a:pt x="23672" y="251460"/>
                      </a:lnTo>
                      <a:lnTo>
                        <a:pt x="21526" y="251460"/>
                      </a:lnTo>
                      <a:lnTo>
                        <a:pt x="21412" y="250190"/>
                      </a:lnTo>
                      <a:lnTo>
                        <a:pt x="20167" y="251460"/>
                      </a:lnTo>
                      <a:lnTo>
                        <a:pt x="21209" y="252730"/>
                      </a:lnTo>
                      <a:lnTo>
                        <a:pt x="20828" y="254000"/>
                      </a:lnTo>
                      <a:lnTo>
                        <a:pt x="19291" y="254000"/>
                      </a:lnTo>
                      <a:lnTo>
                        <a:pt x="20015" y="255270"/>
                      </a:lnTo>
                      <a:lnTo>
                        <a:pt x="18491" y="257810"/>
                      </a:lnTo>
                      <a:lnTo>
                        <a:pt x="15328" y="257810"/>
                      </a:lnTo>
                      <a:lnTo>
                        <a:pt x="14033" y="259080"/>
                      </a:lnTo>
                      <a:lnTo>
                        <a:pt x="20891" y="259080"/>
                      </a:lnTo>
                      <a:lnTo>
                        <a:pt x="18630" y="260350"/>
                      </a:lnTo>
                      <a:lnTo>
                        <a:pt x="18326" y="261620"/>
                      </a:lnTo>
                      <a:lnTo>
                        <a:pt x="17945" y="261620"/>
                      </a:lnTo>
                      <a:lnTo>
                        <a:pt x="19761" y="262890"/>
                      </a:lnTo>
                      <a:lnTo>
                        <a:pt x="21920" y="264160"/>
                      </a:lnTo>
                      <a:lnTo>
                        <a:pt x="24485" y="264160"/>
                      </a:lnTo>
                      <a:lnTo>
                        <a:pt x="24663" y="262890"/>
                      </a:lnTo>
                      <a:lnTo>
                        <a:pt x="27571" y="266700"/>
                      </a:lnTo>
                      <a:lnTo>
                        <a:pt x="29273" y="271780"/>
                      </a:lnTo>
                      <a:lnTo>
                        <a:pt x="33502" y="274332"/>
                      </a:lnTo>
                      <a:lnTo>
                        <a:pt x="36296" y="275590"/>
                      </a:lnTo>
                      <a:lnTo>
                        <a:pt x="40182" y="275590"/>
                      </a:lnTo>
                      <a:lnTo>
                        <a:pt x="52997" y="273050"/>
                      </a:lnTo>
                      <a:lnTo>
                        <a:pt x="52184" y="270510"/>
                      </a:lnTo>
                      <a:lnTo>
                        <a:pt x="54127" y="271780"/>
                      </a:lnTo>
                      <a:lnTo>
                        <a:pt x="55727" y="270510"/>
                      </a:lnTo>
                      <a:lnTo>
                        <a:pt x="56159" y="269240"/>
                      </a:lnTo>
                      <a:lnTo>
                        <a:pt x="56451" y="266700"/>
                      </a:lnTo>
                      <a:lnTo>
                        <a:pt x="56172" y="265430"/>
                      </a:lnTo>
                      <a:lnTo>
                        <a:pt x="54394" y="265430"/>
                      </a:lnTo>
                      <a:lnTo>
                        <a:pt x="54965" y="264160"/>
                      </a:lnTo>
                      <a:lnTo>
                        <a:pt x="54660" y="264160"/>
                      </a:lnTo>
                      <a:lnTo>
                        <a:pt x="54711" y="262890"/>
                      </a:lnTo>
                      <a:lnTo>
                        <a:pt x="56807" y="262890"/>
                      </a:lnTo>
                      <a:lnTo>
                        <a:pt x="57162" y="261620"/>
                      </a:lnTo>
                      <a:lnTo>
                        <a:pt x="57315" y="261620"/>
                      </a:lnTo>
                      <a:lnTo>
                        <a:pt x="57899" y="260350"/>
                      </a:lnTo>
                      <a:lnTo>
                        <a:pt x="58293" y="259080"/>
                      </a:lnTo>
                      <a:lnTo>
                        <a:pt x="59550" y="257810"/>
                      </a:lnTo>
                      <a:lnTo>
                        <a:pt x="61302" y="256882"/>
                      </a:lnTo>
                      <a:lnTo>
                        <a:pt x="59461" y="259080"/>
                      </a:lnTo>
                      <a:lnTo>
                        <a:pt x="59029" y="260350"/>
                      </a:lnTo>
                      <a:lnTo>
                        <a:pt x="58140" y="261620"/>
                      </a:lnTo>
                      <a:lnTo>
                        <a:pt x="56451" y="264160"/>
                      </a:lnTo>
                      <a:lnTo>
                        <a:pt x="56451" y="265430"/>
                      </a:lnTo>
                      <a:lnTo>
                        <a:pt x="58115" y="265430"/>
                      </a:lnTo>
                      <a:lnTo>
                        <a:pt x="58585" y="267970"/>
                      </a:lnTo>
                      <a:lnTo>
                        <a:pt x="59194" y="266700"/>
                      </a:lnTo>
                      <a:lnTo>
                        <a:pt x="59055" y="265430"/>
                      </a:lnTo>
                      <a:lnTo>
                        <a:pt x="59651" y="266700"/>
                      </a:lnTo>
                      <a:lnTo>
                        <a:pt x="60248" y="265430"/>
                      </a:lnTo>
                      <a:lnTo>
                        <a:pt x="60604" y="265430"/>
                      </a:lnTo>
                      <a:lnTo>
                        <a:pt x="60515" y="266700"/>
                      </a:lnTo>
                      <a:lnTo>
                        <a:pt x="60375" y="267970"/>
                      </a:lnTo>
                      <a:lnTo>
                        <a:pt x="61036" y="271780"/>
                      </a:lnTo>
                      <a:lnTo>
                        <a:pt x="61582" y="271780"/>
                      </a:lnTo>
                      <a:lnTo>
                        <a:pt x="61937" y="273050"/>
                      </a:lnTo>
                      <a:lnTo>
                        <a:pt x="62801" y="274332"/>
                      </a:lnTo>
                      <a:lnTo>
                        <a:pt x="64033" y="276860"/>
                      </a:lnTo>
                      <a:lnTo>
                        <a:pt x="64300" y="276860"/>
                      </a:lnTo>
                      <a:lnTo>
                        <a:pt x="65239" y="279400"/>
                      </a:lnTo>
                      <a:lnTo>
                        <a:pt x="66268" y="279400"/>
                      </a:lnTo>
                      <a:lnTo>
                        <a:pt x="66916" y="281940"/>
                      </a:lnTo>
                      <a:lnTo>
                        <a:pt x="65252" y="281940"/>
                      </a:lnTo>
                      <a:lnTo>
                        <a:pt x="62331" y="285750"/>
                      </a:lnTo>
                      <a:lnTo>
                        <a:pt x="62204" y="287020"/>
                      </a:lnTo>
                      <a:lnTo>
                        <a:pt x="64871" y="292100"/>
                      </a:lnTo>
                      <a:lnTo>
                        <a:pt x="65189" y="291376"/>
                      </a:lnTo>
                      <a:lnTo>
                        <a:pt x="66090" y="294640"/>
                      </a:lnTo>
                      <a:lnTo>
                        <a:pt x="66421" y="295668"/>
                      </a:lnTo>
                      <a:lnTo>
                        <a:pt x="67119" y="294640"/>
                      </a:lnTo>
                      <a:lnTo>
                        <a:pt x="68503" y="295910"/>
                      </a:lnTo>
                      <a:lnTo>
                        <a:pt x="65112" y="297180"/>
                      </a:lnTo>
                      <a:lnTo>
                        <a:pt x="62852" y="298450"/>
                      </a:lnTo>
                      <a:lnTo>
                        <a:pt x="60693" y="299720"/>
                      </a:lnTo>
                      <a:lnTo>
                        <a:pt x="62179" y="299720"/>
                      </a:lnTo>
                      <a:lnTo>
                        <a:pt x="65405" y="298450"/>
                      </a:lnTo>
                      <a:lnTo>
                        <a:pt x="66344" y="299720"/>
                      </a:lnTo>
                      <a:lnTo>
                        <a:pt x="66916" y="299720"/>
                      </a:lnTo>
                      <a:lnTo>
                        <a:pt x="67233" y="300990"/>
                      </a:lnTo>
                      <a:lnTo>
                        <a:pt x="67386" y="300990"/>
                      </a:lnTo>
                      <a:lnTo>
                        <a:pt x="68135" y="299720"/>
                      </a:lnTo>
                      <a:lnTo>
                        <a:pt x="69875" y="299720"/>
                      </a:lnTo>
                      <a:lnTo>
                        <a:pt x="71907" y="298450"/>
                      </a:lnTo>
                      <a:lnTo>
                        <a:pt x="72097" y="298450"/>
                      </a:lnTo>
                      <a:lnTo>
                        <a:pt x="73291" y="297180"/>
                      </a:lnTo>
                      <a:lnTo>
                        <a:pt x="72542" y="297180"/>
                      </a:lnTo>
                      <a:lnTo>
                        <a:pt x="73914" y="295910"/>
                      </a:lnTo>
                      <a:lnTo>
                        <a:pt x="74764" y="295910"/>
                      </a:lnTo>
                      <a:lnTo>
                        <a:pt x="76847" y="294640"/>
                      </a:lnTo>
                      <a:lnTo>
                        <a:pt x="78930" y="293370"/>
                      </a:lnTo>
                      <a:lnTo>
                        <a:pt x="79756" y="294640"/>
                      </a:lnTo>
                      <a:lnTo>
                        <a:pt x="80149" y="294640"/>
                      </a:lnTo>
                      <a:lnTo>
                        <a:pt x="80657" y="293370"/>
                      </a:lnTo>
                      <a:lnTo>
                        <a:pt x="82207" y="292100"/>
                      </a:lnTo>
                      <a:lnTo>
                        <a:pt x="85229" y="290830"/>
                      </a:lnTo>
                      <a:lnTo>
                        <a:pt x="87553" y="290830"/>
                      </a:lnTo>
                      <a:lnTo>
                        <a:pt x="87909" y="292100"/>
                      </a:lnTo>
                      <a:lnTo>
                        <a:pt x="88061" y="294640"/>
                      </a:lnTo>
                      <a:lnTo>
                        <a:pt x="88455" y="293370"/>
                      </a:lnTo>
                      <a:lnTo>
                        <a:pt x="89674" y="293370"/>
                      </a:lnTo>
                      <a:lnTo>
                        <a:pt x="89408" y="294640"/>
                      </a:lnTo>
                      <a:lnTo>
                        <a:pt x="91960" y="294640"/>
                      </a:lnTo>
                      <a:lnTo>
                        <a:pt x="91808" y="295910"/>
                      </a:lnTo>
                      <a:lnTo>
                        <a:pt x="93446" y="297180"/>
                      </a:lnTo>
                      <a:lnTo>
                        <a:pt x="93738" y="295910"/>
                      </a:lnTo>
                      <a:lnTo>
                        <a:pt x="94792" y="294640"/>
                      </a:lnTo>
                      <a:lnTo>
                        <a:pt x="95211" y="293370"/>
                      </a:lnTo>
                      <a:lnTo>
                        <a:pt x="95631" y="292100"/>
                      </a:lnTo>
                      <a:lnTo>
                        <a:pt x="97421" y="293370"/>
                      </a:lnTo>
                      <a:lnTo>
                        <a:pt x="97205" y="294640"/>
                      </a:lnTo>
                      <a:lnTo>
                        <a:pt x="97612" y="295910"/>
                      </a:lnTo>
                      <a:lnTo>
                        <a:pt x="98488" y="295910"/>
                      </a:lnTo>
                      <a:lnTo>
                        <a:pt x="101600" y="298450"/>
                      </a:lnTo>
                      <a:lnTo>
                        <a:pt x="103479" y="303530"/>
                      </a:lnTo>
                      <a:lnTo>
                        <a:pt x="107721" y="304800"/>
                      </a:lnTo>
                      <a:lnTo>
                        <a:pt x="109029" y="304800"/>
                      </a:lnTo>
                      <a:lnTo>
                        <a:pt x="110109" y="302260"/>
                      </a:lnTo>
                      <a:lnTo>
                        <a:pt x="108877" y="300990"/>
                      </a:lnTo>
                      <a:lnTo>
                        <a:pt x="107823" y="298450"/>
                      </a:lnTo>
                      <a:lnTo>
                        <a:pt x="107086" y="297180"/>
                      </a:lnTo>
                      <a:lnTo>
                        <a:pt x="107276" y="295910"/>
                      </a:lnTo>
                      <a:lnTo>
                        <a:pt x="110147" y="294640"/>
                      </a:lnTo>
                      <a:lnTo>
                        <a:pt x="109677" y="294208"/>
                      </a:lnTo>
                      <a:lnTo>
                        <a:pt x="111302" y="293370"/>
                      </a:lnTo>
                      <a:lnTo>
                        <a:pt x="111518" y="293370"/>
                      </a:lnTo>
                      <a:lnTo>
                        <a:pt x="112204" y="292100"/>
                      </a:lnTo>
                      <a:lnTo>
                        <a:pt x="113195" y="290830"/>
                      </a:lnTo>
                      <a:lnTo>
                        <a:pt x="112826" y="293370"/>
                      </a:lnTo>
                      <a:lnTo>
                        <a:pt x="112585" y="294208"/>
                      </a:lnTo>
                      <a:lnTo>
                        <a:pt x="112471" y="295910"/>
                      </a:lnTo>
                      <a:lnTo>
                        <a:pt x="113118" y="295910"/>
                      </a:lnTo>
                      <a:lnTo>
                        <a:pt x="113868" y="297180"/>
                      </a:lnTo>
                      <a:lnTo>
                        <a:pt x="115328" y="297180"/>
                      </a:lnTo>
                      <a:lnTo>
                        <a:pt x="115112" y="298450"/>
                      </a:lnTo>
                      <a:lnTo>
                        <a:pt x="115938" y="299720"/>
                      </a:lnTo>
                      <a:lnTo>
                        <a:pt x="119888" y="299720"/>
                      </a:lnTo>
                      <a:lnTo>
                        <a:pt x="122262" y="298450"/>
                      </a:lnTo>
                      <a:lnTo>
                        <a:pt x="126377" y="297180"/>
                      </a:lnTo>
                      <a:lnTo>
                        <a:pt x="133426" y="294640"/>
                      </a:lnTo>
                      <a:lnTo>
                        <a:pt x="133540" y="293370"/>
                      </a:lnTo>
                      <a:lnTo>
                        <a:pt x="133642" y="292100"/>
                      </a:lnTo>
                      <a:lnTo>
                        <a:pt x="135851" y="292100"/>
                      </a:lnTo>
                      <a:lnTo>
                        <a:pt x="135178" y="293370"/>
                      </a:lnTo>
                      <a:lnTo>
                        <a:pt x="131737" y="298450"/>
                      </a:lnTo>
                      <a:lnTo>
                        <a:pt x="135343" y="297180"/>
                      </a:lnTo>
                      <a:lnTo>
                        <a:pt x="132791" y="299720"/>
                      </a:lnTo>
                      <a:lnTo>
                        <a:pt x="130060" y="302260"/>
                      </a:lnTo>
                      <a:lnTo>
                        <a:pt x="126530" y="306070"/>
                      </a:lnTo>
                      <a:lnTo>
                        <a:pt x="126098" y="307340"/>
                      </a:lnTo>
                      <a:lnTo>
                        <a:pt x="128358" y="308610"/>
                      </a:lnTo>
                      <a:lnTo>
                        <a:pt x="131686" y="307340"/>
                      </a:lnTo>
                      <a:lnTo>
                        <a:pt x="132499" y="309880"/>
                      </a:lnTo>
                      <a:lnTo>
                        <a:pt x="128905" y="308610"/>
                      </a:lnTo>
                      <a:lnTo>
                        <a:pt x="128358" y="308610"/>
                      </a:lnTo>
                      <a:lnTo>
                        <a:pt x="126593" y="308610"/>
                      </a:lnTo>
                      <a:lnTo>
                        <a:pt x="125399" y="313690"/>
                      </a:lnTo>
                      <a:lnTo>
                        <a:pt x="125361" y="314960"/>
                      </a:lnTo>
                      <a:lnTo>
                        <a:pt x="124726" y="317500"/>
                      </a:lnTo>
                      <a:lnTo>
                        <a:pt x="124472" y="317500"/>
                      </a:lnTo>
                      <a:lnTo>
                        <a:pt x="124396" y="320040"/>
                      </a:lnTo>
                      <a:lnTo>
                        <a:pt x="124701" y="320040"/>
                      </a:lnTo>
                      <a:lnTo>
                        <a:pt x="125323" y="321310"/>
                      </a:lnTo>
                      <a:lnTo>
                        <a:pt x="126860" y="321310"/>
                      </a:lnTo>
                      <a:lnTo>
                        <a:pt x="125603" y="323850"/>
                      </a:lnTo>
                      <a:lnTo>
                        <a:pt x="124574" y="322580"/>
                      </a:lnTo>
                      <a:lnTo>
                        <a:pt x="124714" y="321310"/>
                      </a:lnTo>
                      <a:lnTo>
                        <a:pt x="121945" y="321310"/>
                      </a:lnTo>
                      <a:lnTo>
                        <a:pt x="118465" y="326390"/>
                      </a:lnTo>
                      <a:lnTo>
                        <a:pt x="114604" y="328930"/>
                      </a:lnTo>
                      <a:lnTo>
                        <a:pt x="112039" y="330200"/>
                      </a:lnTo>
                      <a:lnTo>
                        <a:pt x="109588" y="334010"/>
                      </a:lnTo>
                      <a:lnTo>
                        <a:pt x="111163" y="336550"/>
                      </a:lnTo>
                      <a:lnTo>
                        <a:pt x="111023" y="337820"/>
                      </a:lnTo>
                      <a:lnTo>
                        <a:pt x="109194" y="337820"/>
                      </a:lnTo>
                      <a:lnTo>
                        <a:pt x="107607" y="336550"/>
                      </a:lnTo>
                      <a:lnTo>
                        <a:pt x="107276" y="336550"/>
                      </a:lnTo>
                      <a:lnTo>
                        <a:pt x="107861" y="335280"/>
                      </a:lnTo>
                      <a:lnTo>
                        <a:pt x="99009" y="341007"/>
                      </a:lnTo>
                      <a:lnTo>
                        <a:pt x="99009" y="358038"/>
                      </a:lnTo>
                      <a:lnTo>
                        <a:pt x="97967" y="356870"/>
                      </a:lnTo>
                      <a:lnTo>
                        <a:pt x="98539" y="356870"/>
                      </a:lnTo>
                      <a:lnTo>
                        <a:pt x="99009" y="358038"/>
                      </a:lnTo>
                      <a:lnTo>
                        <a:pt x="99009" y="341007"/>
                      </a:lnTo>
                      <a:lnTo>
                        <a:pt x="90170" y="346710"/>
                      </a:lnTo>
                      <a:lnTo>
                        <a:pt x="86626" y="346710"/>
                      </a:lnTo>
                      <a:lnTo>
                        <a:pt x="84378" y="351790"/>
                      </a:lnTo>
                      <a:lnTo>
                        <a:pt x="83858" y="353060"/>
                      </a:lnTo>
                      <a:lnTo>
                        <a:pt x="83502" y="353072"/>
                      </a:lnTo>
                      <a:lnTo>
                        <a:pt x="83375" y="354330"/>
                      </a:lnTo>
                      <a:lnTo>
                        <a:pt x="84150" y="354330"/>
                      </a:lnTo>
                      <a:lnTo>
                        <a:pt x="83464" y="355600"/>
                      </a:lnTo>
                      <a:lnTo>
                        <a:pt x="84899" y="354330"/>
                      </a:lnTo>
                      <a:lnTo>
                        <a:pt x="86652" y="356870"/>
                      </a:lnTo>
                      <a:lnTo>
                        <a:pt x="87439" y="356870"/>
                      </a:lnTo>
                      <a:lnTo>
                        <a:pt x="87147" y="358140"/>
                      </a:lnTo>
                      <a:lnTo>
                        <a:pt x="85496" y="358140"/>
                      </a:lnTo>
                      <a:lnTo>
                        <a:pt x="82969" y="356870"/>
                      </a:lnTo>
                      <a:lnTo>
                        <a:pt x="80556" y="355600"/>
                      </a:lnTo>
                      <a:lnTo>
                        <a:pt x="80137" y="358140"/>
                      </a:lnTo>
                      <a:lnTo>
                        <a:pt x="82384" y="358140"/>
                      </a:lnTo>
                      <a:lnTo>
                        <a:pt x="81927" y="359410"/>
                      </a:lnTo>
                      <a:lnTo>
                        <a:pt x="80454" y="359410"/>
                      </a:lnTo>
                      <a:lnTo>
                        <a:pt x="79057" y="358140"/>
                      </a:lnTo>
                      <a:lnTo>
                        <a:pt x="78028" y="356870"/>
                      </a:lnTo>
                      <a:lnTo>
                        <a:pt x="78206" y="356870"/>
                      </a:lnTo>
                      <a:lnTo>
                        <a:pt x="77851" y="355600"/>
                      </a:lnTo>
                      <a:lnTo>
                        <a:pt x="77660" y="355600"/>
                      </a:lnTo>
                      <a:lnTo>
                        <a:pt x="76784" y="356870"/>
                      </a:lnTo>
                      <a:lnTo>
                        <a:pt x="77228" y="354330"/>
                      </a:lnTo>
                      <a:lnTo>
                        <a:pt x="79082" y="355600"/>
                      </a:lnTo>
                      <a:lnTo>
                        <a:pt x="79311" y="353060"/>
                      </a:lnTo>
                      <a:lnTo>
                        <a:pt x="75069" y="354330"/>
                      </a:lnTo>
                      <a:lnTo>
                        <a:pt x="74244" y="354330"/>
                      </a:lnTo>
                      <a:lnTo>
                        <a:pt x="74345" y="353072"/>
                      </a:lnTo>
                      <a:lnTo>
                        <a:pt x="68783" y="355600"/>
                      </a:lnTo>
                      <a:lnTo>
                        <a:pt x="63131" y="356870"/>
                      </a:lnTo>
                      <a:lnTo>
                        <a:pt x="52819" y="366128"/>
                      </a:lnTo>
                      <a:lnTo>
                        <a:pt x="56921" y="370840"/>
                      </a:lnTo>
                      <a:lnTo>
                        <a:pt x="57721" y="372110"/>
                      </a:lnTo>
                      <a:lnTo>
                        <a:pt x="56070" y="372110"/>
                      </a:lnTo>
                      <a:lnTo>
                        <a:pt x="56451" y="373380"/>
                      </a:lnTo>
                      <a:lnTo>
                        <a:pt x="59753" y="373380"/>
                      </a:lnTo>
                      <a:lnTo>
                        <a:pt x="59550" y="372110"/>
                      </a:lnTo>
                      <a:lnTo>
                        <a:pt x="61264" y="370840"/>
                      </a:lnTo>
                      <a:lnTo>
                        <a:pt x="61391" y="372110"/>
                      </a:lnTo>
                      <a:lnTo>
                        <a:pt x="62826" y="372110"/>
                      </a:lnTo>
                      <a:lnTo>
                        <a:pt x="62585" y="370840"/>
                      </a:lnTo>
                      <a:lnTo>
                        <a:pt x="62331" y="369570"/>
                      </a:lnTo>
                      <a:lnTo>
                        <a:pt x="62865" y="368300"/>
                      </a:lnTo>
                      <a:lnTo>
                        <a:pt x="65443" y="367030"/>
                      </a:lnTo>
                      <a:lnTo>
                        <a:pt x="66370" y="367030"/>
                      </a:lnTo>
                      <a:lnTo>
                        <a:pt x="67678" y="364490"/>
                      </a:lnTo>
                      <a:lnTo>
                        <a:pt x="66789" y="364490"/>
                      </a:lnTo>
                      <a:lnTo>
                        <a:pt x="69240" y="360680"/>
                      </a:lnTo>
                      <a:lnTo>
                        <a:pt x="73609" y="361950"/>
                      </a:lnTo>
                      <a:lnTo>
                        <a:pt x="74879" y="363220"/>
                      </a:lnTo>
                      <a:lnTo>
                        <a:pt x="72504" y="363220"/>
                      </a:lnTo>
                      <a:lnTo>
                        <a:pt x="72237" y="361950"/>
                      </a:lnTo>
                      <a:lnTo>
                        <a:pt x="70459" y="364490"/>
                      </a:lnTo>
                      <a:lnTo>
                        <a:pt x="69659" y="365760"/>
                      </a:lnTo>
                      <a:lnTo>
                        <a:pt x="70294" y="367030"/>
                      </a:lnTo>
                      <a:lnTo>
                        <a:pt x="72072" y="365760"/>
                      </a:lnTo>
                      <a:lnTo>
                        <a:pt x="73431" y="365760"/>
                      </a:lnTo>
                      <a:lnTo>
                        <a:pt x="74079" y="367030"/>
                      </a:lnTo>
                      <a:lnTo>
                        <a:pt x="76492" y="365760"/>
                      </a:lnTo>
                      <a:lnTo>
                        <a:pt x="80276" y="365760"/>
                      </a:lnTo>
                      <a:lnTo>
                        <a:pt x="81965" y="363220"/>
                      </a:lnTo>
                      <a:lnTo>
                        <a:pt x="79946" y="363220"/>
                      </a:lnTo>
                      <a:lnTo>
                        <a:pt x="83820" y="360680"/>
                      </a:lnTo>
                      <a:lnTo>
                        <a:pt x="82994" y="364490"/>
                      </a:lnTo>
                      <a:lnTo>
                        <a:pt x="84734" y="364490"/>
                      </a:lnTo>
                      <a:lnTo>
                        <a:pt x="85610" y="361950"/>
                      </a:lnTo>
                      <a:lnTo>
                        <a:pt x="85344" y="360680"/>
                      </a:lnTo>
                      <a:lnTo>
                        <a:pt x="89077" y="359410"/>
                      </a:lnTo>
                      <a:lnTo>
                        <a:pt x="93040" y="358140"/>
                      </a:lnTo>
                      <a:lnTo>
                        <a:pt x="96926" y="358140"/>
                      </a:lnTo>
                      <a:lnTo>
                        <a:pt x="95491" y="359410"/>
                      </a:lnTo>
                      <a:lnTo>
                        <a:pt x="97574" y="359410"/>
                      </a:lnTo>
                      <a:lnTo>
                        <a:pt x="95808" y="360680"/>
                      </a:lnTo>
                      <a:lnTo>
                        <a:pt x="97866" y="360680"/>
                      </a:lnTo>
                      <a:lnTo>
                        <a:pt x="96329" y="361950"/>
                      </a:lnTo>
                      <a:lnTo>
                        <a:pt x="95377" y="361950"/>
                      </a:lnTo>
                      <a:lnTo>
                        <a:pt x="97967" y="363220"/>
                      </a:lnTo>
                      <a:lnTo>
                        <a:pt x="99098" y="358140"/>
                      </a:lnTo>
                      <a:lnTo>
                        <a:pt x="100609" y="358140"/>
                      </a:lnTo>
                      <a:lnTo>
                        <a:pt x="102806" y="356870"/>
                      </a:lnTo>
                      <a:lnTo>
                        <a:pt x="105537" y="355600"/>
                      </a:lnTo>
                      <a:lnTo>
                        <a:pt x="107569" y="354330"/>
                      </a:lnTo>
                      <a:lnTo>
                        <a:pt x="110147" y="354330"/>
                      </a:lnTo>
                      <a:lnTo>
                        <a:pt x="110147" y="351790"/>
                      </a:lnTo>
                      <a:lnTo>
                        <a:pt x="110337" y="351790"/>
                      </a:lnTo>
                      <a:lnTo>
                        <a:pt x="110845" y="349250"/>
                      </a:lnTo>
                      <a:lnTo>
                        <a:pt x="111975" y="351790"/>
                      </a:lnTo>
                      <a:lnTo>
                        <a:pt x="110985" y="353060"/>
                      </a:lnTo>
                      <a:lnTo>
                        <a:pt x="111760" y="353072"/>
                      </a:lnTo>
                      <a:lnTo>
                        <a:pt x="112814" y="354330"/>
                      </a:lnTo>
                      <a:lnTo>
                        <a:pt x="113753" y="354330"/>
                      </a:lnTo>
                      <a:lnTo>
                        <a:pt x="113576" y="353060"/>
                      </a:lnTo>
                      <a:lnTo>
                        <a:pt x="113106" y="351790"/>
                      </a:lnTo>
                      <a:lnTo>
                        <a:pt x="113525" y="350520"/>
                      </a:lnTo>
                      <a:lnTo>
                        <a:pt x="114592" y="350520"/>
                      </a:lnTo>
                      <a:lnTo>
                        <a:pt x="114871" y="349250"/>
                      </a:lnTo>
                      <a:lnTo>
                        <a:pt x="114719" y="349250"/>
                      </a:lnTo>
                      <a:lnTo>
                        <a:pt x="115608" y="347980"/>
                      </a:lnTo>
                      <a:lnTo>
                        <a:pt x="116484" y="346710"/>
                      </a:lnTo>
                      <a:lnTo>
                        <a:pt x="114363" y="347980"/>
                      </a:lnTo>
                      <a:lnTo>
                        <a:pt x="114046" y="346710"/>
                      </a:lnTo>
                      <a:lnTo>
                        <a:pt x="113576" y="346710"/>
                      </a:lnTo>
                      <a:lnTo>
                        <a:pt x="112255" y="347980"/>
                      </a:lnTo>
                      <a:lnTo>
                        <a:pt x="111175" y="349250"/>
                      </a:lnTo>
                      <a:lnTo>
                        <a:pt x="110680" y="347980"/>
                      </a:lnTo>
                      <a:lnTo>
                        <a:pt x="112915" y="346710"/>
                      </a:lnTo>
                      <a:lnTo>
                        <a:pt x="115430" y="344170"/>
                      </a:lnTo>
                      <a:lnTo>
                        <a:pt x="118376" y="342900"/>
                      </a:lnTo>
                      <a:lnTo>
                        <a:pt x="123228" y="339090"/>
                      </a:lnTo>
                      <a:lnTo>
                        <a:pt x="124980" y="340360"/>
                      </a:lnTo>
                      <a:lnTo>
                        <a:pt x="127342" y="341630"/>
                      </a:lnTo>
                      <a:lnTo>
                        <a:pt x="127660" y="340360"/>
                      </a:lnTo>
                      <a:lnTo>
                        <a:pt x="126873" y="339090"/>
                      </a:lnTo>
                      <a:lnTo>
                        <a:pt x="125920" y="339090"/>
                      </a:lnTo>
                      <a:lnTo>
                        <a:pt x="127774" y="337820"/>
                      </a:lnTo>
                      <a:lnTo>
                        <a:pt x="129590" y="339090"/>
                      </a:lnTo>
                      <a:lnTo>
                        <a:pt x="133400" y="337820"/>
                      </a:lnTo>
                      <a:lnTo>
                        <a:pt x="134848" y="335280"/>
                      </a:lnTo>
                      <a:lnTo>
                        <a:pt x="136944" y="335280"/>
                      </a:lnTo>
                      <a:lnTo>
                        <a:pt x="138010" y="332740"/>
                      </a:lnTo>
                      <a:lnTo>
                        <a:pt x="138214" y="332740"/>
                      </a:lnTo>
                      <a:lnTo>
                        <a:pt x="140716" y="334010"/>
                      </a:lnTo>
                      <a:lnTo>
                        <a:pt x="139954" y="332740"/>
                      </a:lnTo>
                      <a:lnTo>
                        <a:pt x="139420" y="332740"/>
                      </a:lnTo>
                      <a:lnTo>
                        <a:pt x="141300" y="330200"/>
                      </a:lnTo>
                      <a:lnTo>
                        <a:pt x="142481" y="328930"/>
                      </a:lnTo>
                      <a:lnTo>
                        <a:pt x="143230" y="327660"/>
                      </a:lnTo>
                      <a:lnTo>
                        <a:pt x="140881" y="327660"/>
                      </a:lnTo>
                      <a:lnTo>
                        <a:pt x="140830" y="326390"/>
                      </a:lnTo>
                      <a:lnTo>
                        <a:pt x="147370" y="323850"/>
                      </a:lnTo>
                      <a:lnTo>
                        <a:pt x="150888" y="322580"/>
                      </a:lnTo>
                      <a:lnTo>
                        <a:pt x="152806" y="320040"/>
                      </a:lnTo>
                      <a:lnTo>
                        <a:pt x="154203" y="318770"/>
                      </a:lnTo>
                      <a:lnTo>
                        <a:pt x="154114" y="317500"/>
                      </a:lnTo>
                      <a:lnTo>
                        <a:pt x="155054" y="316230"/>
                      </a:lnTo>
                      <a:lnTo>
                        <a:pt x="156337" y="318770"/>
                      </a:lnTo>
                      <a:lnTo>
                        <a:pt x="158102" y="317500"/>
                      </a:lnTo>
                      <a:lnTo>
                        <a:pt x="158838" y="316230"/>
                      </a:lnTo>
                      <a:lnTo>
                        <a:pt x="160185" y="314960"/>
                      </a:lnTo>
                      <a:lnTo>
                        <a:pt x="161912" y="314960"/>
                      </a:lnTo>
                      <a:lnTo>
                        <a:pt x="161480" y="313690"/>
                      </a:lnTo>
                      <a:lnTo>
                        <a:pt x="162547" y="312420"/>
                      </a:lnTo>
                      <a:lnTo>
                        <a:pt x="164363" y="311150"/>
                      </a:lnTo>
                      <a:lnTo>
                        <a:pt x="170815" y="309880"/>
                      </a:lnTo>
                      <a:lnTo>
                        <a:pt x="170510" y="308610"/>
                      </a:lnTo>
                      <a:lnTo>
                        <a:pt x="171234" y="309880"/>
                      </a:lnTo>
                      <a:lnTo>
                        <a:pt x="171792" y="309880"/>
                      </a:lnTo>
                      <a:lnTo>
                        <a:pt x="172427" y="311150"/>
                      </a:lnTo>
                      <a:lnTo>
                        <a:pt x="173291" y="309880"/>
                      </a:lnTo>
                      <a:lnTo>
                        <a:pt x="173482" y="308610"/>
                      </a:lnTo>
                      <a:lnTo>
                        <a:pt x="175196" y="308610"/>
                      </a:lnTo>
                      <a:lnTo>
                        <a:pt x="174815" y="307340"/>
                      </a:lnTo>
                      <a:lnTo>
                        <a:pt x="175564" y="307340"/>
                      </a:lnTo>
                      <a:lnTo>
                        <a:pt x="174866" y="306070"/>
                      </a:lnTo>
                      <a:lnTo>
                        <a:pt x="174193" y="306070"/>
                      </a:lnTo>
                      <a:lnTo>
                        <a:pt x="175717" y="304800"/>
                      </a:lnTo>
                      <a:lnTo>
                        <a:pt x="176733" y="304800"/>
                      </a:lnTo>
                      <a:lnTo>
                        <a:pt x="176072" y="303530"/>
                      </a:lnTo>
                      <a:lnTo>
                        <a:pt x="176428" y="302260"/>
                      </a:lnTo>
                      <a:lnTo>
                        <a:pt x="176530" y="303530"/>
                      </a:lnTo>
                      <a:lnTo>
                        <a:pt x="177647" y="302260"/>
                      </a:lnTo>
                      <a:lnTo>
                        <a:pt x="178752" y="300990"/>
                      </a:lnTo>
                      <a:lnTo>
                        <a:pt x="178612" y="299720"/>
                      </a:lnTo>
                      <a:lnTo>
                        <a:pt x="181521" y="299720"/>
                      </a:lnTo>
                      <a:lnTo>
                        <a:pt x="184683" y="298450"/>
                      </a:lnTo>
                      <a:lnTo>
                        <a:pt x="185648" y="297180"/>
                      </a:lnTo>
                      <a:lnTo>
                        <a:pt x="186613" y="295910"/>
                      </a:lnTo>
                      <a:lnTo>
                        <a:pt x="186143" y="294640"/>
                      </a:lnTo>
                      <a:lnTo>
                        <a:pt x="186690" y="294640"/>
                      </a:lnTo>
                      <a:lnTo>
                        <a:pt x="188861" y="293370"/>
                      </a:lnTo>
                      <a:lnTo>
                        <a:pt x="183413" y="292100"/>
                      </a:lnTo>
                      <a:lnTo>
                        <a:pt x="182321" y="290830"/>
                      </a:lnTo>
                      <a:lnTo>
                        <a:pt x="181102" y="289560"/>
                      </a:lnTo>
                      <a:lnTo>
                        <a:pt x="179997" y="290830"/>
                      </a:lnTo>
                      <a:lnTo>
                        <a:pt x="174599" y="290830"/>
                      </a:lnTo>
                      <a:lnTo>
                        <a:pt x="175475" y="289560"/>
                      </a:lnTo>
                      <a:lnTo>
                        <a:pt x="174053" y="289560"/>
                      </a:lnTo>
                      <a:lnTo>
                        <a:pt x="173951" y="288290"/>
                      </a:lnTo>
                      <a:lnTo>
                        <a:pt x="174650" y="288290"/>
                      </a:lnTo>
                      <a:lnTo>
                        <a:pt x="175628" y="287020"/>
                      </a:lnTo>
                      <a:lnTo>
                        <a:pt x="174396" y="285750"/>
                      </a:lnTo>
                      <a:lnTo>
                        <a:pt x="177101" y="284480"/>
                      </a:lnTo>
                      <a:lnTo>
                        <a:pt x="175488" y="284480"/>
                      </a:lnTo>
                      <a:lnTo>
                        <a:pt x="176618" y="283210"/>
                      </a:lnTo>
                      <a:lnTo>
                        <a:pt x="181444" y="283210"/>
                      </a:lnTo>
                      <a:lnTo>
                        <a:pt x="181216" y="280670"/>
                      </a:lnTo>
                      <a:lnTo>
                        <a:pt x="179336" y="280670"/>
                      </a:lnTo>
                      <a:lnTo>
                        <a:pt x="180632" y="279400"/>
                      </a:lnTo>
                      <a:lnTo>
                        <a:pt x="183324" y="279400"/>
                      </a:lnTo>
                      <a:lnTo>
                        <a:pt x="182791" y="278130"/>
                      </a:lnTo>
                      <a:lnTo>
                        <a:pt x="185407" y="276860"/>
                      </a:lnTo>
                      <a:lnTo>
                        <a:pt x="185331" y="275590"/>
                      </a:lnTo>
                      <a:lnTo>
                        <a:pt x="185915" y="275590"/>
                      </a:lnTo>
                      <a:lnTo>
                        <a:pt x="186728" y="276860"/>
                      </a:lnTo>
                      <a:lnTo>
                        <a:pt x="185737" y="278130"/>
                      </a:lnTo>
                      <a:lnTo>
                        <a:pt x="187071" y="278130"/>
                      </a:lnTo>
                      <a:lnTo>
                        <a:pt x="191604" y="276860"/>
                      </a:lnTo>
                      <a:lnTo>
                        <a:pt x="191681" y="275590"/>
                      </a:lnTo>
                      <a:lnTo>
                        <a:pt x="191744" y="274320"/>
                      </a:lnTo>
                      <a:lnTo>
                        <a:pt x="191808" y="273050"/>
                      </a:lnTo>
                      <a:lnTo>
                        <a:pt x="189204" y="274320"/>
                      </a:lnTo>
                      <a:lnTo>
                        <a:pt x="187896" y="274320"/>
                      </a:lnTo>
                      <a:lnTo>
                        <a:pt x="189445" y="271780"/>
                      </a:lnTo>
                      <a:lnTo>
                        <a:pt x="194805" y="273050"/>
                      </a:lnTo>
                      <a:lnTo>
                        <a:pt x="198272" y="269240"/>
                      </a:lnTo>
                      <a:lnTo>
                        <a:pt x="197535" y="269240"/>
                      </a:lnTo>
                      <a:lnTo>
                        <a:pt x="195046" y="266700"/>
                      </a:lnTo>
                      <a:lnTo>
                        <a:pt x="192392" y="264160"/>
                      </a:lnTo>
                      <a:lnTo>
                        <a:pt x="190309" y="264160"/>
                      </a:lnTo>
                      <a:lnTo>
                        <a:pt x="194132" y="262890"/>
                      </a:lnTo>
                      <a:lnTo>
                        <a:pt x="198691" y="262890"/>
                      </a:lnTo>
                      <a:lnTo>
                        <a:pt x="202552" y="261620"/>
                      </a:lnTo>
                      <a:lnTo>
                        <a:pt x="199263" y="261620"/>
                      </a:lnTo>
                      <a:lnTo>
                        <a:pt x="203047" y="257810"/>
                      </a:lnTo>
                      <a:lnTo>
                        <a:pt x="205244" y="257810"/>
                      </a:lnTo>
                      <a:lnTo>
                        <a:pt x="205892" y="256540"/>
                      </a:lnTo>
                      <a:lnTo>
                        <a:pt x="207251" y="255270"/>
                      </a:lnTo>
                      <a:lnTo>
                        <a:pt x="208876" y="254000"/>
                      </a:lnTo>
                      <a:lnTo>
                        <a:pt x="209448" y="252730"/>
                      </a:lnTo>
                      <a:lnTo>
                        <a:pt x="208699" y="252730"/>
                      </a:lnTo>
                      <a:lnTo>
                        <a:pt x="209651" y="250190"/>
                      </a:lnTo>
                      <a:lnTo>
                        <a:pt x="212763" y="248920"/>
                      </a:lnTo>
                      <a:lnTo>
                        <a:pt x="216522" y="247650"/>
                      </a:lnTo>
                      <a:lnTo>
                        <a:pt x="217754" y="247650"/>
                      </a:lnTo>
                      <a:lnTo>
                        <a:pt x="219227" y="246380"/>
                      </a:lnTo>
                      <a:lnTo>
                        <a:pt x="221221" y="243840"/>
                      </a:lnTo>
                      <a:lnTo>
                        <a:pt x="223558" y="243840"/>
                      </a:lnTo>
                      <a:lnTo>
                        <a:pt x="225488" y="242570"/>
                      </a:lnTo>
                      <a:lnTo>
                        <a:pt x="226009" y="241300"/>
                      </a:lnTo>
                      <a:lnTo>
                        <a:pt x="234429" y="241300"/>
                      </a:lnTo>
                      <a:lnTo>
                        <a:pt x="235229" y="240030"/>
                      </a:lnTo>
                      <a:lnTo>
                        <a:pt x="236766" y="240030"/>
                      </a:lnTo>
                      <a:lnTo>
                        <a:pt x="237477" y="241300"/>
                      </a:lnTo>
                      <a:lnTo>
                        <a:pt x="238633" y="241300"/>
                      </a:lnTo>
                      <a:lnTo>
                        <a:pt x="239458" y="242570"/>
                      </a:lnTo>
                      <a:lnTo>
                        <a:pt x="240017" y="242570"/>
                      </a:lnTo>
                      <a:lnTo>
                        <a:pt x="240017" y="246380"/>
                      </a:lnTo>
                      <a:lnTo>
                        <a:pt x="239064" y="247650"/>
                      </a:lnTo>
                      <a:lnTo>
                        <a:pt x="237705" y="247650"/>
                      </a:lnTo>
                      <a:lnTo>
                        <a:pt x="240614" y="248920"/>
                      </a:lnTo>
                      <a:lnTo>
                        <a:pt x="246824" y="251460"/>
                      </a:lnTo>
                      <a:lnTo>
                        <a:pt x="241147" y="251460"/>
                      </a:lnTo>
                      <a:lnTo>
                        <a:pt x="236588" y="248920"/>
                      </a:lnTo>
                      <a:lnTo>
                        <a:pt x="235369" y="251460"/>
                      </a:lnTo>
                      <a:lnTo>
                        <a:pt x="231597" y="251460"/>
                      </a:lnTo>
                      <a:lnTo>
                        <a:pt x="229196" y="250190"/>
                      </a:lnTo>
                      <a:lnTo>
                        <a:pt x="226225" y="248920"/>
                      </a:lnTo>
                      <a:lnTo>
                        <a:pt x="225056" y="250190"/>
                      </a:lnTo>
                      <a:lnTo>
                        <a:pt x="222542" y="251460"/>
                      </a:lnTo>
                      <a:lnTo>
                        <a:pt x="220662" y="252730"/>
                      </a:lnTo>
                      <a:lnTo>
                        <a:pt x="217779" y="254000"/>
                      </a:lnTo>
                      <a:lnTo>
                        <a:pt x="215734" y="254000"/>
                      </a:lnTo>
                      <a:lnTo>
                        <a:pt x="214312" y="255270"/>
                      </a:lnTo>
                      <a:lnTo>
                        <a:pt x="214718" y="256540"/>
                      </a:lnTo>
                      <a:lnTo>
                        <a:pt x="216014" y="257810"/>
                      </a:lnTo>
                      <a:lnTo>
                        <a:pt x="216293" y="259080"/>
                      </a:lnTo>
                      <a:lnTo>
                        <a:pt x="216306" y="261620"/>
                      </a:lnTo>
                      <a:lnTo>
                        <a:pt x="215887" y="262890"/>
                      </a:lnTo>
                      <a:lnTo>
                        <a:pt x="215214" y="262890"/>
                      </a:lnTo>
                      <a:lnTo>
                        <a:pt x="214172" y="265430"/>
                      </a:lnTo>
                      <a:lnTo>
                        <a:pt x="214515" y="265430"/>
                      </a:lnTo>
                      <a:lnTo>
                        <a:pt x="210769" y="269240"/>
                      </a:lnTo>
                      <a:lnTo>
                        <a:pt x="209969" y="270510"/>
                      </a:lnTo>
                      <a:lnTo>
                        <a:pt x="208305" y="274332"/>
                      </a:lnTo>
                      <a:lnTo>
                        <a:pt x="206946" y="275590"/>
                      </a:lnTo>
                      <a:lnTo>
                        <a:pt x="210616" y="278130"/>
                      </a:lnTo>
                      <a:lnTo>
                        <a:pt x="211963" y="278130"/>
                      </a:lnTo>
                      <a:lnTo>
                        <a:pt x="214934" y="279400"/>
                      </a:lnTo>
                      <a:lnTo>
                        <a:pt x="215480" y="278130"/>
                      </a:lnTo>
                      <a:lnTo>
                        <a:pt x="217538" y="275590"/>
                      </a:lnTo>
                      <a:lnTo>
                        <a:pt x="219519" y="275590"/>
                      </a:lnTo>
                      <a:lnTo>
                        <a:pt x="219367" y="276860"/>
                      </a:lnTo>
                      <a:lnTo>
                        <a:pt x="218478" y="276860"/>
                      </a:lnTo>
                      <a:lnTo>
                        <a:pt x="217512" y="279400"/>
                      </a:lnTo>
                      <a:lnTo>
                        <a:pt x="217982" y="279400"/>
                      </a:lnTo>
                      <a:lnTo>
                        <a:pt x="216636" y="280670"/>
                      </a:lnTo>
                      <a:lnTo>
                        <a:pt x="215696" y="279400"/>
                      </a:lnTo>
                      <a:lnTo>
                        <a:pt x="213677" y="281940"/>
                      </a:lnTo>
                      <a:lnTo>
                        <a:pt x="214718" y="280670"/>
                      </a:lnTo>
                      <a:lnTo>
                        <a:pt x="214312" y="281940"/>
                      </a:lnTo>
                      <a:lnTo>
                        <a:pt x="215633" y="283210"/>
                      </a:lnTo>
                      <a:lnTo>
                        <a:pt x="211239" y="281952"/>
                      </a:lnTo>
                      <a:lnTo>
                        <a:pt x="208864" y="283210"/>
                      </a:lnTo>
                      <a:lnTo>
                        <a:pt x="206159" y="283210"/>
                      </a:lnTo>
                      <a:lnTo>
                        <a:pt x="208686" y="284480"/>
                      </a:lnTo>
                      <a:lnTo>
                        <a:pt x="206235" y="284480"/>
                      </a:lnTo>
                      <a:lnTo>
                        <a:pt x="206438" y="287020"/>
                      </a:lnTo>
                      <a:lnTo>
                        <a:pt x="208546" y="288290"/>
                      </a:lnTo>
                      <a:lnTo>
                        <a:pt x="212191" y="288290"/>
                      </a:lnTo>
                      <a:lnTo>
                        <a:pt x="217297" y="285750"/>
                      </a:lnTo>
                      <a:lnTo>
                        <a:pt x="222554" y="284480"/>
                      </a:lnTo>
                      <a:lnTo>
                        <a:pt x="223939" y="283210"/>
                      </a:lnTo>
                      <a:lnTo>
                        <a:pt x="225971" y="281940"/>
                      </a:lnTo>
                      <a:lnTo>
                        <a:pt x="226974" y="281940"/>
                      </a:lnTo>
                      <a:lnTo>
                        <a:pt x="226174" y="280670"/>
                      </a:lnTo>
                      <a:lnTo>
                        <a:pt x="226034" y="280670"/>
                      </a:lnTo>
                      <a:lnTo>
                        <a:pt x="226656" y="279400"/>
                      </a:lnTo>
                      <a:lnTo>
                        <a:pt x="227177" y="279400"/>
                      </a:lnTo>
                      <a:lnTo>
                        <a:pt x="227469" y="280670"/>
                      </a:lnTo>
                      <a:lnTo>
                        <a:pt x="227596" y="281940"/>
                      </a:lnTo>
                      <a:lnTo>
                        <a:pt x="229146" y="280670"/>
                      </a:lnTo>
                      <a:lnTo>
                        <a:pt x="229692" y="278130"/>
                      </a:lnTo>
                      <a:lnTo>
                        <a:pt x="231279" y="276860"/>
                      </a:lnTo>
                      <a:lnTo>
                        <a:pt x="231190" y="278130"/>
                      </a:lnTo>
                      <a:lnTo>
                        <a:pt x="230301" y="279400"/>
                      </a:lnTo>
                      <a:lnTo>
                        <a:pt x="229489" y="280670"/>
                      </a:lnTo>
                      <a:lnTo>
                        <a:pt x="229781" y="280670"/>
                      </a:lnTo>
                      <a:lnTo>
                        <a:pt x="229273" y="281940"/>
                      </a:lnTo>
                      <a:lnTo>
                        <a:pt x="230466" y="281940"/>
                      </a:lnTo>
                      <a:lnTo>
                        <a:pt x="234365" y="279400"/>
                      </a:lnTo>
                      <a:lnTo>
                        <a:pt x="232905" y="276860"/>
                      </a:lnTo>
                      <a:lnTo>
                        <a:pt x="235699" y="276860"/>
                      </a:lnTo>
                      <a:lnTo>
                        <a:pt x="234480" y="275590"/>
                      </a:lnTo>
                      <a:lnTo>
                        <a:pt x="235775" y="275590"/>
                      </a:lnTo>
                      <a:lnTo>
                        <a:pt x="237007" y="276860"/>
                      </a:lnTo>
                      <a:lnTo>
                        <a:pt x="237972" y="278130"/>
                      </a:lnTo>
                      <a:lnTo>
                        <a:pt x="238175" y="277253"/>
                      </a:lnTo>
                      <a:lnTo>
                        <a:pt x="238290" y="275590"/>
                      </a:lnTo>
                      <a:lnTo>
                        <a:pt x="237820" y="274320"/>
                      </a:lnTo>
                      <a:lnTo>
                        <a:pt x="236778" y="274320"/>
                      </a:lnTo>
                      <a:lnTo>
                        <a:pt x="236855" y="273050"/>
                      </a:lnTo>
                      <a:lnTo>
                        <a:pt x="238633" y="273050"/>
                      </a:lnTo>
                      <a:lnTo>
                        <a:pt x="238480" y="271780"/>
                      </a:lnTo>
                      <a:lnTo>
                        <a:pt x="239191" y="271780"/>
                      </a:lnTo>
                      <a:lnTo>
                        <a:pt x="239953" y="274320"/>
                      </a:lnTo>
                      <a:lnTo>
                        <a:pt x="241033" y="271780"/>
                      </a:lnTo>
                      <a:lnTo>
                        <a:pt x="241655" y="273050"/>
                      </a:lnTo>
                      <a:lnTo>
                        <a:pt x="242798" y="271780"/>
                      </a:lnTo>
                      <a:lnTo>
                        <a:pt x="243941" y="270510"/>
                      </a:lnTo>
                      <a:lnTo>
                        <a:pt x="242112" y="270510"/>
                      </a:lnTo>
                      <a:lnTo>
                        <a:pt x="242938" y="267970"/>
                      </a:lnTo>
                      <a:lnTo>
                        <a:pt x="244754" y="269240"/>
                      </a:lnTo>
                      <a:lnTo>
                        <a:pt x="244881" y="273050"/>
                      </a:lnTo>
                      <a:lnTo>
                        <a:pt x="245630" y="273050"/>
                      </a:lnTo>
                      <a:lnTo>
                        <a:pt x="246062" y="269240"/>
                      </a:lnTo>
                      <a:lnTo>
                        <a:pt x="248945" y="269240"/>
                      </a:lnTo>
                      <a:lnTo>
                        <a:pt x="249796" y="271780"/>
                      </a:lnTo>
                      <a:lnTo>
                        <a:pt x="253936" y="271780"/>
                      </a:lnTo>
                      <a:lnTo>
                        <a:pt x="255968" y="270510"/>
                      </a:lnTo>
                      <a:lnTo>
                        <a:pt x="257251" y="270510"/>
                      </a:lnTo>
                      <a:lnTo>
                        <a:pt x="258318" y="269240"/>
                      </a:lnTo>
                      <a:lnTo>
                        <a:pt x="258102" y="267970"/>
                      </a:lnTo>
                      <a:lnTo>
                        <a:pt x="259308" y="266700"/>
                      </a:lnTo>
                      <a:lnTo>
                        <a:pt x="264541" y="265430"/>
                      </a:lnTo>
                      <a:lnTo>
                        <a:pt x="257670" y="265430"/>
                      </a:lnTo>
                      <a:lnTo>
                        <a:pt x="257721" y="264160"/>
                      </a:lnTo>
                      <a:lnTo>
                        <a:pt x="259930" y="264160"/>
                      </a:lnTo>
                      <a:lnTo>
                        <a:pt x="260248" y="262890"/>
                      </a:lnTo>
                      <a:lnTo>
                        <a:pt x="259753" y="262890"/>
                      </a:lnTo>
                      <a:lnTo>
                        <a:pt x="260946" y="261620"/>
                      </a:lnTo>
                      <a:lnTo>
                        <a:pt x="261569" y="261620"/>
                      </a:lnTo>
                      <a:lnTo>
                        <a:pt x="265582" y="260350"/>
                      </a:lnTo>
                      <a:lnTo>
                        <a:pt x="263461" y="260350"/>
                      </a:lnTo>
                      <a:lnTo>
                        <a:pt x="264528" y="259080"/>
                      </a:lnTo>
                      <a:lnTo>
                        <a:pt x="262509" y="259080"/>
                      </a:lnTo>
                      <a:lnTo>
                        <a:pt x="262166" y="257810"/>
                      </a:lnTo>
                      <a:lnTo>
                        <a:pt x="261518" y="259080"/>
                      </a:lnTo>
                      <a:lnTo>
                        <a:pt x="260743" y="260350"/>
                      </a:lnTo>
                      <a:lnTo>
                        <a:pt x="258165" y="261620"/>
                      </a:lnTo>
                      <a:lnTo>
                        <a:pt x="256882" y="260350"/>
                      </a:lnTo>
                      <a:lnTo>
                        <a:pt x="255600" y="259080"/>
                      </a:lnTo>
                      <a:lnTo>
                        <a:pt x="254749" y="259727"/>
                      </a:lnTo>
                      <a:lnTo>
                        <a:pt x="255079" y="259080"/>
                      </a:lnTo>
                      <a:lnTo>
                        <a:pt x="256971" y="257810"/>
                      </a:lnTo>
                      <a:lnTo>
                        <a:pt x="259321" y="257810"/>
                      </a:lnTo>
                      <a:lnTo>
                        <a:pt x="260985" y="256540"/>
                      </a:lnTo>
                      <a:lnTo>
                        <a:pt x="259016" y="255270"/>
                      </a:lnTo>
                      <a:lnTo>
                        <a:pt x="259969" y="254000"/>
                      </a:lnTo>
                      <a:lnTo>
                        <a:pt x="258953" y="255270"/>
                      </a:lnTo>
                      <a:lnTo>
                        <a:pt x="258356" y="256540"/>
                      </a:lnTo>
                      <a:lnTo>
                        <a:pt x="257340" y="256540"/>
                      </a:lnTo>
                      <a:lnTo>
                        <a:pt x="258381" y="254000"/>
                      </a:lnTo>
                      <a:lnTo>
                        <a:pt x="257365" y="254000"/>
                      </a:lnTo>
                      <a:lnTo>
                        <a:pt x="254508" y="255270"/>
                      </a:lnTo>
                      <a:lnTo>
                        <a:pt x="253746" y="256540"/>
                      </a:lnTo>
                      <a:lnTo>
                        <a:pt x="253796" y="254000"/>
                      </a:lnTo>
                      <a:lnTo>
                        <a:pt x="254622" y="252730"/>
                      </a:lnTo>
                      <a:lnTo>
                        <a:pt x="261620" y="251460"/>
                      </a:lnTo>
                      <a:lnTo>
                        <a:pt x="258635" y="250190"/>
                      </a:lnTo>
                      <a:lnTo>
                        <a:pt x="259397" y="250190"/>
                      </a:lnTo>
                      <a:lnTo>
                        <a:pt x="261264" y="248920"/>
                      </a:lnTo>
                      <a:lnTo>
                        <a:pt x="260858" y="246380"/>
                      </a:lnTo>
                      <a:lnTo>
                        <a:pt x="258292" y="248920"/>
                      </a:lnTo>
                      <a:lnTo>
                        <a:pt x="257505" y="248920"/>
                      </a:lnTo>
                      <a:lnTo>
                        <a:pt x="256933" y="246380"/>
                      </a:lnTo>
                      <a:lnTo>
                        <a:pt x="260858" y="246380"/>
                      </a:lnTo>
                      <a:lnTo>
                        <a:pt x="261581" y="246380"/>
                      </a:lnTo>
                      <a:lnTo>
                        <a:pt x="265290" y="245110"/>
                      </a:lnTo>
                      <a:lnTo>
                        <a:pt x="265849" y="243840"/>
                      </a:lnTo>
                      <a:lnTo>
                        <a:pt x="267042" y="242570"/>
                      </a:lnTo>
                      <a:lnTo>
                        <a:pt x="267119" y="245110"/>
                      </a:lnTo>
                      <a:lnTo>
                        <a:pt x="264045" y="247650"/>
                      </a:lnTo>
                      <a:lnTo>
                        <a:pt x="263017" y="250190"/>
                      </a:lnTo>
                      <a:lnTo>
                        <a:pt x="265201" y="252730"/>
                      </a:lnTo>
                      <a:lnTo>
                        <a:pt x="265849" y="252730"/>
                      </a:lnTo>
                      <a:lnTo>
                        <a:pt x="265709" y="251460"/>
                      </a:lnTo>
                      <a:lnTo>
                        <a:pt x="267601" y="250190"/>
                      </a:lnTo>
                      <a:lnTo>
                        <a:pt x="269087" y="250190"/>
                      </a:lnTo>
                      <a:lnTo>
                        <a:pt x="268668" y="248920"/>
                      </a:lnTo>
                      <a:lnTo>
                        <a:pt x="269303" y="248920"/>
                      </a:lnTo>
                      <a:lnTo>
                        <a:pt x="269189" y="247650"/>
                      </a:lnTo>
                      <a:lnTo>
                        <a:pt x="269582" y="247650"/>
                      </a:lnTo>
                      <a:lnTo>
                        <a:pt x="269621" y="245110"/>
                      </a:lnTo>
                      <a:lnTo>
                        <a:pt x="270306" y="247154"/>
                      </a:lnTo>
                      <a:lnTo>
                        <a:pt x="270383" y="247904"/>
                      </a:lnTo>
                      <a:lnTo>
                        <a:pt x="270002" y="248920"/>
                      </a:lnTo>
                      <a:lnTo>
                        <a:pt x="269875" y="251460"/>
                      </a:lnTo>
                      <a:lnTo>
                        <a:pt x="270383" y="250190"/>
                      </a:lnTo>
                      <a:lnTo>
                        <a:pt x="270637" y="248920"/>
                      </a:lnTo>
                      <a:lnTo>
                        <a:pt x="271195" y="248920"/>
                      </a:lnTo>
                      <a:lnTo>
                        <a:pt x="271614" y="252730"/>
                      </a:lnTo>
                      <a:lnTo>
                        <a:pt x="272973" y="248920"/>
                      </a:lnTo>
                      <a:lnTo>
                        <a:pt x="276085" y="248920"/>
                      </a:lnTo>
                      <a:lnTo>
                        <a:pt x="278345" y="250190"/>
                      </a:lnTo>
                      <a:lnTo>
                        <a:pt x="280771" y="248920"/>
                      </a:lnTo>
                      <a:lnTo>
                        <a:pt x="281711" y="247688"/>
                      </a:lnTo>
                      <a:lnTo>
                        <a:pt x="282067" y="247904"/>
                      </a:lnTo>
                      <a:lnTo>
                        <a:pt x="281305" y="250190"/>
                      </a:lnTo>
                      <a:lnTo>
                        <a:pt x="281520" y="251460"/>
                      </a:lnTo>
                      <a:lnTo>
                        <a:pt x="282105" y="251460"/>
                      </a:lnTo>
                      <a:lnTo>
                        <a:pt x="283832" y="252730"/>
                      </a:lnTo>
                      <a:lnTo>
                        <a:pt x="287769" y="252730"/>
                      </a:lnTo>
                      <a:lnTo>
                        <a:pt x="288455" y="251460"/>
                      </a:lnTo>
                      <a:lnTo>
                        <a:pt x="287985" y="254000"/>
                      </a:lnTo>
                      <a:lnTo>
                        <a:pt x="288302" y="254000"/>
                      </a:lnTo>
                      <a:lnTo>
                        <a:pt x="290512" y="255244"/>
                      </a:lnTo>
                      <a:lnTo>
                        <a:pt x="289255" y="255270"/>
                      </a:lnTo>
                      <a:lnTo>
                        <a:pt x="288239" y="256540"/>
                      </a:lnTo>
                      <a:lnTo>
                        <a:pt x="289915" y="256540"/>
                      </a:lnTo>
                      <a:lnTo>
                        <a:pt x="291452" y="255270"/>
                      </a:lnTo>
                      <a:lnTo>
                        <a:pt x="294360" y="255270"/>
                      </a:lnTo>
                      <a:lnTo>
                        <a:pt x="295656" y="256540"/>
                      </a:lnTo>
                      <a:lnTo>
                        <a:pt x="297014" y="256540"/>
                      </a:lnTo>
                      <a:lnTo>
                        <a:pt x="296684" y="257810"/>
                      </a:lnTo>
                      <a:lnTo>
                        <a:pt x="294513" y="259080"/>
                      </a:lnTo>
                      <a:lnTo>
                        <a:pt x="292887" y="260350"/>
                      </a:lnTo>
                      <a:lnTo>
                        <a:pt x="296138" y="261620"/>
                      </a:lnTo>
                      <a:lnTo>
                        <a:pt x="305142" y="261620"/>
                      </a:lnTo>
                      <a:lnTo>
                        <a:pt x="307517" y="257810"/>
                      </a:lnTo>
                      <a:lnTo>
                        <a:pt x="308216" y="257810"/>
                      </a:lnTo>
                      <a:lnTo>
                        <a:pt x="309638" y="256540"/>
                      </a:lnTo>
                      <a:lnTo>
                        <a:pt x="309918" y="256540"/>
                      </a:lnTo>
                      <a:lnTo>
                        <a:pt x="307975" y="260350"/>
                      </a:lnTo>
                      <a:lnTo>
                        <a:pt x="308635" y="260350"/>
                      </a:lnTo>
                      <a:lnTo>
                        <a:pt x="308546" y="261620"/>
                      </a:lnTo>
                      <a:lnTo>
                        <a:pt x="307162" y="261620"/>
                      </a:lnTo>
                      <a:lnTo>
                        <a:pt x="307936" y="262890"/>
                      </a:lnTo>
                      <a:lnTo>
                        <a:pt x="307568" y="264160"/>
                      </a:lnTo>
                      <a:lnTo>
                        <a:pt x="306768" y="264160"/>
                      </a:lnTo>
                      <a:lnTo>
                        <a:pt x="311226" y="265430"/>
                      </a:lnTo>
                      <a:lnTo>
                        <a:pt x="317347" y="267970"/>
                      </a:lnTo>
                      <a:lnTo>
                        <a:pt x="319925" y="269240"/>
                      </a:lnTo>
                      <a:lnTo>
                        <a:pt x="334657" y="269240"/>
                      </a:lnTo>
                      <a:lnTo>
                        <a:pt x="338886" y="267970"/>
                      </a:lnTo>
                      <a:lnTo>
                        <a:pt x="345313" y="269240"/>
                      </a:lnTo>
                      <a:lnTo>
                        <a:pt x="348322" y="269240"/>
                      </a:lnTo>
                      <a:lnTo>
                        <a:pt x="353098" y="270510"/>
                      </a:lnTo>
                      <a:lnTo>
                        <a:pt x="353656" y="271780"/>
                      </a:lnTo>
                      <a:lnTo>
                        <a:pt x="356069" y="270510"/>
                      </a:lnTo>
                      <a:lnTo>
                        <a:pt x="358013" y="270510"/>
                      </a:lnTo>
                      <a:lnTo>
                        <a:pt x="358267" y="269240"/>
                      </a:lnTo>
                      <a:lnTo>
                        <a:pt x="356069" y="269240"/>
                      </a:lnTo>
                      <a:lnTo>
                        <a:pt x="357047" y="267970"/>
                      </a:lnTo>
                      <a:lnTo>
                        <a:pt x="358013" y="266700"/>
                      </a:lnTo>
                      <a:lnTo>
                        <a:pt x="360146" y="270510"/>
                      </a:lnTo>
                      <a:lnTo>
                        <a:pt x="359206" y="271780"/>
                      </a:lnTo>
                      <a:lnTo>
                        <a:pt x="357314" y="273050"/>
                      </a:lnTo>
                      <a:lnTo>
                        <a:pt x="356946" y="273050"/>
                      </a:lnTo>
                      <a:lnTo>
                        <a:pt x="361188" y="275590"/>
                      </a:lnTo>
                      <a:lnTo>
                        <a:pt x="367309" y="276860"/>
                      </a:lnTo>
                      <a:lnTo>
                        <a:pt x="374548" y="276860"/>
                      </a:lnTo>
                      <a:lnTo>
                        <a:pt x="376478" y="275590"/>
                      </a:lnTo>
                      <a:lnTo>
                        <a:pt x="379793" y="274320"/>
                      </a:lnTo>
                      <a:lnTo>
                        <a:pt x="380301" y="274320"/>
                      </a:lnTo>
                      <a:lnTo>
                        <a:pt x="381965" y="273050"/>
                      </a:lnTo>
                      <a:lnTo>
                        <a:pt x="383222" y="271780"/>
                      </a:lnTo>
                      <a:lnTo>
                        <a:pt x="384695" y="270510"/>
                      </a:lnTo>
                      <a:lnTo>
                        <a:pt x="383324" y="269240"/>
                      </a:lnTo>
                      <a:lnTo>
                        <a:pt x="387959" y="270510"/>
                      </a:lnTo>
                      <a:lnTo>
                        <a:pt x="391223" y="273050"/>
                      </a:lnTo>
                      <a:lnTo>
                        <a:pt x="393357" y="274320"/>
                      </a:lnTo>
                      <a:lnTo>
                        <a:pt x="391922" y="274320"/>
                      </a:lnTo>
                      <a:lnTo>
                        <a:pt x="389153" y="273050"/>
                      </a:lnTo>
                      <a:lnTo>
                        <a:pt x="387692" y="275590"/>
                      </a:lnTo>
                      <a:lnTo>
                        <a:pt x="388340" y="276860"/>
                      </a:lnTo>
                      <a:lnTo>
                        <a:pt x="388721" y="279400"/>
                      </a:lnTo>
                      <a:lnTo>
                        <a:pt x="387502" y="280670"/>
                      </a:lnTo>
                      <a:lnTo>
                        <a:pt x="387718" y="278130"/>
                      </a:lnTo>
                      <a:lnTo>
                        <a:pt x="387819" y="276860"/>
                      </a:lnTo>
                      <a:lnTo>
                        <a:pt x="387515" y="275590"/>
                      </a:lnTo>
                      <a:lnTo>
                        <a:pt x="387489" y="273659"/>
                      </a:lnTo>
                      <a:lnTo>
                        <a:pt x="387261" y="273050"/>
                      </a:lnTo>
                      <a:lnTo>
                        <a:pt x="386842" y="271780"/>
                      </a:lnTo>
                      <a:lnTo>
                        <a:pt x="385305" y="270510"/>
                      </a:lnTo>
                      <a:lnTo>
                        <a:pt x="383476" y="271780"/>
                      </a:lnTo>
                      <a:lnTo>
                        <a:pt x="383362" y="274332"/>
                      </a:lnTo>
                      <a:lnTo>
                        <a:pt x="384365" y="275590"/>
                      </a:lnTo>
                      <a:lnTo>
                        <a:pt x="384784" y="277253"/>
                      </a:lnTo>
                      <a:lnTo>
                        <a:pt x="383819" y="279400"/>
                      </a:lnTo>
                      <a:lnTo>
                        <a:pt x="383019" y="279400"/>
                      </a:lnTo>
                      <a:lnTo>
                        <a:pt x="382168" y="280670"/>
                      </a:lnTo>
                      <a:lnTo>
                        <a:pt x="379272" y="280670"/>
                      </a:lnTo>
                      <a:lnTo>
                        <a:pt x="389051" y="284480"/>
                      </a:lnTo>
                      <a:lnTo>
                        <a:pt x="392950" y="287020"/>
                      </a:lnTo>
                      <a:lnTo>
                        <a:pt x="397700" y="288290"/>
                      </a:lnTo>
                      <a:lnTo>
                        <a:pt x="399567" y="288290"/>
                      </a:lnTo>
                      <a:lnTo>
                        <a:pt x="398729" y="289560"/>
                      </a:lnTo>
                      <a:lnTo>
                        <a:pt x="397802" y="289560"/>
                      </a:lnTo>
                      <a:lnTo>
                        <a:pt x="401408" y="292100"/>
                      </a:lnTo>
                      <a:lnTo>
                        <a:pt x="405968" y="294640"/>
                      </a:lnTo>
                      <a:lnTo>
                        <a:pt x="409930" y="297180"/>
                      </a:lnTo>
                      <a:lnTo>
                        <a:pt x="424700" y="307340"/>
                      </a:lnTo>
                      <a:lnTo>
                        <a:pt x="426186" y="308610"/>
                      </a:lnTo>
                      <a:lnTo>
                        <a:pt x="425932" y="306070"/>
                      </a:lnTo>
                      <a:lnTo>
                        <a:pt x="426681" y="304800"/>
                      </a:lnTo>
                      <a:lnTo>
                        <a:pt x="427355" y="306070"/>
                      </a:lnTo>
                      <a:lnTo>
                        <a:pt x="432041" y="307340"/>
                      </a:lnTo>
                      <a:lnTo>
                        <a:pt x="428155" y="304800"/>
                      </a:lnTo>
                      <a:lnTo>
                        <a:pt x="427786" y="303530"/>
                      </a:lnTo>
                      <a:lnTo>
                        <a:pt x="429691" y="303530"/>
                      </a:lnTo>
                      <a:lnTo>
                        <a:pt x="434340" y="307340"/>
                      </a:lnTo>
                      <a:lnTo>
                        <a:pt x="434543" y="303530"/>
                      </a:lnTo>
                      <a:lnTo>
                        <a:pt x="434606" y="302260"/>
                      </a:lnTo>
                      <a:lnTo>
                        <a:pt x="433184" y="300990"/>
                      </a:lnTo>
                      <a:lnTo>
                        <a:pt x="432193" y="299720"/>
                      </a:lnTo>
                      <a:lnTo>
                        <a:pt x="432930" y="298450"/>
                      </a:lnTo>
                      <a:lnTo>
                        <a:pt x="429145" y="299720"/>
                      </a:lnTo>
                      <a:lnTo>
                        <a:pt x="428371" y="300990"/>
                      </a:lnTo>
                      <a:lnTo>
                        <a:pt x="428828" y="299720"/>
                      </a:lnTo>
                      <a:lnTo>
                        <a:pt x="430276" y="298450"/>
                      </a:lnTo>
                      <a:lnTo>
                        <a:pt x="429818" y="297180"/>
                      </a:lnTo>
                      <a:lnTo>
                        <a:pt x="426808" y="295910"/>
                      </a:lnTo>
                      <a:lnTo>
                        <a:pt x="428142" y="295910"/>
                      </a:lnTo>
                      <a:lnTo>
                        <a:pt x="427228" y="294640"/>
                      </a:lnTo>
                      <a:lnTo>
                        <a:pt x="422795" y="294640"/>
                      </a:lnTo>
                      <a:lnTo>
                        <a:pt x="420522" y="294640"/>
                      </a:lnTo>
                      <a:lnTo>
                        <a:pt x="419239" y="295910"/>
                      </a:lnTo>
                      <a:lnTo>
                        <a:pt x="420090" y="293370"/>
                      </a:lnTo>
                      <a:lnTo>
                        <a:pt x="422795" y="294640"/>
                      </a:lnTo>
                      <a:lnTo>
                        <a:pt x="421220" y="292100"/>
                      </a:lnTo>
                      <a:lnTo>
                        <a:pt x="421030" y="292100"/>
                      </a:lnTo>
                      <a:lnTo>
                        <a:pt x="421817" y="290830"/>
                      </a:lnTo>
                      <a:lnTo>
                        <a:pt x="423430" y="292100"/>
                      </a:lnTo>
                      <a:lnTo>
                        <a:pt x="425513" y="293370"/>
                      </a:lnTo>
                      <a:lnTo>
                        <a:pt x="426046" y="293370"/>
                      </a:lnTo>
                      <a:lnTo>
                        <a:pt x="425602" y="292100"/>
                      </a:lnTo>
                      <a:lnTo>
                        <a:pt x="427482" y="292100"/>
                      </a:lnTo>
                      <a:lnTo>
                        <a:pt x="428409" y="293370"/>
                      </a:lnTo>
                      <a:lnTo>
                        <a:pt x="427710" y="294640"/>
                      </a:lnTo>
                      <a:lnTo>
                        <a:pt x="429006" y="295910"/>
                      </a:lnTo>
                      <a:lnTo>
                        <a:pt x="432879" y="297180"/>
                      </a:lnTo>
                      <a:lnTo>
                        <a:pt x="434174" y="294640"/>
                      </a:lnTo>
                      <a:lnTo>
                        <a:pt x="434124" y="294513"/>
                      </a:lnTo>
                      <a:lnTo>
                        <a:pt x="436270" y="293370"/>
                      </a:lnTo>
                      <a:lnTo>
                        <a:pt x="438137" y="293370"/>
                      </a:lnTo>
                      <a:lnTo>
                        <a:pt x="437222" y="294640"/>
                      </a:lnTo>
                      <a:lnTo>
                        <a:pt x="435267" y="294640"/>
                      </a:lnTo>
                      <a:lnTo>
                        <a:pt x="434022" y="295910"/>
                      </a:lnTo>
                      <a:lnTo>
                        <a:pt x="434848" y="297180"/>
                      </a:lnTo>
                      <a:lnTo>
                        <a:pt x="437616" y="300990"/>
                      </a:lnTo>
                      <a:lnTo>
                        <a:pt x="437172" y="303530"/>
                      </a:lnTo>
                      <a:lnTo>
                        <a:pt x="435597" y="302260"/>
                      </a:lnTo>
                      <a:lnTo>
                        <a:pt x="436295" y="303530"/>
                      </a:lnTo>
                      <a:lnTo>
                        <a:pt x="436372" y="304800"/>
                      </a:lnTo>
                      <a:lnTo>
                        <a:pt x="438023" y="304800"/>
                      </a:lnTo>
                      <a:lnTo>
                        <a:pt x="439585" y="303530"/>
                      </a:lnTo>
                      <a:lnTo>
                        <a:pt x="441769" y="304800"/>
                      </a:lnTo>
                      <a:lnTo>
                        <a:pt x="443026" y="304800"/>
                      </a:lnTo>
                      <a:lnTo>
                        <a:pt x="442290" y="303530"/>
                      </a:lnTo>
                      <a:lnTo>
                        <a:pt x="441909" y="302260"/>
                      </a:lnTo>
                      <a:lnTo>
                        <a:pt x="443191" y="303530"/>
                      </a:lnTo>
                      <a:lnTo>
                        <a:pt x="443255" y="304800"/>
                      </a:lnTo>
                      <a:lnTo>
                        <a:pt x="444855" y="307340"/>
                      </a:lnTo>
                      <a:lnTo>
                        <a:pt x="449389" y="307340"/>
                      </a:lnTo>
                      <a:lnTo>
                        <a:pt x="448411" y="304800"/>
                      </a:lnTo>
                      <a:lnTo>
                        <a:pt x="447586" y="302260"/>
                      </a:lnTo>
                      <a:lnTo>
                        <a:pt x="445173" y="299720"/>
                      </a:lnTo>
                      <a:lnTo>
                        <a:pt x="447332" y="299720"/>
                      </a:lnTo>
                      <a:lnTo>
                        <a:pt x="446532" y="298450"/>
                      </a:lnTo>
                      <a:lnTo>
                        <a:pt x="446316" y="297180"/>
                      </a:lnTo>
                      <a:lnTo>
                        <a:pt x="445185" y="294640"/>
                      </a:lnTo>
                      <a:lnTo>
                        <a:pt x="444207" y="293370"/>
                      </a:lnTo>
                      <a:lnTo>
                        <a:pt x="443738" y="292100"/>
                      </a:lnTo>
                      <a:lnTo>
                        <a:pt x="444004" y="290830"/>
                      </a:lnTo>
                      <a:lnTo>
                        <a:pt x="443699" y="289560"/>
                      </a:lnTo>
                      <a:lnTo>
                        <a:pt x="442861" y="288290"/>
                      </a:lnTo>
                      <a:lnTo>
                        <a:pt x="441680" y="287020"/>
                      </a:lnTo>
                      <a:lnTo>
                        <a:pt x="441833" y="287020"/>
                      </a:lnTo>
                      <a:lnTo>
                        <a:pt x="443776" y="288290"/>
                      </a:lnTo>
                      <a:lnTo>
                        <a:pt x="444512" y="288290"/>
                      </a:lnTo>
                      <a:lnTo>
                        <a:pt x="443814" y="287020"/>
                      </a:lnTo>
                      <a:lnTo>
                        <a:pt x="442772" y="285750"/>
                      </a:lnTo>
                      <a:lnTo>
                        <a:pt x="444182" y="285750"/>
                      </a:lnTo>
                      <a:lnTo>
                        <a:pt x="443814" y="284480"/>
                      </a:lnTo>
                      <a:lnTo>
                        <a:pt x="444398" y="281940"/>
                      </a:lnTo>
                      <a:lnTo>
                        <a:pt x="444601" y="283210"/>
                      </a:lnTo>
                      <a:lnTo>
                        <a:pt x="444042" y="284480"/>
                      </a:lnTo>
                      <a:lnTo>
                        <a:pt x="444423" y="287020"/>
                      </a:lnTo>
                      <a:lnTo>
                        <a:pt x="444779" y="287020"/>
                      </a:lnTo>
                      <a:lnTo>
                        <a:pt x="446062" y="288290"/>
                      </a:lnTo>
                      <a:lnTo>
                        <a:pt x="446392" y="290830"/>
                      </a:lnTo>
                      <a:lnTo>
                        <a:pt x="447001" y="292100"/>
                      </a:lnTo>
                      <a:lnTo>
                        <a:pt x="447192" y="294640"/>
                      </a:lnTo>
                      <a:lnTo>
                        <a:pt x="447992" y="295910"/>
                      </a:lnTo>
                      <a:lnTo>
                        <a:pt x="448398" y="297180"/>
                      </a:lnTo>
                      <a:lnTo>
                        <a:pt x="449287" y="297180"/>
                      </a:lnTo>
                      <a:lnTo>
                        <a:pt x="449300" y="295910"/>
                      </a:lnTo>
                      <a:lnTo>
                        <a:pt x="450811" y="297180"/>
                      </a:lnTo>
                      <a:lnTo>
                        <a:pt x="451053" y="298450"/>
                      </a:lnTo>
                      <a:lnTo>
                        <a:pt x="465353" y="298450"/>
                      </a:lnTo>
                      <a:close/>
                    </a:path>
                    <a:path w="1174750" h="534035">
                      <a:moveTo>
                        <a:pt x="521919" y="367030"/>
                      </a:moveTo>
                      <a:lnTo>
                        <a:pt x="520014" y="364490"/>
                      </a:lnTo>
                      <a:lnTo>
                        <a:pt x="519595" y="361950"/>
                      </a:lnTo>
                      <a:lnTo>
                        <a:pt x="519912" y="360680"/>
                      </a:lnTo>
                      <a:lnTo>
                        <a:pt x="519658" y="360680"/>
                      </a:lnTo>
                      <a:lnTo>
                        <a:pt x="519455" y="359410"/>
                      </a:lnTo>
                      <a:lnTo>
                        <a:pt x="519582" y="358140"/>
                      </a:lnTo>
                      <a:lnTo>
                        <a:pt x="520014" y="356870"/>
                      </a:lnTo>
                      <a:lnTo>
                        <a:pt x="521195" y="354330"/>
                      </a:lnTo>
                      <a:lnTo>
                        <a:pt x="520674" y="353060"/>
                      </a:lnTo>
                      <a:lnTo>
                        <a:pt x="519734" y="351790"/>
                      </a:lnTo>
                      <a:lnTo>
                        <a:pt x="518591" y="350520"/>
                      </a:lnTo>
                      <a:lnTo>
                        <a:pt x="512203" y="347980"/>
                      </a:lnTo>
                      <a:lnTo>
                        <a:pt x="512140" y="368300"/>
                      </a:lnTo>
                      <a:lnTo>
                        <a:pt x="510159" y="368300"/>
                      </a:lnTo>
                      <a:lnTo>
                        <a:pt x="508977" y="367779"/>
                      </a:lnTo>
                      <a:lnTo>
                        <a:pt x="509727" y="367030"/>
                      </a:lnTo>
                      <a:lnTo>
                        <a:pt x="512140" y="368300"/>
                      </a:lnTo>
                      <a:lnTo>
                        <a:pt x="512140" y="347941"/>
                      </a:lnTo>
                      <a:lnTo>
                        <a:pt x="508012" y="345440"/>
                      </a:lnTo>
                      <a:lnTo>
                        <a:pt x="506044" y="345440"/>
                      </a:lnTo>
                      <a:lnTo>
                        <a:pt x="506044" y="351790"/>
                      </a:lnTo>
                      <a:lnTo>
                        <a:pt x="505637" y="353060"/>
                      </a:lnTo>
                      <a:lnTo>
                        <a:pt x="504063" y="353060"/>
                      </a:lnTo>
                      <a:lnTo>
                        <a:pt x="506044" y="351790"/>
                      </a:lnTo>
                      <a:lnTo>
                        <a:pt x="506044" y="345440"/>
                      </a:lnTo>
                      <a:lnTo>
                        <a:pt x="505739" y="345440"/>
                      </a:lnTo>
                      <a:lnTo>
                        <a:pt x="503580" y="344170"/>
                      </a:lnTo>
                      <a:lnTo>
                        <a:pt x="501611" y="342900"/>
                      </a:lnTo>
                      <a:lnTo>
                        <a:pt x="500329" y="342900"/>
                      </a:lnTo>
                      <a:lnTo>
                        <a:pt x="499262" y="341630"/>
                      </a:lnTo>
                      <a:lnTo>
                        <a:pt x="495477" y="341630"/>
                      </a:lnTo>
                      <a:lnTo>
                        <a:pt x="494741" y="340360"/>
                      </a:lnTo>
                      <a:lnTo>
                        <a:pt x="494588" y="340360"/>
                      </a:lnTo>
                      <a:lnTo>
                        <a:pt x="493179" y="339090"/>
                      </a:lnTo>
                      <a:lnTo>
                        <a:pt x="491934" y="336550"/>
                      </a:lnTo>
                      <a:lnTo>
                        <a:pt x="490728" y="335280"/>
                      </a:lnTo>
                      <a:lnTo>
                        <a:pt x="490321" y="335280"/>
                      </a:lnTo>
                      <a:lnTo>
                        <a:pt x="489229" y="334010"/>
                      </a:lnTo>
                      <a:lnTo>
                        <a:pt x="487692" y="331470"/>
                      </a:lnTo>
                      <a:lnTo>
                        <a:pt x="488149" y="331470"/>
                      </a:lnTo>
                      <a:lnTo>
                        <a:pt x="488518" y="330200"/>
                      </a:lnTo>
                      <a:lnTo>
                        <a:pt x="488975" y="330200"/>
                      </a:lnTo>
                      <a:lnTo>
                        <a:pt x="489013" y="328930"/>
                      </a:lnTo>
                      <a:lnTo>
                        <a:pt x="488632" y="328930"/>
                      </a:lnTo>
                      <a:lnTo>
                        <a:pt x="488365" y="327660"/>
                      </a:lnTo>
                      <a:lnTo>
                        <a:pt x="487387" y="326390"/>
                      </a:lnTo>
                      <a:lnTo>
                        <a:pt x="485698" y="323850"/>
                      </a:lnTo>
                      <a:lnTo>
                        <a:pt x="482955" y="320040"/>
                      </a:lnTo>
                      <a:lnTo>
                        <a:pt x="482041" y="318770"/>
                      </a:lnTo>
                      <a:lnTo>
                        <a:pt x="480949" y="317500"/>
                      </a:lnTo>
                      <a:lnTo>
                        <a:pt x="479996" y="316230"/>
                      </a:lnTo>
                      <a:lnTo>
                        <a:pt x="478726" y="314960"/>
                      </a:lnTo>
                      <a:lnTo>
                        <a:pt x="477456" y="313690"/>
                      </a:lnTo>
                      <a:lnTo>
                        <a:pt x="476948" y="312420"/>
                      </a:lnTo>
                      <a:lnTo>
                        <a:pt x="475615" y="309880"/>
                      </a:lnTo>
                      <a:lnTo>
                        <a:pt x="474459" y="307340"/>
                      </a:lnTo>
                      <a:lnTo>
                        <a:pt x="473773" y="306133"/>
                      </a:lnTo>
                      <a:lnTo>
                        <a:pt x="473773" y="314960"/>
                      </a:lnTo>
                      <a:lnTo>
                        <a:pt x="472897" y="314960"/>
                      </a:lnTo>
                      <a:lnTo>
                        <a:pt x="471220" y="313969"/>
                      </a:lnTo>
                      <a:lnTo>
                        <a:pt x="471690" y="313690"/>
                      </a:lnTo>
                      <a:lnTo>
                        <a:pt x="473773" y="314960"/>
                      </a:lnTo>
                      <a:lnTo>
                        <a:pt x="473773" y="306133"/>
                      </a:lnTo>
                      <a:lnTo>
                        <a:pt x="473024" y="304800"/>
                      </a:lnTo>
                      <a:lnTo>
                        <a:pt x="469963" y="302260"/>
                      </a:lnTo>
                      <a:lnTo>
                        <a:pt x="468172" y="300786"/>
                      </a:lnTo>
                      <a:lnTo>
                        <a:pt x="468172" y="309880"/>
                      </a:lnTo>
                      <a:lnTo>
                        <a:pt x="467791" y="311150"/>
                      </a:lnTo>
                      <a:lnTo>
                        <a:pt x="466839" y="311150"/>
                      </a:lnTo>
                      <a:lnTo>
                        <a:pt x="466699" y="309880"/>
                      </a:lnTo>
                      <a:lnTo>
                        <a:pt x="468172" y="309880"/>
                      </a:lnTo>
                      <a:lnTo>
                        <a:pt x="468172" y="300786"/>
                      </a:lnTo>
                      <a:lnTo>
                        <a:pt x="466890" y="299720"/>
                      </a:lnTo>
                      <a:lnTo>
                        <a:pt x="451294" y="299720"/>
                      </a:lnTo>
                      <a:lnTo>
                        <a:pt x="449859" y="299720"/>
                      </a:lnTo>
                      <a:lnTo>
                        <a:pt x="450697" y="300990"/>
                      </a:lnTo>
                      <a:lnTo>
                        <a:pt x="451954" y="302260"/>
                      </a:lnTo>
                      <a:lnTo>
                        <a:pt x="452234" y="303530"/>
                      </a:lnTo>
                      <a:lnTo>
                        <a:pt x="453745" y="306070"/>
                      </a:lnTo>
                      <a:lnTo>
                        <a:pt x="461124" y="309880"/>
                      </a:lnTo>
                      <a:lnTo>
                        <a:pt x="462445" y="307340"/>
                      </a:lnTo>
                      <a:lnTo>
                        <a:pt x="461518" y="307340"/>
                      </a:lnTo>
                      <a:lnTo>
                        <a:pt x="461797" y="306070"/>
                      </a:lnTo>
                      <a:lnTo>
                        <a:pt x="462407" y="306070"/>
                      </a:lnTo>
                      <a:lnTo>
                        <a:pt x="463207" y="303530"/>
                      </a:lnTo>
                      <a:lnTo>
                        <a:pt x="464324" y="302260"/>
                      </a:lnTo>
                      <a:lnTo>
                        <a:pt x="464743" y="302260"/>
                      </a:lnTo>
                      <a:lnTo>
                        <a:pt x="464185" y="303530"/>
                      </a:lnTo>
                      <a:lnTo>
                        <a:pt x="463537" y="306070"/>
                      </a:lnTo>
                      <a:lnTo>
                        <a:pt x="463677" y="306070"/>
                      </a:lnTo>
                      <a:lnTo>
                        <a:pt x="463511" y="307340"/>
                      </a:lnTo>
                      <a:lnTo>
                        <a:pt x="462902" y="307340"/>
                      </a:lnTo>
                      <a:lnTo>
                        <a:pt x="462800" y="308610"/>
                      </a:lnTo>
                      <a:lnTo>
                        <a:pt x="462534" y="309880"/>
                      </a:lnTo>
                      <a:lnTo>
                        <a:pt x="462419" y="311150"/>
                      </a:lnTo>
                      <a:lnTo>
                        <a:pt x="466966" y="312420"/>
                      </a:lnTo>
                      <a:lnTo>
                        <a:pt x="466877" y="311467"/>
                      </a:lnTo>
                      <a:lnTo>
                        <a:pt x="469226" y="314960"/>
                      </a:lnTo>
                      <a:lnTo>
                        <a:pt x="467309" y="313690"/>
                      </a:lnTo>
                      <a:lnTo>
                        <a:pt x="465836" y="313690"/>
                      </a:lnTo>
                      <a:lnTo>
                        <a:pt x="466585" y="314960"/>
                      </a:lnTo>
                      <a:lnTo>
                        <a:pt x="466953" y="316230"/>
                      </a:lnTo>
                      <a:lnTo>
                        <a:pt x="467588" y="316230"/>
                      </a:lnTo>
                      <a:lnTo>
                        <a:pt x="467918" y="317500"/>
                      </a:lnTo>
                      <a:lnTo>
                        <a:pt x="468782" y="316230"/>
                      </a:lnTo>
                      <a:lnTo>
                        <a:pt x="469480" y="314960"/>
                      </a:lnTo>
                      <a:lnTo>
                        <a:pt x="470496" y="314375"/>
                      </a:lnTo>
                      <a:lnTo>
                        <a:pt x="469328" y="317500"/>
                      </a:lnTo>
                      <a:lnTo>
                        <a:pt x="471855" y="318770"/>
                      </a:lnTo>
                      <a:lnTo>
                        <a:pt x="473075" y="320040"/>
                      </a:lnTo>
                      <a:lnTo>
                        <a:pt x="471919" y="320040"/>
                      </a:lnTo>
                      <a:lnTo>
                        <a:pt x="469544" y="318770"/>
                      </a:lnTo>
                      <a:lnTo>
                        <a:pt x="466966" y="321310"/>
                      </a:lnTo>
                      <a:lnTo>
                        <a:pt x="473214" y="321310"/>
                      </a:lnTo>
                      <a:lnTo>
                        <a:pt x="471436" y="322580"/>
                      </a:lnTo>
                      <a:lnTo>
                        <a:pt x="470662" y="322580"/>
                      </a:lnTo>
                      <a:lnTo>
                        <a:pt x="471589" y="326390"/>
                      </a:lnTo>
                      <a:lnTo>
                        <a:pt x="476224" y="326390"/>
                      </a:lnTo>
                      <a:lnTo>
                        <a:pt x="474776" y="327660"/>
                      </a:lnTo>
                      <a:lnTo>
                        <a:pt x="470357" y="327660"/>
                      </a:lnTo>
                      <a:lnTo>
                        <a:pt x="471792" y="328930"/>
                      </a:lnTo>
                      <a:lnTo>
                        <a:pt x="470306" y="330200"/>
                      </a:lnTo>
                      <a:lnTo>
                        <a:pt x="472122" y="330200"/>
                      </a:lnTo>
                      <a:lnTo>
                        <a:pt x="474510" y="328930"/>
                      </a:lnTo>
                      <a:lnTo>
                        <a:pt x="477291" y="330200"/>
                      </a:lnTo>
                      <a:lnTo>
                        <a:pt x="479729" y="332740"/>
                      </a:lnTo>
                      <a:lnTo>
                        <a:pt x="480834" y="331470"/>
                      </a:lnTo>
                      <a:lnTo>
                        <a:pt x="482142" y="334010"/>
                      </a:lnTo>
                      <a:lnTo>
                        <a:pt x="480098" y="334010"/>
                      </a:lnTo>
                      <a:lnTo>
                        <a:pt x="480491" y="335280"/>
                      </a:lnTo>
                      <a:lnTo>
                        <a:pt x="483069" y="337820"/>
                      </a:lnTo>
                      <a:lnTo>
                        <a:pt x="484911" y="337820"/>
                      </a:lnTo>
                      <a:lnTo>
                        <a:pt x="486905" y="336550"/>
                      </a:lnTo>
                      <a:lnTo>
                        <a:pt x="486384" y="337820"/>
                      </a:lnTo>
                      <a:lnTo>
                        <a:pt x="484009" y="339090"/>
                      </a:lnTo>
                      <a:lnTo>
                        <a:pt x="485648" y="340360"/>
                      </a:lnTo>
                      <a:lnTo>
                        <a:pt x="484327" y="340360"/>
                      </a:lnTo>
                      <a:lnTo>
                        <a:pt x="484860" y="341630"/>
                      </a:lnTo>
                      <a:lnTo>
                        <a:pt x="485813" y="341630"/>
                      </a:lnTo>
                      <a:lnTo>
                        <a:pt x="487514" y="342900"/>
                      </a:lnTo>
                      <a:lnTo>
                        <a:pt x="488607" y="344170"/>
                      </a:lnTo>
                      <a:lnTo>
                        <a:pt x="489762" y="345440"/>
                      </a:lnTo>
                      <a:lnTo>
                        <a:pt x="490753" y="346710"/>
                      </a:lnTo>
                      <a:lnTo>
                        <a:pt x="491921" y="346710"/>
                      </a:lnTo>
                      <a:lnTo>
                        <a:pt x="493649" y="347980"/>
                      </a:lnTo>
                      <a:lnTo>
                        <a:pt x="493953" y="349250"/>
                      </a:lnTo>
                      <a:lnTo>
                        <a:pt x="494944" y="350520"/>
                      </a:lnTo>
                      <a:lnTo>
                        <a:pt x="491680" y="350520"/>
                      </a:lnTo>
                      <a:lnTo>
                        <a:pt x="493826" y="351790"/>
                      </a:lnTo>
                      <a:lnTo>
                        <a:pt x="492861" y="354330"/>
                      </a:lnTo>
                      <a:lnTo>
                        <a:pt x="492239" y="354330"/>
                      </a:lnTo>
                      <a:lnTo>
                        <a:pt x="491477" y="355600"/>
                      </a:lnTo>
                      <a:lnTo>
                        <a:pt x="491413" y="356870"/>
                      </a:lnTo>
                      <a:lnTo>
                        <a:pt x="491566" y="358140"/>
                      </a:lnTo>
                      <a:lnTo>
                        <a:pt x="490118" y="356870"/>
                      </a:lnTo>
                      <a:lnTo>
                        <a:pt x="489521" y="358140"/>
                      </a:lnTo>
                      <a:lnTo>
                        <a:pt x="489851" y="359410"/>
                      </a:lnTo>
                      <a:lnTo>
                        <a:pt x="487794" y="356870"/>
                      </a:lnTo>
                      <a:lnTo>
                        <a:pt x="489089" y="360680"/>
                      </a:lnTo>
                      <a:lnTo>
                        <a:pt x="490143" y="361950"/>
                      </a:lnTo>
                      <a:lnTo>
                        <a:pt x="492798" y="364490"/>
                      </a:lnTo>
                      <a:lnTo>
                        <a:pt x="493064" y="360680"/>
                      </a:lnTo>
                      <a:lnTo>
                        <a:pt x="493382" y="360680"/>
                      </a:lnTo>
                      <a:lnTo>
                        <a:pt x="495617" y="359410"/>
                      </a:lnTo>
                      <a:lnTo>
                        <a:pt x="495706" y="358140"/>
                      </a:lnTo>
                      <a:lnTo>
                        <a:pt x="495795" y="356870"/>
                      </a:lnTo>
                      <a:lnTo>
                        <a:pt x="493636" y="356870"/>
                      </a:lnTo>
                      <a:lnTo>
                        <a:pt x="495554" y="355600"/>
                      </a:lnTo>
                      <a:lnTo>
                        <a:pt x="497332" y="355600"/>
                      </a:lnTo>
                      <a:lnTo>
                        <a:pt x="501256" y="353060"/>
                      </a:lnTo>
                      <a:lnTo>
                        <a:pt x="503936" y="353060"/>
                      </a:lnTo>
                      <a:lnTo>
                        <a:pt x="503999" y="355600"/>
                      </a:lnTo>
                      <a:lnTo>
                        <a:pt x="505409" y="355600"/>
                      </a:lnTo>
                      <a:lnTo>
                        <a:pt x="507085" y="358140"/>
                      </a:lnTo>
                      <a:lnTo>
                        <a:pt x="507733" y="359410"/>
                      </a:lnTo>
                      <a:lnTo>
                        <a:pt x="508558" y="361950"/>
                      </a:lnTo>
                      <a:lnTo>
                        <a:pt x="508457" y="367563"/>
                      </a:lnTo>
                      <a:lnTo>
                        <a:pt x="507238" y="367030"/>
                      </a:lnTo>
                      <a:lnTo>
                        <a:pt x="504952" y="372110"/>
                      </a:lnTo>
                      <a:lnTo>
                        <a:pt x="506755" y="372110"/>
                      </a:lnTo>
                      <a:lnTo>
                        <a:pt x="506615" y="373380"/>
                      </a:lnTo>
                      <a:lnTo>
                        <a:pt x="507441" y="374650"/>
                      </a:lnTo>
                      <a:lnTo>
                        <a:pt x="508279" y="377190"/>
                      </a:lnTo>
                      <a:lnTo>
                        <a:pt x="507377" y="378460"/>
                      </a:lnTo>
                      <a:lnTo>
                        <a:pt x="513245" y="378460"/>
                      </a:lnTo>
                      <a:lnTo>
                        <a:pt x="515747" y="375920"/>
                      </a:lnTo>
                      <a:lnTo>
                        <a:pt x="517258" y="373380"/>
                      </a:lnTo>
                      <a:lnTo>
                        <a:pt x="518312" y="372110"/>
                      </a:lnTo>
                      <a:lnTo>
                        <a:pt x="519201" y="373380"/>
                      </a:lnTo>
                      <a:lnTo>
                        <a:pt x="520039" y="372110"/>
                      </a:lnTo>
                      <a:lnTo>
                        <a:pt x="521474" y="368300"/>
                      </a:lnTo>
                      <a:lnTo>
                        <a:pt x="521919" y="367030"/>
                      </a:lnTo>
                      <a:close/>
                    </a:path>
                    <a:path w="1174750" h="534035">
                      <a:moveTo>
                        <a:pt x="1174483" y="533882"/>
                      </a:moveTo>
                      <a:lnTo>
                        <a:pt x="1174203" y="533819"/>
                      </a:lnTo>
                      <a:lnTo>
                        <a:pt x="1173899" y="533844"/>
                      </a:lnTo>
                      <a:lnTo>
                        <a:pt x="1173530" y="533857"/>
                      </a:lnTo>
                      <a:lnTo>
                        <a:pt x="1173822" y="533882"/>
                      </a:lnTo>
                      <a:lnTo>
                        <a:pt x="1174140" y="533895"/>
                      </a:lnTo>
                      <a:lnTo>
                        <a:pt x="1174483" y="533882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599" name="object 139">
                  <a:extLst>
                    <a:ext uri="{FF2B5EF4-FFF2-40B4-BE49-F238E27FC236}">
                      <a16:creationId xmlns:a16="http://schemas.microsoft.com/office/drawing/2014/main" id="{D34AB7B2-59C4-E17D-B565-47E6DB61B6C2}"/>
                    </a:ext>
                  </a:extLst>
                </p:cNvPr>
                <p:cNvSpPr/>
                <p:nvPr/>
              </p:nvSpPr>
              <p:spPr>
                <a:xfrm>
                  <a:off x="1065415" y="2394546"/>
                  <a:ext cx="434975" cy="2959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4975" h="295910">
                      <a:moveTo>
                        <a:pt x="41402" y="74930"/>
                      </a:moveTo>
                      <a:lnTo>
                        <a:pt x="41224" y="74930"/>
                      </a:lnTo>
                      <a:lnTo>
                        <a:pt x="40817" y="76200"/>
                      </a:lnTo>
                      <a:lnTo>
                        <a:pt x="41402" y="74930"/>
                      </a:lnTo>
                      <a:close/>
                    </a:path>
                    <a:path w="434975" h="295910">
                      <a:moveTo>
                        <a:pt x="71361" y="121920"/>
                      </a:moveTo>
                      <a:lnTo>
                        <a:pt x="71081" y="120789"/>
                      </a:lnTo>
                      <a:lnTo>
                        <a:pt x="70726" y="121920"/>
                      </a:lnTo>
                      <a:lnTo>
                        <a:pt x="71361" y="121920"/>
                      </a:lnTo>
                      <a:close/>
                    </a:path>
                    <a:path w="434975" h="295910">
                      <a:moveTo>
                        <a:pt x="280949" y="118160"/>
                      </a:moveTo>
                      <a:lnTo>
                        <a:pt x="280365" y="119380"/>
                      </a:lnTo>
                      <a:lnTo>
                        <a:pt x="280009" y="121920"/>
                      </a:lnTo>
                      <a:lnTo>
                        <a:pt x="280949" y="118160"/>
                      </a:lnTo>
                      <a:close/>
                    </a:path>
                    <a:path w="434975" h="295910">
                      <a:moveTo>
                        <a:pt x="281673" y="115773"/>
                      </a:moveTo>
                      <a:lnTo>
                        <a:pt x="281266" y="116840"/>
                      </a:lnTo>
                      <a:lnTo>
                        <a:pt x="280949" y="118160"/>
                      </a:lnTo>
                      <a:lnTo>
                        <a:pt x="281559" y="116840"/>
                      </a:lnTo>
                      <a:lnTo>
                        <a:pt x="281673" y="115773"/>
                      </a:lnTo>
                      <a:close/>
                    </a:path>
                    <a:path w="434975" h="295910">
                      <a:moveTo>
                        <a:pt x="327634" y="252196"/>
                      </a:moveTo>
                      <a:lnTo>
                        <a:pt x="326542" y="251460"/>
                      </a:lnTo>
                      <a:lnTo>
                        <a:pt x="324878" y="251460"/>
                      </a:lnTo>
                      <a:lnTo>
                        <a:pt x="326288" y="252730"/>
                      </a:lnTo>
                      <a:lnTo>
                        <a:pt x="327634" y="252196"/>
                      </a:lnTo>
                      <a:close/>
                    </a:path>
                    <a:path w="434975" h="295910">
                      <a:moveTo>
                        <a:pt x="329933" y="254000"/>
                      </a:moveTo>
                      <a:lnTo>
                        <a:pt x="329438" y="251460"/>
                      </a:lnTo>
                      <a:lnTo>
                        <a:pt x="327634" y="252196"/>
                      </a:lnTo>
                      <a:lnTo>
                        <a:pt x="328422" y="252730"/>
                      </a:lnTo>
                      <a:lnTo>
                        <a:pt x="329933" y="254000"/>
                      </a:lnTo>
                      <a:close/>
                    </a:path>
                    <a:path w="434975" h="295910">
                      <a:moveTo>
                        <a:pt x="369214" y="211315"/>
                      </a:moveTo>
                      <a:lnTo>
                        <a:pt x="367995" y="212090"/>
                      </a:lnTo>
                      <a:lnTo>
                        <a:pt x="368617" y="212090"/>
                      </a:lnTo>
                      <a:lnTo>
                        <a:pt x="369214" y="211315"/>
                      </a:lnTo>
                      <a:close/>
                    </a:path>
                    <a:path w="434975" h="295910">
                      <a:moveTo>
                        <a:pt x="369976" y="210820"/>
                      </a:moveTo>
                      <a:lnTo>
                        <a:pt x="369582" y="210820"/>
                      </a:lnTo>
                      <a:lnTo>
                        <a:pt x="369214" y="211315"/>
                      </a:lnTo>
                      <a:lnTo>
                        <a:pt x="369976" y="210820"/>
                      </a:lnTo>
                      <a:close/>
                    </a:path>
                    <a:path w="434975" h="295910">
                      <a:moveTo>
                        <a:pt x="420878" y="285686"/>
                      </a:moveTo>
                      <a:lnTo>
                        <a:pt x="420624" y="285305"/>
                      </a:lnTo>
                      <a:lnTo>
                        <a:pt x="420166" y="285115"/>
                      </a:lnTo>
                      <a:lnTo>
                        <a:pt x="420103" y="284988"/>
                      </a:lnTo>
                      <a:lnTo>
                        <a:pt x="419620" y="284632"/>
                      </a:lnTo>
                      <a:lnTo>
                        <a:pt x="419341" y="284429"/>
                      </a:lnTo>
                      <a:lnTo>
                        <a:pt x="418236" y="284632"/>
                      </a:lnTo>
                      <a:lnTo>
                        <a:pt x="417334" y="284543"/>
                      </a:lnTo>
                      <a:lnTo>
                        <a:pt x="416534" y="284226"/>
                      </a:lnTo>
                      <a:lnTo>
                        <a:pt x="416153" y="283857"/>
                      </a:lnTo>
                      <a:lnTo>
                        <a:pt x="415747" y="283591"/>
                      </a:lnTo>
                      <a:lnTo>
                        <a:pt x="415188" y="283044"/>
                      </a:lnTo>
                      <a:lnTo>
                        <a:pt x="414274" y="282714"/>
                      </a:lnTo>
                      <a:lnTo>
                        <a:pt x="413664" y="283311"/>
                      </a:lnTo>
                      <a:lnTo>
                        <a:pt x="413283" y="283514"/>
                      </a:lnTo>
                      <a:lnTo>
                        <a:pt x="410502" y="284873"/>
                      </a:lnTo>
                      <a:lnTo>
                        <a:pt x="409752" y="285038"/>
                      </a:lnTo>
                      <a:lnTo>
                        <a:pt x="409956" y="284226"/>
                      </a:lnTo>
                      <a:lnTo>
                        <a:pt x="409905" y="283857"/>
                      </a:lnTo>
                      <a:lnTo>
                        <a:pt x="409778" y="283654"/>
                      </a:lnTo>
                      <a:lnTo>
                        <a:pt x="409321" y="283438"/>
                      </a:lnTo>
                      <a:lnTo>
                        <a:pt x="408914" y="283108"/>
                      </a:lnTo>
                      <a:lnTo>
                        <a:pt x="408317" y="282956"/>
                      </a:lnTo>
                      <a:lnTo>
                        <a:pt x="407568" y="282905"/>
                      </a:lnTo>
                      <a:lnTo>
                        <a:pt x="406755" y="282473"/>
                      </a:lnTo>
                      <a:lnTo>
                        <a:pt x="406552" y="282371"/>
                      </a:lnTo>
                      <a:lnTo>
                        <a:pt x="405777" y="281444"/>
                      </a:lnTo>
                      <a:lnTo>
                        <a:pt x="403644" y="279996"/>
                      </a:lnTo>
                      <a:lnTo>
                        <a:pt x="401243" y="277380"/>
                      </a:lnTo>
                      <a:lnTo>
                        <a:pt x="400913" y="277380"/>
                      </a:lnTo>
                      <a:lnTo>
                        <a:pt x="400494" y="277266"/>
                      </a:lnTo>
                      <a:lnTo>
                        <a:pt x="399961" y="277063"/>
                      </a:lnTo>
                      <a:lnTo>
                        <a:pt x="398576" y="277063"/>
                      </a:lnTo>
                      <a:lnTo>
                        <a:pt x="397624" y="276974"/>
                      </a:lnTo>
                      <a:lnTo>
                        <a:pt x="397332" y="276809"/>
                      </a:lnTo>
                      <a:lnTo>
                        <a:pt x="396951" y="276618"/>
                      </a:lnTo>
                      <a:lnTo>
                        <a:pt x="396811" y="276504"/>
                      </a:lnTo>
                      <a:lnTo>
                        <a:pt x="396125" y="276644"/>
                      </a:lnTo>
                      <a:lnTo>
                        <a:pt x="395795" y="276745"/>
                      </a:lnTo>
                      <a:lnTo>
                        <a:pt x="395020" y="276847"/>
                      </a:lnTo>
                      <a:lnTo>
                        <a:pt x="394258" y="277139"/>
                      </a:lnTo>
                      <a:lnTo>
                        <a:pt x="394030" y="277939"/>
                      </a:lnTo>
                      <a:lnTo>
                        <a:pt x="394423" y="278422"/>
                      </a:lnTo>
                      <a:lnTo>
                        <a:pt x="394716" y="278879"/>
                      </a:lnTo>
                      <a:lnTo>
                        <a:pt x="395046" y="279577"/>
                      </a:lnTo>
                      <a:lnTo>
                        <a:pt x="394665" y="280263"/>
                      </a:lnTo>
                      <a:lnTo>
                        <a:pt x="393115" y="280657"/>
                      </a:lnTo>
                      <a:lnTo>
                        <a:pt x="392391" y="280873"/>
                      </a:lnTo>
                      <a:lnTo>
                        <a:pt x="391756" y="281228"/>
                      </a:lnTo>
                      <a:lnTo>
                        <a:pt x="391845" y="282473"/>
                      </a:lnTo>
                      <a:lnTo>
                        <a:pt x="391261" y="282105"/>
                      </a:lnTo>
                      <a:lnTo>
                        <a:pt x="390613" y="282155"/>
                      </a:lnTo>
                      <a:lnTo>
                        <a:pt x="389978" y="282473"/>
                      </a:lnTo>
                      <a:lnTo>
                        <a:pt x="389204" y="282765"/>
                      </a:lnTo>
                      <a:lnTo>
                        <a:pt x="388467" y="283311"/>
                      </a:lnTo>
                      <a:lnTo>
                        <a:pt x="387896" y="284022"/>
                      </a:lnTo>
                      <a:lnTo>
                        <a:pt x="386664" y="286677"/>
                      </a:lnTo>
                      <a:lnTo>
                        <a:pt x="386956" y="286918"/>
                      </a:lnTo>
                      <a:lnTo>
                        <a:pt x="389699" y="288518"/>
                      </a:lnTo>
                      <a:lnTo>
                        <a:pt x="392595" y="289902"/>
                      </a:lnTo>
                      <a:lnTo>
                        <a:pt x="399211" y="291401"/>
                      </a:lnTo>
                      <a:lnTo>
                        <a:pt x="401662" y="292747"/>
                      </a:lnTo>
                      <a:lnTo>
                        <a:pt x="407962" y="295021"/>
                      </a:lnTo>
                      <a:lnTo>
                        <a:pt x="411949" y="294830"/>
                      </a:lnTo>
                      <a:lnTo>
                        <a:pt x="415518" y="295262"/>
                      </a:lnTo>
                      <a:lnTo>
                        <a:pt x="419506" y="291998"/>
                      </a:lnTo>
                      <a:lnTo>
                        <a:pt x="420179" y="292150"/>
                      </a:lnTo>
                      <a:lnTo>
                        <a:pt x="420179" y="291998"/>
                      </a:lnTo>
                      <a:lnTo>
                        <a:pt x="420293" y="288518"/>
                      </a:lnTo>
                      <a:lnTo>
                        <a:pt x="420433" y="288010"/>
                      </a:lnTo>
                      <a:lnTo>
                        <a:pt x="420763" y="287197"/>
                      </a:lnTo>
                      <a:lnTo>
                        <a:pt x="420878" y="285686"/>
                      </a:lnTo>
                      <a:close/>
                    </a:path>
                    <a:path w="434975" h="295910">
                      <a:moveTo>
                        <a:pt x="434708" y="177800"/>
                      </a:moveTo>
                      <a:lnTo>
                        <a:pt x="433946" y="176504"/>
                      </a:lnTo>
                      <a:lnTo>
                        <a:pt x="433324" y="173990"/>
                      </a:lnTo>
                      <a:lnTo>
                        <a:pt x="432574" y="172720"/>
                      </a:lnTo>
                      <a:lnTo>
                        <a:pt x="408736" y="172720"/>
                      </a:lnTo>
                      <a:lnTo>
                        <a:pt x="401205" y="175260"/>
                      </a:lnTo>
                      <a:lnTo>
                        <a:pt x="396849" y="175260"/>
                      </a:lnTo>
                      <a:lnTo>
                        <a:pt x="391604" y="176530"/>
                      </a:lnTo>
                      <a:lnTo>
                        <a:pt x="389483" y="176530"/>
                      </a:lnTo>
                      <a:lnTo>
                        <a:pt x="386676" y="179070"/>
                      </a:lnTo>
                      <a:lnTo>
                        <a:pt x="383603" y="180340"/>
                      </a:lnTo>
                      <a:lnTo>
                        <a:pt x="382206" y="184150"/>
                      </a:lnTo>
                      <a:lnTo>
                        <a:pt x="381927" y="186690"/>
                      </a:lnTo>
                      <a:lnTo>
                        <a:pt x="381076" y="190500"/>
                      </a:lnTo>
                      <a:lnTo>
                        <a:pt x="381508" y="193040"/>
                      </a:lnTo>
                      <a:lnTo>
                        <a:pt x="380580" y="195580"/>
                      </a:lnTo>
                      <a:lnTo>
                        <a:pt x="378523" y="196850"/>
                      </a:lnTo>
                      <a:lnTo>
                        <a:pt x="378180" y="200660"/>
                      </a:lnTo>
                      <a:lnTo>
                        <a:pt x="378091" y="201930"/>
                      </a:lnTo>
                      <a:lnTo>
                        <a:pt x="377685" y="204470"/>
                      </a:lnTo>
                      <a:lnTo>
                        <a:pt x="377634" y="205740"/>
                      </a:lnTo>
                      <a:lnTo>
                        <a:pt x="375894" y="207010"/>
                      </a:lnTo>
                      <a:lnTo>
                        <a:pt x="369976" y="210820"/>
                      </a:lnTo>
                      <a:lnTo>
                        <a:pt x="370382" y="210820"/>
                      </a:lnTo>
                      <a:lnTo>
                        <a:pt x="369887" y="212090"/>
                      </a:lnTo>
                      <a:lnTo>
                        <a:pt x="369138" y="212090"/>
                      </a:lnTo>
                      <a:lnTo>
                        <a:pt x="368706" y="213360"/>
                      </a:lnTo>
                      <a:lnTo>
                        <a:pt x="370243" y="213360"/>
                      </a:lnTo>
                      <a:lnTo>
                        <a:pt x="370078" y="214630"/>
                      </a:lnTo>
                      <a:lnTo>
                        <a:pt x="369582" y="215900"/>
                      </a:lnTo>
                      <a:lnTo>
                        <a:pt x="371132" y="215900"/>
                      </a:lnTo>
                      <a:lnTo>
                        <a:pt x="368452" y="217170"/>
                      </a:lnTo>
                      <a:lnTo>
                        <a:pt x="365607" y="217170"/>
                      </a:lnTo>
                      <a:lnTo>
                        <a:pt x="361340" y="219710"/>
                      </a:lnTo>
                      <a:lnTo>
                        <a:pt x="361289" y="215900"/>
                      </a:lnTo>
                      <a:lnTo>
                        <a:pt x="360476" y="214630"/>
                      </a:lnTo>
                      <a:lnTo>
                        <a:pt x="358508" y="213360"/>
                      </a:lnTo>
                      <a:lnTo>
                        <a:pt x="355180" y="214630"/>
                      </a:lnTo>
                      <a:lnTo>
                        <a:pt x="352069" y="215900"/>
                      </a:lnTo>
                      <a:lnTo>
                        <a:pt x="350786" y="217170"/>
                      </a:lnTo>
                      <a:lnTo>
                        <a:pt x="349973" y="218440"/>
                      </a:lnTo>
                      <a:lnTo>
                        <a:pt x="349872" y="217170"/>
                      </a:lnTo>
                      <a:lnTo>
                        <a:pt x="347294" y="215900"/>
                      </a:lnTo>
                      <a:lnTo>
                        <a:pt x="344627" y="218440"/>
                      </a:lnTo>
                      <a:lnTo>
                        <a:pt x="337883" y="218440"/>
                      </a:lnTo>
                      <a:lnTo>
                        <a:pt x="332498" y="220980"/>
                      </a:lnTo>
                      <a:lnTo>
                        <a:pt x="330212" y="220980"/>
                      </a:lnTo>
                      <a:lnTo>
                        <a:pt x="324739" y="222250"/>
                      </a:lnTo>
                      <a:lnTo>
                        <a:pt x="322707" y="222250"/>
                      </a:lnTo>
                      <a:lnTo>
                        <a:pt x="320243" y="218440"/>
                      </a:lnTo>
                      <a:lnTo>
                        <a:pt x="319468" y="217170"/>
                      </a:lnTo>
                      <a:lnTo>
                        <a:pt x="316420" y="217170"/>
                      </a:lnTo>
                      <a:lnTo>
                        <a:pt x="314477" y="215900"/>
                      </a:lnTo>
                      <a:lnTo>
                        <a:pt x="313397" y="214630"/>
                      </a:lnTo>
                      <a:lnTo>
                        <a:pt x="309829" y="214630"/>
                      </a:lnTo>
                      <a:lnTo>
                        <a:pt x="306298" y="213360"/>
                      </a:lnTo>
                      <a:lnTo>
                        <a:pt x="305384" y="213360"/>
                      </a:lnTo>
                      <a:lnTo>
                        <a:pt x="304609" y="212090"/>
                      </a:lnTo>
                      <a:lnTo>
                        <a:pt x="303847" y="210858"/>
                      </a:lnTo>
                      <a:lnTo>
                        <a:pt x="303847" y="213906"/>
                      </a:lnTo>
                      <a:lnTo>
                        <a:pt x="303784" y="217170"/>
                      </a:lnTo>
                      <a:lnTo>
                        <a:pt x="302412" y="217170"/>
                      </a:lnTo>
                      <a:lnTo>
                        <a:pt x="301739" y="218440"/>
                      </a:lnTo>
                      <a:lnTo>
                        <a:pt x="302082" y="217170"/>
                      </a:lnTo>
                      <a:lnTo>
                        <a:pt x="302717" y="215900"/>
                      </a:lnTo>
                      <a:lnTo>
                        <a:pt x="303847" y="213906"/>
                      </a:lnTo>
                      <a:lnTo>
                        <a:pt x="303847" y="210858"/>
                      </a:lnTo>
                      <a:lnTo>
                        <a:pt x="303466" y="210235"/>
                      </a:lnTo>
                      <a:lnTo>
                        <a:pt x="303466" y="213360"/>
                      </a:lnTo>
                      <a:lnTo>
                        <a:pt x="303276" y="213360"/>
                      </a:lnTo>
                      <a:lnTo>
                        <a:pt x="302590" y="212090"/>
                      </a:lnTo>
                      <a:lnTo>
                        <a:pt x="303466" y="213360"/>
                      </a:lnTo>
                      <a:lnTo>
                        <a:pt x="303466" y="210235"/>
                      </a:lnTo>
                      <a:lnTo>
                        <a:pt x="303047" y="209550"/>
                      </a:lnTo>
                      <a:lnTo>
                        <a:pt x="299173" y="207010"/>
                      </a:lnTo>
                      <a:lnTo>
                        <a:pt x="296887" y="201930"/>
                      </a:lnTo>
                      <a:lnTo>
                        <a:pt x="297027" y="199390"/>
                      </a:lnTo>
                      <a:lnTo>
                        <a:pt x="294411" y="195580"/>
                      </a:lnTo>
                      <a:lnTo>
                        <a:pt x="293103" y="193040"/>
                      </a:lnTo>
                      <a:lnTo>
                        <a:pt x="289839" y="190500"/>
                      </a:lnTo>
                      <a:lnTo>
                        <a:pt x="287985" y="187960"/>
                      </a:lnTo>
                      <a:lnTo>
                        <a:pt x="284924" y="184150"/>
                      </a:lnTo>
                      <a:lnTo>
                        <a:pt x="284175" y="181610"/>
                      </a:lnTo>
                      <a:lnTo>
                        <a:pt x="281355" y="175260"/>
                      </a:lnTo>
                      <a:lnTo>
                        <a:pt x="278980" y="171450"/>
                      </a:lnTo>
                      <a:lnTo>
                        <a:pt x="277837" y="167640"/>
                      </a:lnTo>
                      <a:lnTo>
                        <a:pt x="278993" y="168910"/>
                      </a:lnTo>
                      <a:lnTo>
                        <a:pt x="280758" y="170180"/>
                      </a:lnTo>
                      <a:lnTo>
                        <a:pt x="282575" y="172720"/>
                      </a:lnTo>
                      <a:lnTo>
                        <a:pt x="282219" y="172720"/>
                      </a:lnTo>
                      <a:lnTo>
                        <a:pt x="281813" y="175260"/>
                      </a:lnTo>
                      <a:lnTo>
                        <a:pt x="281635" y="175260"/>
                      </a:lnTo>
                      <a:lnTo>
                        <a:pt x="281927" y="176530"/>
                      </a:lnTo>
                      <a:lnTo>
                        <a:pt x="282359" y="175260"/>
                      </a:lnTo>
                      <a:lnTo>
                        <a:pt x="283375" y="173990"/>
                      </a:lnTo>
                      <a:lnTo>
                        <a:pt x="283362" y="168910"/>
                      </a:lnTo>
                      <a:lnTo>
                        <a:pt x="280631" y="167640"/>
                      </a:lnTo>
                      <a:lnTo>
                        <a:pt x="277901" y="166370"/>
                      </a:lnTo>
                      <a:lnTo>
                        <a:pt x="276072" y="161290"/>
                      </a:lnTo>
                      <a:lnTo>
                        <a:pt x="276275" y="157480"/>
                      </a:lnTo>
                      <a:lnTo>
                        <a:pt x="275602" y="152400"/>
                      </a:lnTo>
                      <a:lnTo>
                        <a:pt x="276339" y="149860"/>
                      </a:lnTo>
                      <a:lnTo>
                        <a:pt x="277215" y="143510"/>
                      </a:lnTo>
                      <a:lnTo>
                        <a:pt x="277596" y="138430"/>
                      </a:lnTo>
                      <a:lnTo>
                        <a:pt x="278028" y="133350"/>
                      </a:lnTo>
                      <a:lnTo>
                        <a:pt x="277253" y="138430"/>
                      </a:lnTo>
                      <a:lnTo>
                        <a:pt x="276631" y="134620"/>
                      </a:lnTo>
                      <a:lnTo>
                        <a:pt x="274942" y="129540"/>
                      </a:lnTo>
                      <a:lnTo>
                        <a:pt x="276593" y="125730"/>
                      </a:lnTo>
                      <a:lnTo>
                        <a:pt x="277139" y="124460"/>
                      </a:lnTo>
                      <a:lnTo>
                        <a:pt x="279285" y="121920"/>
                      </a:lnTo>
                      <a:lnTo>
                        <a:pt x="276834" y="119380"/>
                      </a:lnTo>
                      <a:lnTo>
                        <a:pt x="277520" y="116840"/>
                      </a:lnTo>
                      <a:lnTo>
                        <a:pt x="277520" y="114300"/>
                      </a:lnTo>
                      <a:lnTo>
                        <a:pt x="278180" y="114300"/>
                      </a:lnTo>
                      <a:lnTo>
                        <a:pt x="279869" y="115570"/>
                      </a:lnTo>
                      <a:lnTo>
                        <a:pt x="280885" y="115570"/>
                      </a:lnTo>
                      <a:lnTo>
                        <a:pt x="279920" y="114300"/>
                      </a:lnTo>
                      <a:lnTo>
                        <a:pt x="280695" y="114300"/>
                      </a:lnTo>
                      <a:lnTo>
                        <a:pt x="280657" y="113030"/>
                      </a:lnTo>
                      <a:lnTo>
                        <a:pt x="281940" y="113030"/>
                      </a:lnTo>
                      <a:lnTo>
                        <a:pt x="281673" y="115773"/>
                      </a:lnTo>
                      <a:lnTo>
                        <a:pt x="282702" y="113030"/>
                      </a:lnTo>
                      <a:lnTo>
                        <a:pt x="284124" y="109220"/>
                      </a:lnTo>
                      <a:lnTo>
                        <a:pt x="284594" y="107950"/>
                      </a:lnTo>
                      <a:lnTo>
                        <a:pt x="285330" y="107950"/>
                      </a:lnTo>
                      <a:lnTo>
                        <a:pt x="286092" y="106680"/>
                      </a:lnTo>
                      <a:lnTo>
                        <a:pt x="286893" y="106680"/>
                      </a:lnTo>
                      <a:lnTo>
                        <a:pt x="286283" y="105410"/>
                      </a:lnTo>
                      <a:lnTo>
                        <a:pt x="283222" y="105410"/>
                      </a:lnTo>
                      <a:lnTo>
                        <a:pt x="280428" y="106680"/>
                      </a:lnTo>
                      <a:lnTo>
                        <a:pt x="279704" y="105410"/>
                      </a:lnTo>
                      <a:lnTo>
                        <a:pt x="279095" y="105410"/>
                      </a:lnTo>
                      <a:lnTo>
                        <a:pt x="276694" y="104140"/>
                      </a:lnTo>
                      <a:lnTo>
                        <a:pt x="273672" y="104140"/>
                      </a:lnTo>
                      <a:lnTo>
                        <a:pt x="270306" y="102870"/>
                      </a:lnTo>
                      <a:lnTo>
                        <a:pt x="267652" y="101600"/>
                      </a:lnTo>
                      <a:lnTo>
                        <a:pt x="265899" y="100330"/>
                      </a:lnTo>
                      <a:lnTo>
                        <a:pt x="258191" y="97790"/>
                      </a:lnTo>
                      <a:lnTo>
                        <a:pt x="257886" y="97790"/>
                      </a:lnTo>
                      <a:lnTo>
                        <a:pt x="257352" y="96520"/>
                      </a:lnTo>
                      <a:lnTo>
                        <a:pt x="252107" y="85090"/>
                      </a:lnTo>
                      <a:lnTo>
                        <a:pt x="252171" y="83820"/>
                      </a:lnTo>
                      <a:lnTo>
                        <a:pt x="252704" y="81280"/>
                      </a:lnTo>
                      <a:lnTo>
                        <a:pt x="251739" y="80010"/>
                      </a:lnTo>
                      <a:lnTo>
                        <a:pt x="247650" y="77470"/>
                      </a:lnTo>
                      <a:lnTo>
                        <a:pt x="247269" y="76200"/>
                      </a:lnTo>
                      <a:lnTo>
                        <a:pt x="244881" y="72390"/>
                      </a:lnTo>
                      <a:lnTo>
                        <a:pt x="241985" y="68580"/>
                      </a:lnTo>
                      <a:lnTo>
                        <a:pt x="239458" y="64770"/>
                      </a:lnTo>
                      <a:lnTo>
                        <a:pt x="237477" y="60960"/>
                      </a:lnTo>
                      <a:lnTo>
                        <a:pt x="232829" y="52070"/>
                      </a:lnTo>
                      <a:lnTo>
                        <a:pt x="229692" y="50800"/>
                      </a:lnTo>
                      <a:lnTo>
                        <a:pt x="227952" y="49530"/>
                      </a:lnTo>
                      <a:lnTo>
                        <a:pt x="225539" y="46990"/>
                      </a:lnTo>
                      <a:lnTo>
                        <a:pt x="224332" y="45720"/>
                      </a:lnTo>
                      <a:lnTo>
                        <a:pt x="222338" y="45720"/>
                      </a:lnTo>
                      <a:lnTo>
                        <a:pt x="220357" y="46990"/>
                      </a:lnTo>
                      <a:lnTo>
                        <a:pt x="216255" y="45720"/>
                      </a:lnTo>
                      <a:lnTo>
                        <a:pt x="212763" y="44450"/>
                      </a:lnTo>
                      <a:lnTo>
                        <a:pt x="211201" y="44450"/>
                      </a:lnTo>
                      <a:lnTo>
                        <a:pt x="211074" y="45720"/>
                      </a:lnTo>
                      <a:lnTo>
                        <a:pt x="206082" y="45720"/>
                      </a:lnTo>
                      <a:lnTo>
                        <a:pt x="204990" y="50800"/>
                      </a:lnTo>
                      <a:lnTo>
                        <a:pt x="199809" y="60960"/>
                      </a:lnTo>
                      <a:lnTo>
                        <a:pt x="193306" y="55880"/>
                      </a:lnTo>
                      <a:lnTo>
                        <a:pt x="187794" y="53340"/>
                      </a:lnTo>
                      <a:lnTo>
                        <a:pt x="179209" y="49530"/>
                      </a:lnTo>
                      <a:lnTo>
                        <a:pt x="177165" y="36830"/>
                      </a:lnTo>
                      <a:lnTo>
                        <a:pt x="173278" y="31750"/>
                      </a:lnTo>
                      <a:lnTo>
                        <a:pt x="160172" y="21590"/>
                      </a:lnTo>
                      <a:lnTo>
                        <a:pt x="159029" y="21590"/>
                      </a:lnTo>
                      <a:lnTo>
                        <a:pt x="157213" y="20320"/>
                      </a:lnTo>
                      <a:lnTo>
                        <a:pt x="155778" y="19050"/>
                      </a:lnTo>
                      <a:lnTo>
                        <a:pt x="155041" y="17780"/>
                      </a:lnTo>
                      <a:lnTo>
                        <a:pt x="154444" y="15240"/>
                      </a:lnTo>
                      <a:lnTo>
                        <a:pt x="127342" y="15240"/>
                      </a:lnTo>
                      <a:lnTo>
                        <a:pt x="127571" y="16510"/>
                      </a:lnTo>
                      <a:lnTo>
                        <a:pt x="127393" y="17780"/>
                      </a:lnTo>
                      <a:lnTo>
                        <a:pt x="127673" y="19050"/>
                      </a:lnTo>
                      <a:lnTo>
                        <a:pt x="126250" y="21590"/>
                      </a:lnTo>
                      <a:lnTo>
                        <a:pt x="91541" y="21590"/>
                      </a:lnTo>
                      <a:lnTo>
                        <a:pt x="83210" y="19050"/>
                      </a:lnTo>
                      <a:lnTo>
                        <a:pt x="72326" y="16510"/>
                      </a:lnTo>
                      <a:lnTo>
                        <a:pt x="63246" y="13970"/>
                      </a:lnTo>
                      <a:lnTo>
                        <a:pt x="59944" y="12700"/>
                      </a:lnTo>
                      <a:lnTo>
                        <a:pt x="50050" y="8890"/>
                      </a:lnTo>
                      <a:lnTo>
                        <a:pt x="32981" y="3810"/>
                      </a:lnTo>
                      <a:lnTo>
                        <a:pt x="33528" y="1270"/>
                      </a:lnTo>
                      <a:lnTo>
                        <a:pt x="34302" y="0"/>
                      </a:lnTo>
                      <a:lnTo>
                        <a:pt x="26060" y="0"/>
                      </a:lnTo>
                      <a:lnTo>
                        <a:pt x="21234" y="1270"/>
                      </a:lnTo>
                      <a:lnTo>
                        <a:pt x="11480" y="1270"/>
                      </a:lnTo>
                      <a:lnTo>
                        <a:pt x="5943" y="2540"/>
                      </a:lnTo>
                      <a:lnTo>
                        <a:pt x="2933" y="2540"/>
                      </a:lnTo>
                      <a:lnTo>
                        <a:pt x="0" y="3810"/>
                      </a:lnTo>
                      <a:lnTo>
                        <a:pt x="381" y="5080"/>
                      </a:lnTo>
                      <a:lnTo>
                        <a:pt x="1028" y="5080"/>
                      </a:lnTo>
                      <a:lnTo>
                        <a:pt x="3035" y="8890"/>
                      </a:lnTo>
                      <a:lnTo>
                        <a:pt x="4927" y="12700"/>
                      </a:lnTo>
                      <a:lnTo>
                        <a:pt x="6959" y="20320"/>
                      </a:lnTo>
                      <a:lnTo>
                        <a:pt x="9144" y="24130"/>
                      </a:lnTo>
                      <a:lnTo>
                        <a:pt x="12115" y="27940"/>
                      </a:lnTo>
                      <a:lnTo>
                        <a:pt x="14097" y="29210"/>
                      </a:lnTo>
                      <a:lnTo>
                        <a:pt x="15532" y="30480"/>
                      </a:lnTo>
                      <a:lnTo>
                        <a:pt x="15532" y="35560"/>
                      </a:lnTo>
                      <a:lnTo>
                        <a:pt x="15201" y="35560"/>
                      </a:lnTo>
                      <a:lnTo>
                        <a:pt x="15760" y="36830"/>
                      </a:lnTo>
                      <a:lnTo>
                        <a:pt x="17221" y="34290"/>
                      </a:lnTo>
                      <a:lnTo>
                        <a:pt x="18402" y="38100"/>
                      </a:lnTo>
                      <a:lnTo>
                        <a:pt x="18935" y="40640"/>
                      </a:lnTo>
                      <a:lnTo>
                        <a:pt x="18643" y="41910"/>
                      </a:lnTo>
                      <a:lnTo>
                        <a:pt x="19253" y="46990"/>
                      </a:lnTo>
                      <a:lnTo>
                        <a:pt x="23710" y="48260"/>
                      </a:lnTo>
                      <a:lnTo>
                        <a:pt x="27660" y="50800"/>
                      </a:lnTo>
                      <a:lnTo>
                        <a:pt x="28130" y="52070"/>
                      </a:lnTo>
                      <a:lnTo>
                        <a:pt x="30543" y="52070"/>
                      </a:lnTo>
                      <a:lnTo>
                        <a:pt x="33718" y="54610"/>
                      </a:lnTo>
                      <a:lnTo>
                        <a:pt x="36220" y="58420"/>
                      </a:lnTo>
                      <a:lnTo>
                        <a:pt x="39458" y="60960"/>
                      </a:lnTo>
                      <a:lnTo>
                        <a:pt x="40538" y="62230"/>
                      </a:lnTo>
                      <a:lnTo>
                        <a:pt x="44437" y="66040"/>
                      </a:lnTo>
                      <a:lnTo>
                        <a:pt x="42710" y="69850"/>
                      </a:lnTo>
                      <a:lnTo>
                        <a:pt x="41973" y="73660"/>
                      </a:lnTo>
                      <a:lnTo>
                        <a:pt x="41402" y="74930"/>
                      </a:lnTo>
                      <a:lnTo>
                        <a:pt x="42252" y="74930"/>
                      </a:lnTo>
                      <a:lnTo>
                        <a:pt x="42456" y="76200"/>
                      </a:lnTo>
                      <a:lnTo>
                        <a:pt x="42214" y="77470"/>
                      </a:lnTo>
                      <a:lnTo>
                        <a:pt x="42672" y="78740"/>
                      </a:lnTo>
                      <a:lnTo>
                        <a:pt x="43395" y="78740"/>
                      </a:lnTo>
                      <a:lnTo>
                        <a:pt x="43840" y="77470"/>
                      </a:lnTo>
                      <a:lnTo>
                        <a:pt x="44907" y="77470"/>
                      </a:lnTo>
                      <a:lnTo>
                        <a:pt x="45008" y="76200"/>
                      </a:lnTo>
                      <a:lnTo>
                        <a:pt x="43116" y="73660"/>
                      </a:lnTo>
                      <a:lnTo>
                        <a:pt x="44843" y="74930"/>
                      </a:lnTo>
                      <a:lnTo>
                        <a:pt x="46532" y="78740"/>
                      </a:lnTo>
                      <a:lnTo>
                        <a:pt x="47282" y="81280"/>
                      </a:lnTo>
                      <a:lnTo>
                        <a:pt x="46037" y="82550"/>
                      </a:lnTo>
                      <a:lnTo>
                        <a:pt x="45821" y="81280"/>
                      </a:lnTo>
                      <a:lnTo>
                        <a:pt x="45974" y="80010"/>
                      </a:lnTo>
                      <a:lnTo>
                        <a:pt x="44729" y="78740"/>
                      </a:lnTo>
                      <a:lnTo>
                        <a:pt x="43319" y="80010"/>
                      </a:lnTo>
                      <a:lnTo>
                        <a:pt x="41529" y="78740"/>
                      </a:lnTo>
                      <a:lnTo>
                        <a:pt x="40919" y="78740"/>
                      </a:lnTo>
                      <a:lnTo>
                        <a:pt x="39916" y="77470"/>
                      </a:lnTo>
                      <a:lnTo>
                        <a:pt x="38912" y="76200"/>
                      </a:lnTo>
                      <a:lnTo>
                        <a:pt x="39230" y="77470"/>
                      </a:lnTo>
                      <a:lnTo>
                        <a:pt x="35267" y="77470"/>
                      </a:lnTo>
                      <a:lnTo>
                        <a:pt x="32956" y="76200"/>
                      </a:lnTo>
                      <a:lnTo>
                        <a:pt x="28917" y="76200"/>
                      </a:lnTo>
                      <a:lnTo>
                        <a:pt x="31673" y="81280"/>
                      </a:lnTo>
                      <a:lnTo>
                        <a:pt x="35458" y="82550"/>
                      </a:lnTo>
                      <a:lnTo>
                        <a:pt x="39344" y="87630"/>
                      </a:lnTo>
                      <a:lnTo>
                        <a:pt x="41732" y="88900"/>
                      </a:lnTo>
                      <a:lnTo>
                        <a:pt x="45504" y="91440"/>
                      </a:lnTo>
                      <a:lnTo>
                        <a:pt x="47256" y="92710"/>
                      </a:lnTo>
                      <a:lnTo>
                        <a:pt x="50609" y="93980"/>
                      </a:lnTo>
                      <a:lnTo>
                        <a:pt x="50660" y="92710"/>
                      </a:lnTo>
                      <a:lnTo>
                        <a:pt x="54343" y="92710"/>
                      </a:lnTo>
                      <a:lnTo>
                        <a:pt x="55956" y="91440"/>
                      </a:lnTo>
                      <a:lnTo>
                        <a:pt x="55854" y="90170"/>
                      </a:lnTo>
                      <a:lnTo>
                        <a:pt x="56502" y="90170"/>
                      </a:lnTo>
                      <a:lnTo>
                        <a:pt x="55841" y="92710"/>
                      </a:lnTo>
                      <a:lnTo>
                        <a:pt x="58432" y="95250"/>
                      </a:lnTo>
                      <a:lnTo>
                        <a:pt x="61175" y="97790"/>
                      </a:lnTo>
                      <a:lnTo>
                        <a:pt x="66294" y="101600"/>
                      </a:lnTo>
                      <a:lnTo>
                        <a:pt x="69938" y="102870"/>
                      </a:lnTo>
                      <a:lnTo>
                        <a:pt x="71208" y="109220"/>
                      </a:lnTo>
                      <a:lnTo>
                        <a:pt x="72085" y="111760"/>
                      </a:lnTo>
                      <a:lnTo>
                        <a:pt x="72072" y="115773"/>
                      </a:lnTo>
                      <a:lnTo>
                        <a:pt x="71602" y="116840"/>
                      </a:lnTo>
                      <a:lnTo>
                        <a:pt x="71018" y="119380"/>
                      </a:lnTo>
                      <a:lnTo>
                        <a:pt x="71120" y="120510"/>
                      </a:lnTo>
                      <a:lnTo>
                        <a:pt x="71653" y="119380"/>
                      </a:lnTo>
                      <a:lnTo>
                        <a:pt x="71615" y="121920"/>
                      </a:lnTo>
                      <a:lnTo>
                        <a:pt x="71462" y="123190"/>
                      </a:lnTo>
                      <a:lnTo>
                        <a:pt x="73901" y="124460"/>
                      </a:lnTo>
                      <a:lnTo>
                        <a:pt x="76784" y="125730"/>
                      </a:lnTo>
                      <a:lnTo>
                        <a:pt x="93649" y="138430"/>
                      </a:lnTo>
                      <a:lnTo>
                        <a:pt x="95631" y="139700"/>
                      </a:lnTo>
                      <a:lnTo>
                        <a:pt x="99580" y="144780"/>
                      </a:lnTo>
                      <a:lnTo>
                        <a:pt x="101282" y="148590"/>
                      </a:lnTo>
                      <a:lnTo>
                        <a:pt x="103085" y="152400"/>
                      </a:lnTo>
                      <a:lnTo>
                        <a:pt x="103936" y="151130"/>
                      </a:lnTo>
                      <a:lnTo>
                        <a:pt x="105206" y="149860"/>
                      </a:lnTo>
                      <a:lnTo>
                        <a:pt x="106921" y="148590"/>
                      </a:lnTo>
                      <a:lnTo>
                        <a:pt x="108013" y="148590"/>
                      </a:lnTo>
                      <a:lnTo>
                        <a:pt x="110045" y="147320"/>
                      </a:lnTo>
                      <a:lnTo>
                        <a:pt x="110223" y="146050"/>
                      </a:lnTo>
                      <a:lnTo>
                        <a:pt x="109537" y="140970"/>
                      </a:lnTo>
                      <a:lnTo>
                        <a:pt x="106667" y="140970"/>
                      </a:lnTo>
                      <a:lnTo>
                        <a:pt x="105803" y="138430"/>
                      </a:lnTo>
                      <a:lnTo>
                        <a:pt x="105448" y="135890"/>
                      </a:lnTo>
                      <a:lnTo>
                        <a:pt x="104254" y="134620"/>
                      </a:lnTo>
                      <a:lnTo>
                        <a:pt x="101117" y="134620"/>
                      </a:lnTo>
                      <a:lnTo>
                        <a:pt x="100317" y="132080"/>
                      </a:lnTo>
                      <a:lnTo>
                        <a:pt x="99517" y="129540"/>
                      </a:lnTo>
                      <a:lnTo>
                        <a:pt x="96723" y="129540"/>
                      </a:lnTo>
                      <a:lnTo>
                        <a:pt x="97332" y="130810"/>
                      </a:lnTo>
                      <a:lnTo>
                        <a:pt x="97066" y="132080"/>
                      </a:lnTo>
                      <a:lnTo>
                        <a:pt x="94335" y="132080"/>
                      </a:lnTo>
                      <a:lnTo>
                        <a:pt x="91478" y="129540"/>
                      </a:lnTo>
                      <a:lnTo>
                        <a:pt x="91897" y="127000"/>
                      </a:lnTo>
                      <a:lnTo>
                        <a:pt x="91884" y="120510"/>
                      </a:lnTo>
                      <a:lnTo>
                        <a:pt x="91033" y="119380"/>
                      </a:lnTo>
                      <a:lnTo>
                        <a:pt x="90081" y="118110"/>
                      </a:lnTo>
                      <a:lnTo>
                        <a:pt x="87363" y="113030"/>
                      </a:lnTo>
                      <a:lnTo>
                        <a:pt x="85204" y="107950"/>
                      </a:lnTo>
                      <a:lnTo>
                        <a:pt x="84658" y="106680"/>
                      </a:lnTo>
                      <a:lnTo>
                        <a:pt x="85026" y="105410"/>
                      </a:lnTo>
                      <a:lnTo>
                        <a:pt x="84493" y="104825"/>
                      </a:lnTo>
                      <a:lnTo>
                        <a:pt x="84493" y="107188"/>
                      </a:lnTo>
                      <a:lnTo>
                        <a:pt x="84378" y="107950"/>
                      </a:lnTo>
                      <a:lnTo>
                        <a:pt x="84251" y="107950"/>
                      </a:lnTo>
                      <a:lnTo>
                        <a:pt x="84493" y="107188"/>
                      </a:lnTo>
                      <a:lnTo>
                        <a:pt x="84493" y="104825"/>
                      </a:lnTo>
                      <a:lnTo>
                        <a:pt x="82753" y="102870"/>
                      </a:lnTo>
                      <a:lnTo>
                        <a:pt x="81635" y="100330"/>
                      </a:lnTo>
                      <a:lnTo>
                        <a:pt x="81673" y="99060"/>
                      </a:lnTo>
                      <a:lnTo>
                        <a:pt x="80073" y="95250"/>
                      </a:lnTo>
                      <a:lnTo>
                        <a:pt x="78117" y="92710"/>
                      </a:lnTo>
                      <a:lnTo>
                        <a:pt x="75831" y="91440"/>
                      </a:lnTo>
                      <a:lnTo>
                        <a:pt x="76250" y="92710"/>
                      </a:lnTo>
                      <a:lnTo>
                        <a:pt x="76987" y="93980"/>
                      </a:lnTo>
                      <a:lnTo>
                        <a:pt x="77127" y="95250"/>
                      </a:lnTo>
                      <a:lnTo>
                        <a:pt x="74904" y="95250"/>
                      </a:lnTo>
                      <a:lnTo>
                        <a:pt x="74117" y="90170"/>
                      </a:lnTo>
                      <a:lnTo>
                        <a:pt x="73520" y="87630"/>
                      </a:lnTo>
                      <a:lnTo>
                        <a:pt x="72847" y="87630"/>
                      </a:lnTo>
                      <a:lnTo>
                        <a:pt x="69418" y="86360"/>
                      </a:lnTo>
                      <a:lnTo>
                        <a:pt x="68021" y="82550"/>
                      </a:lnTo>
                      <a:lnTo>
                        <a:pt x="65836" y="80010"/>
                      </a:lnTo>
                      <a:lnTo>
                        <a:pt x="64223" y="74930"/>
                      </a:lnTo>
                      <a:lnTo>
                        <a:pt x="62217" y="73660"/>
                      </a:lnTo>
                      <a:lnTo>
                        <a:pt x="62407" y="73660"/>
                      </a:lnTo>
                      <a:lnTo>
                        <a:pt x="61188" y="69850"/>
                      </a:lnTo>
                      <a:lnTo>
                        <a:pt x="61074" y="68580"/>
                      </a:lnTo>
                      <a:lnTo>
                        <a:pt x="61442" y="67310"/>
                      </a:lnTo>
                      <a:lnTo>
                        <a:pt x="58928" y="67310"/>
                      </a:lnTo>
                      <a:lnTo>
                        <a:pt x="55549" y="64770"/>
                      </a:lnTo>
                      <a:lnTo>
                        <a:pt x="54698" y="62230"/>
                      </a:lnTo>
                      <a:lnTo>
                        <a:pt x="54267" y="60960"/>
                      </a:lnTo>
                      <a:lnTo>
                        <a:pt x="52108" y="59690"/>
                      </a:lnTo>
                      <a:lnTo>
                        <a:pt x="52476" y="62230"/>
                      </a:lnTo>
                      <a:lnTo>
                        <a:pt x="48933" y="55880"/>
                      </a:lnTo>
                      <a:lnTo>
                        <a:pt x="46507" y="53340"/>
                      </a:lnTo>
                      <a:lnTo>
                        <a:pt x="44780" y="50800"/>
                      </a:lnTo>
                      <a:lnTo>
                        <a:pt x="41871" y="46990"/>
                      </a:lnTo>
                      <a:lnTo>
                        <a:pt x="40944" y="46990"/>
                      </a:lnTo>
                      <a:lnTo>
                        <a:pt x="39065" y="45720"/>
                      </a:lnTo>
                      <a:lnTo>
                        <a:pt x="38239" y="44450"/>
                      </a:lnTo>
                      <a:lnTo>
                        <a:pt x="36233" y="41910"/>
                      </a:lnTo>
                      <a:lnTo>
                        <a:pt x="35953" y="38100"/>
                      </a:lnTo>
                      <a:lnTo>
                        <a:pt x="35293" y="34290"/>
                      </a:lnTo>
                      <a:lnTo>
                        <a:pt x="34836" y="31750"/>
                      </a:lnTo>
                      <a:lnTo>
                        <a:pt x="32626" y="29210"/>
                      </a:lnTo>
                      <a:lnTo>
                        <a:pt x="32931" y="22860"/>
                      </a:lnTo>
                      <a:lnTo>
                        <a:pt x="32943" y="20320"/>
                      </a:lnTo>
                      <a:lnTo>
                        <a:pt x="33401" y="16510"/>
                      </a:lnTo>
                      <a:lnTo>
                        <a:pt x="32753" y="15240"/>
                      </a:lnTo>
                      <a:lnTo>
                        <a:pt x="31623" y="13970"/>
                      </a:lnTo>
                      <a:lnTo>
                        <a:pt x="31724" y="12700"/>
                      </a:lnTo>
                      <a:lnTo>
                        <a:pt x="32029" y="12700"/>
                      </a:lnTo>
                      <a:lnTo>
                        <a:pt x="32346" y="13970"/>
                      </a:lnTo>
                      <a:lnTo>
                        <a:pt x="41948" y="19050"/>
                      </a:lnTo>
                      <a:lnTo>
                        <a:pt x="43675" y="20320"/>
                      </a:lnTo>
                      <a:lnTo>
                        <a:pt x="45250" y="17780"/>
                      </a:lnTo>
                      <a:lnTo>
                        <a:pt x="44627" y="16510"/>
                      </a:lnTo>
                      <a:lnTo>
                        <a:pt x="45631" y="16510"/>
                      </a:lnTo>
                      <a:lnTo>
                        <a:pt x="58610" y="25400"/>
                      </a:lnTo>
                      <a:lnTo>
                        <a:pt x="58369" y="25400"/>
                      </a:lnTo>
                      <a:lnTo>
                        <a:pt x="57315" y="30480"/>
                      </a:lnTo>
                      <a:lnTo>
                        <a:pt x="59994" y="35560"/>
                      </a:lnTo>
                      <a:lnTo>
                        <a:pt x="61823" y="39370"/>
                      </a:lnTo>
                      <a:lnTo>
                        <a:pt x="67894" y="54610"/>
                      </a:lnTo>
                      <a:lnTo>
                        <a:pt x="69926" y="53340"/>
                      </a:lnTo>
                      <a:lnTo>
                        <a:pt x="70954" y="54610"/>
                      </a:lnTo>
                      <a:lnTo>
                        <a:pt x="70231" y="58420"/>
                      </a:lnTo>
                      <a:lnTo>
                        <a:pt x="81191" y="69850"/>
                      </a:lnTo>
                      <a:lnTo>
                        <a:pt x="83223" y="71120"/>
                      </a:lnTo>
                      <a:lnTo>
                        <a:pt x="86982" y="74930"/>
                      </a:lnTo>
                      <a:lnTo>
                        <a:pt x="90843" y="76200"/>
                      </a:lnTo>
                      <a:lnTo>
                        <a:pt x="93586" y="76200"/>
                      </a:lnTo>
                      <a:lnTo>
                        <a:pt x="93091" y="77470"/>
                      </a:lnTo>
                      <a:lnTo>
                        <a:pt x="91478" y="81280"/>
                      </a:lnTo>
                      <a:lnTo>
                        <a:pt x="95288" y="86360"/>
                      </a:lnTo>
                      <a:lnTo>
                        <a:pt x="100037" y="87630"/>
                      </a:lnTo>
                      <a:lnTo>
                        <a:pt x="102781" y="87630"/>
                      </a:lnTo>
                      <a:lnTo>
                        <a:pt x="103225" y="90170"/>
                      </a:lnTo>
                      <a:lnTo>
                        <a:pt x="103873" y="92710"/>
                      </a:lnTo>
                      <a:lnTo>
                        <a:pt x="106667" y="92710"/>
                      </a:lnTo>
                      <a:lnTo>
                        <a:pt x="110883" y="93980"/>
                      </a:lnTo>
                      <a:lnTo>
                        <a:pt x="114020" y="97790"/>
                      </a:lnTo>
                      <a:lnTo>
                        <a:pt x="114452" y="100330"/>
                      </a:lnTo>
                      <a:lnTo>
                        <a:pt x="112090" y="100330"/>
                      </a:lnTo>
                      <a:lnTo>
                        <a:pt x="111213" y="102870"/>
                      </a:lnTo>
                      <a:lnTo>
                        <a:pt x="110375" y="105410"/>
                      </a:lnTo>
                      <a:lnTo>
                        <a:pt x="109982" y="107950"/>
                      </a:lnTo>
                      <a:lnTo>
                        <a:pt x="110401" y="109220"/>
                      </a:lnTo>
                      <a:lnTo>
                        <a:pt x="110388" y="107950"/>
                      </a:lnTo>
                      <a:lnTo>
                        <a:pt x="111531" y="109220"/>
                      </a:lnTo>
                      <a:lnTo>
                        <a:pt x="112191" y="110490"/>
                      </a:lnTo>
                      <a:lnTo>
                        <a:pt x="112788" y="110490"/>
                      </a:lnTo>
                      <a:lnTo>
                        <a:pt x="112382" y="109220"/>
                      </a:lnTo>
                      <a:lnTo>
                        <a:pt x="112687" y="109220"/>
                      </a:lnTo>
                      <a:lnTo>
                        <a:pt x="113842" y="110490"/>
                      </a:lnTo>
                      <a:lnTo>
                        <a:pt x="115074" y="111760"/>
                      </a:lnTo>
                      <a:lnTo>
                        <a:pt x="116649" y="110490"/>
                      </a:lnTo>
                      <a:lnTo>
                        <a:pt x="117487" y="110490"/>
                      </a:lnTo>
                      <a:lnTo>
                        <a:pt x="116865" y="111760"/>
                      </a:lnTo>
                      <a:lnTo>
                        <a:pt x="116332" y="111760"/>
                      </a:lnTo>
                      <a:lnTo>
                        <a:pt x="116001" y="113030"/>
                      </a:lnTo>
                      <a:lnTo>
                        <a:pt x="119926" y="114300"/>
                      </a:lnTo>
                      <a:lnTo>
                        <a:pt x="124155" y="115570"/>
                      </a:lnTo>
                      <a:lnTo>
                        <a:pt x="130695" y="120650"/>
                      </a:lnTo>
                      <a:lnTo>
                        <a:pt x="130314" y="121920"/>
                      </a:lnTo>
                      <a:lnTo>
                        <a:pt x="131000" y="124460"/>
                      </a:lnTo>
                      <a:lnTo>
                        <a:pt x="131229" y="127000"/>
                      </a:lnTo>
                      <a:lnTo>
                        <a:pt x="132270" y="127000"/>
                      </a:lnTo>
                      <a:lnTo>
                        <a:pt x="131940" y="125730"/>
                      </a:lnTo>
                      <a:lnTo>
                        <a:pt x="132842" y="127000"/>
                      </a:lnTo>
                      <a:lnTo>
                        <a:pt x="133680" y="127000"/>
                      </a:lnTo>
                      <a:lnTo>
                        <a:pt x="135216" y="128270"/>
                      </a:lnTo>
                      <a:lnTo>
                        <a:pt x="136448" y="128270"/>
                      </a:lnTo>
                      <a:lnTo>
                        <a:pt x="136867" y="127000"/>
                      </a:lnTo>
                      <a:lnTo>
                        <a:pt x="138569" y="128270"/>
                      </a:lnTo>
                      <a:lnTo>
                        <a:pt x="137287" y="129540"/>
                      </a:lnTo>
                      <a:lnTo>
                        <a:pt x="136258" y="129540"/>
                      </a:lnTo>
                      <a:lnTo>
                        <a:pt x="141122" y="133350"/>
                      </a:lnTo>
                      <a:lnTo>
                        <a:pt x="144741" y="137160"/>
                      </a:lnTo>
                      <a:lnTo>
                        <a:pt x="152501" y="147320"/>
                      </a:lnTo>
                      <a:lnTo>
                        <a:pt x="157187" y="151130"/>
                      </a:lnTo>
                      <a:lnTo>
                        <a:pt x="163652" y="158750"/>
                      </a:lnTo>
                      <a:lnTo>
                        <a:pt x="164236" y="161290"/>
                      </a:lnTo>
                      <a:lnTo>
                        <a:pt x="163982" y="167640"/>
                      </a:lnTo>
                      <a:lnTo>
                        <a:pt x="167195" y="170180"/>
                      </a:lnTo>
                      <a:lnTo>
                        <a:pt x="169951" y="173990"/>
                      </a:lnTo>
                      <a:lnTo>
                        <a:pt x="170357" y="173990"/>
                      </a:lnTo>
                      <a:lnTo>
                        <a:pt x="167347" y="182880"/>
                      </a:lnTo>
                      <a:lnTo>
                        <a:pt x="165696" y="182880"/>
                      </a:lnTo>
                      <a:lnTo>
                        <a:pt x="166522" y="184150"/>
                      </a:lnTo>
                      <a:lnTo>
                        <a:pt x="168668" y="184150"/>
                      </a:lnTo>
                      <a:lnTo>
                        <a:pt x="169595" y="185420"/>
                      </a:lnTo>
                      <a:lnTo>
                        <a:pt x="170459" y="186690"/>
                      </a:lnTo>
                      <a:lnTo>
                        <a:pt x="168287" y="186690"/>
                      </a:lnTo>
                      <a:lnTo>
                        <a:pt x="164884" y="187960"/>
                      </a:lnTo>
                      <a:lnTo>
                        <a:pt x="162902" y="190500"/>
                      </a:lnTo>
                      <a:lnTo>
                        <a:pt x="168313" y="198120"/>
                      </a:lnTo>
                      <a:lnTo>
                        <a:pt x="171437" y="203200"/>
                      </a:lnTo>
                      <a:lnTo>
                        <a:pt x="174752" y="205740"/>
                      </a:lnTo>
                      <a:lnTo>
                        <a:pt x="181737" y="209550"/>
                      </a:lnTo>
                      <a:lnTo>
                        <a:pt x="185521" y="210820"/>
                      </a:lnTo>
                      <a:lnTo>
                        <a:pt x="191173" y="214630"/>
                      </a:lnTo>
                      <a:lnTo>
                        <a:pt x="192544" y="217170"/>
                      </a:lnTo>
                      <a:lnTo>
                        <a:pt x="195961" y="220980"/>
                      </a:lnTo>
                      <a:lnTo>
                        <a:pt x="197827" y="220980"/>
                      </a:lnTo>
                      <a:lnTo>
                        <a:pt x="204165" y="223520"/>
                      </a:lnTo>
                      <a:lnTo>
                        <a:pt x="208457" y="224790"/>
                      </a:lnTo>
                      <a:lnTo>
                        <a:pt x="214718" y="226060"/>
                      </a:lnTo>
                      <a:lnTo>
                        <a:pt x="215633" y="224790"/>
                      </a:lnTo>
                      <a:lnTo>
                        <a:pt x="220548" y="228600"/>
                      </a:lnTo>
                      <a:lnTo>
                        <a:pt x="223380" y="231140"/>
                      </a:lnTo>
                      <a:lnTo>
                        <a:pt x="233413" y="237490"/>
                      </a:lnTo>
                      <a:lnTo>
                        <a:pt x="241427" y="238760"/>
                      </a:lnTo>
                      <a:lnTo>
                        <a:pt x="252234" y="245110"/>
                      </a:lnTo>
                      <a:lnTo>
                        <a:pt x="256044" y="245110"/>
                      </a:lnTo>
                      <a:lnTo>
                        <a:pt x="262204" y="246380"/>
                      </a:lnTo>
                      <a:lnTo>
                        <a:pt x="262851" y="246380"/>
                      </a:lnTo>
                      <a:lnTo>
                        <a:pt x="265849" y="250190"/>
                      </a:lnTo>
                      <a:lnTo>
                        <a:pt x="267233" y="250190"/>
                      </a:lnTo>
                      <a:lnTo>
                        <a:pt x="271272" y="251460"/>
                      </a:lnTo>
                      <a:lnTo>
                        <a:pt x="276529" y="254000"/>
                      </a:lnTo>
                      <a:lnTo>
                        <a:pt x="277647" y="255270"/>
                      </a:lnTo>
                      <a:lnTo>
                        <a:pt x="283616" y="255270"/>
                      </a:lnTo>
                      <a:lnTo>
                        <a:pt x="286791" y="256540"/>
                      </a:lnTo>
                      <a:lnTo>
                        <a:pt x="288163" y="257810"/>
                      </a:lnTo>
                      <a:lnTo>
                        <a:pt x="293687" y="259080"/>
                      </a:lnTo>
                      <a:lnTo>
                        <a:pt x="296049" y="259080"/>
                      </a:lnTo>
                      <a:lnTo>
                        <a:pt x="303085" y="257810"/>
                      </a:lnTo>
                      <a:lnTo>
                        <a:pt x="306006" y="255270"/>
                      </a:lnTo>
                      <a:lnTo>
                        <a:pt x="310857" y="255270"/>
                      </a:lnTo>
                      <a:lnTo>
                        <a:pt x="311886" y="252730"/>
                      </a:lnTo>
                      <a:lnTo>
                        <a:pt x="314579" y="251460"/>
                      </a:lnTo>
                      <a:lnTo>
                        <a:pt x="318770" y="251460"/>
                      </a:lnTo>
                      <a:lnTo>
                        <a:pt x="315633" y="250190"/>
                      </a:lnTo>
                      <a:lnTo>
                        <a:pt x="316598" y="250190"/>
                      </a:lnTo>
                      <a:lnTo>
                        <a:pt x="317982" y="248920"/>
                      </a:lnTo>
                      <a:lnTo>
                        <a:pt x="319138" y="248920"/>
                      </a:lnTo>
                      <a:lnTo>
                        <a:pt x="319354" y="251460"/>
                      </a:lnTo>
                      <a:lnTo>
                        <a:pt x="319633" y="250190"/>
                      </a:lnTo>
                      <a:lnTo>
                        <a:pt x="321843" y="248920"/>
                      </a:lnTo>
                      <a:lnTo>
                        <a:pt x="321779" y="250190"/>
                      </a:lnTo>
                      <a:lnTo>
                        <a:pt x="321322" y="251460"/>
                      </a:lnTo>
                      <a:lnTo>
                        <a:pt x="324878" y="251460"/>
                      </a:lnTo>
                      <a:lnTo>
                        <a:pt x="325564" y="248920"/>
                      </a:lnTo>
                      <a:lnTo>
                        <a:pt x="329438" y="251460"/>
                      </a:lnTo>
                      <a:lnTo>
                        <a:pt x="331406" y="252730"/>
                      </a:lnTo>
                      <a:lnTo>
                        <a:pt x="335889" y="256540"/>
                      </a:lnTo>
                      <a:lnTo>
                        <a:pt x="343217" y="262890"/>
                      </a:lnTo>
                      <a:lnTo>
                        <a:pt x="344131" y="264160"/>
                      </a:lnTo>
                      <a:lnTo>
                        <a:pt x="346379" y="265430"/>
                      </a:lnTo>
                      <a:lnTo>
                        <a:pt x="348081" y="265430"/>
                      </a:lnTo>
                      <a:lnTo>
                        <a:pt x="350672" y="270510"/>
                      </a:lnTo>
                      <a:lnTo>
                        <a:pt x="352615" y="271780"/>
                      </a:lnTo>
                      <a:lnTo>
                        <a:pt x="354914" y="274320"/>
                      </a:lnTo>
                      <a:lnTo>
                        <a:pt x="354482" y="275590"/>
                      </a:lnTo>
                      <a:lnTo>
                        <a:pt x="355765" y="275590"/>
                      </a:lnTo>
                      <a:lnTo>
                        <a:pt x="356997" y="274320"/>
                      </a:lnTo>
                      <a:lnTo>
                        <a:pt x="357149" y="274320"/>
                      </a:lnTo>
                      <a:lnTo>
                        <a:pt x="357009" y="273050"/>
                      </a:lnTo>
                      <a:lnTo>
                        <a:pt x="356971" y="271780"/>
                      </a:lnTo>
                      <a:lnTo>
                        <a:pt x="357378" y="270510"/>
                      </a:lnTo>
                      <a:lnTo>
                        <a:pt x="357251" y="269240"/>
                      </a:lnTo>
                      <a:lnTo>
                        <a:pt x="358025" y="269240"/>
                      </a:lnTo>
                      <a:lnTo>
                        <a:pt x="358190" y="267970"/>
                      </a:lnTo>
                      <a:lnTo>
                        <a:pt x="358444" y="267970"/>
                      </a:lnTo>
                      <a:lnTo>
                        <a:pt x="356971" y="265430"/>
                      </a:lnTo>
                      <a:lnTo>
                        <a:pt x="357263" y="264160"/>
                      </a:lnTo>
                      <a:lnTo>
                        <a:pt x="357492" y="262890"/>
                      </a:lnTo>
                      <a:lnTo>
                        <a:pt x="358305" y="261620"/>
                      </a:lnTo>
                      <a:lnTo>
                        <a:pt x="360210" y="259080"/>
                      </a:lnTo>
                      <a:lnTo>
                        <a:pt x="361543" y="256540"/>
                      </a:lnTo>
                      <a:lnTo>
                        <a:pt x="362140" y="255270"/>
                      </a:lnTo>
                      <a:lnTo>
                        <a:pt x="363499" y="255270"/>
                      </a:lnTo>
                      <a:lnTo>
                        <a:pt x="364985" y="254000"/>
                      </a:lnTo>
                      <a:lnTo>
                        <a:pt x="366788" y="254000"/>
                      </a:lnTo>
                      <a:lnTo>
                        <a:pt x="369112" y="252730"/>
                      </a:lnTo>
                      <a:lnTo>
                        <a:pt x="381927" y="252730"/>
                      </a:lnTo>
                      <a:lnTo>
                        <a:pt x="382231" y="251460"/>
                      </a:lnTo>
                      <a:lnTo>
                        <a:pt x="382701" y="248920"/>
                      </a:lnTo>
                      <a:lnTo>
                        <a:pt x="382003" y="248920"/>
                      </a:lnTo>
                      <a:lnTo>
                        <a:pt x="381558" y="247650"/>
                      </a:lnTo>
                      <a:lnTo>
                        <a:pt x="380149" y="247650"/>
                      </a:lnTo>
                      <a:lnTo>
                        <a:pt x="377964" y="246380"/>
                      </a:lnTo>
                      <a:lnTo>
                        <a:pt x="375945" y="243840"/>
                      </a:lnTo>
                      <a:lnTo>
                        <a:pt x="373087" y="241300"/>
                      </a:lnTo>
                      <a:lnTo>
                        <a:pt x="371081" y="238760"/>
                      </a:lnTo>
                      <a:lnTo>
                        <a:pt x="368782" y="237490"/>
                      </a:lnTo>
                      <a:lnTo>
                        <a:pt x="367550" y="236220"/>
                      </a:lnTo>
                      <a:lnTo>
                        <a:pt x="373875" y="236220"/>
                      </a:lnTo>
                      <a:lnTo>
                        <a:pt x="374040" y="234950"/>
                      </a:lnTo>
                      <a:lnTo>
                        <a:pt x="374002" y="233680"/>
                      </a:lnTo>
                      <a:lnTo>
                        <a:pt x="373214" y="228600"/>
                      </a:lnTo>
                      <a:lnTo>
                        <a:pt x="374624" y="227330"/>
                      </a:lnTo>
                      <a:lnTo>
                        <a:pt x="400062" y="227330"/>
                      </a:lnTo>
                      <a:lnTo>
                        <a:pt x="400469" y="226060"/>
                      </a:lnTo>
                      <a:lnTo>
                        <a:pt x="405371" y="226060"/>
                      </a:lnTo>
                      <a:lnTo>
                        <a:pt x="406019" y="224790"/>
                      </a:lnTo>
                      <a:lnTo>
                        <a:pt x="406615" y="223520"/>
                      </a:lnTo>
                      <a:lnTo>
                        <a:pt x="407035" y="223520"/>
                      </a:lnTo>
                      <a:lnTo>
                        <a:pt x="407530" y="222250"/>
                      </a:lnTo>
                      <a:lnTo>
                        <a:pt x="408012" y="220980"/>
                      </a:lnTo>
                      <a:lnTo>
                        <a:pt x="408457" y="220980"/>
                      </a:lnTo>
                      <a:lnTo>
                        <a:pt x="408698" y="219710"/>
                      </a:lnTo>
                      <a:lnTo>
                        <a:pt x="409359" y="218440"/>
                      </a:lnTo>
                      <a:lnTo>
                        <a:pt x="411111" y="217170"/>
                      </a:lnTo>
                      <a:lnTo>
                        <a:pt x="411251" y="217170"/>
                      </a:lnTo>
                      <a:lnTo>
                        <a:pt x="412483" y="218440"/>
                      </a:lnTo>
                      <a:lnTo>
                        <a:pt x="412496" y="217170"/>
                      </a:lnTo>
                      <a:lnTo>
                        <a:pt x="413181" y="217170"/>
                      </a:lnTo>
                      <a:lnTo>
                        <a:pt x="414020" y="215900"/>
                      </a:lnTo>
                      <a:lnTo>
                        <a:pt x="414528" y="214630"/>
                      </a:lnTo>
                      <a:lnTo>
                        <a:pt x="413918" y="214630"/>
                      </a:lnTo>
                      <a:lnTo>
                        <a:pt x="414883" y="213360"/>
                      </a:lnTo>
                      <a:lnTo>
                        <a:pt x="415213" y="213360"/>
                      </a:lnTo>
                      <a:lnTo>
                        <a:pt x="415899" y="212090"/>
                      </a:lnTo>
                      <a:lnTo>
                        <a:pt x="416013" y="214630"/>
                      </a:lnTo>
                      <a:lnTo>
                        <a:pt x="415315" y="215900"/>
                      </a:lnTo>
                      <a:lnTo>
                        <a:pt x="415721" y="219710"/>
                      </a:lnTo>
                      <a:lnTo>
                        <a:pt x="417842" y="220980"/>
                      </a:lnTo>
                      <a:lnTo>
                        <a:pt x="418795" y="222250"/>
                      </a:lnTo>
                      <a:lnTo>
                        <a:pt x="420344" y="217170"/>
                      </a:lnTo>
                      <a:lnTo>
                        <a:pt x="421208" y="210820"/>
                      </a:lnTo>
                      <a:lnTo>
                        <a:pt x="423570" y="207010"/>
                      </a:lnTo>
                      <a:lnTo>
                        <a:pt x="424345" y="205740"/>
                      </a:lnTo>
                      <a:lnTo>
                        <a:pt x="423227" y="205041"/>
                      </a:lnTo>
                      <a:lnTo>
                        <a:pt x="423227" y="207010"/>
                      </a:lnTo>
                      <a:lnTo>
                        <a:pt x="420255" y="207010"/>
                      </a:lnTo>
                      <a:lnTo>
                        <a:pt x="422452" y="204749"/>
                      </a:lnTo>
                      <a:lnTo>
                        <a:pt x="423227" y="207010"/>
                      </a:lnTo>
                      <a:lnTo>
                        <a:pt x="423227" y="205041"/>
                      </a:lnTo>
                      <a:lnTo>
                        <a:pt x="422579" y="204622"/>
                      </a:lnTo>
                      <a:lnTo>
                        <a:pt x="422719" y="204470"/>
                      </a:lnTo>
                      <a:lnTo>
                        <a:pt x="423354" y="203200"/>
                      </a:lnTo>
                      <a:lnTo>
                        <a:pt x="423430" y="204470"/>
                      </a:lnTo>
                      <a:lnTo>
                        <a:pt x="424421" y="203200"/>
                      </a:lnTo>
                      <a:lnTo>
                        <a:pt x="425056" y="203200"/>
                      </a:lnTo>
                      <a:lnTo>
                        <a:pt x="425132" y="201930"/>
                      </a:lnTo>
                      <a:lnTo>
                        <a:pt x="423595" y="201930"/>
                      </a:lnTo>
                      <a:lnTo>
                        <a:pt x="419887" y="203200"/>
                      </a:lnTo>
                      <a:lnTo>
                        <a:pt x="420827" y="198120"/>
                      </a:lnTo>
                      <a:lnTo>
                        <a:pt x="423481" y="199390"/>
                      </a:lnTo>
                      <a:lnTo>
                        <a:pt x="424561" y="198120"/>
                      </a:lnTo>
                      <a:lnTo>
                        <a:pt x="424281" y="195580"/>
                      </a:lnTo>
                      <a:lnTo>
                        <a:pt x="424408" y="194310"/>
                      </a:lnTo>
                      <a:lnTo>
                        <a:pt x="424281" y="193040"/>
                      </a:lnTo>
                      <a:lnTo>
                        <a:pt x="425742" y="189230"/>
                      </a:lnTo>
                      <a:lnTo>
                        <a:pt x="429488" y="186690"/>
                      </a:lnTo>
                      <a:lnTo>
                        <a:pt x="432549" y="182880"/>
                      </a:lnTo>
                      <a:lnTo>
                        <a:pt x="433438" y="180340"/>
                      </a:lnTo>
                      <a:lnTo>
                        <a:pt x="434708" y="17780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600" name="object 140">
                  <a:extLst>
                    <a:ext uri="{FF2B5EF4-FFF2-40B4-BE49-F238E27FC236}">
                      <a16:creationId xmlns:a16="http://schemas.microsoft.com/office/drawing/2014/main" id="{4BF4E4BA-BEED-10D6-60A1-A178C0F46ADE}"/>
                    </a:ext>
                  </a:extLst>
                </p:cNvPr>
                <p:cNvSpPr/>
                <p:nvPr/>
              </p:nvSpPr>
              <p:spPr>
                <a:xfrm>
                  <a:off x="723265" y="1611820"/>
                  <a:ext cx="1265555" cy="9004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65555" h="900430">
                      <a:moveTo>
                        <a:pt x="116446" y="78740"/>
                      </a:moveTo>
                      <a:lnTo>
                        <a:pt x="116192" y="77470"/>
                      </a:lnTo>
                      <a:lnTo>
                        <a:pt x="116001" y="76771"/>
                      </a:lnTo>
                      <a:lnTo>
                        <a:pt x="116446" y="78740"/>
                      </a:lnTo>
                      <a:close/>
                    </a:path>
                    <a:path w="1265555" h="900430">
                      <a:moveTo>
                        <a:pt x="173088" y="55880"/>
                      </a:moveTo>
                      <a:lnTo>
                        <a:pt x="172173" y="55880"/>
                      </a:lnTo>
                      <a:lnTo>
                        <a:pt x="171208" y="57150"/>
                      </a:lnTo>
                      <a:lnTo>
                        <a:pt x="172872" y="57150"/>
                      </a:lnTo>
                      <a:lnTo>
                        <a:pt x="173088" y="55880"/>
                      </a:lnTo>
                      <a:close/>
                    </a:path>
                    <a:path w="1265555" h="900430">
                      <a:moveTo>
                        <a:pt x="223659" y="66040"/>
                      </a:moveTo>
                      <a:lnTo>
                        <a:pt x="220738" y="66040"/>
                      </a:lnTo>
                      <a:lnTo>
                        <a:pt x="220560" y="68580"/>
                      </a:lnTo>
                      <a:lnTo>
                        <a:pt x="223659" y="66040"/>
                      </a:lnTo>
                      <a:close/>
                    </a:path>
                    <a:path w="1265555" h="900430">
                      <a:moveTo>
                        <a:pt x="232930" y="486029"/>
                      </a:moveTo>
                      <a:lnTo>
                        <a:pt x="232410" y="485140"/>
                      </a:lnTo>
                      <a:lnTo>
                        <a:pt x="231965" y="485140"/>
                      </a:lnTo>
                      <a:lnTo>
                        <a:pt x="232930" y="486029"/>
                      </a:lnTo>
                      <a:close/>
                    </a:path>
                    <a:path w="1265555" h="900430">
                      <a:moveTo>
                        <a:pt x="233337" y="486410"/>
                      </a:moveTo>
                      <a:lnTo>
                        <a:pt x="232930" y="486029"/>
                      </a:lnTo>
                      <a:lnTo>
                        <a:pt x="233146" y="486410"/>
                      </a:lnTo>
                      <a:lnTo>
                        <a:pt x="233337" y="486410"/>
                      </a:lnTo>
                      <a:close/>
                    </a:path>
                    <a:path w="1265555" h="900430">
                      <a:moveTo>
                        <a:pt x="233502" y="48260"/>
                      </a:moveTo>
                      <a:lnTo>
                        <a:pt x="232308" y="49530"/>
                      </a:lnTo>
                      <a:lnTo>
                        <a:pt x="233502" y="48260"/>
                      </a:lnTo>
                      <a:close/>
                    </a:path>
                    <a:path w="1265555" h="900430">
                      <a:moveTo>
                        <a:pt x="239725" y="604443"/>
                      </a:moveTo>
                      <a:lnTo>
                        <a:pt x="239242" y="605713"/>
                      </a:lnTo>
                      <a:lnTo>
                        <a:pt x="239725" y="604443"/>
                      </a:lnTo>
                      <a:close/>
                    </a:path>
                    <a:path w="1265555" h="900430">
                      <a:moveTo>
                        <a:pt x="241071" y="649274"/>
                      </a:moveTo>
                      <a:lnTo>
                        <a:pt x="240665" y="650163"/>
                      </a:lnTo>
                      <a:lnTo>
                        <a:pt x="241058" y="650163"/>
                      </a:lnTo>
                      <a:lnTo>
                        <a:pt x="241071" y="649274"/>
                      </a:lnTo>
                      <a:close/>
                    </a:path>
                    <a:path w="1265555" h="900430">
                      <a:moveTo>
                        <a:pt x="243725" y="548563"/>
                      </a:moveTo>
                      <a:lnTo>
                        <a:pt x="243179" y="547293"/>
                      </a:lnTo>
                      <a:lnTo>
                        <a:pt x="242836" y="549833"/>
                      </a:lnTo>
                      <a:lnTo>
                        <a:pt x="243433" y="552094"/>
                      </a:lnTo>
                      <a:lnTo>
                        <a:pt x="243725" y="548563"/>
                      </a:lnTo>
                      <a:close/>
                    </a:path>
                    <a:path w="1265555" h="900430">
                      <a:moveTo>
                        <a:pt x="254698" y="508000"/>
                      </a:moveTo>
                      <a:lnTo>
                        <a:pt x="253390" y="506730"/>
                      </a:lnTo>
                      <a:lnTo>
                        <a:pt x="251917" y="502920"/>
                      </a:lnTo>
                      <a:lnTo>
                        <a:pt x="250164" y="502920"/>
                      </a:lnTo>
                      <a:lnTo>
                        <a:pt x="250621" y="501650"/>
                      </a:lnTo>
                      <a:lnTo>
                        <a:pt x="249110" y="502920"/>
                      </a:lnTo>
                      <a:lnTo>
                        <a:pt x="248691" y="501650"/>
                      </a:lnTo>
                      <a:lnTo>
                        <a:pt x="250075" y="501650"/>
                      </a:lnTo>
                      <a:lnTo>
                        <a:pt x="248945" y="499110"/>
                      </a:lnTo>
                      <a:lnTo>
                        <a:pt x="246405" y="497840"/>
                      </a:lnTo>
                      <a:lnTo>
                        <a:pt x="231051" y="497840"/>
                      </a:lnTo>
                      <a:lnTo>
                        <a:pt x="229882" y="497840"/>
                      </a:lnTo>
                      <a:lnTo>
                        <a:pt x="228879" y="499110"/>
                      </a:lnTo>
                      <a:lnTo>
                        <a:pt x="227050" y="500380"/>
                      </a:lnTo>
                      <a:lnTo>
                        <a:pt x="226148" y="501650"/>
                      </a:lnTo>
                      <a:lnTo>
                        <a:pt x="249491" y="509270"/>
                      </a:lnTo>
                      <a:lnTo>
                        <a:pt x="250278" y="509270"/>
                      </a:lnTo>
                      <a:lnTo>
                        <a:pt x="250977" y="510540"/>
                      </a:lnTo>
                      <a:lnTo>
                        <a:pt x="251472" y="510540"/>
                      </a:lnTo>
                      <a:lnTo>
                        <a:pt x="252488" y="509270"/>
                      </a:lnTo>
                      <a:lnTo>
                        <a:pt x="251993" y="508000"/>
                      </a:lnTo>
                      <a:lnTo>
                        <a:pt x="251320" y="508000"/>
                      </a:lnTo>
                      <a:lnTo>
                        <a:pt x="251510" y="506730"/>
                      </a:lnTo>
                      <a:lnTo>
                        <a:pt x="251866" y="506730"/>
                      </a:lnTo>
                      <a:lnTo>
                        <a:pt x="252590" y="508000"/>
                      </a:lnTo>
                      <a:lnTo>
                        <a:pt x="254698" y="508000"/>
                      </a:lnTo>
                      <a:close/>
                    </a:path>
                    <a:path w="1265555" h="900430">
                      <a:moveTo>
                        <a:pt x="258762" y="695782"/>
                      </a:moveTo>
                      <a:lnTo>
                        <a:pt x="258025" y="697153"/>
                      </a:lnTo>
                      <a:lnTo>
                        <a:pt x="258762" y="695883"/>
                      </a:lnTo>
                      <a:close/>
                    </a:path>
                    <a:path w="1265555" h="900430">
                      <a:moveTo>
                        <a:pt x="261175" y="520623"/>
                      </a:moveTo>
                      <a:lnTo>
                        <a:pt x="260769" y="520623"/>
                      </a:lnTo>
                      <a:lnTo>
                        <a:pt x="260997" y="521081"/>
                      </a:lnTo>
                      <a:lnTo>
                        <a:pt x="261175" y="520623"/>
                      </a:lnTo>
                      <a:close/>
                    </a:path>
                    <a:path w="1265555" h="900430">
                      <a:moveTo>
                        <a:pt x="263626" y="510463"/>
                      </a:moveTo>
                      <a:lnTo>
                        <a:pt x="263055" y="509193"/>
                      </a:lnTo>
                      <a:lnTo>
                        <a:pt x="262318" y="509193"/>
                      </a:lnTo>
                      <a:lnTo>
                        <a:pt x="263626" y="510463"/>
                      </a:lnTo>
                      <a:close/>
                    </a:path>
                    <a:path w="1265555" h="900430">
                      <a:moveTo>
                        <a:pt x="321602" y="763193"/>
                      </a:moveTo>
                      <a:lnTo>
                        <a:pt x="321005" y="761923"/>
                      </a:lnTo>
                      <a:lnTo>
                        <a:pt x="321449" y="763193"/>
                      </a:lnTo>
                      <a:lnTo>
                        <a:pt x="321602" y="763193"/>
                      </a:lnTo>
                      <a:close/>
                    </a:path>
                    <a:path w="1265555" h="900430">
                      <a:moveTo>
                        <a:pt x="327101" y="139700"/>
                      </a:moveTo>
                      <a:lnTo>
                        <a:pt x="326555" y="140970"/>
                      </a:lnTo>
                      <a:lnTo>
                        <a:pt x="327101" y="139700"/>
                      </a:lnTo>
                      <a:close/>
                    </a:path>
                    <a:path w="1265555" h="900430">
                      <a:moveTo>
                        <a:pt x="377507" y="245110"/>
                      </a:moveTo>
                      <a:lnTo>
                        <a:pt x="377151" y="243840"/>
                      </a:lnTo>
                      <a:lnTo>
                        <a:pt x="377177" y="244881"/>
                      </a:lnTo>
                      <a:lnTo>
                        <a:pt x="377507" y="245110"/>
                      </a:lnTo>
                      <a:close/>
                    </a:path>
                    <a:path w="1265555" h="900430">
                      <a:moveTo>
                        <a:pt x="438581" y="232143"/>
                      </a:moveTo>
                      <a:lnTo>
                        <a:pt x="438213" y="232410"/>
                      </a:lnTo>
                      <a:lnTo>
                        <a:pt x="438442" y="232410"/>
                      </a:lnTo>
                      <a:lnTo>
                        <a:pt x="438581" y="232143"/>
                      </a:lnTo>
                      <a:close/>
                    </a:path>
                    <a:path w="1265555" h="900430">
                      <a:moveTo>
                        <a:pt x="444576" y="229870"/>
                      </a:moveTo>
                      <a:lnTo>
                        <a:pt x="441363" y="229870"/>
                      </a:lnTo>
                      <a:lnTo>
                        <a:pt x="436460" y="231140"/>
                      </a:lnTo>
                      <a:lnTo>
                        <a:pt x="433222" y="231140"/>
                      </a:lnTo>
                      <a:lnTo>
                        <a:pt x="435876" y="232410"/>
                      </a:lnTo>
                      <a:lnTo>
                        <a:pt x="436626" y="231140"/>
                      </a:lnTo>
                      <a:lnTo>
                        <a:pt x="439102" y="231140"/>
                      </a:lnTo>
                      <a:lnTo>
                        <a:pt x="438581" y="232143"/>
                      </a:lnTo>
                      <a:lnTo>
                        <a:pt x="439953" y="231140"/>
                      </a:lnTo>
                      <a:lnTo>
                        <a:pt x="440804" y="232410"/>
                      </a:lnTo>
                      <a:lnTo>
                        <a:pt x="442544" y="232410"/>
                      </a:lnTo>
                      <a:lnTo>
                        <a:pt x="444576" y="229870"/>
                      </a:lnTo>
                      <a:close/>
                    </a:path>
                    <a:path w="1265555" h="900430">
                      <a:moveTo>
                        <a:pt x="445693" y="227330"/>
                      </a:moveTo>
                      <a:lnTo>
                        <a:pt x="444982" y="226733"/>
                      </a:lnTo>
                      <a:lnTo>
                        <a:pt x="444347" y="227266"/>
                      </a:lnTo>
                      <a:lnTo>
                        <a:pt x="444500" y="227330"/>
                      </a:lnTo>
                      <a:lnTo>
                        <a:pt x="445693" y="227330"/>
                      </a:lnTo>
                      <a:close/>
                    </a:path>
                    <a:path w="1265555" h="900430">
                      <a:moveTo>
                        <a:pt x="476059" y="133464"/>
                      </a:moveTo>
                      <a:lnTo>
                        <a:pt x="475894" y="133350"/>
                      </a:lnTo>
                      <a:lnTo>
                        <a:pt x="475094" y="134620"/>
                      </a:lnTo>
                      <a:lnTo>
                        <a:pt x="476059" y="133464"/>
                      </a:lnTo>
                      <a:close/>
                    </a:path>
                    <a:path w="1265555" h="900430">
                      <a:moveTo>
                        <a:pt x="476948" y="118071"/>
                      </a:moveTo>
                      <a:lnTo>
                        <a:pt x="476681" y="116840"/>
                      </a:lnTo>
                      <a:lnTo>
                        <a:pt x="476923" y="118110"/>
                      </a:lnTo>
                      <a:close/>
                    </a:path>
                    <a:path w="1265555" h="900430">
                      <a:moveTo>
                        <a:pt x="628434" y="887653"/>
                      </a:moveTo>
                      <a:lnTo>
                        <a:pt x="627875" y="886383"/>
                      </a:lnTo>
                      <a:lnTo>
                        <a:pt x="627634" y="886383"/>
                      </a:lnTo>
                      <a:lnTo>
                        <a:pt x="625068" y="888923"/>
                      </a:lnTo>
                      <a:lnTo>
                        <a:pt x="625373" y="888923"/>
                      </a:lnTo>
                      <a:lnTo>
                        <a:pt x="628434" y="887653"/>
                      </a:lnTo>
                      <a:close/>
                    </a:path>
                    <a:path w="1265555" h="900430">
                      <a:moveTo>
                        <a:pt x="632993" y="463461"/>
                      </a:moveTo>
                      <a:lnTo>
                        <a:pt x="632866" y="463550"/>
                      </a:lnTo>
                      <a:lnTo>
                        <a:pt x="632993" y="463550"/>
                      </a:lnTo>
                      <a:close/>
                    </a:path>
                    <a:path w="1265555" h="900430">
                      <a:moveTo>
                        <a:pt x="635635" y="461010"/>
                      </a:moveTo>
                      <a:lnTo>
                        <a:pt x="632625" y="459740"/>
                      </a:lnTo>
                      <a:lnTo>
                        <a:pt x="632993" y="463461"/>
                      </a:lnTo>
                      <a:lnTo>
                        <a:pt x="634441" y="462280"/>
                      </a:lnTo>
                      <a:lnTo>
                        <a:pt x="634974" y="462280"/>
                      </a:lnTo>
                      <a:lnTo>
                        <a:pt x="635635" y="461010"/>
                      </a:lnTo>
                      <a:close/>
                    </a:path>
                    <a:path w="1265555" h="900430">
                      <a:moveTo>
                        <a:pt x="665238" y="833043"/>
                      </a:moveTo>
                      <a:lnTo>
                        <a:pt x="665099" y="833043"/>
                      </a:lnTo>
                      <a:lnTo>
                        <a:pt x="661835" y="834313"/>
                      </a:lnTo>
                      <a:lnTo>
                        <a:pt x="661619" y="835583"/>
                      </a:lnTo>
                      <a:lnTo>
                        <a:pt x="663181" y="834313"/>
                      </a:lnTo>
                      <a:lnTo>
                        <a:pt x="665238" y="833043"/>
                      </a:lnTo>
                      <a:close/>
                    </a:path>
                    <a:path w="1265555" h="900430">
                      <a:moveTo>
                        <a:pt x="667562" y="2540"/>
                      </a:moveTo>
                      <a:lnTo>
                        <a:pt x="666826" y="2540"/>
                      </a:lnTo>
                      <a:lnTo>
                        <a:pt x="666051" y="1270"/>
                      </a:lnTo>
                      <a:lnTo>
                        <a:pt x="664629" y="0"/>
                      </a:lnTo>
                      <a:lnTo>
                        <a:pt x="660463" y="1270"/>
                      </a:lnTo>
                      <a:lnTo>
                        <a:pt x="657237" y="2540"/>
                      </a:lnTo>
                      <a:lnTo>
                        <a:pt x="655916" y="2540"/>
                      </a:lnTo>
                      <a:lnTo>
                        <a:pt x="655027" y="3810"/>
                      </a:lnTo>
                      <a:lnTo>
                        <a:pt x="654939" y="5080"/>
                      </a:lnTo>
                      <a:lnTo>
                        <a:pt x="658571" y="5080"/>
                      </a:lnTo>
                      <a:lnTo>
                        <a:pt x="663168" y="5080"/>
                      </a:lnTo>
                      <a:lnTo>
                        <a:pt x="663371" y="5575"/>
                      </a:lnTo>
                      <a:lnTo>
                        <a:pt x="664235" y="5080"/>
                      </a:lnTo>
                      <a:lnTo>
                        <a:pt x="666369" y="5080"/>
                      </a:lnTo>
                      <a:lnTo>
                        <a:pt x="666229" y="3810"/>
                      </a:lnTo>
                      <a:lnTo>
                        <a:pt x="667562" y="2540"/>
                      </a:lnTo>
                      <a:close/>
                    </a:path>
                    <a:path w="1265555" h="900430">
                      <a:moveTo>
                        <a:pt x="720483" y="67310"/>
                      </a:moveTo>
                      <a:lnTo>
                        <a:pt x="720204" y="66890"/>
                      </a:lnTo>
                      <a:lnTo>
                        <a:pt x="720178" y="67056"/>
                      </a:lnTo>
                      <a:lnTo>
                        <a:pt x="720483" y="67310"/>
                      </a:lnTo>
                      <a:close/>
                    </a:path>
                    <a:path w="1265555" h="900430">
                      <a:moveTo>
                        <a:pt x="725551" y="67310"/>
                      </a:moveTo>
                      <a:lnTo>
                        <a:pt x="724103" y="66040"/>
                      </a:lnTo>
                      <a:lnTo>
                        <a:pt x="722693" y="66040"/>
                      </a:lnTo>
                      <a:lnTo>
                        <a:pt x="718769" y="64770"/>
                      </a:lnTo>
                      <a:lnTo>
                        <a:pt x="720204" y="66890"/>
                      </a:lnTo>
                      <a:lnTo>
                        <a:pt x="720344" y="66040"/>
                      </a:lnTo>
                      <a:lnTo>
                        <a:pt x="721385" y="67310"/>
                      </a:lnTo>
                      <a:lnTo>
                        <a:pt x="725551" y="67310"/>
                      </a:lnTo>
                      <a:close/>
                    </a:path>
                    <a:path w="1265555" h="900430">
                      <a:moveTo>
                        <a:pt x="737641" y="199390"/>
                      </a:moveTo>
                      <a:lnTo>
                        <a:pt x="737374" y="199161"/>
                      </a:lnTo>
                      <a:lnTo>
                        <a:pt x="737412" y="199390"/>
                      </a:lnTo>
                      <a:lnTo>
                        <a:pt x="737641" y="199390"/>
                      </a:lnTo>
                      <a:close/>
                    </a:path>
                    <a:path w="1265555" h="900430">
                      <a:moveTo>
                        <a:pt x="780669" y="562864"/>
                      </a:moveTo>
                      <a:lnTo>
                        <a:pt x="775106" y="565073"/>
                      </a:lnTo>
                      <a:lnTo>
                        <a:pt x="778433" y="566343"/>
                      </a:lnTo>
                      <a:lnTo>
                        <a:pt x="779322" y="565073"/>
                      </a:lnTo>
                      <a:lnTo>
                        <a:pt x="779487" y="563803"/>
                      </a:lnTo>
                      <a:lnTo>
                        <a:pt x="780669" y="562864"/>
                      </a:lnTo>
                      <a:close/>
                    </a:path>
                    <a:path w="1265555" h="900430">
                      <a:moveTo>
                        <a:pt x="781494" y="562533"/>
                      </a:moveTo>
                      <a:lnTo>
                        <a:pt x="781075" y="562533"/>
                      </a:lnTo>
                      <a:lnTo>
                        <a:pt x="780669" y="562864"/>
                      </a:lnTo>
                      <a:lnTo>
                        <a:pt x="781494" y="562533"/>
                      </a:lnTo>
                      <a:close/>
                    </a:path>
                    <a:path w="1265555" h="900430">
                      <a:moveTo>
                        <a:pt x="784440" y="515620"/>
                      </a:moveTo>
                      <a:lnTo>
                        <a:pt x="784313" y="514642"/>
                      </a:lnTo>
                      <a:lnTo>
                        <a:pt x="784186" y="514350"/>
                      </a:lnTo>
                      <a:lnTo>
                        <a:pt x="784440" y="515620"/>
                      </a:lnTo>
                      <a:close/>
                    </a:path>
                    <a:path w="1265555" h="900430">
                      <a:moveTo>
                        <a:pt x="834478" y="862253"/>
                      </a:moveTo>
                      <a:lnTo>
                        <a:pt x="834402" y="862114"/>
                      </a:lnTo>
                      <a:lnTo>
                        <a:pt x="834402" y="862253"/>
                      </a:lnTo>
                      <a:close/>
                    </a:path>
                    <a:path w="1265555" h="900430">
                      <a:moveTo>
                        <a:pt x="850442" y="559701"/>
                      </a:moveTo>
                      <a:lnTo>
                        <a:pt x="850011" y="560070"/>
                      </a:lnTo>
                      <a:lnTo>
                        <a:pt x="850277" y="560070"/>
                      </a:lnTo>
                      <a:lnTo>
                        <a:pt x="850442" y="559701"/>
                      </a:lnTo>
                      <a:close/>
                    </a:path>
                    <a:path w="1265555" h="900430">
                      <a:moveTo>
                        <a:pt x="866889" y="900353"/>
                      </a:moveTo>
                      <a:lnTo>
                        <a:pt x="866660" y="900150"/>
                      </a:lnTo>
                      <a:lnTo>
                        <a:pt x="866686" y="900353"/>
                      </a:lnTo>
                      <a:lnTo>
                        <a:pt x="866889" y="900353"/>
                      </a:lnTo>
                      <a:close/>
                    </a:path>
                    <a:path w="1265555" h="900430">
                      <a:moveTo>
                        <a:pt x="875626" y="782243"/>
                      </a:moveTo>
                      <a:lnTo>
                        <a:pt x="875436" y="782066"/>
                      </a:lnTo>
                      <a:lnTo>
                        <a:pt x="874966" y="782243"/>
                      </a:lnTo>
                      <a:lnTo>
                        <a:pt x="875626" y="782243"/>
                      </a:lnTo>
                      <a:close/>
                    </a:path>
                    <a:path w="1265555" h="900430">
                      <a:moveTo>
                        <a:pt x="889609" y="455930"/>
                      </a:moveTo>
                      <a:lnTo>
                        <a:pt x="889431" y="454660"/>
                      </a:lnTo>
                      <a:lnTo>
                        <a:pt x="889215" y="455091"/>
                      </a:lnTo>
                      <a:lnTo>
                        <a:pt x="889482" y="455930"/>
                      </a:lnTo>
                      <a:lnTo>
                        <a:pt x="889609" y="455930"/>
                      </a:lnTo>
                      <a:close/>
                    </a:path>
                    <a:path w="1265555" h="900430">
                      <a:moveTo>
                        <a:pt x="915111" y="375259"/>
                      </a:moveTo>
                      <a:lnTo>
                        <a:pt x="914387" y="375920"/>
                      </a:lnTo>
                      <a:lnTo>
                        <a:pt x="913638" y="375920"/>
                      </a:lnTo>
                      <a:lnTo>
                        <a:pt x="913739" y="377190"/>
                      </a:lnTo>
                      <a:lnTo>
                        <a:pt x="915111" y="375259"/>
                      </a:lnTo>
                      <a:close/>
                    </a:path>
                    <a:path w="1265555" h="900430">
                      <a:moveTo>
                        <a:pt x="915530" y="374650"/>
                      </a:moveTo>
                      <a:lnTo>
                        <a:pt x="915111" y="375259"/>
                      </a:lnTo>
                      <a:lnTo>
                        <a:pt x="915377" y="375005"/>
                      </a:lnTo>
                      <a:lnTo>
                        <a:pt x="915530" y="374650"/>
                      </a:lnTo>
                      <a:close/>
                    </a:path>
                    <a:path w="1265555" h="900430">
                      <a:moveTo>
                        <a:pt x="924318" y="680643"/>
                      </a:moveTo>
                      <a:lnTo>
                        <a:pt x="924064" y="681609"/>
                      </a:lnTo>
                      <a:lnTo>
                        <a:pt x="924255" y="681913"/>
                      </a:lnTo>
                      <a:lnTo>
                        <a:pt x="924318" y="680643"/>
                      </a:lnTo>
                      <a:close/>
                    </a:path>
                    <a:path w="1265555" h="900430">
                      <a:moveTo>
                        <a:pt x="928344" y="685723"/>
                      </a:moveTo>
                      <a:lnTo>
                        <a:pt x="925944" y="688263"/>
                      </a:lnTo>
                      <a:lnTo>
                        <a:pt x="927976" y="686993"/>
                      </a:lnTo>
                      <a:lnTo>
                        <a:pt x="928344" y="685723"/>
                      </a:lnTo>
                      <a:close/>
                    </a:path>
                    <a:path w="1265555" h="900430">
                      <a:moveTo>
                        <a:pt x="932307" y="693343"/>
                      </a:moveTo>
                      <a:lnTo>
                        <a:pt x="931976" y="693343"/>
                      </a:lnTo>
                      <a:lnTo>
                        <a:pt x="931608" y="694613"/>
                      </a:lnTo>
                      <a:lnTo>
                        <a:pt x="932307" y="693343"/>
                      </a:lnTo>
                      <a:close/>
                    </a:path>
                    <a:path w="1265555" h="900430">
                      <a:moveTo>
                        <a:pt x="958761" y="664375"/>
                      </a:moveTo>
                      <a:lnTo>
                        <a:pt x="957999" y="665314"/>
                      </a:lnTo>
                      <a:lnTo>
                        <a:pt x="957935" y="665454"/>
                      </a:lnTo>
                      <a:lnTo>
                        <a:pt x="958176" y="666673"/>
                      </a:lnTo>
                      <a:lnTo>
                        <a:pt x="958761" y="664375"/>
                      </a:lnTo>
                      <a:close/>
                    </a:path>
                    <a:path w="1265555" h="900430">
                      <a:moveTo>
                        <a:pt x="958964" y="664133"/>
                      </a:moveTo>
                      <a:lnTo>
                        <a:pt x="958811" y="663524"/>
                      </a:lnTo>
                      <a:lnTo>
                        <a:pt x="958761" y="664375"/>
                      </a:lnTo>
                      <a:lnTo>
                        <a:pt x="958964" y="664133"/>
                      </a:lnTo>
                      <a:close/>
                    </a:path>
                    <a:path w="1265555" h="900430">
                      <a:moveTo>
                        <a:pt x="1009281" y="618413"/>
                      </a:moveTo>
                      <a:lnTo>
                        <a:pt x="1007668" y="617143"/>
                      </a:lnTo>
                      <a:lnTo>
                        <a:pt x="1007186" y="618413"/>
                      </a:lnTo>
                      <a:lnTo>
                        <a:pt x="1009281" y="618413"/>
                      </a:lnTo>
                      <a:close/>
                    </a:path>
                    <a:path w="1265555" h="900430">
                      <a:moveTo>
                        <a:pt x="1013879" y="627964"/>
                      </a:moveTo>
                      <a:lnTo>
                        <a:pt x="1012647" y="627303"/>
                      </a:lnTo>
                      <a:lnTo>
                        <a:pt x="1013510" y="628573"/>
                      </a:lnTo>
                      <a:lnTo>
                        <a:pt x="1013879" y="627964"/>
                      </a:lnTo>
                      <a:close/>
                    </a:path>
                    <a:path w="1265555" h="900430">
                      <a:moveTo>
                        <a:pt x="1015326" y="628573"/>
                      </a:moveTo>
                      <a:lnTo>
                        <a:pt x="1014272" y="627303"/>
                      </a:lnTo>
                      <a:lnTo>
                        <a:pt x="1013879" y="627964"/>
                      </a:lnTo>
                      <a:lnTo>
                        <a:pt x="1015034" y="628573"/>
                      </a:lnTo>
                      <a:lnTo>
                        <a:pt x="1015326" y="628573"/>
                      </a:lnTo>
                      <a:close/>
                    </a:path>
                    <a:path w="1265555" h="900430">
                      <a:moveTo>
                        <a:pt x="1039685" y="502920"/>
                      </a:moveTo>
                      <a:lnTo>
                        <a:pt x="1039647" y="502742"/>
                      </a:lnTo>
                      <a:lnTo>
                        <a:pt x="1039393" y="502920"/>
                      </a:lnTo>
                      <a:lnTo>
                        <a:pt x="1039685" y="502920"/>
                      </a:lnTo>
                      <a:close/>
                    </a:path>
                    <a:path w="1265555" h="900430">
                      <a:moveTo>
                        <a:pt x="1049972" y="326390"/>
                      </a:moveTo>
                      <a:close/>
                    </a:path>
                    <a:path w="1265555" h="900430">
                      <a:moveTo>
                        <a:pt x="1074724" y="316230"/>
                      </a:moveTo>
                      <a:lnTo>
                        <a:pt x="1074204" y="316230"/>
                      </a:lnTo>
                      <a:lnTo>
                        <a:pt x="1074534" y="317500"/>
                      </a:lnTo>
                      <a:lnTo>
                        <a:pt x="1074724" y="316230"/>
                      </a:lnTo>
                      <a:close/>
                    </a:path>
                    <a:path w="1265555" h="900430">
                      <a:moveTo>
                        <a:pt x="1095121" y="552450"/>
                      </a:moveTo>
                      <a:lnTo>
                        <a:pt x="1094930" y="552450"/>
                      </a:lnTo>
                      <a:lnTo>
                        <a:pt x="1095121" y="552450"/>
                      </a:lnTo>
                      <a:close/>
                    </a:path>
                    <a:path w="1265555" h="900430">
                      <a:moveTo>
                        <a:pt x="1095425" y="507123"/>
                      </a:moveTo>
                      <a:lnTo>
                        <a:pt x="1095032" y="507657"/>
                      </a:lnTo>
                      <a:lnTo>
                        <a:pt x="1095171" y="508000"/>
                      </a:lnTo>
                      <a:lnTo>
                        <a:pt x="1095311" y="507657"/>
                      </a:lnTo>
                      <a:lnTo>
                        <a:pt x="1095425" y="507123"/>
                      </a:lnTo>
                      <a:close/>
                    </a:path>
                    <a:path w="1265555" h="900430">
                      <a:moveTo>
                        <a:pt x="1097622" y="285750"/>
                      </a:moveTo>
                      <a:lnTo>
                        <a:pt x="1093584" y="285750"/>
                      </a:lnTo>
                      <a:lnTo>
                        <a:pt x="1095781" y="287020"/>
                      </a:lnTo>
                      <a:lnTo>
                        <a:pt x="1097622" y="285750"/>
                      </a:lnTo>
                      <a:close/>
                    </a:path>
                    <a:path w="1265555" h="900430">
                      <a:moveTo>
                        <a:pt x="1098245" y="590550"/>
                      </a:moveTo>
                      <a:lnTo>
                        <a:pt x="1098067" y="589775"/>
                      </a:lnTo>
                      <a:lnTo>
                        <a:pt x="1097889" y="589864"/>
                      </a:lnTo>
                      <a:lnTo>
                        <a:pt x="1098245" y="590550"/>
                      </a:lnTo>
                      <a:close/>
                    </a:path>
                    <a:path w="1265555" h="900430">
                      <a:moveTo>
                        <a:pt x="1098969" y="589280"/>
                      </a:moveTo>
                      <a:lnTo>
                        <a:pt x="1097940" y="589280"/>
                      </a:lnTo>
                      <a:lnTo>
                        <a:pt x="1098067" y="589775"/>
                      </a:lnTo>
                      <a:lnTo>
                        <a:pt x="1098969" y="589280"/>
                      </a:lnTo>
                      <a:close/>
                    </a:path>
                    <a:path w="1265555" h="900430">
                      <a:moveTo>
                        <a:pt x="1128776" y="332270"/>
                      </a:moveTo>
                      <a:lnTo>
                        <a:pt x="1126540" y="331470"/>
                      </a:lnTo>
                      <a:lnTo>
                        <a:pt x="1125575" y="330200"/>
                      </a:lnTo>
                      <a:lnTo>
                        <a:pt x="1125956" y="332270"/>
                      </a:lnTo>
                      <a:lnTo>
                        <a:pt x="1128776" y="332270"/>
                      </a:lnTo>
                      <a:close/>
                    </a:path>
                    <a:path w="1265555" h="900430">
                      <a:moveTo>
                        <a:pt x="1136904" y="364490"/>
                      </a:moveTo>
                      <a:lnTo>
                        <a:pt x="1136015" y="363220"/>
                      </a:lnTo>
                      <a:lnTo>
                        <a:pt x="1136904" y="364490"/>
                      </a:lnTo>
                      <a:close/>
                    </a:path>
                    <a:path w="1265555" h="900430">
                      <a:moveTo>
                        <a:pt x="1154391" y="377190"/>
                      </a:moveTo>
                      <a:lnTo>
                        <a:pt x="1153871" y="378409"/>
                      </a:lnTo>
                      <a:lnTo>
                        <a:pt x="1154391" y="377190"/>
                      </a:lnTo>
                      <a:close/>
                    </a:path>
                    <a:path w="1265555" h="900430">
                      <a:moveTo>
                        <a:pt x="1161554" y="417830"/>
                      </a:moveTo>
                      <a:lnTo>
                        <a:pt x="1161288" y="419100"/>
                      </a:lnTo>
                      <a:lnTo>
                        <a:pt x="1161516" y="419100"/>
                      </a:lnTo>
                      <a:lnTo>
                        <a:pt x="1161554" y="417830"/>
                      </a:lnTo>
                      <a:close/>
                    </a:path>
                    <a:path w="1265555" h="900430">
                      <a:moveTo>
                        <a:pt x="1163815" y="384810"/>
                      </a:moveTo>
                      <a:lnTo>
                        <a:pt x="1163675" y="383540"/>
                      </a:lnTo>
                      <a:lnTo>
                        <a:pt x="1163586" y="384390"/>
                      </a:lnTo>
                      <a:lnTo>
                        <a:pt x="1163815" y="384810"/>
                      </a:lnTo>
                      <a:close/>
                    </a:path>
                    <a:path w="1265555" h="900430">
                      <a:moveTo>
                        <a:pt x="1175804" y="502208"/>
                      </a:moveTo>
                      <a:lnTo>
                        <a:pt x="1173988" y="502920"/>
                      </a:lnTo>
                      <a:lnTo>
                        <a:pt x="1170889" y="504190"/>
                      </a:lnTo>
                      <a:lnTo>
                        <a:pt x="1170419" y="506730"/>
                      </a:lnTo>
                      <a:lnTo>
                        <a:pt x="1171219" y="506730"/>
                      </a:lnTo>
                      <a:lnTo>
                        <a:pt x="1173568" y="505460"/>
                      </a:lnTo>
                      <a:lnTo>
                        <a:pt x="1174623" y="505460"/>
                      </a:lnTo>
                      <a:lnTo>
                        <a:pt x="1174813" y="502920"/>
                      </a:lnTo>
                      <a:lnTo>
                        <a:pt x="1175804" y="502208"/>
                      </a:lnTo>
                      <a:close/>
                    </a:path>
                    <a:path w="1265555" h="900430">
                      <a:moveTo>
                        <a:pt x="1175854" y="389890"/>
                      </a:moveTo>
                      <a:lnTo>
                        <a:pt x="1175067" y="390969"/>
                      </a:lnTo>
                      <a:lnTo>
                        <a:pt x="1175118" y="391160"/>
                      </a:lnTo>
                      <a:lnTo>
                        <a:pt x="1175854" y="389890"/>
                      </a:lnTo>
                      <a:close/>
                    </a:path>
                    <a:path w="1265555" h="900430">
                      <a:moveTo>
                        <a:pt x="1176248" y="504190"/>
                      </a:moveTo>
                      <a:close/>
                    </a:path>
                    <a:path w="1265555" h="900430">
                      <a:moveTo>
                        <a:pt x="1176794" y="407885"/>
                      </a:moveTo>
                      <a:lnTo>
                        <a:pt x="1176604" y="407670"/>
                      </a:lnTo>
                      <a:lnTo>
                        <a:pt x="1176108" y="408063"/>
                      </a:lnTo>
                      <a:lnTo>
                        <a:pt x="1176794" y="407885"/>
                      </a:lnTo>
                      <a:close/>
                    </a:path>
                    <a:path w="1265555" h="900430">
                      <a:moveTo>
                        <a:pt x="1177036" y="505460"/>
                      </a:moveTo>
                      <a:lnTo>
                        <a:pt x="1176248" y="504253"/>
                      </a:lnTo>
                      <a:lnTo>
                        <a:pt x="1176007" y="505460"/>
                      </a:lnTo>
                      <a:lnTo>
                        <a:pt x="1177036" y="505460"/>
                      </a:lnTo>
                      <a:close/>
                    </a:path>
                    <a:path w="1265555" h="900430">
                      <a:moveTo>
                        <a:pt x="1177188" y="501650"/>
                      </a:moveTo>
                      <a:lnTo>
                        <a:pt x="1176566" y="501650"/>
                      </a:lnTo>
                      <a:lnTo>
                        <a:pt x="1175804" y="502208"/>
                      </a:lnTo>
                      <a:lnTo>
                        <a:pt x="1177188" y="501650"/>
                      </a:lnTo>
                      <a:close/>
                    </a:path>
                    <a:path w="1265555" h="900430">
                      <a:moveTo>
                        <a:pt x="1186764" y="402590"/>
                      </a:moveTo>
                      <a:lnTo>
                        <a:pt x="1186078" y="402590"/>
                      </a:lnTo>
                      <a:lnTo>
                        <a:pt x="1184706" y="403860"/>
                      </a:lnTo>
                      <a:lnTo>
                        <a:pt x="1186459" y="403860"/>
                      </a:lnTo>
                      <a:lnTo>
                        <a:pt x="1186764" y="402590"/>
                      </a:lnTo>
                      <a:close/>
                    </a:path>
                    <a:path w="1265555" h="900430">
                      <a:moveTo>
                        <a:pt x="1211859" y="414020"/>
                      </a:moveTo>
                      <a:lnTo>
                        <a:pt x="1207922" y="414020"/>
                      </a:lnTo>
                      <a:lnTo>
                        <a:pt x="1208316" y="415290"/>
                      </a:lnTo>
                      <a:lnTo>
                        <a:pt x="1210271" y="415290"/>
                      </a:lnTo>
                      <a:lnTo>
                        <a:pt x="1211859" y="414020"/>
                      </a:lnTo>
                      <a:close/>
                    </a:path>
                    <a:path w="1265555" h="900430">
                      <a:moveTo>
                        <a:pt x="1217231" y="417830"/>
                      </a:moveTo>
                      <a:lnTo>
                        <a:pt x="1216012" y="417830"/>
                      </a:lnTo>
                      <a:lnTo>
                        <a:pt x="1216990" y="419100"/>
                      </a:lnTo>
                      <a:lnTo>
                        <a:pt x="1217231" y="417830"/>
                      </a:lnTo>
                      <a:close/>
                    </a:path>
                    <a:path w="1265555" h="900430">
                      <a:moveTo>
                        <a:pt x="1217625" y="436880"/>
                      </a:moveTo>
                      <a:lnTo>
                        <a:pt x="1216914" y="436880"/>
                      </a:lnTo>
                      <a:lnTo>
                        <a:pt x="1216660" y="438150"/>
                      </a:lnTo>
                      <a:lnTo>
                        <a:pt x="1217625" y="436880"/>
                      </a:lnTo>
                      <a:close/>
                    </a:path>
                    <a:path w="1265555" h="900430">
                      <a:moveTo>
                        <a:pt x="1222349" y="444500"/>
                      </a:moveTo>
                      <a:lnTo>
                        <a:pt x="1220203" y="443230"/>
                      </a:lnTo>
                      <a:lnTo>
                        <a:pt x="1220165" y="443382"/>
                      </a:lnTo>
                      <a:lnTo>
                        <a:pt x="1222349" y="444500"/>
                      </a:lnTo>
                      <a:close/>
                    </a:path>
                    <a:path w="1265555" h="900430">
                      <a:moveTo>
                        <a:pt x="1238935" y="524713"/>
                      </a:moveTo>
                      <a:lnTo>
                        <a:pt x="1237970" y="525780"/>
                      </a:lnTo>
                      <a:lnTo>
                        <a:pt x="1236865" y="527050"/>
                      </a:lnTo>
                      <a:lnTo>
                        <a:pt x="1238453" y="527050"/>
                      </a:lnTo>
                      <a:lnTo>
                        <a:pt x="1238935" y="524713"/>
                      </a:lnTo>
                      <a:close/>
                    </a:path>
                    <a:path w="1265555" h="900430">
                      <a:moveTo>
                        <a:pt x="1251826" y="511810"/>
                      </a:moveTo>
                      <a:lnTo>
                        <a:pt x="1250213" y="513080"/>
                      </a:lnTo>
                      <a:lnTo>
                        <a:pt x="1251178" y="513080"/>
                      </a:lnTo>
                      <a:lnTo>
                        <a:pt x="1251826" y="511810"/>
                      </a:lnTo>
                      <a:close/>
                    </a:path>
                    <a:path w="1265555" h="900430">
                      <a:moveTo>
                        <a:pt x="1261135" y="513080"/>
                      </a:moveTo>
                      <a:lnTo>
                        <a:pt x="1260729" y="513080"/>
                      </a:lnTo>
                      <a:lnTo>
                        <a:pt x="1260678" y="513232"/>
                      </a:lnTo>
                      <a:lnTo>
                        <a:pt x="1261135" y="513080"/>
                      </a:lnTo>
                      <a:close/>
                    </a:path>
                    <a:path w="1265555" h="900430">
                      <a:moveTo>
                        <a:pt x="1265097" y="524510"/>
                      </a:moveTo>
                      <a:lnTo>
                        <a:pt x="1264577" y="523240"/>
                      </a:lnTo>
                      <a:lnTo>
                        <a:pt x="1263459" y="521970"/>
                      </a:lnTo>
                      <a:lnTo>
                        <a:pt x="1262214" y="521970"/>
                      </a:lnTo>
                      <a:lnTo>
                        <a:pt x="1261935" y="523240"/>
                      </a:lnTo>
                      <a:lnTo>
                        <a:pt x="1259205" y="525780"/>
                      </a:lnTo>
                      <a:lnTo>
                        <a:pt x="1257287" y="525780"/>
                      </a:lnTo>
                      <a:lnTo>
                        <a:pt x="1257134" y="524510"/>
                      </a:lnTo>
                      <a:lnTo>
                        <a:pt x="1256969" y="523240"/>
                      </a:lnTo>
                      <a:lnTo>
                        <a:pt x="1257223" y="521970"/>
                      </a:lnTo>
                      <a:lnTo>
                        <a:pt x="1258138" y="519430"/>
                      </a:lnTo>
                      <a:lnTo>
                        <a:pt x="1258531" y="518160"/>
                      </a:lnTo>
                      <a:lnTo>
                        <a:pt x="1259738" y="515620"/>
                      </a:lnTo>
                      <a:lnTo>
                        <a:pt x="1260678" y="513232"/>
                      </a:lnTo>
                      <a:lnTo>
                        <a:pt x="1257223" y="514350"/>
                      </a:lnTo>
                      <a:lnTo>
                        <a:pt x="1255852" y="515620"/>
                      </a:lnTo>
                      <a:lnTo>
                        <a:pt x="1254887" y="515620"/>
                      </a:lnTo>
                      <a:lnTo>
                        <a:pt x="1254785" y="518160"/>
                      </a:lnTo>
                      <a:lnTo>
                        <a:pt x="1253515" y="518160"/>
                      </a:lnTo>
                      <a:lnTo>
                        <a:pt x="1252791" y="520700"/>
                      </a:lnTo>
                      <a:lnTo>
                        <a:pt x="1252626" y="521970"/>
                      </a:lnTo>
                      <a:lnTo>
                        <a:pt x="1251788" y="521970"/>
                      </a:lnTo>
                      <a:lnTo>
                        <a:pt x="1251750" y="523240"/>
                      </a:lnTo>
                      <a:lnTo>
                        <a:pt x="1252308" y="524510"/>
                      </a:lnTo>
                      <a:lnTo>
                        <a:pt x="1251369" y="523240"/>
                      </a:lnTo>
                      <a:lnTo>
                        <a:pt x="1250581" y="523240"/>
                      </a:lnTo>
                      <a:lnTo>
                        <a:pt x="1250823" y="524510"/>
                      </a:lnTo>
                      <a:lnTo>
                        <a:pt x="1250061" y="523240"/>
                      </a:lnTo>
                      <a:lnTo>
                        <a:pt x="1249807" y="523240"/>
                      </a:lnTo>
                      <a:lnTo>
                        <a:pt x="1249362" y="521970"/>
                      </a:lnTo>
                      <a:lnTo>
                        <a:pt x="1248968" y="521970"/>
                      </a:lnTo>
                      <a:lnTo>
                        <a:pt x="1247800" y="520700"/>
                      </a:lnTo>
                      <a:lnTo>
                        <a:pt x="1247838" y="519430"/>
                      </a:lnTo>
                      <a:lnTo>
                        <a:pt x="1248879" y="518160"/>
                      </a:lnTo>
                      <a:lnTo>
                        <a:pt x="1249921" y="516890"/>
                      </a:lnTo>
                      <a:lnTo>
                        <a:pt x="1250810" y="515620"/>
                      </a:lnTo>
                      <a:lnTo>
                        <a:pt x="1251064" y="515620"/>
                      </a:lnTo>
                      <a:lnTo>
                        <a:pt x="1251102" y="514350"/>
                      </a:lnTo>
                      <a:lnTo>
                        <a:pt x="1249337" y="515620"/>
                      </a:lnTo>
                      <a:lnTo>
                        <a:pt x="1248625" y="515620"/>
                      </a:lnTo>
                      <a:lnTo>
                        <a:pt x="1246860" y="514350"/>
                      </a:lnTo>
                      <a:lnTo>
                        <a:pt x="1247051" y="513080"/>
                      </a:lnTo>
                      <a:lnTo>
                        <a:pt x="1247254" y="513080"/>
                      </a:lnTo>
                      <a:lnTo>
                        <a:pt x="1247495" y="511810"/>
                      </a:lnTo>
                      <a:lnTo>
                        <a:pt x="1248321" y="513080"/>
                      </a:lnTo>
                      <a:lnTo>
                        <a:pt x="1250213" y="513080"/>
                      </a:lnTo>
                      <a:lnTo>
                        <a:pt x="1249222" y="511810"/>
                      </a:lnTo>
                      <a:lnTo>
                        <a:pt x="1250429" y="511810"/>
                      </a:lnTo>
                      <a:lnTo>
                        <a:pt x="1252347" y="510540"/>
                      </a:lnTo>
                      <a:lnTo>
                        <a:pt x="1252969" y="510540"/>
                      </a:lnTo>
                      <a:lnTo>
                        <a:pt x="1253985" y="509270"/>
                      </a:lnTo>
                      <a:lnTo>
                        <a:pt x="1254658" y="510540"/>
                      </a:lnTo>
                      <a:lnTo>
                        <a:pt x="1254480" y="509270"/>
                      </a:lnTo>
                      <a:lnTo>
                        <a:pt x="1254963" y="508000"/>
                      </a:lnTo>
                      <a:lnTo>
                        <a:pt x="1256385" y="508000"/>
                      </a:lnTo>
                      <a:lnTo>
                        <a:pt x="1257414" y="509270"/>
                      </a:lnTo>
                      <a:lnTo>
                        <a:pt x="1259801" y="506730"/>
                      </a:lnTo>
                      <a:lnTo>
                        <a:pt x="1260157" y="505460"/>
                      </a:lnTo>
                      <a:lnTo>
                        <a:pt x="1260868" y="502920"/>
                      </a:lnTo>
                      <a:lnTo>
                        <a:pt x="1257350" y="504190"/>
                      </a:lnTo>
                      <a:lnTo>
                        <a:pt x="1256753" y="505460"/>
                      </a:lnTo>
                      <a:lnTo>
                        <a:pt x="1254912" y="505460"/>
                      </a:lnTo>
                      <a:lnTo>
                        <a:pt x="1254633" y="502920"/>
                      </a:lnTo>
                      <a:lnTo>
                        <a:pt x="1253223" y="504190"/>
                      </a:lnTo>
                      <a:lnTo>
                        <a:pt x="1252994" y="505460"/>
                      </a:lnTo>
                      <a:lnTo>
                        <a:pt x="1252308" y="506730"/>
                      </a:lnTo>
                      <a:lnTo>
                        <a:pt x="1252042" y="506730"/>
                      </a:lnTo>
                      <a:lnTo>
                        <a:pt x="1251470" y="507657"/>
                      </a:lnTo>
                      <a:lnTo>
                        <a:pt x="1251343" y="508000"/>
                      </a:lnTo>
                      <a:lnTo>
                        <a:pt x="1251356" y="507860"/>
                      </a:lnTo>
                      <a:lnTo>
                        <a:pt x="1251254" y="508000"/>
                      </a:lnTo>
                      <a:lnTo>
                        <a:pt x="1251369" y="506730"/>
                      </a:lnTo>
                      <a:lnTo>
                        <a:pt x="1250492" y="506730"/>
                      </a:lnTo>
                      <a:lnTo>
                        <a:pt x="1251242" y="505460"/>
                      </a:lnTo>
                      <a:lnTo>
                        <a:pt x="1250797" y="505460"/>
                      </a:lnTo>
                      <a:lnTo>
                        <a:pt x="1249095" y="506730"/>
                      </a:lnTo>
                      <a:lnTo>
                        <a:pt x="1248740" y="506730"/>
                      </a:lnTo>
                      <a:lnTo>
                        <a:pt x="1248117" y="508000"/>
                      </a:lnTo>
                      <a:lnTo>
                        <a:pt x="1247546" y="508000"/>
                      </a:lnTo>
                      <a:lnTo>
                        <a:pt x="1247597" y="506730"/>
                      </a:lnTo>
                      <a:lnTo>
                        <a:pt x="1246797" y="506730"/>
                      </a:lnTo>
                      <a:lnTo>
                        <a:pt x="1245260" y="508000"/>
                      </a:lnTo>
                      <a:lnTo>
                        <a:pt x="1244688" y="508000"/>
                      </a:lnTo>
                      <a:lnTo>
                        <a:pt x="1242606" y="509270"/>
                      </a:lnTo>
                      <a:lnTo>
                        <a:pt x="1244206" y="506730"/>
                      </a:lnTo>
                      <a:lnTo>
                        <a:pt x="1244688" y="508000"/>
                      </a:lnTo>
                      <a:lnTo>
                        <a:pt x="1246555" y="506730"/>
                      </a:lnTo>
                      <a:lnTo>
                        <a:pt x="1249210" y="505460"/>
                      </a:lnTo>
                      <a:lnTo>
                        <a:pt x="1249527" y="505460"/>
                      </a:lnTo>
                      <a:lnTo>
                        <a:pt x="1248537" y="504190"/>
                      </a:lnTo>
                      <a:lnTo>
                        <a:pt x="1249934" y="504190"/>
                      </a:lnTo>
                      <a:lnTo>
                        <a:pt x="1251229" y="502920"/>
                      </a:lnTo>
                      <a:lnTo>
                        <a:pt x="1248879" y="502920"/>
                      </a:lnTo>
                      <a:lnTo>
                        <a:pt x="1247851" y="501650"/>
                      </a:lnTo>
                      <a:lnTo>
                        <a:pt x="1247571" y="501650"/>
                      </a:lnTo>
                      <a:lnTo>
                        <a:pt x="1248308" y="500380"/>
                      </a:lnTo>
                      <a:lnTo>
                        <a:pt x="1246809" y="500380"/>
                      </a:lnTo>
                      <a:lnTo>
                        <a:pt x="1245590" y="501650"/>
                      </a:lnTo>
                      <a:lnTo>
                        <a:pt x="1247482" y="501650"/>
                      </a:lnTo>
                      <a:lnTo>
                        <a:pt x="1247114" y="502920"/>
                      </a:lnTo>
                      <a:lnTo>
                        <a:pt x="1248092" y="502920"/>
                      </a:lnTo>
                      <a:lnTo>
                        <a:pt x="1247165" y="504190"/>
                      </a:lnTo>
                      <a:lnTo>
                        <a:pt x="1246492" y="504190"/>
                      </a:lnTo>
                      <a:lnTo>
                        <a:pt x="1245958" y="502920"/>
                      </a:lnTo>
                      <a:lnTo>
                        <a:pt x="1245247" y="501650"/>
                      </a:lnTo>
                      <a:lnTo>
                        <a:pt x="1245590" y="501650"/>
                      </a:lnTo>
                      <a:lnTo>
                        <a:pt x="1244968" y="500380"/>
                      </a:lnTo>
                      <a:lnTo>
                        <a:pt x="1242910" y="501650"/>
                      </a:lnTo>
                      <a:lnTo>
                        <a:pt x="1243228" y="500380"/>
                      </a:lnTo>
                      <a:lnTo>
                        <a:pt x="1244841" y="500380"/>
                      </a:lnTo>
                      <a:lnTo>
                        <a:pt x="1245806" y="499110"/>
                      </a:lnTo>
                      <a:lnTo>
                        <a:pt x="1247825" y="499110"/>
                      </a:lnTo>
                      <a:lnTo>
                        <a:pt x="1248079" y="497840"/>
                      </a:lnTo>
                      <a:lnTo>
                        <a:pt x="1249565" y="496570"/>
                      </a:lnTo>
                      <a:lnTo>
                        <a:pt x="1249934" y="496570"/>
                      </a:lnTo>
                      <a:lnTo>
                        <a:pt x="1251369" y="495300"/>
                      </a:lnTo>
                      <a:lnTo>
                        <a:pt x="1250911" y="496570"/>
                      </a:lnTo>
                      <a:lnTo>
                        <a:pt x="1252194" y="494030"/>
                      </a:lnTo>
                      <a:lnTo>
                        <a:pt x="1252334" y="492760"/>
                      </a:lnTo>
                      <a:lnTo>
                        <a:pt x="1253172" y="492760"/>
                      </a:lnTo>
                      <a:lnTo>
                        <a:pt x="1252867" y="491490"/>
                      </a:lnTo>
                      <a:lnTo>
                        <a:pt x="1251521" y="491490"/>
                      </a:lnTo>
                      <a:lnTo>
                        <a:pt x="1250365" y="490220"/>
                      </a:lnTo>
                      <a:lnTo>
                        <a:pt x="1248092" y="488950"/>
                      </a:lnTo>
                      <a:lnTo>
                        <a:pt x="1243253" y="488950"/>
                      </a:lnTo>
                      <a:lnTo>
                        <a:pt x="1243457" y="490220"/>
                      </a:lnTo>
                      <a:lnTo>
                        <a:pt x="1242352" y="490220"/>
                      </a:lnTo>
                      <a:lnTo>
                        <a:pt x="1240078" y="487680"/>
                      </a:lnTo>
                      <a:lnTo>
                        <a:pt x="1239774" y="490220"/>
                      </a:lnTo>
                      <a:lnTo>
                        <a:pt x="1238694" y="491490"/>
                      </a:lnTo>
                      <a:lnTo>
                        <a:pt x="1238821" y="490220"/>
                      </a:lnTo>
                      <a:lnTo>
                        <a:pt x="1239278" y="488950"/>
                      </a:lnTo>
                      <a:lnTo>
                        <a:pt x="1239100" y="487680"/>
                      </a:lnTo>
                      <a:lnTo>
                        <a:pt x="1238897" y="487680"/>
                      </a:lnTo>
                      <a:lnTo>
                        <a:pt x="1239088" y="486410"/>
                      </a:lnTo>
                      <a:lnTo>
                        <a:pt x="1236700" y="486410"/>
                      </a:lnTo>
                      <a:lnTo>
                        <a:pt x="1236040" y="491490"/>
                      </a:lnTo>
                      <a:lnTo>
                        <a:pt x="1234465" y="490220"/>
                      </a:lnTo>
                      <a:lnTo>
                        <a:pt x="1234401" y="491591"/>
                      </a:lnTo>
                      <a:lnTo>
                        <a:pt x="1233855" y="492760"/>
                      </a:lnTo>
                      <a:lnTo>
                        <a:pt x="1233182" y="491490"/>
                      </a:lnTo>
                      <a:lnTo>
                        <a:pt x="1232039" y="491490"/>
                      </a:lnTo>
                      <a:lnTo>
                        <a:pt x="1231404" y="492760"/>
                      </a:lnTo>
                      <a:lnTo>
                        <a:pt x="1230414" y="492760"/>
                      </a:lnTo>
                      <a:lnTo>
                        <a:pt x="1230198" y="491490"/>
                      </a:lnTo>
                      <a:lnTo>
                        <a:pt x="1229347" y="491490"/>
                      </a:lnTo>
                      <a:lnTo>
                        <a:pt x="1227924" y="492417"/>
                      </a:lnTo>
                      <a:lnTo>
                        <a:pt x="1228217" y="491490"/>
                      </a:lnTo>
                      <a:lnTo>
                        <a:pt x="1228051" y="490220"/>
                      </a:lnTo>
                      <a:lnTo>
                        <a:pt x="1228331" y="488950"/>
                      </a:lnTo>
                      <a:lnTo>
                        <a:pt x="1229245" y="490220"/>
                      </a:lnTo>
                      <a:lnTo>
                        <a:pt x="1229601" y="488950"/>
                      </a:lnTo>
                      <a:lnTo>
                        <a:pt x="1228801" y="487680"/>
                      </a:lnTo>
                      <a:lnTo>
                        <a:pt x="1228509" y="487680"/>
                      </a:lnTo>
                      <a:lnTo>
                        <a:pt x="1227645" y="487146"/>
                      </a:lnTo>
                      <a:lnTo>
                        <a:pt x="1227645" y="494030"/>
                      </a:lnTo>
                      <a:lnTo>
                        <a:pt x="1227048" y="495300"/>
                      </a:lnTo>
                      <a:lnTo>
                        <a:pt x="1226756" y="495300"/>
                      </a:lnTo>
                      <a:lnTo>
                        <a:pt x="1226159" y="496570"/>
                      </a:lnTo>
                      <a:lnTo>
                        <a:pt x="1225905" y="496570"/>
                      </a:lnTo>
                      <a:lnTo>
                        <a:pt x="1226312" y="494030"/>
                      </a:lnTo>
                      <a:lnTo>
                        <a:pt x="1227404" y="494030"/>
                      </a:lnTo>
                      <a:lnTo>
                        <a:pt x="1227556" y="493572"/>
                      </a:lnTo>
                      <a:lnTo>
                        <a:pt x="1227645" y="494030"/>
                      </a:lnTo>
                      <a:lnTo>
                        <a:pt x="1227645" y="487146"/>
                      </a:lnTo>
                      <a:lnTo>
                        <a:pt x="1226464" y="486410"/>
                      </a:lnTo>
                      <a:lnTo>
                        <a:pt x="1226858" y="488950"/>
                      </a:lnTo>
                      <a:lnTo>
                        <a:pt x="1226820" y="491490"/>
                      </a:lnTo>
                      <a:lnTo>
                        <a:pt x="1226743" y="490220"/>
                      </a:lnTo>
                      <a:lnTo>
                        <a:pt x="1225562" y="490220"/>
                      </a:lnTo>
                      <a:lnTo>
                        <a:pt x="1226096" y="488950"/>
                      </a:lnTo>
                      <a:lnTo>
                        <a:pt x="1225029" y="488950"/>
                      </a:lnTo>
                      <a:lnTo>
                        <a:pt x="1224876" y="487680"/>
                      </a:lnTo>
                      <a:lnTo>
                        <a:pt x="1224102" y="487680"/>
                      </a:lnTo>
                      <a:lnTo>
                        <a:pt x="1223746" y="488950"/>
                      </a:lnTo>
                      <a:lnTo>
                        <a:pt x="1223175" y="490220"/>
                      </a:lnTo>
                      <a:lnTo>
                        <a:pt x="1223124" y="488950"/>
                      </a:lnTo>
                      <a:lnTo>
                        <a:pt x="1222070" y="488950"/>
                      </a:lnTo>
                      <a:lnTo>
                        <a:pt x="1222070" y="520700"/>
                      </a:lnTo>
                      <a:lnTo>
                        <a:pt x="1221054" y="521970"/>
                      </a:lnTo>
                      <a:lnTo>
                        <a:pt x="1220812" y="521970"/>
                      </a:lnTo>
                      <a:lnTo>
                        <a:pt x="1222070" y="520700"/>
                      </a:lnTo>
                      <a:lnTo>
                        <a:pt x="1222070" y="488950"/>
                      </a:lnTo>
                      <a:lnTo>
                        <a:pt x="1220838" y="488950"/>
                      </a:lnTo>
                      <a:lnTo>
                        <a:pt x="1219936" y="487680"/>
                      </a:lnTo>
                      <a:lnTo>
                        <a:pt x="1217168" y="487680"/>
                      </a:lnTo>
                      <a:lnTo>
                        <a:pt x="1216253" y="488950"/>
                      </a:lnTo>
                      <a:lnTo>
                        <a:pt x="1215809" y="488950"/>
                      </a:lnTo>
                      <a:lnTo>
                        <a:pt x="1217803" y="486410"/>
                      </a:lnTo>
                      <a:lnTo>
                        <a:pt x="1219111" y="485140"/>
                      </a:lnTo>
                      <a:lnTo>
                        <a:pt x="1218463" y="483870"/>
                      </a:lnTo>
                      <a:lnTo>
                        <a:pt x="1216571" y="483870"/>
                      </a:lnTo>
                      <a:lnTo>
                        <a:pt x="1215656" y="485140"/>
                      </a:lnTo>
                      <a:lnTo>
                        <a:pt x="1214666" y="486410"/>
                      </a:lnTo>
                      <a:lnTo>
                        <a:pt x="1214551" y="485140"/>
                      </a:lnTo>
                      <a:lnTo>
                        <a:pt x="1216291" y="483870"/>
                      </a:lnTo>
                      <a:lnTo>
                        <a:pt x="1217663" y="482600"/>
                      </a:lnTo>
                      <a:lnTo>
                        <a:pt x="1219822" y="482600"/>
                      </a:lnTo>
                      <a:lnTo>
                        <a:pt x="1221054" y="481330"/>
                      </a:lnTo>
                      <a:lnTo>
                        <a:pt x="1222451" y="481330"/>
                      </a:lnTo>
                      <a:lnTo>
                        <a:pt x="1224445" y="480060"/>
                      </a:lnTo>
                      <a:lnTo>
                        <a:pt x="1224648" y="478790"/>
                      </a:lnTo>
                      <a:lnTo>
                        <a:pt x="1220444" y="478790"/>
                      </a:lnTo>
                      <a:lnTo>
                        <a:pt x="1220355" y="480060"/>
                      </a:lnTo>
                      <a:lnTo>
                        <a:pt x="1219352" y="478790"/>
                      </a:lnTo>
                      <a:lnTo>
                        <a:pt x="1218831" y="478790"/>
                      </a:lnTo>
                      <a:lnTo>
                        <a:pt x="1218463" y="477520"/>
                      </a:lnTo>
                      <a:lnTo>
                        <a:pt x="1217320" y="477520"/>
                      </a:lnTo>
                      <a:lnTo>
                        <a:pt x="1217383" y="478790"/>
                      </a:lnTo>
                      <a:lnTo>
                        <a:pt x="1216418" y="478790"/>
                      </a:lnTo>
                      <a:lnTo>
                        <a:pt x="1216380" y="477520"/>
                      </a:lnTo>
                      <a:lnTo>
                        <a:pt x="1215872" y="478790"/>
                      </a:lnTo>
                      <a:lnTo>
                        <a:pt x="1215161" y="478790"/>
                      </a:lnTo>
                      <a:lnTo>
                        <a:pt x="1214882" y="480060"/>
                      </a:lnTo>
                      <a:lnTo>
                        <a:pt x="1214488" y="480060"/>
                      </a:lnTo>
                      <a:lnTo>
                        <a:pt x="1214412" y="478790"/>
                      </a:lnTo>
                      <a:lnTo>
                        <a:pt x="1214348" y="476250"/>
                      </a:lnTo>
                      <a:lnTo>
                        <a:pt x="1213472" y="476250"/>
                      </a:lnTo>
                      <a:lnTo>
                        <a:pt x="1212456" y="477520"/>
                      </a:lnTo>
                      <a:lnTo>
                        <a:pt x="1211135" y="480060"/>
                      </a:lnTo>
                      <a:lnTo>
                        <a:pt x="1210729" y="480060"/>
                      </a:lnTo>
                      <a:lnTo>
                        <a:pt x="1210856" y="481330"/>
                      </a:lnTo>
                      <a:lnTo>
                        <a:pt x="1209497" y="478790"/>
                      </a:lnTo>
                      <a:lnTo>
                        <a:pt x="1205814" y="485140"/>
                      </a:lnTo>
                      <a:lnTo>
                        <a:pt x="1204887" y="486410"/>
                      </a:lnTo>
                      <a:lnTo>
                        <a:pt x="1204950" y="485140"/>
                      </a:lnTo>
                      <a:lnTo>
                        <a:pt x="1204607" y="482600"/>
                      </a:lnTo>
                      <a:lnTo>
                        <a:pt x="1204125" y="482600"/>
                      </a:lnTo>
                      <a:lnTo>
                        <a:pt x="1204518" y="481330"/>
                      </a:lnTo>
                      <a:lnTo>
                        <a:pt x="1205166" y="480060"/>
                      </a:lnTo>
                      <a:lnTo>
                        <a:pt x="1206563" y="477520"/>
                      </a:lnTo>
                      <a:lnTo>
                        <a:pt x="1207795" y="474980"/>
                      </a:lnTo>
                      <a:lnTo>
                        <a:pt x="1208697" y="473710"/>
                      </a:lnTo>
                      <a:lnTo>
                        <a:pt x="1210754" y="469900"/>
                      </a:lnTo>
                      <a:lnTo>
                        <a:pt x="1214882" y="467360"/>
                      </a:lnTo>
                      <a:lnTo>
                        <a:pt x="1215466" y="464820"/>
                      </a:lnTo>
                      <a:lnTo>
                        <a:pt x="1214589" y="463550"/>
                      </a:lnTo>
                      <a:lnTo>
                        <a:pt x="1214843" y="462280"/>
                      </a:lnTo>
                      <a:lnTo>
                        <a:pt x="1214882" y="463550"/>
                      </a:lnTo>
                      <a:lnTo>
                        <a:pt x="1215618" y="463550"/>
                      </a:lnTo>
                      <a:lnTo>
                        <a:pt x="1215555" y="464820"/>
                      </a:lnTo>
                      <a:lnTo>
                        <a:pt x="1216736" y="463550"/>
                      </a:lnTo>
                      <a:lnTo>
                        <a:pt x="1217523" y="462280"/>
                      </a:lnTo>
                      <a:lnTo>
                        <a:pt x="1218641" y="462280"/>
                      </a:lnTo>
                      <a:lnTo>
                        <a:pt x="1219009" y="461010"/>
                      </a:lnTo>
                      <a:lnTo>
                        <a:pt x="1219339" y="459740"/>
                      </a:lnTo>
                      <a:lnTo>
                        <a:pt x="1219809" y="457200"/>
                      </a:lnTo>
                      <a:lnTo>
                        <a:pt x="1219974" y="455930"/>
                      </a:lnTo>
                      <a:lnTo>
                        <a:pt x="1219479" y="454660"/>
                      </a:lnTo>
                      <a:lnTo>
                        <a:pt x="1219060" y="455930"/>
                      </a:lnTo>
                      <a:lnTo>
                        <a:pt x="1216279" y="455930"/>
                      </a:lnTo>
                      <a:lnTo>
                        <a:pt x="1215948" y="453390"/>
                      </a:lnTo>
                      <a:lnTo>
                        <a:pt x="1216075" y="452120"/>
                      </a:lnTo>
                      <a:lnTo>
                        <a:pt x="1218095" y="452120"/>
                      </a:lnTo>
                      <a:lnTo>
                        <a:pt x="1219441" y="453390"/>
                      </a:lnTo>
                      <a:lnTo>
                        <a:pt x="1223695" y="453390"/>
                      </a:lnTo>
                      <a:lnTo>
                        <a:pt x="1224114" y="452120"/>
                      </a:lnTo>
                      <a:lnTo>
                        <a:pt x="1224521" y="450850"/>
                      </a:lnTo>
                      <a:lnTo>
                        <a:pt x="1224927" y="449580"/>
                      </a:lnTo>
                      <a:lnTo>
                        <a:pt x="1225461" y="448310"/>
                      </a:lnTo>
                      <a:lnTo>
                        <a:pt x="1221282" y="448310"/>
                      </a:lnTo>
                      <a:lnTo>
                        <a:pt x="1221003" y="449580"/>
                      </a:lnTo>
                      <a:lnTo>
                        <a:pt x="1221727" y="449580"/>
                      </a:lnTo>
                      <a:lnTo>
                        <a:pt x="1222235" y="450850"/>
                      </a:lnTo>
                      <a:lnTo>
                        <a:pt x="1220685" y="450850"/>
                      </a:lnTo>
                      <a:lnTo>
                        <a:pt x="1219860" y="449580"/>
                      </a:lnTo>
                      <a:lnTo>
                        <a:pt x="1218895" y="450850"/>
                      </a:lnTo>
                      <a:lnTo>
                        <a:pt x="1218679" y="449580"/>
                      </a:lnTo>
                      <a:lnTo>
                        <a:pt x="1218552" y="449580"/>
                      </a:lnTo>
                      <a:lnTo>
                        <a:pt x="1218641" y="448310"/>
                      </a:lnTo>
                      <a:lnTo>
                        <a:pt x="1218577" y="447040"/>
                      </a:lnTo>
                      <a:lnTo>
                        <a:pt x="1219479" y="445770"/>
                      </a:lnTo>
                      <a:lnTo>
                        <a:pt x="1220165" y="443382"/>
                      </a:lnTo>
                      <a:lnTo>
                        <a:pt x="1219860" y="443230"/>
                      </a:lnTo>
                      <a:lnTo>
                        <a:pt x="1218577" y="441960"/>
                      </a:lnTo>
                      <a:lnTo>
                        <a:pt x="1217358" y="441960"/>
                      </a:lnTo>
                      <a:lnTo>
                        <a:pt x="1215440" y="440690"/>
                      </a:lnTo>
                      <a:lnTo>
                        <a:pt x="1217117" y="440690"/>
                      </a:lnTo>
                      <a:lnTo>
                        <a:pt x="1219301" y="441960"/>
                      </a:lnTo>
                      <a:lnTo>
                        <a:pt x="1220762" y="441960"/>
                      </a:lnTo>
                      <a:lnTo>
                        <a:pt x="1219962" y="440690"/>
                      </a:lnTo>
                      <a:lnTo>
                        <a:pt x="1220914" y="440690"/>
                      </a:lnTo>
                      <a:lnTo>
                        <a:pt x="1222705" y="441960"/>
                      </a:lnTo>
                      <a:lnTo>
                        <a:pt x="1222273" y="440690"/>
                      </a:lnTo>
                      <a:lnTo>
                        <a:pt x="1221384" y="438150"/>
                      </a:lnTo>
                      <a:lnTo>
                        <a:pt x="1216660" y="438150"/>
                      </a:lnTo>
                      <a:lnTo>
                        <a:pt x="1214120" y="438150"/>
                      </a:lnTo>
                      <a:lnTo>
                        <a:pt x="1214640" y="436880"/>
                      </a:lnTo>
                      <a:lnTo>
                        <a:pt x="1216914" y="436880"/>
                      </a:lnTo>
                      <a:lnTo>
                        <a:pt x="1217168" y="435610"/>
                      </a:lnTo>
                      <a:lnTo>
                        <a:pt x="1218018" y="435610"/>
                      </a:lnTo>
                      <a:lnTo>
                        <a:pt x="1220279" y="436880"/>
                      </a:lnTo>
                      <a:lnTo>
                        <a:pt x="1220635" y="434340"/>
                      </a:lnTo>
                      <a:lnTo>
                        <a:pt x="1218374" y="435610"/>
                      </a:lnTo>
                      <a:lnTo>
                        <a:pt x="1216507" y="434340"/>
                      </a:lnTo>
                      <a:lnTo>
                        <a:pt x="1215923" y="433158"/>
                      </a:lnTo>
                      <a:lnTo>
                        <a:pt x="1217891" y="434340"/>
                      </a:lnTo>
                      <a:lnTo>
                        <a:pt x="1217917" y="433070"/>
                      </a:lnTo>
                      <a:lnTo>
                        <a:pt x="1222019" y="431800"/>
                      </a:lnTo>
                      <a:lnTo>
                        <a:pt x="1217637" y="429260"/>
                      </a:lnTo>
                      <a:lnTo>
                        <a:pt x="1216787" y="429260"/>
                      </a:lnTo>
                      <a:lnTo>
                        <a:pt x="1215339" y="429260"/>
                      </a:lnTo>
                      <a:lnTo>
                        <a:pt x="1215986" y="427990"/>
                      </a:lnTo>
                      <a:lnTo>
                        <a:pt x="1216787" y="429260"/>
                      </a:lnTo>
                      <a:lnTo>
                        <a:pt x="1218488" y="427990"/>
                      </a:lnTo>
                      <a:lnTo>
                        <a:pt x="1218946" y="427990"/>
                      </a:lnTo>
                      <a:lnTo>
                        <a:pt x="1218361" y="426720"/>
                      </a:lnTo>
                      <a:lnTo>
                        <a:pt x="1221079" y="427990"/>
                      </a:lnTo>
                      <a:lnTo>
                        <a:pt x="1221016" y="426720"/>
                      </a:lnTo>
                      <a:lnTo>
                        <a:pt x="1220812" y="422910"/>
                      </a:lnTo>
                      <a:lnTo>
                        <a:pt x="1218349" y="421640"/>
                      </a:lnTo>
                      <a:lnTo>
                        <a:pt x="1216990" y="421640"/>
                      </a:lnTo>
                      <a:lnTo>
                        <a:pt x="1212684" y="419100"/>
                      </a:lnTo>
                      <a:lnTo>
                        <a:pt x="1216012" y="417830"/>
                      </a:lnTo>
                      <a:lnTo>
                        <a:pt x="1212926" y="417830"/>
                      </a:lnTo>
                      <a:lnTo>
                        <a:pt x="1212303" y="417601"/>
                      </a:lnTo>
                      <a:lnTo>
                        <a:pt x="1212303" y="438150"/>
                      </a:lnTo>
                      <a:lnTo>
                        <a:pt x="1211402" y="438150"/>
                      </a:lnTo>
                      <a:lnTo>
                        <a:pt x="1209967" y="436880"/>
                      </a:lnTo>
                      <a:lnTo>
                        <a:pt x="1211160" y="436880"/>
                      </a:lnTo>
                      <a:lnTo>
                        <a:pt x="1212303" y="438150"/>
                      </a:lnTo>
                      <a:lnTo>
                        <a:pt x="1212303" y="417601"/>
                      </a:lnTo>
                      <a:lnTo>
                        <a:pt x="1209573" y="416560"/>
                      </a:lnTo>
                      <a:lnTo>
                        <a:pt x="1208163" y="416560"/>
                      </a:lnTo>
                      <a:lnTo>
                        <a:pt x="1206792" y="415290"/>
                      </a:lnTo>
                      <a:lnTo>
                        <a:pt x="1206207" y="415290"/>
                      </a:lnTo>
                      <a:lnTo>
                        <a:pt x="1204518" y="414299"/>
                      </a:lnTo>
                      <a:lnTo>
                        <a:pt x="1204518" y="457200"/>
                      </a:lnTo>
                      <a:lnTo>
                        <a:pt x="1203833" y="458470"/>
                      </a:lnTo>
                      <a:lnTo>
                        <a:pt x="1203579" y="458470"/>
                      </a:lnTo>
                      <a:lnTo>
                        <a:pt x="1204518" y="457200"/>
                      </a:lnTo>
                      <a:lnTo>
                        <a:pt x="1204518" y="414299"/>
                      </a:lnTo>
                      <a:lnTo>
                        <a:pt x="1204061" y="414020"/>
                      </a:lnTo>
                      <a:lnTo>
                        <a:pt x="1202791" y="415099"/>
                      </a:lnTo>
                      <a:lnTo>
                        <a:pt x="1202791" y="458470"/>
                      </a:lnTo>
                      <a:lnTo>
                        <a:pt x="1202677" y="459740"/>
                      </a:lnTo>
                      <a:lnTo>
                        <a:pt x="1201737" y="459740"/>
                      </a:lnTo>
                      <a:lnTo>
                        <a:pt x="1202639" y="458470"/>
                      </a:lnTo>
                      <a:lnTo>
                        <a:pt x="1202791" y="458470"/>
                      </a:lnTo>
                      <a:lnTo>
                        <a:pt x="1202791" y="415099"/>
                      </a:lnTo>
                      <a:lnTo>
                        <a:pt x="1201051" y="416560"/>
                      </a:lnTo>
                      <a:lnTo>
                        <a:pt x="1201039" y="417830"/>
                      </a:lnTo>
                      <a:lnTo>
                        <a:pt x="1199680" y="419100"/>
                      </a:lnTo>
                      <a:lnTo>
                        <a:pt x="1198041" y="420370"/>
                      </a:lnTo>
                      <a:lnTo>
                        <a:pt x="1197419" y="420370"/>
                      </a:lnTo>
                      <a:lnTo>
                        <a:pt x="1198384" y="419100"/>
                      </a:lnTo>
                      <a:lnTo>
                        <a:pt x="1198283" y="417830"/>
                      </a:lnTo>
                      <a:lnTo>
                        <a:pt x="1198181" y="416560"/>
                      </a:lnTo>
                      <a:lnTo>
                        <a:pt x="1198143" y="416166"/>
                      </a:lnTo>
                      <a:lnTo>
                        <a:pt x="1199413" y="415290"/>
                      </a:lnTo>
                      <a:lnTo>
                        <a:pt x="1200556" y="415290"/>
                      </a:lnTo>
                      <a:lnTo>
                        <a:pt x="1201204" y="414020"/>
                      </a:lnTo>
                      <a:lnTo>
                        <a:pt x="1200683" y="412750"/>
                      </a:lnTo>
                      <a:lnTo>
                        <a:pt x="1201089" y="412750"/>
                      </a:lnTo>
                      <a:lnTo>
                        <a:pt x="1200543" y="411480"/>
                      </a:lnTo>
                      <a:lnTo>
                        <a:pt x="1200238" y="410210"/>
                      </a:lnTo>
                      <a:lnTo>
                        <a:pt x="1200594" y="410210"/>
                      </a:lnTo>
                      <a:lnTo>
                        <a:pt x="1198029" y="408940"/>
                      </a:lnTo>
                      <a:lnTo>
                        <a:pt x="1196479" y="407479"/>
                      </a:lnTo>
                      <a:lnTo>
                        <a:pt x="1196479" y="416560"/>
                      </a:lnTo>
                      <a:lnTo>
                        <a:pt x="1194892" y="417830"/>
                      </a:lnTo>
                      <a:lnTo>
                        <a:pt x="1196035" y="416560"/>
                      </a:lnTo>
                      <a:lnTo>
                        <a:pt x="1196479" y="416560"/>
                      </a:lnTo>
                      <a:lnTo>
                        <a:pt x="1196479" y="407479"/>
                      </a:lnTo>
                      <a:lnTo>
                        <a:pt x="1195336" y="406400"/>
                      </a:lnTo>
                      <a:lnTo>
                        <a:pt x="1191133" y="405130"/>
                      </a:lnTo>
                      <a:lnTo>
                        <a:pt x="1191107" y="407670"/>
                      </a:lnTo>
                      <a:lnTo>
                        <a:pt x="1185849" y="407670"/>
                      </a:lnTo>
                      <a:lnTo>
                        <a:pt x="1183373" y="408940"/>
                      </a:lnTo>
                      <a:lnTo>
                        <a:pt x="1181760" y="408940"/>
                      </a:lnTo>
                      <a:lnTo>
                        <a:pt x="1178915" y="410210"/>
                      </a:lnTo>
                      <a:lnTo>
                        <a:pt x="1177010" y="410210"/>
                      </a:lnTo>
                      <a:lnTo>
                        <a:pt x="1175550" y="411480"/>
                      </a:lnTo>
                      <a:lnTo>
                        <a:pt x="1173949" y="412750"/>
                      </a:lnTo>
                      <a:lnTo>
                        <a:pt x="1173378" y="412750"/>
                      </a:lnTo>
                      <a:lnTo>
                        <a:pt x="1173035" y="414020"/>
                      </a:lnTo>
                      <a:lnTo>
                        <a:pt x="1173822" y="414020"/>
                      </a:lnTo>
                      <a:lnTo>
                        <a:pt x="1173391" y="415290"/>
                      </a:lnTo>
                      <a:lnTo>
                        <a:pt x="1169593" y="415290"/>
                      </a:lnTo>
                      <a:lnTo>
                        <a:pt x="1168908" y="416560"/>
                      </a:lnTo>
                      <a:lnTo>
                        <a:pt x="1166380" y="417830"/>
                      </a:lnTo>
                      <a:lnTo>
                        <a:pt x="1165339" y="419100"/>
                      </a:lnTo>
                      <a:lnTo>
                        <a:pt x="1161516" y="419100"/>
                      </a:lnTo>
                      <a:lnTo>
                        <a:pt x="1161478" y="420370"/>
                      </a:lnTo>
                      <a:lnTo>
                        <a:pt x="1160602" y="420370"/>
                      </a:lnTo>
                      <a:lnTo>
                        <a:pt x="1160272" y="421640"/>
                      </a:lnTo>
                      <a:lnTo>
                        <a:pt x="1158582" y="422910"/>
                      </a:lnTo>
                      <a:lnTo>
                        <a:pt x="1157414" y="422910"/>
                      </a:lnTo>
                      <a:lnTo>
                        <a:pt x="1157185" y="422910"/>
                      </a:lnTo>
                      <a:lnTo>
                        <a:pt x="1157084" y="422783"/>
                      </a:lnTo>
                      <a:lnTo>
                        <a:pt x="1157084" y="423100"/>
                      </a:lnTo>
                      <a:lnTo>
                        <a:pt x="1155179" y="424180"/>
                      </a:lnTo>
                      <a:lnTo>
                        <a:pt x="1153845" y="424180"/>
                      </a:lnTo>
                      <a:lnTo>
                        <a:pt x="1155001" y="422910"/>
                      </a:lnTo>
                      <a:lnTo>
                        <a:pt x="1156906" y="422910"/>
                      </a:lnTo>
                      <a:lnTo>
                        <a:pt x="1157084" y="423100"/>
                      </a:lnTo>
                      <a:lnTo>
                        <a:pt x="1157084" y="422783"/>
                      </a:lnTo>
                      <a:lnTo>
                        <a:pt x="1156182" y="421640"/>
                      </a:lnTo>
                      <a:lnTo>
                        <a:pt x="1154049" y="422910"/>
                      </a:lnTo>
                      <a:lnTo>
                        <a:pt x="1154684" y="421640"/>
                      </a:lnTo>
                      <a:lnTo>
                        <a:pt x="1157871" y="419100"/>
                      </a:lnTo>
                      <a:lnTo>
                        <a:pt x="1159167" y="420370"/>
                      </a:lnTo>
                      <a:lnTo>
                        <a:pt x="1159281" y="419100"/>
                      </a:lnTo>
                      <a:lnTo>
                        <a:pt x="1158278" y="418553"/>
                      </a:lnTo>
                      <a:lnTo>
                        <a:pt x="1159852" y="417830"/>
                      </a:lnTo>
                      <a:lnTo>
                        <a:pt x="1156944" y="415290"/>
                      </a:lnTo>
                      <a:lnTo>
                        <a:pt x="1159383" y="415290"/>
                      </a:lnTo>
                      <a:lnTo>
                        <a:pt x="1158532" y="414020"/>
                      </a:lnTo>
                      <a:lnTo>
                        <a:pt x="1161491" y="414020"/>
                      </a:lnTo>
                      <a:lnTo>
                        <a:pt x="1162494" y="412750"/>
                      </a:lnTo>
                      <a:lnTo>
                        <a:pt x="1166799" y="412750"/>
                      </a:lnTo>
                      <a:lnTo>
                        <a:pt x="1170432" y="411480"/>
                      </a:lnTo>
                      <a:lnTo>
                        <a:pt x="1172692" y="411480"/>
                      </a:lnTo>
                      <a:lnTo>
                        <a:pt x="1174851" y="410210"/>
                      </a:lnTo>
                      <a:lnTo>
                        <a:pt x="1174991" y="408940"/>
                      </a:lnTo>
                      <a:lnTo>
                        <a:pt x="1176108" y="408063"/>
                      </a:lnTo>
                      <a:lnTo>
                        <a:pt x="1172730" y="408940"/>
                      </a:lnTo>
                      <a:lnTo>
                        <a:pt x="1167130" y="410210"/>
                      </a:lnTo>
                      <a:lnTo>
                        <a:pt x="1165771" y="408940"/>
                      </a:lnTo>
                      <a:lnTo>
                        <a:pt x="1167409" y="407670"/>
                      </a:lnTo>
                      <a:lnTo>
                        <a:pt x="1173746" y="407670"/>
                      </a:lnTo>
                      <a:lnTo>
                        <a:pt x="1175372" y="406400"/>
                      </a:lnTo>
                      <a:lnTo>
                        <a:pt x="1178915" y="406400"/>
                      </a:lnTo>
                      <a:lnTo>
                        <a:pt x="1180084" y="405130"/>
                      </a:lnTo>
                      <a:lnTo>
                        <a:pt x="1182649" y="405130"/>
                      </a:lnTo>
                      <a:lnTo>
                        <a:pt x="1182624" y="405257"/>
                      </a:lnTo>
                      <a:lnTo>
                        <a:pt x="1180007" y="406400"/>
                      </a:lnTo>
                      <a:lnTo>
                        <a:pt x="1177632" y="407670"/>
                      </a:lnTo>
                      <a:lnTo>
                        <a:pt x="1176794" y="407885"/>
                      </a:lnTo>
                      <a:lnTo>
                        <a:pt x="1177696" y="408940"/>
                      </a:lnTo>
                      <a:lnTo>
                        <a:pt x="1180579" y="408940"/>
                      </a:lnTo>
                      <a:lnTo>
                        <a:pt x="1181468" y="406400"/>
                      </a:lnTo>
                      <a:lnTo>
                        <a:pt x="1182598" y="405409"/>
                      </a:lnTo>
                      <a:lnTo>
                        <a:pt x="1182382" y="406400"/>
                      </a:lnTo>
                      <a:lnTo>
                        <a:pt x="1185024" y="407670"/>
                      </a:lnTo>
                      <a:lnTo>
                        <a:pt x="1188440" y="406400"/>
                      </a:lnTo>
                      <a:lnTo>
                        <a:pt x="1191107" y="407670"/>
                      </a:lnTo>
                      <a:lnTo>
                        <a:pt x="1191107" y="405130"/>
                      </a:lnTo>
                      <a:lnTo>
                        <a:pt x="1186980" y="405130"/>
                      </a:lnTo>
                      <a:lnTo>
                        <a:pt x="1184122" y="404241"/>
                      </a:lnTo>
                      <a:lnTo>
                        <a:pt x="1184414" y="403860"/>
                      </a:lnTo>
                      <a:lnTo>
                        <a:pt x="1184706" y="403860"/>
                      </a:lnTo>
                      <a:lnTo>
                        <a:pt x="1187348" y="400050"/>
                      </a:lnTo>
                      <a:lnTo>
                        <a:pt x="1194054" y="403860"/>
                      </a:lnTo>
                      <a:lnTo>
                        <a:pt x="1195578" y="400050"/>
                      </a:lnTo>
                      <a:lnTo>
                        <a:pt x="1196479" y="400050"/>
                      </a:lnTo>
                      <a:lnTo>
                        <a:pt x="1197660" y="398780"/>
                      </a:lnTo>
                      <a:lnTo>
                        <a:pt x="1196111" y="397510"/>
                      </a:lnTo>
                      <a:lnTo>
                        <a:pt x="1194511" y="397510"/>
                      </a:lnTo>
                      <a:lnTo>
                        <a:pt x="1191869" y="396240"/>
                      </a:lnTo>
                      <a:lnTo>
                        <a:pt x="1191069" y="394970"/>
                      </a:lnTo>
                      <a:lnTo>
                        <a:pt x="1186472" y="394970"/>
                      </a:lnTo>
                      <a:lnTo>
                        <a:pt x="1186040" y="393700"/>
                      </a:lnTo>
                      <a:lnTo>
                        <a:pt x="1182382" y="393700"/>
                      </a:lnTo>
                      <a:lnTo>
                        <a:pt x="1183170" y="396240"/>
                      </a:lnTo>
                      <a:lnTo>
                        <a:pt x="1182217" y="394970"/>
                      </a:lnTo>
                      <a:lnTo>
                        <a:pt x="1181252" y="393700"/>
                      </a:lnTo>
                      <a:lnTo>
                        <a:pt x="1180998" y="394970"/>
                      </a:lnTo>
                      <a:lnTo>
                        <a:pt x="1180223" y="393700"/>
                      </a:lnTo>
                      <a:lnTo>
                        <a:pt x="1178280" y="393700"/>
                      </a:lnTo>
                      <a:lnTo>
                        <a:pt x="1177747" y="392430"/>
                      </a:lnTo>
                      <a:lnTo>
                        <a:pt x="1177582" y="393700"/>
                      </a:lnTo>
                      <a:lnTo>
                        <a:pt x="1176934" y="392430"/>
                      </a:lnTo>
                      <a:lnTo>
                        <a:pt x="1173988" y="392430"/>
                      </a:lnTo>
                      <a:lnTo>
                        <a:pt x="1175067" y="390969"/>
                      </a:lnTo>
                      <a:lnTo>
                        <a:pt x="1174775" y="389890"/>
                      </a:lnTo>
                      <a:lnTo>
                        <a:pt x="1174432" y="388620"/>
                      </a:lnTo>
                      <a:lnTo>
                        <a:pt x="1174457" y="387350"/>
                      </a:lnTo>
                      <a:lnTo>
                        <a:pt x="1173441" y="387350"/>
                      </a:lnTo>
                      <a:lnTo>
                        <a:pt x="1172933" y="388620"/>
                      </a:lnTo>
                      <a:lnTo>
                        <a:pt x="1171968" y="387350"/>
                      </a:lnTo>
                      <a:lnTo>
                        <a:pt x="1171917" y="388620"/>
                      </a:lnTo>
                      <a:lnTo>
                        <a:pt x="1171816" y="387350"/>
                      </a:lnTo>
                      <a:lnTo>
                        <a:pt x="1171359" y="388620"/>
                      </a:lnTo>
                      <a:lnTo>
                        <a:pt x="1170076" y="388620"/>
                      </a:lnTo>
                      <a:lnTo>
                        <a:pt x="1168869" y="389890"/>
                      </a:lnTo>
                      <a:lnTo>
                        <a:pt x="1168628" y="389890"/>
                      </a:lnTo>
                      <a:lnTo>
                        <a:pt x="1169073" y="388620"/>
                      </a:lnTo>
                      <a:lnTo>
                        <a:pt x="1172438" y="386080"/>
                      </a:lnTo>
                      <a:lnTo>
                        <a:pt x="1171676" y="383540"/>
                      </a:lnTo>
                      <a:lnTo>
                        <a:pt x="1169784" y="386080"/>
                      </a:lnTo>
                      <a:lnTo>
                        <a:pt x="1168971" y="387350"/>
                      </a:lnTo>
                      <a:lnTo>
                        <a:pt x="1168349" y="389890"/>
                      </a:lnTo>
                      <a:lnTo>
                        <a:pt x="1167650" y="388620"/>
                      </a:lnTo>
                      <a:lnTo>
                        <a:pt x="1162329" y="392430"/>
                      </a:lnTo>
                      <a:lnTo>
                        <a:pt x="1162913" y="394970"/>
                      </a:lnTo>
                      <a:lnTo>
                        <a:pt x="1160716" y="394970"/>
                      </a:lnTo>
                      <a:lnTo>
                        <a:pt x="1161796" y="393700"/>
                      </a:lnTo>
                      <a:lnTo>
                        <a:pt x="1162431" y="391160"/>
                      </a:lnTo>
                      <a:lnTo>
                        <a:pt x="1164450" y="389890"/>
                      </a:lnTo>
                      <a:lnTo>
                        <a:pt x="1165656" y="389890"/>
                      </a:lnTo>
                      <a:lnTo>
                        <a:pt x="1166507" y="388620"/>
                      </a:lnTo>
                      <a:lnTo>
                        <a:pt x="1167815" y="387350"/>
                      </a:lnTo>
                      <a:lnTo>
                        <a:pt x="1167549" y="386080"/>
                      </a:lnTo>
                      <a:lnTo>
                        <a:pt x="1165555" y="387350"/>
                      </a:lnTo>
                      <a:lnTo>
                        <a:pt x="1160386" y="387350"/>
                      </a:lnTo>
                      <a:lnTo>
                        <a:pt x="1161046" y="386080"/>
                      </a:lnTo>
                      <a:lnTo>
                        <a:pt x="1163408" y="386080"/>
                      </a:lnTo>
                      <a:lnTo>
                        <a:pt x="1163586" y="384390"/>
                      </a:lnTo>
                      <a:lnTo>
                        <a:pt x="1163129" y="383540"/>
                      </a:lnTo>
                      <a:lnTo>
                        <a:pt x="1161605" y="384810"/>
                      </a:lnTo>
                      <a:lnTo>
                        <a:pt x="1159306" y="384810"/>
                      </a:lnTo>
                      <a:lnTo>
                        <a:pt x="1159179" y="384810"/>
                      </a:lnTo>
                      <a:lnTo>
                        <a:pt x="1159179" y="384975"/>
                      </a:lnTo>
                      <a:lnTo>
                        <a:pt x="1159014" y="386080"/>
                      </a:lnTo>
                      <a:lnTo>
                        <a:pt x="1156512" y="388620"/>
                      </a:lnTo>
                      <a:lnTo>
                        <a:pt x="1156081" y="388620"/>
                      </a:lnTo>
                      <a:lnTo>
                        <a:pt x="1159179" y="384975"/>
                      </a:lnTo>
                      <a:lnTo>
                        <a:pt x="1159179" y="384810"/>
                      </a:lnTo>
                      <a:lnTo>
                        <a:pt x="1157592" y="384810"/>
                      </a:lnTo>
                      <a:lnTo>
                        <a:pt x="1157135" y="385902"/>
                      </a:lnTo>
                      <a:lnTo>
                        <a:pt x="1157058" y="386080"/>
                      </a:lnTo>
                      <a:lnTo>
                        <a:pt x="1157046" y="384810"/>
                      </a:lnTo>
                      <a:lnTo>
                        <a:pt x="1155712" y="384810"/>
                      </a:lnTo>
                      <a:lnTo>
                        <a:pt x="1155344" y="385102"/>
                      </a:lnTo>
                      <a:lnTo>
                        <a:pt x="1155344" y="416941"/>
                      </a:lnTo>
                      <a:lnTo>
                        <a:pt x="1154633" y="416560"/>
                      </a:lnTo>
                      <a:lnTo>
                        <a:pt x="1151369" y="415290"/>
                      </a:lnTo>
                      <a:lnTo>
                        <a:pt x="1148943" y="415290"/>
                      </a:lnTo>
                      <a:lnTo>
                        <a:pt x="1146556" y="415290"/>
                      </a:lnTo>
                      <a:lnTo>
                        <a:pt x="1146873" y="414020"/>
                      </a:lnTo>
                      <a:lnTo>
                        <a:pt x="1147381" y="414020"/>
                      </a:lnTo>
                      <a:lnTo>
                        <a:pt x="1147267" y="412750"/>
                      </a:lnTo>
                      <a:lnTo>
                        <a:pt x="1148943" y="415290"/>
                      </a:lnTo>
                      <a:lnTo>
                        <a:pt x="1152042" y="414020"/>
                      </a:lnTo>
                      <a:lnTo>
                        <a:pt x="1155026" y="416560"/>
                      </a:lnTo>
                      <a:lnTo>
                        <a:pt x="1155344" y="416941"/>
                      </a:lnTo>
                      <a:lnTo>
                        <a:pt x="1155344" y="385102"/>
                      </a:lnTo>
                      <a:lnTo>
                        <a:pt x="1154099" y="386080"/>
                      </a:lnTo>
                      <a:lnTo>
                        <a:pt x="1153744" y="386080"/>
                      </a:lnTo>
                      <a:lnTo>
                        <a:pt x="1152080" y="387350"/>
                      </a:lnTo>
                      <a:lnTo>
                        <a:pt x="1151216" y="388620"/>
                      </a:lnTo>
                      <a:lnTo>
                        <a:pt x="1150023" y="389890"/>
                      </a:lnTo>
                      <a:lnTo>
                        <a:pt x="1150874" y="387350"/>
                      </a:lnTo>
                      <a:lnTo>
                        <a:pt x="1153071" y="386080"/>
                      </a:lnTo>
                      <a:lnTo>
                        <a:pt x="1154633" y="384810"/>
                      </a:lnTo>
                      <a:lnTo>
                        <a:pt x="1153553" y="384810"/>
                      </a:lnTo>
                      <a:lnTo>
                        <a:pt x="1152855" y="384810"/>
                      </a:lnTo>
                      <a:lnTo>
                        <a:pt x="1152588" y="386080"/>
                      </a:lnTo>
                      <a:lnTo>
                        <a:pt x="1151648" y="386080"/>
                      </a:lnTo>
                      <a:lnTo>
                        <a:pt x="1152385" y="384810"/>
                      </a:lnTo>
                      <a:lnTo>
                        <a:pt x="1153287" y="383540"/>
                      </a:lnTo>
                      <a:lnTo>
                        <a:pt x="1153553" y="384810"/>
                      </a:lnTo>
                      <a:lnTo>
                        <a:pt x="1154087" y="383540"/>
                      </a:lnTo>
                      <a:lnTo>
                        <a:pt x="1153922" y="383540"/>
                      </a:lnTo>
                      <a:lnTo>
                        <a:pt x="1154849" y="382270"/>
                      </a:lnTo>
                      <a:lnTo>
                        <a:pt x="1156347" y="381000"/>
                      </a:lnTo>
                      <a:lnTo>
                        <a:pt x="1157287" y="381000"/>
                      </a:lnTo>
                      <a:lnTo>
                        <a:pt x="1156766" y="379730"/>
                      </a:lnTo>
                      <a:lnTo>
                        <a:pt x="1155763" y="381000"/>
                      </a:lnTo>
                      <a:lnTo>
                        <a:pt x="1153401" y="381000"/>
                      </a:lnTo>
                      <a:lnTo>
                        <a:pt x="1153782" y="382270"/>
                      </a:lnTo>
                      <a:lnTo>
                        <a:pt x="1153033" y="382270"/>
                      </a:lnTo>
                      <a:lnTo>
                        <a:pt x="1153210" y="381000"/>
                      </a:lnTo>
                      <a:lnTo>
                        <a:pt x="1155611" y="379730"/>
                      </a:lnTo>
                      <a:lnTo>
                        <a:pt x="1155128" y="378460"/>
                      </a:lnTo>
                      <a:lnTo>
                        <a:pt x="1154455" y="378460"/>
                      </a:lnTo>
                      <a:lnTo>
                        <a:pt x="1153896" y="379730"/>
                      </a:lnTo>
                      <a:lnTo>
                        <a:pt x="1153299" y="379730"/>
                      </a:lnTo>
                      <a:lnTo>
                        <a:pt x="1153871" y="378409"/>
                      </a:lnTo>
                      <a:lnTo>
                        <a:pt x="1151432" y="377190"/>
                      </a:lnTo>
                      <a:lnTo>
                        <a:pt x="1153820" y="375920"/>
                      </a:lnTo>
                      <a:lnTo>
                        <a:pt x="1154671" y="374650"/>
                      </a:lnTo>
                      <a:lnTo>
                        <a:pt x="1155509" y="374650"/>
                      </a:lnTo>
                      <a:lnTo>
                        <a:pt x="1151966" y="373418"/>
                      </a:lnTo>
                      <a:lnTo>
                        <a:pt x="1151242" y="377190"/>
                      </a:lnTo>
                      <a:lnTo>
                        <a:pt x="1150073" y="378460"/>
                      </a:lnTo>
                      <a:lnTo>
                        <a:pt x="1150086" y="377190"/>
                      </a:lnTo>
                      <a:lnTo>
                        <a:pt x="1150924" y="375920"/>
                      </a:lnTo>
                      <a:lnTo>
                        <a:pt x="1151293" y="374650"/>
                      </a:lnTo>
                      <a:lnTo>
                        <a:pt x="1150810" y="374650"/>
                      </a:lnTo>
                      <a:lnTo>
                        <a:pt x="1151064" y="373634"/>
                      </a:lnTo>
                      <a:lnTo>
                        <a:pt x="1151864" y="373443"/>
                      </a:lnTo>
                      <a:lnTo>
                        <a:pt x="1152105" y="373380"/>
                      </a:lnTo>
                      <a:lnTo>
                        <a:pt x="1149743" y="372922"/>
                      </a:lnTo>
                      <a:lnTo>
                        <a:pt x="1149743" y="373964"/>
                      </a:lnTo>
                      <a:lnTo>
                        <a:pt x="1149324" y="374650"/>
                      </a:lnTo>
                      <a:lnTo>
                        <a:pt x="1146873" y="374650"/>
                      </a:lnTo>
                      <a:lnTo>
                        <a:pt x="1149743" y="373964"/>
                      </a:lnTo>
                      <a:lnTo>
                        <a:pt x="1149743" y="372922"/>
                      </a:lnTo>
                      <a:lnTo>
                        <a:pt x="1145603" y="372110"/>
                      </a:lnTo>
                      <a:lnTo>
                        <a:pt x="1144168" y="373380"/>
                      </a:lnTo>
                      <a:lnTo>
                        <a:pt x="1142885" y="372110"/>
                      </a:lnTo>
                      <a:lnTo>
                        <a:pt x="1145603" y="372110"/>
                      </a:lnTo>
                      <a:lnTo>
                        <a:pt x="1147178" y="372110"/>
                      </a:lnTo>
                      <a:lnTo>
                        <a:pt x="1138885" y="369570"/>
                      </a:lnTo>
                      <a:lnTo>
                        <a:pt x="1141183" y="369570"/>
                      </a:lnTo>
                      <a:lnTo>
                        <a:pt x="1141818" y="368300"/>
                      </a:lnTo>
                      <a:lnTo>
                        <a:pt x="1139063" y="368300"/>
                      </a:lnTo>
                      <a:lnTo>
                        <a:pt x="1140815" y="367030"/>
                      </a:lnTo>
                      <a:lnTo>
                        <a:pt x="1141298" y="365760"/>
                      </a:lnTo>
                      <a:lnTo>
                        <a:pt x="1136916" y="365760"/>
                      </a:lnTo>
                      <a:lnTo>
                        <a:pt x="1133944" y="364490"/>
                      </a:lnTo>
                      <a:lnTo>
                        <a:pt x="1131506" y="365760"/>
                      </a:lnTo>
                      <a:lnTo>
                        <a:pt x="1130198" y="364490"/>
                      </a:lnTo>
                      <a:lnTo>
                        <a:pt x="1131201" y="364490"/>
                      </a:lnTo>
                      <a:lnTo>
                        <a:pt x="1132230" y="363220"/>
                      </a:lnTo>
                      <a:lnTo>
                        <a:pt x="1134211" y="363220"/>
                      </a:lnTo>
                      <a:lnTo>
                        <a:pt x="1134859" y="364490"/>
                      </a:lnTo>
                      <a:lnTo>
                        <a:pt x="1135265" y="364490"/>
                      </a:lnTo>
                      <a:lnTo>
                        <a:pt x="1134694" y="363220"/>
                      </a:lnTo>
                      <a:lnTo>
                        <a:pt x="1134948" y="363220"/>
                      </a:lnTo>
                      <a:lnTo>
                        <a:pt x="1133475" y="361950"/>
                      </a:lnTo>
                      <a:lnTo>
                        <a:pt x="1132687" y="360680"/>
                      </a:lnTo>
                      <a:lnTo>
                        <a:pt x="1131354" y="360680"/>
                      </a:lnTo>
                      <a:lnTo>
                        <a:pt x="1130338" y="361950"/>
                      </a:lnTo>
                      <a:lnTo>
                        <a:pt x="1129195" y="360680"/>
                      </a:lnTo>
                      <a:lnTo>
                        <a:pt x="1131290" y="360680"/>
                      </a:lnTo>
                      <a:lnTo>
                        <a:pt x="1130744" y="359410"/>
                      </a:lnTo>
                      <a:lnTo>
                        <a:pt x="1138631" y="359410"/>
                      </a:lnTo>
                      <a:lnTo>
                        <a:pt x="1132357" y="356870"/>
                      </a:lnTo>
                      <a:lnTo>
                        <a:pt x="1130122" y="358140"/>
                      </a:lnTo>
                      <a:lnTo>
                        <a:pt x="1127798" y="356870"/>
                      </a:lnTo>
                      <a:lnTo>
                        <a:pt x="1129169" y="356870"/>
                      </a:lnTo>
                      <a:lnTo>
                        <a:pt x="1125474" y="355600"/>
                      </a:lnTo>
                      <a:lnTo>
                        <a:pt x="1122845" y="353060"/>
                      </a:lnTo>
                      <a:lnTo>
                        <a:pt x="1123759" y="351790"/>
                      </a:lnTo>
                      <a:lnTo>
                        <a:pt x="1128382" y="353060"/>
                      </a:lnTo>
                      <a:lnTo>
                        <a:pt x="1123861" y="353060"/>
                      </a:lnTo>
                      <a:lnTo>
                        <a:pt x="1125689" y="354330"/>
                      </a:lnTo>
                      <a:lnTo>
                        <a:pt x="1128699" y="355600"/>
                      </a:lnTo>
                      <a:lnTo>
                        <a:pt x="1132636" y="355600"/>
                      </a:lnTo>
                      <a:lnTo>
                        <a:pt x="1132713" y="356870"/>
                      </a:lnTo>
                      <a:lnTo>
                        <a:pt x="1135456" y="356870"/>
                      </a:lnTo>
                      <a:lnTo>
                        <a:pt x="1134757" y="355600"/>
                      </a:lnTo>
                      <a:lnTo>
                        <a:pt x="1135011" y="355600"/>
                      </a:lnTo>
                      <a:lnTo>
                        <a:pt x="1133932" y="354330"/>
                      </a:lnTo>
                      <a:lnTo>
                        <a:pt x="1136205" y="353060"/>
                      </a:lnTo>
                      <a:lnTo>
                        <a:pt x="1135570" y="353060"/>
                      </a:lnTo>
                      <a:lnTo>
                        <a:pt x="1136281" y="351790"/>
                      </a:lnTo>
                      <a:lnTo>
                        <a:pt x="1136992" y="350520"/>
                      </a:lnTo>
                      <a:lnTo>
                        <a:pt x="1139444" y="349250"/>
                      </a:lnTo>
                      <a:lnTo>
                        <a:pt x="1140447" y="350520"/>
                      </a:lnTo>
                      <a:lnTo>
                        <a:pt x="1140345" y="348526"/>
                      </a:lnTo>
                      <a:lnTo>
                        <a:pt x="1140383" y="346710"/>
                      </a:lnTo>
                      <a:lnTo>
                        <a:pt x="1134859" y="346710"/>
                      </a:lnTo>
                      <a:lnTo>
                        <a:pt x="1136002" y="345440"/>
                      </a:lnTo>
                      <a:lnTo>
                        <a:pt x="1134427" y="345440"/>
                      </a:lnTo>
                      <a:lnTo>
                        <a:pt x="1134833" y="346710"/>
                      </a:lnTo>
                      <a:lnTo>
                        <a:pt x="1132700" y="345440"/>
                      </a:lnTo>
                      <a:lnTo>
                        <a:pt x="1132001" y="344170"/>
                      </a:lnTo>
                      <a:lnTo>
                        <a:pt x="1132459" y="344170"/>
                      </a:lnTo>
                      <a:lnTo>
                        <a:pt x="1133500" y="342900"/>
                      </a:lnTo>
                      <a:lnTo>
                        <a:pt x="1132357" y="341630"/>
                      </a:lnTo>
                      <a:lnTo>
                        <a:pt x="1133894" y="341630"/>
                      </a:lnTo>
                      <a:lnTo>
                        <a:pt x="1131620" y="340360"/>
                      </a:lnTo>
                      <a:lnTo>
                        <a:pt x="1129995" y="339090"/>
                      </a:lnTo>
                      <a:lnTo>
                        <a:pt x="1126655" y="340093"/>
                      </a:lnTo>
                      <a:lnTo>
                        <a:pt x="1126578" y="339090"/>
                      </a:lnTo>
                      <a:lnTo>
                        <a:pt x="1128014" y="337820"/>
                      </a:lnTo>
                      <a:lnTo>
                        <a:pt x="1130007" y="337820"/>
                      </a:lnTo>
                      <a:lnTo>
                        <a:pt x="1132687" y="336550"/>
                      </a:lnTo>
                      <a:lnTo>
                        <a:pt x="1133602" y="334010"/>
                      </a:lnTo>
                      <a:lnTo>
                        <a:pt x="1130071" y="332740"/>
                      </a:lnTo>
                      <a:lnTo>
                        <a:pt x="1126058" y="332740"/>
                      </a:lnTo>
                      <a:lnTo>
                        <a:pt x="1125689" y="332740"/>
                      </a:lnTo>
                      <a:lnTo>
                        <a:pt x="1125689" y="340360"/>
                      </a:lnTo>
                      <a:lnTo>
                        <a:pt x="1124737" y="340360"/>
                      </a:lnTo>
                      <a:lnTo>
                        <a:pt x="1123302" y="339090"/>
                      </a:lnTo>
                      <a:lnTo>
                        <a:pt x="1123861" y="339090"/>
                      </a:lnTo>
                      <a:lnTo>
                        <a:pt x="1125689" y="340360"/>
                      </a:lnTo>
                      <a:lnTo>
                        <a:pt x="1125689" y="332740"/>
                      </a:lnTo>
                      <a:lnTo>
                        <a:pt x="1107122" y="332740"/>
                      </a:lnTo>
                      <a:lnTo>
                        <a:pt x="1107122" y="480060"/>
                      </a:lnTo>
                      <a:lnTo>
                        <a:pt x="1106805" y="481330"/>
                      </a:lnTo>
                      <a:lnTo>
                        <a:pt x="1102334" y="481330"/>
                      </a:lnTo>
                      <a:lnTo>
                        <a:pt x="1103452" y="480060"/>
                      </a:lnTo>
                      <a:lnTo>
                        <a:pt x="1107122" y="480060"/>
                      </a:lnTo>
                      <a:lnTo>
                        <a:pt x="1107122" y="332740"/>
                      </a:lnTo>
                      <a:lnTo>
                        <a:pt x="1026833" y="332740"/>
                      </a:lnTo>
                      <a:lnTo>
                        <a:pt x="1026591" y="332740"/>
                      </a:lnTo>
                      <a:lnTo>
                        <a:pt x="1025664" y="334010"/>
                      </a:lnTo>
                      <a:lnTo>
                        <a:pt x="1025944" y="332740"/>
                      </a:lnTo>
                      <a:lnTo>
                        <a:pt x="1026591" y="332740"/>
                      </a:lnTo>
                      <a:lnTo>
                        <a:pt x="1027252" y="332270"/>
                      </a:lnTo>
                      <a:lnTo>
                        <a:pt x="1029055" y="330200"/>
                      </a:lnTo>
                      <a:lnTo>
                        <a:pt x="1029639" y="331127"/>
                      </a:lnTo>
                      <a:lnTo>
                        <a:pt x="1029398" y="331470"/>
                      </a:lnTo>
                      <a:lnTo>
                        <a:pt x="1028357" y="331470"/>
                      </a:lnTo>
                      <a:lnTo>
                        <a:pt x="1027252" y="332270"/>
                      </a:lnTo>
                      <a:lnTo>
                        <a:pt x="1125702" y="332270"/>
                      </a:lnTo>
                      <a:lnTo>
                        <a:pt x="1124153" y="330200"/>
                      </a:lnTo>
                      <a:lnTo>
                        <a:pt x="1122908" y="328930"/>
                      </a:lnTo>
                      <a:lnTo>
                        <a:pt x="1122146" y="330200"/>
                      </a:lnTo>
                      <a:lnTo>
                        <a:pt x="1121524" y="330200"/>
                      </a:lnTo>
                      <a:lnTo>
                        <a:pt x="1122781" y="328930"/>
                      </a:lnTo>
                      <a:lnTo>
                        <a:pt x="1122908" y="328930"/>
                      </a:lnTo>
                      <a:lnTo>
                        <a:pt x="1125829" y="328930"/>
                      </a:lnTo>
                      <a:lnTo>
                        <a:pt x="1126655" y="327660"/>
                      </a:lnTo>
                      <a:lnTo>
                        <a:pt x="1125816" y="327660"/>
                      </a:lnTo>
                      <a:lnTo>
                        <a:pt x="1124610" y="326390"/>
                      </a:lnTo>
                      <a:lnTo>
                        <a:pt x="1123873" y="327660"/>
                      </a:lnTo>
                      <a:lnTo>
                        <a:pt x="1124000" y="326390"/>
                      </a:lnTo>
                      <a:lnTo>
                        <a:pt x="1124305" y="326390"/>
                      </a:lnTo>
                      <a:lnTo>
                        <a:pt x="1124648" y="325120"/>
                      </a:lnTo>
                      <a:lnTo>
                        <a:pt x="1122210" y="326390"/>
                      </a:lnTo>
                      <a:lnTo>
                        <a:pt x="1120216" y="325120"/>
                      </a:lnTo>
                      <a:lnTo>
                        <a:pt x="1116761" y="326390"/>
                      </a:lnTo>
                      <a:lnTo>
                        <a:pt x="1115758" y="327660"/>
                      </a:lnTo>
                      <a:lnTo>
                        <a:pt x="1114386" y="328930"/>
                      </a:lnTo>
                      <a:lnTo>
                        <a:pt x="1113624" y="328930"/>
                      </a:lnTo>
                      <a:lnTo>
                        <a:pt x="1114628" y="327660"/>
                      </a:lnTo>
                      <a:lnTo>
                        <a:pt x="1115618" y="326390"/>
                      </a:lnTo>
                      <a:lnTo>
                        <a:pt x="1116736" y="326390"/>
                      </a:lnTo>
                      <a:lnTo>
                        <a:pt x="1119390" y="325120"/>
                      </a:lnTo>
                      <a:lnTo>
                        <a:pt x="1120216" y="325120"/>
                      </a:lnTo>
                      <a:lnTo>
                        <a:pt x="1121346" y="325120"/>
                      </a:lnTo>
                      <a:lnTo>
                        <a:pt x="1122743" y="323850"/>
                      </a:lnTo>
                      <a:lnTo>
                        <a:pt x="1121130" y="323850"/>
                      </a:lnTo>
                      <a:lnTo>
                        <a:pt x="1122768" y="321310"/>
                      </a:lnTo>
                      <a:lnTo>
                        <a:pt x="1121486" y="320040"/>
                      </a:lnTo>
                      <a:lnTo>
                        <a:pt x="1123048" y="318770"/>
                      </a:lnTo>
                      <a:lnTo>
                        <a:pt x="1119530" y="318770"/>
                      </a:lnTo>
                      <a:lnTo>
                        <a:pt x="1119530" y="322872"/>
                      </a:lnTo>
                      <a:lnTo>
                        <a:pt x="1119085" y="322605"/>
                      </a:lnTo>
                      <a:lnTo>
                        <a:pt x="1118997" y="322859"/>
                      </a:lnTo>
                      <a:lnTo>
                        <a:pt x="1119047" y="322580"/>
                      </a:lnTo>
                      <a:lnTo>
                        <a:pt x="1119530" y="322872"/>
                      </a:lnTo>
                      <a:lnTo>
                        <a:pt x="1119530" y="318770"/>
                      </a:lnTo>
                      <a:lnTo>
                        <a:pt x="1116711" y="318770"/>
                      </a:lnTo>
                      <a:lnTo>
                        <a:pt x="1116507" y="318770"/>
                      </a:lnTo>
                      <a:lnTo>
                        <a:pt x="1116037" y="318770"/>
                      </a:lnTo>
                      <a:lnTo>
                        <a:pt x="1116037" y="319557"/>
                      </a:lnTo>
                      <a:lnTo>
                        <a:pt x="1115733" y="320040"/>
                      </a:lnTo>
                      <a:lnTo>
                        <a:pt x="1114501" y="321310"/>
                      </a:lnTo>
                      <a:lnTo>
                        <a:pt x="1116037" y="319557"/>
                      </a:lnTo>
                      <a:lnTo>
                        <a:pt x="1116037" y="318770"/>
                      </a:lnTo>
                      <a:lnTo>
                        <a:pt x="1113790" y="318770"/>
                      </a:lnTo>
                      <a:lnTo>
                        <a:pt x="1114094" y="317500"/>
                      </a:lnTo>
                      <a:lnTo>
                        <a:pt x="1116177" y="317500"/>
                      </a:lnTo>
                      <a:lnTo>
                        <a:pt x="1117219" y="316230"/>
                      </a:lnTo>
                      <a:lnTo>
                        <a:pt x="1119695" y="313690"/>
                      </a:lnTo>
                      <a:lnTo>
                        <a:pt x="1118323" y="314960"/>
                      </a:lnTo>
                      <a:lnTo>
                        <a:pt x="1116380" y="313690"/>
                      </a:lnTo>
                      <a:lnTo>
                        <a:pt x="1119085" y="312420"/>
                      </a:lnTo>
                      <a:lnTo>
                        <a:pt x="1117879" y="311150"/>
                      </a:lnTo>
                      <a:lnTo>
                        <a:pt x="1112875" y="311150"/>
                      </a:lnTo>
                      <a:lnTo>
                        <a:pt x="1112875" y="318770"/>
                      </a:lnTo>
                      <a:lnTo>
                        <a:pt x="1110615" y="321310"/>
                      </a:lnTo>
                      <a:lnTo>
                        <a:pt x="1109599" y="321310"/>
                      </a:lnTo>
                      <a:lnTo>
                        <a:pt x="1108430" y="322580"/>
                      </a:lnTo>
                      <a:lnTo>
                        <a:pt x="1109243" y="321310"/>
                      </a:lnTo>
                      <a:lnTo>
                        <a:pt x="1110780" y="320040"/>
                      </a:lnTo>
                      <a:lnTo>
                        <a:pt x="1111821" y="318770"/>
                      </a:lnTo>
                      <a:lnTo>
                        <a:pt x="1112875" y="318770"/>
                      </a:lnTo>
                      <a:lnTo>
                        <a:pt x="1112875" y="311150"/>
                      </a:lnTo>
                      <a:lnTo>
                        <a:pt x="1112189" y="311150"/>
                      </a:lnTo>
                      <a:lnTo>
                        <a:pt x="1114640" y="309880"/>
                      </a:lnTo>
                      <a:lnTo>
                        <a:pt x="1114348" y="308610"/>
                      </a:lnTo>
                      <a:lnTo>
                        <a:pt x="1112494" y="308610"/>
                      </a:lnTo>
                      <a:lnTo>
                        <a:pt x="1112862" y="307340"/>
                      </a:lnTo>
                      <a:lnTo>
                        <a:pt x="1114920" y="307340"/>
                      </a:lnTo>
                      <a:lnTo>
                        <a:pt x="1111681" y="304977"/>
                      </a:lnTo>
                      <a:lnTo>
                        <a:pt x="1111681" y="318770"/>
                      </a:lnTo>
                      <a:lnTo>
                        <a:pt x="1109357" y="318770"/>
                      </a:lnTo>
                      <a:lnTo>
                        <a:pt x="1110043" y="317500"/>
                      </a:lnTo>
                      <a:lnTo>
                        <a:pt x="1111681" y="318770"/>
                      </a:lnTo>
                      <a:lnTo>
                        <a:pt x="1111681" y="304977"/>
                      </a:lnTo>
                      <a:lnTo>
                        <a:pt x="1111440" y="304800"/>
                      </a:lnTo>
                      <a:lnTo>
                        <a:pt x="1110284" y="307340"/>
                      </a:lnTo>
                      <a:lnTo>
                        <a:pt x="1105877" y="307340"/>
                      </a:lnTo>
                      <a:lnTo>
                        <a:pt x="1104519" y="307340"/>
                      </a:lnTo>
                      <a:lnTo>
                        <a:pt x="1103757" y="308610"/>
                      </a:lnTo>
                      <a:lnTo>
                        <a:pt x="1103058" y="308610"/>
                      </a:lnTo>
                      <a:lnTo>
                        <a:pt x="1103274" y="306070"/>
                      </a:lnTo>
                      <a:lnTo>
                        <a:pt x="1102004" y="307340"/>
                      </a:lnTo>
                      <a:lnTo>
                        <a:pt x="1103223" y="304800"/>
                      </a:lnTo>
                      <a:lnTo>
                        <a:pt x="1105877" y="307340"/>
                      </a:lnTo>
                      <a:lnTo>
                        <a:pt x="1109573" y="306070"/>
                      </a:lnTo>
                      <a:lnTo>
                        <a:pt x="1110640" y="304800"/>
                      </a:lnTo>
                      <a:lnTo>
                        <a:pt x="1111567" y="303530"/>
                      </a:lnTo>
                      <a:lnTo>
                        <a:pt x="1110284" y="302260"/>
                      </a:lnTo>
                      <a:lnTo>
                        <a:pt x="1109116" y="303530"/>
                      </a:lnTo>
                      <a:lnTo>
                        <a:pt x="1107795" y="303530"/>
                      </a:lnTo>
                      <a:lnTo>
                        <a:pt x="1108748" y="302260"/>
                      </a:lnTo>
                      <a:lnTo>
                        <a:pt x="1110361" y="299720"/>
                      </a:lnTo>
                      <a:lnTo>
                        <a:pt x="1106322" y="300990"/>
                      </a:lnTo>
                      <a:lnTo>
                        <a:pt x="1106665" y="302260"/>
                      </a:lnTo>
                      <a:lnTo>
                        <a:pt x="1105230" y="302260"/>
                      </a:lnTo>
                      <a:lnTo>
                        <a:pt x="1106093" y="300990"/>
                      </a:lnTo>
                      <a:lnTo>
                        <a:pt x="1107376" y="299720"/>
                      </a:lnTo>
                      <a:lnTo>
                        <a:pt x="1104811" y="299720"/>
                      </a:lnTo>
                      <a:lnTo>
                        <a:pt x="1101813" y="299720"/>
                      </a:lnTo>
                      <a:lnTo>
                        <a:pt x="1103236" y="298450"/>
                      </a:lnTo>
                      <a:lnTo>
                        <a:pt x="1104811" y="299720"/>
                      </a:lnTo>
                      <a:lnTo>
                        <a:pt x="1106754" y="295910"/>
                      </a:lnTo>
                      <a:lnTo>
                        <a:pt x="1104277" y="295910"/>
                      </a:lnTo>
                      <a:lnTo>
                        <a:pt x="1104277" y="294640"/>
                      </a:lnTo>
                      <a:lnTo>
                        <a:pt x="1103426" y="294640"/>
                      </a:lnTo>
                      <a:lnTo>
                        <a:pt x="1102118" y="293370"/>
                      </a:lnTo>
                      <a:lnTo>
                        <a:pt x="1101763" y="293370"/>
                      </a:lnTo>
                      <a:lnTo>
                        <a:pt x="1101763" y="295910"/>
                      </a:lnTo>
                      <a:lnTo>
                        <a:pt x="1100785" y="297180"/>
                      </a:lnTo>
                      <a:lnTo>
                        <a:pt x="1101267" y="294640"/>
                      </a:lnTo>
                      <a:lnTo>
                        <a:pt x="1101610" y="294640"/>
                      </a:lnTo>
                      <a:lnTo>
                        <a:pt x="1101763" y="295910"/>
                      </a:lnTo>
                      <a:lnTo>
                        <a:pt x="1101763" y="293370"/>
                      </a:lnTo>
                      <a:lnTo>
                        <a:pt x="1100328" y="293370"/>
                      </a:lnTo>
                      <a:lnTo>
                        <a:pt x="1099400" y="292100"/>
                      </a:lnTo>
                      <a:lnTo>
                        <a:pt x="1098473" y="290830"/>
                      </a:lnTo>
                      <a:lnTo>
                        <a:pt x="1099934" y="289560"/>
                      </a:lnTo>
                      <a:lnTo>
                        <a:pt x="1100620" y="288290"/>
                      </a:lnTo>
                      <a:lnTo>
                        <a:pt x="1098829" y="289560"/>
                      </a:lnTo>
                      <a:lnTo>
                        <a:pt x="1099121" y="288290"/>
                      </a:lnTo>
                      <a:lnTo>
                        <a:pt x="1099540" y="287020"/>
                      </a:lnTo>
                      <a:lnTo>
                        <a:pt x="1098613" y="285750"/>
                      </a:lnTo>
                      <a:lnTo>
                        <a:pt x="1097724" y="285750"/>
                      </a:lnTo>
                      <a:lnTo>
                        <a:pt x="1098054" y="287020"/>
                      </a:lnTo>
                      <a:lnTo>
                        <a:pt x="1097140" y="288290"/>
                      </a:lnTo>
                      <a:lnTo>
                        <a:pt x="1095349" y="288290"/>
                      </a:lnTo>
                      <a:lnTo>
                        <a:pt x="1095336" y="289560"/>
                      </a:lnTo>
                      <a:lnTo>
                        <a:pt x="1093584" y="285750"/>
                      </a:lnTo>
                      <a:lnTo>
                        <a:pt x="1092631" y="285750"/>
                      </a:lnTo>
                      <a:lnTo>
                        <a:pt x="1091793" y="287020"/>
                      </a:lnTo>
                      <a:lnTo>
                        <a:pt x="1090726" y="287020"/>
                      </a:lnTo>
                      <a:lnTo>
                        <a:pt x="1091107" y="285750"/>
                      </a:lnTo>
                      <a:lnTo>
                        <a:pt x="1092250" y="284480"/>
                      </a:lnTo>
                      <a:lnTo>
                        <a:pt x="1093266" y="283210"/>
                      </a:lnTo>
                      <a:lnTo>
                        <a:pt x="1092695" y="283210"/>
                      </a:lnTo>
                      <a:lnTo>
                        <a:pt x="1093266" y="281940"/>
                      </a:lnTo>
                      <a:lnTo>
                        <a:pt x="1093787" y="281940"/>
                      </a:lnTo>
                      <a:lnTo>
                        <a:pt x="1094117" y="280670"/>
                      </a:lnTo>
                      <a:lnTo>
                        <a:pt x="1096975" y="281940"/>
                      </a:lnTo>
                      <a:lnTo>
                        <a:pt x="1095794" y="280670"/>
                      </a:lnTo>
                      <a:lnTo>
                        <a:pt x="1094803" y="280670"/>
                      </a:lnTo>
                      <a:lnTo>
                        <a:pt x="1093330" y="279400"/>
                      </a:lnTo>
                      <a:lnTo>
                        <a:pt x="1090129" y="279400"/>
                      </a:lnTo>
                      <a:lnTo>
                        <a:pt x="1089977" y="280670"/>
                      </a:lnTo>
                      <a:lnTo>
                        <a:pt x="1089914" y="281940"/>
                      </a:lnTo>
                      <a:lnTo>
                        <a:pt x="1089304" y="283210"/>
                      </a:lnTo>
                      <a:lnTo>
                        <a:pt x="1088301" y="284467"/>
                      </a:lnTo>
                      <a:lnTo>
                        <a:pt x="1088301" y="292100"/>
                      </a:lnTo>
                      <a:lnTo>
                        <a:pt x="1087704" y="292100"/>
                      </a:lnTo>
                      <a:lnTo>
                        <a:pt x="1087043" y="291376"/>
                      </a:lnTo>
                      <a:lnTo>
                        <a:pt x="1087043" y="299720"/>
                      </a:lnTo>
                      <a:lnTo>
                        <a:pt x="1086675" y="299720"/>
                      </a:lnTo>
                      <a:lnTo>
                        <a:pt x="1085570" y="298450"/>
                      </a:lnTo>
                      <a:lnTo>
                        <a:pt x="1084364" y="298450"/>
                      </a:lnTo>
                      <a:lnTo>
                        <a:pt x="1083259" y="297180"/>
                      </a:lnTo>
                      <a:lnTo>
                        <a:pt x="1085202" y="297180"/>
                      </a:lnTo>
                      <a:lnTo>
                        <a:pt x="1085748" y="298450"/>
                      </a:lnTo>
                      <a:lnTo>
                        <a:pt x="1086662" y="298450"/>
                      </a:lnTo>
                      <a:lnTo>
                        <a:pt x="1087043" y="299720"/>
                      </a:lnTo>
                      <a:lnTo>
                        <a:pt x="1087043" y="291376"/>
                      </a:lnTo>
                      <a:lnTo>
                        <a:pt x="1086561" y="290830"/>
                      </a:lnTo>
                      <a:lnTo>
                        <a:pt x="1087577" y="290830"/>
                      </a:lnTo>
                      <a:lnTo>
                        <a:pt x="1088301" y="292100"/>
                      </a:lnTo>
                      <a:lnTo>
                        <a:pt x="1088301" y="284467"/>
                      </a:lnTo>
                      <a:lnTo>
                        <a:pt x="1087793" y="284480"/>
                      </a:lnTo>
                      <a:lnTo>
                        <a:pt x="1087437" y="285750"/>
                      </a:lnTo>
                      <a:lnTo>
                        <a:pt x="1086866" y="285750"/>
                      </a:lnTo>
                      <a:lnTo>
                        <a:pt x="1086713" y="287020"/>
                      </a:lnTo>
                      <a:lnTo>
                        <a:pt x="1086980" y="287020"/>
                      </a:lnTo>
                      <a:lnTo>
                        <a:pt x="1087094" y="288290"/>
                      </a:lnTo>
                      <a:lnTo>
                        <a:pt x="1086497" y="288290"/>
                      </a:lnTo>
                      <a:lnTo>
                        <a:pt x="1086192" y="289560"/>
                      </a:lnTo>
                      <a:lnTo>
                        <a:pt x="1085748" y="289560"/>
                      </a:lnTo>
                      <a:lnTo>
                        <a:pt x="1085710" y="290830"/>
                      </a:lnTo>
                      <a:lnTo>
                        <a:pt x="1084795" y="290830"/>
                      </a:lnTo>
                      <a:lnTo>
                        <a:pt x="1084021" y="289560"/>
                      </a:lnTo>
                      <a:lnTo>
                        <a:pt x="1083487" y="289560"/>
                      </a:lnTo>
                      <a:lnTo>
                        <a:pt x="1082967" y="290169"/>
                      </a:lnTo>
                      <a:lnTo>
                        <a:pt x="1082967" y="302260"/>
                      </a:lnTo>
                      <a:lnTo>
                        <a:pt x="1082548" y="300990"/>
                      </a:lnTo>
                      <a:lnTo>
                        <a:pt x="1082713" y="300990"/>
                      </a:lnTo>
                      <a:lnTo>
                        <a:pt x="1082967" y="302260"/>
                      </a:lnTo>
                      <a:lnTo>
                        <a:pt x="1082967" y="290169"/>
                      </a:lnTo>
                      <a:lnTo>
                        <a:pt x="1082395" y="290830"/>
                      </a:lnTo>
                      <a:lnTo>
                        <a:pt x="1081112" y="290830"/>
                      </a:lnTo>
                      <a:lnTo>
                        <a:pt x="1081036" y="292100"/>
                      </a:lnTo>
                      <a:lnTo>
                        <a:pt x="1080960" y="294640"/>
                      </a:lnTo>
                      <a:lnTo>
                        <a:pt x="1081201" y="294640"/>
                      </a:lnTo>
                      <a:lnTo>
                        <a:pt x="1081417" y="295910"/>
                      </a:lnTo>
                      <a:lnTo>
                        <a:pt x="1081786" y="295910"/>
                      </a:lnTo>
                      <a:lnTo>
                        <a:pt x="1082319" y="297180"/>
                      </a:lnTo>
                      <a:lnTo>
                        <a:pt x="1082446" y="297180"/>
                      </a:lnTo>
                      <a:lnTo>
                        <a:pt x="1082509" y="298450"/>
                      </a:lnTo>
                      <a:lnTo>
                        <a:pt x="1081976" y="298450"/>
                      </a:lnTo>
                      <a:lnTo>
                        <a:pt x="1081659" y="297180"/>
                      </a:lnTo>
                      <a:lnTo>
                        <a:pt x="1081163" y="297180"/>
                      </a:lnTo>
                      <a:lnTo>
                        <a:pt x="1080985" y="298450"/>
                      </a:lnTo>
                      <a:lnTo>
                        <a:pt x="1080528" y="297180"/>
                      </a:lnTo>
                      <a:lnTo>
                        <a:pt x="1080300" y="297180"/>
                      </a:lnTo>
                      <a:lnTo>
                        <a:pt x="1080820" y="298450"/>
                      </a:lnTo>
                      <a:lnTo>
                        <a:pt x="1082484" y="299720"/>
                      </a:lnTo>
                      <a:lnTo>
                        <a:pt x="1081862" y="299720"/>
                      </a:lnTo>
                      <a:lnTo>
                        <a:pt x="1081798" y="300990"/>
                      </a:lnTo>
                      <a:lnTo>
                        <a:pt x="1081189" y="300990"/>
                      </a:lnTo>
                      <a:lnTo>
                        <a:pt x="1080490" y="299720"/>
                      </a:lnTo>
                      <a:lnTo>
                        <a:pt x="1080008" y="299720"/>
                      </a:lnTo>
                      <a:lnTo>
                        <a:pt x="1080325" y="300990"/>
                      </a:lnTo>
                      <a:lnTo>
                        <a:pt x="1080490" y="302260"/>
                      </a:lnTo>
                      <a:lnTo>
                        <a:pt x="1080947" y="302260"/>
                      </a:lnTo>
                      <a:lnTo>
                        <a:pt x="1080071" y="303530"/>
                      </a:lnTo>
                      <a:lnTo>
                        <a:pt x="1079563" y="303530"/>
                      </a:lnTo>
                      <a:lnTo>
                        <a:pt x="1078725" y="302260"/>
                      </a:lnTo>
                      <a:lnTo>
                        <a:pt x="1077620" y="302260"/>
                      </a:lnTo>
                      <a:lnTo>
                        <a:pt x="1077772" y="303530"/>
                      </a:lnTo>
                      <a:lnTo>
                        <a:pt x="1077849" y="304800"/>
                      </a:lnTo>
                      <a:lnTo>
                        <a:pt x="1078585" y="306070"/>
                      </a:lnTo>
                      <a:lnTo>
                        <a:pt x="1083348" y="306070"/>
                      </a:lnTo>
                      <a:lnTo>
                        <a:pt x="1083538" y="307340"/>
                      </a:lnTo>
                      <a:lnTo>
                        <a:pt x="1077429" y="307340"/>
                      </a:lnTo>
                      <a:lnTo>
                        <a:pt x="1078077" y="308610"/>
                      </a:lnTo>
                      <a:lnTo>
                        <a:pt x="1076883" y="308610"/>
                      </a:lnTo>
                      <a:lnTo>
                        <a:pt x="1076045" y="307340"/>
                      </a:lnTo>
                      <a:lnTo>
                        <a:pt x="1075550" y="307340"/>
                      </a:lnTo>
                      <a:lnTo>
                        <a:pt x="1075385" y="308610"/>
                      </a:lnTo>
                      <a:lnTo>
                        <a:pt x="1075016" y="309880"/>
                      </a:lnTo>
                      <a:lnTo>
                        <a:pt x="1075537" y="311150"/>
                      </a:lnTo>
                      <a:lnTo>
                        <a:pt x="1076591" y="311150"/>
                      </a:lnTo>
                      <a:lnTo>
                        <a:pt x="1076121" y="311708"/>
                      </a:lnTo>
                      <a:lnTo>
                        <a:pt x="1076121" y="316230"/>
                      </a:lnTo>
                      <a:lnTo>
                        <a:pt x="1076007" y="317500"/>
                      </a:lnTo>
                      <a:lnTo>
                        <a:pt x="1075728" y="317500"/>
                      </a:lnTo>
                      <a:lnTo>
                        <a:pt x="1074813" y="318770"/>
                      </a:lnTo>
                      <a:lnTo>
                        <a:pt x="1074940" y="318770"/>
                      </a:lnTo>
                      <a:lnTo>
                        <a:pt x="1074940" y="320040"/>
                      </a:lnTo>
                      <a:lnTo>
                        <a:pt x="1074623" y="320040"/>
                      </a:lnTo>
                      <a:lnTo>
                        <a:pt x="1073150" y="321310"/>
                      </a:lnTo>
                      <a:lnTo>
                        <a:pt x="1073734" y="320040"/>
                      </a:lnTo>
                      <a:lnTo>
                        <a:pt x="1074254" y="318770"/>
                      </a:lnTo>
                      <a:lnTo>
                        <a:pt x="1072908" y="318770"/>
                      </a:lnTo>
                      <a:lnTo>
                        <a:pt x="1073937" y="317500"/>
                      </a:lnTo>
                      <a:lnTo>
                        <a:pt x="1074204" y="316230"/>
                      </a:lnTo>
                      <a:lnTo>
                        <a:pt x="1073823" y="316230"/>
                      </a:lnTo>
                      <a:lnTo>
                        <a:pt x="1073810" y="314960"/>
                      </a:lnTo>
                      <a:lnTo>
                        <a:pt x="1074851" y="314960"/>
                      </a:lnTo>
                      <a:lnTo>
                        <a:pt x="1075499" y="316230"/>
                      </a:lnTo>
                      <a:lnTo>
                        <a:pt x="1076121" y="316230"/>
                      </a:lnTo>
                      <a:lnTo>
                        <a:pt x="1076121" y="311708"/>
                      </a:lnTo>
                      <a:lnTo>
                        <a:pt x="1075512" y="312420"/>
                      </a:lnTo>
                      <a:lnTo>
                        <a:pt x="1074267" y="312420"/>
                      </a:lnTo>
                      <a:lnTo>
                        <a:pt x="1073327" y="313690"/>
                      </a:lnTo>
                      <a:lnTo>
                        <a:pt x="1073467" y="314960"/>
                      </a:lnTo>
                      <a:lnTo>
                        <a:pt x="1072311" y="314960"/>
                      </a:lnTo>
                      <a:lnTo>
                        <a:pt x="1072197" y="313690"/>
                      </a:lnTo>
                      <a:lnTo>
                        <a:pt x="1071168" y="313690"/>
                      </a:lnTo>
                      <a:lnTo>
                        <a:pt x="1071067" y="312420"/>
                      </a:lnTo>
                      <a:lnTo>
                        <a:pt x="1069568" y="312420"/>
                      </a:lnTo>
                      <a:lnTo>
                        <a:pt x="1069200" y="311150"/>
                      </a:lnTo>
                      <a:lnTo>
                        <a:pt x="1068057" y="311150"/>
                      </a:lnTo>
                      <a:lnTo>
                        <a:pt x="1067536" y="312420"/>
                      </a:lnTo>
                      <a:lnTo>
                        <a:pt x="1065339" y="316230"/>
                      </a:lnTo>
                      <a:lnTo>
                        <a:pt x="1064882" y="316230"/>
                      </a:lnTo>
                      <a:lnTo>
                        <a:pt x="1064933" y="317500"/>
                      </a:lnTo>
                      <a:lnTo>
                        <a:pt x="1064463" y="317500"/>
                      </a:lnTo>
                      <a:lnTo>
                        <a:pt x="1064679" y="318770"/>
                      </a:lnTo>
                      <a:lnTo>
                        <a:pt x="1062812" y="318770"/>
                      </a:lnTo>
                      <a:lnTo>
                        <a:pt x="1052347" y="323850"/>
                      </a:lnTo>
                      <a:lnTo>
                        <a:pt x="1051229" y="323850"/>
                      </a:lnTo>
                      <a:lnTo>
                        <a:pt x="1051090" y="325120"/>
                      </a:lnTo>
                      <a:lnTo>
                        <a:pt x="1050544" y="325120"/>
                      </a:lnTo>
                      <a:lnTo>
                        <a:pt x="1050150" y="326390"/>
                      </a:lnTo>
                      <a:lnTo>
                        <a:pt x="1049972" y="326390"/>
                      </a:lnTo>
                      <a:lnTo>
                        <a:pt x="1049972" y="326517"/>
                      </a:lnTo>
                      <a:lnTo>
                        <a:pt x="1050353" y="327660"/>
                      </a:lnTo>
                      <a:lnTo>
                        <a:pt x="1049667" y="328930"/>
                      </a:lnTo>
                      <a:lnTo>
                        <a:pt x="1049807" y="327469"/>
                      </a:lnTo>
                      <a:lnTo>
                        <a:pt x="1049553" y="326580"/>
                      </a:lnTo>
                      <a:lnTo>
                        <a:pt x="1049553" y="328930"/>
                      </a:lnTo>
                      <a:lnTo>
                        <a:pt x="1049375" y="330200"/>
                      </a:lnTo>
                      <a:lnTo>
                        <a:pt x="1049261" y="328930"/>
                      </a:lnTo>
                      <a:lnTo>
                        <a:pt x="1049553" y="328930"/>
                      </a:lnTo>
                      <a:lnTo>
                        <a:pt x="1049553" y="326580"/>
                      </a:lnTo>
                      <a:lnTo>
                        <a:pt x="1049502" y="326390"/>
                      </a:lnTo>
                      <a:lnTo>
                        <a:pt x="1049362" y="325120"/>
                      </a:lnTo>
                      <a:lnTo>
                        <a:pt x="1049718" y="325120"/>
                      </a:lnTo>
                      <a:lnTo>
                        <a:pt x="1050061" y="323850"/>
                      </a:lnTo>
                      <a:lnTo>
                        <a:pt x="1049274" y="322580"/>
                      </a:lnTo>
                      <a:lnTo>
                        <a:pt x="1049083" y="322580"/>
                      </a:lnTo>
                      <a:lnTo>
                        <a:pt x="1049020" y="321310"/>
                      </a:lnTo>
                      <a:lnTo>
                        <a:pt x="1048677" y="321310"/>
                      </a:lnTo>
                      <a:lnTo>
                        <a:pt x="1049820" y="320040"/>
                      </a:lnTo>
                      <a:lnTo>
                        <a:pt x="1047978" y="320040"/>
                      </a:lnTo>
                      <a:lnTo>
                        <a:pt x="1047775" y="321310"/>
                      </a:lnTo>
                      <a:lnTo>
                        <a:pt x="1047597" y="321310"/>
                      </a:lnTo>
                      <a:lnTo>
                        <a:pt x="1047737" y="322580"/>
                      </a:lnTo>
                      <a:lnTo>
                        <a:pt x="1047953" y="322580"/>
                      </a:lnTo>
                      <a:lnTo>
                        <a:pt x="1047178" y="323850"/>
                      </a:lnTo>
                      <a:lnTo>
                        <a:pt x="1046759" y="323850"/>
                      </a:lnTo>
                      <a:lnTo>
                        <a:pt x="1047064" y="322580"/>
                      </a:lnTo>
                      <a:lnTo>
                        <a:pt x="1047229" y="322580"/>
                      </a:lnTo>
                      <a:lnTo>
                        <a:pt x="1046683" y="321310"/>
                      </a:lnTo>
                      <a:lnTo>
                        <a:pt x="1046492" y="321310"/>
                      </a:lnTo>
                      <a:lnTo>
                        <a:pt x="1046289" y="320040"/>
                      </a:lnTo>
                      <a:lnTo>
                        <a:pt x="1046772" y="318770"/>
                      </a:lnTo>
                      <a:lnTo>
                        <a:pt x="1045845" y="317893"/>
                      </a:lnTo>
                      <a:lnTo>
                        <a:pt x="1045845" y="323850"/>
                      </a:lnTo>
                      <a:lnTo>
                        <a:pt x="1045565" y="325120"/>
                      </a:lnTo>
                      <a:lnTo>
                        <a:pt x="1045248" y="325120"/>
                      </a:lnTo>
                      <a:lnTo>
                        <a:pt x="1045070" y="326390"/>
                      </a:lnTo>
                      <a:lnTo>
                        <a:pt x="1044117" y="326390"/>
                      </a:lnTo>
                      <a:lnTo>
                        <a:pt x="1043736" y="327660"/>
                      </a:lnTo>
                      <a:lnTo>
                        <a:pt x="1043533" y="327660"/>
                      </a:lnTo>
                      <a:lnTo>
                        <a:pt x="1043647" y="326390"/>
                      </a:lnTo>
                      <a:lnTo>
                        <a:pt x="1044054" y="326390"/>
                      </a:lnTo>
                      <a:lnTo>
                        <a:pt x="1044422" y="325120"/>
                      </a:lnTo>
                      <a:lnTo>
                        <a:pt x="1045375" y="323850"/>
                      </a:lnTo>
                      <a:lnTo>
                        <a:pt x="1045845" y="323850"/>
                      </a:lnTo>
                      <a:lnTo>
                        <a:pt x="1045845" y="317893"/>
                      </a:lnTo>
                      <a:lnTo>
                        <a:pt x="1045489" y="317500"/>
                      </a:lnTo>
                      <a:lnTo>
                        <a:pt x="1043127" y="317500"/>
                      </a:lnTo>
                      <a:lnTo>
                        <a:pt x="1042670" y="318770"/>
                      </a:lnTo>
                      <a:lnTo>
                        <a:pt x="1042517" y="318770"/>
                      </a:lnTo>
                      <a:lnTo>
                        <a:pt x="1042797" y="320040"/>
                      </a:lnTo>
                      <a:lnTo>
                        <a:pt x="1042581" y="320040"/>
                      </a:lnTo>
                      <a:lnTo>
                        <a:pt x="1042428" y="321310"/>
                      </a:lnTo>
                      <a:lnTo>
                        <a:pt x="1041539" y="322580"/>
                      </a:lnTo>
                      <a:lnTo>
                        <a:pt x="1041971" y="322580"/>
                      </a:lnTo>
                      <a:lnTo>
                        <a:pt x="1041844" y="323850"/>
                      </a:lnTo>
                      <a:lnTo>
                        <a:pt x="1040853" y="323850"/>
                      </a:lnTo>
                      <a:lnTo>
                        <a:pt x="1040790" y="325120"/>
                      </a:lnTo>
                      <a:lnTo>
                        <a:pt x="1041019" y="326390"/>
                      </a:lnTo>
                      <a:lnTo>
                        <a:pt x="1040536" y="326390"/>
                      </a:lnTo>
                      <a:lnTo>
                        <a:pt x="1039812" y="327660"/>
                      </a:lnTo>
                      <a:lnTo>
                        <a:pt x="1039114" y="327660"/>
                      </a:lnTo>
                      <a:lnTo>
                        <a:pt x="1039342" y="326390"/>
                      </a:lnTo>
                      <a:lnTo>
                        <a:pt x="1040320" y="326390"/>
                      </a:lnTo>
                      <a:lnTo>
                        <a:pt x="1040218" y="325120"/>
                      </a:lnTo>
                      <a:lnTo>
                        <a:pt x="1040549" y="323850"/>
                      </a:lnTo>
                      <a:lnTo>
                        <a:pt x="1040955" y="322580"/>
                      </a:lnTo>
                      <a:lnTo>
                        <a:pt x="1041374" y="322580"/>
                      </a:lnTo>
                      <a:lnTo>
                        <a:pt x="1041717" y="321310"/>
                      </a:lnTo>
                      <a:lnTo>
                        <a:pt x="1041958" y="320040"/>
                      </a:lnTo>
                      <a:lnTo>
                        <a:pt x="1042327" y="320040"/>
                      </a:lnTo>
                      <a:lnTo>
                        <a:pt x="1042174" y="318770"/>
                      </a:lnTo>
                      <a:lnTo>
                        <a:pt x="1042377" y="317500"/>
                      </a:lnTo>
                      <a:lnTo>
                        <a:pt x="1042174" y="317500"/>
                      </a:lnTo>
                      <a:lnTo>
                        <a:pt x="1040663" y="313690"/>
                      </a:lnTo>
                      <a:lnTo>
                        <a:pt x="1040066" y="312420"/>
                      </a:lnTo>
                      <a:lnTo>
                        <a:pt x="1039609" y="312420"/>
                      </a:lnTo>
                      <a:lnTo>
                        <a:pt x="1038999" y="311950"/>
                      </a:lnTo>
                      <a:lnTo>
                        <a:pt x="1038999" y="327799"/>
                      </a:lnTo>
                      <a:lnTo>
                        <a:pt x="1038199" y="328930"/>
                      </a:lnTo>
                      <a:lnTo>
                        <a:pt x="1037983" y="328930"/>
                      </a:lnTo>
                      <a:lnTo>
                        <a:pt x="1036167" y="328930"/>
                      </a:lnTo>
                      <a:lnTo>
                        <a:pt x="1037805" y="327660"/>
                      </a:lnTo>
                      <a:lnTo>
                        <a:pt x="1037983" y="328930"/>
                      </a:lnTo>
                      <a:lnTo>
                        <a:pt x="1038999" y="327799"/>
                      </a:lnTo>
                      <a:lnTo>
                        <a:pt x="1038999" y="311950"/>
                      </a:lnTo>
                      <a:lnTo>
                        <a:pt x="1037983" y="311150"/>
                      </a:lnTo>
                      <a:lnTo>
                        <a:pt x="1035215" y="309880"/>
                      </a:lnTo>
                      <a:lnTo>
                        <a:pt x="1033475" y="309880"/>
                      </a:lnTo>
                      <a:lnTo>
                        <a:pt x="1033475" y="328930"/>
                      </a:lnTo>
                      <a:lnTo>
                        <a:pt x="1032268" y="330200"/>
                      </a:lnTo>
                      <a:lnTo>
                        <a:pt x="1031316" y="330200"/>
                      </a:lnTo>
                      <a:lnTo>
                        <a:pt x="1031633" y="328930"/>
                      </a:lnTo>
                      <a:lnTo>
                        <a:pt x="1033475" y="328930"/>
                      </a:lnTo>
                      <a:lnTo>
                        <a:pt x="1033475" y="309880"/>
                      </a:lnTo>
                      <a:lnTo>
                        <a:pt x="1032573" y="309880"/>
                      </a:lnTo>
                      <a:lnTo>
                        <a:pt x="1030846" y="311150"/>
                      </a:lnTo>
                      <a:lnTo>
                        <a:pt x="1030998" y="309880"/>
                      </a:lnTo>
                      <a:lnTo>
                        <a:pt x="1025893" y="309880"/>
                      </a:lnTo>
                      <a:lnTo>
                        <a:pt x="1025715" y="311150"/>
                      </a:lnTo>
                      <a:lnTo>
                        <a:pt x="1024686" y="311150"/>
                      </a:lnTo>
                      <a:lnTo>
                        <a:pt x="1024483" y="312420"/>
                      </a:lnTo>
                      <a:lnTo>
                        <a:pt x="1023099" y="312420"/>
                      </a:lnTo>
                      <a:lnTo>
                        <a:pt x="1023175" y="311150"/>
                      </a:lnTo>
                      <a:lnTo>
                        <a:pt x="1023340" y="311150"/>
                      </a:lnTo>
                      <a:lnTo>
                        <a:pt x="1023391" y="309880"/>
                      </a:lnTo>
                      <a:lnTo>
                        <a:pt x="1023708" y="309880"/>
                      </a:lnTo>
                      <a:lnTo>
                        <a:pt x="1024115" y="311150"/>
                      </a:lnTo>
                      <a:lnTo>
                        <a:pt x="1024382" y="309880"/>
                      </a:lnTo>
                      <a:lnTo>
                        <a:pt x="1023962" y="307340"/>
                      </a:lnTo>
                      <a:lnTo>
                        <a:pt x="1023785" y="307340"/>
                      </a:lnTo>
                      <a:lnTo>
                        <a:pt x="1023772" y="306070"/>
                      </a:lnTo>
                      <a:lnTo>
                        <a:pt x="1023962" y="306070"/>
                      </a:lnTo>
                      <a:lnTo>
                        <a:pt x="1024305" y="307340"/>
                      </a:lnTo>
                      <a:lnTo>
                        <a:pt x="1024470" y="307340"/>
                      </a:lnTo>
                      <a:lnTo>
                        <a:pt x="1025017" y="306070"/>
                      </a:lnTo>
                      <a:lnTo>
                        <a:pt x="1026058" y="306070"/>
                      </a:lnTo>
                      <a:lnTo>
                        <a:pt x="1025525" y="304800"/>
                      </a:lnTo>
                      <a:lnTo>
                        <a:pt x="1025677" y="303530"/>
                      </a:lnTo>
                      <a:lnTo>
                        <a:pt x="1025677" y="302260"/>
                      </a:lnTo>
                      <a:lnTo>
                        <a:pt x="1026083" y="302260"/>
                      </a:lnTo>
                      <a:lnTo>
                        <a:pt x="1026274" y="303530"/>
                      </a:lnTo>
                      <a:lnTo>
                        <a:pt x="1027366" y="303530"/>
                      </a:lnTo>
                      <a:lnTo>
                        <a:pt x="1027493" y="302260"/>
                      </a:lnTo>
                      <a:lnTo>
                        <a:pt x="1027341" y="302260"/>
                      </a:lnTo>
                      <a:lnTo>
                        <a:pt x="1027303" y="300990"/>
                      </a:lnTo>
                      <a:lnTo>
                        <a:pt x="1022527" y="300990"/>
                      </a:lnTo>
                      <a:lnTo>
                        <a:pt x="1022527" y="312420"/>
                      </a:lnTo>
                      <a:lnTo>
                        <a:pt x="1021219" y="313690"/>
                      </a:lnTo>
                      <a:lnTo>
                        <a:pt x="1020851" y="313690"/>
                      </a:lnTo>
                      <a:lnTo>
                        <a:pt x="1020495" y="314960"/>
                      </a:lnTo>
                      <a:lnTo>
                        <a:pt x="1019848" y="314960"/>
                      </a:lnTo>
                      <a:lnTo>
                        <a:pt x="1019517" y="316230"/>
                      </a:lnTo>
                      <a:lnTo>
                        <a:pt x="1019175" y="316230"/>
                      </a:lnTo>
                      <a:lnTo>
                        <a:pt x="1019175" y="520700"/>
                      </a:lnTo>
                      <a:lnTo>
                        <a:pt x="1018578" y="520700"/>
                      </a:lnTo>
                      <a:lnTo>
                        <a:pt x="1018336" y="519430"/>
                      </a:lnTo>
                      <a:lnTo>
                        <a:pt x="1018489" y="519430"/>
                      </a:lnTo>
                      <a:lnTo>
                        <a:pt x="1019175" y="520700"/>
                      </a:lnTo>
                      <a:lnTo>
                        <a:pt x="1019175" y="316230"/>
                      </a:lnTo>
                      <a:lnTo>
                        <a:pt x="1018336" y="316230"/>
                      </a:lnTo>
                      <a:lnTo>
                        <a:pt x="1018286" y="519430"/>
                      </a:lnTo>
                      <a:lnTo>
                        <a:pt x="1017866" y="519430"/>
                      </a:lnTo>
                      <a:lnTo>
                        <a:pt x="1016990" y="518160"/>
                      </a:lnTo>
                      <a:lnTo>
                        <a:pt x="1018006" y="518160"/>
                      </a:lnTo>
                      <a:lnTo>
                        <a:pt x="1018286" y="519430"/>
                      </a:lnTo>
                      <a:lnTo>
                        <a:pt x="1018286" y="316179"/>
                      </a:lnTo>
                      <a:lnTo>
                        <a:pt x="1016254" y="313690"/>
                      </a:lnTo>
                      <a:lnTo>
                        <a:pt x="1015834" y="313690"/>
                      </a:lnTo>
                      <a:lnTo>
                        <a:pt x="1015758" y="312420"/>
                      </a:lnTo>
                      <a:lnTo>
                        <a:pt x="1015911" y="312420"/>
                      </a:lnTo>
                      <a:lnTo>
                        <a:pt x="1016063" y="311150"/>
                      </a:lnTo>
                      <a:lnTo>
                        <a:pt x="1016406" y="311150"/>
                      </a:lnTo>
                      <a:lnTo>
                        <a:pt x="1016571" y="312420"/>
                      </a:lnTo>
                      <a:lnTo>
                        <a:pt x="1016939" y="312420"/>
                      </a:lnTo>
                      <a:lnTo>
                        <a:pt x="1017270" y="311150"/>
                      </a:lnTo>
                      <a:lnTo>
                        <a:pt x="1018070" y="311150"/>
                      </a:lnTo>
                      <a:lnTo>
                        <a:pt x="1018171" y="309880"/>
                      </a:lnTo>
                      <a:lnTo>
                        <a:pt x="1018260" y="311150"/>
                      </a:lnTo>
                      <a:lnTo>
                        <a:pt x="1019454" y="311150"/>
                      </a:lnTo>
                      <a:lnTo>
                        <a:pt x="1019302" y="309880"/>
                      </a:lnTo>
                      <a:lnTo>
                        <a:pt x="1019263" y="308610"/>
                      </a:lnTo>
                      <a:lnTo>
                        <a:pt x="1018908" y="307340"/>
                      </a:lnTo>
                      <a:lnTo>
                        <a:pt x="1019352" y="307340"/>
                      </a:lnTo>
                      <a:lnTo>
                        <a:pt x="1019517" y="308610"/>
                      </a:lnTo>
                      <a:lnTo>
                        <a:pt x="1020724" y="308610"/>
                      </a:lnTo>
                      <a:lnTo>
                        <a:pt x="1021168" y="309880"/>
                      </a:lnTo>
                      <a:lnTo>
                        <a:pt x="1021118" y="308610"/>
                      </a:lnTo>
                      <a:lnTo>
                        <a:pt x="1021943" y="311150"/>
                      </a:lnTo>
                      <a:lnTo>
                        <a:pt x="1022184" y="312420"/>
                      </a:lnTo>
                      <a:lnTo>
                        <a:pt x="1022527" y="312420"/>
                      </a:lnTo>
                      <a:lnTo>
                        <a:pt x="1022527" y="300990"/>
                      </a:lnTo>
                      <a:lnTo>
                        <a:pt x="1022146" y="300990"/>
                      </a:lnTo>
                      <a:lnTo>
                        <a:pt x="1021626" y="302260"/>
                      </a:lnTo>
                      <a:lnTo>
                        <a:pt x="1021461" y="300990"/>
                      </a:lnTo>
                      <a:lnTo>
                        <a:pt x="1020622" y="300990"/>
                      </a:lnTo>
                      <a:lnTo>
                        <a:pt x="1021803" y="299720"/>
                      </a:lnTo>
                      <a:lnTo>
                        <a:pt x="1021537" y="299720"/>
                      </a:lnTo>
                      <a:lnTo>
                        <a:pt x="1021575" y="298450"/>
                      </a:lnTo>
                      <a:lnTo>
                        <a:pt x="1021702" y="298450"/>
                      </a:lnTo>
                      <a:lnTo>
                        <a:pt x="1021041" y="297180"/>
                      </a:lnTo>
                      <a:lnTo>
                        <a:pt x="1020406" y="297180"/>
                      </a:lnTo>
                      <a:lnTo>
                        <a:pt x="1020762" y="295910"/>
                      </a:lnTo>
                      <a:lnTo>
                        <a:pt x="1021346" y="295910"/>
                      </a:lnTo>
                      <a:lnTo>
                        <a:pt x="1022426" y="294640"/>
                      </a:lnTo>
                      <a:lnTo>
                        <a:pt x="1022337" y="295910"/>
                      </a:lnTo>
                      <a:lnTo>
                        <a:pt x="1022946" y="294640"/>
                      </a:lnTo>
                      <a:lnTo>
                        <a:pt x="1023289" y="294640"/>
                      </a:lnTo>
                      <a:lnTo>
                        <a:pt x="1023442" y="293370"/>
                      </a:lnTo>
                      <a:lnTo>
                        <a:pt x="1023137" y="293370"/>
                      </a:lnTo>
                      <a:lnTo>
                        <a:pt x="1022629" y="292100"/>
                      </a:lnTo>
                      <a:lnTo>
                        <a:pt x="1022934" y="292100"/>
                      </a:lnTo>
                      <a:lnTo>
                        <a:pt x="1022819" y="290830"/>
                      </a:lnTo>
                      <a:lnTo>
                        <a:pt x="1022235" y="290830"/>
                      </a:lnTo>
                      <a:lnTo>
                        <a:pt x="1022350" y="289560"/>
                      </a:lnTo>
                      <a:lnTo>
                        <a:pt x="1021194" y="288290"/>
                      </a:lnTo>
                      <a:lnTo>
                        <a:pt x="1020597" y="287020"/>
                      </a:lnTo>
                      <a:lnTo>
                        <a:pt x="1019632" y="287020"/>
                      </a:lnTo>
                      <a:lnTo>
                        <a:pt x="1020216" y="285750"/>
                      </a:lnTo>
                      <a:lnTo>
                        <a:pt x="1018120" y="285750"/>
                      </a:lnTo>
                      <a:lnTo>
                        <a:pt x="1019403" y="284480"/>
                      </a:lnTo>
                      <a:lnTo>
                        <a:pt x="1020013" y="284480"/>
                      </a:lnTo>
                      <a:lnTo>
                        <a:pt x="1021626" y="285750"/>
                      </a:lnTo>
                      <a:lnTo>
                        <a:pt x="1022121" y="284480"/>
                      </a:lnTo>
                      <a:lnTo>
                        <a:pt x="1022426" y="283210"/>
                      </a:lnTo>
                      <a:lnTo>
                        <a:pt x="1022134" y="281940"/>
                      </a:lnTo>
                      <a:lnTo>
                        <a:pt x="1021651" y="281940"/>
                      </a:lnTo>
                      <a:lnTo>
                        <a:pt x="1021473" y="280670"/>
                      </a:lnTo>
                      <a:lnTo>
                        <a:pt x="1020229" y="280670"/>
                      </a:lnTo>
                      <a:lnTo>
                        <a:pt x="1020127" y="279400"/>
                      </a:lnTo>
                      <a:lnTo>
                        <a:pt x="1020572" y="279400"/>
                      </a:lnTo>
                      <a:lnTo>
                        <a:pt x="1020508" y="278130"/>
                      </a:lnTo>
                      <a:lnTo>
                        <a:pt x="1020127" y="276860"/>
                      </a:lnTo>
                      <a:lnTo>
                        <a:pt x="1019581" y="275590"/>
                      </a:lnTo>
                      <a:lnTo>
                        <a:pt x="1019771" y="275590"/>
                      </a:lnTo>
                      <a:lnTo>
                        <a:pt x="1020051" y="274320"/>
                      </a:lnTo>
                      <a:lnTo>
                        <a:pt x="1021854" y="274320"/>
                      </a:lnTo>
                      <a:lnTo>
                        <a:pt x="1021105" y="273050"/>
                      </a:lnTo>
                      <a:lnTo>
                        <a:pt x="1020991" y="271780"/>
                      </a:lnTo>
                      <a:lnTo>
                        <a:pt x="1021194" y="271780"/>
                      </a:lnTo>
                      <a:lnTo>
                        <a:pt x="1021880" y="270510"/>
                      </a:lnTo>
                      <a:lnTo>
                        <a:pt x="1024432" y="270510"/>
                      </a:lnTo>
                      <a:lnTo>
                        <a:pt x="1025855" y="269240"/>
                      </a:lnTo>
                      <a:lnTo>
                        <a:pt x="1025588" y="267970"/>
                      </a:lnTo>
                      <a:lnTo>
                        <a:pt x="1025105" y="266700"/>
                      </a:lnTo>
                      <a:lnTo>
                        <a:pt x="1024293" y="265430"/>
                      </a:lnTo>
                      <a:lnTo>
                        <a:pt x="1024051" y="264160"/>
                      </a:lnTo>
                      <a:lnTo>
                        <a:pt x="1023442" y="262890"/>
                      </a:lnTo>
                      <a:lnTo>
                        <a:pt x="1023162" y="264160"/>
                      </a:lnTo>
                      <a:lnTo>
                        <a:pt x="1021067" y="264160"/>
                      </a:lnTo>
                      <a:lnTo>
                        <a:pt x="1021194" y="265430"/>
                      </a:lnTo>
                      <a:lnTo>
                        <a:pt x="1020965" y="265430"/>
                      </a:lnTo>
                      <a:lnTo>
                        <a:pt x="1021600" y="266700"/>
                      </a:lnTo>
                      <a:lnTo>
                        <a:pt x="1020991" y="267970"/>
                      </a:lnTo>
                      <a:lnTo>
                        <a:pt x="1020127" y="266700"/>
                      </a:lnTo>
                      <a:lnTo>
                        <a:pt x="1018349" y="267970"/>
                      </a:lnTo>
                      <a:lnTo>
                        <a:pt x="1017701" y="267970"/>
                      </a:lnTo>
                      <a:lnTo>
                        <a:pt x="1017524" y="269240"/>
                      </a:lnTo>
                      <a:lnTo>
                        <a:pt x="1016939" y="267970"/>
                      </a:lnTo>
                      <a:lnTo>
                        <a:pt x="1016203" y="267398"/>
                      </a:lnTo>
                      <a:lnTo>
                        <a:pt x="1016203" y="287020"/>
                      </a:lnTo>
                      <a:lnTo>
                        <a:pt x="1014158" y="287020"/>
                      </a:lnTo>
                      <a:lnTo>
                        <a:pt x="1014158" y="518160"/>
                      </a:lnTo>
                      <a:lnTo>
                        <a:pt x="1012990" y="518160"/>
                      </a:lnTo>
                      <a:lnTo>
                        <a:pt x="1012647" y="516890"/>
                      </a:lnTo>
                      <a:lnTo>
                        <a:pt x="1013180" y="516890"/>
                      </a:lnTo>
                      <a:lnTo>
                        <a:pt x="1014158" y="518160"/>
                      </a:lnTo>
                      <a:lnTo>
                        <a:pt x="1014158" y="287020"/>
                      </a:lnTo>
                      <a:lnTo>
                        <a:pt x="1011720" y="287020"/>
                      </a:lnTo>
                      <a:lnTo>
                        <a:pt x="1012063" y="285750"/>
                      </a:lnTo>
                      <a:lnTo>
                        <a:pt x="1013993" y="285750"/>
                      </a:lnTo>
                      <a:lnTo>
                        <a:pt x="1016203" y="287020"/>
                      </a:lnTo>
                      <a:lnTo>
                        <a:pt x="1016203" y="267398"/>
                      </a:lnTo>
                      <a:lnTo>
                        <a:pt x="1015326" y="266700"/>
                      </a:lnTo>
                      <a:lnTo>
                        <a:pt x="1015098" y="265430"/>
                      </a:lnTo>
                      <a:lnTo>
                        <a:pt x="1014806" y="264160"/>
                      </a:lnTo>
                      <a:lnTo>
                        <a:pt x="1014945" y="264160"/>
                      </a:lnTo>
                      <a:lnTo>
                        <a:pt x="1014844" y="262890"/>
                      </a:lnTo>
                      <a:lnTo>
                        <a:pt x="1012202" y="262890"/>
                      </a:lnTo>
                      <a:lnTo>
                        <a:pt x="1011542" y="263220"/>
                      </a:lnTo>
                      <a:lnTo>
                        <a:pt x="1011542" y="516890"/>
                      </a:lnTo>
                      <a:lnTo>
                        <a:pt x="1010627" y="516890"/>
                      </a:lnTo>
                      <a:lnTo>
                        <a:pt x="1011097" y="515620"/>
                      </a:lnTo>
                      <a:lnTo>
                        <a:pt x="1011542" y="516890"/>
                      </a:lnTo>
                      <a:lnTo>
                        <a:pt x="1011542" y="263220"/>
                      </a:lnTo>
                      <a:lnTo>
                        <a:pt x="1010183" y="263906"/>
                      </a:lnTo>
                      <a:lnTo>
                        <a:pt x="1010183" y="516890"/>
                      </a:lnTo>
                      <a:lnTo>
                        <a:pt x="1004036" y="516890"/>
                      </a:lnTo>
                      <a:lnTo>
                        <a:pt x="1004252" y="515620"/>
                      </a:lnTo>
                      <a:lnTo>
                        <a:pt x="1003147" y="515620"/>
                      </a:lnTo>
                      <a:lnTo>
                        <a:pt x="1002893" y="514642"/>
                      </a:lnTo>
                      <a:lnTo>
                        <a:pt x="1004722" y="515620"/>
                      </a:lnTo>
                      <a:lnTo>
                        <a:pt x="1008900" y="515620"/>
                      </a:lnTo>
                      <a:lnTo>
                        <a:pt x="1010183" y="516890"/>
                      </a:lnTo>
                      <a:lnTo>
                        <a:pt x="1010183" y="263906"/>
                      </a:lnTo>
                      <a:lnTo>
                        <a:pt x="1009662" y="264160"/>
                      </a:lnTo>
                      <a:lnTo>
                        <a:pt x="1004798" y="264160"/>
                      </a:lnTo>
                      <a:lnTo>
                        <a:pt x="1001001" y="262890"/>
                      </a:lnTo>
                      <a:lnTo>
                        <a:pt x="993635" y="260350"/>
                      </a:lnTo>
                      <a:lnTo>
                        <a:pt x="992873" y="259080"/>
                      </a:lnTo>
                      <a:lnTo>
                        <a:pt x="991933" y="259080"/>
                      </a:lnTo>
                      <a:lnTo>
                        <a:pt x="992593" y="257810"/>
                      </a:lnTo>
                      <a:lnTo>
                        <a:pt x="991260" y="257810"/>
                      </a:lnTo>
                      <a:lnTo>
                        <a:pt x="990498" y="256540"/>
                      </a:lnTo>
                      <a:lnTo>
                        <a:pt x="993813" y="256540"/>
                      </a:lnTo>
                      <a:lnTo>
                        <a:pt x="992835" y="255270"/>
                      </a:lnTo>
                      <a:lnTo>
                        <a:pt x="991501" y="255270"/>
                      </a:lnTo>
                      <a:lnTo>
                        <a:pt x="991069" y="254000"/>
                      </a:lnTo>
                      <a:lnTo>
                        <a:pt x="990409" y="252730"/>
                      </a:lnTo>
                      <a:lnTo>
                        <a:pt x="995375" y="252730"/>
                      </a:lnTo>
                      <a:lnTo>
                        <a:pt x="993825" y="251460"/>
                      </a:lnTo>
                      <a:lnTo>
                        <a:pt x="993038" y="251460"/>
                      </a:lnTo>
                      <a:lnTo>
                        <a:pt x="992466" y="250190"/>
                      </a:lnTo>
                      <a:lnTo>
                        <a:pt x="989736" y="250190"/>
                      </a:lnTo>
                      <a:lnTo>
                        <a:pt x="989393" y="251460"/>
                      </a:lnTo>
                      <a:lnTo>
                        <a:pt x="988072" y="251460"/>
                      </a:lnTo>
                      <a:lnTo>
                        <a:pt x="986586" y="252730"/>
                      </a:lnTo>
                      <a:lnTo>
                        <a:pt x="984885" y="252730"/>
                      </a:lnTo>
                      <a:lnTo>
                        <a:pt x="986231" y="251460"/>
                      </a:lnTo>
                      <a:lnTo>
                        <a:pt x="987971" y="251460"/>
                      </a:lnTo>
                      <a:lnTo>
                        <a:pt x="987882" y="248920"/>
                      </a:lnTo>
                      <a:lnTo>
                        <a:pt x="986066" y="248920"/>
                      </a:lnTo>
                      <a:lnTo>
                        <a:pt x="985316" y="247650"/>
                      </a:lnTo>
                      <a:lnTo>
                        <a:pt x="985278" y="246380"/>
                      </a:lnTo>
                      <a:lnTo>
                        <a:pt x="983361" y="245110"/>
                      </a:lnTo>
                      <a:lnTo>
                        <a:pt x="981138" y="245110"/>
                      </a:lnTo>
                      <a:lnTo>
                        <a:pt x="979601" y="243840"/>
                      </a:lnTo>
                      <a:lnTo>
                        <a:pt x="979322" y="244881"/>
                      </a:lnTo>
                      <a:lnTo>
                        <a:pt x="979335" y="246380"/>
                      </a:lnTo>
                      <a:lnTo>
                        <a:pt x="979424" y="247650"/>
                      </a:lnTo>
                      <a:lnTo>
                        <a:pt x="977950" y="245110"/>
                      </a:lnTo>
                      <a:lnTo>
                        <a:pt x="978154" y="243840"/>
                      </a:lnTo>
                      <a:lnTo>
                        <a:pt x="979449" y="243840"/>
                      </a:lnTo>
                      <a:lnTo>
                        <a:pt x="979385" y="242570"/>
                      </a:lnTo>
                      <a:lnTo>
                        <a:pt x="979208" y="242570"/>
                      </a:lnTo>
                      <a:lnTo>
                        <a:pt x="978928" y="241300"/>
                      </a:lnTo>
                      <a:lnTo>
                        <a:pt x="979208" y="241300"/>
                      </a:lnTo>
                      <a:lnTo>
                        <a:pt x="975690" y="238760"/>
                      </a:lnTo>
                      <a:lnTo>
                        <a:pt x="973988" y="238760"/>
                      </a:lnTo>
                      <a:lnTo>
                        <a:pt x="971677" y="237490"/>
                      </a:lnTo>
                      <a:lnTo>
                        <a:pt x="970826" y="237490"/>
                      </a:lnTo>
                      <a:lnTo>
                        <a:pt x="970191" y="236220"/>
                      </a:lnTo>
                      <a:lnTo>
                        <a:pt x="969467" y="236220"/>
                      </a:lnTo>
                      <a:lnTo>
                        <a:pt x="968070" y="234950"/>
                      </a:lnTo>
                      <a:lnTo>
                        <a:pt x="967257" y="234950"/>
                      </a:lnTo>
                      <a:lnTo>
                        <a:pt x="966444" y="233680"/>
                      </a:lnTo>
                      <a:lnTo>
                        <a:pt x="965733" y="233680"/>
                      </a:lnTo>
                      <a:lnTo>
                        <a:pt x="964996" y="232410"/>
                      </a:lnTo>
                      <a:lnTo>
                        <a:pt x="963320" y="232410"/>
                      </a:lnTo>
                      <a:lnTo>
                        <a:pt x="961745" y="233680"/>
                      </a:lnTo>
                      <a:lnTo>
                        <a:pt x="959942" y="234950"/>
                      </a:lnTo>
                      <a:lnTo>
                        <a:pt x="957999" y="234950"/>
                      </a:lnTo>
                      <a:lnTo>
                        <a:pt x="956221" y="236220"/>
                      </a:lnTo>
                      <a:lnTo>
                        <a:pt x="955281" y="236220"/>
                      </a:lnTo>
                      <a:lnTo>
                        <a:pt x="954189" y="237490"/>
                      </a:lnTo>
                      <a:lnTo>
                        <a:pt x="951344" y="237490"/>
                      </a:lnTo>
                      <a:lnTo>
                        <a:pt x="951344" y="241300"/>
                      </a:lnTo>
                      <a:lnTo>
                        <a:pt x="949909" y="240030"/>
                      </a:lnTo>
                      <a:lnTo>
                        <a:pt x="950607" y="240030"/>
                      </a:lnTo>
                      <a:lnTo>
                        <a:pt x="951344" y="241300"/>
                      </a:lnTo>
                      <a:lnTo>
                        <a:pt x="951344" y="237490"/>
                      </a:lnTo>
                      <a:lnTo>
                        <a:pt x="949007" y="237490"/>
                      </a:lnTo>
                      <a:lnTo>
                        <a:pt x="948817" y="238760"/>
                      </a:lnTo>
                      <a:lnTo>
                        <a:pt x="949121" y="240030"/>
                      </a:lnTo>
                      <a:lnTo>
                        <a:pt x="948690" y="240030"/>
                      </a:lnTo>
                      <a:lnTo>
                        <a:pt x="945959" y="237490"/>
                      </a:lnTo>
                      <a:lnTo>
                        <a:pt x="944587" y="237490"/>
                      </a:lnTo>
                      <a:lnTo>
                        <a:pt x="944587" y="662863"/>
                      </a:lnTo>
                      <a:lnTo>
                        <a:pt x="942505" y="664133"/>
                      </a:lnTo>
                      <a:lnTo>
                        <a:pt x="939584" y="665314"/>
                      </a:lnTo>
                      <a:lnTo>
                        <a:pt x="941705" y="664133"/>
                      </a:lnTo>
                      <a:lnTo>
                        <a:pt x="944118" y="662863"/>
                      </a:lnTo>
                      <a:lnTo>
                        <a:pt x="944587" y="662863"/>
                      </a:lnTo>
                      <a:lnTo>
                        <a:pt x="944587" y="237490"/>
                      </a:lnTo>
                      <a:lnTo>
                        <a:pt x="944448" y="237490"/>
                      </a:lnTo>
                      <a:lnTo>
                        <a:pt x="939406" y="236220"/>
                      </a:lnTo>
                      <a:lnTo>
                        <a:pt x="939330" y="665454"/>
                      </a:lnTo>
                      <a:lnTo>
                        <a:pt x="936129" y="671360"/>
                      </a:lnTo>
                      <a:lnTo>
                        <a:pt x="936320" y="670483"/>
                      </a:lnTo>
                      <a:lnTo>
                        <a:pt x="937133" y="666673"/>
                      </a:lnTo>
                      <a:lnTo>
                        <a:pt x="939330" y="665454"/>
                      </a:lnTo>
                      <a:lnTo>
                        <a:pt x="939330" y="236258"/>
                      </a:lnTo>
                      <a:lnTo>
                        <a:pt x="936015" y="237363"/>
                      </a:lnTo>
                      <a:lnTo>
                        <a:pt x="935964" y="236220"/>
                      </a:lnTo>
                      <a:lnTo>
                        <a:pt x="935634" y="236220"/>
                      </a:lnTo>
                      <a:lnTo>
                        <a:pt x="935634" y="237490"/>
                      </a:lnTo>
                      <a:lnTo>
                        <a:pt x="933081" y="240030"/>
                      </a:lnTo>
                      <a:lnTo>
                        <a:pt x="933145" y="238760"/>
                      </a:lnTo>
                      <a:lnTo>
                        <a:pt x="934161" y="238760"/>
                      </a:lnTo>
                      <a:lnTo>
                        <a:pt x="934935" y="237490"/>
                      </a:lnTo>
                      <a:lnTo>
                        <a:pt x="935634" y="237490"/>
                      </a:lnTo>
                      <a:lnTo>
                        <a:pt x="935634" y="236220"/>
                      </a:lnTo>
                      <a:lnTo>
                        <a:pt x="932992" y="236220"/>
                      </a:lnTo>
                      <a:lnTo>
                        <a:pt x="932992" y="674293"/>
                      </a:lnTo>
                      <a:lnTo>
                        <a:pt x="931049" y="674293"/>
                      </a:lnTo>
                      <a:lnTo>
                        <a:pt x="930757" y="674077"/>
                      </a:lnTo>
                      <a:lnTo>
                        <a:pt x="932268" y="673023"/>
                      </a:lnTo>
                      <a:lnTo>
                        <a:pt x="932992" y="674293"/>
                      </a:lnTo>
                      <a:lnTo>
                        <a:pt x="932992" y="236220"/>
                      </a:lnTo>
                      <a:lnTo>
                        <a:pt x="932611" y="236220"/>
                      </a:lnTo>
                      <a:lnTo>
                        <a:pt x="932027" y="235940"/>
                      </a:lnTo>
                      <a:lnTo>
                        <a:pt x="932027" y="586740"/>
                      </a:lnTo>
                      <a:lnTo>
                        <a:pt x="930833" y="587933"/>
                      </a:lnTo>
                      <a:lnTo>
                        <a:pt x="929068" y="589203"/>
                      </a:lnTo>
                      <a:lnTo>
                        <a:pt x="927608" y="590473"/>
                      </a:lnTo>
                      <a:lnTo>
                        <a:pt x="926350" y="591743"/>
                      </a:lnTo>
                      <a:lnTo>
                        <a:pt x="925906" y="591743"/>
                      </a:lnTo>
                      <a:lnTo>
                        <a:pt x="925550" y="593013"/>
                      </a:lnTo>
                      <a:lnTo>
                        <a:pt x="926249" y="594283"/>
                      </a:lnTo>
                      <a:lnTo>
                        <a:pt x="926731" y="593013"/>
                      </a:lnTo>
                      <a:lnTo>
                        <a:pt x="927874" y="593013"/>
                      </a:lnTo>
                      <a:lnTo>
                        <a:pt x="927912" y="594283"/>
                      </a:lnTo>
                      <a:lnTo>
                        <a:pt x="928141" y="594283"/>
                      </a:lnTo>
                      <a:lnTo>
                        <a:pt x="928535" y="595553"/>
                      </a:lnTo>
                      <a:lnTo>
                        <a:pt x="928243" y="595553"/>
                      </a:lnTo>
                      <a:lnTo>
                        <a:pt x="927201" y="596823"/>
                      </a:lnTo>
                      <a:lnTo>
                        <a:pt x="926388" y="596823"/>
                      </a:lnTo>
                      <a:lnTo>
                        <a:pt x="928077" y="598093"/>
                      </a:lnTo>
                      <a:lnTo>
                        <a:pt x="928700" y="601903"/>
                      </a:lnTo>
                      <a:lnTo>
                        <a:pt x="926147" y="603173"/>
                      </a:lnTo>
                      <a:lnTo>
                        <a:pt x="924064" y="603173"/>
                      </a:lnTo>
                      <a:lnTo>
                        <a:pt x="923010" y="604443"/>
                      </a:lnTo>
                      <a:lnTo>
                        <a:pt x="920584" y="605713"/>
                      </a:lnTo>
                      <a:lnTo>
                        <a:pt x="916559" y="608253"/>
                      </a:lnTo>
                      <a:lnTo>
                        <a:pt x="916990" y="606983"/>
                      </a:lnTo>
                      <a:lnTo>
                        <a:pt x="916520" y="606983"/>
                      </a:lnTo>
                      <a:lnTo>
                        <a:pt x="916520" y="684453"/>
                      </a:lnTo>
                      <a:lnTo>
                        <a:pt x="915936" y="684860"/>
                      </a:lnTo>
                      <a:lnTo>
                        <a:pt x="915479" y="681913"/>
                      </a:lnTo>
                      <a:lnTo>
                        <a:pt x="916520" y="684453"/>
                      </a:lnTo>
                      <a:lnTo>
                        <a:pt x="916520" y="606983"/>
                      </a:lnTo>
                      <a:lnTo>
                        <a:pt x="908443" y="606983"/>
                      </a:lnTo>
                      <a:lnTo>
                        <a:pt x="900696" y="603173"/>
                      </a:lnTo>
                      <a:lnTo>
                        <a:pt x="892365" y="605713"/>
                      </a:lnTo>
                      <a:lnTo>
                        <a:pt x="886841" y="606983"/>
                      </a:lnTo>
                      <a:lnTo>
                        <a:pt x="886815" y="608253"/>
                      </a:lnTo>
                      <a:lnTo>
                        <a:pt x="887171" y="610793"/>
                      </a:lnTo>
                      <a:lnTo>
                        <a:pt x="889444" y="610793"/>
                      </a:lnTo>
                      <a:lnTo>
                        <a:pt x="889215" y="612063"/>
                      </a:lnTo>
                      <a:lnTo>
                        <a:pt x="889127" y="613333"/>
                      </a:lnTo>
                      <a:lnTo>
                        <a:pt x="889266" y="613333"/>
                      </a:lnTo>
                      <a:lnTo>
                        <a:pt x="889406" y="614603"/>
                      </a:lnTo>
                      <a:lnTo>
                        <a:pt x="890130" y="615873"/>
                      </a:lnTo>
                      <a:lnTo>
                        <a:pt x="888746" y="615873"/>
                      </a:lnTo>
                      <a:lnTo>
                        <a:pt x="888085" y="617143"/>
                      </a:lnTo>
                      <a:lnTo>
                        <a:pt x="886879" y="617143"/>
                      </a:lnTo>
                      <a:lnTo>
                        <a:pt x="874509" y="626033"/>
                      </a:lnTo>
                      <a:lnTo>
                        <a:pt x="871562" y="627303"/>
                      </a:lnTo>
                      <a:lnTo>
                        <a:pt x="868464" y="628573"/>
                      </a:lnTo>
                      <a:lnTo>
                        <a:pt x="864755" y="629843"/>
                      </a:lnTo>
                      <a:lnTo>
                        <a:pt x="862253" y="630682"/>
                      </a:lnTo>
                      <a:lnTo>
                        <a:pt x="862253" y="786053"/>
                      </a:lnTo>
                      <a:lnTo>
                        <a:pt x="861580" y="787463"/>
                      </a:lnTo>
                      <a:lnTo>
                        <a:pt x="861517" y="787323"/>
                      </a:lnTo>
                      <a:lnTo>
                        <a:pt x="861339" y="786053"/>
                      </a:lnTo>
                      <a:lnTo>
                        <a:pt x="862253" y="786053"/>
                      </a:lnTo>
                      <a:lnTo>
                        <a:pt x="862253" y="630682"/>
                      </a:lnTo>
                      <a:lnTo>
                        <a:pt x="860933" y="631113"/>
                      </a:lnTo>
                      <a:lnTo>
                        <a:pt x="854697" y="633653"/>
                      </a:lnTo>
                      <a:lnTo>
                        <a:pt x="852932" y="634923"/>
                      </a:lnTo>
                      <a:lnTo>
                        <a:pt x="852512" y="635139"/>
                      </a:lnTo>
                      <a:lnTo>
                        <a:pt x="852512" y="804049"/>
                      </a:lnTo>
                      <a:lnTo>
                        <a:pt x="852220" y="803833"/>
                      </a:lnTo>
                      <a:lnTo>
                        <a:pt x="852512" y="804049"/>
                      </a:lnTo>
                      <a:lnTo>
                        <a:pt x="852512" y="635139"/>
                      </a:lnTo>
                      <a:lnTo>
                        <a:pt x="850430" y="636193"/>
                      </a:lnTo>
                      <a:lnTo>
                        <a:pt x="847966" y="638733"/>
                      </a:lnTo>
                      <a:lnTo>
                        <a:pt x="847940" y="876223"/>
                      </a:lnTo>
                      <a:lnTo>
                        <a:pt x="846747" y="877493"/>
                      </a:lnTo>
                      <a:lnTo>
                        <a:pt x="846226" y="878763"/>
                      </a:lnTo>
                      <a:lnTo>
                        <a:pt x="846035" y="879106"/>
                      </a:lnTo>
                      <a:lnTo>
                        <a:pt x="846124" y="877493"/>
                      </a:lnTo>
                      <a:lnTo>
                        <a:pt x="847940" y="876223"/>
                      </a:lnTo>
                      <a:lnTo>
                        <a:pt x="847940" y="638733"/>
                      </a:lnTo>
                      <a:lnTo>
                        <a:pt x="839660" y="638733"/>
                      </a:lnTo>
                      <a:lnTo>
                        <a:pt x="838682" y="640003"/>
                      </a:lnTo>
                      <a:lnTo>
                        <a:pt x="835850" y="640003"/>
                      </a:lnTo>
                      <a:lnTo>
                        <a:pt x="832256" y="638733"/>
                      </a:lnTo>
                      <a:lnTo>
                        <a:pt x="829906" y="638733"/>
                      </a:lnTo>
                      <a:lnTo>
                        <a:pt x="831164" y="637463"/>
                      </a:lnTo>
                      <a:lnTo>
                        <a:pt x="832523" y="638733"/>
                      </a:lnTo>
                      <a:lnTo>
                        <a:pt x="834936" y="637463"/>
                      </a:lnTo>
                      <a:lnTo>
                        <a:pt x="835152" y="637463"/>
                      </a:lnTo>
                      <a:lnTo>
                        <a:pt x="832662" y="636193"/>
                      </a:lnTo>
                      <a:lnTo>
                        <a:pt x="830160" y="634923"/>
                      </a:lnTo>
                      <a:lnTo>
                        <a:pt x="826973" y="634923"/>
                      </a:lnTo>
                      <a:lnTo>
                        <a:pt x="823836" y="633653"/>
                      </a:lnTo>
                      <a:lnTo>
                        <a:pt x="829106" y="624967"/>
                      </a:lnTo>
                      <a:lnTo>
                        <a:pt x="829030" y="626110"/>
                      </a:lnTo>
                      <a:lnTo>
                        <a:pt x="828865" y="626110"/>
                      </a:lnTo>
                      <a:lnTo>
                        <a:pt x="828840" y="627380"/>
                      </a:lnTo>
                      <a:lnTo>
                        <a:pt x="829056" y="628650"/>
                      </a:lnTo>
                      <a:lnTo>
                        <a:pt x="830961" y="628650"/>
                      </a:lnTo>
                      <a:lnTo>
                        <a:pt x="832548" y="629920"/>
                      </a:lnTo>
                      <a:lnTo>
                        <a:pt x="834656" y="628650"/>
                      </a:lnTo>
                      <a:lnTo>
                        <a:pt x="836676" y="628650"/>
                      </a:lnTo>
                      <a:lnTo>
                        <a:pt x="836879" y="629920"/>
                      </a:lnTo>
                      <a:lnTo>
                        <a:pt x="837641" y="629920"/>
                      </a:lnTo>
                      <a:lnTo>
                        <a:pt x="838161" y="627380"/>
                      </a:lnTo>
                      <a:lnTo>
                        <a:pt x="840905" y="626110"/>
                      </a:lnTo>
                      <a:lnTo>
                        <a:pt x="842365" y="626110"/>
                      </a:lnTo>
                      <a:lnTo>
                        <a:pt x="842810" y="624840"/>
                      </a:lnTo>
                      <a:lnTo>
                        <a:pt x="844969" y="624840"/>
                      </a:lnTo>
                      <a:lnTo>
                        <a:pt x="846201" y="623570"/>
                      </a:lnTo>
                      <a:lnTo>
                        <a:pt x="847382" y="622300"/>
                      </a:lnTo>
                      <a:lnTo>
                        <a:pt x="849071" y="621030"/>
                      </a:lnTo>
                      <a:lnTo>
                        <a:pt x="849795" y="621030"/>
                      </a:lnTo>
                      <a:lnTo>
                        <a:pt x="850544" y="619760"/>
                      </a:lnTo>
                      <a:lnTo>
                        <a:pt x="851293" y="619760"/>
                      </a:lnTo>
                      <a:lnTo>
                        <a:pt x="852220" y="618490"/>
                      </a:lnTo>
                      <a:lnTo>
                        <a:pt x="863600" y="618490"/>
                      </a:lnTo>
                      <a:lnTo>
                        <a:pt x="865314" y="619760"/>
                      </a:lnTo>
                      <a:lnTo>
                        <a:pt x="866597" y="619760"/>
                      </a:lnTo>
                      <a:lnTo>
                        <a:pt x="867562" y="618490"/>
                      </a:lnTo>
                      <a:lnTo>
                        <a:pt x="868514" y="619760"/>
                      </a:lnTo>
                      <a:lnTo>
                        <a:pt x="869454" y="619760"/>
                      </a:lnTo>
                      <a:lnTo>
                        <a:pt x="868743" y="618490"/>
                      </a:lnTo>
                      <a:lnTo>
                        <a:pt x="868070" y="618490"/>
                      </a:lnTo>
                      <a:lnTo>
                        <a:pt x="868527" y="617220"/>
                      </a:lnTo>
                      <a:lnTo>
                        <a:pt x="870496" y="617220"/>
                      </a:lnTo>
                      <a:lnTo>
                        <a:pt x="873417" y="614680"/>
                      </a:lnTo>
                      <a:lnTo>
                        <a:pt x="880224" y="614680"/>
                      </a:lnTo>
                      <a:lnTo>
                        <a:pt x="883970" y="613410"/>
                      </a:lnTo>
                      <a:lnTo>
                        <a:pt x="887793" y="613410"/>
                      </a:lnTo>
                      <a:lnTo>
                        <a:pt x="886790" y="609600"/>
                      </a:lnTo>
                      <a:lnTo>
                        <a:pt x="886802" y="608330"/>
                      </a:lnTo>
                      <a:lnTo>
                        <a:pt x="886434" y="607060"/>
                      </a:lnTo>
                      <a:lnTo>
                        <a:pt x="880706" y="608330"/>
                      </a:lnTo>
                      <a:lnTo>
                        <a:pt x="878281" y="608330"/>
                      </a:lnTo>
                      <a:lnTo>
                        <a:pt x="877557" y="607060"/>
                      </a:lnTo>
                      <a:lnTo>
                        <a:pt x="876604" y="607060"/>
                      </a:lnTo>
                      <a:lnTo>
                        <a:pt x="876642" y="605790"/>
                      </a:lnTo>
                      <a:lnTo>
                        <a:pt x="877620" y="605790"/>
                      </a:lnTo>
                      <a:lnTo>
                        <a:pt x="877874" y="604520"/>
                      </a:lnTo>
                      <a:lnTo>
                        <a:pt x="878738" y="603250"/>
                      </a:lnTo>
                      <a:lnTo>
                        <a:pt x="878979" y="603250"/>
                      </a:lnTo>
                      <a:lnTo>
                        <a:pt x="878306" y="601980"/>
                      </a:lnTo>
                      <a:lnTo>
                        <a:pt x="877874" y="601980"/>
                      </a:lnTo>
                      <a:lnTo>
                        <a:pt x="877874" y="598170"/>
                      </a:lnTo>
                      <a:lnTo>
                        <a:pt x="879627" y="596900"/>
                      </a:lnTo>
                      <a:lnTo>
                        <a:pt x="884605" y="596900"/>
                      </a:lnTo>
                      <a:lnTo>
                        <a:pt x="885240" y="598170"/>
                      </a:lnTo>
                      <a:lnTo>
                        <a:pt x="886320" y="598170"/>
                      </a:lnTo>
                      <a:lnTo>
                        <a:pt x="886409" y="596900"/>
                      </a:lnTo>
                      <a:lnTo>
                        <a:pt x="905878" y="594360"/>
                      </a:lnTo>
                      <a:lnTo>
                        <a:pt x="907478" y="594360"/>
                      </a:lnTo>
                      <a:lnTo>
                        <a:pt x="909002" y="591820"/>
                      </a:lnTo>
                      <a:lnTo>
                        <a:pt x="916127" y="591820"/>
                      </a:lnTo>
                      <a:lnTo>
                        <a:pt x="915911" y="593090"/>
                      </a:lnTo>
                      <a:lnTo>
                        <a:pt x="916584" y="593090"/>
                      </a:lnTo>
                      <a:lnTo>
                        <a:pt x="931684" y="586740"/>
                      </a:lnTo>
                      <a:lnTo>
                        <a:pt x="932027" y="586740"/>
                      </a:lnTo>
                      <a:lnTo>
                        <a:pt x="932027" y="235940"/>
                      </a:lnTo>
                      <a:lnTo>
                        <a:pt x="929995" y="234950"/>
                      </a:lnTo>
                      <a:lnTo>
                        <a:pt x="924725" y="233680"/>
                      </a:lnTo>
                      <a:lnTo>
                        <a:pt x="923023" y="233680"/>
                      </a:lnTo>
                      <a:lnTo>
                        <a:pt x="921397" y="232410"/>
                      </a:lnTo>
                      <a:lnTo>
                        <a:pt x="919314" y="232410"/>
                      </a:lnTo>
                      <a:lnTo>
                        <a:pt x="918832" y="231140"/>
                      </a:lnTo>
                      <a:lnTo>
                        <a:pt x="914501" y="231140"/>
                      </a:lnTo>
                      <a:lnTo>
                        <a:pt x="912228" y="229870"/>
                      </a:lnTo>
                      <a:lnTo>
                        <a:pt x="909904" y="229870"/>
                      </a:lnTo>
                      <a:lnTo>
                        <a:pt x="909205" y="231140"/>
                      </a:lnTo>
                      <a:lnTo>
                        <a:pt x="908748" y="231140"/>
                      </a:lnTo>
                      <a:lnTo>
                        <a:pt x="908748" y="267970"/>
                      </a:lnTo>
                      <a:lnTo>
                        <a:pt x="907884" y="269240"/>
                      </a:lnTo>
                      <a:lnTo>
                        <a:pt x="907681" y="269240"/>
                      </a:lnTo>
                      <a:lnTo>
                        <a:pt x="908748" y="267970"/>
                      </a:lnTo>
                      <a:lnTo>
                        <a:pt x="908748" y="231140"/>
                      </a:lnTo>
                      <a:lnTo>
                        <a:pt x="906602" y="231140"/>
                      </a:lnTo>
                      <a:lnTo>
                        <a:pt x="904151" y="233680"/>
                      </a:lnTo>
                      <a:lnTo>
                        <a:pt x="901827" y="234950"/>
                      </a:lnTo>
                      <a:lnTo>
                        <a:pt x="901217" y="236220"/>
                      </a:lnTo>
                      <a:lnTo>
                        <a:pt x="899883" y="236220"/>
                      </a:lnTo>
                      <a:lnTo>
                        <a:pt x="901319" y="240030"/>
                      </a:lnTo>
                      <a:lnTo>
                        <a:pt x="902500" y="246380"/>
                      </a:lnTo>
                      <a:lnTo>
                        <a:pt x="904608" y="248920"/>
                      </a:lnTo>
                      <a:lnTo>
                        <a:pt x="904976" y="250190"/>
                      </a:lnTo>
                      <a:lnTo>
                        <a:pt x="905408" y="251460"/>
                      </a:lnTo>
                      <a:lnTo>
                        <a:pt x="907237" y="251460"/>
                      </a:lnTo>
                      <a:lnTo>
                        <a:pt x="907897" y="252730"/>
                      </a:lnTo>
                      <a:lnTo>
                        <a:pt x="907618" y="252730"/>
                      </a:lnTo>
                      <a:lnTo>
                        <a:pt x="906513" y="254000"/>
                      </a:lnTo>
                      <a:lnTo>
                        <a:pt x="908075" y="254000"/>
                      </a:lnTo>
                      <a:lnTo>
                        <a:pt x="907440" y="255270"/>
                      </a:lnTo>
                      <a:lnTo>
                        <a:pt x="904532" y="255270"/>
                      </a:lnTo>
                      <a:lnTo>
                        <a:pt x="904862" y="257810"/>
                      </a:lnTo>
                      <a:lnTo>
                        <a:pt x="905052" y="259080"/>
                      </a:lnTo>
                      <a:lnTo>
                        <a:pt x="905129" y="261620"/>
                      </a:lnTo>
                      <a:lnTo>
                        <a:pt x="904913" y="262890"/>
                      </a:lnTo>
                      <a:lnTo>
                        <a:pt x="904430" y="262890"/>
                      </a:lnTo>
                      <a:lnTo>
                        <a:pt x="904163" y="264160"/>
                      </a:lnTo>
                      <a:lnTo>
                        <a:pt x="903744" y="264160"/>
                      </a:lnTo>
                      <a:lnTo>
                        <a:pt x="902500" y="265430"/>
                      </a:lnTo>
                      <a:lnTo>
                        <a:pt x="900722" y="266700"/>
                      </a:lnTo>
                      <a:lnTo>
                        <a:pt x="899947" y="267970"/>
                      </a:lnTo>
                      <a:lnTo>
                        <a:pt x="899553" y="267970"/>
                      </a:lnTo>
                      <a:lnTo>
                        <a:pt x="899528" y="269240"/>
                      </a:lnTo>
                      <a:lnTo>
                        <a:pt x="906767" y="269240"/>
                      </a:lnTo>
                      <a:lnTo>
                        <a:pt x="905802" y="270510"/>
                      </a:lnTo>
                      <a:lnTo>
                        <a:pt x="908685" y="270510"/>
                      </a:lnTo>
                      <a:lnTo>
                        <a:pt x="905319" y="271780"/>
                      </a:lnTo>
                      <a:lnTo>
                        <a:pt x="904532" y="273050"/>
                      </a:lnTo>
                      <a:lnTo>
                        <a:pt x="906538" y="274320"/>
                      </a:lnTo>
                      <a:lnTo>
                        <a:pt x="908202" y="273050"/>
                      </a:lnTo>
                      <a:lnTo>
                        <a:pt x="910221" y="274320"/>
                      </a:lnTo>
                      <a:lnTo>
                        <a:pt x="909218" y="274320"/>
                      </a:lnTo>
                      <a:lnTo>
                        <a:pt x="907910" y="275590"/>
                      </a:lnTo>
                      <a:lnTo>
                        <a:pt x="906716" y="275590"/>
                      </a:lnTo>
                      <a:lnTo>
                        <a:pt x="906627" y="276860"/>
                      </a:lnTo>
                      <a:lnTo>
                        <a:pt x="905929" y="276860"/>
                      </a:lnTo>
                      <a:lnTo>
                        <a:pt x="905916" y="278130"/>
                      </a:lnTo>
                      <a:lnTo>
                        <a:pt x="906145" y="279400"/>
                      </a:lnTo>
                      <a:lnTo>
                        <a:pt x="906983" y="280670"/>
                      </a:lnTo>
                      <a:lnTo>
                        <a:pt x="907694" y="281940"/>
                      </a:lnTo>
                      <a:lnTo>
                        <a:pt x="907846" y="283210"/>
                      </a:lnTo>
                      <a:lnTo>
                        <a:pt x="908062" y="283210"/>
                      </a:lnTo>
                      <a:lnTo>
                        <a:pt x="908075" y="284480"/>
                      </a:lnTo>
                      <a:lnTo>
                        <a:pt x="907516" y="284480"/>
                      </a:lnTo>
                      <a:lnTo>
                        <a:pt x="908964" y="285750"/>
                      </a:lnTo>
                      <a:lnTo>
                        <a:pt x="912037" y="285750"/>
                      </a:lnTo>
                      <a:lnTo>
                        <a:pt x="912901" y="287020"/>
                      </a:lnTo>
                      <a:lnTo>
                        <a:pt x="911301" y="287020"/>
                      </a:lnTo>
                      <a:lnTo>
                        <a:pt x="910767" y="288290"/>
                      </a:lnTo>
                      <a:lnTo>
                        <a:pt x="910399" y="288290"/>
                      </a:lnTo>
                      <a:lnTo>
                        <a:pt x="911377" y="289560"/>
                      </a:lnTo>
                      <a:lnTo>
                        <a:pt x="911555" y="289560"/>
                      </a:lnTo>
                      <a:lnTo>
                        <a:pt x="912114" y="290830"/>
                      </a:lnTo>
                      <a:lnTo>
                        <a:pt x="910361" y="290830"/>
                      </a:lnTo>
                      <a:lnTo>
                        <a:pt x="910361" y="295910"/>
                      </a:lnTo>
                      <a:lnTo>
                        <a:pt x="908697" y="295910"/>
                      </a:lnTo>
                      <a:lnTo>
                        <a:pt x="910170" y="294995"/>
                      </a:lnTo>
                      <a:lnTo>
                        <a:pt x="910361" y="295910"/>
                      </a:lnTo>
                      <a:lnTo>
                        <a:pt x="910361" y="290830"/>
                      </a:lnTo>
                      <a:lnTo>
                        <a:pt x="909967" y="290830"/>
                      </a:lnTo>
                      <a:lnTo>
                        <a:pt x="909777" y="292100"/>
                      </a:lnTo>
                      <a:lnTo>
                        <a:pt x="908939" y="292100"/>
                      </a:lnTo>
                      <a:lnTo>
                        <a:pt x="909675" y="293370"/>
                      </a:lnTo>
                      <a:lnTo>
                        <a:pt x="910056" y="293370"/>
                      </a:lnTo>
                      <a:lnTo>
                        <a:pt x="910031" y="294233"/>
                      </a:lnTo>
                      <a:lnTo>
                        <a:pt x="908558" y="293370"/>
                      </a:lnTo>
                      <a:lnTo>
                        <a:pt x="905243" y="293370"/>
                      </a:lnTo>
                      <a:lnTo>
                        <a:pt x="905802" y="294640"/>
                      </a:lnTo>
                      <a:lnTo>
                        <a:pt x="905992" y="294640"/>
                      </a:lnTo>
                      <a:lnTo>
                        <a:pt x="906030" y="295910"/>
                      </a:lnTo>
                      <a:lnTo>
                        <a:pt x="905535" y="295910"/>
                      </a:lnTo>
                      <a:lnTo>
                        <a:pt x="904659" y="297180"/>
                      </a:lnTo>
                      <a:lnTo>
                        <a:pt x="903732" y="297180"/>
                      </a:lnTo>
                      <a:lnTo>
                        <a:pt x="903528" y="298450"/>
                      </a:lnTo>
                      <a:lnTo>
                        <a:pt x="905256" y="298450"/>
                      </a:lnTo>
                      <a:lnTo>
                        <a:pt x="905319" y="299720"/>
                      </a:lnTo>
                      <a:lnTo>
                        <a:pt x="904011" y="302260"/>
                      </a:lnTo>
                      <a:lnTo>
                        <a:pt x="904036" y="300990"/>
                      </a:lnTo>
                      <a:lnTo>
                        <a:pt x="903554" y="300990"/>
                      </a:lnTo>
                      <a:lnTo>
                        <a:pt x="903351" y="302260"/>
                      </a:lnTo>
                      <a:lnTo>
                        <a:pt x="901623" y="302260"/>
                      </a:lnTo>
                      <a:lnTo>
                        <a:pt x="901268" y="303530"/>
                      </a:lnTo>
                      <a:lnTo>
                        <a:pt x="900442" y="303530"/>
                      </a:lnTo>
                      <a:lnTo>
                        <a:pt x="900201" y="304800"/>
                      </a:lnTo>
                      <a:lnTo>
                        <a:pt x="899744" y="304800"/>
                      </a:lnTo>
                      <a:lnTo>
                        <a:pt x="899502" y="306070"/>
                      </a:lnTo>
                      <a:lnTo>
                        <a:pt x="898194" y="306070"/>
                      </a:lnTo>
                      <a:lnTo>
                        <a:pt x="897559" y="307340"/>
                      </a:lnTo>
                      <a:lnTo>
                        <a:pt x="897547" y="308610"/>
                      </a:lnTo>
                      <a:lnTo>
                        <a:pt x="896912" y="309880"/>
                      </a:lnTo>
                      <a:lnTo>
                        <a:pt x="896899" y="308610"/>
                      </a:lnTo>
                      <a:lnTo>
                        <a:pt x="895680" y="308610"/>
                      </a:lnTo>
                      <a:lnTo>
                        <a:pt x="895477" y="309880"/>
                      </a:lnTo>
                      <a:lnTo>
                        <a:pt x="895299" y="309880"/>
                      </a:lnTo>
                      <a:lnTo>
                        <a:pt x="895146" y="308610"/>
                      </a:lnTo>
                      <a:lnTo>
                        <a:pt x="894029" y="308610"/>
                      </a:lnTo>
                      <a:lnTo>
                        <a:pt x="894181" y="309880"/>
                      </a:lnTo>
                      <a:lnTo>
                        <a:pt x="895108" y="311150"/>
                      </a:lnTo>
                      <a:lnTo>
                        <a:pt x="895096" y="313690"/>
                      </a:lnTo>
                      <a:lnTo>
                        <a:pt x="895400" y="313690"/>
                      </a:lnTo>
                      <a:lnTo>
                        <a:pt x="895184" y="314960"/>
                      </a:lnTo>
                      <a:lnTo>
                        <a:pt x="895210" y="316230"/>
                      </a:lnTo>
                      <a:lnTo>
                        <a:pt x="895883" y="316230"/>
                      </a:lnTo>
                      <a:lnTo>
                        <a:pt x="896467" y="317500"/>
                      </a:lnTo>
                      <a:lnTo>
                        <a:pt x="897204" y="317500"/>
                      </a:lnTo>
                      <a:lnTo>
                        <a:pt x="896937" y="316230"/>
                      </a:lnTo>
                      <a:lnTo>
                        <a:pt x="897420" y="316230"/>
                      </a:lnTo>
                      <a:lnTo>
                        <a:pt x="898169" y="317500"/>
                      </a:lnTo>
                      <a:lnTo>
                        <a:pt x="897686" y="317500"/>
                      </a:lnTo>
                      <a:lnTo>
                        <a:pt x="898982" y="318770"/>
                      </a:lnTo>
                      <a:lnTo>
                        <a:pt x="901090" y="318770"/>
                      </a:lnTo>
                      <a:lnTo>
                        <a:pt x="901141" y="320040"/>
                      </a:lnTo>
                      <a:lnTo>
                        <a:pt x="901839" y="320040"/>
                      </a:lnTo>
                      <a:lnTo>
                        <a:pt x="901890" y="321310"/>
                      </a:lnTo>
                      <a:lnTo>
                        <a:pt x="904417" y="321310"/>
                      </a:lnTo>
                      <a:lnTo>
                        <a:pt x="905319" y="322580"/>
                      </a:lnTo>
                      <a:lnTo>
                        <a:pt x="908215" y="322580"/>
                      </a:lnTo>
                      <a:lnTo>
                        <a:pt x="907999" y="323850"/>
                      </a:lnTo>
                      <a:lnTo>
                        <a:pt x="909370" y="323850"/>
                      </a:lnTo>
                      <a:lnTo>
                        <a:pt x="909789" y="325120"/>
                      </a:lnTo>
                      <a:lnTo>
                        <a:pt x="910247" y="325120"/>
                      </a:lnTo>
                      <a:lnTo>
                        <a:pt x="910704" y="326390"/>
                      </a:lnTo>
                      <a:lnTo>
                        <a:pt x="912482" y="326390"/>
                      </a:lnTo>
                      <a:lnTo>
                        <a:pt x="913117" y="327660"/>
                      </a:lnTo>
                      <a:lnTo>
                        <a:pt x="914222" y="327660"/>
                      </a:lnTo>
                      <a:lnTo>
                        <a:pt x="914285" y="328930"/>
                      </a:lnTo>
                      <a:lnTo>
                        <a:pt x="914857" y="328930"/>
                      </a:lnTo>
                      <a:lnTo>
                        <a:pt x="915136" y="330200"/>
                      </a:lnTo>
                      <a:lnTo>
                        <a:pt x="915225" y="328930"/>
                      </a:lnTo>
                      <a:lnTo>
                        <a:pt x="915631" y="330200"/>
                      </a:lnTo>
                      <a:lnTo>
                        <a:pt x="915949" y="330200"/>
                      </a:lnTo>
                      <a:lnTo>
                        <a:pt x="916025" y="331470"/>
                      </a:lnTo>
                      <a:lnTo>
                        <a:pt x="916901" y="331470"/>
                      </a:lnTo>
                      <a:lnTo>
                        <a:pt x="917244" y="332740"/>
                      </a:lnTo>
                      <a:lnTo>
                        <a:pt x="918337" y="334010"/>
                      </a:lnTo>
                      <a:lnTo>
                        <a:pt x="918730" y="335280"/>
                      </a:lnTo>
                      <a:lnTo>
                        <a:pt x="919695" y="336550"/>
                      </a:lnTo>
                      <a:lnTo>
                        <a:pt x="918616" y="335280"/>
                      </a:lnTo>
                      <a:lnTo>
                        <a:pt x="919518" y="337820"/>
                      </a:lnTo>
                      <a:lnTo>
                        <a:pt x="919772" y="337820"/>
                      </a:lnTo>
                      <a:lnTo>
                        <a:pt x="920318" y="339090"/>
                      </a:lnTo>
                      <a:lnTo>
                        <a:pt x="920737" y="340360"/>
                      </a:lnTo>
                      <a:lnTo>
                        <a:pt x="921092" y="340360"/>
                      </a:lnTo>
                      <a:lnTo>
                        <a:pt x="921296" y="341630"/>
                      </a:lnTo>
                      <a:lnTo>
                        <a:pt x="921613" y="341630"/>
                      </a:lnTo>
                      <a:lnTo>
                        <a:pt x="921842" y="342900"/>
                      </a:lnTo>
                      <a:lnTo>
                        <a:pt x="922058" y="342900"/>
                      </a:lnTo>
                      <a:lnTo>
                        <a:pt x="922210" y="344170"/>
                      </a:lnTo>
                      <a:lnTo>
                        <a:pt x="922375" y="345440"/>
                      </a:lnTo>
                      <a:lnTo>
                        <a:pt x="922515" y="345440"/>
                      </a:lnTo>
                      <a:lnTo>
                        <a:pt x="922566" y="346710"/>
                      </a:lnTo>
                      <a:lnTo>
                        <a:pt x="923023" y="346710"/>
                      </a:lnTo>
                      <a:lnTo>
                        <a:pt x="923226" y="347980"/>
                      </a:lnTo>
                      <a:lnTo>
                        <a:pt x="922870" y="347980"/>
                      </a:lnTo>
                      <a:lnTo>
                        <a:pt x="922756" y="349250"/>
                      </a:lnTo>
                      <a:lnTo>
                        <a:pt x="922959" y="350520"/>
                      </a:lnTo>
                      <a:lnTo>
                        <a:pt x="923112" y="351790"/>
                      </a:lnTo>
                      <a:lnTo>
                        <a:pt x="923429" y="353060"/>
                      </a:lnTo>
                      <a:lnTo>
                        <a:pt x="923531" y="354330"/>
                      </a:lnTo>
                      <a:lnTo>
                        <a:pt x="923124" y="358140"/>
                      </a:lnTo>
                      <a:lnTo>
                        <a:pt x="923213" y="359410"/>
                      </a:lnTo>
                      <a:lnTo>
                        <a:pt x="923048" y="359410"/>
                      </a:lnTo>
                      <a:lnTo>
                        <a:pt x="923226" y="360680"/>
                      </a:lnTo>
                      <a:lnTo>
                        <a:pt x="923353" y="361950"/>
                      </a:lnTo>
                      <a:lnTo>
                        <a:pt x="923023" y="361950"/>
                      </a:lnTo>
                      <a:lnTo>
                        <a:pt x="923048" y="363220"/>
                      </a:lnTo>
                      <a:lnTo>
                        <a:pt x="921727" y="367030"/>
                      </a:lnTo>
                      <a:lnTo>
                        <a:pt x="921600" y="367030"/>
                      </a:lnTo>
                      <a:lnTo>
                        <a:pt x="921486" y="368300"/>
                      </a:lnTo>
                      <a:lnTo>
                        <a:pt x="921334" y="368300"/>
                      </a:lnTo>
                      <a:lnTo>
                        <a:pt x="920800" y="369570"/>
                      </a:lnTo>
                      <a:lnTo>
                        <a:pt x="919784" y="369570"/>
                      </a:lnTo>
                      <a:lnTo>
                        <a:pt x="919048" y="370840"/>
                      </a:lnTo>
                      <a:lnTo>
                        <a:pt x="918387" y="370840"/>
                      </a:lnTo>
                      <a:lnTo>
                        <a:pt x="917625" y="372110"/>
                      </a:lnTo>
                      <a:lnTo>
                        <a:pt x="916393" y="373418"/>
                      </a:lnTo>
                      <a:lnTo>
                        <a:pt x="915758" y="374650"/>
                      </a:lnTo>
                      <a:lnTo>
                        <a:pt x="915377" y="375005"/>
                      </a:lnTo>
                      <a:lnTo>
                        <a:pt x="914425" y="377190"/>
                      </a:lnTo>
                      <a:lnTo>
                        <a:pt x="913739" y="377190"/>
                      </a:lnTo>
                      <a:lnTo>
                        <a:pt x="913269" y="377190"/>
                      </a:lnTo>
                      <a:lnTo>
                        <a:pt x="912558" y="378460"/>
                      </a:lnTo>
                      <a:lnTo>
                        <a:pt x="911809" y="378460"/>
                      </a:lnTo>
                      <a:lnTo>
                        <a:pt x="910374" y="379730"/>
                      </a:lnTo>
                      <a:lnTo>
                        <a:pt x="908697" y="381000"/>
                      </a:lnTo>
                      <a:lnTo>
                        <a:pt x="906132" y="383540"/>
                      </a:lnTo>
                      <a:lnTo>
                        <a:pt x="905243" y="384810"/>
                      </a:lnTo>
                      <a:lnTo>
                        <a:pt x="876833" y="396240"/>
                      </a:lnTo>
                      <a:lnTo>
                        <a:pt x="878408" y="396240"/>
                      </a:lnTo>
                      <a:lnTo>
                        <a:pt x="878573" y="397510"/>
                      </a:lnTo>
                      <a:lnTo>
                        <a:pt x="878852" y="397510"/>
                      </a:lnTo>
                      <a:lnTo>
                        <a:pt x="879170" y="396240"/>
                      </a:lnTo>
                      <a:lnTo>
                        <a:pt x="879233" y="397510"/>
                      </a:lnTo>
                      <a:lnTo>
                        <a:pt x="880198" y="397510"/>
                      </a:lnTo>
                      <a:lnTo>
                        <a:pt x="880287" y="398780"/>
                      </a:lnTo>
                      <a:lnTo>
                        <a:pt x="880452" y="400050"/>
                      </a:lnTo>
                      <a:lnTo>
                        <a:pt x="880884" y="400050"/>
                      </a:lnTo>
                      <a:lnTo>
                        <a:pt x="880719" y="401320"/>
                      </a:lnTo>
                      <a:lnTo>
                        <a:pt x="881354" y="401320"/>
                      </a:lnTo>
                      <a:lnTo>
                        <a:pt x="881507" y="402590"/>
                      </a:lnTo>
                      <a:lnTo>
                        <a:pt x="881710" y="403860"/>
                      </a:lnTo>
                      <a:lnTo>
                        <a:pt x="883551" y="403860"/>
                      </a:lnTo>
                      <a:lnTo>
                        <a:pt x="883691" y="405130"/>
                      </a:lnTo>
                      <a:lnTo>
                        <a:pt x="883907" y="406400"/>
                      </a:lnTo>
                      <a:lnTo>
                        <a:pt x="885761" y="406400"/>
                      </a:lnTo>
                      <a:lnTo>
                        <a:pt x="885405" y="407670"/>
                      </a:lnTo>
                      <a:lnTo>
                        <a:pt x="886409" y="407670"/>
                      </a:lnTo>
                      <a:lnTo>
                        <a:pt x="886574" y="408940"/>
                      </a:lnTo>
                      <a:lnTo>
                        <a:pt x="886701" y="408940"/>
                      </a:lnTo>
                      <a:lnTo>
                        <a:pt x="886548" y="410210"/>
                      </a:lnTo>
                      <a:lnTo>
                        <a:pt x="887399" y="410210"/>
                      </a:lnTo>
                      <a:lnTo>
                        <a:pt x="887730" y="411480"/>
                      </a:lnTo>
                      <a:lnTo>
                        <a:pt x="887247" y="411480"/>
                      </a:lnTo>
                      <a:lnTo>
                        <a:pt x="887818" y="412750"/>
                      </a:lnTo>
                      <a:lnTo>
                        <a:pt x="886968" y="412750"/>
                      </a:lnTo>
                      <a:lnTo>
                        <a:pt x="886625" y="414020"/>
                      </a:lnTo>
                      <a:lnTo>
                        <a:pt x="886002" y="415290"/>
                      </a:lnTo>
                      <a:lnTo>
                        <a:pt x="887641" y="415290"/>
                      </a:lnTo>
                      <a:lnTo>
                        <a:pt x="887641" y="416560"/>
                      </a:lnTo>
                      <a:lnTo>
                        <a:pt x="887933" y="416560"/>
                      </a:lnTo>
                      <a:lnTo>
                        <a:pt x="888403" y="417830"/>
                      </a:lnTo>
                      <a:lnTo>
                        <a:pt x="887412" y="417830"/>
                      </a:lnTo>
                      <a:lnTo>
                        <a:pt x="887145" y="419100"/>
                      </a:lnTo>
                      <a:lnTo>
                        <a:pt x="886536" y="419100"/>
                      </a:lnTo>
                      <a:lnTo>
                        <a:pt x="887171" y="420370"/>
                      </a:lnTo>
                      <a:lnTo>
                        <a:pt x="888199" y="420370"/>
                      </a:lnTo>
                      <a:lnTo>
                        <a:pt x="888365" y="421640"/>
                      </a:lnTo>
                      <a:lnTo>
                        <a:pt x="888746" y="421640"/>
                      </a:lnTo>
                      <a:lnTo>
                        <a:pt x="888365" y="422910"/>
                      </a:lnTo>
                      <a:lnTo>
                        <a:pt x="888733" y="422910"/>
                      </a:lnTo>
                      <a:lnTo>
                        <a:pt x="888911" y="424180"/>
                      </a:lnTo>
                      <a:lnTo>
                        <a:pt x="889698" y="424180"/>
                      </a:lnTo>
                      <a:lnTo>
                        <a:pt x="888517" y="429260"/>
                      </a:lnTo>
                      <a:lnTo>
                        <a:pt x="890714" y="429260"/>
                      </a:lnTo>
                      <a:lnTo>
                        <a:pt x="890816" y="430530"/>
                      </a:lnTo>
                      <a:lnTo>
                        <a:pt x="890955" y="430530"/>
                      </a:lnTo>
                      <a:lnTo>
                        <a:pt x="891070" y="431800"/>
                      </a:lnTo>
                      <a:lnTo>
                        <a:pt x="892060" y="431800"/>
                      </a:lnTo>
                      <a:lnTo>
                        <a:pt x="892035" y="433349"/>
                      </a:lnTo>
                      <a:lnTo>
                        <a:pt x="891895" y="434340"/>
                      </a:lnTo>
                      <a:lnTo>
                        <a:pt x="891844" y="436880"/>
                      </a:lnTo>
                      <a:lnTo>
                        <a:pt x="891882" y="438150"/>
                      </a:lnTo>
                      <a:lnTo>
                        <a:pt x="894422" y="438150"/>
                      </a:lnTo>
                      <a:lnTo>
                        <a:pt x="894549" y="439420"/>
                      </a:lnTo>
                      <a:lnTo>
                        <a:pt x="894791" y="439420"/>
                      </a:lnTo>
                      <a:lnTo>
                        <a:pt x="894956" y="441960"/>
                      </a:lnTo>
                      <a:lnTo>
                        <a:pt x="895299" y="443230"/>
                      </a:lnTo>
                      <a:lnTo>
                        <a:pt x="896188" y="443230"/>
                      </a:lnTo>
                      <a:lnTo>
                        <a:pt x="895426" y="444500"/>
                      </a:lnTo>
                      <a:lnTo>
                        <a:pt x="894041" y="445770"/>
                      </a:lnTo>
                      <a:lnTo>
                        <a:pt x="890181" y="450850"/>
                      </a:lnTo>
                      <a:lnTo>
                        <a:pt x="888834" y="452120"/>
                      </a:lnTo>
                      <a:lnTo>
                        <a:pt x="888111" y="453390"/>
                      </a:lnTo>
                      <a:lnTo>
                        <a:pt x="888288" y="453390"/>
                      </a:lnTo>
                      <a:lnTo>
                        <a:pt x="889050" y="454660"/>
                      </a:lnTo>
                      <a:lnTo>
                        <a:pt x="888873" y="454660"/>
                      </a:lnTo>
                      <a:lnTo>
                        <a:pt x="888784" y="455930"/>
                      </a:lnTo>
                      <a:lnTo>
                        <a:pt x="889215" y="455091"/>
                      </a:lnTo>
                      <a:lnTo>
                        <a:pt x="889076" y="454660"/>
                      </a:lnTo>
                      <a:lnTo>
                        <a:pt x="889431" y="454660"/>
                      </a:lnTo>
                      <a:lnTo>
                        <a:pt x="890092" y="454660"/>
                      </a:lnTo>
                      <a:lnTo>
                        <a:pt x="889609" y="455930"/>
                      </a:lnTo>
                      <a:lnTo>
                        <a:pt x="890447" y="455930"/>
                      </a:lnTo>
                      <a:lnTo>
                        <a:pt x="889863" y="457200"/>
                      </a:lnTo>
                      <a:lnTo>
                        <a:pt x="891146" y="458470"/>
                      </a:lnTo>
                      <a:lnTo>
                        <a:pt x="891425" y="457200"/>
                      </a:lnTo>
                      <a:lnTo>
                        <a:pt x="892111" y="458470"/>
                      </a:lnTo>
                      <a:lnTo>
                        <a:pt x="891451" y="458470"/>
                      </a:lnTo>
                      <a:lnTo>
                        <a:pt x="890155" y="459740"/>
                      </a:lnTo>
                      <a:lnTo>
                        <a:pt x="889584" y="459740"/>
                      </a:lnTo>
                      <a:lnTo>
                        <a:pt x="890028" y="461010"/>
                      </a:lnTo>
                      <a:lnTo>
                        <a:pt x="889330" y="461010"/>
                      </a:lnTo>
                      <a:lnTo>
                        <a:pt x="888987" y="462280"/>
                      </a:lnTo>
                      <a:lnTo>
                        <a:pt x="888771" y="462280"/>
                      </a:lnTo>
                      <a:lnTo>
                        <a:pt x="888276" y="461010"/>
                      </a:lnTo>
                      <a:lnTo>
                        <a:pt x="888123" y="459740"/>
                      </a:lnTo>
                      <a:lnTo>
                        <a:pt x="887818" y="459740"/>
                      </a:lnTo>
                      <a:lnTo>
                        <a:pt x="887412" y="458470"/>
                      </a:lnTo>
                      <a:lnTo>
                        <a:pt x="886485" y="457200"/>
                      </a:lnTo>
                      <a:lnTo>
                        <a:pt x="885520" y="457200"/>
                      </a:lnTo>
                      <a:lnTo>
                        <a:pt x="884593" y="455930"/>
                      </a:lnTo>
                      <a:lnTo>
                        <a:pt x="883564" y="455930"/>
                      </a:lnTo>
                      <a:lnTo>
                        <a:pt x="879894" y="458470"/>
                      </a:lnTo>
                      <a:lnTo>
                        <a:pt x="878624" y="459740"/>
                      </a:lnTo>
                      <a:lnTo>
                        <a:pt x="877747" y="459740"/>
                      </a:lnTo>
                      <a:lnTo>
                        <a:pt x="877646" y="462280"/>
                      </a:lnTo>
                      <a:lnTo>
                        <a:pt x="877404" y="462280"/>
                      </a:lnTo>
                      <a:lnTo>
                        <a:pt x="877138" y="463550"/>
                      </a:lnTo>
                      <a:lnTo>
                        <a:pt x="876985" y="463550"/>
                      </a:lnTo>
                      <a:lnTo>
                        <a:pt x="877493" y="464820"/>
                      </a:lnTo>
                      <a:lnTo>
                        <a:pt x="881278" y="468630"/>
                      </a:lnTo>
                      <a:lnTo>
                        <a:pt x="881773" y="469900"/>
                      </a:lnTo>
                      <a:lnTo>
                        <a:pt x="882180" y="469900"/>
                      </a:lnTo>
                      <a:lnTo>
                        <a:pt x="882319" y="470979"/>
                      </a:lnTo>
                      <a:lnTo>
                        <a:pt x="882332" y="471170"/>
                      </a:lnTo>
                      <a:lnTo>
                        <a:pt x="882269" y="470941"/>
                      </a:lnTo>
                      <a:lnTo>
                        <a:pt x="880033" y="468630"/>
                      </a:lnTo>
                      <a:lnTo>
                        <a:pt x="879005" y="467360"/>
                      </a:lnTo>
                      <a:lnTo>
                        <a:pt x="876922" y="464820"/>
                      </a:lnTo>
                      <a:lnTo>
                        <a:pt x="876465" y="464820"/>
                      </a:lnTo>
                      <a:lnTo>
                        <a:pt x="875906" y="463550"/>
                      </a:lnTo>
                      <a:lnTo>
                        <a:pt x="874128" y="463550"/>
                      </a:lnTo>
                      <a:lnTo>
                        <a:pt x="873709" y="462280"/>
                      </a:lnTo>
                      <a:lnTo>
                        <a:pt x="872045" y="462280"/>
                      </a:lnTo>
                      <a:lnTo>
                        <a:pt x="871550" y="461010"/>
                      </a:lnTo>
                      <a:lnTo>
                        <a:pt x="867244" y="461010"/>
                      </a:lnTo>
                      <a:lnTo>
                        <a:pt x="867181" y="458470"/>
                      </a:lnTo>
                      <a:lnTo>
                        <a:pt x="866800" y="458470"/>
                      </a:lnTo>
                      <a:lnTo>
                        <a:pt x="866152" y="457339"/>
                      </a:lnTo>
                      <a:lnTo>
                        <a:pt x="866152" y="461010"/>
                      </a:lnTo>
                      <a:lnTo>
                        <a:pt x="865568" y="462280"/>
                      </a:lnTo>
                      <a:lnTo>
                        <a:pt x="864984" y="462280"/>
                      </a:lnTo>
                      <a:lnTo>
                        <a:pt x="864793" y="463550"/>
                      </a:lnTo>
                      <a:lnTo>
                        <a:pt x="863625" y="463550"/>
                      </a:lnTo>
                      <a:lnTo>
                        <a:pt x="863473" y="464820"/>
                      </a:lnTo>
                      <a:lnTo>
                        <a:pt x="861326" y="464820"/>
                      </a:lnTo>
                      <a:lnTo>
                        <a:pt x="861733" y="463550"/>
                      </a:lnTo>
                      <a:lnTo>
                        <a:pt x="862876" y="463550"/>
                      </a:lnTo>
                      <a:lnTo>
                        <a:pt x="863447" y="462280"/>
                      </a:lnTo>
                      <a:lnTo>
                        <a:pt x="863968" y="462280"/>
                      </a:lnTo>
                      <a:lnTo>
                        <a:pt x="865378" y="461010"/>
                      </a:lnTo>
                      <a:lnTo>
                        <a:pt x="866152" y="461010"/>
                      </a:lnTo>
                      <a:lnTo>
                        <a:pt x="866152" y="457339"/>
                      </a:lnTo>
                      <a:lnTo>
                        <a:pt x="866076" y="457200"/>
                      </a:lnTo>
                      <a:lnTo>
                        <a:pt x="864120" y="453390"/>
                      </a:lnTo>
                      <a:lnTo>
                        <a:pt x="863346" y="452120"/>
                      </a:lnTo>
                      <a:lnTo>
                        <a:pt x="862698" y="452120"/>
                      </a:lnTo>
                      <a:lnTo>
                        <a:pt x="862457" y="450850"/>
                      </a:lnTo>
                      <a:lnTo>
                        <a:pt x="860945" y="450850"/>
                      </a:lnTo>
                      <a:lnTo>
                        <a:pt x="860945" y="464820"/>
                      </a:lnTo>
                      <a:lnTo>
                        <a:pt x="860526" y="466090"/>
                      </a:lnTo>
                      <a:lnTo>
                        <a:pt x="860221" y="467360"/>
                      </a:lnTo>
                      <a:lnTo>
                        <a:pt x="859713" y="467360"/>
                      </a:lnTo>
                      <a:lnTo>
                        <a:pt x="859497" y="466090"/>
                      </a:lnTo>
                      <a:lnTo>
                        <a:pt x="860374" y="466090"/>
                      </a:lnTo>
                      <a:lnTo>
                        <a:pt x="860691" y="464820"/>
                      </a:lnTo>
                      <a:lnTo>
                        <a:pt x="860945" y="464820"/>
                      </a:lnTo>
                      <a:lnTo>
                        <a:pt x="860945" y="450850"/>
                      </a:lnTo>
                      <a:lnTo>
                        <a:pt x="860564" y="450850"/>
                      </a:lnTo>
                      <a:lnTo>
                        <a:pt x="860005" y="449580"/>
                      </a:lnTo>
                      <a:lnTo>
                        <a:pt x="859599" y="448310"/>
                      </a:lnTo>
                      <a:lnTo>
                        <a:pt x="858520" y="448310"/>
                      </a:lnTo>
                      <a:lnTo>
                        <a:pt x="858151" y="447040"/>
                      </a:lnTo>
                      <a:lnTo>
                        <a:pt x="854240" y="447040"/>
                      </a:lnTo>
                      <a:lnTo>
                        <a:pt x="853440" y="445770"/>
                      </a:lnTo>
                      <a:lnTo>
                        <a:pt x="852449" y="444500"/>
                      </a:lnTo>
                      <a:lnTo>
                        <a:pt x="852982" y="443230"/>
                      </a:lnTo>
                      <a:lnTo>
                        <a:pt x="849426" y="443230"/>
                      </a:lnTo>
                      <a:lnTo>
                        <a:pt x="849706" y="441960"/>
                      </a:lnTo>
                      <a:lnTo>
                        <a:pt x="851636" y="441960"/>
                      </a:lnTo>
                      <a:lnTo>
                        <a:pt x="850163" y="439420"/>
                      </a:lnTo>
                      <a:lnTo>
                        <a:pt x="849947" y="438150"/>
                      </a:lnTo>
                      <a:lnTo>
                        <a:pt x="848499" y="438150"/>
                      </a:lnTo>
                      <a:lnTo>
                        <a:pt x="848334" y="436880"/>
                      </a:lnTo>
                      <a:lnTo>
                        <a:pt x="848004" y="436880"/>
                      </a:lnTo>
                      <a:lnTo>
                        <a:pt x="848004" y="444500"/>
                      </a:lnTo>
                      <a:lnTo>
                        <a:pt x="846848" y="444500"/>
                      </a:lnTo>
                      <a:lnTo>
                        <a:pt x="847483" y="443230"/>
                      </a:lnTo>
                      <a:lnTo>
                        <a:pt x="848004" y="444500"/>
                      </a:lnTo>
                      <a:lnTo>
                        <a:pt x="848004" y="436880"/>
                      </a:lnTo>
                      <a:lnTo>
                        <a:pt x="847826" y="436880"/>
                      </a:lnTo>
                      <a:lnTo>
                        <a:pt x="847191" y="435610"/>
                      </a:lnTo>
                      <a:lnTo>
                        <a:pt x="845985" y="435610"/>
                      </a:lnTo>
                      <a:lnTo>
                        <a:pt x="845756" y="434340"/>
                      </a:lnTo>
                      <a:lnTo>
                        <a:pt x="845578" y="434340"/>
                      </a:lnTo>
                      <a:lnTo>
                        <a:pt x="845083" y="433070"/>
                      </a:lnTo>
                      <a:lnTo>
                        <a:pt x="844715" y="433070"/>
                      </a:lnTo>
                      <a:lnTo>
                        <a:pt x="844067" y="431800"/>
                      </a:lnTo>
                      <a:lnTo>
                        <a:pt x="843330" y="431800"/>
                      </a:lnTo>
                      <a:lnTo>
                        <a:pt x="843013" y="430530"/>
                      </a:lnTo>
                      <a:lnTo>
                        <a:pt x="840943" y="430530"/>
                      </a:lnTo>
                      <a:lnTo>
                        <a:pt x="840752" y="429260"/>
                      </a:lnTo>
                      <a:lnTo>
                        <a:pt x="840955" y="427990"/>
                      </a:lnTo>
                      <a:lnTo>
                        <a:pt x="841679" y="425450"/>
                      </a:lnTo>
                      <a:lnTo>
                        <a:pt x="842010" y="425450"/>
                      </a:lnTo>
                      <a:lnTo>
                        <a:pt x="842238" y="424180"/>
                      </a:lnTo>
                      <a:lnTo>
                        <a:pt x="843089" y="424180"/>
                      </a:lnTo>
                      <a:lnTo>
                        <a:pt x="842911" y="421640"/>
                      </a:lnTo>
                      <a:lnTo>
                        <a:pt x="841400" y="411480"/>
                      </a:lnTo>
                      <a:lnTo>
                        <a:pt x="840943" y="408940"/>
                      </a:lnTo>
                      <a:lnTo>
                        <a:pt x="698284" y="408940"/>
                      </a:lnTo>
                      <a:lnTo>
                        <a:pt x="698284" y="518083"/>
                      </a:lnTo>
                      <a:lnTo>
                        <a:pt x="697738" y="516890"/>
                      </a:lnTo>
                      <a:lnTo>
                        <a:pt x="698284" y="518083"/>
                      </a:lnTo>
                      <a:lnTo>
                        <a:pt x="698284" y="408940"/>
                      </a:lnTo>
                      <a:lnTo>
                        <a:pt x="662266" y="408940"/>
                      </a:lnTo>
                      <a:lnTo>
                        <a:pt x="662266" y="499110"/>
                      </a:lnTo>
                      <a:lnTo>
                        <a:pt x="662241" y="502843"/>
                      </a:lnTo>
                      <a:lnTo>
                        <a:pt x="662254" y="499110"/>
                      </a:lnTo>
                      <a:lnTo>
                        <a:pt x="662266" y="408940"/>
                      </a:lnTo>
                      <a:lnTo>
                        <a:pt x="657910" y="408940"/>
                      </a:lnTo>
                      <a:lnTo>
                        <a:pt x="657910" y="499033"/>
                      </a:lnTo>
                      <a:lnTo>
                        <a:pt x="657809" y="500557"/>
                      </a:lnTo>
                      <a:lnTo>
                        <a:pt x="657669" y="502843"/>
                      </a:lnTo>
                      <a:lnTo>
                        <a:pt x="657809" y="500557"/>
                      </a:lnTo>
                      <a:lnTo>
                        <a:pt x="657809" y="498932"/>
                      </a:lnTo>
                      <a:lnTo>
                        <a:pt x="657263" y="497840"/>
                      </a:lnTo>
                      <a:lnTo>
                        <a:pt x="657910" y="499033"/>
                      </a:lnTo>
                      <a:lnTo>
                        <a:pt x="657910" y="408940"/>
                      </a:lnTo>
                      <a:lnTo>
                        <a:pt x="655764" y="408940"/>
                      </a:lnTo>
                      <a:lnTo>
                        <a:pt x="655764" y="505383"/>
                      </a:lnTo>
                      <a:lnTo>
                        <a:pt x="541172" y="505383"/>
                      </a:lnTo>
                      <a:lnTo>
                        <a:pt x="531291" y="504190"/>
                      </a:lnTo>
                      <a:lnTo>
                        <a:pt x="647941" y="504190"/>
                      </a:lnTo>
                      <a:lnTo>
                        <a:pt x="655764" y="505383"/>
                      </a:lnTo>
                      <a:lnTo>
                        <a:pt x="655764" y="408940"/>
                      </a:lnTo>
                      <a:lnTo>
                        <a:pt x="618693" y="408940"/>
                      </a:lnTo>
                      <a:lnTo>
                        <a:pt x="617664" y="408940"/>
                      </a:lnTo>
                      <a:lnTo>
                        <a:pt x="615873" y="410210"/>
                      </a:lnTo>
                      <a:lnTo>
                        <a:pt x="616419" y="410210"/>
                      </a:lnTo>
                      <a:lnTo>
                        <a:pt x="616610" y="411480"/>
                      </a:lnTo>
                      <a:lnTo>
                        <a:pt x="617004" y="412750"/>
                      </a:lnTo>
                      <a:lnTo>
                        <a:pt x="617448" y="414020"/>
                      </a:lnTo>
                      <a:lnTo>
                        <a:pt x="615797" y="414020"/>
                      </a:lnTo>
                      <a:lnTo>
                        <a:pt x="613270" y="411480"/>
                      </a:lnTo>
                      <a:lnTo>
                        <a:pt x="610590" y="411480"/>
                      </a:lnTo>
                      <a:lnTo>
                        <a:pt x="613791" y="412750"/>
                      </a:lnTo>
                      <a:lnTo>
                        <a:pt x="614540" y="414020"/>
                      </a:lnTo>
                      <a:lnTo>
                        <a:pt x="616445" y="415290"/>
                      </a:lnTo>
                      <a:lnTo>
                        <a:pt x="618299" y="415290"/>
                      </a:lnTo>
                      <a:lnTo>
                        <a:pt x="617689" y="414020"/>
                      </a:lnTo>
                      <a:lnTo>
                        <a:pt x="618756" y="415290"/>
                      </a:lnTo>
                      <a:lnTo>
                        <a:pt x="618286" y="416560"/>
                      </a:lnTo>
                      <a:lnTo>
                        <a:pt x="618909" y="417830"/>
                      </a:lnTo>
                      <a:lnTo>
                        <a:pt x="619734" y="419100"/>
                      </a:lnTo>
                      <a:lnTo>
                        <a:pt x="620915" y="420370"/>
                      </a:lnTo>
                      <a:lnTo>
                        <a:pt x="621423" y="422910"/>
                      </a:lnTo>
                      <a:lnTo>
                        <a:pt x="623265" y="425450"/>
                      </a:lnTo>
                      <a:lnTo>
                        <a:pt x="623544" y="425450"/>
                      </a:lnTo>
                      <a:lnTo>
                        <a:pt x="624306" y="427990"/>
                      </a:lnTo>
                      <a:lnTo>
                        <a:pt x="625297" y="427990"/>
                      </a:lnTo>
                      <a:lnTo>
                        <a:pt x="623925" y="430530"/>
                      </a:lnTo>
                      <a:lnTo>
                        <a:pt x="625106" y="433070"/>
                      </a:lnTo>
                      <a:lnTo>
                        <a:pt x="625665" y="433070"/>
                      </a:lnTo>
                      <a:lnTo>
                        <a:pt x="627189" y="435610"/>
                      </a:lnTo>
                      <a:lnTo>
                        <a:pt x="629043" y="439420"/>
                      </a:lnTo>
                      <a:lnTo>
                        <a:pt x="629589" y="440690"/>
                      </a:lnTo>
                      <a:lnTo>
                        <a:pt x="629602" y="444500"/>
                      </a:lnTo>
                      <a:lnTo>
                        <a:pt x="629856" y="445770"/>
                      </a:lnTo>
                      <a:lnTo>
                        <a:pt x="631482" y="448310"/>
                      </a:lnTo>
                      <a:lnTo>
                        <a:pt x="632472" y="448310"/>
                      </a:lnTo>
                      <a:lnTo>
                        <a:pt x="632663" y="449580"/>
                      </a:lnTo>
                      <a:lnTo>
                        <a:pt x="631812" y="449580"/>
                      </a:lnTo>
                      <a:lnTo>
                        <a:pt x="632244" y="450850"/>
                      </a:lnTo>
                      <a:lnTo>
                        <a:pt x="633933" y="450850"/>
                      </a:lnTo>
                      <a:lnTo>
                        <a:pt x="634796" y="452120"/>
                      </a:lnTo>
                      <a:lnTo>
                        <a:pt x="633895" y="452120"/>
                      </a:lnTo>
                      <a:lnTo>
                        <a:pt x="634174" y="454660"/>
                      </a:lnTo>
                      <a:lnTo>
                        <a:pt x="634606" y="454660"/>
                      </a:lnTo>
                      <a:lnTo>
                        <a:pt x="636727" y="457200"/>
                      </a:lnTo>
                      <a:lnTo>
                        <a:pt x="636244" y="458470"/>
                      </a:lnTo>
                      <a:lnTo>
                        <a:pt x="638276" y="461010"/>
                      </a:lnTo>
                      <a:lnTo>
                        <a:pt x="640588" y="462280"/>
                      </a:lnTo>
                      <a:lnTo>
                        <a:pt x="640689" y="463550"/>
                      </a:lnTo>
                      <a:lnTo>
                        <a:pt x="639711" y="464820"/>
                      </a:lnTo>
                      <a:lnTo>
                        <a:pt x="638251" y="466090"/>
                      </a:lnTo>
                      <a:lnTo>
                        <a:pt x="638860" y="466090"/>
                      </a:lnTo>
                      <a:lnTo>
                        <a:pt x="638771" y="467360"/>
                      </a:lnTo>
                      <a:lnTo>
                        <a:pt x="639013" y="468630"/>
                      </a:lnTo>
                      <a:lnTo>
                        <a:pt x="639292" y="471170"/>
                      </a:lnTo>
                      <a:lnTo>
                        <a:pt x="638568" y="473710"/>
                      </a:lnTo>
                      <a:lnTo>
                        <a:pt x="640092" y="473710"/>
                      </a:lnTo>
                      <a:lnTo>
                        <a:pt x="638683" y="474980"/>
                      </a:lnTo>
                      <a:lnTo>
                        <a:pt x="636879" y="472440"/>
                      </a:lnTo>
                      <a:lnTo>
                        <a:pt x="635762" y="472440"/>
                      </a:lnTo>
                      <a:lnTo>
                        <a:pt x="636054" y="474980"/>
                      </a:lnTo>
                      <a:lnTo>
                        <a:pt x="635850" y="476250"/>
                      </a:lnTo>
                      <a:lnTo>
                        <a:pt x="636460" y="477520"/>
                      </a:lnTo>
                      <a:lnTo>
                        <a:pt x="635292" y="478790"/>
                      </a:lnTo>
                      <a:lnTo>
                        <a:pt x="629589" y="478790"/>
                      </a:lnTo>
                      <a:lnTo>
                        <a:pt x="630834" y="473710"/>
                      </a:lnTo>
                      <a:lnTo>
                        <a:pt x="630821" y="471170"/>
                      </a:lnTo>
                      <a:lnTo>
                        <a:pt x="630809" y="469900"/>
                      </a:lnTo>
                      <a:lnTo>
                        <a:pt x="631012" y="468630"/>
                      </a:lnTo>
                      <a:lnTo>
                        <a:pt x="631482" y="467360"/>
                      </a:lnTo>
                      <a:lnTo>
                        <a:pt x="631024" y="466090"/>
                      </a:lnTo>
                      <a:lnTo>
                        <a:pt x="631317" y="464820"/>
                      </a:lnTo>
                      <a:lnTo>
                        <a:pt x="632942" y="464820"/>
                      </a:lnTo>
                      <a:lnTo>
                        <a:pt x="632866" y="463550"/>
                      </a:lnTo>
                      <a:lnTo>
                        <a:pt x="630428" y="463550"/>
                      </a:lnTo>
                      <a:lnTo>
                        <a:pt x="630516" y="461010"/>
                      </a:lnTo>
                      <a:lnTo>
                        <a:pt x="633374" y="457200"/>
                      </a:lnTo>
                      <a:lnTo>
                        <a:pt x="634276" y="457200"/>
                      </a:lnTo>
                      <a:lnTo>
                        <a:pt x="633615" y="454660"/>
                      </a:lnTo>
                      <a:lnTo>
                        <a:pt x="630770" y="453390"/>
                      </a:lnTo>
                      <a:lnTo>
                        <a:pt x="627849" y="454660"/>
                      </a:lnTo>
                      <a:lnTo>
                        <a:pt x="628865" y="457200"/>
                      </a:lnTo>
                      <a:lnTo>
                        <a:pt x="624522" y="461010"/>
                      </a:lnTo>
                      <a:lnTo>
                        <a:pt x="626884" y="453390"/>
                      </a:lnTo>
                      <a:lnTo>
                        <a:pt x="626960" y="449580"/>
                      </a:lnTo>
                      <a:lnTo>
                        <a:pt x="625119" y="445770"/>
                      </a:lnTo>
                      <a:lnTo>
                        <a:pt x="622592" y="448310"/>
                      </a:lnTo>
                      <a:lnTo>
                        <a:pt x="622312" y="450850"/>
                      </a:lnTo>
                      <a:lnTo>
                        <a:pt x="621461" y="448310"/>
                      </a:lnTo>
                      <a:lnTo>
                        <a:pt x="622782" y="447040"/>
                      </a:lnTo>
                      <a:lnTo>
                        <a:pt x="623176" y="445770"/>
                      </a:lnTo>
                      <a:lnTo>
                        <a:pt x="622223" y="445770"/>
                      </a:lnTo>
                      <a:lnTo>
                        <a:pt x="620915" y="447040"/>
                      </a:lnTo>
                      <a:lnTo>
                        <a:pt x="619264" y="444500"/>
                      </a:lnTo>
                      <a:lnTo>
                        <a:pt x="619226" y="447040"/>
                      </a:lnTo>
                      <a:lnTo>
                        <a:pt x="619023" y="447040"/>
                      </a:lnTo>
                      <a:lnTo>
                        <a:pt x="619125" y="448310"/>
                      </a:lnTo>
                      <a:lnTo>
                        <a:pt x="618998" y="449580"/>
                      </a:lnTo>
                      <a:lnTo>
                        <a:pt x="618147" y="449580"/>
                      </a:lnTo>
                      <a:lnTo>
                        <a:pt x="618909" y="450850"/>
                      </a:lnTo>
                      <a:lnTo>
                        <a:pt x="617296" y="449580"/>
                      </a:lnTo>
                      <a:lnTo>
                        <a:pt x="615924" y="449580"/>
                      </a:lnTo>
                      <a:lnTo>
                        <a:pt x="613181" y="445770"/>
                      </a:lnTo>
                      <a:lnTo>
                        <a:pt x="612406" y="443230"/>
                      </a:lnTo>
                      <a:lnTo>
                        <a:pt x="609549" y="440690"/>
                      </a:lnTo>
                      <a:lnTo>
                        <a:pt x="608863" y="439420"/>
                      </a:lnTo>
                      <a:lnTo>
                        <a:pt x="607275" y="436880"/>
                      </a:lnTo>
                      <a:lnTo>
                        <a:pt x="605993" y="436880"/>
                      </a:lnTo>
                      <a:lnTo>
                        <a:pt x="603846" y="433070"/>
                      </a:lnTo>
                      <a:lnTo>
                        <a:pt x="604227" y="433070"/>
                      </a:lnTo>
                      <a:lnTo>
                        <a:pt x="604774" y="431800"/>
                      </a:lnTo>
                      <a:lnTo>
                        <a:pt x="605866" y="429260"/>
                      </a:lnTo>
                      <a:lnTo>
                        <a:pt x="608291" y="429260"/>
                      </a:lnTo>
                      <a:lnTo>
                        <a:pt x="609434" y="427990"/>
                      </a:lnTo>
                      <a:lnTo>
                        <a:pt x="599655" y="427990"/>
                      </a:lnTo>
                      <a:lnTo>
                        <a:pt x="599554" y="425450"/>
                      </a:lnTo>
                      <a:lnTo>
                        <a:pt x="598043" y="425450"/>
                      </a:lnTo>
                      <a:lnTo>
                        <a:pt x="598068" y="424180"/>
                      </a:lnTo>
                      <a:lnTo>
                        <a:pt x="598246" y="424180"/>
                      </a:lnTo>
                      <a:lnTo>
                        <a:pt x="599135" y="421640"/>
                      </a:lnTo>
                      <a:lnTo>
                        <a:pt x="599770" y="415290"/>
                      </a:lnTo>
                      <a:lnTo>
                        <a:pt x="601726" y="412750"/>
                      </a:lnTo>
                      <a:lnTo>
                        <a:pt x="513791" y="412750"/>
                      </a:lnTo>
                      <a:lnTo>
                        <a:pt x="513791" y="504190"/>
                      </a:lnTo>
                      <a:lnTo>
                        <a:pt x="461022" y="505383"/>
                      </a:lnTo>
                      <a:lnTo>
                        <a:pt x="263791" y="505383"/>
                      </a:lnTo>
                      <a:lnTo>
                        <a:pt x="300202" y="504190"/>
                      </a:lnTo>
                      <a:lnTo>
                        <a:pt x="513791" y="504190"/>
                      </a:lnTo>
                      <a:lnTo>
                        <a:pt x="513791" y="412750"/>
                      </a:lnTo>
                      <a:lnTo>
                        <a:pt x="246227" y="412750"/>
                      </a:lnTo>
                      <a:lnTo>
                        <a:pt x="246227" y="483870"/>
                      </a:lnTo>
                      <a:lnTo>
                        <a:pt x="246126" y="485140"/>
                      </a:lnTo>
                      <a:lnTo>
                        <a:pt x="245630" y="485140"/>
                      </a:lnTo>
                      <a:lnTo>
                        <a:pt x="245846" y="483870"/>
                      </a:lnTo>
                      <a:lnTo>
                        <a:pt x="245656" y="483870"/>
                      </a:lnTo>
                      <a:lnTo>
                        <a:pt x="245084" y="482600"/>
                      </a:lnTo>
                      <a:lnTo>
                        <a:pt x="245554" y="482600"/>
                      </a:lnTo>
                      <a:lnTo>
                        <a:pt x="245897" y="483870"/>
                      </a:lnTo>
                      <a:lnTo>
                        <a:pt x="246227" y="483870"/>
                      </a:lnTo>
                      <a:lnTo>
                        <a:pt x="246227" y="412750"/>
                      </a:lnTo>
                      <a:lnTo>
                        <a:pt x="238391" y="412750"/>
                      </a:lnTo>
                      <a:lnTo>
                        <a:pt x="238391" y="476250"/>
                      </a:lnTo>
                      <a:lnTo>
                        <a:pt x="238125" y="477520"/>
                      </a:lnTo>
                      <a:lnTo>
                        <a:pt x="237871" y="477520"/>
                      </a:lnTo>
                      <a:lnTo>
                        <a:pt x="238391" y="476250"/>
                      </a:lnTo>
                      <a:lnTo>
                        <a:pt x="238391" y="412750"/>
                      </a:lnTo>
                      <a:lnTo>
                        <a:pt x="218020" y="412750"/>
                      </a:lnTo>
                      <a:lnTo>
                        <a:pt x="218020" y="491490"/>
                      </a:lnTo>
                      <a:lnTo>
                        <a:pt x="217678" y="491490"/>
                      </a:lnTo>
                      <a:lnTo>
                        <a:pt x="218008" y="490220"/>
                      </a:lnTo>
                      <a:lnTo>
                        <a:pt x="218020" y="491490"/>
                      </a:lnTo>
                      <a:lnTo>
                        <a:pt x="218020" y="412750"/>
                      </a:lnTo>
                      <a:lnTo>
                        <a:pt x="201104" y="412750"/>
                      </a:lnTo>
                      <a:lnTo>
                        <a:pt x="201104" y="434340"/>
                      </a:lnTo>
                      <a:lnTo>
                        <a:pt x="200698" y="435610"/>
                      </a:lnTo>
                      <a:lnTo>
                        <a:pt x="199377" y="436880"/>
                      </a:lnTo>
                      <a:lnTo>
                        <a:pt x="198170" y="436880"/>
                      </a:lnTo>
                      <a:lnTo>
                        <a:pt x="199491" y="435610"/>
                      </a:lnTo>
                      <a:lnTo>
                        <a:pt x="200444" y="435610"/>
                      </a:lnTo>
                      <a:lnTo>
                        <a:pt x="200634" y="434340"/>
                      </a:lnTo>
                      <a:lnTo>
                        <a:pt x="200875" y="434340"/>
                      </a:lnTo>
                      <a:lnTo>
                        <a:pt x="201053" y="433501"/>
                      </a:lnTo>
                      <a:lnTo>
                        <a:pt x="201104" y="434340"/>
                      </a:lnTo>
                      <a:lnTo>
                        <a:pt x="201104" y="412750"/>
                      </a:lnTo>
                      <a:lnTo>
                        <a:pt x="201028" y="432917"/>
                      </a:lnTo>
                      <a:lnTo>
                        <a:pt x="200139" y="431800"/>
                      </a:lnTo>
                      <a:lnTo>
                        <a:pt x="200609" y="431800"/>
                      </a:lnTo>
                      <a:lnTo>
                        <a:pt x="201028" y="432917"/>
                      </a:lnTo>
                      <a:lnTo>
                        <a:pt x="201028" y="412750"/>
                      </a:lnTo>
                      <a:lnTo>
                        <a:pt x="187858" y="412750"/>
                      </a:lnTo>
                      <a:lnTo>
                        <a:pt x="187858" y="436880"/>
                      </a:lnTo>
                      <a:lnTo>
                        <a:pt x="187540" y="438150"/>
                      </a:lnTo>
                      <a:lnTo>
                        <a:pt x="186486" y="438150"/>
                      </a:lnTo>
                      <a:lnTo>
                        <a:pt x="187858" y="436880"/>
                      </a:lnTo>
                      <a:lnTo>
                        <a:pt x="187858" y="412750"/>
                      </a:lnTo>
                      <a:lnTo>
                        <a:pt x="185864" y="412750"/>
                      </a:lnTo>
                      <a:lnTo>
                        <a:pt x="185864" y="438150"/>
                      </a:lnTo>
                      <a:lnTo>
                        <a:pt x="185420" y="439420"/>
                      </a:lnTo>
                      <a:lnTo>
                        <a:pt x="184505" y="439420"/>
                      </a:lnTo>
                      <a:lnTo>
                        <a:pt x="185597" y="438150"/>
                      </a:lnTo>
                      <a:lnTo>
                        <a:pt x="185864" y="438150"/>
                      </a:lnTo>
                      <a:lnTo>
                        <a:pt x="185864" y="412750"/>
                      </a:lnTo>
                      <a:lnTo>
                        <a:pt x="179044" y="412750"/>
                      </a:lnTo>
                      <a:lnTo>
                        <a:pt x="179044" y="429260"/>
                      </a:lnTo>
                      <a:lnTo>
                        <a:pt x="178904" y="429260"/>
                      </a:lnTo>
                      <a:lnTo>
                        <a:pt x="178701" y="427990"/>
                      </a:lnTo>
                      <a:lnTo>
                        <a:pt x="177901" y="427990"/>
                      </a:lnTo>
                      <a:lnTo>
                        <a:pt x="178282" y="426720"/>
                      </a:lnTo>
                      <a:lnTo>
                        <a:pt x="178460" y="425450"/>
                      </a:lnTo>
                      <a:lnTo>
                        <a:pt x="178714" y="426720"/>
                      </a:lnTo>
                      <a:lnTo>
                        <a:pt x="178993" y="426720"/>
                      </a:lnTo>
                      <a:lnTo>
                        <a:pt x="179031" y="427990"/>
                      </a:lnTo>
                      <a:lnTo>
                        <a:pt x="179044" y="429260"/>
                      </a:lnTo>
                      <a:lnTo>
                        <a:pt x="179044" y="412750"/>
                      </a:lnTo>
                      <a:lnTo>
                        <a:pt x="178485" y="412750"/>
                      </a:lnTo>
                      <a:lnTo>
                        <a:pt x="175564" y="412750"/>
                      </a:lnTo>
                      <a:lnTo>
                        <a:pt x="174993" y="414020"/>
                      </a:lnTo>
                      <a:lnTo>
                        <a:pt x="175158" y="415290"/>
                      </a:lnTo>
                      <a:lnTo>
                        <a:pt x="174904" y="416560"/>
                      </a:lnTo>
                      <a:lnTo>
                        <a:pt x="174269" y="416560"/>
                      </a:lnTo>
                      <a:lnTo>
                        <a:pt x="173786" y="415290"/>
                      </a:lnTo>
                      <a:lnTo>
                        <a:pt x="173431" y="415290"/>
                      </a:lnTo>
                      <a:lnTo>
                        <a:pt x="173431" y="421640"/>
                      </a:lnTo>
                      <a:lnTo>
                        <a:pt x="171818" y="422910"/>
                      </a:lnTo>
                      <a:lnTo>
                        <a:pt x="172364" y="421640"/>
                      </a:lnTo>
                      <a:lnTo>
                        <a:pt x="172897" y="421640"/>
                      </a:lnTo>
                      <a:lnTo>
                        <a:pt x="173355" y="420370"/>
                      </a:lnTo>
                      <a:lnTo>
                        <a:pt x="173431" y="421640"/>
                      </a:lnTo>
                      <a:lnTo>
                        <a:pt x="173431" y="415290"/>
                      </a:lnTo>
                      <a:lnTo>
                        <a:pt x="171221" y="415290"/>
                      </a:lnTo>
                      <a:lnTo>
                        <a:pt x="171462" y="414020"/>
                      </a:lnTo>
                      <a:lnTo>
                        <a:pt x="171132" y="414020"/>
                      </a:lnTo>
                      <a:lnTo>
                        <a:pt x="171386" y="412750"/>
                      </a:lnTo>
                      <a:lnTo>
                        <a:pt x="172669" y="414020"/>
                      </a:lnTo>
                      <a:lnTo>
                        <a:pt x="172783" y="412750"/>
                      </a:lnTo>
                      <a:lnTo>
                        <a:pt x="172427" y="411480"/>
                      </a:lnTo>
                      <a:lnTo>
                        <a:pt x="173062" y="411480"/>
                      </a:lnTo>
                      <a:lnTo>
                        <a:pt x="173380" y="412750"/>
                      </a:lnTo>
                      <a:lnTo>
                        <a:pt x="173926" y="412750"/>
                      </a:lnTo>
                      <a:lnTo>
                        <a:pt x="174688" y="411480"/>
                      </a:lnTo>
                      <a:lnTo>
                        <a:pt x="175387" y="411480"/>
                      </a:lnTo>
                      <a:lnTo>
                        <a:pt x="176187" y="410210"/>
                      </a:lnTo>
                      <a:lnTo>
                        <a:pt x="176441" y="408940"/>
                      </a:lnTo>
                      <a:lnTo>
                        <a:pt x="177520" y="408940"/>
                      </a:lnTo>
                      <a:lnTo>
                        <a:pt x="177393" y="410210"/>
                      </a:lnTo>
                      <a:lnTo>
                        <a:pt x="176885" y="410210"/>
                      </a:lnTo>
                      <a:lnTo>
                        <a:pt x="176415" y="411480"/>
                      </a:lnTo>
                      <a:lnTo>
                        <a:pt x="177317" y="411480"/>
                      </a:lnTo>
                      <a:lnTo>
                        <a:pt x="177838" y="411480"/>
                      </a:lnTo>
                      <a:lnTo>
                        <a:pt x="602703" y="411480"/>
                      </a:lnTo>
                      <a:lnTo>
                        <a:pt x="603669" y="410210"/>
                      </a:lnTo>
                      <a:lnTo>
                        <a:pt x="605142" y="412750"/>
                      </a:lnTo>
                      <a:lnTo>
                        <a:pt x="608939" y="412750"/>
                      </a:lnTo>
                      <a:lnTo>
                        <a:pt x="610590" y="411480"/>
                      </a:lnTo>
                      <a:lnTo>
                        <a:pt x="610146" y="411480"/>
                      </a:lnTo>
                      <a:lnTo>
                        <a:pt x="611657" y="408940"/>
                      </a:lnTo>
                      <a:lnTo>
                        <a:pt x="612762" y="406400"/>
                      </a:lnTo>
                      <a:lnTo>
                        <a:pt x="614210" y="403860"/>
                      </a:lnTo>
                      <a:lnTo>
                        <a:pt x="615492" y="401320"/>
                      </a:lnTo>
                      <a:lnTo>
                        <a:pt x="617080" y="402590"/>
                      </a:lnTo>
                      <a:lnTo>
                        <a:pt x="616432" y="402590"/>
                      </a:lnTo>
                      <a:lnTo>
                        <a:pt x="617042" y="403860"/>
                      </a:lnTo>
                      <a:lnTo>
                        <a:pt x="618248" y="402590"/>
                      </a:lnTo>
                      <a:lnTo>
                        <a:pt x="618642" y="403860"/>
                      </a:lnTo>
                      <a:lnTo>
                        <a:pt x="617321" y="405130"/>
                      </a:lnTo>
                      <a:lnTo>
                        <a:pt x="614210" y="405130"/>
                      </a:lnTo>
                      <a:lnTo>
                        <a:pt x="613156" y="406400"/>
                      </a:lnTo>
                      <a:lnTo>
                        <a:pt x="613448" y="407670"/>
                      </a:lnTo>
                      <a:lnTo>
                        <a:pt x="613232" y="408940"/>
                      </a:lnTo>
                      <a:lnTo>
                        <a:pt x="611632" y="410210"/>
                      </a:lnTo>
                      <a:lnTo>
                        <a:pt x="614705" y="410210"/>
                      </a:lnTo>
                      <a:lnTo>
                        <a:pt x="616115" y="408940"/>
                      </a:lnTo>
                      <a:lnTo>
                        <a:pt x="617664" y="408940"/>
                      </a:lnTo>
                      <a:lnTo>
                        <a:pt x="618731" y="408495"/>
                      </a:lnTo>
                      <a:lnTo>
                        <a:pt x="618769" y="407670"/>
                      </a:lnTo>
                      <a:lnTo>
                        <a:pt x="620636" y="407670"/>
                      </a:lnTo>
                      <a:lnTo>
                        <a:pt x="618731" y="408495"/>
                      </a:lnTo>
                      <a:lnTo>
                        <a:pt x="840841" y="408495"/>
                      </a:lnTo>
                      <a:lnTo>
                        <a:pt x="840651" y="407670"/>
                      </a:lnTo>
                      <a:lnTo>
                        <a:pt x="840295" y="407670"/>
                      </a:lnTo>
                      <a:lnTo>
                        <a:pt x="839800" y="406400"/>
                      </a:lnTo>
                      <a:lnTo>
                        <a:pt x="839419" y="407670"/>
                      </a:lnTo>
                      <a:lnTo>
                        <a:pt x="839254" y="406400"/>
                      </a:lnTo>
                      <a:lnTo>
                        <a:pt x="838695" y="405130"/>
                      </a:lnTo>
                      <a:lnTo>
                        <a:pt x="838962" y="403860"/>
                      </a:lnTo>
                      <a:lnTo>
                        <a:pt x="839495" y="402590"/>
                      </a:lnTo>
                      <a:lnTo>
                        <a:pt x="840701" y="397510"/>
                      </a:lnTo>
                      <a:lnTo>
                        <a:pt x="840994" y="396240"/>
                      </a:lnTo>
                      <a:lnTo>
                        <a:pt x="841476" y="393700"/>
                      </a:lnTo>
                      <a:lnTo>
                        <a:pt x="841273" y="387350"/>
                      </a:lnTo>
                      <a:lnTo>
                        <a:pt x="832916" y="387350"/>
                      </a:lnTo>
                      <a:lnTo>
                        <a:pt x="832319" y="386080"/>
                      </a:lnTo>
                      <a:lnTo>
                        <a:pt x="832040" y="386080"/>
                      </a:lnTo>
                      <a:lnTo>
                        <a:pt x="831811" y="387350"/>
                      </a:lnTo>
                      <a:lnTo>
                        <a:pt x="831405" y="387350"/>
                      </a:lnTo>
                      <a:lnTo>
                        <a:pt x="831570" y="386080"/>
                      </a:lnTo>
                      <a:lnTo>
                        <a:pt x="831291" y="384810"/>
                      </a:lnTo>
                      <a:lnTo>
                        <a:pt x="822807" y="384810"/>
                      </a:lnTo>
                      <a:lnTo>
                        <a:pt x="820762" y="383540"/>
                      </a:lnTo>
                      <a:lnTo>
                        <a:pt x="820369" y="383540"/>
                      </a:lnTo>
                      <a:lnTo>
                        <a:pt x="820381" y="384810"/>
                      </a:lnTo>
                      <a:lnTo>
                        <a:pt x="822159" y="384810"/>
                      </a:lnTo>
                      <a:lnTo>
                        <a:pt x="822185" y="386080"/>
                      </a:lnTo>
                      <a:lnTo>
                        <a:pt x="822375" y="386080"/>
                      </a:lnTo>
                      <a:lnTo>
                        <a:pt x="822477" y="387350"/>
                      </a:lnTo>
                      <a:lnTo>
                        <a:pt x="821728" y="386080"/>
                      </a:lnTo>
                      <a:lnTo>
                        <a:pt x="820343" y="386080"/>
                      </a:lnTo>
                      <a:lnTo>
                        <a:pt x="815149" y="384810"/>
                      </a:lnTo>
                      <a:lnTo>
                        <a:pt x="814273" y="384810"/>
                      </a:lnTo>
                      <a:lnTo>
                        <a:pt x="813803" y="383540"/>
                      </a:lnTo>
                      <a:lnTo>
                        <a:pt x="811415" y="383540"/>
                      </a:lnTo>
                      <a:lnTo>
                        <a:pt x="810247" y="384810"/>
                      </a:lnTo>
                      <a:lnTo>
                        <a:pt x="810806" y="383540"/>
                      </a:lnTo>
                      <a:lnTo>
                        <a:pt x="809117" y="384810"/>
                      </a:lnTo>
                      <a:lnTo>
                        <a:pt x="805434" y="384810"/>
                      </a:lnTo>
                      <a:lnTo>
                        <a:pt x="802957" y="383540"/>
                      </a:lnTo>
                      <a:lnTo>
                        <a:pt x="801331" y="383540"/>
                      </a:lnTo>
                      <a:lnTo>
                        <a:pt x="798830" y="384810"/>
                      </a:lnTo>
                      <a:lnTo>
                        <a:pt x="798271" y="386080"/>
                      </a:lnTo>
                      <a:lnTo>
                        <a:pt x="797775" y="387350"/>
                      </a:lnTo>
                      <a:lnTo>
                        <a:pt x="797052" y="387350"/>
                      </a:lnTo>
                      <a:lnTo>
                        <a:pt x="797280" y="386080"/>
                      </a:lnTo>
                      <a:lnTo>
                        <a:pt x="797534" y="386080"/>
                      </a:lnTo>
                      <a:lnTo>
                        <a:pt x="797979" y="384810"/>
                      </a:lnTo>
                      <a:lnTo>
                        <a:pt x="798817" y="384810"/>
                      </a:lnTo>
                      <a:lnTo>
                        <a:pt x="798893" y="383540"/>
                      </a:lnTo>
                      <a:lnTo>
                        <a:pt x="800125" y="383540"/>
                      </a:lnTo>
                      <a:lnTo>
                        <a:pt x="799998" y="382270"/>
                      </a:lnTo>
                      <a:lnTo>
                        <a:pt x="796912" y="380936"/>
                      </a:lnTo>
                      <a:lnTo>
                        <a:pt x="796912" y="387350"/>
                      </a:lnTo>
                      <a:lnTo>
                        <a:pt x="796709" y="388620"/>
                      </a:lnTo>
                      <a:lnTo>
                        <a:pt x="796099" y="389890"/>
                      </a:lnTo>
                      <a:lnTo>
                        <a:pt x="795921" y="389890"/>
                      </a:lnTo>
                      <a:lnTo>
                        <a:pt x="796112" y="387350"/>
                      </a:lnTo>
                      <a:lnTo>
                        <a:pt x="796912" y="387350"/>
                      </a:lnTo>
                      <a:lnTo>
                        <a:pt x="796912" y="380936"/>
                      </a:lnTo>
                      <a:lnTo>
                        <a:pt x="794131" y="379730"/>
                      </a:lnTo>
                      <a:lnTo>
                        <a:pt x="776503" y="372110"/>
                      </a:lnTo>
                      <a:lnTo>
                        <a:pt x="775779" y="372110"/>
                      </a:lnTo>
                      <a:lnTo>
                        <a:pt x="774788" y="370840"/>
                      </a:lnTo>
                      <a:lnTo>
                        <a:pt x="774293" y="370840"/>
                      </a:lnTo>
                      <a:lnTo>
                        <a:pt x="773925" y="372110"/>
                      </a:lnTo>
                      <a:lnTo>
                        <a:pt x="773531" y="370840"/>
                      </a:lnTo>
                      <a:lnTo>
                        <a:pt x="769594" y="370840"/>
                      </a:lnTo>
                      <a:lnTo>
                        <a:pt x="768057" y="369570"/>
                      </a:lnTo>
                      <a:lnTo>
                        <a:pt x="768769" y="370840"/>
                      </a:lnTo>
                      <a:lnTo>
                        <a:pt x="767181" y="370840"/>
                      </a:lnTo>
                      <a:lnTo>
                        <a:pt x="765581" y="369570"/>
                      </a:lnTo>
                      <a:lnTo>
                        <a:pt x="764476" y="369570"/>
                      </a:lnTo>
                      <a:lnTo>
                        <a:pt x="764044" y="368300"/>
                      </a:lnTo>
                      <a:lnTo>
                        <a:pt x="762850" y="365760"/>
                      </a:lnTo>
                      <a:lnTo>
                        <a:pt x="763270" y="365760"/>
                      </a:lnTo>
                      <a:lnTo>
                        <a:pt x="761580" y="363220"/>
                      </a:lnTo>
                      <a:lnTo>
                        <a:pt x="761098" y="363220"/>
                      </a:lnTo>
                      <a:lnTo>
                        <a:pt x="759968" y="361950"/>
                      </a:lnTo>
                      <a:lnTo>
                        <a:pt x="759587" y="361950"/>
                      </a:lnTo>
                      <a:lnTo>
                        <a:pt x="759548" y="360680"/>
                      </a:lnTo>
                      <a:lnTo>
                        <a:pt x="759256" y="360680"/>
                      </a:lnTo>
                      <a:lnTo>
                        <a:pt x="744867" y="353060"/>
                      </a:lnTo>
                      <a:lnTo>
                        <a:pt x="735139" y="350520"/>
                      </a:lnTo>
                      <a:lnTo>
                        <a:pt x="730275" y="349250"/>
                      </a:lnTo>
                      <a:lnTo>
                        <a:pt x="730275" y="347980"/>
                      </a:lnTo>
                      <a:lnTo>
                        <a:pt x="729919" y="349250"/>
                      </a:lnTo>
                      <a:lnTo>
                        <a:pt x="724001" y="346710"/>
                      </a:lnTo>
                      <a:lnTo>
                        <a:pt x="718337" y="342900"/>
                      </a:lnTo>
                      <a:lnTo>
                        <a:pt x="712089" y="345440"/>
                      </a:lnTo>
                      <a:lnTo>
                        <a:pt x="710488" y="345440"/>
                      </a:lnTo>
                      <a:lnTo>
                        <a:pt x="704202" y="347980"/>
                      </a:lnTo>
                      <a:lnTo>
                        <a:pt x="696315" y="350151"/>
                      </a:lnTo>
                      <a:lnTo>
                        <a:pt x="697103" y="349250"/>
                      </a:lnTo>
                      <a:lnTo>
                        <a:pt x="697649" y="347980"/>
                      </a:lnTo>
                      <a:lnTo>
                        <a:pt x="694651" y="347980"/>
                      </a:lnTo>
                      <a:lnTo>
                        <a:pt x="693407" y="348526"/>
                      </a:lnTo>
                      <a:lnTo>
                        <a:pt x="696468" y="345440"/>
                      </a:lnTo>
                      <a:lnTo>
                        <a:pt x="694905" y="339090"/>
                      </a:lnTo>
                      <a:lnTo>
                        <a:pt x="693864" y="337820"/>
                      </a:lnTo>
                      <a:lnTo>
                        <a:pt x="692696" y="335280"/>
                      </a:lnTo>
                      <a:lnTo>
                        <a:pt x="692200" y="334010"/>
                      </a:lnTo>
                      <a:lnTo>
                        <a:pt x="691540" y="332740"/>
                      </a:lnTo>
                      <a:lnTo>
                        <a:pt x="690854" y="332740"/>
                      </a:lnTo>
                      <a:lnTo>
                        <a:pt x="690537" y="331470"/>
                      </a:lnTo>
                      <a:lnTo>
                        <a:pt x="690956" y="331470"/>
                      </a:lnTo>
                      <a:lnTo>
                        <a:pt x="690422" y="328930"/>
                      </a:lnTo>
                      <a:lnTo>
                        <a:pt x="690245" y="327799"/>
                      </a:lnTo>
                      <a:lnTo>
                        <a:pt x="690118" y="327469"/>
                      </a:lnTo>
                      <a:lnTo>
                        <a:pt x="688860" y="325120"/>
                      </a:lnTo>
                      <a:lnTo>
                        <a:pt x="688301" y="323850"/>
                      </a:lnTo>
                      <a:lnTo>
                        <a:pt x="687743" y="322580"/>
                      </a:lnTo>
                      <a:lnTo>
                        <a:pt x="686409" y="320040"/>
                      </a:lnTo>
                      <a:lnTo>
                        <a:pt x="686015" y="318770"/>
                      </a:lnTo>
                      <a:lnTo>
                        <a:pt x="685025" y="313690"/>
                      </a:lnTo>
                      <a:lnTo>
                        <a:pt x="684009" y="313690"/>
                      </a:lnTo>
                      <a:lnTo>
                        <a:pt x="673150" y="313690"/>
                      </a:lnTo>
                      <a:lnTo>
                        <a:pt x="671144" y="313690"/>
                      </a:lnTo>
                      <a:lnTo>
                        <a:pt x="669823" y="316230"/>
                      </a:lnTo>
                      <a:lnTo>
                        <a:pt x="669645" y="316230"/>
                      </a:lnTo>
                      <a:lnTo>
                        <a:pt x="669671" y="320040"/>
                      </a:lnTo>
                      <a:lnTo>
                        <a:pt x="669328" y="321310"/>
                      </a:lnTo>
                      <a:lnTo>
                        <a:pt x="667842" y="323850"/>
                      </a:lnTo>
                      <a:lnTo>
                        <a:pt x="668007" y="322580"/>
                      </a:lnTo>
                      <a:lnTo>
                        <a:pt x="668616" y="320040"/>
                      </a:lnTo>
                      <a:lnTo>
                        <a:pt x="668832" y="317500"/>
                      </a:lnTo>
                      <a:lnTo>
                        <a:pt x="668553" y="317500"/>
                      </a:lnTo>
                      <a:lnTo>
                        <a:pt x="669163" y="314960"/>
                      </a:lnTo>
                      <a:lnTo>
                        <a:pt x="670102" y="314960"/>
                      </a:lnTo>
                      <a:lnTo>
                        <a:pt x="670052" y="312420"/>
                      </a:lnTo>
                      <a:lnTo>
                        <a:pt x="670026" y="311150"/>
                      </a:lnTo>
                      <a:lnTo>
                        <a:pt x="669493" y="312420"/>
                      </a:lnTo>
                      <a:lnTo>
                        <a:pt x="665568" y="312420"/>
                      </a:lnTo>
                      <a:lnTo>
                        <a:pt x="662978" y="311150"/>
                      </a:lnTo>
                      <a:lnTo>
                        <a:pt x="658571" y="307340"/>
                      </a:lnTo>
                      <a:lnTo>
                        <a:pt x="659168" y="306070"/>
                      </a:lnTo>
                      <a:lnTo>
                        <a:pt x="661212" y="306070"/>
                      </a:lnTo>
                      <a:lnTo>
                        <a:pt x="662127" y="304800"/>
                      </a:lnTo>
                      <a:lnTo>
                        <a:pt x="661771" y="303530"/>
                      </a:lnTo>
                      <a:lnTo>
                        <a:pt x="662139" y="300990"/>
                      </a:lnTo>
                      <a:lnTo>
                        <a:pt x="662698" y="300990"/>
                      </a:lnTo>
                      <a:lnTo>
                        <a:pt x="662381" y="298450"/>
                      </a:lnTo>
                      <a:lnTo>
                        <a:pt x="661657" y="297180"/>
                      </a:lnTo>
                      <a:lnTo>
                        <a:pt x="661543" y="294995"/>
                      </a:lnTo>
                      <a:lnTo>
                        <a:pt x="661631" y="293370"/>
                      </a:lnTo>
                      <a:lnTo>
                        <a:pt x="661847" y="290830"/>
                      </a:lnTo>
                      <a:lnTo>
                        <a:pt x="661517" y="288290"/>
                      </a:lnTo>
                      <a:lnTo>
                        <a:pt x="661555" y="287020"/>
                      </a:lnTo>
                      <a:lnTo>
                        <a:pt x="662470" y="287020"/>
                      </a:lnTo>
                      <a:lnTo>
                        <a:pt x="663663" y="280670"/>
                      </a:lnTo>
                      <a:lnTo>
                        <a:pt x="664197" y="278130"/>
                      </a:lnTo>
                      <a:lnTo>
                        <a:pt x="664464" y="276860"/>
                      </a:lnTo>
                      <a:lnTo>
                        <a:pt x="662863" y="275590"/>
                      </a:lnTo>
                      <a:lnTo>
                        <a:pt x="661746" y="275590"/>
                      </a:lnTo>
                      <a:lnTo>
                        <a:pt x="662470" y="274320"/>
                      </a:lnTo>
                      <a:lnTo>
                        <a:pt x="663054" y="275590"/>
                      </a:lnTo>
                      <a:lnTo>
                        <a:pt x="663816" y="275590"/>
                      </a:lnTo>
                      <a:lnTo>
                        <a:pt x="665695" y="274320"/>
                      </a:lnTo>
                      <a:lnTo>
                        <a:pt x="666292" y="270510"/>
                      </a:lnTo>
                      <a:lnTo>
                        <a:pt x="667308" y="269240"/>
                      </a:lnTo>
                      <a:lnTo>
                        <a:pt x="668312" y="267970"/>
                      </a:lnTo>
                      <a:lnTo>
                        <a:pt x="669074" y="266700"/>
                      </a:lnTo>
                      <a:lnTo>
                        <a:pt x="671283" y="264160"/>
                      </a:lnTo>
                      <a:lnTo>
                        <a:pt x="673201" y="262890"/>
                      </a:lnTo>
                      <a:lnTo>
                        <a:pt x="672414" y="262890"/>
                      </a:lnTo>
                      <a:lnTo>
                        <a:pt x="672490" y="260350"/>
                      </a:lnTo>
                      <a:lnTo>
                        <a:pt x="673379" y="260350"/>
                      </a:lnTo>
                      <a:lnTo>
                        <a:pt x="671601" y="257810"/>
                      </a:lnTo>
                      <a:lnTo>
                        <a:pt x="675449" y="257810"/>
                      </a:lnTo>
                      <a:lnTo>
                        <a:pt x="675093" y="256540"/>
                      </a:lnTo>
                      <a:lnTo>
                        <a:pt x="674725" y="255270"/>
                      </a:lnTo>
                      <a:lnTo>
                        <a:pt x="673290" y="256540"/>
                      </a:lnTo>
                      <a:lnTo>
                        <a:pt x="673506" y="255270"/>
                      </a:lnTo>
                      <a:lnTo>
                        <a:pt x="673709" y="254000"/>
                      </a:lnTo>
                      <a:lnTo>
                        <a:pt x="674839" y="252730"/>
                      </a:lnTo>
                      <a:lnTo>
                        <a:pt x="676757" y="252730"/>
                      </a:lnTo>
                      <a:lnTo>
                        <a:pt x="677227" y="251460"/>
                      </a:lnTo>
                      <a:lnTo>
                        <a:pt x="679335" y="250190"/>
                      </a:lnTo>
                      <a:lnTo>
                        <a:pt x="681113" y="250190"/>
                      </a:lnTo>
                      <a:lnTo>
                        <a:pt x="682739" y="248920"/>
                      </a:lnTo>
                      <a:lnTo>
                        <a:pt x="683768" y="248920"/>
                      </a:lnTo>
                      <a:lnTo>
                        <a:pt x="683958" y="247650"/>
                      </a:lnTo>
                      <a:lnTo>
                        <a:pt x="682269" y="247650"/>
                      </a:lnTo>
                      <a:lnTo>
                        <a:pt x="682218" y="246380"/>
                      </a:lnTo>
                      <a:lnTo>
                        <a:pt x="681520" y="246380"/>
                      </a:lnTo>
                      <a:lnTo>
                        <a:pt x="681520" y="248920"/>
                      </a:lnTo>
                      <a:lnTo>
                        <a:pt x="681291" y="248920"/>
                      </a:lnTo>
                      <a:lnTo>
                        <a:pt x="680872" y="247650"/>
                      </a:lnTo>
                      <a:lnTo>
                        <a:pt x="681520" y="248920"/>
                      </a:lnTo>
                      <a:lnTo>
                        <a:pt x="681520" y="246380"/>
                      </a:lnTo>
                      <a:lnTo>
                        <a:pt x="680072" y="246380"/>
                      </a:lnTo>
                      <a:lnTo>
                        <a:pt x="680224" y="245110"/>
                      </a:lnTo>
                      <a:lnTo>
                        <a:pt x="679030" y="245110"/>
                      </a:lnTo>
                      <a:lnTo>
                        <a:pt x="678726" y="243840"/>
                      </a:lnTo>
                      <a:lnTo>
                        <a:pt x="680275" y="243840"/>
                      </a:lnTo>
                      <a:lnTo>
                        <a:pt x="681532" y="245110"/>
                      </a:lnTo>
                      <a:lnTo>
                        <a:pt x="682332" y="245110"/>
                      </a:lnTo>
                      <a:lnTo>
                        <a:pt x="681964" y="243840"/>
                      </a:lnTo>
                      <a:lnTo>
                        <a:pt x="683285" y="243840"/>
                      </a:lnTo>
                      <a:lnTo>
                        <a:pt x="682447" y="242570"/>
                      </a:lnTo>
                      <a:lnTo>
                        <a:pt x="681736" y="242570"/>
                      </a:lnTo>
                      <a:lnTo>
                        <a:pt x="682650" y="241300"/>
                      </a:lnTo>
                      <a:lnTo>
                        <a:pt x="683755" y="241300"/>
                      </a:lnTo>
                      <a:lnTo>
                        <a:pt x="684237" y="242570"/>
                      </a:lnTo>
                      <a:lnTo>
                        <a:pt x="685050" y="241300"/>
                      </a:lnTo>
                      <a:lnTo>
                        <a:pt x="686981" y="241300"/>
                      </a:lnTo>
                      <a:lnTo>
                        <a:pt x="688251" y="240030"/>
                      </a:lnTo>
                      <a:lnTo>
                        <a:pt x="686587" y="240030"/>
                      </a:lnTo>
                      <a:lnTo>
                        <a:pt x="685126" y="238760"/>
                      </a:lnTo>
                      <a:lnTo>
                        <a:pt x="691769" y="238760"/>
                      </a:lnTo>
                      <a:lnTo>
                        <a:pt x="688467" y="236220"/>
                      </a:lnTo>
                      <a:lnTo>
                        <a:pt x="688797" y="236220"/>
                      </a:lnTo>
                      <a:lnTo>
                        <a:pt x="692073" y="237490"/>
                      </a:lnTo>
                      <a:lnTo>
                        <a:pt x="692785" y="240030"/>
                      </a:lnTo>
                      <a:lnTo>
                        <a:pt x="694766" y="240030"/>
                      </a:lnTo>
                      <a:lnTo>
                        <a:pt x="692683" y="238760"/>
                      </a:lnTo>
                      <a:lnTo>
                        <a:pt x="693585" y="237490"/>
                      </a:lnTo>
                      <a:lnTo>
                        <a:pt x="692264" y="234950"/>
                      </a:lnTo>
                      <a:lnTo>
                        <a:pt x="689381" y="234950"/>
                      </a:lnTo>
                      <a:lnTo>
                        <a:pt x="692543" y="232410"/>
                      </a:lnTo>
                      <a:lnTo>
                        <a:pt x="694563" y="233680"/>
                      </a:lnTo>
                      <a:lnTo>
                        <a:pt x="694436" y="231140"/>
                      </a:lnTo>
                      <a:lnTo>
                        <a:pt x="693610" y="232410"/>
                      </a:lnTo>
                      <a:lnTo>
                        <a:pt x="693407" y="229870"/>
                      </a:lnTo>
                      <a:lnTo>
                        <a:pt x="695388" y="229870"/>
                      </a:lnTo>
                      <a:lnTo>
                        <a:pt x="694334" y="231140"/>
                      </a:lnTo>
                      <a:lnTo>
                        <a:pt x="696760" y="231140"/>
                      </a:lnTo>
                      <a:lnTo>
                        <a:pt x="697623" y="229870"/>
                      </a:lnTo>
                      <a:lnTo>
                        <a:pt x="699211" y="229870"/>
                      </a:lnTo>
                      <a:lnTo>
                        <a:pt x="699084" y="231140"/>
                      </a:lnTo>
                      <a:lnTo>
                        <a:pt x="700278" y="231140"/>
                      </a:lnTo>
                      <a:lnTo>
                        <a:pt x="703262" y="229870"/>
                      </a:lnTo>
                      <a:lnTo>
                        <a:pt x="703440" y="228600"/>
                      </a:lnTo>
                      <a:lnTo>
                        <a:pt x="698474" y="228600"/>
                      </a:lnTo>
                      <a:lnTo>
                        <a:pt x="692975" y="224790"/>
                      </a:lnTo>
                      <a:lnTo>
                        <a:pt x="698754" y="224790"/>
                      </a:lnTo>
                      <a:lnTo>
                        <a:pt x="699782" y="223520"/>
                      </a:lnTo>
                      <a:lnTo>
                        <a:pt x="702729" y="224790"/>
                      </a:lnTo>
                      <a:lnTo>
                        <a:pt x="707491" y="224790"/>
                      </a:lnTo>
                      <a:lnTo>
                        <a:pt x="709142" y="226060"/>
                      </a:lnTo>
                      <a:lnTo>
                        <a:pt x="712114" y="224790"/>
                      </a:lnTo>
                      <a:lnTo>
                        <a:pt x="712978" y="223520"/>
                      </a:lnTo>
                      <a:lnTo>
                        <a:pt x="714794" y="222250"/>
                      </a:lnTo>
                      <a:lnTo>
                        <a:pt x="715695" y="222250"/>
                      </a:lnTo>
                      <a:lnTo>
                        <a:pt x="718159" y="220980"/>
                      </a:lnTo>
                      <a:lnTo>
                        <a:pt x="720623" y="219710"/>
                      </a:lnTo>
                      <a:lnTo>
                        <a:pt x="720966" y="218440"/>
                      </a:lnTo>
                      <a:lnTo>
                        <a:pt x="720483" y="215900"/>
                      </a:lnTo>
                      <a:lnTo>
                        <a:pt x="720267" y="213360"/>
                      </a:lnTo>
                      <a:lnTo>
                        <a:pt x="720839" y="213360"/>
                      </a:lnTo>
                      <a:lnTo>
                        <a:pt x="718781" y="212090"/>
                      </a:lnTo>
                      <a:lnTo>
                        <a:pt x="716737" y="211023"/>
                      </a:lnTo>
                      <a:lnTo>
                        <a:pt x="716330" y="210820"/>
                      </a:lnTo>
                      <a:lnTo>
                        <a:pt x="714819" y="209550"/>
                      </a:lnTo>
                      <a:lnTo>
                        <a:pt x="710628" y="209550"/>
                      </a:lnTo>
                      <a:lnTo>
                        <a:pt x="709523" y="208280"/>
                      </a:lnTo>
                      <a:lnTo>
                        <a:pt x="707745" y="208280"/>
                      </a:lnTo>
                      <a:lnTo>
                        <a:pt x="707263" y="207010"/>
                      </a:lnTo>
                      <a:lnTo>
                        <a:pt x="707491" y="207010"/>
                      </a:lnTo>
                      <a:lnTo>
                        <a:pt x="705942" y="204470"/>
                      </a:lnTo>
                      <a:lnTo>
                        <a:pt x="705650" y="203974"/>
                      </a:lnTo>
                      <a:lnTo>
                        <a:pt x="705650" y="203200"/>
                      </a:lnTo>
                      <a:lnTo>
                        <a:pt x="706539" y="203200"/>
                      </a:lnTo>
                      <a:lnTo>
                        <a:pt x="706031" y="204470"/>
                      </a:lnTo>
                      <a:lnTo>
                        <a:pt x="708850" y="204470"/>
                      </a:lnTo>
                      <a:lnTo>
                        <a:pt x="710399" y="205740"/>
                      </a:lnTo>
                      <a:lnTo>
                        <a:pt x="710158" y="205740"/>
                      </a:lnTo>
                      <a:lnTo>
                        <a:pt x="711822" y="207010"/>
                      </a:lnTo>
                      <a:lnTo>
                        <a:pt x="715467" y="207010"/>
                      </a:lnTo>
                      <a:lnTo>
                        <a:pt x="716534" y="208280"/>
                      </a:lnTo>
                      <a:lnTo>
                        <a:pt x="718807" y="208280"/>
                      </a:lnTo>
                      <a:lnTo>
                        <a:pt x="722731" y="207010"/>
                      </a:lnTo>
                      <a:lnTo>
                        <a:pt x="722210" y="205740"/>
                      </a:lnTo>
                      <a:lnTo>
                        <a:pt x="720178" y="205740"/>
                      </a:lnTo>
                      <a:lnTo>
                        <a:pt x="721804" y="204470"/>
                      </a:lnTo>
                      <a:lnTo>
                        <a:pt x="722299" y="205740"/>
                      </a:lnTo>
                      <a:lnTo>
                        <a:pt x="723963" y="207010"/>
                      </a:lnTo>
                      <a:lnTo>
                        <a:pt x="724484" y="207010"/>
                      </a:lnTo>
                      <a:lnTo>
                        <a:pt x="727189" y="205740"/>
                      </a:lnTo>
                      <a:lnTo>
                        <a:pt x="730580" y="204470"/>
                      </a:lnTo>
                      <a:lnTo>
                        <a:pt x="730745" y="203200"/>
                      </a:lnTo>
                      <a:lnTo>
                        <a:pt x="730910" y="201930"/>
                      </a:lnTo>
                      <a:lnTo>
                        <a:pt x="730046" y="201930"/>
                      </a:lnTo>
                      <a:lnTo>
                        <a:pt x="729348" y="200660"/>
                      </a:lnTo>
                      <a:lnTo>
                        <a:pt x="728992" y="200660"/>
                      </a:lnTo>
                      <a:lnTo>
                        <a:pt x="728218" y="199390"/>
                      </a:lnTo>
                      <a:lnTo>
                        <a:pt x="727125" y="198120"/>
                      </a:lnTo>
                      <a:lnTo>
                        <a:pt x="728332" y="198120"/>
                      </a:lnTo>
                      <a:lnTo>
                        <a:pt x="729449" y="199390"/>
                      </a:lnTo>
                      <a:lnTo>
                        <a:pt x="730237" y="198120"/>
                      </a:lnTo>
                      <a:lnTo>
                        <a:pt x="730808" y="199390"/>
                      </a:lnTo>
                      <a:lnTo>
                        <a:pt x="730250" y="198120"/>
                      </a:lnTo>
                      <a:lnTo>
                        <a:pt x="731850" y="200660"/>
                      </a:lnTo>
                      <a:lnTo>
                        <a:pt x="733501" y="198120"/>
                      </a:lnTo>
                      <a:lnTo>
                        <a:pt x="731583" y="196850"/>
                      </a:lnTo>
                      <a:lnTo>
                        <a:pt x="730859" y="195580"/>
                      </a:lnTo>
                      <a:lnTo>
                        <a:pt x="730618" y="195580"/>
                      </a:lnTo>
                      <a:lnTo>
                        <a:pt x="730465" y="194310"/>
                      </a:lnTo>
                      <a:lnTo>
                        <a:pt x="733005" y="193040"/>
                      </a:lnTo>
                      <a:lnTo>
                        <a:pt x="733463" y="193040"/>
                      </a:lnTo>
                      <a:lnTo>
                        <a:pt x="734974" y="195580"/>
                      </a:lnTo>
                      <a:lnTo>
                        <a:pt x="736168" y="198120"/>
                      </a:lnTo>
                      <a:lnTo>
                        <a:pt x="737374" y="199161"/>
                      </a:lnTo>
                      <a:lnTo>
                        <a:pt x="737196" y="198120"/>
                      </a:lnTo>
                      <a:lnTo>
                        <a:pt x="750747" y="198120"/>
                      </a:lnTo>
                      <a:lnTo>
                        <a:pt x="755891" y="195580"/>
                      </a:lnTo>
                      <a:lnTo>
                        <a:pt x="758304" y="194310"/>
                      </a:lnTo>
                      <a:lnTo>
                        <a:pt x="759231" y="193040"/>
                      </a:lnTo>
                      <a:lnTo>
                        <a:pt x="758431" y="193040"/>
                      </a:lnTo>
                      <a:lnTo>
                        <a:pt x="758952" y="191770"/>
                      </a:lnTo>
                      <a:lnTo>
                        <a:pt x="759421" y="191770"/>
                      </a:lnTo>
                      <a:lnTo>
                        <a:pt x="760437" y="190500"/>
                      </a:lnTo>
                      <a:lnTo>
                        <a:pt x="760793" y="189230"/>
                      </a:lnTo>
                      <a:lnTo>
                        <a:pt x="763651" y="186690"/>
                      </a:lnTo>
                      <a:lnTo>
                        <a:pt x="766229" y="184150"/>
                      </a:lnTo>
                      <a:lnTo>
                        <a:pt x="769378" y="180340"/>
                      </a:lnTo>
                      <a:lnTo>
                        <a:pt x="770026" y="179070"/>
                      </a:lnTo>
                      <a:lnTo>
                        <a:pt x="771423" y="176530"/>
                      </a:lnTo>
                      <a:lnTo>
                        <a:pt x="774128" y="172720"/>
                      </a:lnTo>
                      <a:lnTo>
                        <a:pt x="773836" y="170180"/>
                      </a:lnTo>
                      <a:lnTo>
                        <a:pt x="771499" y="168910"/>
                      </a:lnTo>
                      <a:lnTo>
                        <a:pt x="751624" y="168910"/>
                      </a:lnTo>
                      <a:lnTo>
                        <a:pt x="748830" y="167640"/>
                      </a:lnTo>
                      <a:lnTo>
                        <a:pt x="744004" y="167640"/>
                      </a:lnTo>
                      <a:lnTo>
                        <a:pt x="742492" y="166370"/>
                      </a:lnTo>
                      <a:lnTo>
                        <a:pt x="742340" y="165100"/>
                      </a:lnTo>
                      <a:lnTo>
                        <a:pt x="740968" y="163830"/>
                      </a:lnTo>
                      <a:lnTo>
                        <a:pt x="739990" y="163830"/>
                      </a:lnTo>
                      <a:lnTo>
                        <a:pt x="738517" y="162560"/>
                      </a:lnTo>
                      <a:lnTo>
                        <a:pt x="738403" y="161290"/>
                      </a:lnTo>
                      <a:lnTo>
                        <a:pt x="736930" y="160020"/>
                      </a:lnTo>
                      <a:lnTo>
                        <a:pt x="736104" y="160020"/>
                      </a:lnTo>
                      <a:lnTo>
                        <a:pt x="734339" y="158750"/>
                      </a:lnTo>
                      <a:lnTo>
                        <a:pt x="733488" y="157480"/>
                      </a:lnTo>
                      <a:lnTo>
                        <a:pt x="730275" y="156210"/>
                      </a:lnTo>
                      <a:lnTo>
                        <a:pt x="730123" y="156210"/>
                      </a:lnTo>
                      <a:lnTo>
                        <a:pt x="723036" y="154940"/>
                      </a:lnTo>
                      <a:lnTo>
                        <a:pt x="715949" y="153670"/>
                      </a:lnTo>
                      <a:lnTo>
                        <a:pt x="723112" y="153670"/>
                      </a:lnTo>
                      <a:lnTo>
                        <a:pt x="723506" y="154940"/>
                      </a:lnTo>
                      <a:lnTo>
                        <a:pt x="726427" y="154940"/>
                      </a:lnTo>
                      <a:lnTo>
                        <a:pt x="728268" y="153670"/>
                      </a:lnTo>
                      <a:lnTo>
                        <a:pt x="730275" y="154940"/>
                      </a:lnTo>
                      <a:lnTo>
                        <a:pt x="734212" y="153670"/>
                      </a:lnTo>
                      <a:lnTo>
                        <a:pt x="736079" y="152400"/>
                      </a:lnTo>
                      <a:lnTo>
                        <a:pt x="739444" y="154940"/>
                      </a:lnTo>
                      <a:lnTo>
                        <a:pt x="744778" y="157480"/>
                      </a:lnTo>
                      <a:lnTo>
                        <a:pt x="749795" y="158750"/>
                      </a:lnTo>
                      <a:lnTo>
                        <a:pt x="753021" y="160020"/>
                      </a:lnTo>
                      <a:lnTo>
                        <a:pt x="751954" y="161290"/>
                      </a:lnTo>
                      <a:lnTo>
                        <a:pt x="748614" y="160020"/>
                      </a:lnTo>
                      <a:lnTo>
                        <a:pt x="751636" y="162560"/>
                      </a:lnTo>
                      <a:lnTo>
                        <a:pt x="754951" y="165100"/>
                      </a:lnTo>
                      <a:lnTo>
                        <a:pt x="760628" y="167640"/>
                      </a:lnTo>
                      <a:lnTo>
                        <a:pt x="768273" y="167640"/>
                      </a:lnTo>
                      <a:lnTo>
                        <a:pt x="771639" y="166370"/>
                      </a:lnTo>
                      <a:lnTo>
                        <a:pt x="772566" y="165100"/>
                      </a:lnTo>
                      <a:lnTo>
                        <a:pt x="770839" y="165100"/>
                      </a:lnTo>
                      <a:lnTo>
                        <a:pt x="772426" y="163830"/>
                      </a:lnTo>
                      <a:lnTo>
                        <a:pt x="772947" y="163830"/>
                      </a:lnTo>
                      <a:lnTo>
                        <a:pt x="774903" y="162560"/>
                      </a:lnTo>
                      <a:lnTo>
                        <a:pt x="776592" y="161290"/>
                      </a:lnTo>
                      <a:lnTo>
                        <a:pt x="778281" y="160020"/>
                      </a:lnTo>
                      <a:lnTo>
                        <a:pt x="780643" y="158750"/>
                      </a:lnTo>
                      <a:lnTo>
                        <a:pt x="781291" y="156210"/>
                      </a:lnTo>
                      <a:lnTo>
                        <a:pt x="780161" y="156210"/>
                      </a:lnTo>
                      <a:lnTo>
                        <a:pt x="782078" y="153670"/>
                      </a:lnTo>
                      <a:lnTo>
                        <a:pt x="784263" y="152400"/>
                      </a:lnTo>
                      <a:lnTo>
                        <a:pt x="786714" y="151130"/>
                      </a:lnTo>
                      <a:lnTo>
                        <a:pt x="787323" y="151130"/>
                      </a:lnTo>
                      <a:lnTo>
                        <a:pt x="787996" y="149860"/>
                      </a:lnTo>
                      <a:lnTo>
                        <a:pt x="787234" y="149860"/>
                      </a:lnTo>
                      <a:lnTo>
                        <a:pt x="787692" y="148590"/>
                      </a:lnTo>
                      <a:lnTo>
                        <a:pt x="789051" y="148590"/>
                      </a:lnTo>
                      <a:lnTo>
                        <a:pt x="788822" y="146050"/>
                      </a:lnTo>
                      <a:lnTo>
                        <a:pt x="781634" y="144780"/>
                      </a:lnTo>
                      <a:lnTo>
                        <a:pt x="779411" y="144780"/>
                      </a:lnTo>
                      <a:lnTo>
                        <a:pt x="777379" y="143510"/>
                      </a:lnTo>
                      <a:lnTo>
                        <a:pt x="776986" y="142240"/>
                      </a:lnTo>
                      <a:lnTo>
                        <a:pt x="779691" y="138430"/>
                      </a:lnTo>
                      <a:lnTo>
                        <a:pt x="780440" y="138430"/>
                      </a:lnTo>
                      <a:lnTo>
                        <a:pt x="780770" y="137160"/>
                      </a:lnTo>
                      <a:lnTo>
                        <a:pt x="782281" y="135890"/>
                      </a:lnTo>
                      <a:lnTo>
                        <a:pt x="785952" y="135890"/>
                      </a:lnTo>
                      <a:lnTo>
                        <a:pt x="787387" y="137160"/>
                      </a:lnTo>
                      <a:lnTo>
                        <a:pt x="787857" y="138430"/>
                      </a:lnTo>
                      <a:lnTo>
                        <a:pt x="796429" y="138430"/>
                      </a:lnTo>
                      <a:lnTo>
                        <a:pt x="797166" y="140970"/>
                      </a:lnTo>
                      <a:lnTo>
                        <a:pt x="797623" y="143510"/>
                      </a:lnTo>
                      <a:lnTo>
                        <a:pt x="798766" y="143510"/>
                      </a:lnTo>
                      <a:lnTo>
                        <a:pt x="799388" y="144780"/>
                      </a:lnTo>
                      <a:lnTo>
                        <a:pt x="799363" y="146050"/>
                      </a:lnTo>
                      <a:lnTo>
                        <a:pt x="799439" y="147320"/>
                      </a:lnTo>
                      <a:lnTo>
                        <a:pt x="799973" y="149860"/>
                      </a:lnTo>
                      <a:lnTo>
                        <a:pt x="803478" y="152400"/>
                      </a:lnTo>
                      <a:lnTo>
                        <a:pt x="803262" y="152400"/>
                      </a:lnTo>
                      <a:lnTo>
                        <a:pt x="804418" y="153670"/>
                      </a:lnTo>
                      <a:lnTo>
                        <a:pt x="804608" y="154940"/>
                      </a:lnTo>
                      <a:lnTo>
                        <a:pt x="810094" y="154940"/>
                      </a:lnTo>
                      <a:lnTo>
                        <a:pt x="806335" y="148590"/>
                      </a:lnTo>
                      <a:lnTo>
                        <a:pt x="804252" y="146050"/>
                      </a:lnTo>
                      <a:lnTo>
                        <a:pt x="806424" y="146050"/>
                      </a:lnTo>
                      <a:lnTo>
                        <a:pt x="808621" y="147320"/>
                      </a:lnTo>
                      <a:lnTo>
                        <a:pt x="810806" y="147320"/>
                      </a:lnTo>
                      <a:lnTo>
                        <a:pt x="810348" y="144780"/>
                      </a:lnTo>
                      <a:lnTo>
                        <a:pt x="807059" y="146050"/>
                      </a:lnTo>
                      <a:lnTo>
                        <a:pt x="808977" y="142240"/>
                      </a:lnTo>
                      <a:lnTo>
                        <a:pt x="809218" y="142240"/>
                      </a:lnTo>
                      <a:lnTo>
                        <a:pt x="809752" y="143510"/>
                      </a:lnTo>
                      <a:lnTo>
                        <a:pt x="811288" y="143510"/>
                      </a:lnTo>
                      <a:lnTo>
                        <a:pt x="812673" y="144780"/>
                      </a:lnTo>
                      <a:lnTo>
                        <a:pt x="814438" y="146050"/>
                      </a:lnTo>
                      <a:lnTo>
                        <a:pt x="814793" y="149860"/>
                      </a:lnTo>
                      <a:lnTo>
                        <a:pt x="818083" y="149860"/>
                      </a:lnTo>
                      <a:lnTo>
                        <a:pt x="818502" y="148590"/>
                      </a:lnTo>
                      <a:lnTo>
                        <a:pt x="819175" y="148590"/>
                      </a:lnTo>
                      <a:lnTo>
                        <a:pt x="820013" y="149860"/>
                      </a:lnTo>
                      <a:lnTo>
                        <a:pt x="820356" y="149860"/>
                      </a:lnTo>
                      <a:lnTo>
                        <a:pt x="818337" y="151130"/>
                      </a:lnTo>
                      <a:lnTo>
                        <a:pt x="818464" y="152400"/>
                      </a:lnTo>
                      <a:lnTo>
                        <a:pt x="821232" y="152400"/>
                      </a:lnTo>
                      <a:lnTo>
                        <a:pt x="821715" y="151130"/>
                      </a:lnTo>
                      <a:lnTo>
                        <a:pt x="821931" y="151130"/>
                      </a:lnTo>
                      <a:lnTo>
                        <a:pt x="823087" y="152400"/>
                      </a:lnTo>
                      <a:lnTo>
                        <a:pt x="827328" y="152400"/>
                      </a:lnTo>
                      <a:lnTo>
                        <a:pt x="826452" y="149860"/>
                      </a:lnTo>
                      <a:lnTo>
                        <a:pt x="824242" y="151130"/>
                      </a:lnTo>
                      <a:lnTo>
                        <a:pt x="822464" y="149860"/>
                      </a:lnTo>
                      <a:lnTo>
                        <a:pt x="821639" y="149860"/>
                      </a:lnTo>
                      <a:lnTo>
                        <a:pt x="820026" y="148590"/>
                      </a:lnTo>
                      <a:lnTo>
                        <a:pt x="818413" y="147320"/>
                      </a:lnTo>
                      <a:lnTo>
                        <a:pt x="820318" y="148590"/>
                      </a:lnTo>
                      <a:lnTo>
                        <a:pt x="820610" y="147320"/>
                      </a:lnTo>
                      <a:lnTo>
                        <a:pt x="820585" y="146050"/>
                      </a:lnTo>
                      <a:lnTo>
                        <a:pt x="819950" y="144780"/>
                      </a:lnTo>
                      <a:lnTo>
                        <a:pt x="818769" y="144780"/>
                      </a:lnTo>
                      <a:lnTo>
                        <a:pt x="818311" y="143510"/>
                      </a:lnTo>
                      <a:lnTo>
                        <a:pt x="817511" y="142240"/>
                      </a:lnTo>
                      <a:lnTo>
                        <a:pt x="817943" y="142240"/>
                      </a:lnTo>
                      <a:lnTo>
                        <a:pt x="816152" y="139700"/>
                      </a:lnTo>
                      <a:lnTo>
                        <a:pt x="814603" y="139700"/>
                      </a:lnTo>
                      <a:lnTo>
                        <a:pt x="813777" y="138049"/>
                      </a:lnTo>
                      <a:lnTo>
                        <a:pt x="813714" y="137160"/>
                      </a:lnTo>
                      <a:lnTo>
                        <a:pt x="813625" y="135890"/>
                      </a:lnTo>
                      <a:lnTo>
                        <a:pt x="814527" y="135890"/>
                      </a:lnTo>
                      <a:lnTo>
                        <a:pt x="813308" y="134620"/>
                      </a:lnTo>
                      <a:lnTo>
                        <a:pt x="810818" y="135890"/>
                      </a:lnTo>
                      <a:lnTo>
                        <a:pt x="809802" y="134620"/>
                      </a:lnTo>
                      <a:lnTo>
                        <a:pt x="810780" y="133350"/>
                      </a:lnTo>
                      <a:lnTo>
                        <a:pt x="809421" y="133350"/>
                      </a:lnTo>
                      <a:lnTo>
                        <a:pt x="808532" y="132080"/>
                      </a:lnTo>
                      <a:lnTo>
                        <a:pt x="809066" y="130810"/>
                      </a:lnTo>
                      <a:lnTo>
                        <a:pt x="807821" y="132080"/>
                      </a:lnTo>
                      <a:lnTo>
                        <a:pt x="807072" y="130810"/>
                      </a:lnTo>
                      <a:lnTo>
                        <a:pt x="807859" y="130810"/>
                      </a:lnTo>
                      <a:lnTo>
                        <a:pt x="807440" y="129540"/>
                      </a:lnTo>
                      <a:lnTo>
                        <a:pt x="806043" y="129540"/>
                      </a:lnTo>
                      <a:lnTo>
                        <a:pt x="804062" y="130810"/>
                      </a:lnTo>
                      <a:lnTo>
                        <a:pt x="802030" y="132080"/>
                      </a:lnTo>
                      <a:lnTo>
                        <a:pt x="801878" y="130810"/>
                      </a:lnTo>
                      <a:lnTo>
                        <a:pt x="801839" y="132080"/>
                      </a:lnTo>
                      <a:lnTo>
                        <a:pt x="801839" y="130810"/>
                      </a:lnTo>
                      <a:lnTo>
                        <a:pt x="800468" y="132080"/>
                      </a:lnTo>
                      <a:lnTo>
                        <a:pt x="799757" y="132080"/>
                      </a:lnTo>
                      <a:lnTo>
                        <a:pt x="800430" y="130810"/>
                      </a:lnTo>
                      <a:lnTo>
                        <a:pt x="801839" y="130810"/>
                      </a:lnTo>
                      <a:lnTo>
                        <a:pt x="803706" y="129540"/>
                      </a:lnTo>
                      <a:lnTo>
                        <a:pt x="805573" y="128270"/>
                      </a:lnTo>
                      <a:lnTo>
                        <a:pt x="806716" y="128270"/>
                      </a:lnTo>
                      <a:lnTo>
                        <a:pt x="804240" y="127000"/>
                      </a:lnTo>
                      <a:lnTo>
                        <a:pt x="804837" y="127000"/>
                      </a:lnTo>
                      <a:lnTo>
                        <a:pt x="807288" y="128270"/>
                      </a:lnTo>
                      <a:lnTo>
                        <a:pt x="808088" y="128270"/>
                      </a:lnTo>
                      <a:lnTo>
                        <a:pt x="808824" y="129540"/>
                      </a:lnTo>
                      <a:lnTo>
                        <a:pt x="810717" y="129540"/>
                      </a:lnTo>
                      <a:lnTo>
                        <a:pt x="810094" y="130810"/>
                      </a:lnTo>
                      <a:lnTo>
                        <a:pt x="811428" y="130810"/>
                      </a:lnTo>
                      <a:lnTo>
                        <a:pt x="809371" y="132080"/>
                      </a:lnTo>
                      <a:lnTo>
                        <a:pt x="810310" y="132080"/>
                      </a:lnTo>
                      <a:lnTo>
                        <a:pt x="811961" y="133350"/>
                      </a:lnTo>
                      <a:lnTo>
                        <a:pt x="813714" y="134620"/>
                      </a:lnTo>
                      <a:lnTo>
                        <a:pt x="814324" y="134620"/>
                      </a:lnTo>
                      <a:lnTo>
                        <a:pt x="817054" y="137160"/>
                      </a:lnTo>
                      <a:lnTo>
                        <a:pt x="818515" y="138430"/>
                      </a:lnTo>
                      <a:lnTo>
                        <a:pt x="819899" y="138430"/>
                      </a:lnTo>
                      <a:lnTo>
                        <a:pt x="821474" y="139700"/>
                      </a:lnTo>
                      <a:lnTo>
                        <a:pt x="821423" y="140970"/>
                      </a:lnTo>
                      <a:lnTo>
                        <a:pt x="823963" y="143510"/>
                      </a:lnTo>
                      <a:lnTo>
                        <a:pt x="825080" y="143510"/>
                      </a:lnTo>
                      <a:lnTo>
                        <a:pt x="828408" y="140970"/>
                      </a:lnTo>
                      <a:lnTo>
                        <a:pt x="829589" y="140970"/>
                      </a:lnTo>
                      <a:lnTo>
                        <a:pt x="832637" y="139700"/>
                      </a:lnTo>
                      <a:lnTo>
                        <a:pt x="834682" y="139700"/>
                      </a:lnTo>
                      <a:lnTo>
                        <a:pt x="836396" y="138430"/>
                      </a:lnTo>
                      <a:lnTo>
                        <a:pt x="836231" y="137160"/>
                      </a:lnTo>
                      <a:lnTo>
                        <a:pt x="838288" y="135890"/>
                      </a:lnTo>
                      <a:lnTo>
                        <a:pt x="840663" y="135890"/>
                      </a:lnTo>
                      <a:lnTo>
                        <a:pt x="842543" y="134620"/>
                      </a:lnTo>
                      <a:lnTo>
                        <a:pt x="841514" y="133350"/>
                      </a:lnTo>
                      <a:lnTo>
                        <a:pt x="843051" y="132080"/>
                      </a:lnTo>
                      <a:lnTo>
                        <a:pt x="844130" y="130810"/>
                      </a:lnTo>
                      <a:lnTo>
                        <a:pt x="843927" y="130810"/>
                      </a:lnTo>
                      <a:lnTo>
                        <a:pt x="846912" y="129540"/>
                      </a:lnTo>
                      <a:lnTo>
                        <a:pt x="849312" y="129540"/>
                      </a:lnTo>
                      <a:lnTo>
                        <a:pt x="852855" y="127000"/>
                      </a:lnTo>
                      <a:lnTo>
                        <a:pt x="853046" y="125730"/>
                      </a:lnTo>
                      <a:lnTo>
                        <a:pt x="853236" y="124460"/>
                      </a:lnTo>
                      <a:lnTo>
                        <a:pt x="853681" y="123190"/>
                      </a:lnTo>
                      <a:lnTo>
                        <a:pt x="854125" y="121920"/>
                      </a:lnTo>
                      <a:lnTo>
                        <a:pt x="854329" y="120650"/>
                      </a:lnTo>
                      <a:lnTo>
                        <a:pt x="855814" y="116840"/>
                      </a:lnTo>
                      <a:lnTo>
                        <a:pt x="855611" y="116840"/>
                      </a:lnTo>
                      <a:lnTo>
                        <a:pt x="852385" y="111760"/>
                      </a:lnTo>
                      <a:lnTo>
                        <a:pt x="849655" y="110490"/>
                      </a:lnTo>
                      <a:lnTo>
                        <a:pt x="847128" y="109220"/>
                      </a:lnTo>
                      <a:lnTo>
                        <a:pt x="847623" y="107950"/>
                      </a:lnTo>
                      <a:lnTo>
                        <a:pt x="846645" y="107950"/>
                      </a:lnTo>
                      <a:lnTo>
                        <a:pt x="845464" y="106680"/>
                      </a:lnTo>
                      <a:lnTo>
                        <a:pt x="844016" y="106680"/>
                      </a:lnTo>
                      <a:lnTo>
                        <a:pt x="843572" y="105410"/>
                      </a:lnTo>
                      <a:lnTo>
                        <a:pt x="843026" y="104140"/>
                      </a:lnTo>
                      <a:lnTo>
                        <a:pt x="841908" y="101600"/>
                      </a:lnTo>
                      <a:lnTo>
                        <a:pt x="844156" y="101600"/>
                      </a:lnTo>
                      <a:lnTo>
                        <a:pt x="844765" y="99060"/>
                      </a:lnTo>
                      <a:lnTo>
                        <a:pt x="843673" y="100330"/>
                      </a:lnTo>
                      <a:lnTo>
                        <a:pt x="840117" y="101600"/>
                      </a:lnTo>
                      <a:lnTo>
                        <a:pt x="839812" y="97790"/>
                      </a:lnTo>
                      <a:lnTo>
                        <a:pt x="842111" y="97790"/>
                      </a:lnTo>
                      <a:lnTo>
                        <a:pt x="840511" y="96532"/>
                      </a:lnTo>
                      <a:lnTo>
                        <a:pt x="838225" y="97790"/>
                      </a:lnTo>
                      <a:lnTo>
                        <a:pt x="839343" y="95250"/>
                      </a:lnTo>
                      <a:lnTo>
                        <a:pt x="839978" y="95250"/>
                      </a:lnTo>
                      <a:lnTo>
                        <a:pt x="839101" y="93980"/>
                      </a:lnTo>
                      <a:lnTo>
                        <a:pt x="838212" y="92710"/>
                      </a:lnTo>
                      <a:lnTo>
                        <a:pt x="834872" y="93980"/>
                      </a:lnTo>
                      <a:lnTo>
                        <a:pt x="836841" y="90170"/>
                      </a:lnTo>
                      <a:lnTo>
                        <a:pt x="836498" y="91440"/>
                      </a:lnTo>
                      <a:lnTo>
                        <a:pt x="838771" y="91440"/>
                      </a:lnTo>
                      <a:lnTo>
                        <a:pt x="839660" y="90170"/>
                      </a:lnTo>
                      <a:lnTo>
                        <a:pt x="842848" y="90170"/>
                      </a:lnTo>
                      <a:lnTo>
                        <a:pt x="845108" y="91440"/>
                      </a:lnTo>
                      <a:lnTo>
                        <a:pt x="851331" y="90170"/>
                      </a:lnTo>
                      <a:lnTo>
                        <a:pt x="855230" y="88900"/>
                      </a:lnTo>
                      <a:lnTo>
                        <a:pt x="855586" y="86360"/>
                      </a:lnTo>
                      <a:lnTo>
                        <a:pt x="855751" y="85090"/>
                      </a:lnTo>
                      <a:lnTo>
                        <a:pt x="855357" y="83820"/>
                      </a:lnTo>
                      <a:lnTo>
                        <a:pt x="854964" y="82550"/>
                      </a:lnTo>
                      <a:lnTo>
                        <a:pt x="852208" y="81280"/>
                      </a:lnTo>
                      <a:lnTo>
                        <a:pt x="849337" y="83820"/>
                      </a:lnTo>
                      <a:lnTo>
                        <a:pt x="850265" y="82550"/>
                      </a:lnTo>
                      <a:lnTo>
                        <a:pt x="853046" y="78740"/>
                      </a:lnTo>
                      <a:lnTo>
                        <a:pt x="855738" y="77470"/>
                      </a:lnTo>
                      <a:lnTo>
                        <a:pt x="854316" y="74930"/>
                      </a:lnTo>
                      <a:lnTo>
                        <a:pt x="853592" y="73660"/>
                      </a:lnTo>
                      <a:lnTo>
                        <a:pt x="852081" y="73660"/>
                      </a:lnTo>
                      <a:lnTo>
                        <a:pt x="849147" y="72390"/>
                      </a:lnTo>
                      <a:lnTo>
                        <a:pt x="847178" y="71120"/>
                      </a:lnTo>
                      <a:lnTo>
                        <a:pt x="843559" y="72390"/>
                      </a:lnTo>
                      <a:lnTo>
                        <a:pt x="843356" y="73660"/>
                      </a:lnTo>
                      <a:lnTo>
                        <a:pt x="842391" y="71120"/>
                      </a:lnTo>
                      <a:lnTo>
                        <a:pt x="841425" y="68580"/>
                      </a:lnTo>
                      <a:lnTo>
                        <a:pt x="840930" y="68580"/>
                      </a:lnTo>
                      <a:lnTo>
                        <a:pt x="838174" y="67310"/>
                      </a:lnTo>
                      <a:lnTo>
                        <a:pt x="835406" y="66040"/>
                      </a:lnTo>
                      <a:lnTo>
                        <a:pt x="837755" y="66040"/>
                      </a:lnTo>
                      <a:lnTo>
                        <a:pt x="836879" y="64770"/>
                      </a:lnTo>
                      <a:lnTo>
                        <a:pt x="835596" y="63500"/>
                      </a:lnTo>
                      <a:lnTo>
                        <a:pt x="836295" y="62230"/>
                      </a:lnTo>
                      <a:lnTo>
                        <a:pt x="837438" y="62230"/>
                      </a:lnTo>
                      <a:lnTo>
                        <a:pt x="836764" y="60960"/>
                      </a:lnTo>
                      <a:lnTo>
                        <a:pt x="834161" y="60960"/>
                      </a:lnTo>
                      <a:lnTo>
                        <a:pt x="834161" y="66040"/>
                      </a:lnTo>
                      <a:lnTo>
                        <a:pt x="831786" y="66040"/>
                      </a:lnTo>
                      <a:lnTo>
                        <a:pt x="827951" y="64770"/>
                      </a:lnTo>
                      <a:lnTo>
                        <a:pt x="830351" y="64770"/>
                      </a:lnTo>
                      <a:lnTo>
                        <a:pt x="834161" y="66040"/>
                      </a:lnTo>
                      <a:lnTo>
                        <a:pt x="834161" y="60960"/>
                      </a:lnTo>
                      <a:lnTo>
                        <a:pt x="818426" y="60960"/>
                      </a:lnTo>
                      <a:lnTo>
                        <a:pt x="818426" y="132080"/>
                      </a:lnTo>
                      <a:lnTo>
                        <a:pt x="816051" y="133350"/>
                      </a:lnTo>
                      <a:lnTo>
                        <a:pt x="817245" y="134620"/>
                      </a:lnTo>
                      <a:lnTo>
                        <a:pt x="814717" y="134620"/>
                      </a:lnTo>
                      <a:lnTo>
                        <a:pt x="814857" y="133350"/>
                      </a:lnTo>
                      <a:lnTo>
                        <a:pt x="816368" y="132080"/>
                      </a:lnTo>
                      <a:lnTo>
                        <a:pt x="817549" y="130810"/>
                      </a:lnTo>
                      <a:lnTo>
                        <a:pt x="818426" y="132080"/>
                      </a:lnTo>
                      <a:lnTo>
                        <a:pt x="818426" y="60960"/>
                      </a:lnTo>
                      <a:lnTo>
                        <a:pt x="817791" y="60960"/>
                      </a:lnTo>
                      <a:lnTo>
                        <a:pt x="814895" y="58420"/>
                      </a:lnTo>
                      <a:lnTo>
                        <a:pt x="810044" y="57150"/>
                      </a:lnTo>
                      <a:lnTo>
                        <a:pt x="803008" y="57150"/>
                      </a:lnTo>
                      <a:lnTo>
                        <a:pt x="802093" y="58420"/>
                      </a:lnTo>
                      <a:lnTo>
                        <a:pt x="801839" y="58420"/>
                      </a:lnTo>
                      <a:lnTo>
                        <a:pt x="800087" y="60960"/>
                      </a:lnTo>
                      <a:lnTo>
                        <a:pt x="796734" y="55880"/>
                      </a:lnTo>
                      <a:lnTo>
                        <a:pt x="792276" y="57150"/>
                      </a:lnTo>
                      <a:lnTo>
                        <a:pt x="794854" y="57150"/>
                      </a:lnTo>
                      <a:lnTo>
                        <a:pt x="798093" y="58420"/>
                      </a:lnTo>
                      <a:lnTo>
                        <a:pt x="795896" y="59690"/>
                      </a:lnTo>
                      <a:lnTo>
                        <a:pt x="796620" y="59690"/>
                      </a:lnTo>
                      <a:lnTo>
                        <a:pt x="794283" y="60960"/>
                      </a:lnTo>
                      <a:lnTo>
                        <a:pt x="793978" y="63500"/>
                      </a:lnTo>
                      <a:lnTo>
                        <a:pt x="795286" y="63500"/>
                      </a:lnTo>
                      <a:lnTo>
                        <a:pt x="792822" y="68580"/>
                      </a:lnTo>
                      <a:lnTo>
                        <a:pt x="795667" y="67310"/>
                      </a:lnTo>
                      <a:lnTo>
                        <a:pt x="794207" y="68580"/>
                      </a:lnTo>
                      <a:lnTo>
                        <a:pt x="795096" y="68580"/>
                      </a:lnTo>
                      <a:lnTo>
                        <a:pt x="795870" y="71120"/>
                      </a:lnTo>
                      <a:lnTo>
                        <a:pt x="793178" y="69850"/>
                      </a:lnTo>
                      <a:lnTo>
                        <a:pt x="796645" y="73660"/>
                      </a:lnTo>
                      <a:lnTo>
                        <a:pt x="798322" y="73660"/>
                      </a:lnTo>
                      <a:lnTo>
                        <a:pt x="797293" y="74930"/>
                      </a:lnTo>
                      <a:lnTo>
                        <a:pt x="798804" y="74930"/>
                      </a:lnTo>
                      <a:lnTo>
                        <a:pt x="799731" y="73660"/>
                      </a:lnTo>
                      <a:lnTo>
                        <a:pt x="800696" y="73660"/>
                      </a:lnTo>
                      <a:lnTo>
                        <a:pt x="798969" y="76200"/>
                      </a:lnTo>
                      <a:lnTo>
                        <a:pt x="800849" y="76200"/>
                      </a:lnTo>
                      <a:lnTo>
                        <a:pt x="801839" y="74930"/>
                      </a:lnTo>
                      <a:lnTo>
                        <a:pt x="801839" y="76200"/>
                      </a:lnTo>
                      <a:lnTo>
                        <a:pt x="802373" y="76200"/>
                      </a:lnTo>
                      <a:lnTo>
                        <a:pt x="803414" y="77470"/>
                      </a:lnTo>
                      <a:lnTo>
                        <a:pt x="804151" y="76200"/>
                      </a:lnTo>
                      <a:lnTo>
                        <a:pt x="805548" y="76200"/>
                      </a:lnTo>
                      <a:lnTo>
                        <a:pt x="805116" y="77470"/>
                      </a:lnTo>
                      <a:lnTo>
                        <a:pt x="807542" y="77470"/>
                      </a:lnTo>
                      <a:lnTo>
                        <a:pt x="808405" y="78740"/>
                      </a:lnTo>
                      <a:lnTo>
                        <a:pt x="802805" y="78740"/>
                      </a:lnTo>
                      <a:lnTo>
                        <a:pt x="803821" y="80010"/>
                      </a:lnTo>
                      <a:lnTo>
                        <a:pt x="799934" y="80010"/>
                      </a:lnTo>
                      <a:lnTo>
                        <a:pt x="800125" y="81280"/>
                      </a:lnTo>
                      <a:lnTo>
                        <a:pt x="798830" y="81280"/>
                      </a:lnTo>
                      <a:lnTo>
                        <a:pt x="799782" y="82550"/>
                      </a:lnTo>
                      <a:lnTo>
                        <a:pt x="801204" y="83820"/>
                      </a:lnTo>
                      <a:lnTo>
                        <a:pt x="801839" y="83820"/>
                      </a:lnTo>
                      <a:lnTo>
                        <a:pt x="803960" y="82550"/>
                      </a:lnTo>
                      <a:lnTo>
                        <a:pt x="806894" y="85090"/>
                      </a:lnTo>
                      <a:lnTo>
                        <a:pt x="802728" y="85090"/>
                      </a:lnTo>
                      <a:lnTo>
                        <a:pt x="801839" y="83820"/>
                      </a:lnTo>
                      <a:lnTo>
                        <a:pt x="801839" y="85090"/>
                      </a:lnTo>
                      <a:lnTo>
                        <a:pt x="798944" y="85090"/>
                      </a:lnTo>
                      <a:lnTo>
                        <a:pt x="797420" y="86360"/>
                      </a:lnTo>
                      <a:lnTo>
                        <a:pt x="796988" y="85090"/>
                      </a:lnTo>
                      <a:lnTo>
                        <a:pt x="795235" y="83820"/>
                      </a:lnTo>
                      <a:lnTo>
                        <a:pt x="795807" y="85090"/>
                      </a:lnTo>
                      <a:lnTo>
                        <a:pt x="792937" y="85090"/>
                      </a:lnTo>
                      <a:lnTo>
                        <a:pt x="791400" y="87630"/>
                      </a:lnTo>
                      <a:lnTo>
                        <a:pt x="791095" y="88900"/>
                      </a:lnTo>
                      <a:lnTo>
                        <a:pt x="791654" y="91440"/>
                      </a:lnTo>
                      <a:lnTo>
                        <a:pt x="792454" y="92710"/>
                      </a:lnTo>
                      <a:lnTo>
                        <a:pt x="790892" y="93980"/>
                      </a:lnTo>
                      <a:lnTo>
                        <a:pt x="789914" y="95250"/>
                      </a:lnTo>
                      <a:lnTo>
                        <a:pt x="789952" y="96532"/>
                      </a:lnTo>
                      <a:lnTo>
                        <a:pt x="790295" y="97790"/>
                      </a:lnTo>
                      <a:lnTo>
                        <a:pt x="789825" y="100330"/>
                      </a:lnTo>
                      <a:lnTo>
                        <a:pt x="789216" y="101600"/>
                      </a:lnTo>
                      <a:lnTo>
                        <a:pt x="787806" y="102870"/>
                      </a:lnTo>
                      <a:lnTo>
                        <a:pt x="786333" y="104140"/>
                      </a:lnTo>
                      <a:lnTo>
                        <a:pt x="786015" y="102870"/>
                      </a:lnTo>
                      <a:lnTo>
                        <a:pt x="785774" y="105410"/>
                      </a:lnTo>
                      <a:lnTo>
                        <a:pt x="781913" y="107950"/>
                      </a:lnTo>
                      <a:lnTo>
                        <a:pt x="779945" y="111760"/>
                      </a:lnTo>
                      <a:lnTo>
                        <a:pt x="781024" y="114300"/>
                      </a:lnTo>
                      <a:lnTo>
                        <a:pt x="780567" y="116840"/>
                      </a:lnTo>
                      <a:lnTo>
                        <a:pt x="780554" y="119380"/>
                      </a:lnTo>
                      <a:lnTo>
                        <a:pt x="778852" y="119380"/>
                      </a:lnTo>
                      <a:lnTo>
                        <a:pt x="778929" y="118110"/>
                      </a:lnTo>
                      <a:lnTo>
                        <a:pt x="778408" y="119380"/>
                      </a:lnTo>
                      <a:lnTo>
                        <a:pt x="776693" y="118110"/>
                      </a:lnTo>
                      <a:lnTo>
                        <a:pt x="774623" y="118110"/>
                      </a:lnTo>
                      <a:lnTo>
                        <a:pt x="773010" y="119380"/>
                      </a:lnTo>
                      <a:lnTo>
                        <a:pt x="771588" y="119380"/>
                      </a:lnTo>
                      <a:lnTo>
                        <a:pt x="773341" y="120650"/>
                      </a:lnTo>
                      <a:lnTo>
                        <a:pt x="773493" y="121920"/>
                      </a:lnTo>
                      <a:lnTo>
                        <a:pt x="772312" y="121920"/>
                      </a:lnTo>
                      <a:lnTo>
                        <a:pt x="772198" y="123190"/>
                      </a:lnTo>
                      <a:lnTo>
                        <a:pt x="771702" y="123190"/>
                      </a:lnTo>
                      <a:lnTo>
                        <a:pt x="771347" y="120650"/>
                      </a:lnTo>
                      <a:lnTo>
                        <a:pt x="770115" y="123190"/>
                      </a:lnTo>
                      <a:lnTo>
                        <a:pt x="768921" y="125399"/>
                      </a:lnTo>
                      <a:lnTo>
                        <a:pt x="768235" y="123190"/>
                      </a:lnTo>
                      <a:lnTo>
                        <a:pt x="767892" y="121920"/>
                      </a:lnTo>
                      <a:lnTo>
                        <a:pt x="767549" y="120650"/>
                      </a:lnTo>
                      <a:lnTo>
                        <a:pt x="767041" y="121920"/>
                      </a:lnTo>
                      <a:lnTo>
                        <a:pt x="766724" y="120650"/>
                      </a:lnTo>
                      <a:lnTo>
                        <a:pt x="766864" y="120650"/>
                      </a:lnTo>
                      <a:lnTo>
                        <a:pt x="765911" y="119380"/>
                      </a:lnTo>
                      <a:lnTo>
                        <a:pt x="764882" y="118110"/>
                      </a:lnTo>
                      <a:lnTo>
                        <a:pt x="762876" y="116840"/>
                      </a:lnTo>
                      <a:lnTo>
                        <a:pt x="762000" y="115570"/>
                      </a:lnTo>
                      <a:lnTo>
                        <a:pt x="759942" y="113030"/>
                      </a:lnTo>
                      <a:lnTo>
                        <a:pt x="758685" y="113030"/>
                      </a:lnTo>
                      <a:lnTo>
                        <a:pt x="756602" y="111760"/>
                      </a:lnTo>
                      <a:lnTo>
                        <a:pt x="756361" y="110490"/>
                      </a:lnTo>
                      <a:lnTo>
                        <a:pt x="755307" y="107950"/>
                      </a:lnTo>
                      <a:lnTo>
                        <a:pt x="754761" y="107950"/>
                      </a:lnTo>
                      <a:lnTo>
                        <a:pt x="753618" y="104140"/>
                      </a:lnTo>
                      <a:lnTo>
                        <a:pt x="754151" y="104140"/>
                      </a:lnTo>
                      <a:lnTo>
                        <a:pt x="754405" y="102870"/>
                      </a:lnTo>
                      <a:lnTo>
                        <a:pt x="754888" y="100330"/>
                      </a:lnTo>
                      <a:lnTo>
                        <a:pt x="754405" y="99060"/>
                      </a:lnTo>
                      <a:lnTo>
                        <a:pt x="752906" y="96520"/>
                      </a:lnTo>
                      <a:lnTo>
                        <a:pt x="753783" y="96520"/>
                      </a:lnTo>
                      <a:lnTo>
                        <a:pt x="754468" y="95250"/>
                      </a:lnTo>
                      <a:lnTo>
                        <a:pt x="755611" y="93980"/>
                      </a:lnTo>
                      <a:lnTo>
                        <a:pt x="757047" y="93980"/>
                      </a:lnTo>
                      <a:lnTo>
                        <a:pt x="755865" y="96532"/>
                      </a:lnTo>
                      <a:lnTo>
                        <a:pt x="756704" y="97790"/>
                      </a:lnTo>
                      <a:lnTo>
                        <a:pt x="758164" y="97790"/>
                      </a:lnTo>
                      <a:lnTo>
                        <a:pt x="761784" y="95250"/>
                      </a:lnTo>
                      <a:lnTo>
                        <a:pt x="762317" y="95250"/>
                      </a:lnTo>
                      <a:lnTo>
                        <a:pt x="761847" y="93980"/>
                      </a:lnTo>
                      <a:lnTo>
                        <a:pt x="760895" y="91440"/>
                      </a:lnTo>
                      <a:lnTo>
                        <a:pt x="760222" y="90170"/>
                      </a:lnTo>
                      <a:lnTo>
                        <a:pt x="759904" y="87630"/>
                      </a:lnTo>
                      <a:lnTo>
                        <a:pt x="760133" y="86360"/>
                      </a:lnTo>
                      <a:lnTo>
                        <a:pt x="757224" y="80010"/>
                      </a:lnTo>
                      <a:lnTo>
                        <a:pt x="751319" y="78740"/>
                      </a:lnTo>
                      <a:lnTo>
                        <a:pt x="745528" y="73660"/>
                      </a:lnTo>
                      <a:lnTo>
                        <a:pt x="745197" y="71120"/>
                      </a:lnTo>
                      <a:lnTo>
                        <a:pt x="739863" y="72390"/>
                      </a:lnTo>
                      <a:lnTo>
                        <a:pt x="739330" y="73660"/>
                      </a:lnTo>
                      <a:lnTo>
                        <a:pt x="737476" y="76200"/>
                      </a:lnTo>
                      <a:lnTo>
                        <a:pt x="736422" y="76200"/>
                      </a:lnTo>
                      <a:lnTo>
                        <a:pt x="734999" y="77470"/>
                      </a:lnTo>
                      <a:lnTo>
                        <a:pt x="734847" y="80010"/>
                      </a:lnTo>
                      <a:lnTo>
                        <a:pt x="735571" y="86360"/>
                      </a:lnTo>
                      <a:lnTo>
                        <a:pt x="734021" y="87515"/>
                      </a:lnTo>
                      <a:lnTo>
                        <a:pt x="733996" y="86360"/>
                      </a:lnTo>
                      <a:lnTo>
                        <a:pt x="731494" y="86360"/>
                      </a:lnTo>
                      <a:lnTo>
                        <a:pt x="731507" y="90170"/>
                      </a:lnTo>
                      <a:lnTo>
                        <a:pt x="731659" y="91440"/>
                      </a:lnTo>
                      <a:lnTo>
                        <a:pt x="731837" y="91440"/>
                      </a:lnTo>
                      <a:lnTo>
                        <a:pt x="732053" y="92710"/>
                      </a:lnTo>
                      <a:lnTo>
                        <a:pt x="731723" y="92710"/>
                      </a:lnTo>
                      <a:lnTo>
                        <a:pt x="730796" y="93980"/>
                      </a:lnTo>
                      <a:lnTo>
                        <a:pt x="730415" y="95250"/>
                      </a:lnTo>
                      <a:lnTo>
                        <a:pt x="730275" y="96520"/>
                      </a:lnTo>
                      <a:lnTo>
                        <a:pt x="730275" y="93980"/>
                      </a:lnTo>
                      <a:lnTo>
                        <a:pt x="729754" y="95250"/>
                      </a:lnTo>
                      <a:lnTo>
                        <a:pt x="727583" y="97790"/>
                      </a:lnTo>
                      <a:lnTo>
                        <a:pt x="726147" y="97790"/>
                      </a:lnTo>
                      <a:lnTo>
                        <a:pt x="726198" y="96520"/>
                      </a:lnTo>
                      <a:lnTo>
                        <a:pt x="723049" y="93980"/>
                      </a:lnTo>
                      <a:lnTo>
                        <a:pt x="721169" y="91440"/>
                      </a:lnTo>
                      <a:lnTo>
                        <a:pt x="722909" y="91440"/>
                      </a:lnTo>
                      <a:lnTo>
                        <a:pt x="723265" y="90170"/>
                      </a:lnTo>
                      <a:lnTo>
                        <a:pt x="722312" y="88900"/>
                      </a:lnTo>
                      <a:lnTo>
                        <a:pt x="722376" y="87630"/>
                      </a:lnTo>
                      <a:lnTo>
                        <a:pt x="723163" y="87630"/>
                      </a:lnTo>
                      <a:lnTo>
                        <a:pt x="723214" y="86360"/>
                      </a:lnTo>
                      <a:lnTo>
                        <a:pt x="722553" y="85090"/>
                      </a:lnTo>
                      <a:lnTo>
                        <a:pt x="723658" y="83820"/>
                      </a:lnTo>
                      <a:lnTo>
                        <a:pt x="723938" y="82550"/>
                      </a:lnTo>
                      <a:lnTo>
                        <a:pt x="721893" y="83820"/>
                      </a:lnTo>
                      <a:lnTo>
                        <a:pt x="722541" y="82550"/>
                      </a:lnTo>
                      <a:lnTo>
                        <a:pt x="723938" y="82550"/>
                      </a:lnTo>
                      <a:lnTo>
                        <a:pt x="722122" y="78740"/>
                      </a:lnTo>
                      <a:lnTo>
                        <a:pt x="721575" y="77470"/>
                      </a:lnTo>
                      <a:lnTo>
                        <a:pt x="721029" y="76200"/>
                      </a:lnTo>
                      <a:lnTo>
                        <a:pt x="715695" y="73050"/>
                      </a:lnTo>
                      <a:lnTo>
                        <a:pt x="715695" y="153631"/>
                      </a:lnTo>
                      <a:lnTo>
                        <a:pt x="708850" y="152400"/>
                      </a:lnTo>
                      <a:lnTo>
                        <a:pt x="712127" y="152400"/>
                      </a:lnTo>
                      <a:lnTo>
                        <a:pt x="715695" y="153631"/>
                      </a:lnTo>
                      <a:lnTo>
                        <a:pt x="715695" y="73050"/>
                      </a:lnTo>
                      <a:lnTo>
                        <a:pt x="712444" y="71120"/>
                      </a:lnTo>
                      <a:lnTo>
                        <a:pt x="709866" y="69850"/>
                      </a:lnTo>
                      <a:lnTo>
                        <a:pt x="713130" y="71120"/>
                      </a:lnTo>
                      <a:lnTo>
                        <a:pt x="713359" y="71120"/>
                      </a:lnTo>
                      <a:lnTo>
                        <a:pt x="715733" y="70192"/>
                      </a:lnTo>
                      <a:lnTo>
                        <a:pt x="714451" y="71120"/>
                      </a:lnTo>
                      <a:lnTo>
                        <a:pt x="714870" y="72390"/>
                      </a:lnTo>
                      <a:lnTo>
                        <a:pt x="715962" y="71120"/>
                      </a:lnTo>
                      <a:lnTo>
                        <a:pt x="716711" y="71120"/>
                      </a:lnTo>
                      <a:lnTo>
                        <a:pt x="716864" y="72390"/>
                      </a:lnTo>
                      <a:lnTo>
                        <a:pt x="718426" y="71120"/>
                      </a:lnTo>
                      <a:lnTo>
                        <a:pt x="718680" y="69850"/>
                      </a:lnTo>
                      <a:lnTo>
                        <a:pt x="719582" y="68580"/>
                      </a:lnTo>
                      <a:lnTo>
                        <a:pt x="719912" y="68580"/>
                      </a:lnTo>
                      <a:lnTo>
                        <a:pt x="720178" y="67056"/>
                      </a:lnTo>
                      <a:lnTo>
                        <a:pt x="718921" y="66040"/>
                      </a:lnTo>
                      <a:lnTo>
                        <a:pt x="717346" y="64770"/>
                      </a:lnTo>
                      <a:lnTo>
                        <a:pt x="711542" y="64770"/>
                      </a:lnTo>
                      <a:lnTo>
                        <a:pt x="710323" y="66040"/>
                      </a:lnTo>
                      <a:lnTo>
                        <a:pt x="707936" y="66040"/>
                      </a:lnTo>
                      <a:lnTo>
                        <a:pt x="709028" y="64770"/>
                      </a:lnTo>
                      <a:lnTo>
                        <a:pt x="710272" y="64770"/>
                      </a:lnTo>
                      <a:lnTo>
                        <a:pt x="712482" y="63500"/>
                      </a:lnTo>
                      <a:lnTo>
                        <a:pt x="712800" y="63500"/>
                      </a:lnTo>
                      <a:lnTo>
                        <a:pt x="714273" y="62230"/>
                      </a:lnTo>
                      <a:lnTo>
                        <a:pt x="708558" y="62230"/>
                      </a:lnTo>
                      <a:lnTo>
                        <a:pt x="706983" y="63500"/>
                      </a:lnTo>
                      <a:lnTo>
                        <a:pt x="705548" y="66040"/>
                      </a:lnTo>
                      <a:lnTo>
                        <a:pt x="704037" y="65582"/>
                      </a:lnTo>
                      <a:lnTo>
                        <a:pt x="704037" y="204470"/>
                      </a:lnTo>
                      <a:lnTo>
                        <a:pt x="702919" y="205740"/>
                      </a:lnTo>
                      <a:lnTo>
                        <a:pt x="700506" y="207010"/>
                      </a:lnTo>
                      <a:lnTo>
                        <a:pt x="699719" y="207010"/>
                      </a:lnTo>
                      <a:lnTo>
                        <a:pt x="698385" y="208280"/>
                      </a:lnTo>
                      <a:lnTo>
                        <a:pt x="695871" y="208280"/>
                      </a:lnTo>
                      <a:lnTo>
                        <a:pt x="697026" y="205740"/>
                      </a:lnTo>
                      <a:lnTo>
                        <a:pt x="698855" y="207010"/>
                      </a:lnTo>
                      <a:lnTo>
                        <a:pt x="699427" y="205740"/>
                      </a:lnTo>
                      <a:lnTo>
                        <a:pt x="699985" y="204470"/>
                      </a:lnTo>
                      <a:lnTo>
                        <a:pt x="696125" y="204470"/>
                      </a:lnTo>
                      <a:lnTo>
                        <a:pt x="695375" y="203200"/>
                      </a:lnTo>
                      <a:lnTo>
                        <a:pt x="695591" y="203200"/>
                      </a:lnTo>
                      <a:lnTo>
                        <a:pt x="699833" y="203200"/>
                      </a:lnTo>
                      <a:lnTo>
                        <a:pt x="702043" y="201930"/>
                      </a:lnTo>
                      <a:lnTo>
                        <a:pt x="701421" y="204470"/>
                      </a:lnTo>
                      <a:lnTo>
                        <a:pt x="704037" y="204470"/>
                      </a:lnTo>
                      <a:lnTo>
                        <a:pt x="704037" y="65582"/>
                      </a:lnTo>
                      <a:lnTo>
                        <a:pt x="701382" y="64770"/>
                      </a:lnTo>
                      <a:lnTo>
                        <a:pt x="698131" y="62230"/>
                      </a:lnTo>
                      <a:lnTo>
                        <a:pt x="695312" y="61150"/>
                      </a:lnTo>
                      <a:lnTo>
                        <a:pt x="695312" y="203009"/>
                      </a:lnTo>
                      <a:lnTo>
                        <a:pt x="693724" y="201930"/>
                      </a:lnTo>
                      <a:lnTo>
                        <a:pt x="693686" y="203200"/>
                      </a:lnTo>
                      <a:lnTo>
                        <a:pt x="691908" y="203200"/>
                      </a:lnTo>
                      <a:lnTo>
                        <a:pt x="690181" y="201930"/>
                      </a:lnTo>
                      <a:lnTo>
                        <a:pt x="687311" y="201930"/>
                      </a:lnTo>
                      <a:lnTo>
                        <a:pt x="686054" y="201117"/>
                      </a:lnTo>
                      <a:lnTo>
                        <a:pt x="686054" y="236220"/>
                      </a:lnTo>
                      <a:lnTo>
                        <a:pt x="685609" y="236220"/>
                      </a:lnTo>
                      <a:lnTo>
                        <a:pt x="683983" y="234950"/>
                      </a:lnTo>
                      <a:lnTo>
                        <a:pt x="686054" y="236220"/>
                      </a:lnTo>
                      <a:lnTo>
                        <a:pt x="686054" y="201117"/>
                      </a:lnTo>
                      <a:lnTo>
                        <a:pt x="685368" y="200660"/>
                      </a:lnTo>
                      <a:lnTo>
                        <a:pt x="679221" y="198120"/>
                      </a:lnTo>
                      <a:lnTo>
                        <a:pt x="682091" y="200660"/>
                      </a:lnTo>
                      <a:lnTo>
                        <a:pt x="684060" y="201930"/>
                      </a:lnTo>
                      <a:lnTo>
                        <a:pt x="681545" y="201930"/>
                      </a:lnTo>
                      <a:lnTo>
                        <a:pt x="678459" y="200660"/>
                      </a:lnTo>
                      <a:lnTo>
                        <a:pt x="677164" y="200660"/>
                      </a:lnTo>
                      <a:lnTo>
                        <a:pt x="676694" y="198120"/>
                      </a:lnTo>
                      <a:lnTo>
                        <a:pt x="679221" y="198120"/>
                      </a:lnTo>
                      <a:lnTo>
                        <a:pt x="680262" y="198120"/>
                      </a:lnTo>
                      <a:lnTo>
                        <a:pt x="678688" y="196850"/>
                      </a:lnTo>
                      <a:lnTo>
                        <a:pt x="677926" y="195580"/>
                      </a:lnTo>
                      <a:lnTo>
                        <a:pt x="677227" y="194310"/>
                      </a:lnTo>
                      <a:lnTo>
                        <a:pt x="678649" y="194310"/>
                      </a:lnTo>
                      <a:lnTo>
                        <a:pt x="678154" y="195580"/>
                      </a:lnTo>
                      <a:lnTo>
                        <a:pt x="679030" y="195580"/>
                      </a:lnTo>
                      <a:lnTo>
                        <a:pt x="679881" y="196850"/>
                      </a:lnTo>
                      <a:lnTo>
                        <a:pt x="682955" y="199390"/>
                      </a:lnTo>
                      <a:lnTo>
                        <a:pt x="688009" y="199390"/>
                      </a:lnTo>
                      <a:lnTo>
                        <a:pt x="689038" y="200660"/>
                      </a:lnTo>
                      <a:lnTo>
                        <a:pt x="691273" y="200660"/>
                      </a:lnTo>
                      <a:lnTo>
                        <a:pt x="691781" y="201930"/>
                      </a:lnTo>
                      <a:lnTo>
                        <a:pt x="693724" y="201930"/>
                      </a:lnTo>
                      <a:lnTo>
                        <a:pt x="695020" y="201930"/>
                      </a:lnTo>
                      <a:lnTo>
                        <a:pt x="695312" y="203009"/>
                      </a:lnTo>
                      <a:lnTo>
                        <a:pt x="695312" y="61150"/>
                      </a:lnTo>
                      <a:lnTo>
                        <a:pt x="694842" y="60960"/>
                      </a:lnTo>
                      <a:lnTo>
                        <a:pt x="692746" y="60960"/>
                      </a:lnTo>
                      <a:lnTo>
                        <a:pt x="690575" y="62230"/>
                      </a:lnTo>
                      <a:lnTo>
                        <a:pt x="688467" y="60960"/>
                      </a:lnTo>
                      <a:lnTo>
                        <a:pt x="689800" y="60960"/>
                      </a:lnTo>
                      <a:lnTo>
                        <a:pt x="691616" y="59690"/>
                      </a:lnTo>
                      <a:lnTo>
                        <a:pt x="692378" y="58420"/>
                      </a:lnTo>
                      <a:lnTo>
                        <a:pt x="694169" y="58420"/>
                      </a:lnTo>
                      <a:lnTo>
                        <a:pt x="702424" y="53340"/>
                      </a:lnTo>
                      <a:lnTo>
                        <a:pt x="701941" y="52070"/>
                      </a:lnTo>
                      <a:lnTo>
                        <a:pt x="701001" y="49568"/>
                      </a:lnTo>
                      <a:lnTo>
                        <a:pt x="694690" y="52070"/>
                      </a:lnTo>
                      <a:lnTo>
                        <a:pt x="693343" y="50800"/>
                      </a:lnTo>
                      <a:lnTo>
                        <a:pt x="694118" y="50800"/>
                      </a:lnTo>
                      <a:lnTo>
                        <a:pt x="694410" y="49530"/>
                      </a:lnTo>
                      <a:lnTo>
                        <a:pt x="694956" y="49530"/>
                      </a:lnTo>
                      <a:lnTo>
                        <a:pt x="694791" y="48260"/>
                      </a:lnTo>
                      <a:lnTo>
                        <a:pt x="697776" y="48260"/>
                      </a:lnTo>
                      <a:lnTo>
                        <a:pt x="698944" y="48260"/>
                      </a:lnTo>
                      <a:lnTo>
                        <a:pt x="700951" y="49542"/>
                      </a:lnTo>
                      <a:lnTo>
                        <a:pt x="702576" y="50800"/>
                      </a:lnTo>
                      <a:lnTo>
                        <a:pt x="708456" y="49530"/>
                      </a:lnTo>
                      <a:lnTo>
                        <a:pt x="708914" y="48260"/>
                      </a:lnTo>
                      <a:lnTo>
                        <a:pt x="706742" y="46990"/>
                      </a:lnTo>
                      <a:lnTo>
                        <a:pt x="706069" y="48260"/>
                      </a:lnTo>
                      <a:lnTo>
                        <a:pt x="706132" y="46990"/>
                      </a:lnTo>
                      <a:lnTo>
                        <a:pt x="705853" y="43180"/>
                      </a:lnTo>
                      <a:lnTo>
                        <a:pt x="705573" y="44450"/>
                      </a:lnTo>
                      <a:lnTo>
                        <a:pt x="704176" y="44450"/>
                      </a:lnTo>
                      <a:lnTo>
                        <a:pt x="703160" y="45720"/>
                      </a:lnTo>
                      <a:lnTo>
                        <a:pt x="702665" y="45720"/>
                      </a:lnTo>
                      <a:lnTo>
                        <a:pt x="702449" y="46990"/>
                      </a:lnTo>
                      <a:lnTo>
                        <a:pt x="702157" y="45720"/>
                      </a:lnTo>
                      <a:lnTo>
                        <a:pt x="702195" y="44450"/>
                      </a:lnTo>
                      <a:lnTo>
                        <a:pt x="701344" y="43180"/>
                      </a:lnTo>
                      <a:lnTo>
                        <a:pt x="700582" y="41910"/>
                      </a:lnTo>
                      <a:lnTo>
                        <a:pt x="700036" y="40640"/>
                      </a:lnTo>
                      <a:lnTo>
                        <a:pt x="699033" y="38100"/>
                      </a:lnTo>
                      <a:lnTo>
                        <a:pt x="698106" y="35763"/>
                      </a:lnTo>
                      <a:lnTo>
                        <a:pt x="698106" y="45720"/>
                      </a:lnTo>
                      <a:lnTo>
                        <a:pt x="697865" y="47586"/>
                      </a:lnTo>
                      <a:lnTo>
                        <a:pt x="696760" y="46990"/>
                      </a:lnTo>
                      <a:lnTo>
                        <a:pt x="698106" y="45720"/>
                      </a:lnTo>
                      <a:lnTo>
                        <a:pt x="698106" y="35763"/>
                      </a:lnTo>
                      <a:lnTo>
                        <a:pt x="698030" y="35560"/>
                      </a:lnTo>
                      <a:lnTo>
                        <a:pt x="697687" y="38100"/>
                      </a:lnTo>
                      <a:lnTo>
                        <a:pt x="697649" y="36830"/>
                      </a:lnTo>
                      <a:lnTo>
                        <a:pt x="697598" y="35560"/>
                      </a:lnTo>
                      <a:lnTo>
                        <a:pt x="694055" y="36830"/>
                      </a:lnTo>
                      <a:lnTo>
                        <a:pt x="692797" y="35560"/>
                      </a:lnTo>
                      <a:lnTo>
                        <a:pt x="691527" y="34290"/>
                      </a:lnTo>
                      <a:lnTo>
                        <a:pt x="692048" y="33020"/>
                      </a:lnTo>
                      <a:lnTo>
                        <a:pt x="688975" y="31750"/>
                      </a:lnTo>
                      <a:lnTo>
                        <a:pt x="687946" y="31750"/>
                      </a:lnTo>
                      <a:lnTo>
                        <a:pt x="686816" y="30480"/>
                      </a:lnTo>
                      <a:lnTo>
                        <a:pt x="687565" y="30480"/>
                      </a:lnTo>
                      <a:lnTo>
                        <a:pt x="687946" y="31750"/>
                      </a:lnTo>
                      <a:lnTo>
                        <a:pt x="687984" y="30480"/>
                      </a:lnTo>
                      <a:lnTo>
                        <a:pt x="687946" y="26670"/>
                      </a:lnTo>
                      <a:lnTo>
                        <a:pt x="687844" y="25400"/>
                      </a:lnTo>
                      <a:lnTo>
                        <a:pt x="687692" y="20320"/>
                      </a:lnTo>
                      <a:lnTo>
                        <a:pt x="687832" y="19050"/>
                      </a:lnTo>
                      <a:lnTo>
                        <a:pt x="686955" y="17780"/>
                      </a:lnTo>
                      <a:lnTo>
                        <a:pt x="685596" y="16510"/>
                      </a:lnTo>
                      <a:lnTo>
                        <a:pt x="685101" y="16510"/>
                      </a:lnTo>
                      <a:lnTo>
                        <a:pt x="683094" y="13970"/>
                      </a:lnTo>
                      <a:lnTo>
                        <a:pt x="679754" y="13970"/>
                      </a:lnTo>
                      <a:lnTo>
                        <a:pt x="676452" y="10160"/>
                      </a:lnTo>
                      <a:lnTo>
                        <a:pt x="675665" y="10160"/>
                      </a:lnTo>
                      <a:lnTo>
                        <a:pt x="676579" y="8890"/>
                      </a:lnTo>
                      <a:lnTo>
                        <a:pt x="677291" y="7620"/>
                      </a:lnTo>
                      <a:lnTo>
                        <a:pt x="675551" y="6350"/>
                      </a:lnTo>
                      <a:lnTo>
                        <a:pt x="675093" y="7620"/>
                      </a:lnTo>
                      <a:lnTo>
                        <a:pt x="673506" y="7620"/>
                      </a:lnTo>
                      <a:lnTo>
                        <a:pt x="673455" y="6350"/>
                      </a:lnTo>
                      <a:lnTo>
                        <a:pt x="672007" y="6350"/>
                      </a:lnTo>
                      <a:lnTo>
                        <a:pt x="671842" y="7620"/>
                      </a:lnTo>
                      <a:lnTo>
                        <a:pt x="670636" y="7620"/>
                      </a:lnTo>
                      <a:lnTo>
                        <a:pt x="670712" y="6350"/>
                      </a:lnTo>
                      <a:lnTo>
                        <a:pt x="669340" y="6350"/>
                      </a:lnTo>
                      <a:lnTo>
                        <a:pt x="669467" y="7620"/>
                      </a:lnTo>
                      <a:lnTo>
                        <a:pt x="668642" y="8890"/>
                      </a:lnTo>
                      <a:lnTo>
                        <a:pt x="667105" y="10160"/>
                      </a:lnTo>
                      <a:lnTo>
                        <a:pt x="667435" y="8890"/>
                      </a:lnTo>
                      <a:lnTo>
                        <a:pt x="667702" y="7620"/>
                      </a:lnTo>
                      <a:lnTo>
                        <a:pt x="667677" y="5080"/>
                      </a:lnTo>
                      <a:lnTo>
                        <a:pt x="667181" y="6350"/>
                      </a:lnTo>
                      <a:lnTo>
                        <a:pt x="665200" y="6350"/>
                      </a:lnTo>
                      <a:lnTo>
                        <a:pt x="664845" y="7620"/>
                      </a:lnTo>
                      <a:lnTo>
                        <a:pt x="664184" y="7620"/>
                      </a:lnTo>
                      <a:lnTo>
                        <a:pt x="663676" y="6350"/>
                      </a:lnTo>
                      <a:lnTo>
                        <a:pt x="663371" y="5575"/>
                      </a:lnTo>
                      <a:lnTo>
                        <a:pt x="662012" y="6350"/>
                      </a:lnTo>
                      <a:lnTo>
                        <a:pt x="658571" y="5080"/>
                      </a:lnTo>
                      <a:lnTo>
                        <a:pt x="654456" y="6350"/>
                      </a:lnTo>
                      <a:lnTo>
                        <a:pt x="655193" y="7620"/>
                      </a:lnTo>
                      <a:lnTo>
                        <a:pt x="654189" y="8890"/>
                      </a:lnTo>
                      <a:lnTo>
                        <a:pt x="651776" y="8890"/>
                      </a:lnTo>
                      <a:lnTo>
                        <a:pt x="649236" y="10160"/>
                      </a:lnTo>
                      <a:lnTo>
                        <a:pt x="648817" y="10160"/>
                      </a:lnTo>
                      <a:lnTo>
                        <a:pt x="646468" y="11430"/>
                      </a:lnTo>
                      <a:lnTo>
                        <a:pt x="644956" y="11430"/>
                      </a:lnTo>
                      <a:lnTo>
                        <a:pt x="645502" y="13970"/>
                      </a:lnTo>
                      <a:lnTo>
                        <a:pt x="653084" y="13970"/>
                      </a:lnTo>
                      <a:lnTo>
                        <a:pt x="650951" y="15240"/>
                      </a:lnTo>
                      <a:lnTo>
                        <a:pt x="651205" y="16510"/>
                      </a:lnTo>
                      <a:lnTo>
                        <a:pt x="652386" y="17780"/>
                      </a:lnTo>
                      <a:lnTo>
                        <a:pt x="650608" y="17780"/>
                      </a:lnTo>
                      <a:lnTo>
                        <a:pt x="651484" y="19050"/>
                      </a:lnTo>
                      <a:lnTo>
                        <a:pt x="651154" y="19050"/>
                      </a:lnTo>
                      <a:lnTo>
                        <a:pt x="649414" y="20320"/>
                      </a:lnTo>
                      <a:lnTo>
                        <a:pt x="645210" y="17780"/>
                      </a:lnTo>
                      <a:lnTo>
                        <a:pt x="641705" y="16510"/>
                      </a:lnTo>
                      <a:lnTo>
                        <a:pt x="642200" y="17780"/>
                      </a:lnTo>
                      <a:lnTo>
                        <a:pt x="639648" y="19050"/>
                      </a:lnTo>
                      <a:lnTo>
                        <a:pt x="638352" y="19050"/>
                      </a:lnTo>
                      <a:lnTo>
                        <a:pt x="637209" y="20320"/>
                      </a:lnTo>
                      <a:lnTo>
                        <a:pt x="638467" y="20320"/>
                      </a:lnTo>
                      <a:lnTo>
                        <a:pt x="638086" y="21590"/>
                      </a:lnTo>
                      <a:lnTo>
                        <a:pt x="637794" y="22860"/>
                      </a:lnTo>
                      <a:lnTo>
                        <a:pt x="636981" y="22860"/>
                      </a:lnTo>
                      <a:lnTo>
                        <a:pt x="636574" y="24130"/>
                      </a:lnTo>
                      <a:lnTo>
                        <a:pt x="637832" y="25400"/>
                      </a:lnTo>
                      <a:lnTo>
                        <a:pt x="638759" y="24130"/>
                      </a:lnTo>
                      <a:lnTo>
                        <a:pt x="639191" y="25400"/>
                      </a:lnTo>
                      <a:lnTo>
                        <a:pt x="637857" y="25400"/>
                      </a:lnTo>
                      <a:lnTo>
                        <a:pt x="637082" y="26670"/>
                      </a:lnTo>
                      <a:lnTo>
                        <a:pt x="637247" y="27940"/>
                      </a:lnTo>
                      <a:lnTo>
                        <a:pt x="636638" y="29210"/>
                      </a:lnTo>
                      <a:lnTo>
                        <a:pt x="635635" y="30480"/>
                      </a:lnTo>
                      <a:lnTo>
                        <a:pt x="635698" y="33020"/>
                      </a:lnTo>
                      <a:lnTo>
                        <a:pt x="637247" y="33020"/>
                      </a:lnTo>
                      <a:lnTo>
                        <a:pt x="639267" y="35560"/>
                      </a:lnTo>
                      <a:lnTo>
                        <a:pt x="639292" y="36830"/>
                      </a:lnTo>
                      <a:lnTo>
                        <a:pt x="642518" y="36830"/>
                      </a:lnTo>
                      <a:lnTo>
                        <a:pt x="640029" y="39370"/>
                      </a:lnTo>
                      <a:lnTo>
                        <a:pt x="639991" y="40640"/>
                      </a:lnTo>
                      <a:lnTo>
                        <a:pt x="638352" y="43180"/>
                      </a:lnTo>
                      <a:lnTo>
                        <a:pt x="636866" y="43180"/>
                      </a:lnTo>
                      <a:lnTo>
                        <a:pt x="636003" y="46990"/>
                      </a:lnTo>
                      <a:lnTo>
                        <a:pt x="637133" y="50800"/>
                      </a:lnTo>
                      <a:lnTo>
                        <a:pt x="637501" y="50800"/>
                      </a:lnTo>
                      <a:lnTo>
                        <a:pt x="639064" y="52070"/>
                      </a:lnTo>
                      <a:lnTo>
                        <a:pt x="639508" y="53340"/>
                      </a:lnTo>
                      <a:lnTo>
                        <a:pt x="641464" y="53340"/>
                      </a:lnTo>
                      <a:lnTo>
                        <a:pt x="642797" y="54610"/>
                      </a:lnTo>
                      <a:lnTo>
                        <a:pt x="642670" y="54610"/>
                      </a:lnTo>
                      <a:lnTo>
                        <a:pt x="643001" y="55880"/>
                      </a:lnTo>
                      <a:lnTo>
                        <a:pt x="642200" y="55880"/>
                      </a:lnTo>
                      <a:lnTo>
                        <a:pt x="642099" y="57150"/>
                      </a:lnTo>
                      <a:lnTo>
                        <a:pt x="643280" y="57150"/>
                      </a:lnTo>
                      <a:lnTo>
                        <a:pt x="643877" y="58420"/>
                      </a:lnTo>
                      <a:lnTo>
                        <a:pt x="644613" y="58420"/>
                      </a:lnTo>
                      <a:lnTo>
                        <a:pt x="644423" y="59690"/>
                      </a:lnTo>
                      <a:lnTo>
                        <a:pt x="644410" y="60960"/>
                      </a:lnTo>
                      <a:lnTo>
                        <a:pt x="645287" y="60960"/>
                      </a:lnTo>
                      <a:lnTo>
                        <a:pt x="645731" y="59690"/>
                      </a:lnTo>
                      <a:lnTo>
                        <a:pt x="646074" y="59690"/>
                      </a:lnTo>
                      <a:lnTo>
                        <a:pt x="646366" y="58420"/>
                      </a:lnTo>
                      <a:lnTo>
                        <a:pt x="648500" y="58420"/>
                      </a:lnTo>
                      <a:lnTo>
                        <a:pt x="648931" y="59690"/>
                      </a:lnTo>
                      <a:lnTo>
                        <a:pt x="649249" y="59690"/>
                      </a:lnTo>
                      <a:lnTo>
                        <a:pt x="649249" y="60960"/>
                      </a:lnTo>
                      <a:lnTo>
                        <a:pt x="648487" y="60960"/>
                      </a:lnTo>
                      <a:lnTo>
                        <a:pt x="648335" y="62230"/>
                      </a:lnTo>
                      <a:lnTo>
                        <a:pt x="648652" y="63500"/>
                      </a:lnTo>
                      <a:lnTo>
                        <a:pt x="649782" y="63500"/>
                      </a:lnTo>
                      <a:lnTo>
                        <a:pt x="650976" y="62230"/>
                      </a:lnTo>
                      <a:lnTo>
                        <a:pt x="652310" y="62230"/>
                      </a:lnTo>
                      <a:lnTo>
                        <a:pt x="652792" y="60960"/>
                      </a:lnTo>
                      <a:lnTo>
                        <a:pt x="653707" y="60960"/>
                      </a:lnTo>
                      <a:lnTo>
                        <a:pt x="655853" y="62230"/>
                      </a:lnTo>
                      <a:lnTo>
                        <a:pt x="656767" y="63500"/>
                      </a:lnTo>
                      <a:lnTo>
                        <a:pt x="659993" y="63500"/>
                      </a:lnTo>
                      <a:lnTo>
                        <a:pt x="662139" y="62230"/>
                      </a:lnTo>
                      <a:lnTo>
                        <a:pt x="663994" y="60960"/>
                      </a:lnTo>
                      <a:lnTo>
                        <a:pt x="663867" y="62230"/>
                      </a:lnTo>
                      <a:lnTo>
                        <a:pt x="666737" y="66040"/>
                      </a:lnTo>
                      <a:lnTo>
                        <a:pt x="670280" y="68580"/>
                      </a:lnTo>
                      <a:lnTo>
                        <a:pt x="675081" y="66040"/>
                      </a:lnTo>
                      <a:lnTo>
                        <a:pt x="678497" y="64770"/>
                      </a:lnTo>
                      <a:lnTo>
                        <a:pt x="679157" y="64770"/>
                      </a:lnTo>
                      <a:lnTo>
                        <a:pt x="679272" y="66040"/>
                      </a:lnTo>
                      <a:lnTo>
                        <a:pt x="681545" y="67310"/>
                      </a:lnTo>
                      <a:lnTo>
                        <a:pt x="679970" y="67310"/>
                      </a:lnTo>
                      <a:lnTo>
                        <a:pt x="679119" y="69850"/>
                      </a:lnTo>
                      <a:lnTo>
                        <a:pt x="680593" y="68580"/>
                      </a:lnTo>
                      <a:lnTo>
                        <a:pt x="683628" y="68580"/>
                      </a:lnTo>
                      <a:lnTo>
                        <a:pt x="682650" y="69850"/>
                      </a:lnTo>
                      <a:lnTo>
                        <a:pt x="681723" y="69850"/>
                      </a:lnTo>
                      <a:lnTo>
                        <a:pt x="679005" y="71120"/>
                      </a:lnTo>
                      <a:lnTo>
                        <a:pt x="677214" y="73660"/>
                      </a:lnTo>
                      <a:lnTo>
                        <a:pt x="675182" y="74930"/>
                      </a:lnTo>
                      <a:lnTo>
                        <a:pt x="676122" y="72390"/>
                      </a:lnTo>
                      <a:lnTo>
                        <a:pt x="669975" y="69850"/>
                      </a:lnTo>
                      <a:lnTo>
                        <a:pt x="668693" y="71120"/>
                      </a:lnTo>
                      <a:lnTo>
                        <a:pt x="668985" y="71120"/>
                      </a:lnTo>
                      <a:lnTo>
                        <a:pt x="668934" y="72390"/>
                      </a:lnTo>
                      <a:lnTo>
                        <a:pt x="668820" y="73660"/>
                      </a:lnTo>
                      <a:lnTo>
                        <a:pt x="667854" y="74930"/>
                      </a:lnTo>
                      <a:lnTo>
                        <a:pt x="668883" y="74930"/>
                      </a:lnTo>
                      <a:lnTo>
                        <a:pt x="667804" y="77470"/>
                      </a:lnTo>
                      <a:lnTo>
                        <a:pt x="665124" y="78740"/>
                      </a:lnTo>
                      <a:lnTo>
                        <a:pt x="664337" y="81280"/>
                      </a:lnTo>
                      <a:lnTo>
                        <a:pt x="664159" y="83820"/>
                      </a:lnTo>
                      <a:lnTo>
                        <a:pt x="664032" y="85090"/>
                      </a:lnTo>
                      <a:lnTo>
                        <a:pt x="665022" y="83820"/>
                      </a:lnTo>
                      <a:lnTo>
                        <a:pt x="665353" y="85090"/>
                      </a:lnTo>
                      <a:lnTo>
                        <a:pt x="671563" y="85090"/>
                      </a:lnTo>
                      <a:lnTo>
                        <a:pt x="672985" y="83820"/>
                      </a:lnTo>
                      <a:lnTo>
                        <a:pt x="674357" y="82550"/>
                      </a:lnTo>
                      <a:lnTo>
                        <a:pt x="671652" y="82550"/>
                      </a:lnTo>
                      <a:lnTo>
                        <a:pt x="672579" y="80010"/>
                      </a:lnTo>
                      <a:lnTo>
                        <a:pt x="673379" y="80010"/>
                      </a:lnTo>
                      <a:lnTo>
                        <a:pt x="673887" y="78740"/>
                      </a:lnTo>
                      <a:lnTo>
                        <a:pt x="674166" y="77470"/>
                      </a:lnTo>
                      <a:lnTo>
                        <a:pt x="674433" y="78740"/>
                      </a:lnTo>
                      <a:lnTo>
                        <a:pt x="674725" y="78740"/>
                      </a:lnTo>
                      <a:lnTo>
                        <a:pt x="674725" y="80010"/>
                      </a:lnTo>
                      <a:lnTo>
                        <a:pt x="675957" y="78740"/>
                      </a:lnTo>
                      <a:lnTo>
                        <a:pt x="678091" y="80010"/>
                      </a:lnTo>
                      <a:lnTo>
                        <a:pt x="676694" y="86360"/>
                      </a:lnTo>
                      <a:lnTo>
                        <a:pt x="676732" y="88900"/>
                      </a:lnTo>
                      <a:lnTo>
                        <a:pt x="678040" y="87630"/>
                      </a:lnTo>
                      <a:lnTo>
                        <a:pt x="681723" y="87630"/>
                      </a:lnTo>
                      <a:lnTo>
                        <a:pt x="679589" y="88900"/>
                      </a:lnTo>
                      <a:lnTo>
                        <a:pt x="677557" y="90170"/>
                      </a:lnTo>
                      <a:lnTo>
                        <a:pt x="673290" y="92710"/>
                      </a:lnTo>
                      <a:lnTo>
                        <a:pt x="672274" y="95250"/>
                      </a:lnTo>
                      <a:lnTo>
                        <a:pt x="669467" y="97790"/>
                      </a:lnTo>
                      <a:lnTo>
                        <a:pt x="668248" y="97790"/>
                      </a:lnTo>
                      <a:lnTo>
                        <a:pt x="664679" y="100330"/>
                      </a:lnTo>
                      <a:lnTo>
                        <a:pt x="663143" y="102870"/>
                      </a:lnTo>
                      <a:lnTo>
                        <a:pt x="659447" y="102870"/>
                      </a:lnTo>
                      <a:lnTo>
                        <a:pt x="658253" y="101600"/>
                      </a:lnTo>
                      <a:lnTo>
                        <a:pt x="656297" y="101600"/>
                      </a:lnTo>
                      <a:lnTo>
                        <a:pt x="655142" y="102870"/>
                      </a:lnTo>
                      <a:lnTo>
                        <a:pt x="655815" y="101600"/>
                      </a:lnTo>
                      <a:lnTo>
                        <a:pt x="652170" y="101600"/>
                      </a:lnTo>
                      <a:lnTo>
                        <a:pt x="651827" y="102870"/>
                      </a:lnTo>
                      <a:lnTo>
                        <a:pt x="650506" y="105410"/>
                      </a:lnTo>
                      <a:lnTo>
                        <a:pt x="648703" y="107950"/>
                      </a:lnTo>
                      <a:lnTo>
                        <a:pt x="648817" y="110490"/>
                      </a:lnTo>
                      <a:lnTo>
                        <a:pt x="650925" y="111760"/>
                      </a:lnTo>
                      <a:lnTo>
                        <a:pt x="652005" y="111760"/>
                      </a:lnTo>
                      <a:lnTo>
                        <a:pt x="653783" y="114300"/>
                      </a:lnTo>
                      <a:lnTo>
                        <a:pt x="653072" y="115570"/>
                      </a:lnTo>
                      <a:lnTo>
                        <a:pt x="653745" y="118110"/>
                      </a:lnTo>
                      <a:lnTo>
                        <a:pt x="655002" y="120650"/>
                      </a:lnTo>
                      <a:lnTo>
                        <a:pt x="654456" y="123190"/>
                      </a:lnTo>
                      <a:lnTo>
                        <a:pt x="653834" y="124460"/>
                      </a:lnTo>
                      <a:lnTo>
                        <a:pt x="654443" y="127000"/>
                      </a:lnTo>
                      <a:lnTo>
                        <a:pt x="655396" y="129540"/>
                      </a:lnTo>
                      <a:lnTo>
                        <a:pt x="653669" y="130810"/>
                      </a:lnTo>
                      <a:lnTo>
                        <a:pt x="653453" y="129540"/>
                      </a:lnTo>
                      <a:lnTo>
                        <a:pt x="653808" y="128270"/>
                      </a:lnTo>
                      <a:lnTo>
                        <a:pt x="654265" y="127000"/>
                      </a:lnTo>
                      <a:lnTo>
                        <a:pt x="653313" y="127000"/>
                      </a:lnTo>
                      <a:lnTo>
                        <a:pt x="653059" y="125730"/>
                      </a:lnTo>
                      <a:lnTo>
                        <a:pt x="652754" y="124460"/>
                      </a:lnTo>
                      <a:lnTo>
                        <a:pt x="653008" y="124460"/>
                      </a:lnTo>
                      <a:lnTo>
                        <a:pt x="651535" y="123266"/>
                      </a:lnTo>
                      <a:lnTo>
                        <a:pt x="651535" y="129540"/>
                      </a:lnTo>
                      <a:lnTo>
                        <a:pt x="650125" y="130810"/>
                      </a:lnTo>
                      <a:lnTo>
                        <a:pt x="649160" y="130416"/>
                      </a:lnTo>
                      <a:lnTo>
                        <a:pt x="649160" y="134620"/>
                      </a:lnTo>
                      <a:lnTo>
                        <a:pt x="647039" y="137160"/>
                      </a:lnTo>
                      <a:lnTo>
                        <a:pt x="646963" y="135890"/>
                      </a:lnTo>
                      <a:lnTo>
                        <a:pt x="647344" y="134620"/>
                      </a:lnTo>
                      <a:lnTo>
                        <a:pt x="645668" y="133350"/>
                      </a:lnTo>
                      <a:lnTo>
                        <a:pt x="644131" y="133350"/>
                      </a:lnTo>
                      <a:lnTo>
                        <a:pt x="642696" y="132080"/>
                      </a:lnTo>
                      <a:lnTo>
                        <a:pt x="642353" y="130810"/>
                      </a:lnTo>
                      <a:lnTo>
                        <a:pt x="641299" y="129540"/>
                      </a:lnTo>
                      <a:lnTo>
                        <a:pt x="640257" y="129540"/>
                      </a:lnTo>
                      <a:lnTo>
                        <a:pt x="638860" y="127000"/>
                      </a:lnTo>
                      <a:lnTo>
                        <a:pt x="637044" y="125730"/>
                      </a:lnTo>
                      <a:lnTo>
                        <a:pt x="640842" y="125730"/>
                      </a:lnTo>
                      <a:lnTo>
                        <a:pt x="639851" y="127000"/>
                      </a:lnTo>
                      <a:lnTo>
                        <a:pt x="640600" y="128270"/>
                      </a:lnTo>
                      <a:lnTo>
                        <a:pt x="643470" y="128270"/>
                      </a:lnTo>
                      <a:lnTo>
                        <a:pt x="643966" y="127000"/>
                      </a:lnTo>
                      <a:lnTo>
                        <a:pt x="644918" y="125730"/>
                      </a:lnTo>
                      <a:lnTo>
                        <a:pt x="643813" y="128270"/>
                      </a:lnTo>
                      <a:lnTo>
                        <a:pt x="644537" y="128701"/>
                      </a:lnTo>
                      <a:lnTo>
                        <a:pt x="643102" y="129540"/>
                      </a:lnTo>
                      <a:lnTo>
                        <a:pt x="644740" y="130810"/>
                      </a:lnTo>
                      <a:lnTo>
                        <a:pt x="649160" y="134620"/>
                      </a:lnTo>
                      <a:lnTo>
                        <a:pt x="649160" y="130416"/>
                      </a:lnTo>
                      <a:lnTo>
                        <a:pt x="647052" y="129540"/>
                      </a:lnTo>
                      <a:lnTo>
                        <a:pt x="646569" y="129197"/>
                      </a:lnTo>
                      <a:lnTo>
                        <a:pt x="648119" y="128270"/>
                      </a:lnTo>
                      <a:lnTo>
                        <a:pt x="649338" y="128270"/>
                      </a:lnTo>
                      <a:lnTo>
                        <a:pt x="651116" y="129540"/>
                      </a:lnTo>
                      <a:lnTo>
                        <a:pt x="651535" y="129540"/>
                      </a:lnTo>
                      <a:lnTo>
                        <a:pt x="651535" y="123266"/>
                      </a:lnTo>
                      <a:lnTo>
                        <a:pt x="651840" y="123190"/>
                      </a:lnTo>
                      <a:lnTo>
                        <a:pt x="650544" y="121920"/>
                      </a:lnTo>
                      <a:lnTo>
                        <a:pt x="647877" y="123190"/>
                      </a:lnTo>
                      <a:lnTo>
                        <a:pt x="647382" y="123190"/>
                      </a:lnTo>
                      <a:lnTo>
                        <a:pt x="648614" y="121920"/>
                      </a:lnTo>
                      <a:lnTo>
                        <a:pt x="650392" y="120650"/>
                      </a:lnTo>
                      <a:lnTo>
                        <a:pt x="651383" y="118110"/>
                      </a:lnTo>
                      <a:lnTo>
                        <a:pt x="648601" y="120650"/>
                      </a:lnTo>
                      <a:lnTo>
                        <a:pt x="649147" y="118110"/>
                      </a:lnTo>
                      <a:lnTo>
                        <a:pt x="646493" y="119380"/>
                      </a:lnTo>
                      <a:lnTo>
                        <a:pt x="644461" y="121920"/>
                      </a:lnTo>
                      <a:lnTo>
                        <a:pt x="642493" y="121920"/>
                      </a:lnTo>
                      <a:lnTo>
                        <a:pt x="642264" y="120650"/>
                      </a:lnTo>
                      <a:lnTo>
                        <a:pt x="640346" y="121920"/>
                      </a:lnTo>
                      <a:lnTo>
                        <a:pt x="641502" y="119380"/>
                      </a:lnTo>
                      <a:lnTo>
                        <a:pt x="642721" y="119380"/>
                      </a:lnTo>
                      <a:lnTo>
                        <a:pt x="642912" y="118110"/>
                      </a:lnTo>
                      <a:lnTo>
                        <a:pt x="641489" y="118110"/>
                      </a:lnTo>
                      <a:lnTo>
                        <a:pt x="640181" y="116840"/>
                      </a:lnTo>
                      <a:lnTo>
                        <a:pt x="637171" y="115570"/>
                      </a:lnTo>
                      <a:lnTo>
                        <a:pt x="638632" y="115570"/>
                      </a:lnTo>
                      <a:lnTo>
                        <a:pt x="637844" y="114300"/>
                      </a:lnTo>
                      <a:lnTo>
                        <a:pt x="639927" y="114300"/>
                      </a:lnTo>
                      <a:lnTo>
                        <a:pt x="639114" y="113030"/>
                      </a:lnTo>
                      <a:lnTo>
                        <a:pt x="639914" y="110490"/>
                      </a:lnTo>
                      <a:lnTo>
                        <a:pt x="640791" y="111760"/>
                      </a:lnTo>
                      <a:lnTo>
                        <a:pt x="641350" y="113030"/>
                      </a:lnTo>
                      <a:lnTo>
                        <a:pt x="641743" y="111760"/>
                      </a:lnTo>
                      <a:lnTo>
                        <a:pt x="642124" y="110490"/>
                      </a:lnTo>
                      <a:lnTo>
                        <a:pt x="641337" y="111760"/>
                      </a:lnTo>
                      <a:lnTo>
                        <a:pt x="641261" y="110490"/>
                      </a:lnTo>
                      <a:lnTo>
                        <a:pt x="641718" y="110490"/>
                      </a:lnTo>
                      <a:lnTo>
                        <a:pt x="641362" y="107950"/>
                      </a:lnTo>
                      <a:lnTo>
                        <a:pt x="642226" y="105410"/>
                      </a:lnTo>
                      <a:lnTo>
                        <a:pt x="642607" y="104140"/>
                      </a:lnTo>
                      <a:lnTo>
                        <a:pt x="642950" y="102870"/>
                      </a:lnTo>
                      <a:lnTo>
                        <a:pt x="643458" y="101600"/>
                      </a:lnTo>
                      <a:lnTo>
                        <a:pt x="643953" y="101600"/>
                      </a:lnTo>
                      <a:lnTo>
                        <a:pt x="644017" y="100330"/>
                      </a:lnTo>
                      <a:lnTo>
                        <a:pt x="643674" y="100330"/>
                      </a:lnTo>
                      <a:lnTo>
                        <a:pt x="643636" y="99060"/>
                      </a:lnTo>
                      <a:lnTo>
                        <a:pt x="644499" y="97790"/>
                      </a:lnTo>
                      <a:lnTo>
                        <a:pt x="643280" y="97790"/>
                      </a:lnTo>
                      <a:lnTo>
                        <a:pt x="642048" y="99060"/>
                      </a:lnTo>
                      <a:lnTo>
                        <a:pt x="639394" y="100330"/>
                      </a:lnTo>
                      <a:lnTo>
                        <a:pt x="638987" y="101600"/>
                      </a:lnTo>
                      <a:lnTo>
                        <a:pt x="636854" y="102870"/>
                      </a:lnTo>
                      <a:lnTo>
                        <a:pt x="634238" y="104140"/>
                      </a:lnTo>
                      <a:lnTo>
                        <a:pt x="631926" y="101600"/>
                      </a:lnTo>
                      <a:lnTo>
                        <a:pt x="634339" y="101600"/>
                      </a:lnTo>
                      <a:lnTo>
                        <a:pt x="635596" y="100330"/>
                      </a:lnTo>
                      <a:lnTo>
                        <a:pt x="636079" y="99060"/>
                      </a:lnTo>
                      <a:lnTo>
                        <a:pt x="635533" y="99060"/>
                      </a:lnTo>
                      <a:lnTo>
                        <a:pt x="633476" y="97790"/>
                      </a:lnTo>
                      <a:lnTo>
                        <a:pt x="635355" y="97790"/>
                      </a:lnTo>
                      <a:lnTo>
                        <a:pt x="634555" y="96520"/>
                      </a:lnTo>
                      <a:lnTo>
                        <a:pt x="633450" y="96532"/>
                      </a:lnTo>
                      <a:lnTo>
                        <a:pt x="630847" y="97790"/>
                      </a:lnTo>
                      <a:lnTo>
                        <a:pt x="630186" y="96520"/>
                      </a:lnTo>
                      <a:lnTo>
                        <a:pt x="630047" y="96520"/>
                      </a:lnTo>
                      <a:lnTo>
                        <a:pt x="630428" y="95250"/>
                      </a:lnTo>
                      <a:lnTo>
                        <a:pt x="629602" y="93980"/>
                      </a:lnTo>
                      <a:lnTo>
                        <a:pt x="628700" y="93980"/>
                      </a:lnTo>
                      <a:lnTo>
                        <a:pt x="627341" y="92710"/>
                      </a:lnTo>
                      <a:lnTo>
                        <a:pt x="625284" y="91440"/>
                      </a:lnTo>
                      <a:lnTo>
                        <a:pt x="623925" y="93980"/>
                      </a:lnTo>
                      <a:lnTo>
                        <a:pt x="621245" y="92710"/>
                      </a:lnTo>
                      <a:lnTo>
                        <a:pt x="619340" y="91440"/>
                      </a:lnTo>
                      <a:lnTo>
                        <a:pt x="611682" y="88900"/>
                      </a:lnTo>
                      <a:lnTo>
                        <a:pt x="620915" y="93980"/>
                      </a:lnTo>
                      <a:lnTo>
                        <a:pt x="615543" y="95250"/>
                      </a:lnTo>
                      <a:lnTo>
                        <a:pt x="613816" y="96520"/>
                      </a:lnTo>
                      <a:lnTo>
                        <a:pt x="610069" y="95250"/>
                      </a:lnTo>
                      <a:lnTo>
                        <a:pt x="607999" y="93980"/>
                      </a:lnTo>
                      <a:lnTo>
                        <a:pt x="605523" y="93980"/>
                      </a:lnTo>
                      <a:lnTo>
                        <a:pt x="605929" y="95250"/>
                      </a:lnTo>
                      <a:lnTo>
                        <a:pt x="606386" y="95250"/>
                      </a:lnTo>
                      <a:lnTo>
                        <a:pt x="607161" y="96520"/>
                      </a:lnTo>
                      <a:lnTo>
                        <a:pt x="608126" y="96520"/>
                      </a:lnTo>
                      <a:lnTo>
                        <a:pt x="608050" y="97790"/>
                      </a:lnTo>
                      <a:lnTo>
                        <a:pt x="609117" y="99060"/>
                      </a:lnTo>
                      <a:lnTo>
                        <a:pt x="610450" y="97790"/>
                      </a:lnTo>
                      <a:lnTo>
                        <a:pt x="610400" y="102870"/>
                      </a:lnTo>
                      <a:lnTo>
                        <a:pt x="609066" y="100330"/>
                      </a:lnTo>
                      <a:lnTo>
                        <a:pt x="608177" y="100330"/>
                      </a:lnTo>
                      <a:lnTo>
                        <a:pt x="608901" y="101600"/>
                      </a:lnTo>
                      <a:lnTo>
                        <a:pt x="610336" y="102870"/>
                      </a:lnTo>
                      <a:lnTo>
                        <a:pt x="611339" y="104140"/>
                      </a:lnTo>
                      <a:lnTo>
                        <a:pt x="613562" y="106680"/>
                      </a:lnTo>
                      <a:lnTo>
                        <a:pt x="614121" y="107950"/>
                      </a:lnTo>
                      <a:lnTo>
                        <a:pt x="615657" y="105410"/>
                      </a:lnTo>
                      <a:lnTo>
                        <a:pt x="620763" y="102870"/>
                      </a:lnTo>
                      <a:lnTo>
                        <a:pt x="622350" y="104140"/>
                      </a:lnTo>
                      <a:lnTo>
                        <a:pt x="623138" y="105410"/>
                      </a:lnTo>
                      <a:lnTo>
                        <a:pt x="624090" y="106680"/>
                      </a:lnTo>
                      <a:lnTo>
                        <a:pt x="624992" y="106680"/>
                      </a:lnTo>
                      <a:lnTo>
                        <a:pt x="625944" y="105410"/>
                      </a:lnTo>
                      <a:lnTo>
                        <a:pt x="626795" y="105410"/>
                      </a:lnTo>
                      <a:lnTo>
                        <a:pt x="628218" y="107950"/>
                      </a:lnTo>
                      <a:lnTo>
                        <a:pt x="628357" y="109220"/>
                      </a:lnTo>
                      <a:lnTo>
                        <a:pt x="627354" y="109220"/>
                      </a:lnTo>
                      <a:lnTo>
                        <a:pt x="627341" y="110490"/>
                      </a:lnTo>
                      <a:lnTo>
                        <a:pt x="629043" y="111760"/>
                      </a:lnTo>
                      <a:lnTo>
                        <a:pt x="626414" y="113030"/>
                      </a:lnTo>
                      <a:lnTo>
                        <a:pt x="621639" y="113030"/>
                      </a:lnTo>
                      <a:lnTo>
                        <a:pt x="619836" y="111760"/>
                      </a:lnTo>
                      <a:lnTo>
                        <a:pt x="618528" y="111760"/>
                      </a:lnTo>
                      <a:lnTo>
                        <a:pt x="617143" y="110490"/>
                      </a:lnTo>
                      <a:lnTo>
                        <a:pt x="615759" y="109220"/>
                      </a:lnTo>
                      <a:lnTo>
                        <a:pt x="614451" y="109220"/>
                      </a:lnTo>
                      <a:lnTo>
                        <a:pt x="612203" y="105410"/>
                      </a:lnTo>
                      <a:lnTo>
                        <a:pt x="610273" y="102870"/>
                      </a:lnTo>
                      <a:lnTo>
                        <a:pt x="606539" y="101600"/>
                      </a:lnTo>
                      <a:lnTo>
                        <a:pt x="605028" y="101600"/>
                      </a:lnTo>
                      <a:lnTo>
                        <a:pt x="605370" y="104140"/>
                      </a:lnTo>
                      <a:lnTo>
                        <a:pt x="605777" y="105410"/>
                      </a:lnTo>
                      <a:lnTo>
                        <a:pt x="606933" y="105410"/>
                      </a:lnTo>
                      <a:lnTo>
                        <a:pt x="606132" y="106680"/>
                      </a:lnTo>
                      <a:lnTo>
                        <a:pt x="604850" y="107950"/>
                      </a:lnTo>
                      <a:lnTo>
                        <a:pt x="602526" y="110490"/>
                      </a:lnTo>
                      <a:lnTo>
                        <a:pt x="597636" y="110490"/>
                      </a:lnTo>
                      <a:lnTo>
                        <a:pt x="593585" y="107950"/>
                      </a:lnTo>
                      <a:lnTo>
                        <a:pt x="585660" y="107950"/>
                      </a:lnTo>
                      <a:lnTo>
                        <a:pt x="581152" y="106680"/>
                      </a:lnTo>
                      <a:lnTo>
                        <a:pt x="576795" y="109220"/>
                      </a:lnTo>
                      <a:lnTo>
                        <a:pt x="570712" y="110490"/>
                      </a:lnTo>
                      <a:lnTo>
                        <a:pt x="567143" y="111760"/>
                      </a:lnTo>
                      <a:lnTo>
                        <a:pt x="562749" y="110490"/>
                      </a:lnTo>
                      <a:lnTo>
                        <a:pt x="559028" y="110490"/>
                      </a:lnTo>
                      <a:lnTo>
                        <a:pt x="558507" y="111760"/>
                      </a:lnTo>
                      <a:lnTo>
                        <a:pt x="558507" y="110490"/>
                      </a:lnTo>
                      <a:lnTo>
                        <a:pt x="554926" y="110490"/>
                      </a:lnTo>
                      <a:lnTo>
                        <a:pt x="550456" y="107950"/>
                      </a:lnTo>
                      <a:lnTo>
                        <a:pt x="548132" y="107950"/>
                      </a:lnTo>
                      <a:lnTo>
                        <a:pt x="545922" y="106680"/>
                      </a:lnTo>
                      <a:lnTo>
                        <a:pt x="545553" y="105410"/>
                      </a:lnTo>
                      <a:lnTo>
                        <a:pt x="543039" y="105410"/>
                      </a:lnTo>
                      <a:lnTo>
                        <a:pt x="539115" y="104140"/>
                      </a:lnTo>
                      <a:lnTo>
                        <a:pt x="538975" y="102870"/>
                      </a:lnTo>
                      <a:lnTo>
                        <a:pt x="535419" y="101600"/>
                      </a:lnTo>
                      <a:lnTo>
                        <a:pt x="531749" y="102870"/>
                      </a:lnTo>
                      <a:lnTo>
                        <a:pt x="522338" y="102870"/>
                      </a:lnTo>
                      <a:lnTo>
                        <a:pt x="522922" y="101600"/>
                      </a:lnTo>
                      <a:lnTo>
                        <a:pt x="521893" y="101600"/>
                      </a:lnTo>
                      <a:lnTo>
                        <a:pt x="521233" y="100330"/>
                      </a:lnTo>
                      <a:lnTo>
                        <a:pt x="520344" y="100330"/>
                      </a:lnTo>
                      <a:lnTo>
                        <a:pt x="520319" y="99060"/>
                      </a:lnTo>
                      <a:lnTo>
                        <a:pt x="520865" y="99060"/>
                      </a:lnTo>
                      <a:lnTo>
                        <a:pt x="520534" y="97790"/>
                      </a:lnTo>
                      <a:lnTo>
                        <a:pt x="516064" y="97790"/>
                      </a:lnTo>
                      <a:lnTo>
                        <a:pt x="516509" y="96520"/>
                      </a:lnTo>
                      <a:lnTo>
                        <a:pt x="514642" y="97790"/>
                      </a:lnTo>
                      <a:lnTo>
                        <a:pt x="513575" y="96520"/>
                      </a:lnTo>
                      <a:lnTo>
                        <a:pt x="511568" y="95250"/>
                      </a:lnTo>
                      <a:lnTo>
                        <a:pt x="510387" y="93980"/>
                      </a:lnTo>
                      <a:lnTo>
                        <a:pt x="510946" y="93980"/>
                      </a:lnTo>
                      <a:lnTo>
                        <a:pt x="510108" y="92710"/>
                      </a:lnTo>
                      <a:lnTo>
                        <a:pt x="509270" y="93980"/>
                      </a:lnTo>
                      <a:lnTo>
                        <a:pt x="505815" y="91440"/>
                      </a:lnTo>
                      <a:lnTo>
                        <a:pt x="510705" y="92710"/>
                      </a:lnTo>
                      <a:lnTo>
                        <a:pt x="510882" y="91440"/>
                      </a:lnTo>
                      <a:lnTo>
                        <a:pt x="509282" y="88900"/>
                      </a:lnTo>
                      <a:lnTo>
                        <a:pt x="508736" y="88900"/>
                      </a:lnTo>
                      <a:lnTo>
                        <a:pt x="508000" y="87630"/>
                      </a:lnTo>
                      <a:lnTo>
                        <a:pt x="507860" y="86360"/>
                      </a:lnTo>
                      <a:lnTo>
                        <a:pt x="508825" y="86360"/>
                      </a:lnTo>
                      <a:lnTo>
                        <a:pt x="508596" y="85090"/>
                      </a:lnTo>
                      <a:lnTo>
                        <a:pt x="507022" y="83820"/>
                      </a:lnTo>
                      <a:lnTo>
                        <a:pt x="504456" y="81280"/>
                      </a:lnTo>
                      <a:lnTo>
                        <a:pt x="500862" y="80010"/>
                      </a:lnTo>
                      <a:lnTo>
                        <a:pt x="497484" y="80010"/>
                      </a:lnTo>
                      <a:lnTo>
                        <a:pt x="495681" y="81280"/>
                      </a:lnTo>
                      <a:lnTo>
                        <a:pt x="491274" y="82550"/>
                      </a:lnTo>
                      <a:lnTo>
                        <a:pt x="487972" y="83820"/>
                      </a:lnTo>
                      <a:lnTo>
                        <a:pt x="470217" y="87630"/>
                      </a:lnTo>
                      <a:lnTo>
                        <a:pt x="468299" y="87630"/>
                      </a:lnTo>
                      <a:lnTo>
                        <a:pt x="467690" y="88900"/>
                      </a:lnTo>
                      <a:lnTo>
                        <a:pt x="465810" y="91440"/>
                      </a:lnTo>
                      <a:lnTo>
                        <a:pt x="465302" y="92710"/>
                      </a:lnTo>
                      <a:lnTo>
                        <a:pt x="463677" y="93980"/>
                      </a:lnTo>
                      <a:lnTo>
                        <a:pt x="462584" y="95250"/>
                      </a:lnTo>
                      <a:lnTo>
                        <a:pt x="458355" y="100330"/>
                      </a:lnTo>
                      <a:lnTo>
                        <a:pt x="469214" y="92710"/>
                      </a:lnTo>
                      <a:lnTo>
                        <a:pt x="466521" y="97790"/>
                      </a:lnTo>
                      <a:lnTo>
                        <a:pt x="469963" y="97790"/>
                      </a:lnTo>
                      <a:lnTo>
                        <a:pt x="474510" y="99060"/>
                      </a:lnTo>
                      <a:lnTo>
                        <a:pt x="478294" y="99060"/>
                      </a:lnTo>
                      <a:lnTo>
                        <a:pt x="476834" y="97790"/>
                      </a:lnTo>
                      <a:lnTo>
                        <a:pt x="475424" y="97790"/>
                      </a:lnTo>
                      <a:lnTo>
                        <a:pt x="475170" y="95250"/>
                      </a:lnTo>
                      <a:lnTo>
                        <a:pt x="480453" y="95250"/>
                      </a:lnTo>
                      <a:lnTo>
                        <a:pt x="481584" y="96520"/>
                      </a:lnTo>
                      <a:lnTo>
                        <a:pt x="485368" y="96520"/>
                      </a:lnTo>
                      <a:lnTo>
                        <a:pt x="486765" y="95250"/>
                      </a:lnTo>
                      <a:lnTo>
                        <a:pt x="488162" y="93980"/>
                      </a:lnTo>
                      <a:lnTo>
                        <a:pt x="489216" y="92710"/>
                      </a:lnTo>
                      <a:lnTo>
                        <a:pt x="491629" y="93980"/>
                      </a:lnTo>
                      <a:lnTo>
                        <a:pt x="492429" y="95250"/>
                      </a:lnTo>
                      <a:lnTo>
                        <a:pt x="493572" y="96520"/>
                      </a:lnTo>
                      <a:lnTo>
                        <a:pt x="492620" y="95250"/>
                      </a:lnTo>
                      <a:lnTo>
                        <a:pt x="494118" y="95250"/>
                      </a:lnTo>
                      <a:lnTo>
                        <a:pt x="494449" y="92710"/>
                      </a:lnTo>
                      <a:lnTo>
                        <a:pt x="493331" y="92710"/>
                      </a:lnTo>
                      <a:lnTo>
                        <a:pt x="493839" y="90170"/>
                      </a:lnTo>
                      <a:lnTo>
                        <a:pt x="494931" y="90170"/>
                      </a:lnTo>
                      <a:lnTo>
                        <a:pt x="499262" y="88900"/>
                      </a:lnTo>
                      <a:lnTo>
                        <a:pt x="502843" y="87630"/>
                      </a:lnTo>
                      <a:lnTo>
                        <a:pt x="505993" y="87630"/>
                      </a:lnTo>
                      <a:lnTo>
                        <a:pt x="504672" y="88900"/>
                      </a:lnTo>
                      <a:lnTo>
                        <a:pt x="504583" y="90170"/>
                      </a:lnTo>
                      <a:lnTo>
                        <a:pt x="505625" y="90170"/>
                      </a:lnTo>
                      <a:lnTo>
                        <a:pt x="505320" y="92710"/>
                      </a:lnTo>
                      <a:lnTo>
                        <a:pt x="498690" y="93980"/>
                      </a:lnTo>
                      <a:lnTo>
                        <a:pt x="494741" y="95250"/>
                      </a:lnTo>
                      <a:lnTo>
                        <a:pt x="494868" y="95250"/>
                      </a:lnTo>
                      <a:lnTo>
                        <a:pt x="494347" y="100330"/>
                      </a:lnTo>
                      <a:lnTo>
                        <a:pt x="494398" y="97790"/>
                      </a:lnTo>
                      <a:lnTo>
                        <a:pt x="489102" y="97790"/>
                      </a:lnTo>
                      <a:lnTo>
                        <a:pt x="490156" y="99060"/>
                      </a:lnTo>
                      <a:lnTo>
                        <a:pt x="475830" y="103784"/>
                      </a:lnTo>
                      <a:lnTo>
                        <a:pt x="474370" y="101600"/>
                      </a:lnTo>
                      <a:lnTo>
                        <a:pt x="474116" y="102870"/>
                      </a:lnTo>
                      <a:lnTo>
                        <a:pt x="474345" y="102870"/>
                      </a:lnTo>
                      <a:lnTo>
                        <a:pt x="475538" y="103873"/>
                      </a:lnTo>
                      <a:lnTo>
                        <a:pt x="474726" y="104140"/>
                      </a:lnTo>
                      <a:lnTo>
                        <a:pt x="475843" y="104140"/>
                      </a:lnTo>
                      <a:lnTo>
                        <a:pt x="476072" y="104140"/>
                      </a:lnTo>
                      <a:lnTo>
                        <a:pt x="478180" y="104140"/>
                      </a:lnTo>
                      <a:lnTo>
                        <a:pt x="475589" y="106680"/>
                      </a:lnTo>
                      <a:lnTo>
                        <a:pt x="472909" y="106680"/>
                      </a:lnTo>
                      <a:lnTo>
                        <a:pt x="472490" y="109220"/>
                      </a:lnTo>
                      <a:lnTo>
                        <a:pt x="471678" y="109220"/>
                      </a:lnTo>
                      <a:lnTo>
                        <a:pt x="471297" y="110490"/>
                      </a:lnTo>
                      <a:lnTo>
                        <a:pt x="470865" y="110490"/>
                      </a:lnTo>
                      <a:lnTo>
                        <a:pt x="471995" y="111760"/>
                      </a:lnTo>
                      <a:lnTo>
                        <a:pt x="473202" y="113030"/>
                      </a:lnTo>
                      <a:lnTo>
                        <a:pt x="473557" y="113030"/>
                      </a:lnTo>
                      <a:lnTo>
                        <a:pt x="473735" y="111760"/>
                      </a:lnTo>
                      <a:lnTo>
                        <a:pt x="473875" y="111760"/>
                      </a:lnTo>
                      <a:lnTo>
                        <a:pt x="475170" y="113030"/>
                      </a:lnTo>
                      <a:lnTo>
                        <a:pt x="476123" y="113030"/>
                      </a:lnTo>
                      <a:lnTo>
                        <a:pt x="478675" y="115570"/>
                      </a:lnTo>
                      <a:lnTo>
                        <a:pt x="476948" y="118071"/>
                      </a:lnTo>
                      <a:lnTo>
                        <a:pt x="477227" y="119380"/>
                      </a:lnTo>
                      <a:lnTo>
                        <a:pt x="477913" y="119380"/>
                      </a:lnTo>
                      <a:lnTo>
                        <a:pt x="478688" y="120650"/>
                      </a:lnTo>
                      <a:lnTo>
                        <a:pt x="478815" y="121920"/>
                      </a:lnTo>
                      <a:lnTo>
                        <a:pt x="480402" y="124460"/>
                      </a:lnTo>
                      <a:lnTo>
                        <a:pt x="484009" y="124460"/>
                      </a:lnTo>
                      <a:lnTo>
                        <a:pt x="483489" y="125730"/>
                      </a:lnTo>
                      <a:lnTo>
                        <a:pt x="481850" y="125730"/>
                      </a:lnTo>
                      <a:lnTo>
                        <a:pt x="481050" y="127000"/>
                      </a:lnTo>
                      <a:lnTo>
                        <a:pt x="481939" y="127000"/>
                      </a:lnTo>
                      <a:lnTo>
                        <a:pt x="483806" y="128270"/>
                      </a:lnTo>
                      <a:lnTo>
                        <a:pt x="485330" y="130810"/>
                      </a:lnTo>
                      <a:lnTo>
                        <a:pt x="485165" y="132080"/>
                      </a:lnTo>
                      <a:lnTo>
                        <a:pt x="483768" y="130810"/>
                      </a:lnTo>
                      <a:lnTo>
                        <a:pt x="482879" y="129540"/>
                      </a:lnTo>
                      <a:lnTo>
                        <a:pt x="480606" y="128270"/>
                      </a:lnTo>
                      <a:lnTo>
                        <a:pt x="481291" y="129540"/>
                      </a:lnTo>
                      <a:lnTo>
                        <a:pt x="481291" y="130810"/>
                      </a:lnTo>
                      <a:lnTo>
                        <a:pt x="480669" y="132080"/>
                      </a:lnTo>
                      <a:lnTo>
                        <a:pt x="478878" y="132080"/>
                      </a:lnTo>
                      <a:lnTo>
                        <a:pt x="479348" y="130810"/>
                      </a:lnTo>
                      <a:lnTo>
                        <a:pt x="478091" y="130810"/>
                      </a:lnTo>
                      <a:lnTo>
                        <a:pt x="479171" y="129540"/>
                      </a:lnTo>
                      <a:lnTo>
                        <a:pt x="479806" y="129540"/>
                      </a:lnTo>
                      <a:lnTo>
                        <a:pt x="479602" y="127000"/>
                      </a:lnTo>
                      <a:lnTo>
                        <a:pt x="478370" y="127000"/>
                      </a:lnTo>
                      <a:lnTo>
                        <a:pt x="477405" y="125730"/>
                      </a:lnTo>
                      <a:lnTo>
                        <a:pt x="477862" y="127000"/>
                      </a:lnTo>
                      <a:lnTo>
                        <a:pt x="476211" y="127000"/>
                      </a:lnTo>
                      <a:lnTo>
                        <a:pt x="475792" y="129540"/>
                      </a:lnTo>
                      <a:lnTo>
                        <a:pt x="476326" y="129540"/>
                      </a:lnTo>
                      <a:lnTo>
                        <a:pt x="476694" y="130810"/>
                      </a:lnTo>
                      <a:lnTo>
                        <a:pt x="477202" y="132080"/>
                      </a:lnTo>
                      <a:lnTo>
                        <a:pt x="476059" y="133464"/>
                      </a:lnTo>
                      <a:lnTo>
                        <a:pt x="477634" y="134620"/>
                      </a:lnTo>
                      <a:lnTo>
                        <a:pt x="478066" y="135890"/>
                      </a:lnTo>
                      <a:lnTo>
                        <a:pt x="479018" y="137160"/>
                      </a:lnTo>
                      <a:lnTo>
                        <a:pt x="479501" y="137160"/>
                      </a:lnTo>
                      <a:lnTo>
                        <a:pt x="481063" y="139700"/>
                      </a:lnTo>
                      <a:lnTo>
                        <a:pt x="483260" y="140970"/>
                      </a:lnTo>
                      <a:lnTo>
                        <a:pt x="483235" y="143510"/>
                      </a:lnTo>
                      <a:lnTo>
                        <a:pt x="482028" y="142240"/>
                      </a:lnTo>
                      <a:lnTo>
                        <a:pt x="481317" y="140970"/>
                      </a:lnTo>
                      <a:lnTo>
                        <a:pt x="479145" y="139700"/>
                      </a:lnTo>
                      <a:lnTo>
                        <a:pt x="477901" y="138430"/>
                      </a:lnTo>
                      <a:lnTo>
                        <a:pt x="476250" y="135890"/>
                      </a:lnTo>
                      <a:lnTo>
                        <a:pt x="473748" y="135890"/>
                      </a:lnTo>
                      <a:lnTo>
                        <a:pt x="473024" y="133350"/>
                      </a:lnTo>
                      <a:lnTo>
                        <a:pt x="473786" y="133350"/>
                      </a:lnTo>
                      <a:lnTo>
                        <a:pt x="472097" y="132080"/>
                      </a:lnTo>
                      <a:lnTo>
                        <a:pt x="469353" y="132080"/>
                      </a:lnTo>
                      <a:lnTo>
                        <a:pt x="472490" y="130810"/>
                      </a:lnTo>
                      <a:lnTo>
                        <a:pt x="470496" y="129540"/>
                      </a:lnTo>
                      <a:lnTo>
                        <a:pt x="468083" y="128270"/>
                      </a:lnTo>
                      <a:lnTo>
                        <a:pt x="467499" y="127000"/>
                      </a:lnTo>
                      <a:lnTo>
                        <a:pt x="465543" y="127000"/>
                      </a:lnTo>
                      <a:lnTo>
                        <a:pt x="464388" y="125730"/>
                      </a:lnTo>
                      <a:lnTo>
                        <a:pt x="464096" y="124460"/>
                      </a:lnTo>
                      <a:lnTo>
                        <a:pt x="465823" y="125730"/>
                      </a:lnTo>
                      <a:lnTo>
                        <a:pt x="466966" y="125730"/>
                      </a:lnTo>
                      <a:lnTo>
                        <a:pt x="469925" y="127000"/>
                      </a:lnTo>
                      <a:lnTo>
                        <a:pt x="473913" y="127000"/>
                      </a:lnTo>
                      <a:lnTo>
                        <a:pt x="474446" y="124460"/>
                      </a:lnTo>
                      <a:lnTo>
                        <a:pt x="474700" y="123190"/>
                      </a:lnTo>
                      <a:lnTo>
                        <a:pt x="473075" y="120650"/>
                      </a:lnTo>
                      <a:lnTo>
                        <a:pt x="469442" y="119380"/>
                      </a:lnTo>
                      <a:lnTo>
                        <a:pt x="466293" y="120650"/>
                      </a:lnTo>
                      <a:lnTo>
                        <a:pt x="465569" y="119380"/>
                      </a:lnTo>
                      <a:lnTo>
                        <a:pt x="464845" y="118110"/>
                      </a:lnTo>
                      <a:lnTo>
                        <a:pt x="465315" y="116840"/>
                      </a:lnTo>
                      <a:lnTo>
                        <a:pt x="464197" y="113030"/>
                      </a:lnTo>
                      <a:lnTo>
                        <a:pt x="462534" y="111760"/>
                      </a:lnTo>
                      <a:lnTo>
                        <a:pt x="461721" y="115570"/>
                      </a:lnTo>
                      <a:lnTo>
                        <a:pt x="462102" y="118110"/>
                      </a:lnTo>
                      <a:lnTo>
                        <a:pt x="460756" y="119380"/>
                      </a:lnTo>
                      <a:lnTo>
                        <a:pt x="460679" y="118110"/>
                      </a:lnTo>
                      <a:lnTo>
                        <a:pt x="460603" y="116840"/>
                      </a:lnTo>
                      <a:lnTo>
                        <a:pt x="459536" y="117398"/>
                      </a:lnTo>
                      <a:lnTo>
                        <a:pt x="459536" y="224790"/>
                      </a:lnTo>
                      <a:lnTo>
                        <a:pt x="457962" y="227330"/>
                      </a:lnTo>
                      <a:lnTo>
                        <a:pt x="454406" y="229870"/>
                      </a:lnTo>
                      <a:lnTo>
                        <a:pt x="453364" y="228600"/>
                      </a:lnTo>
                      <a:lnTo>
                        <a:pt x="455015" y="227330"/>
                      </a:lnTo>
                      <a:lnTo>
                        <a:pt x="451218" y="226060"/>
                      </a:lnTo>
                      <a:lnTo>
                        <a:pt x="449757" y="226060"/>
                      </a:lnTo>
                      <a:lnTo>
                        <a:pt x="445820" y="224790"/>
                      </a:lnTo>
                      <a:lnTo>
                        <a:pt x="435825" y="224790"/>
                      </a:lnTo>
                      <a:lnTo>
                        <a:pt x="439699" y="226060"/>
                      </a:lnTo>
                      <a:lnTo>
                        <a:pt x="438835" y="226060"/>
                      </a:lnTo>
                      <a:lnTo>
                        <a:pt x="441223" y="229870"/>
                      </a:lnTo>
                      <a:lnTo>
                        <a:pt x="444347" y="227266"/>
                      </a:lnTo>
                      <a:lnTo>
                        <a:pt x="441579" y="226060"/>
                      </a:lnTo>
                      <a:lnTo>
                        <a:pt x="444195" y="226060"/>
                      </a:lnTo>
                      <a:lnTo>
                        <a:pt x="444982" y="226733"/>
                      </a:lnTo>
                      <a:lnTo>
                        <a:pt x="445782" y="226060"/>
                      </a:lnTo>
                      <a:lnTo>
                        <a:pt x="448437" y="228600"/>
                      </a:lnTo>
                      <a:lnTo>
                        <a:pt x="445185" y="229870"/>
                      </a:lnTo>
                      <a:lnTo>
                        <a:pt x="444576" y="229870"/>
                      </a:lnTo>
                      <a:lnTo>
                        <a:pt x="446074" y="231140"/>
                      </a:lnTo>
                      <a:lnTo>
                        <a:pt x="442518" y="233680"/>
                      </a:lnTo>
                      <a:lnTo>
                        <a:pt x="439496" y="234950"/>
                      </a:lnTo>
                      <a:lnTo>
                        <a:pt x="434759" y="234950"/>
                      </a:lnTo>
                      <a:lnTo>
                        <a:pt x="434759" y="233680"/>
                      </a:lnTo>
                      <a:lnTo>
                        <a:pt x="430784" y="233680"/>
                      </a:lnTo>
                      <a:lnTo>
                        <a:pt x="427990" y="234950"/>
                      </a:lnTo>
                      <a:lnTo>
                        <a:pt x="425691" y="237490"/>
                      </a:lnTo>
                      <a:lnTo>
                        <a:pt x="422744" y="240030"/>
                      </a:lnTo>
                      <a:lnTo>
                        <a:pt x="420954" y="241300"/>
                      </a:lnTo>
                      <a:lnTo>
                        <a:pt x="419404" y="242570"/>
                      </a:lnTo>
                      <a:lnTo>
                        <a:pt x="419785" y="242570"/>
                      </a:lnTo>
                      <a:lnTo>
                        <a:pt x="422516" y="241300"/>
                      </a:lnTo>
                      <a:lnTo>
                        <a:pt x="423265" y="241300"/>
                      </a:lnTo>
                      <a:lnTo>
                        <a:pt x="421601" y="243840"/>
                      </a:lnTo>
                      <a:lnTo>
                        <a:pt x="419176" y="245110"/>
                      </a:lnTo>
                      <a:lnTo>
                        <a:pt x="415886" y="247650"/>
                      </a:lnTo>
                      <a:lnTo>
                        <a:pt x="412280" y="250190"/>
                      </a:lnTo>
                      <a:lnTo>
                        <a:pt x="412534" y="251460"/>
                      </a:lnTo>
                      <a:lnTo>
                        <a:pt x="407314" y="254000"/>
                      </a:lnTo>
                      <a:lnTo>
                        <a:pt x="404304" y="255270"/>
                      </a:lnTo>
                      <a:lnTo>
                        <a:pt x="397789" y="254000"/>
                      </a:lnTo>
                      <a:lnTo>
                        <a:pt x="393280" y="257810"/>
                      </a:lnTo>
                      <a:lnTo>
                        <a:pt x="391883" y="259080"/>
                      </a:lnTo>
                      <a:lnTo>
                        <a:pt x="390817" y="260350"/>
                      </a:lnTo>
                      <a:lnTo>
                        <a:pt x="391769" y="260350"/>
                      </a:lnTo>
                      <a:lnTo>
                        <a:pt x="390525" y="261620"/>
                      </a:lnTo>
                      <a:lnTo>
                        <a:pt x="393115" y="260350"/>
                      </a:lnTo>
                      <a:lnTo>
                        <a:pt x="391960" y="264160"/>
                      </a:lnTo>
                      <a:lnTo>
                        <a:pt x="371525" y="267970"/>
                      </a:lnTo>
                      <a:lnTo>
                        <a:pt x="367322" y="269240"/>
                      </a:lnTo>
                      <a:lnTo>
                        <a:pt x="361137" y="267970"/>
                      </a:lnTo>
                      <a:lnTo>
                        <a:pt x="359257" y="267970"/>
                      </a:lnTo>
                      <a:lnTo>
                        <a:pt x="355777" y="266700"/>
                      </a:lnTo>
                      <a:lnTo>
                        <a:pt x="352475" y="266700"/>
                      </a:lnTo>
                      <a:lnTo>
                        <a:pt x="351650" y="265430"/>
                      </a:lnTo>
                      <a:lnTo>
                        <a:pt x="348221" y="264160"/>
                      </a:lnTo>
                      <a:lnTo>
                        <a:pt x="344258" y="264160"/>
                      </a:lnTo>
                      <a:lnTo>
                        <a:pt x="339953" y="262890"/>
                      </a:lnTo>
                      <a:lnTo>
                        <a:pt x="338391" y="261620"/>
                      </a:lnTo>
                      <a:lnTo>
                        <a:pt x="337096" y="260350"/>
                      </a:lnTo>
                      <a:lnTo>
                        <a:pt x="336905" y="260350"/>
                      </a:lnTo>
                      <a:lnTo>
                        <a:pt x="335851" y="259080"/>
                      </a:lnTo>
                      <a:lnTo>
                        <a:pt x="340588" y="259080"/>
                      </a:lnTo>
                      <a:lnTo>
                        <a:pt x="344792" y="260350"/>
                      </a:lnTo>
                      <a:lnTo>
                        <a:pt x="347992" y="260350"/>
                      </a:lnTo>
                      <a:lnTo>
                        <a:pt x="346735" y="259080"/>
                      </a:lnTo>
                      <a:lnTo>
                        <a:pt x="344208" y="256540"/>
                      </a:lnTo>
                      <a:lnTo>
                        <a:pt x="352590" y="259080"/>
                      </a:lnTo>
                      <a:lnTo>
                        <a:pt x="356006" y="259080"/>
                      </a:lnTo>
                      <a:lnTo>
                        <a:pt x="358292" y="260350"/>
                      </a:lnTo>
                      <a:lnTo>
                        <a:pt x="360959" y="257810"/>
                      </a:lnTo>
                      <a:lnTo>
                        <a:pt x="359016" y="257810"/>
                      </a:lnTo>
                      <a:lnTo>
                        <a:pt x="357543" y="256540"/>
                      </a:lnTo>
                      <a:lnTo>
                        <a:pt x="358686" y="256540"/>
                      </a:lnTo>
                      <a:lnTo>
                        <a:pt x="359410" y="255270"/>
                      </a:lnTo>
                      <a:lnTo>
                        <a:pt x="360362" y="256540"/>
                      </a:lnTo>
                      <a:lnTo>
                        <a:pt x="361099" y="255270"/>
                      </a:lnTo>
                      <a:lnTo>
                        <a:pt x="361530" y="255270"/>
                      </a:lnTo>
                      <a:lnTo>
                        <a:pt x="361645" y="252730"/>
                      </a:lnTo>
                      <a:lnTo>
                        <a:pt x="362648" y="251460"/>
                      </a:lnTo>
                      <a:lnTo>
                        <a:pt x="363499" y="250190"/>
                      </a:lnTo>
                      <a:lnTo>
                        <a:pt x="364947" y="250190"/>
                      </a:lnTo>
                      <a:lnTo>
                        <a:pt x="363296" y="248920"/>
                      </a:lnTo>
                      <a:lnTo>
                        <a:pt x="365391" y="248920"/>
                      </a:lnTo>
                      <a:lnTo>
                        <a:pt x="367995" y="247650"/>
                      </a:lnTo>
                      <a:lnTo>
                        <a:pt x="369252" y="247650"/>
                      </a:lnTo>
                      <a:lnTo>
                        <a:pt x="371919" y="248920"/>
                      </a:lnTo>
                      <a:lnTo>
                        <a:pt x="376021" y="247650"/>
                      </a:lnTo>
                      <a:lnTo>
                        <a:pt x="376948" y="246380"/>
                      </a:lnTo>
                      <a:lnTo>
                        <a:pt x="377215" y="246380"/>
                      </a:lnTo>
                      <a:lnTo>
                        <a:pt x="377177" y="244881"/>
                      </a:lnTo>
                      <a:lnTo>
                        <a:pt x="375716" y="243840"/>
                      </a:lnTo>
                      <a:lnTo>
                        <a:pt x="375462" y="242570"/>
                      </a:lnTo>
                      <a:lnTo>
                        <a:pt x="373100" y="242570"/>
                      </a:lnTo>
                      <a:lnTo>
                        <a:pt x="371195" y="240030"/>
                      </a:lnTo>
                      <a:lnTo>
                        <a:pt x="372414" y="240030"/>
                      </a:lnTo>
                      <a:lnTo>
                        <a:pt x="370814" y="238760"/>
                      </a:lnTo>
                      <a:lnTo>
                        <a:pt x="369201" y="237490"/>
                      </a:lnTo>
                      <a:lnTo>
                        <a:pt x="366458" y="238760"/>
                      </a:lnTo>
                      <a:lnTo>
                        <a:pt x="369074" y="236220"/>
                      </a:lnTo>
                      <a:lnTo>
                        <a:pt x="367372" y="236220"/>
                      </a:lnTo>
                      <a:lnTo>
                        <a:pt x="368439" y="234950"/>
                      </a:lnTo>
                      <a:lnTo>
                        <a:pt x="368249" y="232410"/>
                      </a:lnTo>
                      <a:lnTo>
                        <a:pt x="362089" y="232410"/>
                      </a:lnTo>
                      <a:lnTo>
                        <a:pt x="361378" y="231140"/>
                      </a:lnTo>
                      <a:lnTo>
                        <a:pt x="360616" y="229870"/>
                      </a:lnTo>
                      <a:lnTo>
                        <a:pt x="360121" y="228600"/>
                      </a:lnTo>
                      <a:lnTo>
                        <a:pt x="357543" y="228600"/>
                      </a:lnTo>
                      <a:lnTo>
                        <a:pt x="357022" y="226060"/>
                      </a:lnTo>
                      <a:lnTo>
                        <a:pt x="358914" y="226060"/>
                      </a:lnTo>
                      <a:lnTo>
                        <a:pt x="361188" y="227330"/>
                      </a:lnTo>
                      <a:lnTo>
                        <a:pt x="362331" y="228600"/>
                      </a:lnTo>
                      <a:lnTo>
                        <a:pt x="366179" y="228600"/>
                      </a:lnTo>
                      <a:lnTo>
                        <a:pt x="368960" y="229870"/>
                      </a:lnTo>
                      <a:lnTo>
                        <a:pt x="371043" y="232410"/>
                      </a:lnTo>
                      <a:lnTo>
                        <a:pt x="372275" y="232410"/>
                      </a:lnTo>
                      <a:lnTo>
                        <a:pt x="376021" y="233680"/>
                      </a:lnTo>
                      <a:lnTo>
                        <a:pt x="376809" y="234950"/>
                      </a:lnTo>
                      <a:lnTo>
                        <a:pt x="380441" y="234950"/>
                      </a:lnTo>
                      <a:lnTo>
                        <a:pt x="381914" y="233680"/>
                      </a:lnTo>
                      <a:lnTo>
                        <a:pt x="383794" y="233680"/>
                      </a:lnTo>
                      <a:lnTo>
                        <a:pt x="384009" y="236220"/>
                      </a:lnTo>
                      <a:lnTo>
                        <a:pt x="385076" y="237490"/>
                      </a:lnTo>
                      <a:lnTo>
                        <a:pt x="387350" y="237490"/>
                      </a:lnTo>
                      <a:lnTo>
                        <a:pt x="388061" y="238760"/>
                      </a:lnTo>
                      <a:lnTo>
                        <a:pt x="388366" y="238760"/>
                      </a:lnTo>
                      <a:lnTo>
                        <a:pt x="389343" y="240030"/>
                      </a:lnTo>
                      <a:lnTo>
                        <a:pt x="389915" y="238760"/>
                      </a:lnTo>
                      <a:lnTo>
                        <a:pt x="391185" y="241300"/>
                      </a:lnTo>
                      <a:lnTo>
                        <a:pt x="393801" y="242570"/>
                      </a:lnTo>
                      <a:lnTo>
                        <a:pt x="395986" y="242570"/>
                      </a:lnTo>
                      <a:lnTo>
                        <a:pt x="397637" y="243840"/>
                      </a:lnTo>
                      <a:lnTo>
                        <a:pt x="398272" y="242570"/>
                      </a:lnTo>
                      <a:lnTo>
                        <a:pt x="401002" y="242570"/>
                      </a:lnTo>
                      <a:lnTo>
                        <a:pt x="401129" y="241300"/>
                      </a:lnTo>
                      <a:lnTo>
                        <a:pt x="402564" y="241300"/>
                      </a:lnTo>
                      <a:lnTo>
                        <a:pt x="402488" y="242570"/>
                      </a:lnTo>
                      <a:lnTo>
                        <a:pt x="403898" y="242570"/>
                      </a:lnTo>
                      <a:lnTo>
                        <a:pt x="404469" y="241300"/>
                      </a:lnTo>
                      <a:lnTo>
                        <a:pt x="410832" y="241300"/>
                      </a:lnTo>
                      <a:lnTo>
                        <a:pt x="412597" y="238760"/>
                      </a:lnTo>
                      <a:lnTo>
                        <a:pt x="415099" y="237490"/>
                      </a:lnTo>
                      <a:lnTo>
                        <a:pt x="415759" y="236220"/>
                      </a:lnTo>
                      <a:lnTo>
                        <a:pt x="417309" y="234950"/>
                      </a:lnTo>
                      <a:lnTo>
                        <a:pt x="418820" y="234950"/>
                      </a:lnTo>
                      <a:lnTo>
                        <a:pt x="420192" y="233680"/>
                      </a:lnTo>
                      <a:lnTo>
                        <a:pt x="420141" y="232410"/>
                      </a:lnTo>
                      <a:lnTo>
                        <a:pt x="420700" y="231914"/>
                      </a:lnTo>
                      <a:lnTo>
                        <a:pt x="420014" y="234950"/>
                      </a:lnTo>
                      <a:lnTo>
                        <a:pt x="423621" y="233680"/>
                      </a:lnTo>
                      <a:lnTo>
                        <a:pt x="426986" y="229870"/>
                      </a:lnTo>
                      <a:lnTo>
                        <a:pt x="431622" y="228600"/>
                      </a:lnTo>
                      <a:lnTo>
                        <a:pt x="436689" y="228600"/>
                      </a:lnTo>
                      <a:lnTo>
                        <a:pt x="437400" y="227330"/>
                      </a:lnTo>
                      <a:lnTo>
                        <a:pt x="435825" y="224790"/>
                      </a:lnTo>
                      <a:lnTo>
                        <a:pt x="434327" y="224790"/>
                      </a:lnTo>
                      <a:lnTo>
                        <a:pt x="432714" y="226060"/>
                      </a:lnTo>
                      <a:lnTo>
                        <a:pt x="426275" y="228600"/>
                      </a:lnTo>
                      <a:lnTo>
                        <a:pt x="422148" y="229628"/>
                      </a:lnTo>
                      <a:lnTo>
                        <a:pt x="424434" y="226060"/>
                      </a:lnTo>
                      <a:lnTo>
                        <a:pt x="429856" y="223520"/>
                      </a:lnTo>
                      <a:lnTo>
                        <a:pt x="438353" y="220980"/>
                      </a:lnTo>
                      <a:lnTo>
                        <a:pt x="443217" y="222250"/>
                      </a:lnTo>
                      <a:lnTo>
                        <a:pt x="448754" y="222250"/>
                      </a:lnTo>
                      <a:lnTo>
                        <a:pt x="449491" y="223520"/>
                      </a:lnTo>
                      <a:lnTo>
                        <a:pt x="452882" y="223520"/>
                      </a:lnTo>
                      <a:lnTo>
                        <a:pt x="455739" y="224790"/>
                      </a:lnTo>
                      <a:lnTo>
                        <a:pt x="457987" y="226060"/>
                      </a:lnTo>
                      <a:lnTo>
                        <a:pt x="459536" y="224790"/>
                      </a:lnTo>
                      <a:lnTo>
                        <a:pt x="459536" y="117398"/>
                      </a:lnTo>
                      <a:lnTo>
                        <a:pt x="458152" y="118110"/>
                      </a:lnTo>
                      <a:lnTo>
                        <a:pt x="457936" y="115570"/>
                      </a:lnTo>
                      <a:lnTo>
                        <a:pt x="459054" y="115570"/>
                      </a:lnTo>
                      <a:lnTo>
                        <a:pt x="459308" y="114300"/>
                      </a:lnTo>
                      <a:lnTo>
                        <a:pt x="458800" y="114300"/>
                      </a:lnTo>
                      <a:lnTo>
                        <a:pt x="458317" y="113030"/>
                      </a:lnTo>
                      <a:lnTo>
                        <a:pt x="458368" y="111760"/>
                      </a:lnTo>
                      <a:lnTo>
                        <a:pt x="458419" y="110490"/>
                      </a:lnTo>
                      <a:lnTo>
                        <a:pt x="455942" y="109220"/>
                      </a:lnTo>
                      <a:lnTo>
                        <a:pt x="452767" y="110490"/>
                      </a:lnTo>
                      <a:lnTo>
                        <a:pt x="448906" y="110490"/>
                      </a:lnTo>
                      <a:lnTo>
                        <a:pt x="449300" y="109220"/>
                      </a:lnTo>
                      <a:lnTo>
                        <a:pt x="447179" y="109220"/>
                      </a:lnTo>
                      <a:lnTo>
                        <a:pt x="448856" y="107950"/>
                      </a:lnTo>
                      <a:lnTo>
                        <a:pt x="445973" y="106680"/>
                      </a:lnTo>
                      <a:lnTo>
                        <a:pt x="442531" y="107950"/>
                      </a:lnTo>
                      <a:lnTo>
                        <a:pt x="441032" y="107950"/>
                      </a:lnTo>
                      <a:lnTo>
                        <a:pt x="401231" y="111760"/>
                      </a:lnTo>
                      <a:lnTo>
                        <a:pt x="395617" y="110490"/>
                      </a:lnTo>
                      <a:lnTo>
                        <a:pt x="385140" y="110490"/>
                      </a:lnTo>
                      <a:lnTo>
                        <a:pt x="381165" y="109220"/>
                      </a:lnTo>
                      <a:lnTo>
                        <a:pt x="371906" y="109220"/>
                      </a:lnTo>
                      <a:lnTo>
                        <a:pt x="369404" y="107950"/>
                      </a:lnTo>
                      <a:lnTo>
                        <a:pt x="369062" y="106680"/>
                      </a:lnTo>
                      <a:lnTo>
                        <a:pt x="366395" y="106680"/>
                      </a:lnTo>
                      <a:lnTo>
                        <a:pt x="363740" y="105410"/>
                      </a:lnTo>
                      <a:lnTo>
                        <a:pt x="365963" y="105410"/>
                      </a:lnTo>
                      <a:lnTo>
                        <a:pt x="368617" y="104140"/>
                      </a:lnTo>
                      <a:lnTo>
                        <a:pt x="369709" y="104140"/>
                      </a:lnTo>
                      <a:lnTo>
                        <a:pt x="370776" y="102870"/>
                      </a:lnTo>
                      <a:lnTo>
                        <a:pt x="369366" y="102870"/>
                      </a:lnTo>
                      <a:lnTo>
                        <a:pt x="368223" y="101600"/>
                      </a:lnTo>
                      <a:lnTo>
                        <a:pt x="370573" y="99060"/>
                      </a:lnTo>
                      <a:lnTo>
                        <a:pt x="371843" y="100330"/>
                      </a:lnTo>
                      <a:lnTo>
                        <a:pt x="374459" y="99060"/>
                      </a:lnTo>
                      <a:lnTo>
                        <a:pt x="375539" y="99060"/>
                      </a:lnTo>
                      <a:lnTo>
                        <a:pt x="375310" y="97790"/>
                      </a:lnTo>
                      <a:lnTo>
                        <a:pt x="387057" y="97790"/>
                      </a:lnTo>
                      <a:lnTo>
                        <a:pt x="385953" y="96520"/>
                      </a:lnTo>
                      <a:lnTo>
                        <a:pt x="386549" y="95250"/>
                      </a:lnTo>
                      <a:lnTo>
                        <a:pt x="387692" y="93980"/>
                      </a:lnTo>
                      <a:lnTo>
                        <a:pt x="385483" y="93980"/>
                      </a:lnTo>
                      <a:lnTo>
                        <a:pt x="384962" y="92710"/>
                      </a:lnTo>
                      <a:lnTo>
                        <a:pt x="385889" y="92710"/>
                      </a:lnTo>
                      <a:lnTo>
                        <a:pt x="385635" y="91440"/>
                      </a:lnTo>
                      <a:lnTo>
                        <a:pt x="384898" y="91440"/>
                      </a:lnTo>
                      <a:lnTo>
                        <a:pt x="383832" y="90170"/>
                      </a:lnTo>
                      <a:lnTo>
                        <a:pt x="383959" y="90170"/>
                      </a:lnTo>
                      <a:lnTo>
                        <a:pt x="382612" y="88900"/>
                      </a:lnTo>
                      <a:lnTo>
                        <a:pt x="381622" y="88900"/>
                      </a:lnTo>
                      <a:lnTo>
                        <a:pt x="379945" y="87630"/>
                      </a:lnTo>
                      <a:lnTo>
                        <a:pt x="380504" y="86360"/>
                      </a:lnTo>
                      <a:lnTo>
                        <a:pt x="378409" y="85090"/>
                      </a:lnTo>
                      <a:lnTo>
                        <a:pt x="376110" y="85090"/>
                      </a:lnTo>
                      <a:lnTo>
                        <a:pt x="376059" y="83820"/>
                      </a:lnTo>
                      <a:lnTo>
                        <a:pt x="373938" y="82550"/>
                      </a:lnTo>
                      <a:lnTo>
                        <a:pt x="372706" y="82550"/>
                      </a:lnTo>
                      <a:lnTo>
                        <a:pt x="367118" y="81280"/>
                      </a:lnTo>
                      <a:lnTo>
                        <a:pt x="362800" y="78740"/>
                      </a:lnTo>
                      <a:lnTo>
                        <a:pt x="353072" y="78740"/>
                      </a:lnTo>
                      <a:lnTo>
                        <a:pt x="354101" y="80010"/>
                      </a:lnTo>
                      <a:lnTo>
                        <a:pt x="355257" y="80010"/>
                      </a:lnTo>
                      <a:lnTo>
                        <a:pt x="356616" y="81280"/>
                      </a:lnTo>
                      <a:lnTo>
                        <a:pt x="357708" y="82550"/>
                      </a:lnTo>
                      <a:lnTo>
                        <a:pt x="358254" y="83820"/>
                      </a:lnTo>
                      <a:lnTo>
                        <a:pt x="354571" y="82550"/>
                      </a:lnTo>
                      <a:lnTo>
                        <a:pt x="351129" y="82550"/>
                      </a:lnTo>
                      <a:lnTo>
                        <a:pt x="344779" y="81280"/>
                      </a:lnTo>
                      <a:lnTo>
                        <a:pt x="342315" y="81280"/>
                      </a:lnTo>
                      <a:lnTo>
                        <a:pt x="338455" y="80010"/>
                      </a:lnTo>
                      <a:lnTo>
                        <a:pt x="337235" y="80010"/>
                      </a:lnTo>
                      <a:lnTo>
                        <a:pt x="335457" y="79552"/>
                      </a:lnTo>
                      <a:lnTo>
                        <a:pt x="335457" y="143510"/>
                      </a:lnTo>
                      <a:lnTo>
                        <a:pt x="334073" y="147320"/>
                      </a:lnTo>
                      <a:lnTo>
                        <a:pt x="332917" y="148590"/>
                      </a:lnTo>
                      <a:lnTo>
                        <a:pt x="332638" y="152400"/>
                      </a:lnTo>
                      <a:lnTo>
                        <a:pt x="331177" y="149860"/>
                      </a:lnTo>
                      <a:lnTo>
                        <a:pt x="327964" y="151130"/>
                      </a:lnTo>
                      <a:lnTo>
                        <a:pt x="327761" y="151130"/>
                      </a:lnTo>
                      <a:lnTo>
                        <a:pt x="327012" y="153670"/>
                      </a:lnTo>
                      <a:lnTo>
                        <a:pt x="326732" y="153670"/>
                      </a:lnTo>
                      <a:lnTo>
                        <a:pt x="326288" y="154940"/>
                      </a:lnTo>
                      <a:lnTo>
                        <a:pt x="325716" y="156210"/>
                      </a:lnTo>
                      <a:lnTo>
                        <a:pt x="328764" y="156210"/>
                      </a:lnTo>
                      <a:lnTo>
                        <a:pt x="331012" y="154940"/>
                      </a:lnTo>
                      <a:lnTo>
                        <a:pt x="332968" y="156210"/>
                      </a:lnTo>
                      <a:lnTo>
                        <a:pt x="332244" y="157480"/>
                      </a:lnTo>
                      <a:lnTo>
                        <a:pt x="331762" y="158750"/>
                      </a:lnTo>
                      <a:lnTo>
                        <a:pt x="330149" y="157480"/>
                      </a:lnTo>
                      <a:lnTo>
                        <a:pt x="329476" y="158750"/>
                      </a:lnTo>
                      <a:lnTo>
                        <a:pt x="326517" y="158750"/>
                      </a:lnTo>
                      <a:lnTo>
                        <a:pt x="326123" y="160020"/>
                      </a:lnTo>
                      <a:lnTo>
                        <a:pt x="325056" y="160020"/>
                      </a:lnTo>
                      <a:lnTo>
                        <a:pt x="324421" y="158750"/>
                      </a:lnTo>
                      <a:lnTo>
                        <a:pt x="323367" y="158750"/>
                      </a:lnTo>
                      <a:lnTo>
                        <a:pt x="321894" y="160020"/>
                      </a:lnTo>
                      <a:lnTo>
                        <a:pt x="320078" y="160020"/>
                      </a:lnTo>
                      <a:lnTo>
                        <a:pt x="318960" y="158750"/>
                      </a:lnTo>
                      <a:lnTo>
                        <a:pt x="318147" y="157480"/>
                      </a:lnTo>
                      <a:lnTo>
                        <a:pt x="317449" y="157480"/>
                      </a:lnTo>
                      <a:lnTo>
                        <a:pt x="313918" y="156210"/>
                      </a:lnTo>
                      <a:lnTo>
                        <a:pt x="307073" y="156210"/>
                      </a:lnTo>
                      <a:lnTo>
                        <a:pt x="303631" y="157480"/>
                      </a:lnTo>
                      <a:lnTo>
                        <a:pt x="304876" y="158750"/>
                      </a:lnTo>
                      <a:lnTo>
                        <a:pt x="303644" y="158750"/>
                      </a:lnTo>
                      <a:lnTo>
                        <a:pt x="302260" y="161290"/>
                      </a:lnTo>
                      <a:lnTo>
                        <a:pt x="300863" y="160020"/>
                      </a:lnTo>
                      <a:lnTo>
                        <a:pt x="299593" y="161290"/>
                      </a:lnTo>
                      <a:lnTo>
                        <a:pt x="300926" y="161290"/>
                      </a:lnTo>
                      <a:lnTo>
                        <a:pt x="301917" y="162560"/>
                      </a:lnTo>
                      <a:lnTo>
                        <a:pt x="303872" y="163830"/>
                      </a:lnTo>
                      <a:lnTo>
                        <a:pt x="304596" y="163830"/>
                      </a:lnTo>
                      <a:lnTo>
                        <a:pt x="306603" y="165100"/>
                      </a:lnTo>
                      <a:lnTo>
                        <a:pt x="307670" y="166370"/>
                      </a:lnTo>
                      <a:lnTo>
                        <a:pt x="308025" y="167640"/>
                      </a:lnTo>
                      <a:lnTo>
                        <a:pt x="300850" y="167640"/>
                      </a:lnTo>
                      <a:lnTo>
                        <a:pt x="300850" y="168910"/>
                      </a:lnTo>
                      <a:lnTo>
                        <a:pt x="291706" y="173990"/>
                      </a:lnTo>
                      <a:lnTo>
                        <a:pt x="290220" y="175260"/>
                      </a:lnTo>
                      <a:lnTo>
                        <a:pt x="284454" y="180340"/>
                      </a:lnTo>
                      <a:lnTo>
                        <a:pt x="278777" y="177800"/>
                      </a:lnTo>
                      <a:lnTo>
                        <a:pt x="279222" y="176530"/>
                      </a:lnTo>
                      <a:lnTo>
                        <a:pt x="279666" y="175260"/>
                      </a:lnTo>
                      <a:lnTo>
                        <a:pt x="281470" y="175260"/>
                      </a:lnTo>
                      <a:lnTo>
                        <a:pt x="282321" y="176530"/>
                      </a:lnTo>
                      <a:lnTo>
                        <a:pt x="282282" y="175260"/>
                      </a:lnTo>
                      <a:lnTo>
                        <a:pt x="284734" y="175260"/>
                      </a:lnTo>
                      <a:lnTo>
                        <a:pt x="287680" y="173990"/>
                      </a:lnTo>
                      <a:lnTo>
                        <a:pt x="285927" y="173990"/>
                      </a:lnTo>
                      <a:lnTo>
                        <a:pt x="286918" y="171450"/>
                      </a:lnTo>
                      <a:lnTo>
                        <a:pt x="289001" y="171450"/>
                      </a:lnTo>
                      <a:lnTo>
                        <a:pt x="290791" y="170180"/>
                      </a:lnTo>
                      <a:lnTo>
                        <a:pt x="291934" y="170180"/>
                      </a:lnTo>
                      <a:lnTo>
                        <a:pt x="295795" y="165100"/>
                      </a:lnTo>
                      <a:lnTo>
                        <a:pt x="295567" y="163830"/>
                      </a:lnTo>
                      <a:lnTo>
                        <a:pt x="294932" y="161290"/>
                      </a:lnTo>
                      <a:lnTo>
                        <a:pt x="288290" y="161290"/>
                      </a:lnTo>
                      <a:lnTo>
                        <a:pt x="285521" y="162560"/>
                      </a:lnTo>
                      <a:lnTo>
                        <a:pt x="282600" y="165100"/>
                      </a:lnTo>
                      <a:lnTo>
                        <a:pt x="281139" y="165100"/>
                      </a:lnTo>
                      <a:lnTo>
                        <a:pt x="277952" y="166370"/>
                      </a:lnTo>
                      <a:lnTo>
                        <a:pt x="279234" y="166370"/>
                      </a:lnTo>
                      <a:lnTo>
                        <a:pt x="278726" y="168910"/>
                      </a:lnTo>
                      <a:lnTo>
                        <a:pt x="277863" y="168910"/>
                      </a:lnTo>
                      <a:lnTo>
                        <a:pt x="277596" y="170180"/>
                      </a:lnTo>
                      <a:lnTo>
                        <a:pt x="278130" y="170180"/>
                      </a:lnTo>
                      <a:lnTo>
                        <a:pt x="277672" y="172720"/>
                      </a:lnTo>
                      <a:lnTo>
                        <a:pt x="275996" y="173990"/>
                      </a:lnTo>
                      <a:lnTo>
                        <a:pt x="271500" y="176530"/>
                      </a:lnTo>
                      <a:lnTo>
                        <a:pt x="271259" y="176530"/>
                      </a:lnTo>
                      <a:lnTo>
                        <a:pt x="267436" y="175260"/>
                      </a:lnTo>
                      <a:lnTo>
                        <a:pt x="266153" y="175260"/>
                      </a:lnTo>
                      <a:lnTo>
                        <a:pt x="250964" y="173990"/>
                      </a:lnTo>
                      <a:lnTo>
                        <a:pt x="250812" y="171450"/>
                      </a:lnTo>
                      <a:lnTo>
                        <a:pt x="250710" y="170180"/>
                      </a:lnTo>
                      <a:lnTo>
                        <a:pt x="258800" y="170180"/>
                      </a:lnTo>
                      <a:lnTo>
                        <a:pt x="260337" y="168910"/>
                      </a:lnTo>
                      <a:lnTo>
                        <a:pt x="262509" y="166370"/>
                      </a:lnTo>
                      <a:lnTo>
                        <a:pt x="259956" y="165100"/>
                      </a:lnTo>
                      <a:lnTo>
                        <a:pt x="258902" y="163830"/>
                      </a:lnTo>
                      <a:lnTo>
                        <a:pt x="260870" y="163830"/>
                      </a:lnTo>
                      <a:lnTo>
                        <a:pt x="260286" y="162560"/>
                      </a:lnTo>
                      <a:lnTo>
                        <a:pt x="262496" y="161290"/>
                      </a:lnTo>
                      <a:lnTo>
                        <a:pt x="264261" y="161290"/>
                      </a:lnTo>
                      <a:lnTo>
                        <a:pt x="266153" y="160020"/>
                      </a:lnTo>
                      <a:lnTo>
                        <a:pt x="268198" y="160020"/>
                      </a:lnTo>
                      <a:lnTo>
                        <a:pt x="268706" y="157480"/>
                      </a:lnTo>
                      <a:lnTo>
                        <a:pt x="262572" y="153670"/>
                      </a:lnTo>
                      <a:lnTo>
                        <a:pt x="261162" y="152400"/>
                      </a:lnTo>
                      <a:lnTo>
                        <a:pt x="263867" y="152400"/>
                      </a:lnTo>
                      <a:lnTo>
                        <a:pt x="266357" y="151130"/>
                      </a:lnTo>
                      <a:lnTo>
                        <a:pt x="271894" y="152400"/>
                      </a:lnTo>
                      <a:lnTo>
                        <a:pt x="274180" y="153670"/>
                      </a:lnTo>
                      <a:lnTo>
                        <a:pt x="279514" y="153670"/>
                      </a:lnTo>
                      <a:lnTo>
                        <a:pt x="286054" y="151130"/>
                      </a:lnTo>
                      <a:lnTo>
                        <a:pt x="282943" y="149860"/>
                      </a:lnTo>
                      <a:lnTo>
                        <a:pt x="276707" y="147320"/>
                      </a:lnTo>
                      <a:lnTo>
                        <a:pt x="272542" y="146050"/>
                      </a:lnTo>
                      <a:lnTo>
                        <a:pt x="264693" y="146050"/>
                      </a:lnTo>
                      <a:lnTo>
                        <a:pt x="260972" y="144780"/>
                      </a:lnTo>
                      <a:lnTo>
                        <a:pt x="255765" y="146050"/>
                      </a:lnTo>
                      <a:lnTo>
                        <a:pt x="258660" y="146050"/>
                      </a:lnTo>
                      <a:lnTo>
                        <a:pt x="258902" y="149860"/>
                      </a:lnTo>
                      <a:lnTo>
                        <a:pt x="254127" y="147320"/>
                      </a:lnTo>
                      <a:lnTo>
                        <a:pt x="251815" y="147320"/>
                      </a:lnTo>
                      <a:lnTo>
                        <a:pt x="250469" y="148590"/>
                      </a:lnTo>
                      <a:lnTo>
                        <a:pt x="244462" y="148590"/>
                      </a:lnTo>
                      <a:lnTo>
                        <a:pt x="240169" y="147320"/>
                      </a:lnTo>
                      <a:lnTo>
                        <a:pt x="238696" y="147320"/>
                      </a:lnTo>
                      <a:lnTo>
                        <a:pt x="236308" y="148590"/>
                      </a:lnTo>
                      <a:lnTo>
                        <a:pt x="235318" y="147320"/>
                      </a:lnTo>
                      <a:lnTo>
                        <a:pt x="234340" y="148590"/>
                      </a:lnTo>
                      <a:lnTo>
                        <a:pt x="235762" y="148590"/>
                      </a:lnTo>
                      <a:lnTo>
                        <a:pt x="235026" y="151130"/>
                      </a:lnTo>
                      <a:lnTo>
                        <a:pt x="234683" y="149860"/>
                      </a:lnTo>
                      <a:lnTo>
                        <a:pt x="232752" y="151130"/>
                      </a:lnTo>
                      <a:lnTo>
                        <a:pt x="231609" y="153670"/>
                      </a:lnTo>
                      <a:lnTo>
                        <a:pt x="230911" y="153670"/>
                      </a:lnTo>
                      <a:lnTo>
                        <a:pt x="229984" y="152400"/>
                      </a:lnTo>
                      <a:lnTo>
                        <a:pt x="229006" y="151130"/>
                      </a:lnTo>
                      <a:lnTo>
                        <a:pt x="227584" y="148590"/>
                      </a:lnTo>
                      <a:lnTo>
                        <a:pt x="227634" y="146050"/>
                      </a:lnTo>
                      <a:lnTo>
                        <a:pt x="228917" y="144780"/>
                      </a:lnTo>
                      <a:lnTo>
                        <a:pt x="230035" y="144780"/>
                      </a:lnTo>
                      <a:lnTo>
                        <a:pt x="230797" y="146050"/>
                      </a:lnTo>
                      <a:lnTo>
                        <a:pt x="231978" y="146050"/>
                      </a:lnTo>
                      <a:lnTo>
                        <a:pt x="232714" y="144780"/>
                      </a:lnTo>
                      <a:lnTo>
                        <a:pt x="234683" y="144780"/>
                      </a:lnTo>
                      <a:lnTo>
                        <a:pt x="235864" y="146050"/>
                      </a:lnTo>
                      <a:lnTo>
                        <a:pt x="238213" y="144780"/>
                      </a:lnTo>
                      <a:lnTo>
                        <a:pt x="238277" y="143510"/>
                      </a:lnTo>
                      <a:lnTo>
                        <a:pt x="241300" y="143510"/>
                      </a:lnTo>
                      <a:lnTo>
                        <a:pt x="242366" y="144780"/>
                      </a:lnTo>
                      <a:lnTo>
                        <a:pt x="244805" y="143510"/>
                      </a:lnTo>
                      <a:lnTo>
                        <a:pt x="245668" y="142240"/>
                      </a:lnTo>
                      <a:lnTo>
                        <a:pt x="248704" y="142240"/>
                      </a:lnTo>
                      <a:lnTo>
                        <a:pt x="251383" y="140970"/>
                      </a:lnTo>
                      <a:lnTo>
                        <a:pt x="254635" y="140970"/>
                      </a:lnTo>
                      <a:lnTo>
                        <a:pt x="255397" y="139700"/>
                      </a:lnTo>
                      <a:lnTo>
                        <a:pt x="255524" y="140970"/>
                      </a:lnTo>
                      <a:lnTo>
                        <a:pt x="257848" y="139700"/>
                      </a:lnTo>
                      <a:lnTo>
                        <a:pt x="257835" y="140970"/>
                      </a:lnTo>
                      <a:lnTo>
                        <a:pt x="258787" y="139700"/>
                      </a:lnTo>
                      <a:lnTo>
                        <a:pt x="258597" y="138430"/>
                      </a:lnTo>
                      <a:lnTo>
                        <a:pt x="261035" y="137160"/>
                      </a:lnTo>
                      <a:lnTo>
                        <a:pt x="263550" y="139700"/>
                      </a:lnTo>
                      <a:lnTo>
                        <a:pt x="264769" y="137160"/>
                      </a:lnTo>
                      <a:lnTo>
                        <a:pt x="265391" y="138430"/>
                      </a:lnTo>
                      <a:lnTo>
                        <a:pt x="265480" y="137160"/>
                      </a:lnTo>
                      <a:lnTo>
                        <a:pt x="266903" y="137160"/>
                      </a:lnTo>
                      <a:lnTo>
                        <a:pt x="266712" y="138430"/>
                      </a:lnTo>
                      <a:lnTo>
                        <a:pt x="267970" y="138430"/>
                      </a:lnTo>
                      <a:lnTo>
                        <a:pt x="269049" y="137160"/>
                      </a:lnTo>
                      <a:lnTo>
                        <a:pt x="272923" y="137160"/>
                      </a:lnTo>
                      <a:lnTo>
                        <a:pt x="274015" y="135890"/>
                      </a:lnTo>
                      <a:lnTo>
                        <a:pt x="276542" y="134620"/>
                      </a:lnTo>
                      <a:lnTo>
                        <a:pt x="279704" y="134620"/>
                      </a:lnTo>
                      <a:lnTo>
                        <a:pt x="279488" y="133350"/>
                      </a:lnTo>
                      <a:lnTo>
                        <a:pt x="282155" y="133350"/>
                      </a:lnTo>
                      <a:lnTo>
                        <a:pt x="284416" y="130810"/>
                      </a:lnTo>
                      <a:lnTo>
                        <a:pt x="289090" y="130810"/>
                      </a:lnTo>
                      <a:lnTo>
                        <a:pt x="291719" y="129540"/>
                      </a:lnTo>
                      <a:lnTo>
                        <a:pt x="295910" y="128270"/>
                      </a:lnTo>
                      <a:lnTo>
                        <a:pt x="296887" y="128270"/>
                      </a:lnTo>
                      <a:lnTo>
                        <a:pt x="300647" y="127000"/>
                      </a:lnTo>
                      <a:lnTo>
                        <a:pt x="300837" y="127000"/>
                      </a:lnTo>
                      <a:lnTo>
                        <a:pt x="300850" y="125730"/>
                      </a:lnTo>
                      <a:lnTo>
                        <a:pt x="300850" y="128270"/>
                      </a:lnTo>
                      <a:lnTo>
                        <a:pt x="313804" y="130810"/>
                      </a:lnTo>
                      <a:lnTo>
                        <a:pt x="315836" y="130810"/>
                      </a:lnTo>
                      <a:lnTo>
                        <a:pt x="314172" y="132080"/>
                      </a:lnTo>
                      <a:lnTo>
                        <a:pt x="312064" y="132080"/>
                      </a:lnTo>
                      <a:lnTo>
                        <a:pt x="309486" y="133350"/>
                      </a:lnTo>
                      <a:lnTo>
                        <a:pt x="308610" y="133350"/>
                      </a:lnTo>
                      <a:lnTo>
                        <a:pt x="307035" y="134620"/>
                      </a:lnTo>
                      <a:lnTo>
                        <a:pt x="303555" y="134620"/>
                      </a:lnTo>
                      <a:lnTo>
                        <a:pt x="301713" y="135890"/>
                      </a:lnTo>
                      <a:lnTo>
                        <a:pt x="300990" y="135890"/>
                      </a:lnTo>
                      <a:lnTo>
                        <a:pt x="299339" y="137160"/>
                      </a:lnTo>
                      <a:lnTo>
                        <a:pt x="298665" y="138430"/>
                      </a:lnTo>
                      <a:lnTo>
                        <a:pt x="294119" y="140970"/>
                      </a:lnTo>
                      <a:lnTo>
                        <a:pt x="296354" y="140970"/>
                      </a:lnTo>
                      <a:lnTo>
                        <a:pt x="295376" y="142240"/>
                      </a:lnTo>
                      <a:lnTo>
                        <a:pt x="298754" y="142240"/>
                      </a:lnTo>
                      <a:lnTo>
                        <a:pt x="301523" y="143510"/>
                      </a:lnTo>
                      <a:lnTo>
                        <a:pt x="304596" y="143510"/>
                      </a:lnTo>
                      <a:lnTo>
                        <a:pt x="304850" y="142240"/>
                      </a:lnTo>
                      <a:lnTo>
                        <a:pt x="306324" y="143510"/>
                      </a:lnTo>
                      <a:lnTo>
                        <a:pt x="304736" y="143510"/>
                      </a:lnTo>
                      <a:lnTo>
                        <a:pt x="304126" y="144780"/>
                      </a:lnTo>
                      <a:lnTo>
                        <a:pt x="307784" y="144780"/>
                      </a:lnTo>
                      <a:lnTo>
                        <a:pt x="307619" y="143510"/>
                      </a:lnTo>
                      <a:lnTo>
                        <a:pt x="310832" y="143510"/>
                      </a:lnTo>
                      <a:lnTo>
                        <a:pt x="314337" y="144780"/>
                      </a:lnTo>
                      <a:lnTo>
                        <a:pt x="319239" y="143510"/>
                      </a:lnTo>
                      <a:lnTo>
                        <a:pt x="321017" y="143510"/>
                      </a:lnTo>
                      <a:lnTo>
                        <a:pt x="324434" y="142240"/>
                      </a:lnTo>
                      <a:lnTo>
                        <a:pt x="326009" y="142240"/>
                      </a:lnTo>
                      <a:lnTo>
                        <a:pt x="326555" y="140970"/>
                      </a:lnTo>
                      <a:lnTo>
                        <a:pt x="325551" y="140970"/>
                      </a:lnTo>
                      <a:lnTo>
                        <a:pt x="327901" y="137160"/>
                      </a:lnTo>
                      <a:lnTo>
                        <a:pt x="330606" y="137160"/>
                      </a:lnTo>
                      <a:lnTo>
                        <a:pt x="334886" y="135890"/>
                      </a:lnTo>
                      <a:lnTo>
                        <a:pt x="335254" y="137160"/>
                      </a:lnTo>
                      <a:lnTo>
                        <a:pt x="334492" y="137160"/>
                      </a:lnTo>
                      <a:lnTo>
                        <a:pt x="333311" y="138430"/>
                      </a:lnTo>
                      <a:lnTo>
                        <a:pt x="333438" y="138430"/>
                      </a:lnTo>
                      <a:lnTo>
                        <a:pt x="332536" y="139700"/>
                      </a:lnTo>
                      <a:lnTo>
                        <a:pt x="332054" y="139700"/>
                      </a:lnTo>
                      <a:lnTo>
                        <a:pt x="331089" y="140970"/>
                      </a:lnTo>
                      <a:lnTo>
                        <a:pt x="331266" y="142240"/>
                      </a:lnTo>
                      <a:lnTo>
                        <a:pt x="333108" y="140970"/>
                      </a:lnTo>
                      <a:lnTo>
                        <a:pt x="335267" y="140970"/>
                      </a:lnTo>
                      <a:lnTo>
                        <a:pt x="335457" y="143510"/>
                      </a:lnTo>
                      <a:lnTo>
                        <a:pt x="335457" y="79552"/>
                      </a:lnTo>
                      <a:lnTo>
                        <a:pt x="332320" y="78740"/>
                      </a:lnTo>
                      <a:lnTo>
                        <a:pt x="329920" y="78740"/>
                      </a:lnTo>
                      <a:lnTo>
                        <a:pt x="325564" y="76200"/>
                      </a:lnTo>
                      <a:lnTo>
                        <a:pt x="323837" y="76200"/>
                      </a:lnTo>
                      <a:lnTo>
                        <a:pt x="321398" y="74930"/>
                      </a:lnTo>
                      <a:lnTo>
                        <a:pt x="320763" y="73660"/>
                      </a:lnTo>
                      <a:lnTo>
                        <a:pt x="317550" y="72390"/>
                      </a:lnTo>
                      <a:lnTo>
                        <a:pt x="314960" y="72390"/>
                      </a:lnTo>
                      <a:lnTo>
                        <a:pt x="300850" y="69850"/>
                      </a:lnTo>
                      <a:lnTo>
                        <a:pt x="301320" y="71120"/>
                      </a:lnTo>
                      <a:lnTo>
                        <a:pt x="300850" y="74930"/>
                      </a:lnTo>
                      <a:lnTo>
                        <a:pt x="300850" y="71120"/>
                      </a:lnTo>
                      <a:lnTo>
                        <a:pt x="300850" y="69850"/>
                      </a:lnTo>
                      <a:lnTo>
                        <a:pt x="300596" y="69850"/>
                      </a:lnTo>
                      <a:lnTo>
                        <a:pt x="296621" y="67310"/>
                      </a:lnTo>
                      <a:lnTo>
                        <a:pt x="292887" y="66040"/>
                      </a:lnTo>
                      <a:lnTo>
                        <a:pt x="285394" y="62230"/>
                      </a:lnTo>
                      <a:lnTo>
                        <a:pt x="281609" y="59690"/>
                      </a:lnTo>
                      <a:lnTo>
                        <a:pt x="274980" y="58420"/>
                      </a:lnTo>
                      <a:lnTo>
                        <a:pt x="266458" y="58420"/>
                      </a:lnTo>
                      <a:lnTo>
                        <a:pt x="261086" y="57150"/>
                      </a:lnTo>
                      <a:lnTo>
                        <a:pt x="257644" y="58420"/>
                      </a:lnTo>
                      <a:lnTo>
                        <a:pt x="256082" y="58420"/>
                      </a:lnTo>
                      <a:lnTo>
                        <a:pt x="255854" y="59690"/>
                      </a:lnTo>
                      <a:lnTo>
                        <a:pt x="256387" y="59690"/>
                      </a:lnTo>
                      <a:lnTo>
                        <a:pt x="256336" y="60960"/>
                      </a:lnTo>
                      <a:lnTo>
                        <a:pt x="256197" y="62230"/>
                      </a:lnTo>
                      <a:lnTo>
                        <a:pt x="255689" y="62230"/>
                      </a:lnTo>
                      <a:lnTo>
                        <a:pt x="255524" y="63500"/>
                      </a:lnTo>
                      <a:lnTo>
                        <a:pt x="256057" y="63500"/>
                      </a:lnTo>
                      <a:lnTo>
                        <a:pt x="255511" y="66040"/>
                      </a:lnTo>
                      <a:lnTo>
                        <a:pt x="253403" y="66040"/>
                      </a:lnTo>
                      <a:lnTo>
                        <a:pt x="247027" y="67310"/>
                      </a:lnTo>
                      <a:lnTo>
                        <a:pt x="241528" y="69850"/>
                      </a:lnTo>
                      <a:lnTo>
                        <a:pt x="237197" y="69850"/>
                      </a:lnTo>
                      <a:lnTo>
                        <a:pt x="236321" y="68580"/>
                      </a:lnTo>
                      <a:lnTo>
                        <a:pt x="237083" y="68580"/>
                      </a:lnTo>
                      <a:lnTo>
                        <a:pt x="237642" y="67310"/>
                      </a:lnTo>
                      <a:lnTo>
                        <a:pt x="237858" y="66040"/>
                      </a:lnTo>
                      <a:lnTo>
                        <a:pt x="238810" y="66040"/>
                      </a:lnTo>
                      <a:lnTo>
                        <a:pt x="239687" y="64770"/>
                      </a:lnTo>
                      <a:lnTo>
                        <a:pt x="241033" y="63500"/>
                      </a:lnTo>
                      <a:lnTo>
                        <a:pt x="240499" y="62230"/>
                      </a:lnTo>
                      <a:lnTo>
                        <a:pt x="242239" y="62230"/>
                      </a:lnTo>
                      <a:lnTo>
                        <a:pt x="240411" y="60960"/>
                      </a:lnTo>
                      <a:lnTo>
                        <a:pt x="237058" y="60960"/>
                      </a:lnTo>
                      <a:lnTo>
                        <a:pt x="236397" y="58420"/>
                      </a:lnTo>
                      <a:lnTo>
                        <a:pt x="236931" y="58420"/>
                      </a:lnTo>
                      <a:lnTo>
                        <a:pt x="237604" y="57150"/>
                      </a:lnTo>
                      <a:lnTo>
                        <a:pt x="236054" y="54610"/>
                      </a:lnTo>
                      <a:lnTo>
                        <a:pt x="237286" y="54610"/>
                      </a:lnTo>
                      <a:lnTo>
                        <a:pt x="237769" y="50800"/>
                      </a:lnTo>
                      <a:lnTo>
                        <a:pt x="238290" y="49530"/>
                      </a:lnTo>
                      <a:lnTo>
                        <a:pt x="233997" y="49530"/>
                      </a:lnTo>
                      <a:lnTo>
                        <a:pt x="234569" y="48260"/>
                      </a:lnTo>
                      <a:lnTo>
                        <a:pt x="233502" y="48260"/>
                      </a:lnTo>
                      <a:lnTo>
                        <a:pt x="233553" y="49530"/>
                      </a:lnTo>
                      <a:lnTo>
                        <a:pt x="232714" y="49530"/>
                      </a:lnTo>
                      <a:lnTo>
                        <a:pt x="233222" y="50800"/>
                      </a:lnTo>
                      <a:lnTo>
                        <a:pt x="233502" y="50800"/>
                      </a:lnTo>
                      <a:lnTo>
                        <a:pt x="231063" y="52070"/>
                      </a:lnTo>
                      <a:lnTo>
                        <a:pt x="227799" y="53340"/>
                      </a:lnTo>
                      <a:lnTo>
                        <a:pt x="226479" y="53340"/>
                      </a:lnTo>
                      <a:lnTo>
                        <a:pt x="226237" y="54610"/>
                      </a:lnTo>
                      <a:lnTo>
                        <a:pt x="226822" y="54610"/>
                      </a:lnTo>
                      <a:lnTo>
                        <a:pt x="228422" y="53340"/>
                      </a:lnTo>
                      <a:lnTo>
                        <a:pt x="231330" y="53340"/>
                      </a:lnTo>
                      <a:lnTo>
                        <a:pt x="230098" y="54610"/>
                      </a:lnTo>
                      <a:lnTo>
                        <a:pt x="224142" y="58420"/>
                      </a:lnTo>
                      <a:lnTo>
                        <a:pt x="226796" y="59690"/>
                      </a:lnTo>
                      <a:lnTo>
                        <a:pt x="229920" y="59690"/>
                      </a:lnTo>
                      <a:lnTo>
                        <a:pt x="222973" y="60960"/>
                      </a:lnTo>
                      <a:lnTo>
                        <a:pt x="223405" y="63500"/>
                      </a:lnTo>
                      <a:lnTo>
                        <a:pt x="225717" y="63500"/>
                      </a:lnTo>
                      <a:lnTo>
                        <a:pt x="224853" y="64770"/>
                      </a:lnTo>
                      <a:lnTo>
                        <a:pt x="226225" y="66040"/>
                      </a:lnTo>
                      <a:lnTo>
                        <a:pt x="223659" y="66040"/>
                      </a:lnTo>
                      <a:lnTo>
                        <a:pt x="227584" y="67310"/>
                      </a:lnTo>
                      <a:lnTo>
                        <a:pt x="224574" y="71120"/>
                      </a:lnTo>
                      <a:lnTo>
                        <a:pt x="219113" y="69850"/>
                      </a:lnTo>
                      <a:lnTo>
                        <a:pt x="215976" y="68580"/>
                      </a:lnTo>
                      <a:lnTo>
                        <a:pt x="209613" y="64770"/>
                      </a:lnTo>
                      <a:lnTo>
                        <a:pt x="205282" y="60960"/>
                      </a:lnTo>
                      <a:lnTo>
                        <a:pt x="203835" y="59690"/>
                      </a:lnTo>
                      <a:lnTo>
                        <a:pt x="203377" y="54610"/>
                      </a:lnTo>
                      <a:lnTo>
                        <a:pt x="203962" y="54610"/>
                      </a:lnTo>
                      <a:lnTo>
                        <a:pt x="203428" y="53340"/>
                      </a:lnTo>
                      <a:lnTo>
                        <a:pt x="202679" y="53340"/>
                      </a:lnTo>
                      <a:lnTo>
                        <a:pt x="201587" y="52070"/>
                      </a:lnTo>
                      <a:lnTo>
                        <a:pt x="200901" y="50800"/>
                      </a:lnTo>
                      <a:lnTo>
                        <a:pt x="196964" y="44450"/>
                      </a:lnTo>
                      <a:lnTo>
                        <a:pt x="194360" y="43180"/>
                      </a:lnTo>
                      <a:lnTo>
                        <a:pt x="191757" y="41910"/>
                      </a:lnTo>
                      <a:lnTo>
                        <a:pt x="186245" y="38100"/>
                      </a:lnTo>
                      <a:lnTo>
                        <a:pt x="185851" y="39370"/>
                      </a:lnTo>
                      <a:lnTo>
                        <a:pt x="183210" y="43180"/>
                      </a:lnTo>
                      <a:lnTo>
                        <a:pt x="184365" y="44450"/>
                      </a:lnTo>
                      <a:lnTo>
                        <a:pt x="187477" y="43180"/>
                      </a:lnTo>
                      <a:lnTo>
                        <a:pt x="186855" y="45720"/>
                      </a:lnTo>
                      <a:lnTo>
                        <a:pt x="184645" y="44450"/>
                      </a:lnTo>
                      <a:lnTo>
                        <a:pt x="186740" y="45720"/>
                      </a:lnTo>
                      <a:lnTo>
                        <a:pt x="188836" y="46990"/>
                      </a:lnTo>
                      <a:lnTo>
                        <a:pt x="191731" y="46990"/>
                      </a:lnTo>
                      <a:lnTo>
                        <a:pt x="189814" y="48260"/>
                      </a:lnTo>
                      <a:lnTo>
                        <a:pt x="185978" y="48260"/>
                      </a:lnTo>
                      <a:lnTo>
                        <a:pt x="180924" y="50800"/>
                      </a:lnTo>
                      <a:lnTo>
                        <a:pt x="181711" y="54610"/>
                      </a:lnTo>
                      <a:lnTo>
                        <a:pt x="177596" y="57150"/>
                      </a:lnTo>
                      <a:lnTo>
                        <a:pt x="173075" y="60960"/>
                      </a:lnTo>
                      <a:lnTo>
                        <a:pt x="169532" y="60960"/>
                      </a:lnTo>
                      <a:lnTo>
                        <a:pt x="169786" y="57150"/>
                      </a:lnTo>
                      <a:lnTo>
                        <a:pt x="165125" y="57150"/>
                      </a:lnTo>
                      <a:lnTo>
                        <a:pt x="164795" y="57289"/>
                      </a:lnTo>
                      <a:lnTo>
                        <a:pt x="164795" y="379971"/>
                      </a:lnTo>
                      <a:lnTo>
                        <a:pt x="164515" y="381000"/>
                      </a:lnTo>
                      <a:lnTo>
                        <a:pt x="164350" y="381000"/>
                      </a:lnTo>
                      <a:lnTo>
                        <a:pt x="164795" y="379971"/>
                      </a:lnTo>
                      <a:lnTo>
                        <a:pt x="164795" y="57289"/>
                      </a:lnTo>
                      <a:lnTo>
                        <a:pt x="158788" y="59690"/>
                      </a:lnTo>
                      <a:lnTo>
                        <a:pt x="155511" y="59690"/>
                      </a:lnTo>
                      <a:lnTo>
                        <a:pt x="152247" y="60960"/>
                      </a:lnTo>
                      <a:lnTo>
                        <a:pt x="151701" y="62230"/>
                      </a:lnTo>
                      <a:lnTo>
                        <a:pt x="149987" y="64770"/>
                      </a:lnTo>
                      <a:lnTo>
                        <a:pt x="148386" y="66040"/>
                      </a:lnTo>
                      <a:lnTo>
                        <a:pt x="147142" y="67310"/>
                      </a:lnTo>
                      <a:lnTo>
                        <a:pt x="147802" y="67310"/>
                      </a:lnTo>
                      <a:lnTo>
                        <a:pt x="146951" y="68580"/>
                      </a:lnTo>
                      <a:lnTo>
                        <a:pt x="145529" y="69850"/>
                      </a:lnTo>
                      <a:lnTo>
                        <a:pt x="144195" y="72390"/>
                      </a:lnTo>
                      <a:lnTo>
                        <a:pt x="144487" y="74930"/>
                      </a:lnTo>
                      <a:lnTo>
                        <a:pt x="141757" y="74930"/>
                      </a:lnTo>
                      <a:lnTo>
                        <a:pt x="144411" y="71120"/>
                      </a:lnTo>
                      <a:lnTo>
                        <a:pt x="144691" y="69850"/>
                      </a:lnTo>
                      <a:lnTo>
                        <a:pt x="142748" y="71031"/>
                      </a:lnTo>
                      <a:lnTo>
                        <a:pt x="143230" y="69850"/>
                      </a:lnTo>
                      <a:lnTo>
                        <a:pt x="144259" y="67310"/>
                      </a:lnTo>
                      <a:lnTo>
                        <a:pt x="144843" y="67310"/>
                      </a:lnTo>
                      <a:lnTo>
                        <a:pt x="143675" y="65011"/>
                      </a:lnTo>
                      <a:lnTo>
                        <a:pt x="143649" y="66040"/>
                      </a:lnTo>
                      <a:lnTo>
                        <a:pt x="143738" y="67310"/>
                      </a:lnTo>
                      <a:lnTo>
                        <a:pt x="143294" y="67932"/>
                      </a:lnTo>
                      <a:lnTo>
                        <a:pt x="143535" y="66040"/>
                      </a:lnTo>
                      <a:lnTo>
                        <a:pt x="143548" y="64770"/>
                      </a:lnTo>
                      <a:lnTo>
                        <a:pt x="143675" y="65011"/>
                      </a:lnTo>
                      <a:lnTo>
                        <a:pt x="143700" y="64770"/>
                      </a:lnTo>
                      <a:lnTo>
                        <a:pt x="142748" y="64376"/>
                      </a:lnTo>
                      <a:lnTo>
                        <a:pt x="142748" y="66040"/>
                      </a:lnTo>
                      <a:lnTo>
                        <a:pt x="141935" y="68580"/>
                      </a:lnTo>
                      <a:lnTo>
                        <a:pt x="141414" y="69850"/>
                      </a:lnTo>
                      <a:lnTo>
                        <a:pt x="142062" y="67310"/>
                      </a:lnTo>
                      <a:lnTo>
                        <a:pt x="142138" y="65239"/>
                      </a:lnTo>
                      <a:lnTo>
                        <a:pt x="142151" y="64770"/>
                      </a:lnTo>
                      <a:lnTo>
                        <a:pt x="142240" y="65366"/>
                      </a:lnTo>
                      <a:lnTo>
                        <a:pt x="142748" y="66040"/>
                      </a:lnTo>
                      <a:lnTo>
                        <a:pt x="142748" y="64376"/>
                      </a:lnTo>
                      <a:lnTo>
                        <a:pt x="140677" y="63500"/>
                      </a:lnTo>
                      <a:lnTo>
                        <a:pt x="140779" y="64770"/>
                      </a:lnTo>
                      <a:lnTo>
                        <a:pt x="139750" y="64770"/>
                      </a:lnTo>
                      <a:lnTo>
                        <a:pt x="140449" y="66040"/>
                      </a:lnTo>
                      <a:lnTo>
                        <a:pt x="141262" y="66040"/>
                      </a:lnTo>
                      <a:lnTo>
                        <a:pt x="139763" y="68580"/>
                      </a:lnTo>
                      <a:lnTo>
                        <a:pt x="138480" y="68580"/>
                      </a:lnTo>
                      <a:lnTo>
                        <a:pt x="137261" y="69850"/>
                      </a:lnTo>
                      <a:lnTo>
                        <a:pt x="135991" y="69850"/>
                      </a:lnTo>
                      <a:lnTo>
                        <a:pt x="137185" y="67310"/>
                      </a:lnTo>
                      <a:lnTo>
                        <a:pt x="136842" y="66040"/>
                      </a:lnTo>
                      <a:lnTo>
                        <a:pt x="133248" y="67310"/>
                      </a:lnTo>
                      <a:lnTo>
                        <a:pt x="127660" y="73660"/>
                      </a:lnTo>
                      <a:lnTo>
                        <a:pt x="124472" y="76200"/>
                      </a:lnTo>
                      <a:lnTo>
                        <a:pt x="119938" y="76200"/>
                      </a:lnTo>
                      <a:lnTo>
                        <a:pt x="116674" y="77470"/>
                      </a:lnTo>
                      <a:lnTo>
                        <a:pt x="116484" y="77470"/>
                      </a:lnTo>
                      <a:lnTo>
                        <a:pt x="116865" y="78740"/>
                      </a:lnTo>
                      <a:lnTo>
                        <a:pt x="117602" y="78740"/>
                      </a:lnTo>
                      <a:lnTo>
                        <a:pt x="117729" y="80010"/>
                      </a:lnTo>
                      <a:lnTo>
                        <a:pt x="117259" y="80010"/>
                      </a:lnTo>
                      <a:lnTo>
                        <a:pt x="117373" y="81280"/>
                      </a:lnTo>
                      <a:lnTo>
                        <a:pt x="118770" y="81280"/>
                      </a:lnTo>
                      <a:lnTo>
                        <a:pt x="117856" y="82550"/>
                      </a:lnTo>
                      <a:lnTo>
                        <a:pt x="118706" y="82550"/>
                      </a:lnTo>
                      <a:lnTo>
                        <a:pt x="123456" y="78740"/>
                      </a:lnTo>
                      <a:lnTo>
                        <a:pt x="122186" y="82550"/>
                      </a:lnTo>
                      <a:lnTo>
                        <a:pt x="121843" y="83820"/>
                      </a:lnTo>
                      <a:lnTo>
                        <a:pt x="117271" y="83820"/>
                      </a:lnTo>
                      <a:lnTo>
                        <a:pt x="116230" y="82550"/>
                      </a:lnTo>
                      <a:lnTo>
                        <a:pt x="115189" y="83820"/>
                      </a:lnTo>
                      <a:lnTo>
                        <a:pt x="112839" y="83820"/>
                      </a:lnTo>
                      <a:lnTo>
                        <a:pt x="111163" y="82550"/>
                      </a:lnTo>
                      <a:lnTo>
                        <a:pt x="109372" y="82550"/>
                      </a:lnTo>
                      <a:lnTo>
                        <a:pt x="109588" y="83820"/>
                      </a:lnTo>
                      <a:lnTo>
                        <a:pt x="111213" y="83820"/>
                      </a:lnTo>
                      <a:lnTo>
                        <a:pt x="110540" y="85090"/>
                      </a:lnTo>
                      <a:lnTo>
                        <a:pt x="114554" y="86360"/>
                      </a:lnTo>
                      <a:lnTo>
                        <a:pt x="114287" y="86360"/>
                      </a:lnTo>
                      <a:lnTo>
                        <a:pt x="107188" y="85090"/>
                      </a:lnTo>
                      <a:lnTo>
                        <a:pt x="108127" y="82550"/>
                      </a:lnTo>
                      <a:lnTo>
                        <a:pt x="110134" y="81280"/>
                      </a:lnTo>
                      <a:lnTo>
                        <a:pt x="111671" y="80010"/>
                      </a:lnTo>
                      <a:lnTo>
                        <a:pt x="111391" y="80010"/>
                      </a:lnTo>
                      <a:lnTo>
                        <a:pt x="113296" y="76200"/>
                      </a:lnTo>
                      <a:lnTo>
                        <a:pt x="115849" y="76200"/>
                      </a:lnTo>
                      <a:lnTo>
                        <a:pt x="116001" y="76771"/>
                      </a:lnTo>
                      <a:lnTo>
                        <a:pt x="115874" y="76200"/>
                      </a:lnTo>
                      <a:lnTo>
                        <a:pt x="116649" y="76200"/>
                      </a:lnTo>
                      <a:lnTo>
                        <a:pt x="116801" y="73660"/>
                      </a:lnTo>
                      <a:lnTo>
                        <a:pt x="118275" y="72390"/>
                      </a:lnTo>
                      <a:lnTo>
                        <a:pt x="122224" y="71120"/>
                      </a:lnTo>
                      <a:lnTo>
                        <a:pt x="121513" y="72390"/>
                      </a:lnTo>
                      <a:lnTo>
                        <a:pt x="122161" y="74930"/>
                      </a:lnTo>
                      <a:lnTo>
                        <a:pt x="122021" y="73660"/>
                      </a:lnTo>
                      <a:lnTo>
                        <a:pt x="122796" y="72390"/>
                      </a:lnTo>
                      <a:lnTo>
                        <a:pt x="124942" y="72390"/>
                      </a:lnTo>
                      <a:lnTo>
                        <a:pt x="123952" y="71120"/>
                      </a:lnTo>
                      <a:lnTo>
                        <a:pt x="125945" y="69850"/>
                      </a:lnTo>
                      <a:lnTo>
                        <a:pt x="127228" y="69850"/>
                      </a:lnTo>
                      <a:lnTo>
                        <a:pt x="128701" y="67310"/>
                      </a:lnTo>
                      <a:lnTo>
                        <a:pt x="128473" y="66040"/>
                      </a:lnTo>
                      <a:lnTo>
                        <a:pt x="132156" y="63500"/>
                      </a:lnTo>
                      <a:lnTo>
                        <a:pt x="136131" y="63500"/>
                      </a:lnTo>
                      <a:lnTo>
                        <a:pt x="140830" y="62230"/>
                      </a:lnTo>
                      <a:lnTo>
                        <a:pt x="142328" y="62230"/>
                      </a:lnTo>
                      <a:lnTo>
                        <a:pt x="145021" y="64770"/>
                      </a:lnTo>
                      <a:lnTo>
                        <a:pt x="146075" y="62230"/>
                      </a:lnTo>
                      <a:lnTo>
                        <a:pt x="149580" y="60960"/>
                      </a:lnTo>
                      <a:lnTo>
                        <a:pt x="149631" y="59690"/>
                      </a:lnTo>
                      <a:lnTo>
                        <a:pt x="153809" y="57150"/>
                      </a:lnTo>
                      <a:lnTo>
                        <a:pt x="156044" y="57150"/>
                      </a:lnTo>
                      <a:lnTo>
                        <a:pt x="160083" y="54610"/>
                      </a:lnTo>
                      <a:lnTo>
                        <a:pt x="162306" y="54610"/>
                      </a:lnTo>
                      <a:lnTo>
                        <a:pt x="164363" y="53340"/>
                      </a:lnTo>
                      <a:lnTo>
                        <a:pt x="165900" y="52070"/>
                      </a:lnTo>
                      <a:lnTo>
                        <a:pt x="165887" y="50800"/>
                      </a:lnTo>
                      <a:lnTo>
                        <a:pt x="164084" y="50800"/>
                      </a:lnTo>
                      <a:lnTo>
                        <a:pt x="165468" y="49530"/>
                      </a:lnTo>
                      <a:lnTo>
                        <a:pt x="164299" y="49530"/>
                      </a:lnTo>
                      <a:lnTo>
                        <a:pt x="162941" y="48260"/>
                      </a:lnTo>
                      <a:lnTo>
                        <a:pt x="163385" y="48260"/>
                      </a:lnTo>
                      <a:lnTo>
                        <a:pt x="161328" y="45720"/>
                      </a:lnTo>
                      <a:lnTo>
                        <a:pt x="159397" y="50800"/>
                      </a:lnTo>
                      <a:lnTo>
                        <a:pt x="157238" y="50800"/>
                      </a:lnTo>
                      <a:lnTo>
                        <a:pt x="156146" y="52070"/>
                      </a:lnTo>
                      <a:lnTo>
                        <a:pt x="154990" y="52070"/>
                      </a:lnTo>
                      <a:lnTo>
                        <a:pt x="155181" y="50800"/>
                      </a:lnTo>
                      <a:lnTo>
                        <a:pt x="145186" y="50800"/>
                      </a:lnTo>
                      <a:lnTo>
                        <a:pt x="143230" y="52070"/>
                      </a:lnTo>
                      <a:lnTo>
                        <a:pt x="144233" y="52070"/>
                      </a:lnTo>
                      <a:lnTo>
                        <a:pt x="142443" y="53340"/>
                      </a:lnTo>
                      <a:lnTo>
                        <a:pt x="142113" y="55880"/>
                      </a:lnTo>
                      <a:lnTo>
                        <a:pt x="140474" y="57150"/>
                      </a:lnTo>
                      <a:lnTo>
                        <a:pt x="140347" y="52070"/>
                      </a:lnTo>
                      <a:lnTo>
                        <a:pt x="132295" y="58420"/>
                      </a:lnTo>
                      <a:lnTo>
                        <a:pt x="127622" y="60960"/>
                      </a:lnTo>
                      <a:lnTo>
                        <a:pt x="126834" y="60960"/>
                      </a:lnTo>
                      <a:lnTo>
                        <a:pt x="120802" y="59690"/>
                      </a:lnTo>
                      <a:lnTo>
                        <a:pt x="122821" y="62230"/>
                      </a:lnTo>
                      <a:lnTo>
                        <a:pt x="120230" y="63500"/>
                      </a:lnTo>
                      <a:lnTo>
                        <a:pt x="117716" y="62230"/>
                      </a:lnTo>
                      <a:lnTo>
                        <a:pt x="101282" y="69850"/>
                      </a:lnTo>
                      <a:lnTo>
                        <a:pt x="99110" y="71120"/>
                      </a:lnTo>
                      <a:lnTo>
                        <a:pt x="95618" y="74930"/>
                      </a:lnTo>
                      <a:lnTo>
                        <a:pt x="94957" y="74930"/>
                      </a:lnTo>
                      <a:lnTo>
                        <a:pt x="94221" y="76200"/>
                      </a:lnTo>
                      <a:lnTo>
                        <a:pt x="94005" y="74930"/>
                      </a:lnTo>
                      <a:lnTo>
                        <a:pt x="93370" y="74930"/>
                      </a:lnTo>
                      <a:lnTo>
                        <a:pt x="92875" y="73660"/>
                      </a:lnTo>
                      <a:lnTo>
                        <a:pt x="92278" y="72390"/>
                      </a:lnTo>
                      <a:lnTo>
                        <a:pt x="91059" y="72390"/>
                      </a:lnTo>
                      <a:lnTo>
                        <a:pt x="90766" y="71120"/>
                      </a:lnTo>
                      <a:lnTo>
                        <a:pt x="91236" y="69850"/>
                      </a:lnTo>
                      <a:lnTo>
                        <a:pt x="91592" y="69850"/>
                      </a:lnTo>
                      <a:lnTo>
                        <a:pt x="92062" y="68580"/>
                      </a:lnTo>
                      <a:lnTo>
                        <a:pt x="92494" y="68580"/>
                      </a:lnTo>
                      <a:lnTo>
                        <a:pt x="93687" y="67310"/>
                      </a:lnTo>
                      <a:lnTo>
                        <a:pt x="95351" y="67310"/>
                      </a:lnTo>
                      <a:lnTo>
                        <a:pt x="95923" y="66040"/>
                      </a:lnTo>
                      <a:lnTo>
                        <a:pt x="96342" y="66040"/>
                      </a:lnTo>
                      <a:lnTo>
                        <a:pt x="96583" y="64770"/>
                      </a:lnTo>
                      <a:lnTo>
                        <a:pt x="97116" y="64770"/>
                      </a:lnTo>
                      <a:lnTo>
                        <a:pt x="97675" y="63500"/>
                      </a:lnTo>
                      <a:lnTo>
                        <a:pt x="98844" y="63500"/>
                      </a:lnTo>
                      <a:lnTo>
                        <a:pt x="99339" y="62230"/>
                      </a:lnTo>
                      <a:lnTo>
                        <a:pt x="99987" y="62230"/>
                      </a:lnTo>
                      <a:lnTo>
                        <a:pt x="100558" y="60960"/>
                      </a:lnTo>
                      <a:lnTo>
                        <a:pt x="101473" y="60960"/>
                      </a:lnTo>
                      <a:lnTo>
                        <a:pt x="102247" y="59690"/>
                      </a:lnTo>
                      <a:lnTo>
                        <a:pt x="103530" y="58420"/>
                      </a:lnTo>
                      <a:lnTo>
                        <a:pt x="104000" y="57150"/>
                      </a:lnTo>
                      <a:lnTo>
                        <a:pt x="102247" y="57150"/>
                      </a:lnTo>
                      <a:lnTo>
                        <a:pt x="101803" y="58420"/>
                      </a:lnTo>
                      <a:lnTo>
                        <a:pt x="100799" y="57150"/>
                      </a:lnTo>
                      <a:lnTo>
                        <a:pt x="98780" y="57150"/>
                      </a:lnTo>
                      <a:lnTo>
                        <a:pt x="98196" y="55880"/>
                      </a:lnTo>
                      <a:lnTo>
                        <a:pt x="98145" y="54610"/>
                      </a:lnTo>
                      <a:lnTo>
                        <a:pt x="97256" y="53340"/>
                      </a:lnTo>
                      <a:lnTo>
                        <a:pt x="96888" y="54610"/>
                      </a:lnTo>
                      <a:lnTo>
                        <a:pt x="95758" y="53340"/>
                      </a:lnTo>
                      <a:lnTo>
                        <a:pt x="95199" y="52070"/>
                      </a:lnTo>
                      <a:lnTo>
                        <a:pt x="94894" y="53340"/>
                      </a:lnTo>
                      <a:lnTo>
                        <a:pt x="94640" y="53340"/>
                      </a:lnTo>
                      <a:lnTo>
                        <a:pt x="94729" y="55880"/>
                      </a:lnTo>
                      <a:lnTo>
                        <a:pt x="94310" y="57150"/>
                      </a:lnTo>
                      <a:lnTo>
                        <a:pt x="94691" y="59690"/>
                      </a:lnTo>
                      <a:lnTo>
                        <a:pt x="92951" y="59690"/>
                      </a:lnTo>
                      <a:lnTo>
                        <a:pt x="90703" y="58420"/>
                      </a:lnTo>
                      <a:lnTo>
                        <a:pt x="85090" y="58420"/>
                      </a:lnTo>
                      <a:lnTo>
                        <a:pt x="83629" y="59690"/>
                      </a:lnTo>
                      <a:lnTo>
                        <a:pt x="82372" y="59690"/>
                      </a:lnTo>
                      <a:lnTo>
                        <a:pt x="82296" y="60960"/>
                      </a:lnTo>
                      <a:lnTo>
                        <a:pt x="82486" y="62230"/>
                      </a:lnTo>
                      <a:lnTo>
                        <a:pt x="83388" y="63500"/>
                      </a:lnTo>
                      <a:lnTo>
                        <a:pt x="83464" y="64770"/>
                      </a:lnTo>
                      <a:lnTo>
                        <a:pt x="81165" y="63500"/>
                      </a:lnTo>
                      <a:lnTo>
                        <a:pt x="79895" y="62699"/>
                      </a:lnTo>
                      <a:lnTo>
                        <a:pt x="79895" y="68580"/>
                      </a:lnTo>
                      <a:lnTo>
                        <a:pt x="78181" y="67310"/>
                      </a:lnTo>
                      <a:lnTo>
                        <a:pt x="76695" y="67310"/>
                      </a:lnTo>
                      <a:lnTo>
                        <a:pt x="76301" y="66675"/>
                      </a:lnTo>
                      <a:lnTo>
                        <a:pt x="78181" y="67310"/>
                      </a:lnTo>
                      <a:lnTo>
                        <a:pt x="79895" y="68580"/>
                      </a:lnTo>
                      <a:lnTo>
                        <a:pt x="79895" y="62699"/>
                      </a:lnTo>
                      <a:lnTo>
                        <a:pt x="77190" y="60960"/>
                      </a:lnTo>
                      <a:lnTo>
                        <a:pt x="77749" y="64770"/>
                      </a:lnTo>
                      <a:lnTo>
                        <a:pt x="77025" y="64770"/>
                      </a:lnTo>
                      <a:lnTo>
                        <a:pt x="75145" y="63500"/>
                      </a:lnTo>
                      <a:lnTo>
                        <a:pt x="73901" y="63500"/>
                      </a:lnTo>
                      <a:lnTo>
                        <a:pt x="74256" y="65366"/>
                      </a:lnTo>
                      <a:lnTo>
                        <a:pt x="73799" y="64770"/>
                      </a:lnTo>
                      <a:lnTo>
                        <a:pt x="72504" y="64770"/>
                      </a:lnTo>
                      <a:lnTo>
                        <a:pt x="72402" y="67310"/>
                      </a:lnTo>
                      <a:lnTo>
                        <a:pt x="72745" y="67310"/>
                      </a:lnTo>
                      <a:lnTo>
                        <a:pt x="73101" y="68580"/>
                      </a:lnTo>
                      <a:lnTo>
                        <a:pt x="75641" y="69850"/>
                      </a:lnTo>
                      <a:lnTo>
                        <a:pt x="78562" y="69850"/>
                      </a:lnTo>
                      <a:lnTo>
                        <a:pt x="76530" y="71120"/>
                      </a:lnTo>
                      <a:lnTo>
                        <a:pt x="74066" y="71120"/>
                      </a:lnTo>
                      <a:lnTo>
                        <a:pt x="71907" y="72390"/>
                      </a:lnTo>
                      <a:lnTo>
                        <a:pt x="73304" y="72390"/>
                      </a:lnTo>
                      <a:lnTo>
                        <a:pt x="74180" y="73660"/>
                      </a:lnTo>
                      <a:lnTo>
                        <a:pt x="76898" y="73660"/>
                      </a:lnTo>
                      <a:lnTo>
                        <a:pt x="77851" y="72390"/>
                      </a:lnTo>
                      <a:lnTo>
                        <a:pt x="78270" y="73660"/>
                      </a:lnTo>
                      <a:lnTo>
                        <a:pt x="78625" y="72390"/>
                      </a:lnTo>
                      <a:lnTo>
                        <a:pt x="83718" y="72390"/>
                      </a:lnTo>
                      <a:lnTo>
                        <a:pt x="84518" y="73660"/>
                      </a:lnTo>
                      <a:lnTo>
                        <a:pt x="86601" y="73660"/>
                      </a:lnTo>
                      <a:lnTo>
                        <a:pt x="86944" y="72390"/>
                      </a:lnTo>
                      <a:lnTo>
                        <a:pt x="87223" y="72390"/>
                      </a:lnTo>
                      <a:lnTo>
                        <a:pt x="87541" y="71120"/>
                      </a:lnTo>
                      <a:lnTo>
                        <a:pt x="88620" y="71120"/>
                      </a:lnTo>
                      <a:lnTo>
                        <a:pt x="89535" y="72390"/>
                      </a:lnTo>
                      <a:lnTo>
                        <a:pt x="90068" y="72390"/>
                      </a:lnTo>
                      <a:lnTo>
                        <a:pt x="92062" y="74930"/>
                      </a:lnTo>
                      <a:lnTo>
                        <a:pt x="93205" y="76200"/>
                      </a:lnTo>
                      <a:lnTo>
                        <a:pt x="91262" y="77470"/>
                      </a:lnTo>
                      <a:lnTo>
                        <a:pt x="91490" y="78740"/>
                      </a:lnTo>
                      <a:lnTo>
                        <a:pt x="93789" y="82550"/>
                      </a:lnTo>
                      <a:lnTo>
                        <a:pt x="94246" y="82550"/>
                      </a:lnTo>
                      <a:lnTo>
                        <a:pt x="95656" y="85090"/>
                      </a:lnTo>
                      <a:lnTo>
                        <a:pt x="96875" y="85090"/>
                      </a:lnTo>
                      <a:lnTo>
                        <a:pt x="97193" y="86360"/>
                      </a:lnTo>
                      <a:lnTo>
                        <a:pt x="95110" y="86360"/>
                      </a:lnTo>
                      <a:lnTo>
                        <a:pt x="94297" y="85090"/>
                      </a:lnTo>
                      <a:lnTo>
                        <a:pt x="92075" y="82550"/>
                      </a:lnTo>
                      <a:lnTo>
                        <a:pt x="91313" y="82550"/>
                      </a:lnTo>
                      <a:lnTo>
                        <a:pt x="89522" y="81280"/>
                      </a:lnTo>
                      <a:lnTo>
                        <a:pt x="88417" y="80010"/>
                      </a:lnTo>
                      <a:lnTo>
                        <a:pt x="87210" y="81280"/>
                      </a:lnTo>
                      <a:lnTo>
                        <a:pt x="82956" y="81280"/>
                      </a:lnTo>
                      <a:lnTo>
                        <a:pt x="80670" y="82550"/>
                      </a:lnTo>
                      <a:lnTo>
                        <a:pt x="79349" y="83820"/>
                      </a:lnTo>
                      <a:lnTo>
                        <a:pt x="81153" y="83820"/>
                      </a:lnTo>
                      <a:lnTo>
                        <a:pt x="82499" y="86360"/>
                      </a:lnTo>
                      <a:lnTo>
                        <a:pt x="83985" y="87630"/>
                      </a:lnTo>
                      <a:lnTo>
                        <a:pt x="81356" y="86360"/>
                      </a:lnTo>
                      <a:lnTo>
                        <a:pt x="78054" y="85090"/>
                      </a:lnTo>
                      <a:lnTo>
                        <a:pt x="65798" y="81280"/>
                      </a:lnTo>
                      <a:lnTo>
                        <a:pt x="65176" y="81280"/>
                      </a:lnTo>
                      <a:lnTo>
                        <a:pt x="32943" y="69850"/>
                      </a:lnTo>
                      <a:lnTo>
                        <a:pt x="30403" y="68580"/>
                      </a:lnTo>
                      <a:lnTo>
                        <a:pt x="27724" y="67310"/>
                      </a:lnTo>
                      <a:lnTo>
                        <a:pt x="27533" y="66040"/>
                      </a:lnTo>
                      <a:lnTo>
                        <a:pt x="1816" y="62230"/>
                      </a:lnTo>
                      <a:lnTo>
                        <a:pt x="228" y="62230"/>
                      </a:lnTo>
                      <a:lnTo>
                        <a:pt x="254" y="278130"/>
                      </a:lnTo>
                      <a:lnTo>
                        <a:pt x="0" y="279400"/>
                      </a:lnTo>
                      <a:lnTo>
                        <a:pt x="13855" y="281940"/>
                      </a:lnTo>
                      <a:lnTo>
                        <a:pt x="16052" y="283210"/>
                      </a:lnTo>
                      <a:lnTo>
                        <a:pt x="17348" y="279400"/>
                      </a:lnTo>
                      <a:lnTo>
                        <a:pt x="24396" y="279400"/>
                      </a:lnTo>
                      <a:lnTo>
                        <a:pt x="26911" y="278130"/>
                      </a:lnTo>
                      <a:lnTo>
                        <a:pt x="27889" y="279400"/>
                      </a:lnTo>
                      <a:lnTo>
                        <a:pt x="27279" y="281940"/>
                      </a:lnTo>
                      <a:lnTo>
                        <a:pt x="26809" y="283210"/>
                      </a:lnTo>
                      <a:lnTo>
                        <a:pt x="26581" y="284480"/>
                      </a:lnTo>
                      <a:lnTo>
                        <a:pt x="27076" y="285750"/>
                      </a:lnTo>
                      <a:lnTo>
                        <a:pt x="27978" y="287020"/>
                      </a:lnTo>
                      <a:lnTo>
                        <a:pt x="28143" y="287020"/>
                      </a:lnTo>
                      <a:lnTo>
                        <a:pt x="32651" y="289560"/>
                      </a:lnTo>
                      <a:lnTo>
                        <a:pt x="37198" y="293370"/>
                      </a:lnTo>
                      <a:lnTo>
                        <a:pt x="44284" y="298450"/>
                      </a:lnTo>
                      <a:lnTo>
                        <a:pt x="46939" y="300990"/>
                      </a:lnTo>
                      <a:lnTo>
                        <a:pt x="48514" y="302260"/>
                      </a:lnTo>
                      <a:lnTo>
                        <a:pt x="49479" y="303530"/>
                      </a:lnTo>
                      <a:lnTo>
                        <a:pt x="49695" y="304800"/>
                      </a:lnTo>
                      <a:lnTo>
                        <a:pt x="50012" y="306070"/>
                      </a:lnTo>
                      <a:lnTo>
                        <a:pt x="50609" y="307340"/>
                      </a:lnTo>
                      <a:lnTo>
                        <a:pt x="50584" y="308610"/>
                      </a:lnTo>
                      <a:lnTo>
                        <a:pt x="50368" y="308610"/>
                      </a:lnTo>
                      <a:lnTo>
                        <a:pt x="50571" y="309880"/>
                      </a:lnTo>
                      <a:lnTo>
                        <a:pt x="51079" y="308610"/>
                      </a:lnTo>
                      <a:lnTo>
                        <a:pt x="52412" y="308610"/>
                      </a:lnTo>
                      <a:lnTo>
                        <a:pt x="53581" y="307340"/>
                      </a:lnTo>
                      <a:lnTo>
                        <a:pt x="56972" y="306070"/>
                      </a:lnTo>
                      <a:lnTo>
                        <a:pt x="58000" y="306070"/>
                      </a:lnTo>
                      <a:lnTo>
                        <a:pt x="59118" y="304800"/>
                      </a:lnTo>
                      <a:lnTo>
                        <a:pt x="62623" y="304800"/>
                      </a:lnTo>
                      <a:lnTo>
                        <a:pt x="63169" y="303530"/>
                      </a:lnTo>
                      <a:lnTo>
                        <a:pt x="64071" y="303530"/>
                      </a:lnTo>
                      <a:lnTo>
                        <a:pt x="64681" y="302260"/>
                      </a:lnTo>
                      <a:lnTo>
                        <a:pt x="65112" y="302260"/>
                      </a:lnTo>
                      <a:lnTo>
                        <a:pt x="65151" y="300990"/>
                      </a:lnTo>
                      <a:lnTo>
                        <a:pt x="65087" y="299720"/>
                      </a:lnTo>
                      <a:lnTo>
                        <a:pt x="65189" y="298450"/>
                      </a:lnTo>
                      <a:lnTo>
                        <a:pt x="66713" y="298450"/>
                      </a:lnTo>
                      <a:lnTo>
                        <a:pt x="67462" y="297180"/>
                      </a:lnTo>
                      <a:lnTo>
                        <a:pt x="68199" y="297180"/>
                      </a:lnTo>
                      <a:lnTo>
                        <a:pt x="68237" y="295910"/>
                      </a:lnTo>
                      <a:lnTo>
                        <a:pt x="67881" y="295910"/>
                      </a:lnTo>
                      <a:lnTo>
                        <a:pt x="67157" y="294640"/>
                      </a:lnTo>
                      <a:lnTo>
                        <a:pt x="69799" y="294640"/>
                      </a:lnTo>
                      <a:lnTo>
                        <a:pt x="71031" y="293370"/>
                      </a:lnTo>
                      <a:lnTo>
                        <a:pt x="74358" y="293370"/>
                      </a:lnTo>
                      <a:lnTo>
                        <a:pt x="74866" y="292100"/>
                      </a:lnTo>
                      <a:lnTo>
                        <a:pt x="77165" y="292100"/>
                      </a:lnTo>
                      <a:lnTo>
                        <a:pt x="77990" y="290830"/>
                      </a:lnTo>
                      <a:lnTo>
                        <a:pt x="79489" y="290830"/>
                      </a:lnTo>
                      <a:lnTo>
                        <a:pt x="80568" y="292100"/>
                      </a:lnTo>
                      <a:lnTo>
                        <a:pt x="82981" y="295910"/>
                      </a:lnTo>
                      <a:lnTo>
                        <a:pt x="85686" y="299720"/>
                      </a:lnTo>
                      <a:lnTo>
                        <a:pt x="86550" y="300990"/>
                      </a:lnTo>
                      <a:lnTo>
                        <a:pt x="87490" y="302260"/>
                      </a:lnTo>
                      <a:lnTo>
                        <a:pt x="89255" y="303530"/>
                      </a:lnTo>
                      <a:lnTo>
                        <a:pt x="91046" y="303530"/>
                      </a:lnTo>
                      <a:lnTo>
                        <a:pt x="93078" y="304800"/>
                      </a:lnTo>
                      <a:lnTo>
                        <a:pt x="94335" y="306070"/>
                      </a:lnTo>
                      <a:lnTo>
                        <a:pt x="96862" y="311150"/>
                      </a:lnTo>
                      <a:lnTo>
                        <a:pt x="98996" y="312420"/>
                      </a:lnTo>
                      <a:lnTo>
                        <a:pt x="109753" y="320040"/>
                      </a:lnTo>
                      <a:lnTo>
                        <a:pt x="110464" y="322605"/>
                      </a:lnTo>
                      <a:lnTo>
                        <a:pt x="111188" y="323850"/>
                      </a:lnTo>
                      <a:lnTo>
                        <a:pt x="112331" y="325120"/>
                      </a:lnTo>
                      <a:lnTo>
                        <a:pt x="113665" y="327660"/>
                      </a:lnTo>
                      <a:lnTo>
                        <a:pt x="114173" y="328930"/>
                      </a:lnTo>
                      <a:lnTo>
                        <a:pt x="116713" y="331470"/>
                      </a:lnTo>
                      <a:lnTo>
                        <a:pt x="117665" y="334010"/>
                      </a:lnTo>
                      <a:lnTo>
                        <a:pt x="118757" y="335280"/>
                      </a:lnTo>
                      <a:lnTo>
                        <a:pt x="122402" y="340360"/>
                      </a:lnTo>
                      <a:lnTo>
                        <a:pt x="124434" y="342900"/>
                      </a:lnTo>
                      <a:lnTo>
                        <a:pt x="125082" y="344170"/>
                      </a:lnTo>
                      <a:lnTo>
                        <a:pt x="125564" y="344170"/>
                      </a:lnTo>
                      <a:lnTo>
                        <a:pt x="125730" y="345440"/>
                      </a:lnTo>
                      <a:lnTo>
                        <a:pt x="125234" y="345440"/>
                      </a:lnTo>
                      <a:lnTo>
                        <a:pt x="124879" y="346710"/>
                      </a:lnTo>
                      <a:lnTo>
                        <a:pt x="124409" y="347980"/>
                      </a:lnTo>
                      <a:lnTo>
                        <a:pt x="125945" y="349250"/>
                      </a:lnTo>
                      <a:lnTo>
                        <a:pt x="127038" y="350520"/>
                      </a:lnTo>
                      <a:lnTo>
                        <a:pt x="127457" y="351790"/>
                      </a:lnTo>
                      <a:lnTo>
                        <a:pt x="128651" y="353060"/>
                      </a:lnTo>
                      <a:lnTo>
                        <a:pt x="129895" y="354330"/>
                      </a:lnTo>
                      <a:lnTo>
                        <a:pt x="131305" y="355600"/>
                      </a:lnTo>
                      <a:lnTo>
                        <a:pt x="131457" y="356870"/>
                      </a:lnTo>
                      <a:lnTo>
                        <a:pt x="132473" y="356870"/>
                      </a:lnTo>
                      <a:lnTo>
                        <a:pt x="135001" y="358140"/>
                      </a:lnTo>
                      <a:lnTo>
                        <a:pt x="137210" y="358140"/>
                      </a:lnTo>
                      <a:lnTo>
                        <a:pt x="138328" y="359410"/>
                      </a:lnTo>
                      <a:lnTo>
                        <a:pt x="140296" y="359410"/>
                      </a:lnTo>
                      <a:lnTo>
                        <a:pt x="142455" y="360680"/>
                      </a:lnTo>
                      <a:lnTo>
                        <a:pt x="144716" y="361950"/>
                      </a:lnTo>
                      <a:lnTo>
                        <a:pt x="148932" y="363220"/>
                      </a:lnTo>
                      <a:lnTo>
                        <a:pt x="155308" y="365760"/>
                      </a:lnTo>
                      <a:lnTo>
                        <a:pt x="156451" y="368300"/>
                      </a:lnTo>
                      <a:lnTo>
                        <a:pt x="157391" y="369570"/>
                      </a:lnTo>
                      <a:lnTo>
                        <a:pt x="157911" y="370840"/>
                      </a:lnTo>
                      <a:lnTo>
                        <a:pt x="156718" y="373380"/>
                      </a:lnTo>
                      <a:lnTo>
                        <a:pt x="156298" y="374650"/>
                      </a:lnTo>
                      <a:lnTo>
                        <a:pt x="156171" y="375920"/>
                      </a:lnTo>
                      <a:lnTo>
                        <a:pt x="156375" y="375920"/>
                      </a:lnTo>
                      <a:lnTo>
                        <a:pt x="156629" y="377190"/>
                      </a:lnTo>
                      <a:lnTo>
                        <a:pt x="156260" y="377190"/>
                      </a:lnTo>
                      <a:lnTo>
                        <a:pt x="156260" y="378460"/>
                      </a:lnTo>
                      <a:lnTo>
                        <a:pt x="156730" y="379730"/>
                      </a:lnTo>
                      <a:lnTo>
                        <a:pt x="158635" y="382270"/>
                      </a:lnTo>
                      <a:lnTo>
                        <a:pt x="158191" y="384810"/>
                      </a:lnTo>
                      <a:lnTo>
                        <a:pt x="156768" y="388620"/>
                      </a:lnTo>
                      <a:lnTo>
                        <a:pt x="155917" y="389890"/>
                      </a:lnTo>
                      <a:lnTo>
                        <a:pt x="156375" y="389890"/>
                      </a:lnTo>
                      <a:lnTo>
                        <a:pt x="157213" y="388620"/>
                      </a:lnTo>
                      <a:lnTo>
                        <a:pt x="157365" y="388620"/>
                      </a:lnTo>
                      <a:lnTo>
                        <a:pt x="158191" y="387350"/>
                      </a:lnTo>
                      <a:lnTo>
                        <a:pt x="158965" y="386080"/>
                      </a:lnTo>
                      <a:lnTo>
                        <a:pt x="159385" y="386080"/>
                      </a:lnTo>
                      <a:lnTo>
                        <a:pt x="159677" y="384975"/>
                      </a:lnTo>
                      <a:lnTo>
                        <a:pt x="159778" y="384810"/>
                      </a:lnTo>
                      <a:lnTo>
                        <a:pt x="161036" y="381000"/>
                      </a:lnTo>
                      <a:lnTo>
                        <a:pt x="160616" y="379730"/>
                      </a:lnTo>
                      <a:lnTo>
                        <a:pt x="160337" y="377190"/>
                      </a:lnTo>
                      <a:lnTo>
                        <a:pt x="160502" y="377190"/>
                      </a:lnTo>
                      <a:lnTo>
                        <a:pt x="161861" y="378460"/>
                      </a:lnTo>
                      <a:lnTo>
                        <a:pt x="162648" y="379730"/>
                      </a:lnTo>
                      <a:lnTo>
                        <a:pt x="163830" y="381000"/>
                      </a:lnTo>
                      <a:lnTo>
                        <a:pt x="162801" y="381000"/>
                      </a:lnTo>
                      <a:lnTo>
                        <a:pt x="159766" y="386080"/>
                      </a:lnTo>
                      <a:lnTo>
                        <a:pt x="159537" y="386080"/>
                      </a:lnTo>
                      <a:lnTo>
                        <a:pt x="159245" y="387350"/>
                      </a:lnTo>
                      <a:lnTo>
                        <a:pt x="157492" y="388620"/>
                      </a:lnTo>
                      <a:lnTo>
                        <a:pt x="157861" y="389890"/>
                      </a:lnTo>
                      <a:lnTo>
                        <a:pt x="159486" y="389890"/>
                      </a:lnTo>
                      <a:lnTo>
                        <a:pt x="159296" y="390512"/>
                      </a:lnTo>
                      <a:lnTo>
                        <a:pt x="159296" y="397510"/>
                      </a:lnTo>
                      <a:lnTo>
                        <a:pt x="158026" y="397510"/>
                      </a:lnTo>
                      <a:lnTo>
                        <a:pt x="157302" y="396240"/>
                      </a:lnTo>
                      <a:lnTo>
                        <a:pt x="157911" y="396240"/>
                      </a:lnTo>
                      <a:lnTo>
                        <a:pt x="159296" y="397510"/>
                      </a:lnTo>
                      <a:lnTo>
                        <a:pt x="159296" y="390512"/>
                      </a:lnTo>
                      <a:lnTo>
                        <a:pt x="159092" y="391160"/>
                      </a:lnTo>
                      <a:lnTo>
                        <a:pt x="156235" y="391160"/>
                      </a:lnTo>
                      <a:lnTo>
                        <a:pt x="155714" y="392430"/>
                      </a:lnTo>
                      <a:lnTo>
                        <a:pt x="156248" y="392430"/>
                      </a:lnTo>
                      <a:lnTo>
                        <a:pt x="155067" y="393700"/>
                      </a:lnTo>
                      <a:lnTo>
                        <a:pt x="155054" y="395414"/>
                      </a:lnTo>
                      <a:lnTo>
                        <a:pt x="154901" y="394970"/>
                      </a:lnTo>
                      <a:lnTo>
                        <a:pt x="154076" y="394970"/>
                      </a:lnTo>
                      <a:lnTo>
                        <a:pt x="153593" y="396240"/>
                      </a:lnTo>
                      <a:lnTo>
                        <a:pt x="152615" y="396240"/>
                      </a:lnTo>
                      <a:lnTo>
                        <a:pt x="153009" y="397510"/>
                      </a:lnTo>
                      <a:lnTo>
                        <a:pt x="155663" y="398780"/>
                      </a:lnTo>
                      <a:lnTo>
                        <a:pt x="157810" y="398780"/>
                      </a:lnTo>
                      <a:lnTo>
                        <a:pt x="156387" y="401320"/>
                      </a:lnTo>
                      <a:lnTo>
                        <a:pt x="157353" y="402590"/>
                      </a:lnTo>
                      <a:lnTo>
                        <a:pt x="156121" y="402590"/>
                      </a:lnTo>
                      <a:lnTo>
                        <a:pt x="155028" y="401320"/>
                      </a:lnTo>
                      <a:lnTo>
                        <a:pt x="154152" y="399694"/>
                      </a:lnTo>
                      <a:lnTo>
                        <a:pt x="154152" y="402590"/>
                      </a:lnTo>
                      <a:lnTo>
                        <a:pt x="154101" y="403860"/>
                      </a:lnTo>
                      <a:lnTo>
                        <a:pt x="153974" y="403860"/>
                      </a:lnTo>
                      <a:lnTo>
                        <a:pt x="154089" y="402590"/>
                      </a:lnTo>
                      <a:lnTo>
                        <a:pt x="154000" y="401320"/>
                      </a:lnTo>
                      <a:lnTo>
                        <a:pt x="154152" y="402590"/>
                      </a:lnTo>
                      <a:lnTo>
                        <a:pt x="154152" y="399694"/>
                      </a:lnTo>
                      <a:lnTo>
                        <a:pt x="153670" y="398780"/>
                      </a:lnTo>
                      <a:lnTo>
                        <a:pt x="152539" y="397510"/>
                      </a:lnTo>
                      <a:lnTo>
                        <a:pt x="151485" y="397510"/>
                      </a:lnTo>
                      <a:lnTo>
                        <a:pt x="151523" y="400050"/>
                      </a:lnTo>
                      <a:lnTo>
                        <a:pt x="151384" y="400050"/>
                      </a:lnTo>
                      <a:lnTo>
                        <a:pt x="149542" y="401320"/>
                      </a:lnTo>
                      <a:lnTo>
                        <a:pt x="147193" y="401320"/>
                      </a:lnTo>
                      <a:lnTo>
                        <a:pt x="147574" y="405130"/>
                      </a:lnTo>
                      <a:lnTo>
                        <a:pt x="152755" y="405130"/>
                      </a:lnTo>
                      <a:lnTo>
                        <a:pt x="153619" y="404241"/>
                      </a:lnTo>
                      <a:lnTo>
                        <a:pt x="153733" y="403860"/>
                      </a:lnTo>
                      <a:lnTo>
                        <a:pt x="153733" y="404126"/>
                      </a:lnTo>
                      <a:lnTo>
                        <a:pt x="153695" y="405130"/>
                      </a:lnTo>
                      <a:lnTo>
                        <a:pt x="154444" y="405130"/>
                      </a:lnTo>
                      <a:lnTo>
                        <a:pt x="154978" y="407670"/>
                      </a:lnTo>
                      <a:lnTo>
                        <a:pt x="156337" y="407670"/>
                      </a:lnTo>
                      <a:lnTo>
                        <a:pt x="156260" y="408940"/>
                      </a:lnTo>
                      <a:lnTo>
                        <a:pt x="156565" y="408940"/>
                      </a:lnTo>
                      <a:lnTo>
                        <a:pt x="156603" y="410210"/>
                      </a:lnTo>
                      <a:lnTo>
                        <a:pt x="156794" y="411480"/>
                      </a:lnTo>
                      <a:lnTo>
                        <a:pt x="157695" y="411480"/>
                      </a:lnTo>
                      <a:lnTo>
                        <a:pt x="158724" y="412750"/>
                      </a:lnTo>
                      <a:lnTo>
                        <a:pt x="163449" y="416560"/>
                      </a:lnTo>
                      <a:lnTo>
                        <a:pt x="164071" y="416560"/>
                      </a:lnTo>
                      <a:lnTo>
                        <a:pt x="167068" y="419100"/>
                      </a:lnTo>
                      <a:lnTo>
                        <a:pt x="168630" y="420370"/>
                      </a:lnTo>
                      <a:lnTo>
                        <a:pt x="168681" y="416560"/>
                      </a:lnTo>
                      <a:lnTo>
                        <a:pt x="170573" y="415290"/>
                      </a:lnTo>
                      <a:lnTo>
                        <a:pt x="170700" y="415290"/>
                      </a:lnTo>
                      <a:lnTo>
                        <a:pt x="170942" y="416560"/>
                      </a:lnTo>
                      <a:lnTo>
                        <a:pt x="170865" y="417830"/>
                      </a:lnTo>
                      <a:lnTo>
                        <a:pt x="170980" y="419100"/>
                      </a:lnTo>
                      <a:lnTo>
                        <a:pt x="170154" y="419100"/>
                      </a:lnTo>
                      <a:lnTo>
                        <a:pt x="169875" y="420370"/>
                      </a:lnTo>
                      <a:lnTo>
                        <a:pt x="169710" y="420370"/>
                      </a:lnTo>
                      <a:lnTo>
                        <a:pt x="169430" y="421640"/>
                      </a:lnTo>
                      <a:lnTo>
                        <a:pt x="169392" y="422910"/>
                      </a:lnTo>
                      <a:lnTo>
                        <a:pt x="171246" y="422910"/>
                      </a:lnTo>
                      <a:lnTo>
                        <a:pt x="170776" y="424180"/>
                      </a:lnTo>
                      <a:lnTo>
                        <a:pt x="170484" y="424180"/>
                      </a:lnTo>
                      <a:lnTo>
                        <a:pt x="170586" y="425450"/>
                      </a:lnTo>
                      <a:lnTo>
                        <a:pt x="170865" y="425450"/>
                      </a:lnTo>
                      <a:lnTo>
                        <a:pt x="171335" y="426720"/>
                      </a:lnTo>
                      <a:lnTo>
                        <a:pt x="172123" y="426720"/>
                      </a:lnTo>
                      <a:lnTo>
                        <a:pt x="173278" y="427990"/>
                      </a:lnTo>
                      <a:lnTo>
                        <a:pt x="175387" y="427990"/>
                      </a:lnTo>
                      <a:lnTo>
                        <a:pt x="175704" y="426720"/>
                      </a:lnTo>
                      <a:lnTo>
                        <a:pt x="176364" y="426720"/>
                      </a:lnTo>
                      <a:lnTo>
                        <a:pt x="176644" y="427990"/>
                      </a:lnTo>
                      <a:lnTo>
                        <a:pt x="177838" y="427990"/>
                      </a:lnTo>
                      <a:lnTo>
                        <a:pt x="177317" y="429260"/>
                      </a:lnTo>
                      <a:lnTo>
                        <a:pt x="175780" y="429260"/>
                      </a:lnTo>
                      <a:lnTo>
                        <a:pt x="175768" y="430530"/>
                      </a:lnTo>
                      <a:lnTo>
                        <a:pt x="176593" y="430530"/>
                      </a:lnTo>
                      <a:lnTo>
                        <a:pt x="177482" y="431800"/>
                      </a:lnTo>
                      <a:lnTo>
                        <a:pt x="179209" y="431800"/>
                      </a:lnTo>
                      <a:lnTo>
                        <a:pt x="179184" y="430530"/>
                      </a:lnTo>
                      <a:lnTo>
                        <a:pt x="179463" y="431800"/>
                      </a:lnTo>
                      <a:lnTo>
                        <a:pt x="180340" y="431800"/>
                      </a:lnTo>
                      <a:lnTo>
                        <a:pt x="180009" y="433070"/>
                      </a:lnTo>
                      <a:lnTo>
                        <a:pt x="182714" y="433070"/>
                      </a:lnTo>
                      <a:lnTo>
                        <a:pt x="182880" y="431800"/>
                      </a:lnTo>
                      <a:lnTo>
                        <a:pt x="183946" y="431800"/>
                      </a:lnTo>
                      <a:lnTo>
                        <a:pt x="184226" y="430530"/>
                      </a:lnTo>
                      <a:lnTo>
                        <a:pt x="184746" y="430530"/>
                      </a:lnTo>
                      <a:lnTo>
                        <a:pt x="184531" y="431800"/>
                      </a:lnTo>
                      <a:lnTo>
                        <a:pt x="184480" y="433070"/>
                      </a:lnTo>
                      <a:lnTo>
                        <a:pt x="184607" y="433349"/>
                      </a:lnTo>
                      <a:lnTo>
                        <a:pt x="184238" y="435610"/>
                      </a:lnTo>
                      <a:lnTo>
                        <a:pt x="183210" y="435610"/>
                      </a:lnTo>
                      <a:lnTo>
                        <a:pt x="183032" y="436880"/>
                      </a:lnTo>
                      <a:lnTo>
                        <a:pt x="182664" y="436880"/>
                      </a:lnTo>
                      <a:lnTo>
                        <a:pt x="182460" y="438150"/>
                      </a:lnTo>
                      <a:lnTo>
                        <a:pt x="182194" y="438150"/>
                      </a:lnTo>
                      <a:lnTo>
                        <a:pt x="182245" y="439420"/>
                      </a:lnTo>
                      <a:lnTo>
                        <a:pt x="182892" y="439420"/>
                      </a:lnTo>
                      <a:lnTo>
                        <a:pt x="182460" y="440690"/>
                      </a:lnTo>
                      <a:lnTo>
                        <a:pt x="181394" y="440690"/>
                      </a:lnTo>
                      <a:lnTo>
                        <a:pt x="181356" y="441960"/>
                      </a:lnTo>
                      <a:lnTo>
                        <a:pt x="182803" y="441960"/>
                      </a:lnTo>
                      <a:lnTo>
                        <a:pt x="183032" y="443230"/>
                      </a:lnTo>
                      <a:lnTo>
                        <a:pt x="184035" y="443230"/>
                      </a:lnTo>
                      <a:lnTo>
                        <a:pt x="184594" y="444500"/>
                      </a:lnTo>
                      <a:lnTo>
                        <a:pt x="184302" y="444500"/>
                      </a:lnTo>
                      <a:lnTo>
                        <a:pt x="184277" y="445770"/>
                      </a:lnTo>
                      <a:lnTo>
                        <a:pt x="185585" y="445770"/>
                      </a:lnTo>
                      <a:lnTo>
                        <a:pt x="185940" y="444500"/>
                      </a:lnTo>
                      <a:lnTo>
                        <a:pt x="186461" y="444500"/>
                      </a:lnTo>
                      <a:lnTo>
                        <a:pt x="186664" y="443230"/>
                      </a:lnTo>
                      <a:lnTo>
                        <a:pt x="186804" y="441960"/>
                      </a:lnTo>
                      <a:lnTo>
                        <a:pt x="186994" y="441960"/>
                      </a:lnTo>
                      <a:lnTo>
                        <a:pt x="187198" y="440690"/>
                      </a:lnTo>
                      <a:lnTo>
                        <a:pt x="187553" y="439420"/>
                      </a:lnTo>
                      <a:lnTo>
                        <a:pt x="187896" y="438150"/>
                      </a:lnTo>
                      <a:lnTo>
                        <a:pt x="188036" y="438150"/>
                      </a:lnTo>
                      <a:lnTo>
                        <a:pt x="188112" y="439420"/>
                      </a:lnTo>
                      <a:lnTo>
                        <a:pt x="187858" y="440690"/>
                      </a:lnTo>
                      <a:lnTo>
                        <a:pt x="187998" y="440690"/>
                      </a:lnTo>
                      <a:lnTo>
                        <a:pt x="188036" y="441960"/>
                      </a:lnTo>
                      <a:lnTo>
                        <a:pt x="187604" y="441960"/>
                      </a:lnTo>
                      <a:lnTo>
                        <a:pt x="187502" y="443230"/>
                      </a:lnTo>
                      <a:lnTo>
                        <a:pt x="187769" y="443230"/>
                      </a:lnTo>
                      <a:lnTo>
                        <a:pt x="188163" y="444500"/>
                      </a:lnTo>
                      <a:lnTo>
                        <a:pt x="190436" y="443230"/>
                      </a:lnTo>
                      <a:lnTo>
                        <a:pt x="189001" y="440690"/>
                      </a:lnTo>
                      <a:lnTo>
                        <a:pt x="191922" y="441960"/>
                      </a:lnTo>
                      <a:lnTo>
                        <a:pt x="192227" y="441960"/>
                      </a:lnTo>
                      <a:lnTo>
                        <a:pt x="193459" y="440690"/>
                      </a:lnTo>
                      <a:lnTo>
                        <a:pt x="194475" y="440690"/>
                      </a:lnTo>
                      <a:lnTo>
                        <a:pt x="195262" y="439420"/>
                      </a:lnTo>
                      <a:lnTo>
                        <a:pt x="197027" y="439420"/>
                      </a:lnTo>
                      <a:lnTo>
                        <a:pt x="197040" y="438150"/>
                      </a:lnTo>
                      <a:lnTo>
                        <a:pt x="197777" y="437324"/>
                      </a:lnTo>
                      <a:lnTo>
                        <a:pt x="197396" y="438150"/>
                      </a:lnTo>
                      <a:lnTo>
                        <a:pt x="197116" y="440690"/>
                      </a:lnTo>
                      <a:lnTo>
                        <a:pt x="199123" y="441960"/>
                      </a:lnTo>
                      <a:lnTo>
                        <a:pt x="201625" y="441960"/>
                      </a:lnTo>
                      <a:lnTo>
                        <a:pt x="202450" y="440690"/>
                      </a:lnTo>
                      <a:lnTo>
                        <a:pt x="203073" y="440690"/>
                      </a:lnTo>
                      <a:lnTo>
                        <a:pt x="202044" y="441960"/>
                      </a:lnTo>
                      <a:lnTo>
                        <a:pt x="201701" y="441960"/>
                      </a:lnTo>
                      <a:lnTo>
                        <a:pt x="201460" y="443230"/>
                      </a:lnTo>
                      <a:lnTo>
                        <a:pt x="201803" y="444500"/>
                      </a:lnTo>
                      <a:lnTo>
                        <a:pt x="202730" y="445770"/>
                      </a:lnTo>
                      <a:lnTo>
                        <a:pt x="201625" y="444500"/>
                      </a:lnTo>
                      <a:lnTo>
                        <a:pt x="200406" y="443230"/>
                      </a:lnTo>
                      <a:lnTo>
                        <a:pt x="198793" y="442353"/>
                      </a:lnTo>
                      <a:lnTo>
                        <a:pt x="198793" y="459740"/>
                      </a:lnTo>
                      <a:lnTo>
                        <a:pt x="198640" y="461010"/>
                      </a:lnTo>
                      <a:lnTo>
                        <a:pt x="198361" y="461010"/>
                      </a:lnTo>
                      <a:lnTo>
                        <a:pt x="198640" y="459740"/>
                      </a:lnTo>
                      <a:lnTo>
                        <a:pt x="198793" y="459740"/>
                      </a:lnTo>
                      <a:lnTo>
                        <a:pt x="198793" y="442353"/>
                      </a:lnTo>
                      <a:lnTo>
                        <a:pt x="198094" y="441960"/>
                      </a:lnTo>
                      <a:lnTo>
                        <a:pt x="197561" y="443230"/>
                      </a:lnTo>
                      <a:lnTo>
                        <a:pt x="195922" y="444500"/>
                      </a:lnTo>
                      <a:lnTo>
                        <a:pt x="195567" y="444500"/>
                      </a:lnTo>
                      <a:lnTo>
                        <a:pt x="195567" y="452120"/>
                      </a:lnTo>
                      <a:lnTo>
                        <a:pt x="194259" y="453390"/>
                      </a:lnTo>
                      <a:lnTo>
                        <a:pt x="194373" y="454660"/>
                      </a:lnTo>
                      <a:lnTo>
                        <a:pt x="194094" y="454660"/>
                      </a:lnTo>
                      <a:lnTo>
                        <a:pt x="193535" y="453390"/>
                      </a:lnTo>
                      <a:lnTo>
                        <a:pt x="194297" y="452120"/>
                      </a:lnTo>
                      <a:lnTo>
                        <a:pt x="195237" y="452120"/>
                      </a:lnTo>
                      <a:lnTo>
                        <a:pt x="195465" y="450850"/>
                      </a:lnTo>
                      <a:lnTo>
                        <a:pt x="195567" y="452120"/>
                      </a:lnTo>
                      <a:lnTo>
                        <a:pt x="195567" y="444500"/>
                      </a:lnTo>
                      <a:lnTo>
                        <a:pt x="194779" y="444500"/>
                      </a:lnTo>
                      <a:lnTo>
                        <a:pt x="194779" y="445770"/>
                      </a:lnTo>
                      <a:lnTo>
                        <a:pt x="194195" y="447040"/>
                      </a:lnTo>
                      <a:lnTo>
                        <a:pt x="192227" y="447040"/>
                      </a:lnTo>
                      <a:lnTo>
                        <a:pt x="194589" y="445465"/>
                      </a:lnTo>
                      <a:lnTo>
                        <a:pt x="194589" y="445770"/>
                      </a:lnTo>
                      <a:lnTo>
                        <a:pt x="194779" y="445770"/>
                      </a:lnTo>
                      <a:lnTo>
                        <a:pt x="194779" y="444500"/>
                      </a:lnTo>
                      <a:lnTo>
                        <a:pt x="194576" y="444500"/>
                      </a:lnTo>
                      <a:lnTo>
                        <a:pt x="194589" y="445249"/>
                      </a:lnTo>
                      <a:lnTo>
                        <a:pt x="191160" y="447040"/>
                      </a:lnTo>
                      <a:lnTo>
                        <a:pt x="191706" y="447040"/>
                      </a:lnTo>
                      <a:lnTo>
                        <a:pt x="190500" y="449580"/>
                      </a:lnTo>
                      <a:lnTo>
                        <a:pt x="190715" y="448310"/>
                      </a:lnTo>
                      <a:lnTo>
                        <a:pt x="188328" y="449580"/>
                      </a:lnTo>
                      <a:lnTo>
                        <a:pt x="187833" y="453390"/>
                      </a:lnTo>
                      <a:lnTo>
                        <a:pt x="188175" y="455930"/>
                      </a:lnTo>
                      <a:lnTo>
                        <a:pt x="189636" y="457200"/>
                      </a:lnTo>
                      <a:lnTo>
                        <a:pt x="190068" y="457200"/>
                      </a:lnTo>
                      <a:lnTo>
                        <a:pt x="191236" y="458470"/>
                      </a:lnTo>
                      <a:lnTo>
                        <a:pt x="192024" y="457200"/>
                      </a:lnTo>
                      <a:lnTo>
                        <a:pt x="192557" y="457200"/>
                      </a:lnTo>
                      <a:lnTo>
                        <a:pt x="192265" y="455930"/>
                      </a:lnTo>
                      <a:lnTo>
                        <a:pt x="192582" y="455930"/>
                      </a:lnTo>
                      <a:lnTo>
                        <a:pt x="193014" y="454660"/>
                      </a:lnTo>
                      <a:lnTo>
                        <a:pt x="193992" y="454660"/>
                      </a:lnTo>
                      <a:lnTo>
                        <a:pt x="193560" y="455930"/>
                      </a:lnTo>
                      <a:lnTo>
                        <a:pt x="193382" y="455930"/>
                      </a:lnTo>
                      <a:lnTo>
                        <a:pt x="192836" y="457200"/>
                      </a:lnTo>
                      <a:lnTo>
                        <a:pt x="192722" y="458470"/>
                      </a:lnTo>
                      <a:lnTo>
                        <a:pt x="191389" y="459740"/>
                      </a:lnTo>
                      <a:lnTo>
                        <a:pt x="189712" y="459740"/>
                      </a:lnTo>
                      <a:lnTo>
                        <a:pt x="189458" y="461010"/>
                      </a:lnTo>
                      <a:lnTo>
                        <a:pt x="194487" y="461010"/>
                      </a:lnTo>
                      <a:lnTo>
                        <a:pt x="194691" y="461010"/>
                      </a:lnTo>
                      <a:lnTo>
                        <a:pt x="196507" y="462280"/>
                      </a:lnTo>
                      <a:lnTo>
                        <a:pt x="197383" y="461010"/>
                      </a:lnTo>
                      <a:lnTo>
                        <a:pt x="197612" y="461010"/>
                      </a:lnTo>
                      <a:lnTo>
                        <a:pt x="197129" y="462280"/>
                      </a:lnTo>
                      <a:lnTo>
                        <a:pt x="196507" y="462280"/>
                      </a:lnTo>
                      <a:lnTo>
                        <a:pt x="195961" y="462280"/>
                      </a:lnTo>
                      <a:lnTo>
                        <a:pt x="194487" y="461010"/>
                      </a:lnTo>
                      <a:lnTo>
                        <a:pt x="194017" y="461365"/>
                      </a:lnTo>
                      <a:lnTo>
                        <a:pt x="194017" y="467360"/>
                      </a:lnTo>
                      <a:lnTo>
                        <a:pt x="193281" y="468337"/>
                      </a:lnTo>
                      <a:lnTo>
                        <a:pt x="191147" y="467360"/>
                      </a:lnTo>
                      <a:lnTo>
                        <a:pt x="194017" y="467360"/>
                      </a:lnTo>
                      <a:lnTo>
                        <a:pt x="194017" y="461365"/>
                      </a:lnTo>
                      <a:lnTo>
                        <a:pt x="192786" y="462280"/>
                      </a:lnTo>
                      <a:lnTo>
                        <a:pt x="182003" y="462280"/>
                      </a:lnTo>
                      <a:lnTo>
                        <a:pt x="180505" y="463550"/>
                      </a:lnTo>
                      <a:lnTo>
                        <a:pt x="182410" y="467360"/>
                      </a:lnTo>
                      <a:lnTo>
                        <a:pt x="185394" y="469900"/>
                      </a:lnTo>
                      <a:lnTo>
                        <a:pt x="187159" y="468630"/>
                      </a:lnTo>
                      <a:lnTo>
                        <a:pt x="191630" y="468630"/>
                      </a:lnTo>
                      <a:lnTo>
                        <a:pt x="192659" y="468630"/>
                      </a:lnTo>
                      <a:lnTo>
                        <a:pt x="193078" y="469900"/>
                      </a:lnTo>
                      <a:lnTo>
                        <a:pt x="193827" y="470941"/>
                      </a:lnTo>
                      <a:lnTo>
                        <a:pt x="192138" y="469900"/>
                      </a:lnTo>
                      <a:lnTo>
                        <a:pt x="191630" y="468630"/>
                      </a:lnTo>
                      <a:lnTo>
                        <a:pt x="188315" y="469900"/>
                      </a:lnTo>
                      <a:lnTo>
                        <a:pt x="187858" y="469900"/>
                      </a:lnTo>
                      <a:lnTo>
                        <a:pt x="186093" y="472440"/>
                      </a:lnTo>
                      <a:lnTo>
                        <a:pt x="187553" y="472440"/>
                      </a:lnTo>
                      <a:lnTo>
                        <a:pt x="189572" y="474980"/>
                      </a:lnTo>
                      <a:lnTo>
                        <a:pt x="188087" y="474980"/>
                      </a:lnTo>
                      <a:lnTo>
                        <a:pt x="187718" y="476250"/>
                      </a:lnTo>
                      <a:lnTo>
                        <a:pt x="189001" y="476250"/>
                      </a:lnTo>
                      <a:lnTo>
                        <a:pt x="190296" y="474980"/>
                      </a:lnTo>
                      <a:lnTo>
                        <a:pt x="194564" y="474980"/>
                      </a:lnTo>
                      <a:lnTo>
                        <a:pt x="193459" y="477520"/>
                      </a:lnTo>
                      <a:lnTo>
                        <a:pt x="195834" y="477520"/>
                      </a:lnTo>
                      <a:lnTo>
                        <a:pt x="196977" y="476250"/>
                      </a:lnTo>
                      <a:lnTo>
                        <a:pt x="196481" y="474980"/>
                      </a:lnTo>
                      <a:lnTo>
                        <a:pt x="197319" y="476250"/>
                      </a:lnTo>
                      <a:lnTo>
                        <a:pt x="198894" y="476250"/>
                      </a:lnTo>
                      <a:lnTo>
                        <a:pt x="198005" y="477520"/>
                      </a:lnTo>
                      <a:lnTo>
                        <a:pt x="197370" y="478790"/>
                      </a:lnTo>
                      <a:lnTo>
                        <a:pt x="198323" y="481330"/>
                      </a:lnTo>
                      <a:lnTo>
                        <a:pt x="202044" y="481330"/>
                      </a:lnTo>
                      <a:lnTo>
                        <a:pt x="201790" y="478790"/>
                      </a:lnTo>
                      <a:lnTo>
                        <a:pt x="202895" y="478790"/>
                      </a:lnTo>
                      <a:lnTo>
                        <a:pt x="203454" y="480060"/>
                      </a:lnTo>
                      <a:lnTo>
                        <a:pt x="203301" y="479031"/>
                      </a:lnTo>
                      <a:lnTo>
                        <a:pt x="205028" y="480060"/>
                      </a:lnTo>
                      <a:lnTo>
                        <a:pt x="205651" y="481330"/>
                      </a:lnTo>
                      <a:lnTo>
                        <a:pt x="206667" y="485140"/>
                      </a:lnTo>
                      <a:lnTo>
                        <a:pt x="207505" y="482600"/>
                      </a:lnTo>
                      <a:lnTo>
                        <a:pt x="209029" y="482600"/>
                      </a:lnTo>
                      <a:lnTo>
                        <a:pt x="208292" y="483870"/>
                      </a:lnTo>
                      <a:lnTo>
                        <a:pt x="207784" y="483870"/>
                      </a:lnTo>
                      <a:lnTo>
                        <a:pt x="210375" y="485140"/>
                      </a:lnTo>
                      <a:lnTo>
                        <a:pt x="213360" y="483870"/>
                      </a:lnTo>
                      <a:lnTo>
                        <a:pt x="211823" y="485140"/>
                      </a:lnTo>
                      <a:lnTo>
                        <a:pt x="210375" y="485140"/>
                      </a:lnTo>
                      <a:lnTo>
                        <a:pt x="207810" y="485140"/>
                      </a:lnTo>
                      <a:lnTo>
                        <a:pt x="206527" y="486410"/>
                      </a:lnTo>
                      <a:lnTo>
                        <a:pt x="206844" y="488950"/>
                      </a:lnTo>
                      <a:lnTo>
                        <a:pt x="207124" y="490220"/>
                      </a:lnTo>
                      <a:lnTo>
                        <a:pt x="209296" y="487680"/>
                      </a:lnTo>
                      <a:lnTo>
                        <a:pt x="208432" y="488950"/>
                      </a:lnTo>
                      <a:lnTo>
                        <a:pt x="216077" y="488950"/>
                      </a:lnTo>
                      <a:lnTo>
                        <a:pt x="214731" y="491490"/>
                      </a:lnTo>
                      <a:lnTo>
                        <a:pt x="215430" y="494030"/>
                      </a:lnTo>
                      <a:lnTo>
                        <a:pt x="217601" y="491591"/>
                      </a:lnTo>
                      <a:lnTo>
                        <a:pt x="218516" y="492760"/>
                      </a:lnTo>
                      <a:lnTo>
                        <a:pt x="218541" y="494030"/>
                      </a:lnTo>
                      <a:lnTo>
                        <a:pt x="219176" y="494030"/>
                      </a:lnTo>
                      <a:lnTo>
                        <a:pt x="219798" y="492760"/>
                      </a:lnTo>
                      <a:lnTo>
                        <a:pt x="220395" y="492760"/>
                      </a:lnTo>
                      <a:lnTo>
                        <a:pt x="219925" y="494030"/>
                      </a:lnTo>
                      <a:lnTo>
                        <a:pt x="219354" y="494030"/>
                      </a:lnTo>
                      <a:lnTo>
                        <a:pt x="218097" y="495300"/>
                      </a:lnTo>
                      <a:lnTo>
                        <a:pt x="216306" y="494030"/>
                      </a:lnTo>
                      <a:lnTo>
                        <a:pt x="217906" y="496570"/>
                      </a:lnTo>
                      <a:lnTo>
                        <a:pt x="226441" y="496570"/>
                      </a:lnTo>
                      <a:lnTo>
                        <a:pt x="230124" y="497586"/>
                      </a:lnTo>
                      <a:lnTo>
                        <a:pt x="231101" y="497586"/>
                      </a:lnTo>
                      <a:lnTo>
                        <a:pt x="246303" y="497586"/>
                      </a:lnTo>
                      <a:lnTo>
                        <a:pt x="245872" y="496570"/>
                      </a:lnTo>
                      <a:lnTo>
                        <a:pt x="247561" y="496570"/>
                      </a:lnTo>
                      <a:lnTo>
                        <a:pt x="245872" y="494030"/>
                      </a:lnTo>
                      <a:lnTo>
                        <a:pt x="245135" y="494030"/>
                      </a:lnTo>
                      <a:lnTo>
                        <a:pt x="243763" y="492760"/>
                      </a:lnTo>
                      <a:lnTo>
                        <a:pt x="241109" y="492760"/>
                      </a:lnTo>
                      <a:lnTo>
                        <a:pt x="241998" y="491490"/>
                      </a:lnTo>
                      <a:lnTo>
                        <a:pt x="238925" y="490220"/>
                      </a:lnTo>
                      <a:lnTo>
                        <a:pt x="235966" y="490220"/>
                      </a:lnTo>
                      <a:lnTo>
                        <a:pt x="235051" y="488950"/>
                      </a:lnTo>
                      <a:lnTo>
                        <a:pt x="232791" y="487680"/>
                      </a:lnTo>
                      <a:lnTo>
                        <a:pt x="232410" y="487680"/>
                      </a:lnTo>
                      <a:lnTo>
                        <a:pt x="232206" y="487464"/>
                      </a:lnTo>
                      <a:lnTo>
                        <a:pt x="232206" y="495300"/>
                      </a:lnTo>
                      <a:lnTo>
                        <a:pt x="231444" y="496138"/>
                      </a:lnTo>
                      <a:lnTo>
                        <a:pt x="231635" y="495300"/>
                      </a:lnTo>
                      <a:lnTo>
                        <a:pt x="231927" y="492760"/>
                      </a:lnTo>
                      <a:lnTo>
                        <a:pt x="232156" y="493572"/>
                      </a:lnTo>
                      <a:lnTo>
                        <a:pt x="232206" y="495300"/>
                      </a:lnTo>
                      <a:lnTo>
                        <a:pt x="232206" y="487464"/>
                      </a:lnTo>
                      <a:lnTo>
                        <a:pt x="231254" y="486410"/>
                      </a:lnTo>
                      <a:lnTo>
                        <a:pt x="231038" y="486410"/>
                      </a:lnTo>
                      <a:lnTo>
                        <a:pt x="230517" y="485140"/>
                      </a:lnTo>
                      <a:lnTo>
                        <a:pt x="229755" y="485140"/>
                      </a:lnTo>
                      <a:lnTo>
                        <a:pt x="229565" y="483870"/>
                      </a:lnTo>
                      <a:lnTo>
                        <a:pt x="230301" y="483870"/>
                      </a:lnTo>
                      <a:lnTo>
                        <a:pt x="229958" y="482600"/>
                      </a:lnTo>
                      <a:lnTo>
                        <a:pt x="228815" y="481330"/>
                      </a:lnTo>
                      <a:lnTo>
                        <a:pt x="227101" y="480060"/>
                      </a:lnTo>
                      <a:lnTo>
                        <a:pt x="226529" y="478790"/>
                      </a:lnTo>
                      <a:lnTo>
                        <a:pt x="225298" y="477520"/>
                      </a:lnTo>
                      <a:lnTo>
                        <a:pt x="224650" y="476250"/>
                      </a:lnTo>
                      <a:lnTo>
                        <a:pt x="224866" y="476250"/>
                      </a:lnTo>
                      <a:lnTo>
                        <a:pt x="226364" y="477520"/>
                      </a:lnTo>
                      <a:lnTo>
                        <a:pt x="226872" y="477520"/>
                      </a:lnTo>
                      <a:lnTo>
                        <a:pt x="227063" y="478790"/>
                      </a:lnTo>
                      <a:lnTo>
                        <a:pt x="226987" y="477520"/>
                      </a:lnTo>
                      <a:lnTo>
                        <a:pt x="227533" y="477520"/>
                      </a:lnTo>
                      <a:lnTo>
                        <a:pt x="227952" y="476250"/>
                      </a:lnTo>
                      <a:lnTo>
                        <a:pt x="228714" y="476250"/>
                      </a:lnTo>
                      <a:lnTo>
                        <a:pt x="229311" y="474980"/>
                      </a:lnTo>
                      <a:lnTo>
                        <a:pt x="229285" y="476250"/>
                      </a:lnTo>
                      <a:lnTo>
                        <a:pt x="228777" y="476250"/>
                      </a:lnTo>
                      <a:lnTo>
                        <a:pt x="228663" y="477520"/>
                      </a:lnTo>
                      <a:lnTo>
                        <a:pt x="228104" y="477520"/>
                      </a:lnTo>
                      <a:lnTo>
                        <a:pt x="228219" y="479031"/>
                      </a:lnTo>
                      <a:lnTo>
                        <a:pt x="228079" y="480060"/>
                      </a:lnTo>
                      <a:lnTo>
                        <a:pt x="228904" y="480060"/>
                      </a:lnTo>
                      <a:lnTo>
                        <a:pt x="229666" y="478790"/>
                      </a:lnTo>
                      <a:lnTo>
                        <a:pt x="229260" y="477520"/>
                      </a:lnTo>
                      <a:lnTo>
                        <a:pt x="230581" y="478790"/>
                      </a:lnTo>
                      <a:lnTo>
                        <a:pt x="231305" y="480060"/>
                      </a:lnTo>
                      <a:lnTo>
                        <a:pt x="233464" y="478790"/>
                      </a:lnTo>
                      <a:lnTo>
                        <a:pt x="234657" y="477520"/>
                      </a:lnTo>
                      <a:lnTo>
                        <a:pt x="236956" y="477520"/>
                      </a:lnTo>
                      <a:lnTo>
                        <a:pt x="235826" y="478790"/>
                      </a:lnTo>
                      <a:lnTo>
                        <a:pt x="233591" y="478790"/>
                      </a:lnTo>
                      <a:lnTo>
                        <a:pt x="233400" y="480060"/>
                      </a:lnTo>
                      <a:lnTo>
                        <a:pt x="233705" y="480060"/>
                      </a:lnTo>
                      <a:lnTo>
                        <a:pt x="233997" y="481330"/>
                      </a:lnTo>
                      <a:lnTo>
                        <a:pt x="234213" y="481330"/>
                      </a:lnTo>
                      <a:lnTo>
                        <a:pt x="234276" y="482600"/>
                      </a:lnTo>
                      <a:lnTo>
                        <a:pt x="234188" y="483870"/>
                      </a:lnTo>
                      <a:lnTo>
                        <a:pt x="233857" y="483870"/>
                      </a:lnTo>
                      <a:lnTo>
                        <a:pt x="233514" y="485140"/>
                      </a:lnTo>
                      <a:lnTo>
                        <a:pt x="233743" y="486410"/>
                      </a:lnTo>
                      <a:lnTo>
                        <a:pt x="233337" y="486410"/>
                      </a:lnTo>
                      <a:lnTo>
                        <a:pt x="236334" y="488950"/>
                      </a:lnTo>
                      <a:lnTo>
                        <a:pt x="239369" y="488950"/>
                      </a:lnTo>
                      <a:lnTo>
                        <a:pt x="240690" y="490220"/>
                      </a:lnTo>
                      <a:lnTo>
                        <a:pt x="242290" y="490220"/>
                      </a:lnTo>
                      <a:lnTo>
                        <a:pt x="242417" y="488950"/>
                      </a:lnTo>
                      <a:lnTo>
                        <a:pt x="242671" y="488950"/>
                      </a:lnTo>
                      <a:lnTo>
                        <a:pt x="242785" y="487680"/>
                      </a:lnTo>
                      <a:lnTo>
                        <a:pt x="243636" y="487680"/>
                      </a:lnTo>
                      <a:lnTo>
                        <a:pt x="243446" y="486410"/>
                      </a:lnTo>
                      <a:lnTo>
                        <a:pt x="243827" y="486410"/>
                      </a:lnTo>
                      <a:lnTo>
                        <a:pt x="244144" y="485140"/>
                      </a:lnTo>
                      <a:lnTo>
                        <a:pt x="244932" y="485140"/>
                      </a:lnTo>
                      <a:lnTo>
                        <a:pt x="244690" y="486410"/>
                      </a:lnTo>
                      <a:lnTo>
                        <a:pt x="244246" y="486410"/>
                      </a:lnTo>
                      <a:lnTo>
                        <a:pt x="243979" y="487680"/>
                      </a:lnTo>
                      <a:lnTo>
                        <a:pt x="244563" y="488950"/>
                      </a:lnTo>
                      <a:lnTo>
                        <a:pt x="244538" y="487680"/>
                      </a:lnTo>
                      <a:lnTo>
                        <a:pt x="245008" y="487680"/>
                      </a:lnTo>
                      <a:lnTo>
                        <a:pt x="245275" y="488950"/>
                      </a:lnTo>
                      <a:lnTo>
                        <a:pt x="244957" y="490220"/>
                      </a:lnTo>
                      <a:lnTo>
                        <a:pt x="244779" y="490220"/>
                      </a:lnTo>
                      <a:lnTo>
                        <a:pt x="245173" y="491490"/>
                      </a:lnTo>
                      <a:lnTo>
                        <a:pt x="247764" y="491490"/>
                      </a:lnTo>
                      <a:lnTo>
                        <a:pt x="248691" y="492760"/>
                      </a:lnTo>
                      <a:lnTo>
                        <a:pt x="249643" y="491490"/>
                      </a:lnTo>
                      <a:lnTo>
                        <a:pt x="249796" y="491490"/>
                      </a:lnTo>
                      <a:lnTo>
                        <a:pt x="249491" y="492760"/>
                      </a:lnTo>
                      <a:lnTo>
                        <a:pt x="248691" y="492760"/>
                      </a:lnTo>
                      <a:lnTo>
                        <a:pt x="248043" y="492760"/>
                      </a:lnTo>
                      <a:lnTo>
                        <a:pt x="246862" y="494030"/>
                      </a:lnTo>
                      <a:lnTo>
                        <a:pt x="247027" y="494030"/>
                      </a:lnTo>
                      <a:lnTo>
                        <a:pt x="246888" y="495300"/>
                      </a:lnTo>
                      <a:lnTo>
                        <a:pt x="247243" y="495300"/>
                      </a:lnTo>
                      <a:lnTo>
                        <a:pt x="248208" y="496570"/>
                      </a:lnTo>
                      <a:lnTo>
                        <a:pt x="249897" y="496570"/>
                      </a:lnTo>
                      <a:lnTo>
                        <a:pt x="250634" y="497840"/>
                      </a:lnTo>
                      <a:lnTo>
                        <a:pt x="250977" y="496570"/>
                      </a:lnTo>
                      <a:lnTo>
                        <a:pt x="250825" y="495300"/>
                      </a:lnTo>
                      <a:lnTo>
                        <a:pt x="251256" y="495300"/>
                      </a:lnTo>
                      <a:lnTo>
                        <a:pt x="251828" y="494030"/>
                      </a:lnTo>
                      <a:lnTo>
                        <a:pt x="253834" y="494030"/>
                      </a:lnTo>
                      <a:lnTo>
                        <a:pt x="254584" y="492760"/>
                      </a:lnTo>
                      <a:lnTo>
                        <a:pt x="254863" y="492760"/>
                      </a:lnTo>
                      <a:lnTo>
                        <a:pt x="255092" y="491490"/>
                      </a:lnTo>
                      <a:lnTo>
                        <a:pt x="255511" y="491490"/>
                      </a:lnTo>
                      <a:lnTo>
                        <a:pt x="255346" y="492760"/>
                      </a:lnTo>
                      <a:lnTo>
                        <a:pt x="254762" y="495300"/>
                      </a:lnTo>
                      <a:lnTo>
                        <a:pt x="254304" y="496570"/>
                      </a:lnTo>
                      <a:lnTo>
                        <a:pt x="258216" y="496570"/>
                      </a:lnTo>
                      <a:lnTo>
                        <a:pt x="258927" y="497840"/>
                      </a:lnTo>
                      <a:lnTo>
                        <a:pt x="259549" y="496570"/>
                      </a:lnTo>
                      <a:lnTo>
                        <a:pt x="259740" y="496570"/>
                      </a:lnTo>
                      <a:lnTo>
                        <a:pt x="259765" y="497840"/>
                      </a:lnTo>
                      <a:lnTo>
                        <a:pt x="259295" y="497840"/>
                      </a:lnTo>
                      <a:lnTo>
                        <a:pt x="259638" y="499110"/>
                      </a:lnTo>
                      <a:lnTo>
                        <a:pt x="259880" y="499110"/>
                      </a:lnTo>
                      <a:lnTo>
                        <a:pt x="259880" y="501650"/>
                      </a:lnTo>
                      <a:lnTo>
                        <a:pt x="258597" y="502920"/>
                      </a:lnTo>
                      <a:lnTo>
                        <a:pt x="256895" y="504190"/>
                      </a:lnTo>
                      <a:lnTo>
                        <a:pt x="260769" y="504190"/>
                      </a:lnTo>
                      <a:lnTo>
                        <a:pt x="260870" y="505460"/>
                      </a:lnTo>
                      <a:lnTo>
                        <a:pt x="260972" y="506653"/>
                      </a:lnTo>
                      <a:lnTo>
                        <a:pt x="261315" y="506653"/>
                      </a:lnTo>
                      <a:lnTo>
                        <a:pt x="261620" y="507923"/>
                      </a:lnTo>
                      <a:lnTo>
                        <a:pt x="262483" y="507923"/>
                      </a:lnTo>
                      <a:lnTo>
                        <a:pt x="263055" y="509193"/>
                      </a:lnTo>
                      <a:lnTo>
                        <a:pt x="265061" y="509193"/>
                      </a:lnTo>
                      <a:lnTo>
                        <a:pt x="264312" y="510463"/>
                      </a:lnTo>
                      <a:lnTo>
                        <a:pt x="265899" y="510463"/>
                      </a:lnTo>
                      <a:lnTo>
                        <a:pt x="265988" y="513003"/>
                      </a:lnTo>
                      <a:lnTo>
                        <a:pt x="265353" y="513003"/>
                      </a:lnTo>
                      <a:lnTo>
                        <a:pt x="265049" y="514273"/>
                      </a:lnTo>
                      <a:lnTo>
                        <a:pt x="265569" y="514273"/>
                      </a:lnTo>
                      <a:lnTo>
                        <a:pt x="264998" y="515543"/>
                      </a:lnTo>
                      <a:lnTo>
                        <a:pt x="264058" y="515543"/>
                      </a:lnTo>
                      <a:lnTo>
                        <a:pt x="266319" y="516813"/>
                      </a:lnTo>
                      <a:lnTo>
                        <a:pt x="267550" y="519353"/>
                      </a:lnTo>
                      <a:lnTo>
                        <a:pt x="266611" y="520623"/>
                      </a:lnTo>
                      <a:lnTo>
                        <a:pt x="268084" y="521893"/>
                      </a:lnTo>
                      <a:lnTo>
                        <a:pt x="268719" y="523163"/>
                      </a:lnTo>
                      <a:lnTo>
                        <a:pt x="269430" y="521893"/>
                      </a:lnTo>
                      <a:lnTo>
                        <a:pt x="269303" y="523163"/>
                      </a:lnTo>
                      <a:lnTo>
                        <a:pt x="268719" y="523163"/>
                      </a:lnTo>
                      <a:lnTo>
                        <a:pt x="268198" y="523163"/>
                      </a:lnTo>
                      <a:lnTo>
                        <a:pt x="267817" y="524433"/>
                      </a:lnTo>
                      <a:lnTo>
                        <a:pt x="267601" y="525703"/>
                      </a:lnTo>
                      <a:lnTo>
                        <a:pt x="266941" y="525703"/>
                      </a:lnTo>
                      <a:lnTo>
                        <a:pt x="266725" y="526973"/>
                      </a:lnTo>
                      <a:lnTo>
                        <a:pt x="267246" y="526973"/>
                      </a:lnTo>
                      <a:lnTo>
                        <a:pt x="267144" y="528243"/>
                      </a:lnTo>
                      <a:lnTo>
                        <a:pt x="266573" y="528243"/>
                      </a:lnTo>
                      <a:lnTo>
                        <a:pt x="266827" y="529513"/>
                      </a:lnTo>
                      <a:lnTo>
                        <a:pt x="267423" y="530783"/>
                      </a:lnTo>
                      <a:lnTo>
                        <a:pt x="266814" y="530783"/>
                      </a:lnTo>
                      <a:lnTo>
                        <a:pt x="266776" y="532053"/>
                      </a:lnTo>
                      <a:lnTo>
                        <a:pt x="267195" y="532053"/>
                      </a:lnTo>
                      <a:lnTo>
                        <a:pt x="267601" y="533323"/>
                      </a:lnTo>
                      <a:lnTo>
                        <a:pt x="267576" y="534593"/>
                      </a:lnTo>
                      <a:lnTo>
                        <a:pt x="267436" y="533323"/>
                      </a:lnTo>
                      <a:lnTo>
                        <a:pt x="266255" y="535863"/>
                      </a:lnTo>
                      <a:lnTo>
                        <a:pt x="265404" y="535863"/>
                      </a:lnTo>
                      <a:lnTo>
                        <a:pt x="262318" y="538403"/>
                      </a:lnTo>
                      <a:lnTo>
                        <a:pt x="261848" y="538403"/>
                      </a:lnTo>
                      <a:lnTo>
                        <a:pt x="259511" y="539673"/>
                      </a:lnTo>
                      <a:lnTo>
                        <a:pt x="257962" y="539673"/>
                      </a:lnTo>
                      <a:lnTo>
                        <a:pt x="258267" y="538403"/>
                      </a:lnTo>
                      <a:lnTo>
                        <a:pt x="259041" y="537133"/>
                      </a:lnTo>
                      <a:lnTo>
                        <a:pt x="258864" y="535863"/>
                      </a:lnTo>
                      <a:lnTo>
                        <a:pt x="259727" y="534593"/>
                      </a:lnTo>
                      <a:lnTo>
                        <a:pt x="260654" y="534593"/>
                      </a:lnTo>
                      <a:lnTo>
                        <a:pt x="260731" y="533323"/>
                      </a:lnTo>
                      <a:lnTo>
                        <a:pt x="261099" y="534593"/>
                      </a:lnTo>
                      <a:lnTo>
                        <a:pt x="260273" y="535863"/>
                      </a:lnTo>
                      <a:lnTo>
                        <a:pt x="261251" y="537133"/>
                      </a:lnTo>
                      <a:lnTo>
                        <a:pt x="261785" y="535863"/>
                      </a:lnTo>
                      <a:lnTo>
                        <a:pt x="261924" y="534593"/>
                      </a:lnTo>
                      <a:lnTo>
                        <a:pt x="263169" y="533425"/>
                      </a:lnTo>
                      <a:lnTo>
                        <a:pt x="262966" y="534593"/>
                      </a:lnTo>
                      <a:lnTo>
                        <a:pt x="262712" y="534593"/>
                      </a:lnTo>
                      <a:lnTo>
                        <a:pt x="262559" y="535863"/>
                      </a:lnTo>
                      <a:lnTo>
                        <a:pt x="266534" y="534593"/>
                      </a:lnTo>
                      <a:lnTo>
                        <a:pt x="264591" y="529513"/>
                      </a:lnTo>
                      <a:lnTo>
                        <a:pt x="263804" y="528243"/>
                      </a:lnTo>
                      <a:lnTo>
                        <a:pt x="265493" y="528243"/>
                      </a:lnTo>
                      <a:lnTo>
                        <a:pt x="265861" y="526973"/>
                      </a:lnTo>
                      <a:lnTo>
                        <a:pt x="264972" y="525703"/>
                      </a:lnTo>
                      <a:lnTo>
                        <a:pt x="264960" y="524433"/>
                      </a:lnTo>
                      <a:lnTo>
                        <a:pt x="264045" y="525703"/>
                      </a:lnTo>
                      <a:lnTo>
                        <a:pt x="262661" y="526973"/>
                      </a:lnTo>
                      <a:lnTo>
                        <a:pt x="260883" y="529513"/>
                      </a:lnTo>
                      <a:lnTo>
                        <a:pt x="260096" y="529513"/>
                      </a:lnTo>
                      <a:lnTo>
                        <a:pt x="259816" y="529704"/>
                      </a:lnTo>
                      <a:lnTo>
                        <a:pt x="259816" y="533323"/>
                      </a:lnTo>
                      <a:lnTo>
                        <a:pt x="256451" y="535863"/>
                      </a:lnTo>
                      <a:lnTo>
                        <a:pt x="256159" y="533425"/>
                      </a:lnTo>
                      <a:lnTo>
                        <a:pt x="257924" y="534593"/>
                      </a:lnTo>
                      <a:lnTo>
                        <a:pt x="259410" y="533323"/>
                      </a:lnTo>
                      <a:lnTo>
                        <a:pt x="259816" y="533323"/>
                      </a:lnTo>
                      <a:lnTo>
                        <a:pt x="259816" y="529704"/>
                      </a:lnTo>
                      <a:lnTo>
                        <a:pt x="258152" y="530783"/>
                      </a:lnTo>
                      <a:lnTo>
                        <a:pt x="257403" y="532053"/>
                      </a:lnTo>
                      <a:lnTo>
                        <a:pt x="256717" y="533323"/>
                      </a:lnTo>
                      <a:lnTo>
                        <a:pt x="256146" y="533323"/>
                      </a:lnTo>
                      <a:lnTo>
                        <a:pt x="257124" y="532053"/>
                      </a:lnTo>
                      <a:lnTo>
                        <a:pt x="258533" y="529513"/>
                      </a:lnTo>
                      <a:lnTo>
                        <a:pt x="259283" y="529513"/>
                      </a:lnTo>
                      <a:lnTo>
                        <a:pt x="260223" y="526973"/>
                      </a:lnTo>
                      <a:lnTo>
                        <a:pt x="259918" y="525703"/>
                      </a:lnTo>
                      <a:lnTo>
                        <a:pt x="260705" y="525703"/>
                      </a:lnTo>
                      <a:lnTo>
                        <a:pt x="260959" y="526973"/>
                      </a:lnTo>
                      <a:lnTo>
                        <a:pt x="260578" y="528243"/>
                      </a:lnTo>
                      <a:lnTo>
                        <a:pt x="261264" y="528243"/>
                      </a:lnTo>
                      <a:lnTo>
                        <a:pt x="262102" y="526973"/>
                      </a:lnTo>
                      <a:lnTo>
                        <a:pt x="262585" y="525703"/>
                      </a:lnTo>
                      <a:lnTo>
                        <a:pt x="263067" y="524433"/>
                      </a:lnTo>
                      <a:lnTo>
                        <a:pt x="263817" y="524433"/>
                      </a:lnTo>
                      <a:lnTo>
                        <a:pt x="262001" y="523163"/>
                      </a:lnTo>
                      <a:lnTo>
                        <a:pt x="260997" y="521081"/>
                      </a:lnTo>
                      <a:lnTo>
                        <a:pt x="260667" y="521893"/>
                      </a:lnTo>
                      <a:lnTo>
                        <a:pt x="259410" y="523163"/>
                      </a:lnTo>
                      <a:lnTo>
                        <a:pt x="256527" y="520623"/>
                      </a:lnTo>
                      <a:lnTo>
                        <a:pt x="256336" y="519353"/>
                      </a:lnTo>
                      <a:lnTo>
                        <a:pt x="252793" y="519353"/>
                      </a:lnTo>
                      <a:lnTo>
                        <a:pt x="249415" y="520623"/>
                      </a:lnTo>
                      <a:lnTo>
                        <a:pt x="241604" y="519353"/>
                      </a:lnTo>
                      <a:lnTo>
                        <a:pt x="237413" y="516813"/>
                      </a:lnTo>
                      <a:lnTo>
                        <a:pt x="233349" y="515543"/>
                      </a:lnTo>
                      <a:lnTo>
                        <a:pt x="233476" y="520623"/>
                      </a:lnTo>
                      <a:lnTo>
                        <a:pt x="235140" y="525703"/>
                      </a:lnTo>
                      <a:lnTo>
                        <a:pt x="237375" y="529513"/>
                      </a:lnTo>
                      <a:lnTo>
                        <a:pt x="239128" y="532053"/>
                      </a:lnTo>
                      <a:lnTo>
                        <a:pt x="239090" y="533425"/>
                      </a:lnTo>
                      <a:lnTo>
                        <a:pt x="239725" y="535863"/>
                      </a:lnTo>
                      <a:lnTo>
                        <a:pt x="240728" y="537133"/>
                      </a:lnTo>
                      <a:lnTo>
                        <a:pt x="241477" y="539673"/>
                      </a:lnTo>
                      <a:lnTo>
                        <a:pt x="241515" y="540943"/>
                      </a:lnTo>
                      <a:lnTo>
                        <a:pt x="241261" y="542213"/>
                      </a:lnTo>
                      <a:lnTo>
                        <a:pt x="242290" y="538403"/>
                      </a:lnTo>
                      <a:lnTo>
                        <a:pt x="243662" y="540943"/>
                      </a:lnTo>
                      <a:lnTo>
                        <a:pt x="246380" y="540943"/>
                      </a:lnTo>
                      <a:lnTo>
                        <a:pt x="245414" y="542213"/>
                      </a:lnTo>
                      <a:lnTo>
                        <a:pt x="703491" y="542213"/>
                      </a:lnTo>
                      <a:lnTo>
                        <a:pt x="706894" y="539673"/>
                      </a:lnTo>
                      <a:lnTo>
                        <a:pt x="713727" y="534593"/>
                      </a:lnTo>
                      <a:lnTo>
                        <a:pt x="717130" y="532053"/>
                      </a:lnTo>
                      <a:lnTo>
                        <a:pt x="718870" y="529513"/>
                      </a:lnTo>
                      <a:lnTo>
                        <a:pt x="724776" y="526973"/>
                      </a:lnTo>
                      <a:lnTo>
                        <a:pt x="732383" y="524433"/>
                      </a:lnTo>
                      <a:lnTo>
                        <a:pt x="736612" y="524433"/>
                      </a:lnTo>
                      <a:lnTo>
                        <a:pt x="737069" y="523240"/>
                      </a:lnTo>
                      <a:lnTo>
                        <a:pt x="737590" y="521970"/>
                      </a:lnTo>
                      <a:lnTo>
                        <a:pt x="738606" y="521970"/>
                      </a:lnTo>
                      <a:lnTo>
                        <a:pt x="738454" y="520700"/>
                      </a:lnTo>
                      <a:lnTo>
                        <a:pt x="740105" y="520700"/>
                      </a:lnTo>
                      <a:lnTo>
                        <a:pt x="740257" y="519430"/>
                      </a:lnTo>
                      <a:lnTo>
                        <a:pt x="740905" y="519430"/>
                      </a:lnTo>
                      <a:lnTo>
                        <a:pt x="740638" y="518160"/>
                      </a:lnTo>
                      <a:lnTo>
                        <a:pt x="741146" y="518160"/>
                      </a:lnTo>
                      <a:lnTo>
                        <a:pt x="741248" y="516890"/>
                      </a:lnTo>
                      <a:lnTo>
                        <a:pt x="741718" y="516890"/>
                      </a:lnTo>
                      <a:lnTo>
                        <a:pt x="741540" y="515620"/>
                      </a:lnTo>
                      <a:lnTo>
                        <a:pt x="740791" y="516890"/>
                      </a:lnTo>
                      <a:lnTo>
                        <a:pt x="741337" y="515620"/>
                      </a:lnTo>
                      <a:lnTo>
                        <a:pt x="741718" y="514350"/>
                      </a:lnTo>
                      <a:lnTo>
                        <a:pt x="743483" y="514350"/>
                      </a:lnTo>
                      <a:lnTo>
                        <a:pt x="743940" y="513080"/>
                      </a:lnTo>
                      <a:lnTo>
                        <a:pt x="747141" y="513080"/>
                      </a:lnTo>
                      <a:lnTo>
                        <a:pt x="747483" y="511810"/>
                      </a:lnTo>
                      <a:lnTo>
                        <a:pt x="747890" y="511810"/>
                      </a:lnTo>
                      <a:lnTo>
                        <a:pt x="747877" y="513080"/>
                      </a:lnTo>
                      <a:lnTo>
                        <a:pt x="747026" y="514350"/>
                      </a:lnTo>
                      <a:lnTo>
                        <a:pt x="746658" y="515620"/>
                      </a:lnTo>
                      <a:lnTo>
                        <a:pt x="745871" y="515620"/>
                      </a:lnTo>
                      <a:lnTo>
                        <a:pt x="745794" y="516890"/>
                      </a:lnTo>
                      <a:lnTo>
                        <a:pt x="748703" y="516890"/>
                      </a:lnTo>
                      <a:lnTo>
                        <a:pt x="748474" y="515620"/>
                      </a:lnTo>
                      <a:lnTo>
                        <a:pt x="748906" y="514350"/>
                      </a:lnTo>
                      <a:lnTo>
                        <a:pt x="749058" y="513080"/>
                      </a:lnTo>
                      <a:lnTo>
                        <a:pt x="749757" y="513080"/>
                      </a:lnTo>
                      <a:lnTo>
                        <a:pt x="749909" y="511810"/>
                      </a:lnTo>
                      <a:lnTo>
                        <a:pt x="751344" y="511810"/>
                      </a:lnTo>
                      <a:lnTo>
                        <a:pt x="751078" y="510540"/>
                      </a:lnTo>
                      <a:lnTo>
                        <a:pt x="751217" y="510540"/>
                      </a:lnTo>
                      <a:lnTo>
                        <a:pt x="751509" y="509270"/>
                      </a:lnTo>
                      <a:lnTo>
                        <a:pt x="751078" y="509270"/>
                      </a:lnTo>
                      <a:lnTo>
                        <a:pt x="751179" y="508000"/>
                      </a:lnTo>
                      <a:lnTo>
                        <a:pt x="751979" y="508000"/>
                      </a:lnTo>
                      <a:lnTo>
                        <a:pt x="752055" y="506730"/>
                      </a:lnTo>
                      <a:lnTo>
                        <a:pt x="752805" y="506730"/>
                      </a:lnTo>
                      <a:lnTo>
                        <a:pt x="753325" y="508000"/>
                      </a:lnTo>
                      <a:lnTo>
                        <a:pt x="753668" y="508000"/>
                      </a:lnTo>
                      <a:lnTo>
                        <a:pt x="753986" y="509270"/>
                      </a:lnTo>
                      <a:lnTo>
                        <a:pt x="754087" y="510540"/>
                      </a:lnTo>
                      <a:lnTo>
                        <a:pt x="753211" y="510540"/>
                      </a:lnTo>
                      <a:lnTo>
                        <a:pt x="752602" y="511810"/>
                      </a:lnTo>
                      <a:lnTo>
                        <a:pt x="751522" y="513080"/>
                      </a:lnTo>
                      <a:lnTo>
                        <a:pt x="750773" y="513080"/>
                      </a:lnTo>
                      <a:lnTo>
                        <a:pt x="750557" y="514350"/>
                      </a:lnTo>
                      <a:lnTo>
                        <a:pt x="751636" y="514350"/>
                      </a:lnTo>
                      <a:lnTo>
                        <a:pt x="751979" y="513080"/>
                      </a:lnTo>
                      <a:lnTo>
                        <a:pt x="753668" y="513080"/>
                      </a:lnTo>
                      <a:lnTo>
                        <a:pt x="753821" y="511810"/>
                      </a:lnTo>
                      <a:lnTo>
                        <a:pt x="754049" y="511810"/>
                      </a:lnTo>
                      <a:lnTo>
                        <a:pt x="754265" y="513080"/>
                      </a:lnTo>
                      <a:lnTo>
                        <a:pt x="754507" y="511810"/>
                      </a:lnTo>
                      <a:lnTo>
                        <a:pt x="754253" y="511810"/>
                      </a:lnTo>
                      <a:lnTo>
                        <a:pt x="754113" y="510540"/>
                      </a:lnTo>
                      <a:lnTo>
                        <a:pt x="754519" y="510540"/>
                      </a:lnTo>
                      <a:lnTo>
                        <a:pt x="755078" y="511810"/>
                      </a:lnTo>
                      <a:lnTo>
                        <a:pt x="756158" y="511810"/>
                      </a:lnTo>
                      <a:lnTo>
                        <a:pt x="756691" y="510540"/>
                      </a:lnTo>
                      <a:lnTo>
                        <a:pt x="757377" y="510540"/>
                      </a:lnTo>
                      <a:lnTo>
                        <a:pt x="757428" y="509270"/>
                      </a:lnTo>
                      <a:lnTo>
                        <a:pt x="757377" y="508000"/>
                      </a:lnTo>
                      <a:lnTo>
                        <a:pt x="756259" y="508000"/>
                      </a:lnTo>
                      <a:lnTo>
                        <a:pt x="755764" y="506730"/>
                      </a:lnTo>
                      <a:lnTo>
                        <a:pt x="755459" y="506730"/>
                      </a:lnTo>
                      <a:lnTo>
                        <a:pt x="755535" y="505460"/>
                      </a:lnTo>
                      <a:lnTo>
                        <a:pt x="755065" y="505460"/>
                      </a:lnTo>
                      <a:lnTo>
                        <a:pt x="755116" y="504190"/>
                      </a:lnTo>
                      <a:lnTo>
                        <a:pt x="755561" y="504190"/>
                      </a:lnTo>
                      <a:lnTo>
                        <a:pt x="756196" y="505460"/>
                      </a:lnTo>
                      <a:lnTo>
                        <a:pt x="756691" y="505460"/>
                      </a:lnTo>
                      <a:lnTo>
                        <a:pt x="756932" y="504190"/>
                      </a:lnTo>
                      <a:lnTo>
                        <a:pt x="759218" y="504190"/>
                      </a:lnTo>
                      <a:lnTo>
                        <a:pt x="760996" y="505460"/>
                      </a:lnTo>
                      <a:lnTo>
                        <a:pt x="765746" y="506730"/>
                      </a:lnTo>
                      <a:lnTo>
                        <a:pt x="767537" y="508000"/>
                      </a:lnTo>
                      <a:lnTo>
                        <a:pt x="769188" y="508000"/>
                      </a:lnTo>
                      <a:lnTo>
                        <a:pt x="770013" y="509270"/>
                      </a:lnTo>
                      <a:lnTo>
                        <a:pt x="770331" y="509270"/>
                      </a:lnTo>
                      <a:lnTo>
                        <a:pt x="770712" y="508025"/>
                      </a:lnTo>
                      <a:lnTo>
                        <a:pt x="771486" y="509270"/>
                      </a:lnTo>
                      <a:lnTo>
                        <a:pt x="771867" y="509270"/>
                      </a:lnTo>
                      <a:lnTo>
                        <a:pt x="772274" y="508000"/>
                      </a:lnTo>
                      <a:lnTo>
                        <a:pt x="772922" y="508000"/>
                      </a:lnTo>
                      <a:lnTo>
                        <a:pt x="773455" y="509270"/>
                      </a:lnTo>
                      <a:lnTo>
                        <a:pt x="773214" y="508000"/>
                      </a:lnTo>
                      <a:lnTo>
                        <a:pt x="773823" y="508000"/>
                      </a:lnTo>
                      <a:lnTo>
                        <a:pt x="775309" y="509270"/>
                      </a:lnTo>
                      <a:lnTo>
                        <a:pt x="776147" y="509270"/>
                      </a:lnTo>
                      <a:lnTo>
                        <a:pt x="776503" y="508000"/>
                      </a:lnTo>
                      <a:lnTo>
                        <a:pt x="776605" y="509270"/>
                      </a:lnTo>
                      <a:lnTo>
                        <a:pt x="776909" y="508000"/>
                      </a:lnTo>
                      <a:lnTo>
                        <a:pt x="779018" y="508000"/>
                      </a:lnTo>
                      <a:lnTo>
                        <a:pt x="779818" y="509270"/>
                      </a:lnTo>
                      <a:lnTo>
                        <a:pt x="781913" y="509270"/>
                      </a:lnTo>
                      <a:lnTo>
                        <a:pt x="783564" y="511810"/>
                      </a:lnTo>
                      <a:lnTo>
                        <a:pt x="783818" y="513080"/>
                      </a:lnTo>
                      <a:lnTo>
                        <a:pt x="784034" y="513080"/>
                      </a:lnTo>
                      <a:lnTo>
                        <a:pt x="783996" y="514350"/>
                      </a:lnTo>
                      <a:lnTo>
                        <a:pt x="784186" y="514350"/>
                      </a:lnTo>
                      <a:lnTo>
                        <a:pt x="784313" y="514642"/>
                      </a:lnTo>
                      <a:lnTo>
                        <a:pt x="784783" y="515620"/>
                      </a:lnTo>
                      <a:lnTo>
                        <a:pt x="784910" y="516890"/>
                      </a:lnTo>
                      <a:lnTo>
                        <a:pt x="785228" y="516890"/>
                      </a:lnTo>
                      <a:lnTo>
                        <a:pt x="785482" y="518160"/>
                      </a:lnTo>
                      <a:lnTo>
                        <a:pt x="786003" y="519430"/>
                      </a:lnTo>
                      <a:lnTo>
                        <a:pt x="786549" y="519430"/>
                      </a:lnTo>
                      <a:lnTo>
                        <a:pt x="786790" y="520700"/>
                      </a:lnTo>
                      <a:lnTo>
                        <a:pt x="787387" y="520700"/>
                      </a:lnTo>
                      <a:lnTo>
                        <a:pt x="787501" y="521970"/>
                      </a:lnTo>
                      <a:lnTo>
                        <a:pt x="788873" y="521970"/>
                      </a:lnTo>
                      <a:lnTo>
                        <a:pt x="789343" y="523240"/>
                      </a:lnTo>
                      <a:lnTo>
                        <a:pt x="790854" y="523240"/>
                      </a:lnTo>
                      <a:lnTo>
                        <a:pt x="794766" y="524510"/>
                      </a:lnTo>
                      <a:lnTo>
                        <a:pt x="796620" y="524510"/>
                      </a:lnTo>
                      <a:lnTo>
                        <a:pt x="797979" y="523240"/>
                      </a:lnTo>
                      <a:lnTo>
                        <a:pt x="803744" y="523240"/>
                      </a:lnTo>
                      <a:lnTo>
                        <a:pt x="803706" y="524510"/>
                      </a:lnTo>
                      <a:lnTo>
                        <a:pt x="803414" y="524510"/>
                      </a:lnTo>
                      <a:lnTo>
                        <a:pt x="803249" y="525780"/>
                      </a:lnTo>
                      <a:lnTo>
                        <a:pt x="802881" y="525780"/>
                      </a:lnTo>
                      <a:lnTo>
                        <a:pt x="803287" y="527050"/>
                      </a:lnTo>
                      <a:lnTo>
                        <a:pt x="802716" y="527050"/>
                      </a:lnTo>
                      <a:lnTo>
                        <a:pt x="802551" y="528320"/>
                      </a:lnTo>
                      <a:lnTo>
                        <a:pt x="802182" y="528320"/>
                      </a:lnTo>
                      <a:lnTo>
                        <a:pt x="801624" y="529590"/>
                      </a:lnTo>
                      <a:lnTo>
                        <a:pt x="802373" y="530860"/>
                      </a:lnTo>
                      <a:lnTo>
                        <a:pt x="802652" y="530860"/>
                      </a:lnTo>
                      <a:lnTo>
                        <a:pt x="802906" y="532130"/>
                      </a:lnTo>
                      <a:lnTo>
                        <a:pt x="805370" y="533400"/>
                      </a:lnTo>
                      <a:lnTo>
                        <a:pt x="806716" y="534670"/>
                      </a:lnTo>
                      <a:lnTo>
                        <a:pt x="807250" y="534670"/>
                      </a:lnTo>
                      <a:lnTo>
                        <a:pt x="807745" y="535940"/>
                      </a:lnTo>
                      <a:lnTo>
                        <a:pt x="807046" y="535940"/>
                      </a:lnTo>
                      <a:lnTo>
                        <a:pt x="806831" y="537210"/>
                      </a:lnTo>
                      <a:lnTo>
                        <a:pt x="806208" y="537210"/>
                      </a:lnTo>
                      <a:lnTo>
                        <a:pt x="806221" y="538480"/>
                      </a:lnTo>
                      <a:lnTo>
                        <a:pt x="806157" y="538924"/>
                      </a:lnTo>
                      <a:lnTo>
                        <a:pt x="806005" y="539750"/>
                      </a:lnTo>
                      <a:lnTo>
                        <a:pt x="806157" y="538924"/>
                      </a:lnTo>
                      <a:lnTo>
                        <a:pt x="806157" y="538480"/>
                      </a:lnTo>
                      <a:lnTo>
                        <a:pt x="805789" y="538480"/>
                      </a:lnTo>
                      <a:lnTo>
                        <a:pt x="805878" y="538962"/>
                      </a:lnTo>
                      <a:lnTo>
                        <a:pt x="805243" y="539750"/>
                      </a:lnTo>
                      <a:lnTo>
                        <a:pt x="804951" y="539750"/>
                      </a:lnTo>
                      <a:lnTo>
                        <a:pt x="805116" y="541020"/>
                      </a:lnTo>
                      <a:lnTo>
                        <a:pt x="804989" y="541020"/>
                      </a:lnTo>
                      <a:lnTo>
                        <a:pt x="805383" y="542290"/>
                      </a:lnTo>
                      <a:lnTo>
                        <a:pt x="807745" y="543560"/>
                      </a:lnTo>
                      <a:lnTo>
                        <a:pt x="808532" y="543560"/>
                      </a:lnTo>
                      <a:lnTo>
                        <a:pt x="808456" y="544830"/>
                      </a:lnTo>
                      <a:lnTo>
                        <a:pt x="808329" y="544830"/>
                      </a:lnTo>
                      <a:lnTo>
                        <a:pt x="808329" y="546100"/>
                      </a:lnTo>
                      <a:lnTo>
                        <a:pt x="807618" y="546100"/>
                      </a:lnTo>
                      <a:lnTo>
                        <a:pt x="808951" y="547370"/>
                      </a:lnTo>
                      <a:lnTo>
                        <a:pt x="808723" y="547370"/>
                      </a:lnTo>
                      <a:lnTo>
                        <a:pt x="808304" y="548640"/>
                      </a:lnTo>
                      <a:lnTo>
                        <a:pt x="807554" y="548640"/>
                      </a:lnTo>
                      <a:lnTo>
                        <a:pt x="807758" y="549833"/>
                      </a:lnTo>
                      <a:lnTo>
                        <a:pt x="807580" y="549833"/>
                      </a:lnTo>
                      <a:lnTo>
                        <a:pt x="804125" y="548563"/>
                      </a:lnTo>
                      <a:lnTo>
                        <a:pt x="800735" y="548563"/>
                      </a:lnTo>
                      <a:lnTo>
                        <a:pt x="801712" y="546023"/>
                      </a:lnTo>
                      <a:lnTo>
                        <a:pt x="802551" y="544753"/>
                      </a:lnTo>
                      <a:lnTo>
                        <a:pt x="800481" y="544753"/>
                      </a:lnTo>
                      <a:lnTo>
                        <a:pt x="797915" y="546023"/>
                      </a:lnTo>
                      <a:lnTo>
                        <a:pt x="783729" y="547293"/>
                      </a:lnTo>
                      <a:lnTo>
                        <a:pt x="782574" y="548563"/>
                      </a:lnTo>
                      <a:lnTo>
                        <a:pt x="780580" y="549833"/>
                      </a:lnTo>
                      <a:lnTo>
                        <a:pt x="779818" y="549833"/>
                      </a:lnTo>
                      <a:lnTo>
                        <a:pt x="777570" y="551103"/>
                      </a:lnTo>
                      <a:lnTo>
                        <a:pt x="776376" y="551103"/>
                      </a:lnTo>
                      <a:lnTo>
                        <a:pt x="774407" y="549833"/>
                      </a:lnTo>
                      <a:lnTo>
                        <a:pt x="772426" y="548563"/>
                      </a:lnTo>
                      <a:lnTo>
                        <a:pt x="769962" y="549833"/>
                      </a:lnTo>
                      <a:lnTo>
                        <a:pt x="767600" y="548563"/>
                      </a:lnTo>
                      <a:lnTo>
                        <a:pt x="765098" y="544753"/>
                      </a:lnTo>
                      <a:lnTo>
                        <a:pt x="762406" y="542213"/>
                      </a:lnTo>
                      <a:lnTo>
                        <a:pt x="755218" y="542213"/>
                      </a:lnTo>
                      <a:lnTo>
                        <a:pt x="753364" y="543483"/>
                      </a:lnTo>
                      <a:lnTo>
                        <a:pt x="752271" y="544753"/>
                      </a:lnTo>
                      <a:lnTo>
                        <a:pt x="751941" y="543483"/>
                      </a:lnTo>
                      <a:lnTo>
                        <a:pt x="752805" y="542213"/>
                      </a:lnTo>
                      <a:lnTo>
                        <a:pt x="752487" y="540943"/>
                      </a:lnTo>
                      <a:lnTo>
                        <a:pt x="751763" y="539673"/>
                      </a:lnTo>
                      <a:lnTo>
                        <a:pt x="751128" y="538403"/>
                      </a:lnTo>
                      <a:lnTo>
                        <a:pt x="749681" y="538403"/>
                      </a:lnTo>
                      <a:lnTo>
                        <a:pt x="750214" y="537133"/>
                      </a:lnTo>
                      <a:lnTo>
                        <a:pt x="749122" y="537133"/>
                      </a:lnTo>
                      <a:lnTo>
                        <a:pt x="746404" y="538403"/>
                      </a:lnTo>
                      <a:lnTo>
                        <a:pt x="732472" y="544753"/>
                      </a:lnTo>
                      <a:lnTo>
                        <a:pt x="723392" y="548563"/>
                      </a:lnTo>
                      <a:lnTo>
                        <a:pt x="721410" y="547293"/>
                      </a:lnTo>
                      <a:lnTo>
                        <a:pt x="719429" y="546023"/>
                      </a:lnTo>
                      <a:lnTo>
                        <a:pt x="717156" y="546023"/>
                      </a:lnTo>
                      <a:lnTo>
                        <a:pt x="719251" y="543483"/>
                      </a:lnTo>
                      <a:lnTo>
                        <a:pt x="719188" y="539673"/>
                      </a:lnTo>
                      <a:lnTo>
                        <a:pt x="712101" y="543483"/>
                      </a:lnTo>
                      <a:lnTo>
                        <a:pt x="709231" y="544753"/>
                      </a:lnTo>
                      <a:lnTo>
                        <a:pt x="707669" y="546023"/>
                      </a:lnTo>
                      <a:lnTo>
                        <a:pt x="702094" y="546023"/>
                      </a:lnTo>
                      <a:lnTo>
                        <a:pt x="700074" y="544753"/>
                      </a:lnTo>
                      <a:lnTo>
                        <a:pt x="701789" y="543483"/>
                      </a:lnTo>
                      <a:lnTo>
                        <a:pt x="243192" y="543483"/>
                      </a:lnTo>
                      <a:lnTo>
                        <a:pt x="242316" y="543483"/>
                      </a:lnTo>
                      <a:lnTo>
                        <a:pt x="242062" y="543483"/>
                      </a:lnTo>
                      <a:lnTo>
                        <a:pt x="242125" y="544753"/>
                      </a:lnTo>
                      <a:lnTo>
                        <a:pt x="243255" y="546023"/>
                      </a:lnTo>
                      <a:lnTo>
                        <a:pt x="245795" y="544753"/>
                      </a:lnTo>
                      <a:lnTo>
                        <a:pt x="246253" y="546023"/>
                      </a:lnTo>
                      <a:lnTo>
                        <a:pt x="245198" y="546023"/>
                      </a:lnTo>
                      <a:lnTo>
                        <a:pt x="244538" y="547293"/>
                      </a:lnTo>
                      <a:lnTo>
                        <a:pt x="244983" y="548563"/>
                      </a:lnTo>
                      <a:lnTo>
                        <a:pt x="245160" y="548563"/>
                      </a:lnTo>
                      <a:lnTo>
                        <a:pt x="245287" y="549833"/>
                      </a:lnTo>
                      <a:lnTo>
                        <a:pt x="244817" y="551103"/>
                      </a:lnTo>
                      <a:lnTo>
                        <a:pt x="243954" y="552538"/>
                      </a:lnTo>
                      <a:lnTo>
                        <a:pt x="812939" y="552538"/>
                      </a:lnTo>
                      <a:lnTo>
                        <a:pt x="812901" y="552373"/>
                      </a:lnTo>
                      <a:lnTo>
                        <a:pt x="811923" y="551103"/>
                      </a:lnTo>
                      <a:lnTo>
                        <a:pt x="811580" y="551103"/>
                      </a:lnTo>
                      <a:lnTo>
                        <a:pt x="811212" y="549910"/>
                      </a:lnTo>
                      <a:lnTo>
                        <a:pt x="813130" y="549910"/>
                      </a:lnTo>
                      <a:lnTo>
                        <a:pt x="813333" y="548640"/>
                      </a:lnTo>
                      <a:lnTo>
                        <a:pt x="813612" y="548640"/>
                      </a:lnTo>
                      <a:lnTo>
                        <a:pt x="814019" y="549910"/>
                      </a:lnTo>
                      <a:lnTo>
                        <a:pt x="814514" y="549910"/>
                      </a:lnTo>
                      <a:lnTo>
                        <a:pt x="814692" y="551180"/>
                      </a:lnTo>
                      <a:lnTo>
                        <a:pt x="814400" y="552450"/>
                      </a:lnTo>
                      <a:lnTo>
                        <a:pt x="815238" y="552450"/>
                      </a:lnTo>
                      <a:lnTo>
                        <a:pt x="815301" y="553720"/>
                      </a:lnTo>
                      <a:lnTo>
                        <a:pt x="818146" y="553720"/>
                      </a:lnTo>
                      <a:lnTo>
                        <a:pt x="825969" y="554990"/>
                      </a:lnTo>
                      <a:lnTo>
                        <a:pt x="829183" y="554990"/>
                      </a:lnTo>
                      <a:lnTo>
                        <a:pt x="830554" y="556260"/>
                      </a:lnTo>
                      <a:lnTo>
                        <a:pt x="833018" y="556260"/>
                      </a:lnTo>
                      <a:lnTo>
                        <a:pt x="833462" y="554990"/>
                      </a:lnTo>
                      <a:lnTo>
                        <a:pt x="834250" y="556260"/>
                      </a:lnTo>
                      <a:lnTo>
                        <a:pt x="834656" y="556260"/>
                      </a:lnTo>
                      <a:lnTo>
                        <a:pt x="835558" y="554990"/>
                      </a:lnTo>
                      <a:lnTo>
                        <a:pt x="836218" y="554990"/>
                      </a:lnTo>
                      <a:lnTo>
                        <a:pt x="837120" y="556260"/>
                      </a:lnTo>
                      <a:lnTo>
                        <a:pt x="837717" y="556260"/>
                      </a:lnTo>
                      <a:lnTo>
                        <a:pt x="838225" y="554990"/>
                      </a:lnTo>
                      <a:lnTo>
                        <a:pt x="838695" y="554990"/>
                      </a:lnTo>
                      <a:lnTo>
                        <a:pt x="839050" y="556260"/>
                      </a:lnTo>
                      <a:lnTo>
                        <a:pt x="843140" y="556260"/>
                      </a:lnTo>
                      <a:lnTo>
                        <a:pt x="844880" y="557530"/>
                      </a:lnTo>
                      <a:lnTo>
                        <a:pt x="845985" y="557530"/>
                      </a:lnTo>
                      <a:lnTo>
                        <a:pt x="845299" y="558800"/>
                      </a:lnTo>
                      <a:lnTo>
                        <a:pt x="846188" y="557530"/>
                      </a:lnTo>
                      <a:lnTo>
                        <a:pt x="848626" y="557530"/>
                      </a:lnTo>
                      <a:lnTo>
                        <a:pt x="848423" y="558800"/>
                      </a:lnTo>
                      <a:lnTo>
                        <a:pt x="848575" y="558800"/>
                      </a:lnTo>
                      <a:lnTo>
                        <a:pt x="849223" y="557530"/>
                      </a:lnTo>
                      <a:lnTo>
                        <a:pt x="849693" y="557530"/>
                      </a:lnTo>
                      <a:lnTo>
                        <a:pt x="849528" y="558800"/>
                      </a:lnTo>
                      <a:lnTo>
                        <a:pt x="850836" y="558800"/>
                      </a:lnTo>
                      <a:lnTo>
                        <a:pt x="850442" y="559701"/>
                      </a:lnTo>
                      <a:lnTo>
                        <a:pt x="851471" y="558800"/>
                      </a:lnTo>
                      <a:lnTo>
                        <a:pt x="853109" y="558800"/>
                      </a:lnTo>
                      <a:lnTo>
                        <a:pt x="854125" y="560070"/>
                      </a:lnTo>
                      <a:lnTo>
                        <a:pt x="856183" y="560070"/>
                      </a:lnTo>
                      <a:lnTo>
                        <a:pt x="856373" y="558800"/>
                      </a:lnTo>
                      <a:lnTo>
                        <a:pt x="857008" y="558800"/>
                      </a:lnTo>
                      <a:lnTo>
                        <a:pt x="859459" y="560070"/>
                      </a:lnTo>
                      <a:lnTo>
                        <a:pt x="861758" y="560070"/>
                      </a:lnTo>
                      <a:lnTo>
                        <a:pt x="862774" y="561340"/>
                      </a:lnTo>
                      <a:lnTo>
                        <a:pt x="864527" y="562610"/>
                      </a:lnTo>
                      <a:lnTo>
                        <a:pt x="869302" y="567690"/>
                      </a:lnTo>
                      <a:lnTo>
                        <a:pt x="872134" y="570230"/>
                      </a:lnTo>
                      <a:lnTo>
                        <a:pt x="872388" y="570230"/>
                      </a:lnTo>
                      <a:lnTo>
                        <a:pt x="871994" y="571500"/>
                      </a:lnTo>
                      <a:lnTo>
                        <a:pt x="871982" y="572770"/>
                      </a:lnTo>
                      <a:lnTo>
                        <a:pt x="873417" y="574040"/>
                      </a:lnTo>
                      <a:lnTo>
                        <a:pt x="873137" y="575310"/>
                      </a:lnTo>
                      <a:lnTo>
                        <a:pt x="873988" y="576580"/>
                      </a:lnTo>
                      <a:lnTo>
                        <a:pt x="877582" y="580390"/>
                      </a:lnTo>
                      <a:lnTo>
                        <a:pt x="878027" y="581660"/>
                      </a:lnTo>
                      <a:lnTo>
                        <a:pt x="876236" y="581660"/>
                      </a:lnTo>
                      <a:lnTo>
                        <a:pt x="876058" y="580390"/>
                      </a:lnTo>
                      <a:lnTo>
                        <a:pt x="874610" y="580390"/>
                      </a:lnTo>
                      <a:lnTo>
                        <a:pt x="874598" y="579120"/>
                      </a:lnTo>
                      <a:lnTo>
                        <a:pt x="873239" y="579120"/>
                      </a:lnTo>
                      <a:lnTo>
                        <a:pt x="872274" y="580390"/>
                      </a:lnTo>
                      <a:lnTo>
                        <a:pt x="871943" y="580390"/>
                      </a:lnTo>
                      <a:lnTo>
                        <a:pt x="871766" y="581660"/>
                      </a:lnTo>
                      <a:lnTo>
                        <a:pt x="872185" y="581660"/>
                      </a:lnTo>
                      <a:lnTo>
                        <a:pt x="873417" y="584200"/>
                      </a:lnTo>
                      <a:lnTo>
                        <a:pt x="872223" y="585470"/>
                      </a:lnTo>
                      <a:lnTo>
                        <a:pt x="871804" y="586740"/>
                      </a:lnTo>
                      <a:lnTo>
                        <a:pt x="869975" y="585470"/>
                      </a:lnTo>
                      <a:lnTo>
                        <a:pt x="867892" y="585470"/>
                      </a:lnTo>
                      <a:lnTo>
                        <a:pt x="866863" y="584200"/>
                      </a:lnTo>
                      <a:lnTo>
                        <a:pt x="865492" y="584200"/>
                      </a:lnTo>
                      <a:lnTo>
                        <a:pt x="864997" y="582930"/>
                      </a:lnTo>
                      <a:lnTo>
                        <a:pt x="864133" y="581660"/>
                      </a:lnTo>
                      <a:lnTo>
                        <a:pt x="861999" y="581660"/>
                      </a:lnTo>
                      <a:lnTo>
                        <a:pt x="860399" y="582930"/>
                      </a:lnTo>
                      <a:lnTo>
                        <a:pt x="860082" y="584200"/>
                      </a:lnTo>
                      <a:lnTo>
                        <a:pt x="859904" y="584200"/>
                      </a:lnTo>
                      <a:lnTo>
                        <a:pt x="860031" y="582930"/>
                      </a:lnTo>
                      <a:lnTo>
                        <a:pt x="859421" y="582930"/>
                      </a:lnTo>
                      <a:lnTo>
                        <a:pt x="858024" y="581660"/>
                      </a:lnTo>
                      <a:lnTo>
                        <a:pt x="857211" y="581660"/>
                      </a:lnTo>
                      <a:lnTo>
                        <a:pt x="857224" y="580390"/>
                      </a:lnTo>
                      <a:lnTo>
                        <a:pt x="857948" y="579120"/>
                      </a:lnTo>
                      <a:lnTo>
                        <a:pt x="858799" y="580390"/>
                      </a:lnTo>
                      <a:lnTo>
                        <a:pt x="859548" y="577850"/>
                      </a:lnTo>
                      <a:lnTo>
                        <a:pt x="856348" y="577850"/>
                      </a:lnTo>
                      <a:lnTo>
                        <a:pt x="855459" y="576580"/>
                      </a:lnTo>
                      <a:lnTo>
                        <a:pt x="855281" y="576580"/>
                      </a:lnTo>
                      <a:lnTo>
                        <a:pt x="855357" y="575310"/>
                      </a:lnTo>
                      <a:lnTo>
                        <a:pt x="854405" y="574040"/>
                      </a:lnTo>
                      <a:lnTo>
                        <a:pt x="854608" y="574040"/>
                      </a:lnTo>
                      <a:lnTo>
                        <a:pt x="854849" y="572770"/>
                      </a:lnTo>
                      <a:lnTo>
                        <a:pt x="849680" y="572770"/>
                      </a:lnTo>
                      <a:lnTo>
                        <a:pt x="849858" y="574040"/>
                      </a:lnTo>
                      <a:lnTo>
                        <a:pt x="851039" y="574040"/>
                      </a:lnTo>
                      <a:lnTo>
                        <a:pt x="851204" y="575310"/>
                      </a:lnTo>
                      <a:lnTo>
                        <a:pt x="852220" y="575310"/>
                      </a:lnTo>
                      <a:lnTo>
                        <a:pt x="852462" y="576580"/>
                      </a:lnTo>
                      <a:lnTo>
                        <a:pt x="853884" y="576580"/>
                      </a:lnTo>
                      <a:lnTo>
                        <a:pt x="853821" y="577850"/>
                      </a:lnTo>
                      <a:lnTo>
                        <a:pt x="853973" y="579120"/>
                      </a:lnTo>
                      <a:lnTo>
                        <a:pt x="854405" y="579120"/>
                      </a:lnTo>
                      <a:lnTo>
                        <a:pt x="854456" y="580390"/>
                      </a:lnTo>
                      <a:lnTo>
                        <a:pt x="855167" y="580390"/>
                      </a:lnTo>
                      <a:lnTo>
                        <a:pt x="855167" y="581660"/>
                      </a:lnTo>
                      <a:lnTo>
                        <a:pt x="854887" y="581660"/>
                      </a:lnTo>
                      <a:lnTo>
                        <a:pt x="854887" y="582930"/>
                      </a:lnTo>
                      <a:lnTo>
                        <a:pt x="855814" y="584200"/>
                      </a:lnTo>
                      <a:lnTo>
                        <a:pt x="854798" y="584200"/>
                      </a:lnTo>
                      <a:lnTo>
                        <a:pt x="854202" y="585470"/>
                      </a:lnTo>
                      <a:lnTo>
                        <a:pt x="853605" y="585470"/>
                      </a:lnTo>
                      <a:lnTo>
                        <a:pt x="853173" y="586740"/>
                      </a:lnTo>
                      <a:lnTo>
                        <a:pt x="851941" y="586740"/>
                      </a:lnTo>
                      <a:lnTo>
                        <a:pt x="851763" y="588010"/>
                      </a:lnTo>
                      <a:lnTo>
                        <a:pt x="850836" y="588010"/>
                      </a:lnTo>
                      <a:lnTo>
                        <a:pt x="850646" y="589280"/>
                      </a:lnTo>
                      <a:lnTo>
                        <a:pt x="850417" y="590550"/>
                      </a:lnTo>
                      <a:lnTo>
                        <a:pt x="850112" y="590550"/>
                      </a:lnTo>
                      <a:lnTo>
                        <a:pt x="849553" y="591820"/>
                      </a:lnTo>
                      <a:lnTo>
                        <a:pt x="849820" y="591820"/>
                      </a:lnTo>
                      <a:lnTo>
                        <a:pt x="848575" y="593090"/>
                      </a:lnTo>
                      <a:lnTo>
                        <a:pt x="848664" y="594360"/>
                      </a:lnTo>
                      <a:lnTo>
                        <a:pt x="848893" y="595630"/>
                      </a:lnTo>
                      <a:lnTo>
                        <a:pt x="848982" y="596900"/>
                      </a:lnTo>
                      <a:lnTo>
                        <a:pt x="848499" y="599440"/>
                      </a:lnTo>
                      <a:lnTo>
                        <a:pt x="848880" y="601980"/>
                      </a:lnTo>
                      <a:lnTo>
                        <a:pt x="847191" y="603250"/>
                      </a:lnTo>
                      <a:lnTo>
                        <a:pt x="839000" y="611974"/>
                      </a:lnTo>
                      <a:lnTo>
                        <a:pt x="839000" y="622300"/>
                      </a:lnTo>
                      <a:lnTo>
                        <a:pt x="838631" y="623570"/>
                      </a:lnTo>
                      <a:lnTo>
                        <a:pt x="838085" y="623570"/>
                      </a:lnTo>
                      <a:lnTo>
                        <a:pt x="835939" y="624840"/>
                      </a:lnTo>
                      <a:lnTo>
                        <a:pt x="832535" y="623570"/>
                      </a:lnTo>
                      <a:lnTo>
                        <a:pt x="830516" y="623570"/>
                      </a:lnTo>
                      <a:lnTo>
                        <a:pt x="829627" y="624840"/>
                      </a:lnTo>
                      <a:lnTo>
                        <a:pt x="829183" y="624840"/>
                      </a:lnTo>
                      <a:lnTo>
                        <a:pt x="833081" y="618413"/>
                      </a:lnTo>
                      <a:lnTo>
                        <a:pt x="833475" y="618413"/>
                      </a:lnTo>
                      <a:lnTo>
                        <a:pt x="833856" y="617143"/>
                      </a:lnTo>
                      <a:lnTo>
                        <a:pt x="835253" y="617143"/>
                      </a:lnTo>
                      <a:lnTo>
                        <a:pt x="835291" y="618413"/>
                      </a:lnTo>
                      <a:lnTo>
                        <a:pt x="836129" y="617143"/>
                      </a:lnTo>
                      <a:lnTo>
                        <a:pt x="836790" y="615873"/>
                      </a:lnTo>
                      <a:lnTo>
                        <a:pt x="837285" y="615873"/>
                      </a:lnTo>
                      <a:lnTo>
                        <a:pt x="838149" y="613829"/>
                      </a:lnTo>
                      <a:lnTo>
                        <a:pt x="837895" y="614680"/>
                      </a:lnTo>
                      <a:lnTo>
                        <a:pt x="837298" y="615950"/>
                      </a:lnTo>
                      <a:lnTo>
                        <a:pt x="835596" y="619760"/>
                      </a:lnTo>
                      <a:lnTo>
                        <a:pt x="837260" y="619760"/>
                      </a:lnTo>
                      <a:lnTo>
                        <a:pt x="837946" y="621030"/>
                      </a:lnTo>
                      <a:lnTo>
                        <a:pt x="838809" y="621030"/>
                      </a:lnTo>
                      <a:lnTo>
                        <a:pt x="838860" y="622300"/>
                      </a:lnTo>
                      <a:lnTo>
                        <a:pt x="839000" y="622300"/>
                      </a:lnTo>
                      <a:lnTo>
                        <a:pt x="839000" y="611974"/>
                      </a:lnTo>
                      <a:lnTo>
                        <a:pt x="838479" y="610793"/>
                      </a:lnTo>
                      <a:lnTo>
                        <a:pt x="837653" y="609523"/>
                      </a:lnTo>
                      <a:lnTo>
                        <a:pt x="837285" y="606983"/>
                      </a:lnTo>
                      <a:lnTo>
                        <a:pt x="837095" y="605713"/>
                      </a:lnTo>
                      <a:lnTo>
                        <a:pt x="837006" y="604443"/>
                      </a:lnTo>
                      <a:lnTo>
                        <a:pt x="836015" y="600633"/>
                      </a:lnTo>
                      <a:lnTo>
                        <a:pt x="836117" y="596823"/>
                      </a:lnTo>
                      <a:lnTo>
                        <a:pt x="831240" y="591743"/>
                      </a:lnTo>
                      <a:lnTo>
                        <a:pt x="827925" y="594283"/>
                      </a:lnTo>
                      <a:lnTo>
                        <a:pt x="823747" y="596823"/>
                      </a:lnTo>
                      <a:lnTo>
                        <a:pt x="818438" y="600633"/>
                      </a:lnTo>
                      <a:lnTo>
                        <a:pt x="816711" y="599363"/>
                      </a:lnTo>
                      <a:lnTo>
                        <a:pt x="817003" y="598093"/>
                      </a:lnTo>
                      <a:lnTo>
                        <a:pt x="817372" y="595553"/>
                      </a:lnTo>
                      <a:lnTo>
                        <a:pt x="818781" y="594283"/>
                      </a:lnTo>
                      <a:lnTo>
                        <a:pt x="821029" y="594283"/>
                      </a:lnTo>
                      <a:lnTo>
                        <a:pt x="822566" y="591743"/>
                      </a:lnTo>
                      <a:lnTo>
                        <a:pt x="822147" y="591743"/>
                      </a:lnTo>
                      <a:lnTo>
                        <a:pt x="823226" y="589203"/>
                      </a:lnTo>
                      <a:lnTo>
                        <a:pt x="824750" y="589203"/>
                      </a:lnTo>
                      <a:lnTo>
                        <a:pt x="826427" y="586663"/>
                      </a:lnTo>
                      <a:lnTo>
                        <a:pt x="826350" y="582853"/>
                      </a:lnTo>
                      <a:lnTo>
                        <a:pt x="826084" y="580313"/>
                      </a:lnTo>
                      <a:lnTo>
                        <a:pt x="825944" y="579043"/>
                      </a:lnTo>
                      <a:lnTo>
                        <a:pt x="821512" y="575233"/>
                      </a:lnTo>
                      <a:lnTo>
                        <a:pt x="826363" y="576503"/>
                      </a:lnTo>
                      <a:lnTo>
                        <a:pt x="826325" y="573963"/>
                      </a:lnTo>
                      <a:lnTo>
                        <a:pt x="825512" y="575233"/>
                      </a:lnTo>
                      <a:lnTo>
                        <a:pt x="824776" y="572693"/>
                      </a:lnTo>
                      <a:lnTo>
                        <a:pt x="824903" y="572693"/>
                      </a:lnTo>
                      <a:lnTo>
                        <a:pt x="823861" y="570153"/>
                      </a:lnTo>
                      <a:lnTo>
                        <a:pt x="821258" y="570153"/>
                      </a:lnTo>
                      <a:lnTo>
                        <a:pt x="818540" y="568883"/>
                      </a:lnTo>
                      <a:lnTo>
                        <a:pt x="816813" y="568883"/>
                      </a:lnTo>
                      <a:lnTo>
                        <a:pt x="813828" y="567613"/>
                      </a:lnTo>
                      <a:lnTo>
                        <a:pt x="813689" y="565073"/>
                      </a:lnTo>
                      <a:lnTo>
                        <a:pt x="809790" y="565073"/>
                      </a:lnTo>
                      <a:lnTo>
                        <a:pt x="807834" y="563803"/>
                      </a:lnTo>
                      <a:lnTo>
                        <a:pt x="807186" y="563803"/>
                      </a:lnTo>
                      <a:lnTo>
                        <a:pt x="805383" y="562533"/>
                      </a:lnTo>
                      <a:lnTo>
                        <a:pt x="802944" y="562533"/>
                      </a:lnTo>
                      <a:lnTo>
                        <a:pt x="801128" y="563803"/>
                      </a:lnTo>
                      <a:lnTo>
                        <a:pt x="800569" y="570153"/>
                      </a:lnTo>
                      <a:lnTo>
                        <a:pt x="803008" y="568883"/>
                      </a:lnTo>
                      <a:lnTo>
                        <a:pt x="801281" y="570153"/>
                      </a:lnTo>
                      <a:lnTo>
                        <a:pt x="800569" y="570153"/>
                      </a:lnTo>
                      <a:lnTo>
                        <a:pt x="798855" y="570153"/>
                      </a:lnTo>
                      <a:lnTo>
                        <a:pt x="795705" y="572693"/>
                      </a:lnTo>
                      <a:lnTo>
                        <a:pt x="796201" y="575233"/>
                      </a:lnTo>
                      <a:lnTo>
                        <a:pt x="796201" y="825423"/>
                      </a:lnTo>
                      <a:lnTo>
                        <a:pt x="795388" y="824153"/>
                      </a:lnTo>
                      <a:lnTo>
                        <a:pt x="792162" y="822947"/>
                      </a:lnTo>
                      <a:lnTo>
                        <a:pt x="790194" y="821613"/>
                      </a:lnTo>
                      <a:lnTo>
                        <a:pt x="790727" y="821613"/>
                      </a:lnTo>
                      <a:lnTo>
                        <a:pt x="793280" y="820343"/>
                      </a:lnTo>
                      <a:lnTo>
                        <a:pt x="793813" y="821613"/>
                      </a:lnTo>
                      <a:lnTo>
                        <a:pt x="792187" y="821613"/>
                      </a:lnTo>
                      <a:lnTo>
                        <a:pt x="792238" y="822896"/>
                      </a:lnTo>
                      <a:lnTo>
                        <a:pt x="795731" y="824153"/>
                      </a:lnTo>
                      <a:lnTo>
                        <a:pt x="796201" y="825423"/>
                      </a:lnTo>
                      <a:lnTo>
                        <a:pt x="796201" y="575233"/>
                      </a:lnTo>
                      <a:lnTo>
                        <a:pt x="795934" y="579043"/>
                      </a:lnTo>
                      <a:lnTo>
                        <a:pt x="795235" y="576503"/>
                      </a:lnTo>
                      <a:lnTo>
                        <a:pt x="793750" y="577773"/>
                      </a:lnTo>
                      <a:lnTo>
                        <a:pt x="793254" y="580313"/>
                      </a:lnTo>
                      <a:lnTo>
                        <a:pt x="792848" y="580313"/>
                      </a:lnTo>
                      <a:lnTo>
                        <a:pt x="792022" y="579043"/>
                      </a:lnTo>
                      <a:lnTo>
                        <a:pt x="792962" y="577773"/>
                      </a:lnTo>
                      <a:lnTo>
                        <a:pt x="793076" y="576503"/>
                      </a:lnTo>
                      <a:lnTo>
                        <a:pt x="792949" y="576503"/>
                      </a:lnTo>
                      <a:lnTo>
                        <a:pt x="792873" y="577773"/>
                      </a:lnTo>
                      <a:lnTo>
                        <a:pt x="792848" y="576503"/>
                      </a:lnTo>
                      <a:lnTo>
                        <a:pt x="793838" y="572693"/>
                      </a:lnTo>
                      <a:lnTo>
                        <a:pt x="792454" y="573963"/>
                      </a:lnTo>
                      <a:lnTo>
                        <a:pt x="790676" y="576503"/>
                      </a:lnTo>
                      <a:lnTo>
                        <a:pt x="790473" y="577773"/>
                      </a:lnTo>
                      <a:lnTo>
                        <a:pt x="789393" y="577773"/>
                      </a:lnTo>
                      <a:lnTo>
                        <a:pt x="789051" y="576503"/>
                      </a:lnTo>
                      <a:lnTo>
                        <a:pt x="788276" y="577773"/>
                      </a:lnTo>
                      <a:lnTo>
                        <a:pt x="786752" y="577773"/>
                      </a:lnTo>
                      <a:lnTo>
                        <a:pt x="785901" y="578967"/>
                      </a:lnTo>
                      <a:lnTo>
                        <a:pt x="785901" y="819073"/>
                      </a:lnTo>
                      <a:lnTo>
                        <a:pt x="785622" y="819073"/>
                      </a:lnTo>
                      <a:lnTo>
                        <a:pt x="784110" y="819073"/>
                      </a:lnTo>
                      <a:lnTo>
                        <a:pt x="782916" y="818489"/>
                      </a:lnTo>
                      <a:lnTo>
                        <a:pt x="785596" y="817803"/>
                      </a:lnTo>
                      <a:lnTo>
                        <a:pt x="785622" y="819073"/>
                      </a:lnTo>
                      <a:lnTo>
                        <a:pt x="785710" y="817803"/>
                      </a:lnTo>
                      <a:lnTo>
                        <a:pt x="785901" y="819073"/>
                      </a:lnTo>
                      <a:lnTo>
                        <a:pt x="785901" y="578967"/>
                      </a:lnTo>
                      <a:lnTo>
                        <a:pt x="785723" y="580313"/>
                      </a:lnTo>
                      <a:lnTo>
                        <a:pt x="784834" y="581583"/>
                      </a:lnTo>
                      <a:lnTo>
                        <a:pt x="784161" y="581583"/>
                      </a:lnTo>
                      <a:lnTo>
                        <a:pt x="781989" y="584123"/>
                      </a:lnTo>
                      <a:lnTo>
                        <a:pt x="781621" y="589203"/>
                      </a:lnTo>
                      <a:lnTo>
                        <a:pt x="779945" y="594283"/>
                      </a:lnTo>
                      <a:lnTo>
                        <a:pt x="781088" y="595553"/>
                      </a:lnTo>
                      <a:lnTo>
                        <a:pt x="781558" y="599363"/>
                      </a:lnTo>
                      <a:lnTo>
                        <a:pt x="780478" y="601903"/>
                      </a:lnTo>
                      <a:lnTo>
                        <a:pt x="781329" y="605713"/>
                      </a:lnTo>
                      <a:lnTo>
                        <a:pt x="782294" y="608253"/>
                      </a:lnTo>
                      <a:lnTo>
                        <a:pt x="783831" y="606983"/>
                      </a:lnTo>
                      <a:lnTo>
                        <a:pt x="783894" y="610793"/>
                      </a:lnTo>
                      <a:lnTo>
                        <a:pt x="784428" y="613333"/>
                      </a:lnTo>
                      <a:lnTo>
                        <a:pt x="784402" y="615873"/>
                      </a:lnTo>
                      <a:lnTo>
                        <a:pt x="784517" y="622223"/>
                      </a:lnTo>
                      <a:lnTo>
                        <a:pt x="779005" y="627303"/>
                      </a:lnTo>
                      <a:lnTo>
                        <a:pt x="775550" y="633653"/>
                      </a:lnTo>
                      <a:lnTo>
                        <a:pt x="770686" y="634923"/>
                      </a:lnTo>
                      <a:lnTo>
                        <a:pt x="769480" y="636193"/>
                      </a:lnTo>
                      <a:lnTo>
                        <a:pt x="767778" y="634923"/>
                      </a:lnTo>
                      <a:lnTo>
                        <a:pt x="766597" y="634923"/>
                      </a:lnTo>
                      <a:lnTo>
                        <a:pt x="763003" y="628573"/>
                      </a:lnTo>
                      <a:lnTo>
                        <a:pt x="762190" y="626033"/>
                      </a:lnTo>
                      <a:lnTo>
                        <a:pt x="761644" y="623493"/>
                      </a:lnTo>
                      <a:lnTo>
                        <a:pt x="761860" y="617143"/>
                      </a:lnTo>
                      <a:lnTo>
                        <a:pt x="760806" y="613333"/>
                      </a:lnTo>
                      <a:lnTo>
                        <a:pt x="760298" y="608253"/>
                      </a:lnTo>
                      <a:lnTo>
                        <a:pt x="760564" y="606983"/>
                      </a:lnTo>
                      <a:lnTo>
                        <a:pt x="761949" y="601903"/>
                      </a:lnTo>
                      <a:lnTo>
                        <a:pt x="762127" y="598093"/>
                      </a:lnTo>
                      <a:lnTo>
                        <a:pt x="763714" y="593013"/>
                      </a:lnTo>
                      <a:lnTo>
                        <a:pt x="764933" y="590473"/>
                      </a:lnTo>
                      <a:lnTo>
                        <a:pt x="766140" y="586663"/>
                      </a:lnTo>
                      <a:lnTo>
                        <a:pt x="766521" y="585393"/>
                      </a:lnTo>
                      <a:lnTo>
                        <a:pt x="766889" y="584123"/>
                      </a:lnTo>
                      <a:lnTo>
                        <a:pt x="768108" y="581583"/>
                      </a:lnTo>
                      <a:lnTo>
                        <a:pt x="768223" y="580313"/>
                      </a:lnTo>
                      <a:lnTo>
                        <a:pt x="767765" y="579043"/>
                      </a:lnTo>
                      <a:lnTo>
                        <a:pt x="768756" y="580313"/>
                      </a:lnTo>
                      <a:lnTo>
                        <a:pt x="770699" y="577773"/>
                      </a:lnTo>
                      <a:lnTo>
                        <a:pt x="772299" y="575233"/>
                      </a:lnTo>
                      <a:lnTo>
                        <a:pt x="772185" y="571423"/>
                      </a:lnTo>
                      <a:lnTo>
                        <a:pt x="771575" y="572693"/>
                      </a:lnTo>
                      <a:lnTo>
                        <a:pt x="771347" y="572693"/>
                      </a:lnTo>
                      <a:lnTo>
                        <a:pt x="770293" y="573963"/>
                      </a:lnTo>
                      <a:lnTo>
                        <a:pt x="769924" y="573963"/>
                      </a:lnTo>
                      <a:lnTo>
                        <a:pt x="769200" y="575233"/>
                      </a:lnTo>
                      <a:lnTo>
                        <a:pt x="768921" y="576503"/>
                      </a:lnTo>
                      <a:lnTo>
                        <a:pt x="768286" y="576503"/>
                      </a:lnTo>
                      <a:lnTo>
                        <a:pt x="767702" y="577773"/>
                      </a:lnTo>
                      <a:lnTo>
                        <a:pt x="767054" y="579043"/>
                      </a:lnTo>
                      <a:lnTo>
                        <a:pt x="766089" y="579043"/>
                      </a:lnTo>
                      <a:lnTo>
                        <a:pt x="764108" y="580313"/>
                      </a:lnTo>
                      <a:lnTo>
                        <a:pt x="762355" y="582853"/>
                      </a:lnTo>
                      <a:lnTo>
                        <a:pt x="762165" y="582853"/>
                      </a:lnTo>
                      <a:lnTo>
                        <a:pt x="759599" y="584123"/>
                      </a:lnTo>
                      <a:lnTo>
                        <a:pt x="760310" y="585393"/>
                      </a:lnTo>
                      <a:lnTo>
                        <a:pt x="758126" y="584123"/>
                      </a:lnTo>
                      <a:lnTo>
                        <a:pt x="758532" y="584123"/>
                      </a:lnTo>
                      <a:lnTo>
                        <a:pt x="758761" y="582853"/>
                      </a:lnTo>
                      <a:lnTo>
                        <a:pt x="759472" y="581583"/>
                      </a:lnTo>
                      <a:lnTo>
                        <a:pt x="760399" y="580313"/>
                      </a:lnTo>
                      <a:lnTo>
                        <a:pt x="760857" y="577773"/>
                      </a:lnTo>
                      <a:lnTo>
                        <a:pt x="762279" y="577773"/>
                      </a:lnTo>
                      <a:lnTo>
                        <a:pt x="763473" y="576503"/>
                      </a:lnTo>
                      <a:lnTo>
                        <a:pt x="764362" y="575233"/>
                      </a:lnTo>
                      <a:lnTo>
                        <a:pt x="765530" y="572693"/>
                      </a:lnTo>
                      <a:lnTo>
                        <a:pt x="766914" y="571423"/>
                      </a:lnTo>
                      <a:lnTo>
                        <a:pt x="768565" y="568883"/>
                      </a:lnTo>
                      <a:lnTo>
                        <a:pt x="769556" y="566343"/>
                      </a:lnTo>
                      <a:lnTo>
                        <a:pt x="771982" y="565073"/>
                      </a:lnTo>
                      <a:lnTo>
                        <a:pt x="772477" y="562483"/>
                      </a:lnTo>
                      <a:lnTo>
                        <a:pt x="773455" y="559993"/>
                      </a:lnTo>
                      <a:lnTo>
                        <a:pt x="773493" y="565073"/>
                      </a:lnTo>
                      <a:lnTo>
                        <a:pt x="774420" y="563803"/>
                      </a:lnTo>
                      <a:lnTo>
                        <a:pt x="775271" y="563803"/>
                      </a:lnTo>
                      <a:lnTo>
                        <a:pt x="775995" y="562533"/>
                      </a:lnTo>
                      <a:lnTo>
                        <a:pt x="779335" y="561327"/>
                      </a:lnTo>
                      <a:lnTo>
                        <a:pt x="781494" y="562533"/>
                      </a:lnTo>
                      <a:lnTo>
                        <a:pt x="782548" y="562533"/>
                      </a:lnTo>
                      <a:lnTo>
                        <a:pt x="782408" y="561263"/>
                      </a:lnTo>
                      <a:lnTo>
                        <a:pt x="783336" y="559993"/>
                      </a:lnTo>
                      <a:lnTo>
                        <a:pt x="784250" y="558723"/>
                      </a:lnTo>
                      <a:lnTo>
                        <a:pt x="786511" y="558723"/>
                      </a:lnTo>
                      <a:lnTo>
                        <a:pt x="788670" y="559993"/>
                      </a:lnTo>
                      <a:lnTo>
                        <a:pt x="788631" y="558723"/>
                      </a:lnTo>
                      <a:lnTo>
                        <a:pt x="791895" y="559993"/>
                      </a:lnTo>
                      <a:lnTo>
                        <a:pt x="793546" y="558723"/>
                      </a:lnTo>
                      <a:lnTo>
                        <a:pt x="793635" y="557453"/>
                      </a:lnTo>
                      <a:lnTo>
                        <a:pt x="800061" y="557453"/>
                      </a:lnTo>
                      <a:lnTo>
                        <a:pt x="802132" y="558723"/>
                      </a:lnTo>
                      <a:lnTo>
                        <a:pt x="803846" y="561263"/>
                      </a:lnTo>
                      <a:lnTo>
                        <a:pt x="806462" y="561263"/>
                      </a:lnTo>
                      <a:lnTo>
                        <a:pt x="805332" y="558723"/>
                      </a:lnTo>
                      <a:lnTo>
                        <a:pt x="807758" y="557453"/>
                      </a:lnTo>
                      <a:lnTo>
                        <a:pt x="810006" y="558723"/>
                      </a:lnTo>
                      <a:lnTo>
                        <a:pt x="813473" y="558723"/>
                      </a:lnTo>
                      <a:lnTo>
                        <a:pt x="815238" y="559993"/>
                      </a:lnTo>
                      <a:lnTo>
                        <a:pt x="817499" y="559993"/>
                      </a:lnTo>
                      <a:lnTo>
                        <a:pt x="817753" y="558723"/>
                      </a:lnTo>
                      <a:lnTo>
                        <a:pt x="815835" y="557453"/>
                      </a:lnTo>
                      <a:lnTo>
                        <a:pt x="813943" y="554913"/>
                      </a:lnTo>
                      <a:lnTo>
                        <a:pt x="813498" y="554913"/>
                      </a:lnTo>
                      <a:lnTo>
                        <a:pt x="813206" y="553643"/>
                      </a:lnTo>
                      <a:lnTo>
                        <a:pt x="776300" y="553643"/>
                      </a:lnTo>
                      <a:lnTo>
                        <a:pt x="776300" y="561263"/>
                      </a:lnTo>
                      <a:lnTo>
                        <a:pt x="776236" y="561479"/>
                      </a:lnTo>
                      <a:lnTo>
                        <a:pt x="776274" y="561263"/>
                      </a:lnTo>
                      <a:lnTo>
                        <a:pt x="776300" y="553643"/>
                      </a:lnTo>
                      <a:lnTo>
                        <a:pt x="713028" y="553643"/>
                      </a:lnTo>
                      <a:lnTo>
                        <a:pt x="713028" y="833043"/>
                      </a:lnTo>
                      <a:lnTo>
                        <a:pt x="712152" y="833043"/>
                      </a:lnTo>
                      <a:lnTo>
                        <a:pt x="712419" y="831773"/>
                      </a:lnTo>
                      <a:lnTo>
                        <a:pt x="712635" y="831773"/>
                      </a:lnTo>
                      <a:lnTo>
                        <a:pt x="713028" y="833043"/>
                      </a:lnTo>
                      <a:lnTo>
                        <a:pt x="713028" y="553643"/>
                      </a:lnTo>
                      <a:lnTo>
                        <a:pt x="647344" y="553643"/>
                      </a:lnTo>
                      <a:lnTo>
                        <a:pt x="647344" y="845743"/>
                      </a:lnTo>
                      <a:lnTo>
                        <a:pt x="646328" y="847013"/>
                      </a:lnTo>
                      <a:lnTo>
                        <a:pt x="645312" y="845743"/>
                      </a:lnTo>
                      <a:lnTo>
                        <a:pt x="647344" y="845743"/>
                      </a:lnTo>
                      <a:lnTo>
                        <a:pt x="647344" y="553643"/>
                      </a:lnTo>
                      <a:lnTo>
                        <a:pt x="638962" y="553643"/>
                      </a:lnTo>
                      <a:lnTo>
                        <a:pt x="638962" y="845743"/>
                      </a:lnTo>
                      <a:lnTo>
                        <a:pt x="638911" y="845959"/>
                      </a:lnTo>
                      <a:lnTo>
                        <a:pt x="638797" y="845743"/>
                      </a:lnTo>
                      <a:lnTo>
                        <a:pt x="638162" y="844473"/>
                      </a:lnTo>
                      <a:lnTo>
                        <a:pt x="638962" y="845743"/>
                      </a:lnTo>
                      <a:lnTo>
                        <a:pt x="638962" y="553643"/>
                      </a:lnTo>
                      <a:lnTo>
                        <a:pt x="620585" y="553643"/>
                      </a:lnTo>
                      <a:lnTo>
                        <a:pt x="620585" y="867333"/>
                      </a:lnTo>
                      <a:lnTo>
                        <a:pt x="619429" y="867333"/>
                      </a:lnTo>
                      <a:lnTo>
                        <a:pt x="619086" y="866063"/>
                      </a:lnTo>
                      <a:lnTo>
                        <a:pt x="619061" y="864793"/>
                      </a:lnTo>
                      <a:lnTo>
                        <a:pt x="619963" y="866063"/>
                      </a:lnTo>
                      <a:lnTo>
                        <a:pt x="620585" y="867333"/>
                      </a:lnTo>
                      <a:lnTo>
                        <a:pt x="620585" y="553643"/>
                      </a:lnTo>
                      <a:lnTo>
                        <a:pt x="280314" y="553643"/>
                      </a:lnTo>
                      <a:lnTo>
                        <a:pt x="280314" y="695883"/>
                      </a:lnTo>
                      <a:lnTo>
                        <a:pt x="279577" y="695883"/>
                      </a:lnTo>
                      <a:lnTo>
                        <a:pt x="278206" y="694613"/>
                      </a:lnTo>
                      <a:lnTo>
                        <a:pt x="277050" y="695883"/>
                      </a:lnTo>
                      <a:lnTo>
                        <a:pt x="275653" y="695883"/>
                      </a:lnTo>
                      <a:lnTo>
                        <a:pt x="275424" y="695883"/>
                      </a:lnTo>
                      <a:lnTo>
                        <a:pt x="275844" y="695261"/>
                      </a:lnTo>
                      <a:lnTo>
                        <a:pt x="275653" y="695883"/>
                      </a:lnTo>
                      <a:lnTo>
                        <a:pt x="277977" y="694613"/>
                      </a:lnTo>
                      <a:lnTo>
                        <a:pt x="278206" y="694613"/>
                      </a:lnTo>
                      <a:lnTo>
                        <a:pt x="278384" y="694613"/>
                      </a:lnTo>
                      <a:lnTo>
                        <a:pt x="280314" y="695883"/>
                      </a:lnTo>
                      <a:lnTo>
                        <a:pt x="280314" y="553643"/>
                      </a:lnTo>
                      <a:lnTo>
                        <a:pt x="273837" y="553643"/>
                      </a:lnTo>
                      <a:lnTo>
                        <a:pt x="273837" y="695883"/>
                      </a:lnTo>
                      <a:lnTo>
                        <a:pt x="270700" y="695883"/>
                      </a:lnTo>
                      <a:lnTo>
                        <a:pt x="270459" y="695744"/>
                      </a:lnTo>
                      <a:lnTo>
                        <a:pt x="270294" y="695883"/>
                      </a:lnTo>
                      <a:lnTo>
                        <a:pt x="268046" y="695883"/>
                      </a:lnTo>
                      <a:lnTo>
                        <a:pt x="265811" y="698423"/>
                      </a:lnTo>
                      <a:lnTo>
                        <a:pt x="270637" y="703503"/>
                      </a:lnTo>
                      <a:lnTo>
                        <a:pt x="271335" y="706043"/>
                      </a:lnTo>
                      <a:lnTo>
                        <a:pt x="270408" y="704773"/>
                      </a:lnTo>
                      <a:lnTo>
                        <a:pt x="269227" y="704773"/>
                      </a:lnTo>
                      <a:lnTo>
                        <a:pt x="267830" y="703503"/>
                      </a:lnTo>
                      <a:lnTo>
                        <a:pt x="267246" y="703503"/>
                      </a:lnTo>
                      <a:lnTo>
                        <a:pt x="267182" y="702233"/>
                      </a:lnTo>
                      <a:lnTo>
                        <a:pt x="267512" y="700963"/>
                      </a:lnTo>
                      <a:lnTo>
                        <a:pt x="265874" y="699198"/>
                      </a:lnTo>
                      <a:lnTo>
                        <a:pt x="265544" y="698423"/>
                      </a:lnTo>
                      <a:lnTo>
                        <a:pt x="265747" y="698423"/>
                      </a:lnTo>
                      <a:lnTo>
                        <a:pt x="265696" y="697153"/>
                      </a:lnTo>
                      <a:lnTo>
                        <a:pt x="265569" y="695883"/>
                      </a:lnTo>
                      <a:lnTo>
                        <a:pt x="265417" y="695883"/>
                      </a:lnTo>
                      <a:lnTo>
                        <a:pt x="265823" y="694613"/>
                      </a:lnTo>
                      <a:lnTo>
                        <a:pt x="266141" y="694613"/>
                      </a:lnTo>
                      <a:lnTo>
                        <a:pt x="266750" y="693343"/>
                      </a:lnTo>
                      <a:lnTo>
                        <a:pt x="267563" y="694613"/>
                      </a:lnTo>
                      <a:lnTo>
                        <a:pt x="268452" y="694613"/>
                      </a:lnTo>
                      <a:lnTo>
                        <a:pt x="270459" y="695744"/>
                      </a:lnTo>
                      <a:lnTo>
                        <a:pt x="271818" y="694613"/>
                      </a:lnTo>
                      <a:lnTo>
                        <a:pt x="272999" y="694613"/>
                      </a:lnTo>
                      <a:lnTo>
                        <a:pt x="273837" y="695883"/>
                      </a:lnTo>
                      <a:lnTo>
                        <a:pt x="273837" y="553643"/>
                      </a:lnTo>
                      <a:lnTo>
                        <a:pt x="243293" y="553643"/>
                      </a:lnTo>
                      <a:lnTo>
                        <a:pt x="242671" y="553643"/>
                      </a:lnTo>
                      <a:lnTo>
                        <a:pt x="246926" y="554913"/>
                      </a:lnTo>
                      <a:lnTo>
                        <a:pt x="251256" y="554913"/>
                      </a:lnTo>
                      <a:lnTo>
                        <a:pt x="255562" y="556183"/>
                      </a:lnTo>
                      <a:lnTo>
                        <a:pt x="246430" y="557453"/>
                      </a:lnTo>
                      <a:lnTo>
                        <a:pt x="245325" y="556183"/>
                      </a:lnTo>
                      <a:lnTo>
                        <a:pt x="243852" y="554913"/>
                      </a:lnTo>
                      <a:lnTo>
                        <a:pt x="245173" y="557453"/>
                      </a:lnTo>
                      <a:lnTo>
                        <a:pt x="243789" y="559993"/>
                      </a:lnTo>
                      <a:lnTo>
                        <a:pt x="244233" y="563803"/>
                      </a:lnTo>
                      <a:lnTo>
                        <a:pt x="244741" y="563803"/>
                      </a:lnTo>
                      <a:lnTo>
                        <a:pt x="244589" y="566343"/>
                      </a:lnTo>
                      <a:lnTo>
                        <a:pt x="244335" y="567613"/>
                      </a:lnTo>
                      <a:lnTo>
                        <a:pt x="244106" y="570153"/>
                      </a:lnTo>
                      <a:lnTo>
                        <a:pt x="244436" y="570153"/>
                      </a:lnTo>
                      <a:lnTo>
                        <a:pt x="244449" y="573963"/>
                      </a:lnTo>
                      <a:lnTo>
                        <a:pt x="243713" y="576503"/>
                      </a:lnTo>
                      <a:lnTo>
                        <a:pt x="242404" y="581583"/>
                      </a:lnTo>
                      <a:lnTo>
                        <a:pt x="242582" y="582853"/>
                      </a:lnTo>
                      <a:lnTo>
                        <a:pt x="242646" y="585393"/>
                      </a:lnTo>
                      <a:lnTo>
                        <a:pt x="242303" y="589203"/>
                      </a:lnTo>
                      <a:lnTo>
                        <a:pt x="242112" y="591743"/>
                      </a:lnTo>
                      <a:lnTo>
                        <a:pt x="241719" y="595553"/>
                      </a:lnTo>
                      <a:lnTo>
                        <a:pt x="241668" y="596823"/>
                      </a:lnTo>
                      <a:lnTo>
                        <a:pt x="241338" y="598093"/>
                      </a:lnTo>
                      <a:lnTo>
                        <a:pt x="240969" y="601903"/>
                      </a:lnTo>
                      <a:lnTo>
                        <a:pt x="240207" y="603173"/>
                      </a:lnTo>
                      <a:lnTo>
                        <a:pt x="239725" y="604443"/>
                      </a:lnTo>
                      <a:lnTo>
                        <a:pt x="241287" y="604443"/>
                      </a:lnTo>
                      <a:lnTo>
                        <a:pt x="241376" y="605713"/>
                      </a:lnTo>
                      <a:lnTo>
                        <a:pt x="240665" y="605713"/>
                      </a:lnTo>
                      <a:lnTo>
                        <a:pt x="239293" y="606983"/>
                      </a:lnTo>
                      <a:lnTo>
                        <a:pt x="235788" y="612063"/>
                      </a:lnTo>
                      <a:lnTo>
                        <a:pt x="236143" y="615873"/>
                      </a:lnTo>
                      <a:lnTo>
                        <a:pt x="236778" y="615873"/>
                      </a:lnTo>
                      <a:lnTo>
                        <a:pt x="237883" y="618413"/>
                      </a:lnTo>
                      <a:lnTo>
                        <a:pt x="238137" y="618413"/>
                      </a:lnTo>
                      <a:lnTo>
                        <a:pt x="237528" y="620953"/>
                      </a:lnTo>
                      <a:lnTo>
                        <a:pt x="237591" y="622223"/>
                      </a:lnTo>
                      <a:lnTo>
                        <a:pt x="238315" y="626033"/>
                      </a:lnTo>
                      <a:lnTo>
                        <a:pt x="238836" y="627303"/>
                      </a:lnTo>
                      <a:lnTo>
                        <a:pt x="241427" y="629843"/>
                      </a:lnTo>
                      <a:lnTo>
                        <a:pt x="240969" y="632383"/>
                      </a:lnTo>
                      <a:lnTo>
                        <a:pt x="241071" y="649274"/>
                      </a:lnTo>
                      <a:lnTo>
                        <a:pt x="241236" y="648893"/>
                      </a:lnTo>
                      <a:lnTo>
                        <a:pt x="241706" y="648893"/>
                      </a:lnTo>
                      <a:lnTo>
                        <a:pt x="240550" y="651433"/>
                      </a:lnTo>
                      <a:lnTo>
                        <a:pt x="239953" y="651433"/>
                      </a:lnTo>
                      <a:lnTo>
                        <a:pt x="239026" y="652703"/>
                      </a:lnTo>
                      <a:lnTo>
                        <a:pt x="238125" y="655243"/>
                      </a:lnTo>
                      <a:lnTo>
                        <a:pt x="239306" y="657783"/>
                      </a:lnTo>
                      <a:lnTo>
                        <a:pt x="242938" y="662863"/>
                      </a:lnTo>
                      <a:lnTo>
                        <a:pt x="243852" y="662863"/>
                      </a:lnTo>
                      <a:lnTo>
                        <a:pt x="244729" y="665314"/>
                      </a:lnTo>
                      <a:lnTo>
                        <a:pt x="244805" y="665454"/>
                      </a:lnTo>
                      <a:lnTo>
                        <a:pt x="247243" y="667943"/>
                      </a:lnTo>
                      <a:lnTo>
                        <a:pt x="247357" y="671753"/>
                      </a:lnTo>
                      <a:lnTo>
                        <a:pt x="246773" y="671753"/>
                      </a:lnTo>
                      <a:lnTo>
                        <a:pt x="246341" y="674293"/>
                      </a:lnTo>
                      <a:lnTo>
                        <a:pt x="247421" y="675563"/>
                      </a:lnTo>
                      <a:lnTo>
                        <a:pt x="248704" y="679373"/>
                      </a:lnTo>
                      <a:lnTo>
                        <a:pt x="247243" y="680643"/>
                      </a:lnTo>
                      <a:lnTo>
                        <a:pt x="258724" y="694613"/>
                      </a:lnTo>
                      <a:lnTo>
                        <a:pt x="258762" y="695782"/>
                      </a:lnTo>
                      <a:lnTo>
                        <a:pt x="259384" y="694613"/>
                      </a:lnTo>
                      <a:lnTo>
                        <a:pt x="261391" y="697153"/>
                      </a:lnTo>
                      <a:lnTo>
                        <a:pt x="262750" y="698423"/>
                      </a:lnTo>
                      <a:lnTo>
                        <a:pt x="263359" y="698423"/>
                      </a:lnTo>
                      <a:lnTo>
                        <a:pt x="265125" y="699808"/>
                      </a:lnTo>
                      <a:lnTo>
                        <a:pt x="265061" y="703503"/>
                      </a:lnTo>
                      <a:lnTo>
                        <a:pt x="265366" y="706043"/>
                      </a:lnTo>
                      <a:lnTo>
                        <a:pt x="266534" y="707313"/>
                      </a:lnTo>
                      <a:lnTo>
                        <a:pt x="267144" y="709853"/>
                      </a:lnTo>
                      <a:lnTo>
                        <a:pt x="266801" y="709853"/>
                      </a:lnTo>
                      <a:lnTo>
                        <a:pt x="270294" y="712393"/>
                      </a:lnTo>
                      <a:lnTo>
                        <a:pt x="271932" y="713663"/>
                      </a:lnTo>
                      <a:lnTo>
                        <a:pt x="273735" y="713663"/>
                      </a:lnTo>
                      <a:lnTo>
                        <a:pt x="274891" y="714933"/>
                      </a:lnTo>
                      <a:lnTo>
                        <a:pt x="275742" y="717473"/>
                      </a:lnTo>
                      <a:lnTo>
                        <a:pt x="274447" y="720013"/>
                      </a:lnTo>
                      <a:lnTo>
                        <a:pt x="273824" y="718743"/>
                      </a:lnTo>
                      <a:lnTo>
                        <a:pt x="272796" y="720013"/>
                      </a:lnTo>
                      <a:lnTo>
                        <a:pt x="273278" y="721283"/>
                      </a:lnTo>
                      <a:lnTo>
                        <a:pt x="273723" y="722553"/>
                      </a:lnTo>
                      <a:lnTo>
                        <a:pt x="273875" y="723823"/>
                      </a:lnTo>
                      <a:lnTo>
                        <a:pt x="275120" y="726363"/>
                      </a:lnTo>
                      <a:lnTo>
                        <a:pt x="278358" y="728903"/>
                      </a:lnTo>
                      <a:lnTo>
                        <a:pt x="284695" y="736523"/>
                      </a:lnTo>
                      <a:lnTo>
                        <a:pt x="288086" y="740333"/>
                      </a:lnTo>
                      <a:lnTo>
                        <a:pt x="288455" y="741603"/>
                      </a:lnTo>
                      <a:lnTo>
                        <a:pt x="290106" y="744143"/>
                      </a:lnTo>
                      <a:lnTo>
                        <a:pt x="291680" y="744143"/>
                      </a:lnTo>
                      <a:lnTo>
                        <a:pt x="292061" y="745413"/>
                      </a:lnTo>
                      <a:lnTo>
                        <a:pt x="291592" y="746683"/>
                      </a:lnTo>
                      <a:lnTo>
                        <a:pt x="291846" y="747953"/>
                      </a:lnTo>
                      <a:lnTo>
                        <a:pt x="292074" y="750493"/>
                      </a:lnTo>
                      <a:lnTo>
                        <a:pt x="291871" y="751763"/>
                      </a:lnTo>
                      <a:lnTo>
                        <a:pt x="292074" y="751763"/>
                      </a:lnTo>
                      <a:lnTo>
                        <a:pt x="291541" y="753033"/>
                      </a:lnTo>
                      <a:lnTo>
                        <a:pt x="293776" y="753033"/>
                      </a:lnTo>
                      <a:lnTo>
                        <a:pt x="295719" y="754303"/>
                      </a:lnTo>
                      <a:lnTo>
                        <a:pt x="298005" y="754303"/>
                      </a:lnTo>
                      <a:lnTo>
                        <a:pt x="298411" y="755573"/>
                      </a:lnTo>
                      <a:lnTo>
                        <a:pt x="306285" y="755573"/>
                      </a:lnTo>
                      <a:lnTo>
                        <a:pt x="310489" y="756843"/>
                      </a:lnTo>
                      <a:lnTo>
                        <a:pt x="312547" y="758113"/>
                      </a:lnTo>
                      <a:lnTo>
                        <a:pt x="315582" y="760653"/>
                      </a:lnTo>
                      <a:lnTo>
                        <a:pt x="316953" y="761923"/>
                      </a:lnTo>
                      <a:lnTo>
                        <a:pt x="319747" y="761923"/>
                      </a:lnTo>
                      <a:lnTo>
                        <a:pt x="321525" y="760653"/>
                      </a:lnTo>
                      <a:lnTo>
                        <a:pt x="321995" y="761923"/>
                      </a:lnTo>
                      <a:lnTo>
                        <a:pt x="322402" y="763193"/>
                      </a:lnTo>
                      <a:lnTo>
                        <a:pt x="322529" y="763193"/>
                      </a:lnTo>
                      <a:lnTo>
                        <a:pt x="322783" y="764463"/>
                      </a:lnTo>
                      <a:lnTo>
                        <a:pt x="323088" y="765733"/>
                      </a:lnTo>
                      <a:lnTo>
                        <a:pt x="328015" y="765733"/>
                      </a:lnTo>
                      <a:lnTo>
                        <a:pt x="328536" y="767003"/>
                      </a:lnTo>
                      <a:lnTo>
                        <a:pt x="331431" y="768273"/>
                      </a:lnTo>
                      <a:lnTo>
                        <a:pt x="333019" y="769543"/>
                      </a:lnTo>
                      <a:lnTo>
                        <a:pt x="336346" y="772083"/>
                      </a:lnTo>
                      <a:lnTo>
                        <a:pt x="337172" y="773353"/>
                      </a:lnTo>
                      <a:lnTo>
                        <a:pt x="341706" y="784783"/>
                      </a:lnTo>
                      <a:lnTo>
                        <a:pt x="342150" y="786053"/>
                      </a:lnTo>
                      <a:lnTo>
                        <a:pt x="345084" y="784783"/>
                      </a:lnTo>
                      <a:lnTo>
                        <a:pt x="353631" y="784783"/>
                      </a:lnTo>
                      <a:lnTo>
                        <a:pt x="363397" y="783513"/>
                      </a:lnTo>
                      <a:lnTo>
                        <a:pt x="368211" y="783513"/>
                      </a:lnTo>
                      <a:lnTo>
                        <a:pt x="374637" y="782243"/>
                      </a:lnTo>
                      <a:lnTo>
                        <a:pt x="376453" y="782243"/>
                      </a:lnTo>
                      <a:lnTo>
                        <a:pt x="375678" y="784783"/>
                      </a:lnTo>
                      <a:lnTo>
                        <a:pt x="375132" y="786053"/>
                      </a:lnTo>
                      <a:lnTo>
                        <a:pt x="393966" y="792403"/>
                      </a:lnTo>
                      <a:lnTo>
                        <a:pt x="404342" y="796213"/>
                      </a:lnTo>
                      <a:lnTo>
                        <a:pt x="409956" y="798753"/>
                      </a:lnTo>
                      <a:lnTo>
                        <a:pt x="414477" y="800023"/>
                      </a:lnTo>
                      <a:lnTo>
                        <a:pt x="425361" y="802563"/>
                      </a:lnTo>
                      <a:lnTo>
                        <a:pt x="433692" y="803833"/>
                      </a:lnTo>
                      <a:lnTo>
                        <a:pt x="441896" y="803833"/>
                      </a:lnTo>
                      <a:lnTo>
                        <a:pt x="452437" y="805103"/>
                      </a:lnTo>
                      <a:lnTo>
                        <a:pt x="468401" y="805103"/>
                      </a:lnTo>
                      <a:lnTo>
                        <a:pt x="469823" y="802563"/>
                      </a:lnTo>
                      <a:lnTo>
                        <a:pt x="469544" y="801293"/>
                      </a:lnTo>
                      <a:lnTo>
                        <a:pt x="469734" y="798753"/>
                      </a:lnTo>
                      <a:lnTo>
                        <a:pt x="469493" y="797483"/>
                      </a:lnTo>
                      <a:lnTo>
                        <a:pt x="496595" y="797483"/>
                      </a:lnTo>
                      <a:lnTo>
                        <a:pt x="497205" y="800023"/>
                      </a:lnTo>
                      <a:lnTo>
                        <a:pt x="497928" y="802563"/>
                      </a:lnTo>
                      <a:lnTo>
                        <a:pt x="499364" y="802563"/>
                      </a:lnTo>
                      <a:lnTo>
                        <a:pt x="501180" y="803833"/>
                      </a:lnTo>
                      <a:lnTo>
                        <a:pt x="502323" y="805103"/>
                      </a:lnTo>
                      <a:lnTo>
                        <a:pt x="515429" y="815263"/>
                      </a:lnTo>
                      <a:lnTo>
                        <a:pt x="519315" y="819073"/>
                      </a:lnTo>
                      <a:lnTo>
                        <a:pt x="521360" y="831773"/>
                      </a:lnTo>
                      <a:lnTo>
                        <a:pt x="529958" y="835583"/>
                      </a:lnTo>
                      <a:lnTo>
                        <a:pt x="535457" y="839393"/>
                      </a:lnTo>
                      <a:lnTo>
                        <a:pt x="541972" y="843203"/>
                      </a:lnTo>
                      <a:lnTo>
                        <a:pt x="547154" y="833043"/>
                      </a:lnTo>
                      <a:lnTo>
                        <a:pt x="548233" y="829233"/>
                      </a:lnTo>
                      <a:lnTo>
                        <a:pt x="553237" y="829233"/>
                      </a:lnTo>
                      <a:lnTo>
                        <a:pt x="553351" y="827963"/>
                      </a:lnTo>
                      <a:lnTo>
                        <a:pt x="554913" y="826693"/>
                      </a:lnTo>
                      <a:lnTo>
                        <a:pt x="558406" y="827963"/>
                      </a:lnTo>
                      <a:lnTo>
                        <a:pt x="562508" y="829233"/>
                      </a:lnTo>
                      <a:lnTo>
                        <a:pt x="565277" y="829233"/>
                      </a:lnTo>
                      <a:lnTo>
                        <a:pt x="566483" y="827963"/>
                      </a:lnTo>
                      <a:lnTo>
                        <a:pt x="570103" y="831773"/>
                      </a:lnTo>
                      <a:lnTo>
                        <a:pt x="571842" y="833043"/>
                      </a:lnTo>
                      <a:lnTo>
                        <a:pt x="574979" y="834313"/>
                      </a:lnTo>
                      <a:lnTo>
                        <a:pt x="581609" y="848283"/>
                      </a:lnTo>
                      <a:lnTo>
                        <a:pt x="584136" y="852093"/>
                      </a:lnTo>
                      <a:lnTo>
                        <a:pt x="587032" y="855903"/>
                      </a:lnTo>
                      <a:lnTo>
                        <a:pt x="589432" y="858443"/>
                      </a:lnTo>
                      <a:lnTo>
                        <a:pt x="589800" y="860983"/>
                      </a:lnTo>
                      <a:lnTo>
                        <a:pt x="591845" y="862253"/>
                      </a:lnTo>
                      <a:lnTo>
                        <a:pt x="593902" y="862253"/>
                      </a:lnTo>
                      <a:lnTo>
                        <a:pt x="594868" y="863523"/>
                      </a:lnTo>
                      <a:lnTo>
                        <a:pt x="594321" y="866063"/>
                      </a:lnTo>
                      <a:lnTo>
                        <a:pt x="594258" y="867333"/>
                      </a:lnTo>
                      <a:lnTo>
                        <a:pt x="599503" y="880033"/>
                      </a:lnTo>
                      <a:lnTo>
                        <a:pt x="600049" y="881303"/>
                      </a:lnTo>
                      <a:lnTo>
                        <a:pt x="600341" y="881303"/>
                      </a:lnTo>
                      <a:lnTo>
                        <a:pt x="608050" y="883843"/>
                      </a:lnTo>
                      <a:lnTo>
                        <a:pt x="609803" y="885113"/>
                      </a:lnTo>
                      <a:lnTo>
                        <a:pt x="612457" y="886383"/>
                      </a:lnTo>
                      <a:lnTo>
                        <a:pt x="618845" y="886383"/>
                      </a:lnTo>
                      <a:lnTo>
                        <a:pt x="621245" y="887653"/>
                      </a:lnTo>
                      <a:lnTo>
                        <a:pt x="621855" y="888923"/>
                      </a:lnTo>
                      <a:lnTo>
                        <a:pt x="625068" y="888923"/>
                      </a:lnTo>
                      <a:lnTo>
                        <a:pt x="625500" y="886383"/>
                      </a:lnTo>
                      <a:lnTo>
                        <a:pt x="623951" y="880033"/>
                      </a:lnTo>
                      <a:lnTo>
                        <a:pt x="622566" y="877493"/>
                      </a:lnTo>
                      <a:lnTo>
                        <a:pt x="621995" y="873683"/>
                      </a:lnTo>
                      <a:lnTo>
                        <a:pt x="622122" y="872413"/>
                      </a:lnTo>
                      <a:lnTo>
                        <a:pt x="623138" y="871143"/>
                      </a:lnTo>
                      <a:lnTo>
                        <a:pt x="623443" y="871143"/>
                      </a:lnTo>
                      <a:lnTo>
                        <a:pt x="623722" y="868603"/>
                      </a:lnTo>
                      <a:lnTo>
                        <a:pt x="621893" y="868603"/>
                      </a:lnTo>
                      <a:lnTo>
                        <a:pt x="621169" y="867333"/>
                      </a:lnTo>
                      <a:lnTo>
                        <a:pt x="623468" y="867333"/>
                      </a:lnTo>
                      <a:lnTo>
                        <a:pt x="624560" y="866063"/>
                      </a:lnTo>
                      <a:lnTo>
                        <a:pt x="624941" y="864793"/>
                      </a:lnTo>
                      <a:lnTo>
                        <a:pt x="625665" y="863523"/>
                      </a:lnTo>
                      <a:lnTo>
                        <a:pt x="626440" y="862253"/>
                      </a:lnTo>
                      <a:lnTo>
                        <a:pt x="626173" y="860983"/>
                      </a:lnTo>
                      <a:lnTo>
                        <a:pt x="625398" y="860983"/>
                      </a:lnTo>
                      <a:lnTo>
                        <a:pt x="624789" y="859713"/>
                      </a:lnTo>
                      <a:lnTo>
                        <a:pt x="624179" y="858443"/>
                      </a:lnTo>
                      <a:lnTo>
                        <a:pt x="624459" y="859713"/>
                      </a:lnTo>
                      <a:lnTo>
                        <a:pt x="622731" y="858443"/>
                      </a:lnTo>
                      <a:lnTo>
                        <a:pt x="624179" y="858443"/>
                      </a:lnTo>
                      <a:lnTo>
                        <a:pt x="627329" y="858443"/>
                      </a:lnTo>
                      <a:lnTo>
                        <a:pt x="626389" y="859713"/>
                      </a:lnTo>
                      <a:lnTo>
                        <a:pt x="628599" y="858443"/>
                      </a:lnTo>
                      <a:lnTo>
                        <a:pt x="629437" y="855903"/>
                      </a:lnTo>
                      <a:lnTo>
                        <a:pt x="629767" y="854633"/>
                      </a:lnTo>
                      <a:lnTo>
                        <a:pt x="629170" y="855903"/>
                      </a:lnTo>
                      <a:lnTo>
                        <a:pt x="628357" y="854633"/>
                      </a:lnTo>
                      <a:lnTo>
                        <a:pt x="629132" y="854633"/>
                      </a:lnTo>
                      <a:lnTo>
                        <a:pt x="629818" y="853363"/>
                      </a:lnTo>
                      <a:lnTo>
                        <a:pt x="629780" y="854633"/>
                      </a:lnTo>
                      <a:lnTo>
                        <a:pt x="630491" y="854633"/>
                      </a:lnTo>
                      <a:lnTo>
                        <a:pt x="630720" y="853363"/>
                      </a:lnTo>
                      <a:lnTo>
                        <a:pt x="631190" y="853363"/>
                      </a:lnTo>
                      <a:lnTo>
                        <a:pt x="630923" y="854633"/>
                      </a:lnTo>
                      <a:lnTo>
                        <a:pt x="631278" y="853363"/>
                      </a:lnTo>
                      <a:lnTo>
                        <a:pt x="631952" y="849553"/>
                      </a:lnTo>
                      <a:lnTo>
                        <a:pt x="633412" y="849553"/>
                      </a:lnTo>
                      <a:lnTo>
                        <a:pt x="634174" y="850823"/>
                      </a:lnTo>
                      <a:lnTo>
                        <a:pt x="635025" y="852093"/>
                      </a:lnTo>
                      <a:lnTo>
                        <a:pt x="636346" y="852093"/>
                      </a:lnTo>
                      <a:lnTo>
                        <a:pt x="638251" y="849553"/>
                      </a:lnTo>
                      <a:lnTo>
                        <a:pt x="637070" y="849553"/>
                      </a:lnTo>
                      <a:lnTo>
                        <a:pt x="635850" y="847013"/>
                      </a:lnTo>
                      <a:lnTo>
                        <a:pt x="635215" y="845743"/>
                      </a:lnTo>
                      <a:lnTo>
                        <a:pt x="635939" y="845743"/>
                      </a:lnTo>
                      <a:lnTo>
                        <a:pt x="637997" y="848283"/>
                      </a:lnTo>
                      <a:lnTo>
                        <a:pt x="639432" y="847013"/>
                      </a:lnTo>
                      <a:lnTo>
                        <a:pt x="639775" y="847013"/>
                      </a:lnTo>
                      <a:lnTo>
                        <a:pt x="640702" y="845743"/>
                      </a:lnTo>
                      <a:lnTo>
                        <a:pt x="641604" y="845743"/>
                      </a:lnTo>
                      <a:lnTo>
                        <a:pt x="640372" y="849553"/>
                      </a:lnTo>
                      <a:lnTo>
                        <a:pt x="642696" y="847013"/>
                      </a:lnTo>
                      <a:lnTo>
                        <a:pt x="644525" y="847013"/>
                      </a:lnTo>
                      <a:lnTo>
                        <a:pt x="643458" y="848283"/>
                      </a:lnTo>
                      <a:lnTo>
                        <a:pt x="642162" y="848283"/>
                      </a:lnTo>
                      <a:lnTo>
                        <a:pt x="641350" y="849553"/>
                      </a:lnTo>
                      <a:lnTo>
                        <a:pt x="643534" y="848283"/>
                      </a:lnTo>
                      <a:lnTo>
                        <a:pt x="646404" y="847013"/>
                      </a:lnTo>
                      <a:lnTo>
                        <a:pt x="648296" y="845743"/>
                      </a:lnTo>
                      <a:lnTo>
                        <a:pt x="649224" y="845743"/>
                      </a:lnTo>
                      <a:lnTo>
                        <a:pt x="651268" y="844473"/>
                      </a:lnTo>
                      <a:lnTo>
                        <a:pt x="653313" y="843203"/>
                      </a:lnTo>
                      <a:lnTo>
                        <a:pt x="654138" y="840663"/>
                      </a:lnTo>
                      <a:lnTo>
                        <a:pt x="656755" y="838123"/>
                      </a:lnTo>
                      <a:lnTo>
                        <a:pt x="658685" y="838123"/>
                      </a:lnTo>
                      <a:lnTo>
                        <a:pt x="661212" y="835583"/>
                      </a:lnTo>
                      <a:lnTo>
                        <a:pt x="660387" y="835583"/>
                      </a:lnTo>
                      <a:lnTo>
                        <a:pt x="660069" y="834313"/>
                      </a:lnTo>
                      <a:lnTo>
                        <a:pt x="659676" y="833043"/>
                      </a:lnTo>
                      <a:lnTo>
                        <a:pt x="658482" y="833043"/>
                      </a:lnTo>
                      <a:lnTo>
                        <a:pt x="659003" y="831773"/>
                      </a:lnTo>
                      <a:lnTo>
                        <a:pt x="658634" y="830503"/>
                      </a:lnTo>
                      <a:lnTo>
                        <a:pt x="660311" y="830503"/>
                      </a:lnTo>
                      <a:lnTo>
                        <a:pt x="661390" y="829233"/>
                      </a:lnTo>
                      <a:lnTo>
                        <a:pt x="662965" y="829233"/>
                      </a:lnTo>
                      <a:lnTo>
                        <a:pt x="663028" y="830503"/>
                      </a:lnTo>
                      <a:lnTo>
                        <a:pt x="661670" y="833043"/>
                      </a:lnTo>
                      <a:lnTo>
                        <a:pt x="664070" y="833043"/>
                      </a:lnTo>
                      <a:lnTo>
                        <a:pt x="664781" y="831773"/>
                      </a:lnTo>
                      <a:lnTo>
                        <a:pt x="666140" y="833043"/>
                      </a:lnTo>
                      <a:lnTo>
                        <a:pt x="667448" y="833043"/>
                      </a:lnTo>
                      <a:lnTo>
                        <a:pt x="668667" y="831773"/>
                      </a:lnTo>
                      <a:lnTo>
                        <a:pt x="671715" y="830503"/>
                      </a:lnTo>
                      <a:lnTo>
                        <a:pt x="675093" y="830503"/>
                      </a:lnTo>
                      <a:lnTo>
                        <a:pt x="674141" y="829233"/>
                      </a:lnTo>
                      <a:lnTo>
                        <a:pt x="674852" y="827963"/>
                      </a:lnTo>
                      <a:lnTo>
                        <a:pt x="675563" y="826693"/>
                      </a:lnTo>
                      <a:lnTo>
                        <a:pt x="675932" y="825423"/>
                      </a:lnTo>
                      <a:lnTo>
                        <a:pt x="675703" y="826693"/>
                      </a:lnTo>
                      <a:lnTo>
                        <a:pt x="675373" y="829233"/>
                      </a:lnTo>
                      <a:lnTo>
                        <a:pt x="675347" y="830503"/>
                      </a:lnTo>
                      <a:lnTo>
                        <a:pt x="677443" y="829233"/>
                      </a:lnTo>
                      <a:lnTo>
                        <a:pt x="683145" y="829233"/>
                      </a:lnTo>
                      <a:lnTo>
                        <a:pt x="681316" y="827963"/>
                      </a:lnTo>
                      <a:lnTo>
                        <a:pt x="681609" y="827963"/>
                      </a:lnTo>
                      <a:lnTo>
                        <a:pt x="682320" y="826693"/>
                      </a:lnTo>
                      <a:lnTo>
                        <a:pt x="682574" y="826693"/>
                      </a:lnTo>
                      <a:lnTo>
                        <a:pt x="682510" y="825423"/>
                      </a:lnTo>
                      <a:lnTo>
                        <a:pt x="682663" y="824153"/>
                      </a:lnTo>
                      <a:lnTo>
                        <a:pt x="683437" y="824153"/>
                      </a:lnTo>
                      <a:lnTo>
                        <a:pt x="683031" y="825423"/>
                      </a:lnTo>
                      <a:lnTo>
                        <a:pt x="685076" y="827963"/>
                      </a:lnTo>
                      <a:lnTo>
                        <a:pt x="688975" y="829233"/>
                      </a:lnTo>
                      <a:lnTo>
                        <a:pt x="693788" y="831773"/>
                      </a:lnTo>
                      <a:lnTo>
                        <a:pt x="695960" y="833043"/>
                      </a:lnTo>
                      <a:lnTo>
                        <a:pt x="699046" y="831773"/>
                      </a:lnTo>
                      <a:lnTo>
                        <a:pt x="700557" y="831773"/>
                      </a:lnTo>
                      <a:lnTo>
                        <a:pt x="699325" y="830503"/>
                      </a:lnTo>
                      <a:lnTo>
                        <a:pt x="699287" y="830287"/>
                      </a:lnTo>
                      <a:lnTo>
                        <a:pt x="700493" y="829233"/>
                      </a:lnTo>
                      <a:lnTo>
                        <a:pt x="703008" y="827963"/>
                      </a:lnTo>
                      <a:lnTo>
                        <a:pt x="704430" y="827963"/>
                      </a:lnTo>
                      <a:lnTo>
                        <a:pt x="706551" y="829233"/>
                      </a:lnTo>
                      <a:lnTo>
                        <a:pt x="707136" y="829233"/>
                      </a:lnTo>
                      <a:lnTo>
                        <a:pt x="707123" y="830503"/>
                      </a:lnTo>
                      <a:lnTo>
                        <a:pt x="707948" y="831773"/>
                      </a:lnTo>
                      <a:lnTo>
                        <a:pt x="711301" y="834313"/>
                      </a:lnTo>
                      <a:lnTo>
                        <a:pt x="712038" y="833196"/>
                      </a:lnTo>
                      <a:lnTo>
                        <a:pt x="712241" y="834313"/>
                      </a:lnTo>
                      <a:lnTo>
                        <a:pt x="713486" y="835583"/>
                      </a:lnTo>
                      <a:lnTo>
                        <a:pt x="715899" y="836853"/>
                      </a:lnTo>
                      <a:lnTo>
                        <a:pt x="718540" y="840663"/>
                      </a:lnTo>
                      <a:lnTo>
                        <a:pt x="721309" y="838123"/>
                      </a:lnTo>
                      <a:lnTo>
                        <a:pt x="722071" y="836853"/>
                      </a:lnTo>
                      <a:lnTo>
                        <a:pt x="721791" y="836853"/>
                      </a:lnTo>
                      <a:lnTo>
                        <a:pt x="723468" y="835583"/>
                      </a:lnTo>
                      <a:lnTo>
                        <a:pt x="725779" y="835583"/>
                      </a:lnTo>
                      <a:lnTo>
                        <a:pt x="727252" y="838123"/>
                      </a:lnTo>
                      <a:lnTo>
                        <a:pt x="725995" y="839393"/>
                      </a:lnTo>
                      <a:lnTo>
                        <a:pt x="730250" y="838123"/>
                      </a:lnTo>
                      <a:lnTo>
                        <a:pt x="727925" y="836853"/>
                      </a:lnTo>
                      <a:lnTo>
                        <a:pt x="730021" y="836853"/>
                      </a:lnTo>
                      <a:lnTo>
                        <a:pt x="729500" y="835583"/>
                      </a:lnTo>
                      <a:lnTo>
                        <a:pt x="729869" y="835583"/>
                      </a:lnTo>
                      <a:lnTo>
                        <a:pt x="729361" y="834313"/>
                      </a:lnTo>
                      <a:lnTo>
                        <a:pt x="729970" y="834313"/>
                      </a:lnTo>
                      <a:lnTo>
                        <a:pt x="729170" y="833043"/>
                      </a:lnTo>
                      <a:lnTo>
                        <a:pt x="728192" y="834313"/>
                      </a:lnTo>
                      <a:lnTo>
                        <a:pt x="727773" y="831773"/>
                      </a:lnTo>
                      <a:lnTo>
                        <a:pt x="728726" y="833043"/>
                      </a:lnTo>
                      <a:lnTo>
                        <a:pt x="729170" y="833043"/>
                      </a:lnTo>
                      <a:lnTo>
                        <a:pt x="733450" y="833043"/>
                      </a:lnTo>
                      <a:lnTo>
                        <a:pt x="732688" y="834313"/>
                      </a:lnTo>
                      <a:lnTo>
                        <a:pt x="734593" y="835583"/>
                      </a:lnTo>
                      <a:lnTo>
                        <a:pt x="735850" y="836853"/>
                      </a:lnTo>
                      <a:lnTo>
                        <a:pt x="738022" y="836853"/>
                      </a:lnTo>
                      <a:lnTo>
                        <a:pt x="737730" y="838123"/>
                      </a:lnTo>
                      <a:lnTo>
                        <a:pt x="738276" y="838123"/>
                      </a:lnTo>
                      <a:lnTo>
                        <a:pt x="739546" y="839393"/>
                      </a:lnTo>
                      <a:lnTo>
                        <a:pt x="740562" y="838123"/>
                      </a:lnTo>
                      <a:lnTo>
                        <a:pt x="740562" y="839393"/>
                      </a:lnTo>
                      <a:lnTo>
                        <a:pt x="739241" y="841933"/>
                      </a:lnTo>
                      <a:lnTo>
                        <a:pt x="741489" y="841933"/>
                      </a:lnTo>
                      <a:lnTo>
                        <a:pt x="742721" y="840663"/>
                      </a:lnTo>
                      <a:lnTo>
                        <a:pt x="742048" y="840663"/>
                      </a:lnTo>
                      <a:lnTo>
                        <a:pt x="743762" y="839393"/>
                      </a:lnTo>
                      <a:lnTo>
                        <a:pt x="743889" y="839393"/>
                      </a:lnTo>
                      <a:lnTo>
                        <a:pt x="745477" y="838123"/>
                      </a:lnTo>
                      <a:lnTo>
                        <a:pt x="744016" y="838936"/>
                      </a:lnTo>
                      <a:lnTo>
                        <a:pt x="744245" y="838123"/>
                      </a:lnTo>
                      <a:lnTo>
                        <a:pt x="742518" y="838123"/>
                      </a:lnTo>
                      <a:lnTo>
                        <a:pt x="743966" y="836853"/>
                      </a:lnTo>
                      <a:lnTo>
                        <a:pt x="739800" y="835583"/>
                      </a:lnTo>
                      <a:lnTo>
                        <a:pt x="736841" y="835583"/>
                      </a:lnTo>
                      <a:lnTo>
                        <a:pt x="736930" y="834313"/>
                      </a:lnTo>
                      <a:lnTo>
                        <a:pt x="737146" y="834313"/>
                      </a:lnTo>
                      <a:lnTo>
                        <a:pt x="735761" y="833043"/>
                      </a:lnTo>
                      <a:lnTo>
                        <a:pt x="734999" y="833043"/>
                      </a:lnTo>
                      <a:lnTo>
                        <a:pt x="734174" y="831773"/>
                      </a:lnTo>
                      <a:lnTo>
                        <a:pt x="737666" y="831773"/>
                      </a:lnTo>
                      <a:lnTo>
                        <a:pt x="737527" y="830503"/>
                      </a:lnTo>
                      <a:lnTo>
                        <a:pt x="735812" y="830503"/>
                      </a:lnTo>
                      <a:lnTo>
                        <a:pt x="736257" y="829233"/>
                      </a:lnTo>
                      <a:lnTo>
                        <a:pt x="739584" y="829233"/>
                      </a:lnTo>
                      <a:lnTo>
                        <a:pt x="739419" y="827963"/>
                      </a:lnTo>
                      <a:lnTo>
                        <a:pt x="738886" y="827963"/>
                      </a:lnTo>
                      <a:lnTo>
                        <a:pt x="739241" y="826693"/>
                      </a:lnTo>
                      <a:lnTo>
                        <a:pt x="739940" y="826693"/>
                      </a:lnTo>
                      <a:lnTo>
                        <a:pt x="737882" y="825423"/>
                      </a:lnTo>
                      <a:lnTo>
                        <a:pt x="737704" y="824153"/>
                      </a:lnTo>
                      <a:lnTo>
                        <a:pt x="737565" y="825423"/>
                      </a:lnTo>
                      <a:lnTo>
                        <a:pt x="736879" y="825423"/>
                      </a:lnTo>
                      <a:lnTo>
                        <a:pt x="735444" y="827595"/>
                      </a:lnTo>
                      <a:lnTo>
                        <a:pt x="734085" y="826693"/>
                      </a:lnTo>
                      <a:lnTo>
                        <a:pt x="732497" y="826693"/>
                      </a:lnTo>
                      <a:lnTo>
                        <a:pt x="732637" y="825423"/>
                      </a:lnTo>
                      <a:lnTo>
                        <a:pt x="734466" y="825423"/>
                      </a:lnTo>
                      <a:lnTo>
                        <a:pt x="734860" y="824153"/>
                      </a:lnTo>
                      <a:lnTo>
                        <a:pt x="733475" y="824153"/>
                      </a:lnTo>
                      <a:lnTo>
                        <a:pt x="724408" y="825423"/>
                      </a:lnTo>
                      <a:lnTo>
                        <a:pt x="724268" y="824153"/>
                      </a:lnTo>
                      <a:lnTo>
                        <a:pt x="723976" y="821613"/>
                      </a:lnTo>
                      <a:lnTo>
                        <a:pt x="730161" y="820343"/>
                      </a:lnTo>
                      <a:lnTo>
                        <a:pt x="732980" y="821613"/>
                      </a:lnTo>
                      <a:lnTo>
                        <a:pt x="736536" y="822883"/>
                      </a:lnTo>
                      <a:lnTo>
                        <a:pt x="738847" y="820343"/>
                      </a:lnTo>
                      <a:lnTo>
                        <a:pt x="739444" y="820343"/>
                      </a:lnTo>
                      <a:lnTo>
                        <a:pt x="743165" y="819073"/>
                      </a:lnTo>
                      <a:lnTo>
                        <a:pt x="750112" y="819073"/>
                      </a:lnTo>
                      <a:lnTo>
                        <a:pt x="753376" y="820343"/>
                      </a:lnTo>
                      <a:lnTo>
                        <a:pt x="757313" y="820343"/>
                      </a:lnTo>
                      <a:lnTo>
                        <a:pt x="757542" y="819073"/>
                      </a:lnTo>
                      <a:lnTo>
                        <a:pt x="757999" y="816533"/>
                      </a:lnTo>
                      <a:lnTo>
                        <a:pt x="758405" y="815263"/>
                      </a:lnTo>
                      <a:lnTo>
                        <a:pt x="758545" y="813993"/>
                      </a:lnTo>
                      <a:lnTo>
                        <a:pt x="758723" y="813993"/>
                      </a:lnTo>
                      <a:lnTo>
                        <a:pt x="758964" y="815263"/>
                      </a:lnTo>
                      <a:lnTo>
                        <a:pt x="759650" y="815263"/>
                      </a:lnTo>
                      <a:lnTo>
                        <a:pt x="760272" y="816533"/>
                      </a:lnTo>
                      <a:lnTo>
                        <a:pt x="759587" y="817803"/>
                      </a:lnTo>
                      <a:lnTo>
                        <a:pt x="760069" y="819073"/>
                      </a:lnTo>
                      <a:lnTo>
                        <a:pt x="761720" y="819073"/>
                      </a:lnTo>
                      <a:lnTo>
                        <a:pt x="761758" y="820343"/>
                      </a:lnTo>
                      <a:lnTo>
                        <a:pt x="763130" y="821613"/>
                      </a:lnTo>
                      <a:lnTo>
                        <a:pt x="764692" y="821613"/>
                      </a:lnTo>
                      <a:lnTo>
                        <a:pt x="765162" y="820343"/>
                      </a:lnTo>
                      <a:lnTo>
                        <a:pt x="766241" y="820343"/>
                      </a:lnTo>
                      <a:lnTo>
                        <a:pt x="766597" y="819073"/>
                      </a:lnTo>
                      <a:lnTo>
                        <a:pt x="767181" y="817803"/>
                      </a:lnTo>
                      <a:lnTo>
                        <a:pt x="766902" y="818438"/>
                      </a:lnTo>
                      <a:lnTo>
                        <a:pt x="767156" y="817918"/>
                      </a:lnTo>
                      <a:lnTo>
                        <a:pt x="767041" y="819073"/>
                      </a:lnTo>
                      <a:lnTo>
                        <a:pt x="766851" y="819073"/>
                      </a:lnTo>
                      <a:lnTo>
                        <a:pt x="767156" y="817918"/>
                      </a:lnTo>
                      <a:lnTo>
                        <a:pt x="766622" y="819073"/>
                      </a:lnTo>
                      <a:lnTo>
                        <a:pt x="766064" y="821613"/>
                      </a:lnTo>
                      <a:lnTo>
                        <a:pt x="767308" y="820343"/>
                      </a:lnTo>
                      <a:lnTo>
                        <a:pt x="769099" y="820343"/>
                      </a:lnTo>
                      <a:lnTo>
                        <a:pt x="770839" y="817803"/>
                      </a:lnTo>
                      <a:lnTo>
                        <a:pt x="770394" y="817803"/>
                      </a:lnTo>
                      <a:lnTo>
                        <a:pt x="770877" y="816533"/>
                      </a:lnTo>
                      <a:lnTo>
                        <a:pt x="771080" y="816533"/>
                      </a:lnTo>
                      <a:lnTo>
                        <a:pt x="771639" y="817803"/>
                      </a:lnTo>
                      <a:lnTo>
                        <a:pt x="771855" y="817803"/>
                      </a:lnTo>
                      <a:lnTo>
                        <a:pt x="772464" y="816533"/>
                      </a:lnTo>
                      <a:lnTo>
                        <a:pt x="773074" y="815263"/>
                      </a:lnTo>
                      <a:lnTo>
                        <a:pt x="773963" y="816533"/>
                      </a:lnTo>
                      <a:lnTo>
                        <a:pt x="774674" y="819073"/>
                      </a:lnTo>
                      <a:lnTo>
                        <a:pt x="773938" y="817803"/>
                      </a:lnTo>
                      <a:lnTo>
                        <a:pt x="771474" y="819073"/>
                      </a:lnTo>
                      <a:lnTo>
                        <a:pt x="770661" y="820343"/>
                      </a:lnTo>
                      <a:lnTo>
                        <a:pt x="775563" y="819073"/>
                      </a:lnTo>
                      <a:lnTo>
                        <a:pt x="780605" y="819073"/>
                      </a:lnTo>
                      <a:lnTo>
                        <a:pt x="782396" y="818616"/>
                      </a:lnTo>
                      <a:lnTo>
                        <a:pt x="784237" y="820343"/>
                      </a:lnTo>
                      <a:lnTo>
                        <a:pt x="785749" y="820343"/>
                      </a:lnTo>
                      <a:lnTo>
                        <a:pt x="790651" y="824153"/>
                      </a:lnTo>
                      <a:lnTo>
                        <a:pt x="792060" y="823036"/>
                      </a:lnTo>
                      <a:lnTo>
                        <a:pt x="792734" y="824153"/>
                      </a:lnTo>
                      <a:lnTo>
                        <a:pt x="793699" y="825423"/>
                      </a:lnTo>
                      <a:lnTo>
                        <a:pt x="794461" y="826693"/>
                      </a:lnTo>
                      <a:lnTo>
                        <a:pt x="796734" y="826693"/>
                      </a:lnTo>
                      <a:lnTo>
                        <a:pt x="796861" y="827963"/>
                      </a:lnTo>
                      <a:lnTo>
                        <a:pt x="798334" y="829233"/>
                      </a:lnTo>
                      <a:lnTo>
                        <a:pt x="798525" y="830503"/>
                      </a:lnTo>
                      <a:lnTo>
                        <a:pt x="799198" y="830033"/>
                      </a:lnTo>
                      <a:lnTo>
                        <a:pt x="798779" y="830503"/>
                      </a:lnTo>
                      <a:lnTo>
                        <a:pt x="801865" y="829233"/>
                      </a:lnTo>
                      <a:lnTo>
                        <a:pt x="814222" y="824153"/>
                      </a:lnTo>
                      <a:lnTo>
                        <a:pt x="815073" y="824153"/>
                      </a:lnTo>
                      <a:lnTo>
                        <a:pt x="818273" y="825423"/>
                      </a:lnTo>
                      <a:lnTo>
                        <a:pt x="820140" y="826693"/>
                      </a:lnTo>
                      <a:lnTo>
                        <a:pt x="822210" y="827963"/>
                      </a:lnTo>
                      <a:lnTo>
                        <a:pt x="822477" y="829233"/>
                      </a:lnTo>
                      <a:lnTo>
                        <a:pt x="824572" y="831773"/>
                      </a:lnTo>
                      <a:lnTo>
                        <a:pt x="824293" y="830503"/>
                      </a:lnTo>
                      <a:lnTo>
                        <a:pt x="825157" y="833043"/>
                      </a:lnTo>
                      <a:lnTo>
                        <a:pt x="824826" y="833043"/>
                      </a:lnTo>
                      <a:lnTo>
                        <a:pt x="827684" y="835583"/>
                      </a:lnTo>
                      <a:lnTo>
                        <a:pt x="830821" y="836853"/>
                      </a:lnTo>
                      <a:lnTo>
                        <a:pt x="833716" y="839393"/>
                      </a:lnTo>
                      <a:lnTo>
                        <a:pt x="836129" y="843203"/>
                      </a:lnTo>
                      <a:lnTo>
                        <a:pt x="835609" y="844473"/>
                      </a:lnTo>
                      <a:lnTo>
                        <a:pt x="835672" y="845959"/>
                      </a:lnTo>
                      <a:lnTo>
                        <a:pt x="835240" y="849553"/>
                      </a:lnTo>
                      <a:lnTo>
                        <a:pt x="834682" y="852093"/>
                      </a:lnTo>
                      <a:lnTo>
                        <a:pt x="833729" y="853363"/>
                      </a:lnTo>
                      <a:lnTo>
                        <a:pt x="833259" y="854633"/>
                      </a:lnTo>
                      <a:lnTo>
                        <a:pt x="833767" y="855903"/>
                      </a:lnTo>
                      <a:lnTo>
                        <a:pt x="833272" y="857173"/>
                      </a:lnTo>
                      <a:lnTo>
                        <a:pt x="832789" y="857173"/>
                      </a:lnTo>
                      <a:lnTo>
                        <a:pt x="832662" y="859713"/>
                      </a:lnTo>
                      <a:lnTo>
                        <a:pt x="833742" y="860983"/>
                      </a:lnTo>
                      <a:lnTo>
                        <a:pt x="834402" y="862114"/>
                      </a:lnTo>
                      <a:lnTo>
                        <a:pt x="834364" y="861085"/>
                      </a:lnTo>
                      <a:lnTo>
                        <a:pt x="835507" y="862253"/>
                      </a:lnTo>
                      <a:lnTo>
                        <a:pt x="835507" y="860983"/>
                      </a:lnTo>
                      <a:lnTo>
                        <a:pt x="836599" y="858443"/>
                      </a:lnTo>
                      <a:lnTo>
                        <a:pt x="835736" y="858443"/>
                      </a:lnTo>
                      <a:lnTo>
                        <a:pt x="834517" y="857173"/>
                      </a:lnTo>
                      <a:lnTo>
                        <a:pt x="836790" y="858443"/>
                      </a:lnTo>
                      <a:lnTo>
                        <a:pt x="837438" y="860983"/>
                      </a:lnTo>
                      <a:lnTo>
                        <a:pt x="838771" y="858443"/>
                      </a:lnTo>
                      <a:lnTo>
                        <a:pt x="840054" y="860983"/>
                      </a:lnTo>
                      <a:lnTo>
                        <a:pt x="836155" y="862253"/>
                      </a:lnTo>
                      <a:lnTo>
                        <a:pt x="836333" y="864793"/>
                      </a:lnTo>
                      <a:lnTo>
                        <a:pt x="835647" y="864793"/>
                      </a:lnTo>
                      <a:lnTo>
                        <a:pt x="836561" y="866063"/>
                      </a:lnTo>
                      <a:lnTo>
                        <a:pt x="837907" y="869873"/>
                      </a:lnTo>
                      <a:lnTo>
                        <a:pt x="840130" y="873683"/>
                      </a:lnTo>
                      <a:lnTo>
                        <a:pt x="842568" y="874953"/>
                      </a:lnTo>
                      <a:lnTo>
                        <a:pt x="842225" y="873683"/>
                      </a:lnTo>
                      <a:lnTo>
                        <a:pt x="842645" y="873683"/>
                      </a:lnTo>
                      <a:lnTo>
                        <a:pt x="843559" y="872413"/>
                      </a:lnTo>
                      <a:lnTo>
                        <a:pt x="845146" y="872413"/>
                      </a:lnTo>
                      <a:lnTo>
                        <a:pt x="844334" y="873645"/>
                      </a:lnTo>
                      <a:lnTo>
                        <a:pt x="844143" y="873683"/>
                      </a:lnTo>
                      <a:lnTo>
                        <a:pt x="843711" y="876223"/>
                      </a:lnTo>
                      <a:lnTo>
                        <a:pt x="843876" y="877493"/>
                      </a:lnTo>
                      <a:lnTo>
                        <a:pt x="844346" y="880033"/>
                      </a:lnTo>
                      <a:lnTo>
                        <a:pt x="845515" y="880033"/>
                      </a:lnTo>
                      <a:lnTo>
                        <a:pt x="845985" y="880033"/>
                      </a:lnTo>
                      <a:lnTo>
                        <a:pt x="847915" y="880033"/>
                      </a:lnTo>
                      <a:lnTo>
                        <a:pt x="848182" y="887653"/>
                      </a:lnTo>
                      <a:lnTo>
                        <a:pt x="848753" y="888923"/>
                      </a:lnTo>
                      <a:lnTo>
                        <a:pt x="851649" y="888923"/>
                      </a:lnTo>
                      <a:lnTo>
                        <a:pt x="854163" y="892733"/>
                      </a:lnTo>
                      <a:lnTo>
                        <a:pt x="856424" y="895273"/>
                      </a:lnTo>
                      <a:lnTo>
                        <a:pt x="861250" y="899083"/>
                      </a:lnTo>
                      <a:lnTo>
                        <a:pt x="858202" y="899083"/>
                      </a:lnTo>
                      <a:lnTo>
                        <a:pt x="857885" y="897813"/>
                      </a:lnTo>
                      <a:lnTo>
                        <a:pt x="857631" y="899083"/>
                      </a:lnTo>
                      <a:lnTo>
                        <a:pt x="857719" y="900353"/>
                      </a:lnTo>
                      <a:lnTo>
                        <a:pt x="863600" y="900353"/>
                      </a:lnTo>
                      <a:lnTo>
                        <a:pt x="865390" y="899083"/>
                      </a:lnTo>
                      <a:lnTo>
                        <a:pt x="866660" y="900150"/>
                      </a:lnTo>
                      <a:lnTo>
                        <a:pt x="866495" y="899083"/>
                      </a:lnTo>
                      <a:lnTo>
                        <a:pt x="867156" y="899083"/>
                      </a:lnTo>
                      <a:lnTo>
                        <a:pt x="867689" y="900353"/>
                      </a:lnTo>
                      <a:lnTo>
                        <a:pt x="867283" y="899083"/>
                      </a:lnTo>
                      <a:lnTo>
                        <a:pt x="868553" y="896543"/>
                      </a:lnTo>
                      <a:lnTo>
                        <a:pt x="869619" y="895273"/>
                      </a:lnTo>
                      <a:lnTo>
                        <a:pt x="872515" y="888923"/>
                      </a:lnTo>
                      <a:lnTo>
                        <a:pt x="872401" y="885113"/>
                      </a:lnTo>
                      <a:lnTo>
                        <a:pt x="872528" y="879106"/>
                      </a:lnTo>
                      <a:lnTo>
                        <a:pt x="872693" y="876223"/>
                      </a:lnTo>
                      <a:lnTo>
                        <a:pt x="872769" y="874953"/>
                      </a:lnTo>
                      <a:lnTo>
                        <a:pt x="872731" y="872413"/>
                      </a:lnTo>
                      <a:lnTo>
                        <a:pt x="872490" y="869873"/>
                      </a:lnTo>
                      <a:lnTo>
                        <a:pt x="869010" y="868603"/>
                      </a:lnTo>
                      <a:lnTo>
                        <a:pt x="870673" y="868603"/>
                      </a:lnTo>
                      <a:lnTo>
                        <a:pt x="869022" y="867333"/>
                      </a:lnTo>
                      <a:lnTo>
                        <a:pt x="868781" y="863523"/>
                      </a:lnTo>
                      <a:lnTo>
                        <a:pt x="866673" y="858443"/>
                      </a:lnTo>
                      <a:lnTo>
                        <a:pt x="865327" y="857173"/>
                      </a:lnTo>
                      <a:lnTo>
                        <a:pt x="862711" y="849553"/>
                      </a:lnTo>
                      <a:lnTo>
                        <a:pt x="862609" y="849274"/>
                      </a:lnTo>
                      <a:lnTo>
                        <a:pt x="864006" y="847013"/>
                      </a:lnTo>
                      <a:lnTo>
                        <a:pt x="864273" y="849274"/>
                      </a:lnTo>
                      <a:lnTo>
                        <a:pt x="864349" y="850823"/>
                      </a:lnTo>
                      <a:lnTo>
                        <a:pt x="864577" y="853363"/>
                      </a:lnTo>
                      <a:lnTo>
                        <a:pt x="866406" y="848283"/>
                      </a:lnTo>
                      <a:lnTo>
                        <a:pt x="864844" y="847013"/>
                      </a:lnTo>
                      <a:lnTo>
                        <a:pt x="863130" y="844473"/>
                      </a:lnTo>
                      <a:lnTo>
                        <a:pt x="862355" y="843343"/>
                      </a:lnTo>
                      <a:lnTo>
                        <a:pt x="862355" y="848525"/>
                      </a:lnTo>
                      <a:lnTo>
                        <a:pt x="862266" y="848283"/>
                      </a:lnTo>
                      <a:lnTo>
                        <a:pt x="861352" y="844473"/>
                      </a:lnTo>
                      <a:lnTo>
                        <a:pt x="862025" y="844473"/>
                      </a:lnTo>
                      <a:lnTo>
                        <a:pt x="862355" y="848525"/>
                      </a:lnTo>
                      <a:lnTo>
                        <a:pt x="862355" y="843343"/>
                      </a:lnTo>
                      <a:lnTo>
                        <a:pt x="861402" y="841933"/>
                      </a:lnTo>
                      <a:lnTo>
                        <a:pt x="859993" y="839279"/>
                      </a:lnTo>
                      <a:lnTo>
                        <a:pt x="858278" y="835583"/>
                      </a:lnTo>
                      <a:lnTo>
                        <a:pt x="857516" y="834313"/>
                      </a:lnTo>
                      <a:lnTo>
                        <a:pt x="855853" y="830503"/>
                      </a:lnTo>
                      <a:lnTo>
                        <a:pt x="855205" y="826693"/>
                      </a:lnTo>
                      <a:lnTo>
                        <a:pt x="854405" y="824153"/>
                      </a:lnTo>
                      <a:lnTo>
                        <a:pt x="853605" y="821613"/>
                      </a:lnTo>
                      <a:lnTo>
                        <a:pt x="852093" y="819073"/>
                      </a:lnTo>
                      <a:lnTo>
                        <a:pt x="852017" y="817803"/>
                      </a:lnTo>
                      <a:lnTo>
                        <a:pt x="851801" y="813993"/>
                      </a:lnTo>
                      <a:lnTo>
                        <a:pt x="851141" y="810183"/>
                      </a:lnTo>
                      <a:lnTo>
                        <a:pt x="852512" y="806373"/>
                      </a:lnTo>
                      <a:lnTo>
                        <a:pt x="852843" y="806373"/>
                      </a:lnTo>
                      <a:lnTo>
                        <a:pt x="853313" y="807643"/>
                      </a:lnTo>
                      <a:lnTo>
                        <a:pt x="855167" y="806373"/>
                      </a:lnTo>
                      <a:lnTo>
                        <a:pt x="857021" y="805103"/>
                      </a:lnTo>
                      <a:lnTo>
                        <a:pt x="853909" y="805103"/>
                      </a:lnTo>
                      <a:lnTo>
                        <a:pt x="853503" y="804799"/>
                      </a:lnTo>
                      <a:lnTo>
                        <a:pt x="853986" y="803833"/>
                      </a:lnTo>
                      <a:lnTo>
                        <a:pt x="855065" y="802563"/>
                      </a:lnTo>
                      <a:lnTo>
                        <a:pt x="855954" y="802563"/>
                      </a:lnTo>
                      <a:lnTo>
                        <a:pt x="856500" y="801293"/>
                      </a:lnTo>
                      <a:lnTo>
                        <a:pt x="855433" y="801293"/>
                      </a:lnTo>
                      <a:lnTo>
                        <a:pt x="854964" y="802563"/>
                      </a:lnTo>
                      <a:lnTo>
                        <a:pt x="855218" y="800023"/>
                      </a:lnTo>
                      <a:lnTo>
                        <a:pt x="856005" y="798753"/>
                      </a:lnTo>
                      <a:lnTo>
                        <a:pt x="855192" y="797483"/>
                      </a:lnTo>
                      <a:lnTo>
                        <a:pt x="855713" y="797483"/>
                      </a:lnTo>
                      <a:lnTo>
                        <a:pt x="856742" y="798753"/>
                      </a:lnTo>
                      <a:lnTo>
                        <a:pt x="858075" y="797483"/>
                      </a:lnTo>
                      <a:lnTo>
                        <a:pt x="859243" y="796213"/>
                      </a:lnTo>
                      <a:lnTo>
                        <a:pt x="860526" y="793673"/>
                      </a:lnTo>
                      <a:lnTo>
                        <a:pt x="863790" y="791133"/>
                      </a:lnTo>
                      <a:lnTo>
                        <a:pt x="863625" y="789863"/>
                      </a:lnTo>
                      <a:lnTo>
                        <a:pt x="862749" y="789863"/>
                      </a:lnTo>
                      <a:lnTo>
                        <a:pt x="862037" y="788593"/>
                      </a:lnTo>
                      <a:lnTo>
                        <a:pt x="861758" y="787908"/>
                      </a:lnTo>
                      <a:lnTo>
                        <a:pt x="863701" y="786053"/>
                      </a:lnTo>
                      <a:lnTo>
                        <a:pt x="865022" y="784783"/>
                      </a:lnTo>
                      <a:lnTo>
                        <a:pt x="863904" y="788593"/>
                      </a:lnTo>
                      <a:lnTo>
                        <a:pt x="866762" y="788593"/>
                      </a:lnTo>
                      <a:lnTo>
                        <a:pt x="867244" y="788593"/>
                      </a:lnTo>
                      <a:lnTo>
                        <a:pt x="867257" y="787323"/>
                      </a:lnTo>
                      <a:lnTo>
                        <a:pt x="867029" y="787323"/>
                      </a:lnTo>
                      <a:lnTo>
                        <a:pt x="867295" y="786053"/>
                      </a:lnTo>
                      <a:lnTo>
                        <a:pt x="867765" y="786053"/>
                      </a:lnTo>
                      <a:lnTo>
                        <a:pt x="868870" y="784783"/>
                      </a:lnTo>
                      <a:lnTo>
                        <a:pt x="870102" y="783513"/>
                      </a:lnTo>
                      <a:lnTo>
                        <a:pt x="873417" y="783513"/>
                      </a:lnTo>
                      <a:lnTo>
                        <a:pt x="873480" y="782243"/>
                      </a:lnTo>
                      <a:lnTo>
                        <a:pt x="873493" y="783221"/>
                      </a:lnTo>
                      <a:lnTo>
                        <a:pt x="873734" y="782243"/>
                      </a:lnTo>
                      <a:lnTo>
                        <a:pt x="874191" y="782243"/>
                      </a:lnTo>
                      <a:lnTo>
                        <a:pt x="874217" y="780973"/>
                      </a:lnTo>
                      <a:lnTo>
                        <a:pt x="875436" y="782066"/>
                      </a:lnTo>
                      <a:lnTo>
                        <a:pt x="878268" y="780973"/>
                      </a:lnTo>
                      <a:lnTo>
                        <a:pt x="879805" y="778433"/>
                      </a:lnTo>
                      <a:lnTo>
                        <a:pt x="882294" y="777163"/>
                      </a:lnTo>
                      <a:lnTo>
                        <a:pt x="885799" y="775893"/>
                      </a:lnTo>
                      <a:lnTo>
                        <a:pt x="883856" y="773353"/>
                      </a:lnTo>
                      <a:lnTo>
                        <a:pt x="883056" y="773353"/>
                      </a:lnTo>
                      <a:lnTo>
                        <a:pt x="883818" y="772083"/>
                      </a:lnTo>
                      <a:lnTo>
                        <a:pt x="884618" y="773353"/>
                      </a:lnTo>
                      <a:lnTo>
                        <a:pt x="884923" y="773353"/>
                      </a:lnTo>
                      <a:lnTo>
                        <a:pt x="885063" y="774623"/>
                      </a:lnTo>
                      <a:lnTo>
                        <a:pt x="885786" y="772083"/>
                      </a:lnTo>
                      <a:lnTo>
                        <a:pt x="886244" y="770813"/>
                      </a:lnTo>
                      <a:lnTo>
                        <a:pt x="889990" y="767003"/>
                      </a:lnTo>
                      <a:lnTo>
                        <a:pt x="891819" y="765733"/>
                      </a:lnTo>
                      <a:lnTo>
                        <a:pt x="894854" y="763193"/>
                      </a:lnTo>
                      <a:lnTo>
                        <a:pt x="898715" y="764463"/>
                      </a:lnTo>
                      <a:lnTo>
                        <a:pt x="903249" y="763193"/>
                      </a:lnTo>
                      <a:lnTo>
                        <a:pt x="903198" y="763041"/>
                      </a:lnTo>
                      <a:lnTo>
                        <a:pt x="903160" y="763193"/>
                      </a:lnTo>
                      <a:lnTo>
                        <a:pt x="903147" y="762914"/>
                      </a:lnTo>
                      <a:lnTo>
                        <a:pt x="902766" y="761923"/>
                      </a:lnTo>
                      <a:lnTo>
                        <a:pt x="902741" y="760653"/>
                      </a:lnTo>
                      <a:lnTo>
                        <a:pt x="902703" y="759383"/>
                      </a:lnTo>
                      <a:lnTo>
                        <a:pt x="903249" y="760653"/>
                      </a:lnTo>
                      <a:lnTo>
                        <a:pt x="903198" y="763041"/>
                      </a:lnTo>
                      <a:lnTo>
                        <a:pt x="903414" y="761923"/>
                      </a:lnTo>
                      <a:lnTo>
                        <a:pt x="904303" y="759383"/>
                      </a:lnTo>
                      <a:lnTo>
                        <a:pt x="904697" y="758113"/>
                      </a:lnTo>
                      <a:lnTo>
                        <a:pt x="907884" y="756843"/>
                      </a:lnTo>
                      <a:lnTo>
                        <a:pt x="910082" y="754303"/>
                      </a:lnTo>
                      <a:lnTo>
                        <a:pt x="910818" y="753033"/>
                      </a:lnTo>
                      <a:lnTo>
                        <a:pt x="910361" y="753033"/>
                      </a:lnTo>
                      <a:lnTo>
                        <a:pt x="911453" y="751763"/>
                      </a:lnTo>
                      <a:lnTo>
                        <a:pt x="910678" y="750493"/>
                      </a:lnTo>
                      <a:lnTo>
                        <a:pt x="918946" y="750493"/>
                      </a:lnTo>
                      <a:lnTo>
                        <a:pt x="921905" y="749223"/>
                      </a:lnTo>
                      <a:lnTo>
                        <a:pt x="925334" y="747953"/>
                      </a:lnTo>
                      <a:lnTo>
                        <a:pt x="927442" y="745413"/>
                      </a:lnTo>
                      <a:lnTo>
                        <a:pt x="924775" y="746683"/>
                      </a:lnTo>
                      <a:lnTo>
                        <a:pt x="924229" y="746683"/>
                      </a:lnTo>
                      <a:lnTo>
                        <a:pt x="925499" y="745413"/>
                      </a:lnTo>
                      <a:lnTo>
                        <a:pt x="923124" y="746683"/>
                      </a:lnTo>
                      <a:lnTo>
                        <a:pt x="920381" y="746683"/>
                      </a:lnTo>
                      <a:lnTo>
                        <a:pt x="917943" y="747953"/>
                      </a:lnTo>
                      <a:lnTo>
                        <a:pt x="917092" y="746683"/>
                      </a:lnTo>
                      <a:lnTo>
                        <a:pt x="916228" y="745413"/>
                      </a:lnTo>
                      <a:lnTo>
                        <a:pt x="915543" y="744143"/>
                      </a:lnTo>
                      <a:lnTo>
                        <a:pt x="915441" y="742873"/>
                      </a:lnTo>
                      <a:lnTo>
                        <a:pt x="915568" y="744143"/>
                      </a:lnTo>
                      <a:lnTo>
                        <a:pt x="916673" y="745413"/>
                      </a:lnTo>
                      <a:lnTo>
                        <a:pt x="917498" y="745413"/>
                      </a:lnTo>
                      <a:lnTo>
                        <a:pt x="921042" y="744143"/>
                      </a:lnTo>
                      <a:lnTo>
                        <a:pt x="925372" y="742873"/>
                      </a:lnTo>
                      <a:lnTo>
                        <a:pt x="922248" y="740333"/>
                      </a:lnTo>
                      <a:lnTo>
                        <a:pt x="920673" y="739063"/>
                      </a:lnTo>
                      <a:lnTo>
                        <a:pt x="917448" y="740333"/>
                      </a:lnTo>
                      <a:lnTo>
                        <a:pt x="915733" y="737793"/>
                      </a:lnTo>
                      <a:lnTo>
                        <a:pt x="917752" y="739063"/>
                      </a:lnTo>
                      <a:lnTo>
                        <a:pt x="920673" y="739063"/>
                      </a:lnTo>
                      <a:lnTo>
                        <a:pt x="922185" y="739063"/>
                      </a:lnTo>
                      <a:lnTo>
                        <a:pt x="921994" y="737793"/>
                      </a:lnTo>
                      <a:lnTo>
                        <a:pt x="923023" y="736523"/>
                      </a:lnTo>
                      <a:lnTo>
                        <a:pt x="922566" y="737793"/>
                      </a:lnTo>
                      <a:lnTo>
                        <a:pt x="922426" y="737793"/>
                      </a:lnTo>
                      <a:lnTo>
                        <a:pt x="922820" y="739063"/>
                      </a:lnTo>
                      <a:lnTo>
                        <a:pt x="924166" y="739063"/>
                      </a:lnTo>
                      <a:lnTo>
                        <a:pt x="925207" y="737793"/>
                      </a:lnTo>
                      <a:lnTo>
                        <a:pt x="925118" y="739063"/>
                      </a:lnTo>
                      <a:lnTo>
                        <a:pt x="928217" y="739063"/>
                      </a:lnTo>
                      <a:lnTo>
                        <a:pt x="935875" y="736523"/>
                      </a:lnTo>
                      <a:lnTo>
                        <a:pt x="935469" y="735253"/>
                      </a:lnTo>
                      <a:lnTo>
                        <a:pt x="934262" y="731443"/>
                      </a:lnTo>
                      <a:lnTo>
                        <a:pt x="933411" y="730173"/>
                      </a:lnTo>
                      <a:lnTo>
                        <a:pt x="930351" y="731443"/>
                      </a:lnTo>
                      <a:lnTo>
                        <a:pt x="930554" y="733983"/>
                      </a:lnTo>
                      <a:lnTo>
                        <a:pt x="930173" y="735253"/>
                      </a:lnTo>
                      <a:lnTo>
                        <a:pt x="929817" y="733983"/>
                      </a:lnTo>
                      <a:lnTo>
                        <a:pt x="929436" y="731443"/>
                      </a:lnTo>
                      <a:lnTo>
                        <a:pt x="930084" y="731443"/>
                      </a:lnTo>
                      <a:lnTo>
                        <a:pt x="930376" y="730173"/>
                      </a:lnTo>
                      <a:lnTo>
                        <a:pt x="930122" y="731354"/>
                      </a:lnTo>
                      <a:lnTo>
                        <a:pt x="930351" y="731443"/>
                      </a:lnTo>
                      <a:lnTo>
                        <a:pt x="930363" y="730656"/>
                      </a:lnTo>
                      <a:lnTo>
                        <a:pt x="930541" y="730173"/>
                      </a:lnTo>
                      <a:lnTo>
                        <a:pt x="928916" y="728903"/>
                      </a:lnTo>
                      <a:lnTo>
                        <a:pt x="927404" y="730173"/>
                      </a:lnTo>
                      <a:lnTo>
                        <a:pt x="927227" y="730173"/>
                      </a:lnTo>
                      <a:lnTo>
                        <a:pt x="926211" y="731443"/>
                      </a:lnTo>
                      <a:lnTo>
                        <a:pt x="925639" y="730173"/>
                      </a:lnTo>
                      <a:lnTo>
                        <a:pt x="925233" y="730173"/>
                      </a:lnTo>
                      <a:lnTo>
                        <a:pt x="921562" y="731443"/>
                      </a:lnTo>
                      <a:lnTo>
                        <a:pt x="920343" y="730173"/>
                      </a:lnTo>
                      <a:lnTo>
                        <a:pt x="920369" y="729056"/>
                      </a:lnTo>
                      <a:lnTo>
                        <a:pt x="920369" y="730135"/>
                      </a:lnTo>
                      <a:lnTo>
                        <a:pt x="922921" y="730173"/>
                      </a:lnTo>
                      <a:lnTo>
                        <a:pt x="924547" y="728903"/>
                      </a:lnTo>
                      <a:lnTo>
                        <a:pt x="926172" y="727633"/>
                      </a:lnTo>
                      <a:lnTo>
                        <a:pt x="927303" y="727633"/>
                      </a:lnTo>
                      <a:lnTo>
                        <a:pt x="927150" y="727113"/>
                      </a:lnTo>
                      <a:lnTo>
                        <a:pt x="927468" y="727633"/>
                      </a:lnTo>
                      <a:lnTo>
                        <a:pt x="928636" y="727633"/>
                      </a:lnTo>
                      <a:lnTo>
                        <a:pt x="929817" y="726363"/>
                      </a:lnTo>
                      <a:lnTo>
                        <a:pt x="929132" y="726363"/>
                      </a:lnTo>
                      <a:lnTo>
                        <a:pt x="928141" y="725093"/>
                      </a:lnTo>
                      <a:lnTo>
                        <a:pt x="928751" y="725093"/>
                      </a:lnTo>
                      <a:lnTo>
                        <a:pt x="930554" y="726363"/>
                      </a:lnTo>
                      <a:lnTo>
                        <a:pt x="931151" y="726363"/>
                      </a:lnTo>
                      <a:lnTo>
                        <a:pt x="931164" y="725093"/>
                      </a:lnTo>
                      <a:lnTo>
                        <a:pt x="931938" y="725093"/>
                      </a:lnTo>
                      <a:lnTo>
                        <a:pt x="932319" y="727633"/>
                      </a:lnTo>
                      <a:lnTo>
                        <a:pt x="933767" y="728903"/>
                      </a:lnTo>
                      <a:lnTo>
                        <a:pt x="932688" y="725093"/>
                      </a:lnTo>
                      <a:lnTo>
                        <a:pt x="931024" y="723823"/>
                      </a:lnTo>
                      <a:lnTo>
                        <a:pt x="930262" y="720013"/>
                      </a:lnTo>
                      <a:lnTo>
                        <a:pt x="931722" y="721283"/>
                      </a:lnTo>
                      <a:lnTo>
                        <a:pt x="931252" y="718743"/>
                      </a:lnTo>
                      <a:lnTo>
                        <a:pt x="931545" y="717473"/>
                      </a:lnTo>
                      <a:lnTo>
                        <a:pt x="932319" y="718743"/>
                      </a:lnTo>
                      <a:lnTo>
                        <a:pt x="932535" y="721283"/>
                      </a:lnTo>
                      <a:lnTo>
                        <a:pt x="933170" y="722553"/>
                      </a:lnTo>
                      <a:lnTo>
                        <a:pt x="932459" y="717473"/>
                      </a:lnTo>
                      <a:lnTo>
                        <a:pt x="932091" y="714933"/>
                      </a:lnTo>
                      <a:lnTo>
                        <a:pt x="928725" y="714933"/>
                      </a:lnTo>
                      <a:lnTo>
                        <a:pt x="926617" y="713663"/>
                      </a:lnTo>
                      <a:lnTo>
                        <a:pt x="926884" y="714933"/>
                      </a:lnTo>
                      <a:lnTo>
                        <a:pt x="925296" y="714933"/>
                      </a:lnTo>
                      <a:lnTo>
                        <a:pt x="925296" y="727633"/>
                      </a:lnTo>
                      <a:lnTo>
                        <a:pt x="924610" y="727633"/>
                      </a:lnTo>
                      <a:lnTo>
                        <a:pt x="924191" y="726363"/>
                      </a:lnTo>
                      <a:lnTo>
                        <a:pt x="925296" y="727633"/>
                      </a:lnTo>
                      <a:lnTo>
                        <a:pt x="925296" y="714933"/>
                      </a:lnTo>
                      <a:lnTo>
                        <a:pt x="924737" y="714933"/>
                      </a:lnTo>
                      <a:lnTo>
                        <a:pt x="921804" y="711123"/>
                      </a:lnTo>
                      <a:lnTo>
                        <a:pt x="922591" y="711123"/>
                      </a:lnTo>
                      <a:lnTo>
                        <a:pt x="924039" y="713663"/>
                      </a:lnTo>
                      <a:lnTo>
                        <a:pt x="925868" y="713663"/>
                      </a:lnTo>
                      <a:lnTo>
                        <a:pt x="925842" y="711123"/>
                      </a:lnTo>
                      <a:lnTo>
                        <a:pt x="925550" y="709853"/>
                      </a:lnTo>
                      <a:lnTo>
                        <a:pt x="924369" y="708583"/>
                      </a:lnTo>
                      <a:lnTo>
                        <a:pt x="926630" y="708583"/>
                      </a:lnTo>
                      <a:lnTo>
                        <a:pt x="927709" y="706043"/>
                      </a:lnTo>
                      <a:lnTo>
                        <a:pt x="928243" y="704773"/>
                      </a:lnTo>
                      <a:lnTo>
                        <a:pt x="925423" y="703503"/>
                      </a:lnTo>
                      <a:lnTo>
                        <a:pt x="923658" y="702233"/>
                      </a:lnTo>
                      <a:lnTo>
                        <a:pt x="924140" y="700963"/>
                      </a:lnTo>
                      <a:lnTo>
                        <a:pt x="923988" y="702233"/>
                      </a:lnTo>
                      <a:lnTo>
                        <a:pt x="925728" y="702233"/>
                      </a:lnTo>
                      <a:lnTo>
                        <a:pt x="926617" y="700963"/>
                      </a:lnTo>
                      <a:lnTo>
                        <a:pt x="927341" y="698423"/>
                      </a:lnTo>
                      <a:lnTo>
                        <a:pt x="925207" y="695883"/>
                      </a:lnTo>
                      <a:lnTo>
                        <a:pt x="921905" y="694613"/>
                      </a:lnTo>
                      <a:lnTo>
                        <a:pt x="921080" y="694613"/>
                      </a:lnTo>
                      <a:lnTo>
                        <a:pt x="921080" y="725093"/>
                      </a:lnTo>
                      <a:lnTo>
                        <a:pt x="920407" y="725093"/>
                      </a:lnTo>
                      <a:lnTo>
                        <a:pt x="920369" y="728903"/>
                      </a:lnTo>
                      <a:lnTo>
                        <a:pt x="920165" y="728903"/>
                      </a:lnTo>
                      <a:lnTo>
                        <a:pt x="919886" y="727633"/>
                      </a:lnTo>
                      <a:lnTo>
                        <a:pt x="920610" y="723823"/>
                      </a:lnTo>
                      <a:lnTo>
                        <a:pt x="921080" y="725093"/>
                      </a:lnTo>
                      <a:lnTo>
                        <a:pt x="921080" y="694613"/>
                      </a:lnTo>
                      <a:lnTo>
                        <a:pt x="919467" y="694613"/>
                      </a:lnTo>
                      <a:lnTo>
                        <a:pt x="917879" y="693343"/>
                      </a:lnTo>
                      <a:lnTo>
                        <a:pt x="916419" y="692073"/>
                      </a:lnTo>
                      <a:lnTo>
                        <a:pt x="915822" y="692073"/>
                      </a:lnTo>
                      <a:lnTo>
                        <a:pt x="915289" y="690803"/>
                      </a:lnTo>
                      <a:lnTo>
                        <a:pt x="914742" y="689533"/>
                      </a:lnTo>
                      <a:lnTo>
                        <a:pt x="914819" y="690803"/>
                      </a:lnTo>
                      <a:lnTo>
                        <a:pt x="914158" y="690803"/>
                      </a:lnTo>
                      <a:lnTo>
                        <a:pt x="911606" y="690803"/>
                      </a:lnTo>
                      <a:lnTo>
                        <a:pt x="913041" y="688263"/>
                      </a:lnTo>
                      <a:lnTo>
                        <a:pt x="914019" y="687438"/>
                      </a:lnTo>
                      <a:lnTo>
                        <a:pt x="913244" y="689533"/>
                      </a:lnTo>
                      <a:lnTo>
                        <a:pt x="912482" y="689533"/>
                      </a:lnTo>
                      <a:lnTo>
                        <a:pt x="914158" y="690803"/>
                      </a:lnTo>
                      <a:lnTo>
                        <a:pt x="914717" y="689533"/>
                      </a:lnTo>
                      <a:lnTo>
                        <a:pt x="916292" y="689533"/>
                      </a:lnTo>
                      <a:lnTo>
                        <a:pt x="916711" y="690803"/>
                      </a:lnTo>
                      <a:lnTo>
                        <a:pt x="918057" y="692073"/>
                      </a:lnTo>
                      <a:lnTo>
                        <a:pt x="918629" y="690803"/>
                      </a:lnTo>
                      <a:lnTo>
                        <a:pt x="923163" y="693343"/>
                      </a:lnTo>
                      <a:lnTo>
                        <a:pt x="924648" y="694613"/>
                      </a:lnTo>
                      <a:lnTo>
                        <a:pt x="926236" y="695883"/>
                      </a:lnTo>
                      <a:lnTo>
                        <a:pt x="925931" y="694613"/>
                      </a:lnTo>
                      <a:lnTo>
                        <a:pt x="925283" y="693343"/>
                      </a:lnTo>
                      <a:lnTo>
                        <a:pt x="925347" y="692073"/>
                      </a:lnTo>
                      <a:lnTo>
                        <a:pt x="925068" y="690803"/>
                      </a:lnTo>
                      <a:lnTo>
                        <a:pt x="924394" y="692073"/>
                      </a:lnTo>
                      <a:lnTo>
                        <a:pt x="923099" y="690803"/>
                      </a:lnTo>
                      <a:lnTo>
                        <a:pt x="921791" y="689533"/>
                      </a:lnTo>
                      <a:lnTo>
                        <a:pt x="921131" y="688263"/>
                      </a:lnTo>
                      <a:lnTo>
                        <a:pt x="920991" y="685723"/>
                      </a:lnTo>
                      <a:lnTo>
                        <a:pt x="921346" y="688263"/>
                      </a:lnTo>
                      <a:lnTo>
                        <a:pt x="921931" y="689533"/>
                      </a:lnTo>
                      <a:lnTo>
                        <a:pt x="925296" y="690803"/>
                      </a:lnTo>
                      <a:lnTo>
                        <a:pt x="924750" y="689533"/>
                      </a:lnTo>
                      <a:lnTo>
                        <a:pt x="923632" y="688263"/>
                      </a:lnTo>
                      <a:lnTo>
                        <a:pt x="923239" y="685723"/>
                      </a:lnTo>
                      <a:lnTo>
                        <a:pt x="923277" y="684453"/>
                      </a:lnTo>
                      <a:lnTo>
                        <a:pt x="923975" y="681913"/>
                      </a:lnTo>
                      <a:lnTo>
                        <a:pt x="924064" y="681609"/>
                      </a:lnTo>
                      <a:lnTo>
                        <a:pt x="922616" y="679373"/>
                      </a:lnTo>
                      <a:lnTo>
                        <a:pt x="923099" y="679373"/>
                      </a:lnTo>
                      <a:lnTo>
                        <a:pt x="923632" y="680643"/>
                      </a:lnTo>
                      <a:lnTo>
                        <a:pt x="924318" y="680643"/>
                      </a:lnTo>
                      <a:lnTo>
                        <a:pt x="923963" y="679373"/>
                      </a:lnTo>
                      <a:lnTo>
                        <a:pt x="923544" y="678103"/>
                      </a:lnTo>
                      <a:lnTo>
                        <a:pt x="922591" y="676833"/>
                      </a:lnTo>
                      <a:lnTo>
                        <a:pt x="921931" y="675563"/>
                      </a:lnTo>
                      <a:lnTo>
                        <a:pt x="923594" y="675563"/>
                      </a:lnTo>
                      <a:lnTo>
                        <a:pt x="924090" y="674293"/>
                      </a:lnTo>
                      <a:lnTo>
                        <a:pt x="926185" y="673023"/>
                      </a:lnTo>
                      <a:lnTo>
                        <a:pt x="926147" y="674293"/>
                      </a:lnTo>
                      <a:lnTo>
                        <a:pt x="926820" y="673023"/>
                      </a:lnTo>
                      <a:lnTo>
                        <a:pt x="927493" y="671753"/>
                      </a:lnTo>
                      <a:lnTo>
                        <a:pt x="927493" y="673023"/>
                      </a:lnTo>
                      <a:lnTo>
                        <a:pt x="928928" y="671753"/>
                      </a:lnTo>
                      <a:lnTo>
                        <a:pt x="930198" y="670483"/>
                      </a:lnTo>
                      <a:lnTo>
                        <a:pt x="931583" y="670483"/>
                      </a:lnTo>
                      <a:lnTo>
                        <a:pt x="932522" y="671753"/>
                      </a:lnTo>
                      <a:lnTo>
                        <a:pt x="932116" y="671753"/>
                      </a:lnTo>
                      <a:lnTo>
                        <a:pt x="930605" y="673023"/>
                      </a:lnTo>
                      <a:lnTo>
                        <a:pt x="930490" y="673887"/>
                      </a:lnTo>
                      <a:lnTo>
                        <a:pt x="929284" y="673023"/>
                      </a:lnTo>
                      <a:lnTo>
                        <a:pt x="927684" y="675563"/>
                      </a:lnTo>
                      <a:lnTo>
                        <a:pt x="927366" y="676833"/>
                      </a:lnTo>
                      <a:lnTo>
                        <a:pt x="926947" y="676833"/>
                      </a:lnTo>
                      <a:lnTo>
                        <a:pt x="927874" y="678103"/>
                      </a:lnTo>
                      <a:lnTo>
                        <a:pt x="929055" y="678103"/>
                      </a:lnTo>
                      <a:lnTo>
                        <a:pt x="928814" y="679373"/>
                      </a:lnTo>
                      <a:lnTo>
                        <a:pt x="928484" y="679373"/>
                      </a:lnTo>
                      <a:lnTo>
                        <a:pt x="928192" y="680643"/>
                      </a:lnTo>
                      <a:lnTo>
                        <a:pt x="926376" y="679373"/>
                      </a:lnTo>
                      <a:lnTo>
                        <a:pt x="925906" y="680643"/>
                      </a:lnTo>
                      <a:lnTo>
                        <a:pt x="925715" y="681913"/>
                      </a:lnTo>
                      <a:lnTo>
                        <a:pt x="926465" y="680643"/>
                      </a:lnTo>
                      <a:lnTo>
                        <a:pt x="927341" y="680643"/>
                      </a:lnTo>
                      <a:lnTo>
                        <a:pt x="929182" y="683183"/>
                      </a:lnTo>
                      <a:lnTo>
                        <a:pt x="928966" y="684453"/>
                      </a:lnTo>
                      <a:lnTo>
                        <a:pt x="927303" y="684453"/>
                      </a:lnTo>
                      <a:lnTo>
                        <a:pt x="928281" y="685723"/>
                      </a:lnTo>
                      <a:lnTo>
                        <a:pt x="929322" y="685723"/>
                      </a:lnTo>
                      <a:lnTo>
                        <a:pt x="931113" y="686993"/>
                      </a:lnTo>
                      <a:lnTo>
                        <a:pt x="928217" y="686993"/>
                      </a:lnTo>
                      <a:lnTo>
                        <a:pt x="927836" y="688263"/>
                      </a:lnTo>
                      <a:lnTo>
                        <a:pt x="925944" y="688263"/>
                      </a:lnTo>
                      <a:lnTo>
                        <a:pt x="926693" y="689533"/>
                      </a:lnTo>
                      <a:lnTo>
                        <a:pt x="927138" y="690803"/>
                      </a:lnTo>
                      <a:lnTo>
                        <a:pt x="927658" y="692073"/>
                      </a:lnTo>
                      <a:lnTo>
                        <a:pt x="927569" y="690803"/>
                      </a:lnTo>
                      <a:lnTo>
                        <a:pt x="928839" y="690803"/>
                      </a:lnTo>
                      <a:lnTo>
                        <a:pt x="930630" y="694613"/>
                      </a:lnTo>
                      <a:lnTo>
                        <a:pt x="930376" y="690803"/>
                      </a:lnTo>
                      <a:lnTo>
                        <a:pt x="930592" y="692073"/>
                      </a:lnTo>
                      <a:lnTo>
                        <a:pt x="931494" y="692073"/>
                      </a:lnTo>
                      <a:lnTo>
                        <a:pt x="932053" y="690803"/>
                      </a:lnTo>
                      <a:lnTo>
                        <a:pt x="932751" y="690803"/>
                      </a:lnTo>
                      <a:lnTo>
                        <a:pt x="933373" y="692073"/>
                      </a:lnTo>
                      <a:lnTo>
                        <a:pt x="933018" y="693343"/>
                      </a:lnTo>
                      <a:lnTo>
                        <a:pt x="932307" y="693343"/>
                      </a:lnTo>
                      <a:lnTo>
                        <a:pt x="933005" y="695883"/>
                      </a:lnTo>
                      <a:lnTo>
                        <a:pt x="934313" y="694613"/>
                      </a:lnTo>
                      <a:lnTo>
                        <a:pt x="933780" y="695883"/>
                      </a:lnTo>
                      <a:lnTo>
                        <a:pt x="932002" y="697153"/>
                      </a:lnTo>
                      <a:lnTo>
                        <a:pt x="932688" y="698423"/>
                      </a:lnTo>
                      <a:lnTo>
                        <a:pt x="932408" y="697153"/>
                      </a:lnTo>
                      <a:lnTo>
                        <a:pt x="935786" y="697153"/>
                      </a:lnTo>
                      <a:lnTo>
                        <a:pt x="933665" y="700963"/>
                      </a:lnTo>
                      <a:lnTo>
                        <a:pt x="931506" y="703503"/>
                      </a:lnTo>
                      <a:lnTo>
                        <a:pt x="930440" y="708583"/>
                      </a:lnTo>
                      <a:lnTo>
                        <a:pt x="930757" y="711123"/>
                      </a:lnTo>
                      <a:lnTo>
                        <a:pt x="933043" y="709853"/>
                      </a:lnTo>
                      <a:lnTo>
                        <a:pt x="932561" y="707313"/>
                      </a:lnTo>
                      <a:lnTo>
                        <a:pt x="933742" y="706043"/>
                      </a:lnTo>
                      <a:lnTo>
                        <a:pt x="935558" y="706043"/>
                      </a:lnTo>
                      <a:lnTo>
                        <a:pt x="936536" y="703503"/>
                      </a:lnTo>
                      <a:lnTo>
                        <a:pt x="936409" y="703503"/>
                      </a:lnTo>
                      <a:lnTo>
                        <a:pt x="937514" y="700963"/>
                      </a:lnTo>
                      <a:lnTo>
                        <a:pt x="939101" y="697153"/>
                      </a:lnTo>
                      <a:lnTo>
                        <a:pt x="939634" y="695883"/>
                      </a:lnTo>
                      <a:lnTo>
                        <a:pt x="940536" y="694613"/>
                      </a:lnTo>
                      <a:lnTo>
                        <a:pt x="941425" y="693343"/>
                      </a:lnTo>
                      <a:lnTo>
                        <a:pt x="942213" y="690803"/>
                      </a:lnTo>
                      <a:lnTo>
                        <a:pt x="942606" y="689533"/>
                      </a:lnTo>
                      <a:lnTo>
                        <a:pt x="943978" y="689533"/>
                      </a:lnTo>
                      <a:lnTo>
                        <a:pt x="943952" y="690803"/>
                      </a:lnTo>
                      <a:lnTo>
                        <a:pt x="944422" y="689533"/>
                      </a:lnTo>
                      <a:lnTo>
                        <a:pt x="944448" y="688263"/>
                      </a:lnTo>
                      <a:lnTo>
                        <a:pt x="944003" y="686993"/>
                      </a:lnTo>
                      <a:lnTo>
                        <a:pt x="942543" y="686993"/>
                      </a:lnTo>
                      <a:lnTo>
                        <a:pt x="942835" y="685723"/>
                      </a:lnTo>
                      <a:lnTo>
                        <a:pt x="943356" y="685723"/>
                      </a:lnTo>
                      <a:lnTo>
                        <a:pt x="943838" y="683183"/>
                      </a:lnTo>
                      <a:lnTo>
                        <a:pt x="940104" y="681913"/>
                      </a:lnTo>
                      <a:lnTo>
                        <a:pt x="939063" y="676833"/>
                      </a:lnTo>
                      <a:lnTo>
                        <a:pt x="938022" y="674293"/>
                      </a:lnTo>
                      <a:lnTo>
                        <a:pt x="937488" y="673023"/>
                      </a:lnTo>
                      <a:lnTo>
                        <a:pt x="937158" y="672211"/>
                      </a:lnTo>
                      <a:lnTo>
                        <a:pt x="939380" y="673023"/>
                      </a:lnTo>
                      <a:lnTo>
                        <a:pt x="943419" y="676833"/>
                      </a:lnTo>
                      <a:lnTo>
                        <a:pt x="946302" y="676833"/>
                      </a:lnTo>
                      <a:lnTo>
                        <a:pt x="946797" y="679373"/>
                      </a:lnTo>
                      <a:lnTo>
                        <a:pt x="945680" y="680643"/>
                      </a:lnTo>
                      <a:lnTo>
                        <a:pt x="945730" y="681913"/>
                      </a:lnTo>
                      <a:lnTo>
                        <a:pt x="946518" y="680643"/>
                      </a:lnTo>
                      <a:lnTo>
                        <a:pt x="949896" y="679373"/>
                      </a:lnTo>
                      <a:lnTo>
                        <a:pt x="948766" y="678103"/>
                      </a:lnTo>
                      <a:lnTo>
                        <a:pt x="949693" y="678103"/>
                      </a:lnTo>
                      <a:lnTo>
                        <a:pt x="950277" y="676833"/>
                      </a:lnTo>
                      <a:lnTo>
                        <a:pt x="950937" y="675563"/>
                      </a:lnTo>
                      <a:lnTo>
                        <a:pt x="950328" y="675563"/>
                      </a:lnTo>
                      <a:lnTo>
                        <a:pt x="951039" y="674293"/>
                      </a:lnTo>
                      <a:lnTo>
                        <a:pt x="954684" y="674293"/>
                      </a:lnTo>
                      <a:lnTo>
                        <a:pt x="952601" y="673023"/>
                      </a:lnTo>
                      <a:lnTo>
                        <a:pt x="953401" y="673023"/>
                      </a:lnTo>
                      <a:lnTo>
                        <a:pt x="954532" y="671753"/>
                      </a:lnTo>
                      <a:lnTo>
                        <a:pt x="955306" y="671753"/>
                      </a:lnTo>
                      <a:lnTo>
                        <a:pt x="955738" y="669213"/>
                      </a:lnTo>
                      <a:lnTo>
                        <a:pt x="957440" y="667943"/>
                      </a:lnTo>
                      <a:lnTo>
                        <a:pt x="956589" y="667943"/>
                      </a:lnTo>
                      <a:lnTo>
                        <a:pt x="956957" y="666673"/>
                      </a:lnTo>
                      <a:lnTo>
                        <a:pt x="957427" y="666673"/>
                      </a:lnTo>
                      <a:lnTo>
                        <a:pt x="957935" y="664133"/>
                      </a:lnTo>
                      <a:lnTo>
                        <a:pt x="958646" y="662863"/>
                      </a:lnTo>
                      <a:lnTo>
                        <a:pt x="958811" y="663524"/>
                      </a:lnTo>
                      <a:lnTo>
                        <a:pt x="958773" y="661593"/>
                      </a:lnTo>
                      <a:lnTo>
                        <a:pt x="959777" y="657783"/>
                      </a:lnTo>
                      <a:lnTo>
                        <a:pt x="960221" y="656513"/>
                      </a:lnTo>
                      <a:lnTo>
                        <a:pt x="958761" y="655243"/>
                      </a:lnTo>
                      <a:lnTo>
                        <a:pt x="955802" y="656513"/>
                      </a:lnTo>
                      <a:lnTo>
                        <a:pt x="955357" y="655243"/>
                      </a:lnTo>
                      <a:lnTo>
                        <a:pt x="955738" y="653973"/>
                      </a:lnTo>
                      <a:lnTo>
                        <a:pt x="956297" y="653973"/>
                      </a:lnTo>
                      <a:lnTo>
                        <a:pt x="955713" y="652703"/>
                      </a:lnTo>
                      <a:lnTo>
                        <a:pt x="955332" y="652703"/>
                      </a:lnTo>
                      <a:lnTo>
                        <a:pt x="955332" y="648893"/>
                      </a:lnTo>
                      <a:lnTo>
                        <a:pt x="957059" y="647623"/>
                      </a:lnTo>
                      <a:lnTo>
                        <a:pt x="959624" y="647623"/>
                      </a:lnTo>
                      <a:lnTo>
                        <a:pt x="960285" y="647623"/>
                      </a:lnTo>
                      <a:lnTo>
                        <a:pt x="961631" y="647623"/>
                      </a:lnTo>
                      <a:lnTo>
                        <a:pt x="962101" y="648893"/>
                      </a:lnTo>
                      <a:lnTo>
                        <a:pt x="963193" y="647623"/>
                      </a:lnTo>
                      <a:lnTo>
                        <a:pt x="963955" y="646353"/>
                      </a:lnTo>
                      <a:lnTo>
                        <a:pt x="966254" y="645083"/>
                      </a:lnTo>
                      <a:lnTo>
                        <a:pt x="968552" y="643813"/>
                      </a:lnTo>
                      <a:lnTo>
                        <a:pt x="971702" y="642543"/>
                      </a:lnTo>
                      <a:lnTo>
                        <a:pt x="974966" y="641273"/>
                      </a:lnTo>
                      <a:lnTo>
                        <a:pt x="976795" y="642543"/>
                      </a:lnTo>
                      <a:lnTo>
                        <a:pt x="978966" y="641273"/>
                      </a:lnTo>
                      <a:lnTo>
                        <a:pt x="981125" y="640003"/>
                      </a:lnTo>
                      <a:lnTo>
                        <a:pt x="987259" y="641273"/>
                      </a:lnTo>
                      <a:lnTo>
                        <a:pt x="991336" y="641273"/>
                      </a:lnTo>
                      <a:lnTo>
                        <a:pt x="996734" y="640003"/>
                      </a:lnTo>
                      <a:lnTo>
                        <a:pt x="996505" y="633653"/>
                      </a:lnTo>
                      <a:lnTo>
                        <a:pt x="996721" y="632383"/>
                      </a:lnTo>
                      <a:lnTo>
                        <a:pt x="997445" y="634923"/>
                      </a:lnTo>
                      <a:lnTo>
                        <a:pt x="999121" y="633653"/>
                      </a:lnTo>
                      <a:lnTo>
                        <a:pt x="1000594" y="632383"/>
                      </a:lnTo>
                      <a:lnTo>
                        <a:pt x="999540" y="634923"/>
                      </a:lnTo>
                      <a:lnTo>
                        <a:pt x="1000417" y="637463"/>
                      </a:lnTo>
                      <a:lnTo>
                        <a:pt x="1001991" y="636193"/>
                      </a:lnTo>
                      <a:lnTo>
                        <a:pt x="1004646" y="633653"/>
                      </a:lnTo>
                      <a:lnTo>
                        <a:pt x="1007681" y="633653"/>
                      </a:lnTo>
                      <a:lnTo>
                        <a:pt x="1007262" y="634923"/>
                      </a:lnTo>
                      <a:lnTo>
                        <a:pt x="1009383" y="634923"/>
                      </a:lnTo>
                      <a:lnTo>
                        <a:pt x="1016635" y="636193"/>
                      </a:lnTo>
                      <a:lnTo>
                        <a:pt x="1017828" y="633653"/>
                      </a:lnTo>
                      <a:lnTo>
                        <a:pt x="1017536" y="632383"/>
                      </a:lnTo>
                      <a:lnTo>
                        <a:pt x="1017168" y="629843"/>
                      </a:lnTo>
                      <a:lnTo>
                        <a:pt x="1016368" y="628573"/>
                      </a:lnTo>
                      <a:lnTo>
                        <a:pt x="1015326" y="628573"/>
                      </a:lnTo>
                      <a:lnTo>
                        <a:pt x="1015199" y="629843"/>
                      </a:lnTo>
                      <a:lnTo>
                        <a:pt x="1015517" y="629843"/>
                      </a:lnTo>
                      <a:lnTo>
                        <a:pt x="1016850" y="632383"/>
                      </a:lnTo>
                      <a:lnTo>
                        <a:pt x="1016698" y="632383"/>
                      </a:lnTo>
                      <a:lnTo>
                        <a:pt x="1012774" y="633653"/>
                      </a:lnTo>
                      <a:lnTo>
                        <a:pt x="1011135" y="633653"/>
                      </a:lnTo>
                      <a:lnTo>
                        <a:pt x="1008646" y="632383"/>
                      </a:lnTo>
                      <a:lnTo>
                        <a:pt x="1008634" y="629843"/>
                      </a:lnTo>
                      <a:lnTo>
                        <a:pt x="1007427" y="627303"/>
                      </a:lnTo>
                      <a:lnTo>
                        <a:pt x="1006716" y="626033"/>
                      </a:lnTo>
                      <a:lnTo>
                        <a:pt x="1003871" y="623493"/>
                      </a:lnTo>
                      <a:lnTo>
                        <a:pt x="1003630" y="626033"/>
                      </a:lnTo>
                      <a:lnTo>
                        <a:pt x="1001725" y="622223"/>
                      </a:lnTo>
                      <a:lnTo>
                        <a:pt x="1002957" y="622223"/>
                      </a:lnTo>
                      <a:lnTo>
                        <a:pt x="1003757" y="620953"/>
                      </a:lnTo>
                      <a:lnTo>
                        <a:pt x="1006017" y="618413"/>
                      </a:lnTo>
                      <a:lnTo>
                        <a:pt x="1006551" y="618413"/>
                      </a:lnTo>
                      <a:lnTo>
                        <a:pt x="1004277" y="614603"/>
                      </a:lnTo>
                      <a:lnTo>
                        <a:pt x="1005027" y="612063"/>
                      </a:lnTo>
                      <a:lnTo>
                        <a:pt x="1008062" y="608253"/>
                      </a:lnTo>
                      <a:lnTo>
                        <a:pt x="1009065" y="606983"/>
                      </a:lnTo>
                      <a:lnTo>
                        <a:pt x="1012926" y="604443"/>
                      </a:lnTo>
                      <a:lnTo>
                        <a:pt x="1014628" y="598093"/>
                      </a:lnTo>
                      <a:lnTo>
                        <a:pt x="1016774" y="596823"/>
                      </a:lnTo>
                      <a:lnTo>
                        <a:pt x="1018476" y="596823"/>
                      </a:lnTo>
                      <a:lnTo>
                        <a:pt x="1019746" y="598093"/>
                      </a:lnTo>
                      <a:lnTo>
                        <a:pt x="1019403" y="596823"/>
                      </a:lnTo>
                      <a:lnTo>
                        <a:pt x="1018921" y="594283"/>
                      </a:lnTo>
                      <a:lnTo>
                        <a:pt x="1019911" y="593051"/>
                      </a:lnTo>
                      <a:lnTo>
                        <a:pt x="1019759" y="594283"/>
                      </a:lnTo>
                      <a:lnTo>
                        <a:pt x="1019517" y="595553"/>
                      </a:lnTo>
                      <a:lnTo>
                        <a:pt x="1019746" y="596823"/>
                      </a:lnTo>
                      <a:lnTo>
                        <a:pt x="1020533" y="598093"/>
                      </a:lnTo>
                      <a:lnTo>
                        <a:pt x="1020978" y="596823"/>
                      </a:lnTo>
                      <a:lnTo>
                        <a:pt x="1021194" y="595553"/>
                      </a:lnTo>
                      <a:lnTo>
                        <a:pt x="1021854" y="594283"/>
                      </a:lnTo>
                      <a:lnTo>
                        <a:pt x="1021397" y="595553"/>
                      </a:lnTo>
                      <a:lnTo>
                        <a:pt x="1021575" y="596823"/>
                      </a:lnTo>
                      <a:lnTo>
                        <a:pt x="1022845" y="596823"/>
                      </a:lnTo>
                      <a:lnTo>
                        <a:pt x="1022908" y="595553"/>
                      </a:lnTo>
                      <a:lnTo>
                        <a:pt x="1023023" y="594283"/>
                      </a:lnTo>
                      <a:lnTo>
                        <a:pt x="1023239" y="594283"/>
                      </a:lnTo>
                      <a:lnTo>
                        <a:pt x="1023035" y="595553"/>
                      </a:lnTo>
                      <a:lnTo>
                        <a:pt x="1024610" y="595553"/>
                      </a:lnTo>
                      <a:lnTo>
                        <a:pt x="1024877" y="594283"/>
                      </a:lnTo>
                      <a:lnTo>
                        <a:pt x="1025918" y="593013"/>
                      </a:lnTo>
                      <a:lnTo>
                        <a:pt x="1025715" y="594283"/>
                      </a:lnTo>
                      <a:lnTo>
                        <a:pt x="1029754" y="594283"/>
                      </a:lnTo>
                      <a:lnTo>
                        <a:pt x="1030147" y="593013"/>
                      </a:lnTo>
                      <a:lnTo>
                        <a:pt x="1028623" y="593013"/>
                      </a:lnTo>
                      <a:lnTo>
                        <a:pt x="1031989" y="587933"/>
                      </a:lnTo>
                      <a:lnTo>
                        <a:pt x="1032598" y="586663"/>
                      </a:lnTo>
                      <a:lnTo>
                        <a:pt x="1034643" y="582853"/>
                      </a:lnTo>
                      <a:lnTo>
                        <a:pt x="1034567" y="585393"/>
                      </a:lnTo>
                      <a:lnTo>
                        <a:pt x="1033894" y="586663"/>
                      </a:lnTo>
                      <a:lnTo>
                        <a:pt x="1034503" y="586663"/>
                      </a:lnTo>
                      <a:lnTo>
                        <a:pt x="1033741" y="587933"/>
                      </a:lnTo>
                      <a:lnTo>
                        <a:pt x="1034554" y="587933"/>
                      </a:lnTo>
                      <a:lnTo>
                        <a:pt x="1036789" y="589203"/>
                      </a:lnTo>
                      <a:lnTo>
                        <a:pt x="1037882" y="590473"/>
                      </a:lnTo>
                      <a:lnTo>
                        <a:pt x="1037412" y="587933"/>
                      </a:lnTo>
                      <a:lnTo>
                        <a:pt x="1037920" y="586663"/>
                      </a:lnTo>
                      <a:lnTo>
                        <a:pt x="1039939" y="585393"/>
                      </a:lnTo>
                      <a:lnTo>
                        <a:pt x="1042593" y="584123"/>
                      </a:lnTo>
                      <a:lnTo>
                        <a:pt x="1042593" y="585393"/>
                      </a:lnTo>
                      <a:lnTo>
                        <a:pt x="1044117" y="585393"/>
                      </a:lnTo>
                      <a:lnTo>
                        <a:pt x="1043647" y="586663"/>
                      </a:lnTo>
                      <a:lnTo>
                        <a:pt x="1044498" y="587933"/>
                      </a:lnTo>
                      <a:lnTo>
                        <a:pt x="1045019" y="587933"/>
                      </a:lnTo>
                      <a:lnTo>
                        <a:pt x="1045222" y="586663"/>
                      </a:lnTo>
                      <a:lnTo>
                        <a:pt x="1045743" y="585393"/>
                      </a:lnTo>
                      <a:lnTo>
                        <a:pt x="1045921" y="586663"/>
                      </a:lnTo>
                      <a:lnTo>
                        <a:pt x="1046708" y="586663"/>
                      </a:lnTo>
                      <a:lnTo>
                        <a:pt x="1046949" y="585393"/>
                      </a:lnTo>
                      <a:lnTo>
                        <a:pt x="1047673" y="584123"/>
                      </a:lnTo>
                      <a:lnTo>
                        <a:pt x="1049934" y="584123"/>
                      </a:lnTo>
                      <a:lnTo>
                        <a:pt x="1051191" y="582853"/>
                      </a:lnTo>
                      <a:lnTo>
                        <a:pt x="1052436" y="581583"/>
                      </a:lnTo>
                      <a:lnTo>
                        <a:pt x="1055293" y="581583"/>
                      </a:lnTo>
                      <a:lnTo>
                        <a:pt x="1055446" y="582853"/>
                      </a:lnTo>
                      <a:lnTo>
                        <a:pt x="1057300" y="581583"/>
                      </a:lnTo>
                      <a:lnTo>
                        <a:pt x="1058506" y="581583"/>
                      </a:lnTo>
                      <a:lnTo>
                        <a:pt x="1059205" y="580313"/>
                      </a:lnTo>
                      <a:lnTo>
                        <a:pt x="1059891" y="579043"/>
                      </a:lnTo>
                      <a:lnTo>
                        <a:pt x="1058862" y="579043"/>
                      </a:lnTo>
                      <a:lnTo>
                        <a:pt x="1058786" y="580313"/>
                      </a:lnTo>
                      <a:lnTo>
                        <a:pt x="1058735" y="579043"/>
                      </a:lnTo>
                      <a:lnTo>
                        <a:pt x="1058354" y="579043"/>
                      </a:lnTo>
                      <a:lnTo>
                        <a:pt x="1057808" y="580313"/>
                      </a:lnTo>
                      <a:lnTo>
                        <a:pt x="1056373" y="577773"/>
                      </a:lnTo>
                      <a:lnTo>
                        <a:pt x="1058646" y="577773"/>
                      </a:lnTo>
                      <a:lnTo>
                        <a:pt x="1058748" y="576503"/>
                      </a:lnTo>
                      <a:lnTo>
                        <a:pt x="1058595" y="576503"/>
                      </a:lnTo>
                      <a:lnTo>
                        <a:pt x="1058379" y="575233"/>
                      </a:lnTo>
                      <a:lnTo>
                        <a:pt x="1058976" y="575233"/>
                      </a:lnTo>
                      <a:lnTo>
                        <a:pt x="1061148" y="575310"/>
                      </a:lnTo>
                      <a:lnTo>
                        <a:pt x="1061821" y="576580"/>
                      </a:lnTo>
                      <a:lnTo>
                        <a:pt x="1066850" y="575310"/>
                      </a:lnTo>
                      <a:lnTo>
                        <a:pt x="1068603" y="575310"/>
                      </a:lnTo>
                      <a:lnTo>
                        <a:pt x="1069809" y="574040"/>
                      </a:lnTo>
                      <a:lnTo>
                        <a:pt x="1071651" y="571500"/>
                      </a:lnTo>
                      <a:lnTo>
                        <a:pt x="1070914" y="571500"/>
                      </a:lnTo>
                      <a:lnTo>
                        <a:pt x="1071702" y="570230"/>
                      </a:lnTo>
                      <a:lnTo>
                        <a:pt x="1072883" y="570230"/>
                      </a:lnTo>
                      <a:lnTo>
                        <a:pt x="1073619" y="568960"/>
                      </a:lnTo>
                      <a:lnTo>
                        <a:pt x="1073124" y="570230"/>
                      </a:lnTo>
                      <a:lnTo>
                        <a:pt x="1072070" y="571500"/>
                      </a:lnTo>
                      <a:lnTo>
                        <a:pt x="1072299" y="571500"/>
                      </a:lnTo>
                      <a:lnTo>
                        <a:pt x="1073810" y="572770"/>
                      </a:lnTo>
                      <a:lnTo>
                        <a:pt x="1077137" y="572770"/>
                      </a:lnTo>
                      <a:lnTo>
                        <a:pt x="1080833" y="570230"/>
                      </a:lnTo>
                      <a:lnTo>
                        <a:pt x="1083119" y="568960"/>
                      </a:lnTo>
                      <a:lnTo>
                        <a:pt x="1094524" y="562610"/>
                      </a:lnTo>
                      <a:lnTo>
                        <a:pt x="1094054" y="561340"/>
                      </a:lnTo>
                      <a:lnTo>
                        <a:pt x="1093533" y="560070"/>
                      </a:lnTo>
                      <a:lnTo>
                        <a:pt x="1092581" y="558444"/>
                      </a:lnTo>
                      <a:lnTo>
                        <a:pt x="1092974" y="558800"/>
                      </a:lnTo>
                      <a:lnTo>
                        <a:pt x="1096454" y="562610"/>
                      </a:lnTo>
                      <a:lnTo>
                        <a:pt x="1094765" y="563880"/>
                      </a:lnTo>
                      <a:lnTo>
                        <a:pt x="1096048" y="563880"/>
                      </a:lnTo>
                      <a:lnTo>
                        <a:pt x="1097292" y="562610"/>
                      </a:lnTo>
                      <a:lnTo>
                        <a:pt x="1098537" y="562610"/>
                      </a:lnTo>
                      <a:lnTo>
                        <a:pt x="1093863" y="567690"/>
                      </a:lnTo>
                      <a:lnTo>
                        <a:pt x="1091438" y="570230"/>
                      </a:lnTo>
                      <a:lnTo>
                        <a:pt x="1091526" y="572770"/>
                      </a:lnTo>
                      <a:lnTo>
                        <a:pt x="1093724" y="570230"/>
                      </a:lnTo>
                      <a:lnTo>
                        <a:pt x="1096289" y="570230"/>
                      </a:lnTo>
                      <a:lnTo>
                        <a:pt x="1111377" y="570230"/>
                      </a:lnTo>
                      <a:lnTo>
                        <a:pt x="1109548" y="571601"/>
                      </a:lnTo>
                      <a:lnTo>
                        <a:pt x="1109548" y="584200"/>
                      </a:lnTo>
                      <a:lnTo>
                        <a:pt x="1108608" y="584200"/>
                      </a:lnTo>
                      <a:lnTo>
                        <a:pt x="1107973" y="582930"/>
                      </a:lnTo>
                      <a:lnTo>
                        <a:pt x="1107338" y="581660"/>
                      </a:lnTo>
                      <a:lnTo>
                        <a:pt x="1109319" y="582930"/>
                      </a:lnTo>
                      <a:lnTo>
                        <a:pt x="1109548" y="584200"/>
                      </a:lnTo>
                      <a:lnTo>
                        <a:pt x="1109548" y="571601"/>
                      </a:lnTo>
                      <a:lnTo>
                        <a:pt x="1107973" y="572770"/>
                      </a:lnTo>
                      <a:lnTo>
                        <a:pt x="1104201" y="574040"/>
                      </a:lnTo>
                      <a:lnTo>
                        <a:pt x="1100874" y="576580"/>
                      </a:lnTo>
                      <a:lnTo>
                        <a:pt x="1099972" y="575310"/>
                      </a:lnTo>
                      <a:lnTo>
                        <a:pt x="1099489" y="575310"/>
                      </a:lnTo>
                      <a:lnTo>
                        <a:pt x="1097216" y="574040"/>
                      </a:lnTo>
                      <a:lnTo>
                        <a:pt x="1097076" y="575310"/>
                      </a:lnTo>
                      <a:lnTo>
                        <a:pt x="1097305" y="572770"/>
                      </a:lnTo>
                      <a:lnTo>
                        <a:pt x="1098232" y="572770"/>
                      </a:lnTo>
                      <a:lnTo>
                        <a:pt x="1096289" y="570230"/>
                      </a:lnTo>
                      <a:lnTo>
                        <a:pt x="1094447" y="571500"/>
                      </a:lnTo>
                      <a:lnTo>
                        <a:pt x="1077163" y="582930"/>
                      </a:lnTo>
                      <a:lnTo>
                        <a:pt x="1075334" y="584200"/>
                      </a:lnTo>
                      <a:lnTo>
                        <a:pt x="1072718" y="588010"/>
                      </a:lnTo>
                      <a:lnTo>
                        <a:pt x="1072438" y="589280"/>
                      </a:lnTo>
                      <a:lnTo>
                        <a:pt x="1071638" y="591820"/>
                      </a:lnTo>
                      <a:lnTo>
                        <a:pt x="1070762" y="591820"/>
                      </a:lnTo>
                      <a:lnTo>
                        <a:pt x="1070864" y="593090"/>
                      </a:lnTo>
                      <a:lnTo>
                        <a:pt x="1071448" y="594360"/>
                      </a:lnTo>
                      <a:lnTo>
                        <a:pt x="1071537" y="595630"/>
                      </a:lnTo>
                      <a:lnTo>
                        <a:pt x="1072438" y="599440"/>
                      </a:lnTo>
                      <a:lnTo>
                        <a:pt x="1072413" y="598170"/>
                      </a:lnTo>
                      <a:lnTo>
                        <a:pt x="1073467" y="599440"/>
                      </a:lnTo>
                      <a:lnTo>
                        <a:pt x="1073759" y="599440"/>
                      </a:lnTo>
                      <a:lnTo>
                        <a:pt x="1073721" y="598170"/>
                      </a:lnTo>
                      <a:lnTo>
                        <a:pt x="1073797" y="596900"/>
                      </a:lnTo>
                      <a:lnTo>
                        <a:pt x="1076261" y="598170"/>
                      </a:lnTo>
                      <a:lnTo>
                        <a:pt x="1076032" y="599440"/>
                      </a:lnTo>
                      <a:lnTo>
                        <a:pt x="1077137" y="601980"/>
                      </a:lnTo>
                      <a:lnTo>
                        <a:pt x="1077633" y="603250"/>
                      </a:lnTo>
                      <a:lnTo>
                        <a:pt x="1079030" y="603250"/>
                      </a:lnTo>
                      <a:lnTo>
                        <a:pt x="1080782" y="601980"/>
                      </a:lnTo>
                      <a:lnTo>
                        <a:pt x="1081163" y="603250"/>
                      </a:lnTo>
                      <a:lnTo>
                        <a:pt x="1081849" y="601980"/>
                      </a:lnTo>
                      <a:lnTo>
                        <a:pt x="1082497" y="600710"/>
                      </a:lnTo>
                      <a:lnTo>
                        <a:pt x="1083564" y="599440"/>
                      </a:lnTo>
                      <a:lnTo>
                        <a:pt x="1084160" y="600710"/>
                      </a:lnTo>
                      <a:lnTo>
                        <a:pt x="1084414" y="599440"/>
                      </a:lnTo>
                      <a:lnTo>
                        <a:pt x="1084668" y="598170"/>
                      </a:lnTo>
                      <a:lnTo>
                        <a:pt x="1085164" y="599440"/>
                      </a:lnTo>
                      <a:lnTo>
                        <a:pt x="1085735" y="599440"/>
                      </a:lnTo>
                      <a:lnTo>
                        <a:pt x="1086142" y="600710"/>
                      </a:lnTo>
                      <a:lnTo>
                        <a:pt x="1087869" y="598170"/>
                      </a:lnTo>
                      <a:lnTo>
                        <a:pt x="1088199" y="596900"/>
                      </a:lnTo>
                      <a:lnTo>
                        <a:pt x="1091234" y="595630"/>
                      </a:lnTo>
                      <a:lnTo>
                        <a:pt x="1093825" y="594360"/>
                      </a:lnTo>
                      <a:lnTo>
                        <a:pt x="1092238" y="593090"/>
                      </a:lnTo>
                      <a:lnTo>
                        <a:pt x="1093762" y="593090"/>
                      </a:lnTo>
                      <a:lnTo>
                        <a:pt x="1094409" y="591820"/>
                      </a:lnTo>
                      <a:lnTo>
                        <a:pt x="1097889" y="589864"/>
                      </a:lnTo>
                      <a:lnTo>
                        <a:pt x="1097940" y="589280"/>
                      </a:lnTo>
                      <a:lnTo>
                        <a:pt x="1097038" y="588010"/>
                      </a:lnTo>
                      <a:lnTo>
                        <a:pt x="1098524" y="586740"/>
                      </a:lnTo>
                      <a:lnTo>
                        <a:pt x="1096657" y="588010"/>
                      </a:lnTo>
                      <a:lnTo>
                        <a:pt x="1098346" y="585470"/>
                      </a:lnTo>
                      <a:lnTo>
                        <a:pt x="1098143" y="584200"/>
                      </a:lnTo>
                      <a:lnTo>
                        <a:pt x="1099248" y="585470"/>
                      </a:lnTo>
                      <a:lnTo>
                        <a:pt x="1100505" y="585470"/>
                      </a:lnTo>
                      <a:lnTo>
                        <a:pt x="1101051" y="586740"/>
                      </a:lnTo>
                      <a:lnTo>
                        <a:pt x="1101471" y="585470"/>
                      </a:lnTo>
                      <a:lnTo>
                        <a:pt x="1101217" y="584200"/>
                      </a:lnTo>
                      <a:lnTo>
                        <a:pt x="1101839" y="582930"/>
                      </a:lnTo>
                      <a:lnTo>
                        <a:pt x="1103312" y="582930"/>
                      </a:lnTo>
                      <a:lnTo>
                        <a:pt x="1103769" y="585470"/>
                      </a:lnTo>
                      <a:lnTo>
                        <a:pt x="1102906" y="586740"/>
                      </a:lnTo>
                      <a:lnTo>
                        <a:pt x="1105255" y="585470"/>
                      </a:lnTo>
                      <a:lnTo>
                        <a:pt x="1105509" y="586740"/>
                      </a:lnTo>
                      <a:lnTo>
                        <a:pt x="1107592" y="586740"/>
                      </a:lnTo>
                      <a:lnTo>
                        <a:pt x="1108710" y="585470"/>
                      </a:lnTo>
                      <a:lnTo>
                        <a:pt x="1109814" y="584200"/>
                      </a:lnTo>
                      <a:lnTo>
                        <a:pt x="1111821" y="584200"/>
                      </a:lnTo>
                      <a:lnTo>
                        <a:pt x="1114475" y="582930"/>
                      </a:lnTo>
                      <a:lnTo>
                        <a:pt x="1117473" y="582930"/>
                      </a:lnTo>
                      <a:lnTo>
                        <a:pt x="1120635" y="581660"/>
                      </a:lnTo>
                      <a:lnTo>
                        <a:pt x="1133271" y="576580"/>
                      </a:lnTo>
                      <a:lnTo>
                        <a:pt x="1145895" y="571500"/>
                      </a:lnTo>
                      <a:lnTo>
                        <a:pt x="1143749" y="570230"/>
                      </a:lnTo>
                      <a:lnTo>
                        <a:pt x="1141704" y="567690"/>
                      </a:lnTo>
                      <a:lnTo>
                        <a:pt x="1139710" y="566420"/>
                      </a:lnTo>
                      <a:lnTo>
                        <a:pt x="1139469" y="565150"/>
                      </a:lnTo>
                      <a:lnTo>
                        <a:pt x="1137577" y="563880"/>
                      </a:lnTo>
                      <a:lnTo>
                        <a:pt x="1133919" y="565150"/>
                      </a:lnTo>
                      <a:lnTo>
                        <a:pt x="1132547" y="566420"/>
                      </a:lnTo>
                      <a:lnTo>
                        <a:pt x="1132522" y="565150"/>
                      </a:lnTo>
                      <a:lnTo>
                        <a:pt x="1131963" y="562610"/>
                      </a:lnTo>
                      <a:lnTo>
                        <a:pt x="1132446" y="561340"/>
                      </a:lnTo>
                      <a:lnTo>
                        <a:pt x="1130795" y="561340"/>
                      </a:lnTo>
                      <a:lnTo>
                        <a:pt x="1129411" y="563880"/>
                      </a:lnTo>
                      <a:lnTo>
                        <a:pt x="1126947" y="563880"/>
                      </a:lnTo>
                      <a:lnTo>
                        <a:pt x="1124673" y="565150"/>
                      </a:lnTo>
                      <a:lnTo>
                        <a:pt x="1125245" y="565150"/>
                      </a:lnTo>
                      <a:lnTo>
                        <a:pt x="1124343" y="566420"/>
                      </a:lnTo>
                      <a:lnTo>
                        <a:pt x="1122489" y="566420"/>
                      </a:lnTo>
                      <a:lnTo>
                        <a:pt x="1120241" y="565150"/>
                      </a:lnTo>
                      <a:lnTo>
                        <a:pt x="1123099" y="563880"/>
                      </a:lnTo>
                      <a:lnTo>
                        <a:pt x="1112710" y="563880"/>
                      </a:lnTo>
                      <a:lnTo>
                        <a:pt x="1112761" y="562610"/>
                      </a:lnTo>
                      <a:lnTo>
                        <a:pt x="1112799" y="561340"/>
                      </a:lnTo>
                      <a:lnTo>
                        <a:pt x="1103909" y="560070"/>
                      </a:lnTo>
                      <a:lnTo>
                        <a:pt x="1101839" y="558800"/>
                      </a:lnTo>
                      <a:lnTo>
                        <a:pt x="1102702" y="557530"/>
                      </a:lnTo>
                      <a:lnTo>
                        <a:pt x="1105700" y="557530"/>
                      </a:lnTo>
                      <a:lnTo>
                        <a:pt x="1104074" y="556260"/>
                      </a:lnTo>
                      <a:lnTo>
                        <a:pt x="1099807" y="556260"/>
                      </a:lnTo>
                      <a:lnTo>
                        <a:pt x="1098854" y="554990"/>
                      </a:lnTo>
                      <a:lnTo>
                        <a:pt x="1094613" y="554990"/>
                      </a:lnTo>
                      <a:lnTo>
                        <a:pt x="1094778" y="553720"/>
                      </a:lnTo>
                      <a:lnTo>
                        <a:pt x="1094917" y="552564"/>
                      </a:lnTo>
                      <a:lnTo>
                        <a:pt x="1092669" y="553720"/>
                      </a:lnTo>
                      <a:lnTo>
                        <a:pt x="1094092" y="551180"/>
                      </a:lnTo>
                      <a:lnTo>
                        <a:pt x="1093228" y="551180"/>
                      </a:lnTo>
                      <a:lnTo>
                        <a:pt x="1092403" y="548640"/>
                      </a:lnTo>
                      <a:lnTo>
                        <a:pt x="1092581" y="547370"/>
                      </a:lnTo>
                      <a:lnTo>
                        <a:pt x="1090396" y="544830"/>
                      </a:lnTo>
                      <a:lnTo>
                        <a:pt x="1089101" y="544830"/>
                      </a:lnTo>
                      <a:lnTo>
                        <a:pt x="1090168" y="542290"/>
                      </a:lnTo>
                      <a:lnTo>
                        <a:pt x="1090777" y="542290"/>
                      </a:lnTo>
                      <a:lnTo>
                        <a:pt x="1090980" y="541020"/>
                      </a:lnTo>
                      <a:lnTo>
                        <a:pt x="1090777" y="539750"/>
                      </a:lnTo>
                      <a:lnTo>
                        <a:pt x="1083119" y="539750"/>
                      </a:lnTo>
                      <a:lnTo>
                        <a:pt x="1085481" y="538480"/>
                      </a:lnTo>
                      <a:lnTo>
                        <a:pt x="1088491" y="535940"/>
                      </a:lnTo>
                      <a:lnTo>
                        <a:pt x="1089863" y="533400"/>
                      </a:lnTo>
                      <a:lnTo>
                        <a:pt x="1089888" y="532130"/>
                      </a:lnTo>
                      <a:lnTo>
                        <a:pt x="1090510" y="529590"/>
                      </a:lnTo>
                      <a:lnTo>
                        <a:pt x="1090815" y="528320"/>
                      </a:lnTo>
                      <a:lnTo>
                        <a:pt x="1089240" y="528320"/>
                      </a:lnTo>
                      <a:lnTo>
                        <a:pt x="1085062" y="527050"/>
                      </a:lnTo>
                      <a:lnTo>
                        <a:pt x="1080922" y="528320"/>
                      </a:lnTo>
                      <a:lnTo>
                        <a:pt x="1079500" y="528320"/>
                      </a:lnTo>
                      <a:lnTo>
                        <a:pt x="1079182" y="529590"/>
                      </a:lnTo>
                      <a:lnTo>
                        <a:pt x="1078217" y="528320"/>
                      </a:lnTo>
                      <a:lnTo>
                        <a:pt x="1078318" y="527050"/>
                      </a:lnTo>
                      <a:lnTo>
                        <a:pt x="1075982" y="523240"/>
                      </a:lnTo>
                      <a:lnTo>
                        <a:pt x="1072108" y="523240"/>
                      </a:lnTo>
                      <a:lnTo>
                        <a:pt x="1069848" y="521970"/>
                      </a:lnTo>
                      <a:lnTo>
                        <a:pt x="1071283" y="521970"/>
                      </a:lnTo>
                      <a:lnTo>
                        <a:pt x="1072540" y="520700"/>
                      </a:lnTo>
                      <a:lnTo>
                        <a:pt x="1078255" y="520700"/>
                      </a:lnTo>
                      <a:lnTo>
                        <a:pt x="1078814" y="521970"/>
                      </a:lnTo>
                      <a:lnTo>
                        <a:pt x="1081189" y="521970"/>
                      </a:lnTo>
                      <a:lnTo>
                        <a:pt x="1081366" y="523240"/>
                      </a:lnTo>
                      <a:lnTo>
                        <a:pt x="1084122" y="523240"/>
                      </a:lnTo>
                      <a:lnTo>
                        <a:pt x="1085684" y="521970"/>
                      </a:lnTo>
                      <a:lnTo>
                        <a:pt x="1087856" y="520700"/>
                      </a:lnTo>
                      <a:lnTo>
                        <a:pt x="1089088" y="519430"/>
                      </a:lnTo>
                      <a:lnTo>
                        <a:pt x="1091387" y="518160"/>
                      </a:lnTo>
                      <a:lnTo>
                        <a:pt x="1092098" y="518160"/>
                      </a:lnTo>
                      <a:lnTo>
                        <a:pt x="1092390" y="516890"/>
                      </a:lnTo>
                      <a:lnTo>
                        <a:pt x="1092593" y="516890"/>
                      </a:lnTo>
                      <a:lnTo>
                        <a:pt x="1094232" y="515620"/>
                      </a:lnTo>
                      <a:lnTo>
                        <a:pt x="1096949" y="515620"/>
                      </a:lnTo>
                      <a:lnTo>
                        <a:pt x="1097838" y="514350"/>
                      </a:lnTo>
                      <a:lnTo>
                        <a:pt x="1099337" y="514350"/>
                      </a:lnTo>
                      <a:lnTo>
                        <a:pt x="1099502" y="513080"/>
                      </a:lnTo>
                      <a:lnTo>
                        <a:pt x="1098410" y="513080"/>
                      </a:lnTo>
                      <a:lnTo>
                        <a:pt x="1098575" y="511810"/>
                      </a:lnTo>
                      <a:lnTo>
                        <a:pt x="1099781" y="511810"/>
                      </a:lnTo>
                      <a:lnTo>
                        <a:pt x="1099820" y="510540"/>
                      </a:lnTo>
                      <a:lnTo>
                        <a:pt x="1098740" y="510540"/>
                      </a:lnTo>
                      <a:lnTo>
                        <a:pt x="1098130" y="509270"/>
                      </a:lnTo>
                      <a:lnTo>
                        <a:pt x="1096327" y="509270"/>
                      </a:lnTo>
                      <a:lnTo>
                        <a:pt x="1096429" y="508000"/>
                      </a:lnTo>
                      <a:lnTo>
                        <a:pt x="1095171" y="508000"/>
                      </a:lnTo>
                      <a:lnTo>
                        <a:pt x="1094790" y="508000"/>
                      </a:lnTo>
                      <a:lnTo>
                        <a:pt x="1095032" y="507657"/>
                      </a:lnTo>
                      <a:lnTo>
                        <a:pt x="1094651" y="506730"/>
                      </a:lnTo>
                      <a:lnTo>
                        <a:pt x="1094854" y="506730"/>
                      </a:lnTo>
                      <a:lnTo>
                        <a:pt x="1095425" y="507123"/>
                      </a:lnTo>
                      <a:lnTo>
                        <a:pt x="1095692" y="506730"/>
                      </a:lnTo>
                      <a:lnTo>
                        <a:pt x="1095514" y="507187"/>
                      </a:lnTo>
                      <a:lnTo>
                        <a:pt x="1096695" y="508000"/>
                      </a:lnTo>
                      <a:lnTo>
                        <a:pt x="1098461" y="508000"/>
                      </a:lnTo>
                      <a:lnTo>
                        <a:pt x="1099870" y="509270"/>
                      </a:lnTo>
                      <a:lnTo>
                        <a:pt x="1099959" y="508000"/>
                      </a:lnTo>
                      <a:lnTo>
                        <a:pt x="1099667" y="508000"/>
                      </a:lnTo>
                      <a:lnTo>
                        <a:pt x="1099502" y="506730"/>
                      </a:lnTo>
                      <a:lnTo>
                        <a:pt x="1098981" y="506730"/>
                      </a:lnTo>
                      <a:lnTo>
                        <a:pt x="1098105" y="505460"/>
                      </a:lnTo>
                      <a:lnTo>
                        <a:pt x="1097229" y="505460"/>
                      </a:lnTo>
                      <a:lnTo>
                        <a:pt x="1097165" y="504190"/>
                      </a:lnTo>
                      <a:lnTo>
                        <a:pt x="1095667" y="504190"/>
                      </a:lnTo>
                      <a:lnTo>
                        <a:pt x="1095260" y="502920"/>
                      </a:lnTo>
                      <a:lnTo>
                        <a:pt x="1093216" y="501650"/>
                      </a:lnTo>
                      <a:lnTo>
                        <a:pt x="1094498" y="502920"/>
                      </a:lnTo>
                      <a:lnTo>
                        <a:pt x="1092225" y="501650"/>
                      </a:lnTo>
                      <a:lnTo>
                        <a:pt x="1090142" y="501650"/>
                      </a:lnTo>
                      <a:lnTo>
                        <a:pt x="1089799" y="500380"/>
                      </a:lnTo>
                      <a:lnTo>
                        <a:pt x="1083437" y="500380"/>
                      </a:lnTo>
                      <a:lnTo>
                        <a:pt x="1082916" y="499110"/>
                      </a:lnTo>
                      <a:lnTo>
                        <a:pt x="1081265" y="500380"/>
                      </a:lnTo>
                      <a:lnTo>
                        <a:pt x="1080897" y="500380"/>
                      </a:lnTo>
                      <a:lnTo>
                        <a:pt x="1079106" y="499110"/>
                      </a:lnTo>
                      <a:lnTo>
                        <a:pt x="1077963" y="500380"/>
                      </a:lnTo>
                      <a:lnTo>
                        <a:pt x="1071841" y="500380"/>
                      </a:lnTo>
                      <a:lnTo>
                        <a:pt x="1065936" y="501650"/>
                      </a:lnTo>
                      <a:lnTo>
                        <a:pt x="1060564" y="504190"/>
                      </a:lnTo>
                      <a:lnTo>
                        <a:pt x="1055408" y="506374"/>
                      </a:lnTo>
                      <a:lnTo>
                        <a:pt x="1055408" y="566420"/>
                      </a:lnTo>
                      <a:lnTo>
                        <a:pt x="1054265" y="570230"/>
                      </a:lnTo>
                      <a:lnTo>
                        <a:pt x="1055382" y="566420"/>
                      </a:lnTo>
                      <a:lnTo>
                        <a:pt x="1055408" y="506374"/>
                      </a:lnTo>
                      <a:lnTo>
                        <a:pt x="1054557" y="506730"/>
                      </a:lnTo>
                      <a:lnTo>
                        <a:pt x="1051699" y="506730"/>
                      </a:lnTo>
                      <a:lnTo>
                        <a:pt x="1050518" y="508000"/>
                      </a:lnTo>
                      <a:lnTo>
                        <a:pt x="1049375" y="508000"/>
                      </a:lnTo>
                      <a:lnTo>
                        <a:pt x="1049083" y="508381"/>
                      </a:lnTo>
                      <a:lnTo>
                        <a:pt x="1049083" y="561340"/>
                      </a:lnTo>
                      <a:lnTo>
                        <a:pt x="1047483" y="566343"/>
                      </a:lnTo>
                      <a:lnTo>
                        <a:pt x="1049020" y="561479"/>
                      </a:lnTo>
                      <a:lnTo>
                        <a:pt x="1048969" y="538543"/>
                      </a:lnTo>
                      <a:lnTo>
                        <a:pt x="1049083" y="561340"/>
                      </a:lnTo>
                      <a:lnTo>
                        <a:pt x="1049083" y="508381"/>
                      </a:lnTo>
                      <a:lnTo>
                        <a:pt x="1048397" y="509270"/>
                      </a:lnTo>
                      <a:lnTo>
                        <a:pt x="1047788" y="509270"/>
                      </a:lnTo>
                      <a:lnTo>
                        <a:pt x="1047788" y="538403"/>
                      </a:lnTo>
                      <a:lnTo>
                        <a:pt x="1046441" y="538403"/>
                      </a:lnTo>
                      <a:lnTo>
                        <a:pt x="1044956" y="536028"/>
                      </a:lnTo>
                      <a:lnTo>
                        <a:pt x="1046429" y="537210"/>
                      </a:lnTo>
                      <a:lnTo>
                        <a:pt x="1047788" y="538403"/>
                      </a:lnTo>
                      <a:lnTo>
                        <a:pt x="1047788" y="509270"/>
                      </a:lnTo>
                      <a:lnTo>
                        <a:pt x="1046810" y="509270"/>
                      </a:lnTo>
                      <a:lnTo>
                        <a:pt x="1044562" y="510540"/>
                      </a:lnTo>
                      <a:lnTo>
                        <a:pt x="1045210" y="509270"/>
                      </a:lnTo>
                      <a:lnTo>
                        <a:pt x="1043317" y="510540"/>
                      </a:lnTo>
                      <a:lnTo>
                        <a:pt x="1042225" y="510540"/>
                      </a:lnTo>
                      <a:lnTo>
                        <a:pt x="1041742" y="511810"/>
                      </a:lnTo>
                      <a:lnTo>
                        <a:pt x="1041234" y="511810"/>
                      </a:lnTo>
                      <a:lnTo>
                        <a:pt x="1040130" y="513080"/>
                      </a:lnTo>
                      <a:lnTo>
                        <a:pt x="1038961" y="513080"/>
                      </a:lnTo>
                      <a:lnTo>
                        <a:pt x="1035113" y="515620"/>
                      </a:lnTo>
                      <a:lnTo>
                        <a:pt x="1034186" y="515620"/>
                      </a:lnTo>
                      <a:lnTo>
                        <a:pt x="1033614" y="516890"/>
                      </a:lnTo>
                      <a:lnTo>
                        <a:pt x="1033399" y="516890"/>
                      </a:lnTo>
                      <a:lnTo>
                        <a:pt x="1031671" y="518528"/>
                      </a:lnTo>
                      <a:lnTo>
                        <a:pt x="1031671" y="533400"/>
                      </a:lnTo>
                      <a:lnTo>
                        <a:pt x="1030732" y="534670"/>
                      </a:lnTo>
                      <a:lnTo>
                        <a:pt x="1030719" y="535863"/>
                      </a:lnTo>
                      <a:lnTo>
                        <a:pt x="1030732" y="534593"/>
                      </a:lnTo>
                      <a:lnTo>
                        <a:pt x="1031621" y="533387"/>
                      </a:lnTo>
                      <a:lnTo>
                        <a:pt x="1031671" y="518528"/>
                      </a:lnTo>
                      <a:lnTo>
                        <a:pt x="1015974" y="533400"/>
                      </a:lnTo>
                      <a:lnTo>
                        <a:pt x="1015784" y="534670"/>
                      </a:lnTo>
                      <a:lnTo>
                        <a:pt x="1014844" y="534670"/>
                      </a:lnTo>
                      <a:lnTo>
                        <a:pt x="1014450" y="535114"/>
                      </a:lnTo>
                      <a:lnTo>
                        <a:pt x="1014450" y="559993"/>
                      </a:lnTo>
                      <a:lnTo>
                        <a:pt x="1014450" y="535114"/>
                      </a:lnTo>
                      <a:lnTo>
                        <a:pt x="1013688" y="535940"/>
                      </a:lnTo>
                      <a:lnTo>
                        <a:pt x="1013129" y="536930"/>
                      </a:lnTo>
                      <a:lnTo>
                        <a:pt x="1013129" y="559092"/>
                      </a:lnTo>
                      <a:lnTo>
                        <a:pt x="1012761" y="558800"/>
                      </a:lnTo>
                      <a:lnTo>
                        <a:pt x="1013129" y="559092"/>
                      </a:lnTo>
                      <a:lnTo>
                        <a:pt x="1013129" y="536930"/>
                      </a:lnTo>
                      <a:lnTo>
                        <a:pt x="1012964" y="537210"/>
                      </a:lnTo>
                      <a:lnTo>
                        <a:pt x="1012431" y="537210"/>
                      </a:lnTo>
                      <a:lnTo>
                        <a:pt x="1012126" y="538480"/>
                      </a:lnTo>
                      <a:lnTo>
                        <a:pt x="1011288" y="538480"/>
                      </a:lnTo>
                      <a:lnTo>
                        <a:pt x="1010539" y="539750"/>
                      </a:lnTo>
                      <a:lnTo>
                        <a:pt x="1009751" y="539750"/>
                      </a:lnTo>
                      <a:lnTo>
                        <a:pt x="1007656" y="541020"/>
                      </a:lnTo>
                      <a:lnTo>
                        <a:pt x="1002360" y="543560"/>
                      </a:lnTo>
                      <a:lnTo>
                        <a:pt x="1000950" y="543560"/>
                      </a:lnTo>
                      <a:lnTo>
                        <a:pt x="1001649" y="542290"/>
                      </a:lnTo>
                      <a:lnTo>
                        <a:pt x="1002461" y="541020"/>
                      </a:lnTo>
                      <a:lnTo>
                        <a:pt x="1003109" y="541020"/>
                      </a:lnTo>
                      <a:lnTo>
                        <a:pt x="1004519" y="539750"/>
                      </a:lnTo>
                      <a:lnTo>
                        <a:pt x="1006170" y="539750"/>
                      </a:lnTo>
                      <a:lnTo>
                        <a:pt x="1006957" y="538480"/>
                      </a:lnTo>
                      <a:lnTo>
                        <a:pt x="1007478" y="537210"/>
                      </a:lnTo>
                      <a:lnTo>
                        <a:pt x="1008278" y="535940"/>
                      </a:lnTo>
                      <a:lnTo>
                        <a:pt x="1008418" y="535940"/>
                      </a:lnTo>
                      <a:lnTo>
                        <a:pt x="1008557" y="534670"/>
                      </a:lnTo>
                      <a:lnTo>
                        <a:pt x="1009446" y="534670"/>
                      </a:lnTo>
                      <a:lnTo>
                        <a:pt x="1009370" y="533400"/>
                      </a:lnTo>
                      <a:lnTo>
                        <a:pt x="1010500" y="533400"/>
                      </a:lnTo>
                      <a:lnTo>
                        <a:pt x="1012469" y="532130"/>
                      </a:lnTo>
                      <a:lnTo>
                        <a:pt x="1013180" y="532130"/>
                      </a:lnTo>
                      <a:lnTo>
                        <a:pt x="1013574" y="530860"/>
                      </a:lnTo>
                      <a:lnTo>
                        <a:pt x="1014031" y="529590"/>
                      </a:lnTo>
                      <a:lnTo>
                        <a:pt x="1014590" y="529590"/>
                      </a:lnTo>
                      <a:lnTo>
                        <a:pt x="1015250" y="528320"/>
                      </a:lnTo>
                      <a:lnTo>
                        <a:pt x="1016711" y="528320"/>
                      </a:lnTo>
                      <a:lnTo>
                        <a:pt x="1017041" y="527050"/>
                      </a:lnTo>
                      <a:lnTo>
                        <a:pt x="1017524" y="527050"/>
                      </a:lnTo>
                      <a:lnTo>
                        <a:pt x="1017866" y="525780"/>
                      </a:lnTo>
                      <a:lnTo>
                        <a:pt x="1018044" y="525780"/>
                      </a:lnTo>
                      <a:lnTo>
                        <a:pt x="1019048" y="524510"/>
                      </a:lnTo>
                      <a:lnTo>
                        <a:pt x="1019111" y="523240"/>
                      </a:lnTo>
                      <a:lnTo>
                        <a:pt x="1019644" y="523240"/>
                      </a:lnTo>
                      <a:lnTo>
                        <a:pt x="1019721" y="521970"/>
                      </a:lnTo>
                      <a:lnTo>
                        <a:pt x="1020279" y="521970"/>
                      </a:lnTo>
                      <a:lnTo>
                        <a:pt x="1020381" y="520700"/>
                      </a:lnTo>
                      <a:lnTo>
                        <a:pt x="1021295" y="520700"/>
                      </a:lnTo>
                      <a:lnTo>
                        <a:pt x="1021994" y="519430"/>
                      </a:lnTo>
                      <a:lnTo>
                        <a:pt x="1023734" y="518160"/>
                      </a:lnTo>
                      <a:lnTo>
                        <a:pt x="1024801" y="516890"/>
                      </a:lnTo>
                      <a:lnTo>
                        <a:pt x="1025118" y="516890"/>
                      </a:lnTo>
                      <a:lnTo>
                        <a:pt x="1025601" y="515620"/>
                      </a:lnTo>
                      <a:lnTo>
                        <a:pt x="1026248" y="515620"/>
                      </a:lnTo>
                      <a:lnTo>
                        <a:pt x="1026452" y="514350"/>
                      </a:lnTo>
                      <a:lnTo>
                        <a:pt x="1026668" y="514350"/>
                      </a:lnTo>
                      <a:lnTo>
                        <a:pt x="1027188" y="513080"/>
                      </a:lnTo>
                      <a:lnTo>
                        <a:pt x="1027493" y="511810"/>
                      </a:lnTo>
                      <a:lnTo>
                        <a:pt x="1029258" y="511810"/>
                      </a:lnTo>
                      <a:lnTo>
                        <a:pt x="1029398" y="510540"/>
                      </a:lnTo>
                      <a:lnTo>
                        <a:pt x="1029639" y="509270"/>
                      </a:lnTo>
                      <a:lnTo>
                        <a:pt x="1030211" y="509270"/>
                      </a:lnTo>
                      <a:lnTo>
                        <a:pt x="1031138" y="508000"/>
                      </a:lnTo>
                      <a:lnTo>
                        <a:pt x="1032395" y="508000"/>
                      </a:lnTo>
                      <a:lnTo>
                        <a:pt x="1032497" y="506730"/>
                      </a:lnTo>
                      <a:lnTo>
                        <a:pt x="1033957" y="506730"/>
                      </a:lnTo>
                      <a:lnTo>
                        <a:pt x="1034872" y="505460"/>
                      </a:lnTo>
                      <a:lnTo>
                        <a:pt x="1035977" y="505460"/>
                      </a:lnTo>
                      <a:lnTo>
                        <a:pt x="1035989" y="504190"/>
                      </a:lnTo>
                      <a:lnTo>
                        <a:pt x="1036434" y="504190"/>
                      </a:lnTo>
                      <a:lnTo>
                        <a:pt x="1036916" y="502920"/>
                      </a:lnTo>
                      <a:lnTo>
                        <a:pt x="1038923" y="502920"/>
                      </a:lnTo>
                      <a:lnTo>
                        <a:pt x="1039114" y="504190"/>
                      </a:lnTo>
                      <a:lnTo>
                        <a:pt x="1039380" y="502920"/>
                      </a:lnTo>
                      <a:lnTo>
                        <a:pt x="1039418" y="501650"/>
                      </a:lnTo>
                      <a:lnTo>
                        <a:pt x="1039647" y="502742"/>
                      </a:lnTo>
                      <a:lnTo>
                        <a:pt x="1041222" y="501650"/>
                      </a:lnTo>
                      <a:lnTo>
                        <a:pt x="1040269" y="501650"/>
                      </a:lnTo>
                      <a:lnTo>
                        <a:pt x="1042543" y="500380"/>
                      </a:lnTo>
                      <a:lnTo>
                        <a:pt x="1043165" y="500380"/>
                      </a:lnTo>
                      <a:lnTo>
                        <a:pt x="1043228" y="499110"/>
                      </a:lnTo>
                      <a:lnTo>
                        <a:pt x="1043686" y="499110"/>
                      </a:lnTo>
                      <a:lnTo>
                        <a:pt x="1052931" y="496570"/>
                      </a:lnTo>
                      <a:lnTo>
                        <a:pt x="1056081" y="496570"/>
                      </a:lnTo>
                      <a:lnTo>
                        <a:pt x="1056220" y="495300"/>
                      </a:lnTo>
                      <a:lnTo>
                        <a:pt x="1055979" y="494030"/>
                      </a:lnTo>
                      <a:lnTo>
                        <a:pt x="1056093" y="492760"/>
                      </a:lnTo>
                      <a:lnTo>
                        <a:pt x="1056538" y="492760"/>
                      </a:lnTo>
                      <a:lnTo>
                        <a:pt x="1056982" y="491490"/>
                      </a:lnTo>
                      <a:lnTo>
                        <a:pt x="1056944" y="490220"/>
                      </a:lnTo>
                      <a:lnTo>
                        <a:pt x="1057249" y="490220"/>
                      </a:lnTo>
                      <a:lnTo>
                        <a:pt x="1057846" y="488950"/>
                      </a:lnTo>
                      <a:lnTo>
                        <a:pt x="1059408" y="488950"/>
                      </a:lnTo>
                      <a:lnTo>
                        <a:pt x="1059573" y="487680"/>
                      </a:lnTo>
                      <a:lnTo>
                        <a:pt x="1059853" y="487680"/>
                      </a:lnTo>
                      <a:lnTo>
                        <a:pt x="1059903" y="486410"/>
                      </a:lnTo>
                      <a:lnTo>
                        <a:pt x="1060983" y="486410"/>
                      </a:lnTo>
                      <a:lnTo>
                        <a:pt x="1061745" y="485140"/>
                      </a:lnTo>
                      <a:lnTo>
                        <a:pt x="1064120" y="483870"/>
                      </a:lnTo>
                      <a:lnTo>
                        <a:pt x="1064475" y="483870"/>
                      </a:lnTo>
                      <a:lnTo>
                        <a:pt x="1064856" y="482600"/>
                      </a:lnTo>
                      <a:lnTo>
                        <a:pt x="1065758" y="482600"/>
                      </a:lnTo>
                      <a:lnTo>
                        <a:pt x="1066469" y="481330"/>
                      </a:lnTo>
                      <a:lnTo>
                        <a:pt x="1068628" y="481330"/>
                      </a:lnTo>
                      <a:lnTo>
                        <a:pt x="1070076" y="482600"/>
                      </a:lnTo>
                      <a:lnTo>
                        <a:pt x="1072248" y="482600"/>
                      </a:lnTo>
                      <a:lnTo>
                        <a:pt x="1075817" y="481330"/>
                      </a:lnTo>
                      <a:lnTo>
                        <a:pt x="1084021" y="481330"/>
                      </a:lnTo>
                      <a:lnTo>
                        <a:pt x="1085303" y="480060"/>
                      </a:lnTo>
                      <a:lnTo>
                        <a:pt x="1086726" y="480060"/>
                      </a:lnTo>
                      <a:lnTo>
                        <a:pt x="1087399" y="481330"/>
                      </a:lnTo>
                      <a:lnTo>
                        <a:pt x="1093025" y="481330"/>
                      </a:lnTo>
                      <a:lnTo>
                        <a:pt x="1094244" y="480060"/>
                      </a:lnTo>
                      <a:lnTo>
                        <a:pt x="1097749" y="480060"/>
                      </a:lnTo>
                      <a:lnTo>
                        <a:pt x="1098397" y="481330"/>
                      </a:lnTo>
                      <a:lnTo>
                        <a:pt x="1097000" y="481330"/>
                      </a:lnTo>
                      <a:lnTo>
                        <a:pt x="1098346" y="482600"/>
                      </a:lnTo>
                      <a:lnTo>
                        <a:pt x="1101725" y="483870"/>
                      </a:lnTo>
                      <a:lnTo>
                        <a:pt x="1102550" y="483870"/>
                      </a:lnTo>
                      <a:lnTo>
                        <a:pt x="1104544" y="485140"/>
                      </a:lnTo>
                      <a:lnTo>
                        <a:pt x="1105839" y="485140"/>
                      </a:lnTo>
                      <a:lnTo>
                        <a:pt x="1107630" y="487680"/>
                      </a:lnTo>
                      <a:lnTo>
                        <a:pt x="1107871" y="488950"/>
                      </a:lnTo>
                      <a:lnTo>
                        <a:pt x="1109408" y="490220"/>
                      </a:lnTo>
                      <a:lnTo>
                        <a:pt x="1110818" y="490220"/>
                      </a:lnTo>
                      <a:lnTo>
                        <a:pt x="1112380" y="491490"/>
                      </a:lnTo>
                      <a:lnTo>
                        <a:pt x="1113802" y="491490"/>
                      </a:lnTo>
                      <a:lnTo>
                        <a:pt x="1117460" y="492760"/>
                      </a:lnTo>
                      <a:lnTo>
                        <a:pt x="1119924" y="494030"/>
                      </a:lnTo>
                      <a:lnTo>
                        <a:pt x="1122108" y="494030"/>
                      </a:lnTo>
                      <a:lnTo>
                        <a:pt x="1124483" y="495300"/>
                      </a:lnTo>
                      <a:lnTo>
                        <a:pt x="1135011" y="495300"/>
                      </a:lnTo>
                      <a:lnTo>
                        <a:pt x="1135443" y="494030"/>
                      </a:lnTo>
                      <a:lnTo>
                        <a:pt x="1135164" y="494030"/>
                      </a:lnTo>
                      <a:lnTo>
                        <a:pt x="1134110" y="492760"/>
                      </a:lnTo>
                      <a:lnTo>
                        <a:pt x="1133513" y="491490"/>
                      </a:lnTo>
                      <a:lnTo>
                        <a:pt x="1132128" y="490220"/>
                      </a:lnTo>
                      <a:lnTo>
                        <a:pt x="1130096" y="490220"/>
                      </a:lnTo>
                      <a:lnTo>
                        <a:pt x="1129157" y="488950"/>
                      </a:lnTo>
                      <a:lnTo>
                        <a:pt x="1127709" y="488950"/>
                      </a:lnTo>
                      <a:lnTo>
                        <a:pt x="1127112" y="487680"/>
                      </a:lnTo>
                      <a:lnTo>
                        <a:pt x="1125435" y="487680"/>
                      </a:lnTo>
                      <a:lnTo>
                        <a:pt x="1124737" y="486410"/>
                      </a:lnTo>
                      <a:lnTo>
                        <a:pt x="1123569" y="486410"/>
                      </a:lnTo>
                      <a:lnTo>
                        <a:pt x="1119517" y="483870"/>
                      </a:lnTo>
                      <a:lnTo>
                        <a:pt x="1116406" y="482600"/>
                      </a:lnTo>
                      <a:lnTo>
                        <a:pt x="1113231" y="482600"/>
                      </a:lnTo>
                      <a:lnTo>
                        <a:pt x="1115720" y="481330"/>
                      </a:lnTo>
                      <a:lnTo>
                        <a:pt x="1132306" y="481330"/>
                      </a:lnTo>
                      <a:lnTo>
                        <a:pt x="1134821" y="482600"/>
                      </a:lnTo>
                      <a:lnTo>
                        <a:pt x="1133563" y="483870"/>
                      </a:lnTo>
                      <a:lnTo>
                        <a:pt x="1134389" y="483870"/>
                      </a:lnTo>
                      <a:lnTo>
                        <a:pt x="1136624" y="485140"/>
                      </a:lnTo>
                      <a:lnTo>
                        <a:pt x="1144549" y="482600"/>
                      </a:lnTo>
                      <a:lnTo>
                        <a:pt x="1150175" y="482600"/>
                      </a:lnTo>
                      <a:lnTo>
                        <a:pt x="1157046" y="481330"/>
                      </a:lnTo>
                      <a:lnTo>
                        <a:pt x="1157732" y="482600"/>
                      </a:lnTo>
                      <a:lnTo>
                        <a:pt x="1161364" y="480060"/>
                      </a:lnTo>
                      <a:lnTo>
                        <a:pt x="1164590" y="476250"/>
                      </a:lnTo>
                      <a:lnTo>
                        <a:pt x="1166660" y="474980"/>
                      </a:lnTo>
                      <a:lnTo>
                        <a:pt x="1168717" y="473710"/>
                      </a:lnTo>
                      <a:lnTo>
                        <a:pt x="1172718" y="471170"/>
                      </a:lnTo>
                      <a:lnTo>
                        <a:pt x="1172591" y="469900"/>
                      </a:lnTo>
                      <a:lnTo>
                        <a:pt x="1173340" y="473710"/>
                      </a:lnTo>
                      <a:lnTo>
                        <a:pt x="1174838" y="469900"/>
                      </a:lnTo>
                      <a:lnTo>
                        <a:pt x="1174445" y="468630"/>
                      </a:lnTo>
                      <a:lnTo>
                        <a:pt x="1174381" y="467360"/>
                      </a:lnTo>
                      <a:lnTo>
                        <a:pt x="1174140" y="467360"/>
                      </a:lnTo>
                      <a:lnTo>
                        <a:pt x="1174940" y="466090"/>
                      </a:lnTo>
                      <a:lnTo>
                        <a:pt x="1178344" y="464820"/>
                      </a:lnTo>
                      <a:lnTo>
                        <a:pt x="1179550" y="463550"/>
                      </a:lnTo>
                      <a:lnTo>
                        <a:pt x="1176324" y="462280"/>
                      </a:lnTo>
                      <a:lnTo>
                        <a:pt x="1185532" y="459740"/>
                      </a:lnTo>
                      <a:lnTo>
                        <a:pt x="1188656" y="459740"/>
                      </a:lnTo>
                      <a:lnTo>
                        <a:pt x="1190879" y="458470"/>
                      </a:lnTo>
                      <a:lnTo>
                        <a:pt x="1195603" y="458470"/>
                      </a:lnTo>
                      <a:lnTo>
                        <a:pt x="1198778" y="459740"/>
                      </a:lnTo>
                      <a:lnTo>
                        <a:pt x="1201686" y="459740"/>
                      </a:lnTo>
                      <a:lnTo>
                        <a:pt x="1203312" y="461010"/>
                      </a:lnTo>
                      <a:lnTo>
                        <a:pt x="1203820" y="461010"/>
                      </a:lnTo>
                      <a:lnTo>
                        <a:pt x="1201750" y="463550"/>
                      </a:lnTo>
                      <a:lnTo>
                        <a:pt x="1201420" y="463550"/>
                      </a:lnTo>
                      <a:lnTo>
                        <a:pt x="1199616" y="464820"/>
                      </a:lnTo>
                      <a:lnTo>
                        <a:pt x="1197076" y="464820"/>
                      </a:lnTo>
                      <a:lnTo>
                        <a:pt x="1197711" y="466090"/>
                      </a:lnTo>
                      <a:lnTo>
                        <a:pt x="1200073" y="466090"/>
                      </a:lnTo>
                      <a:lnTo>
                        <a:pt x="1198918" y="467360"/>
                      </a:lnTo>
                      <a:lnTo>
                        <a:pt x="1198181" y="467360"/>
                      </a:lnTo>
                      <a:lnTo>
                        <a:pt x="1196657" y="468630"/>
                      </a:lnTo>
                      <a:lnTo>
                        <a:pt x="1195476" y="471170"/>
                      </a:lnTo>
                      <a:lnTo>
                        <a:pt x="1195082" y="471170"/>
                      </a:lnTo>
                      <a:lnTo>
                        <a:pt x="1190726" y="481330"/>
                      </a:lnTo>
                      <a:lnTo>
                        <a:pt x="1189342" y="483870"/>
                      </a:lnTo>
                      <a:lnTo>
                        <a:pt x="1189253" y="485140"/>
                      </a:lnTo>
                      <a:lnTo>
                        <a:pt x="1188529" y="486410"/>
                      </a:lnTo>
                      <a:lnTo>
                        <a:pt x="1187132" y="487680"/>
                      </a:lnTo>
                      <a:lnTo>
                        <a:pt x="1185887" y="488950"/>
                      </a:lnTo>
                      <a:lnTo>
                        <a:pt x="1184884" y="488950"/>
                      </a:lnTo>
                      <a:lnTo>
                        <a:pt x="1185075" y="491490"/>
                      </a:lnTo>
                      <a:lnTo>
                        <a:pt x="1185443" y="491490"/>
                      </a:lnTo>
                      <a:lnTo>
                        <a:pt x="1186865" y="492760"/>
                      </a:lnTo>
                      <a:lnTo>
                        <a:pt x="1189151" y="492760"/>
                      </a:lnTo>
                      <a:lnTo>
                        <a:pt x="1188669" y="494030"/>
                      </a:lnTo>
                      <a:lnTo>
                        <a:pt x="1187348" y="494030"/>
                      </a:lnTo>
                      <a:lnTo>
                        <a:pt x="1185900" y="495300"/>
                      </a:lnTo>
                      <a:lnTo>
                        <a:pt x="1186484" y="495300"/>
                      </a:lnTo>
                      <a:lnTo>
                        <a:pt x="1188059" y="496570"/>
                      </a:lnTo>
                      <a:lnTo>
                        <a:pt x="1189012" y="496570"/>
                      </a:lnTo>
                      <a:lnTo>
                        <a:pt x="1189316" y="497840"/>
                      </a:lnTo>
                      <a:lnTo>
                        <a:pt x="1187564" y="497840"/>
                      </a:lnTo>
                      <a:lnTo>
                        <a:pt x="1186421" y="496570"/>
                      </a:lnTo>
                      <a:lnTo>
                        <a:pt x="1185430" y="495300"/>
                      </a:lnTo>
                      <a:lnTo>
                        <a:pt x="1184694" y="496570"/>
                      </a:lnTo>
                      <a:lnTo>
                        <a:pt x="1183297" y="495300"/>
                      </a:lnTo>
                      <a:lnTo>
                        <a:pt x="1183043" y="496570"/>
                      </a:lnTo>
                      <a:lnTo>
                        <a:pt x="1183043" y="494030"/>
                      </a:lnTo>
                      <a:lnTo>
                        <a:pt x="1182357" y="495300"/>
                      </a:lnTo>
                      <a:lnTo>
                        <a:pt x="1181709" y="495300"/>
                      </a:lnTo>
                      <a:lnTo>
                        <a:pt x="1181163" y="496570"/>
                      </a:lnTo>
                      <a:lnTo>
                        <a:pt x="1180820" y="497586"/>
                      </a:lnTo>
                      <a:lnTo>
                        <a:pt x="1180769" y="499110"/>
                      </a:lnTo>
                      <a:lnTo>
                        <a:pt x="1179918" y="500380"/>
                      </a:lnTo>
                      <a:lnTo>
                        <a:pt x="1179169" y="501650"/>
                      </a:lnTo>
                      <a:lnTo>
                        <a:pt x="1178509" y="502920"/>
                      </a:lnTo>
                      <a:lnTo>
                        <a:pt x="1178852" y="504190"/>
                      </a:lnTo>
                      <a:lnTo>
                        <a:pt x="1177036" y="505460"/>
                      </a:lnTo>
                      <a:lnTo>
                        <a:pt x="1184186" y="505460"/>
                      </a:lnTo>
                      <a:lnTo>
                        <a:pt x="1183487" y="506730"/>
                      </a:lnTo>
                      <a:lnTo>
                        <a:pt x="1181328" y="506730"/>
                      </a:lnTo>
                      <a:lnTo>
                        <a:pt x="1180655" y="508000"/>
                      </a:lnTo>
                      <a:lnTo>
                        <a:pt x="1180414" y="508000"/>
                      </a:lnTo>
                      <a:lnTo>
                        <a:pt x="1177988" y="509270"/>
                      </a:lnTo>
                      <a:lnTo>
                        <a:pt x="1176070" y="511810"/>
                      </a:lnTo>
                      <a:lnTo>
                        <a:pt x="1172387" y="514350"/>
                      </a:lnTo>
                      <a:lnTo>
                        <a:pt x="1171016" y="514350"/>
                      </a:lnTo>
                      <a:lnTo>
                        <a:pt x="1168908" y="516890"/>
                      </a:lnTo>
                      <a:lnTo>
                        <a:pt x="1168374" y="516890"/>
                      </a:lnTo>
                      <a:lnTo>
                        <a:pt x="1168628" y="518210"/>
                      </a:lnTo>
                      <a:lnTo>
                        <a:pt x="1169022" y="519430"/>
                      </a:lnTo>
                      <a:lnTo>
                        <a:pt x="1169606" y="520700"/>
                      </a:lnTo>
                      <a:lnTo>
                        <a:pt x="1169479" y="520700"/>
                      </a:lnTo>
                      <a:lnTo>
                        <a:pt x="1169860" y="521970"/>
                      </a:lnTo>
                      <a:lnTo>
                        <a:pt x="1170647" y="523240"/>
                      </a:lnTo>
                      <a:lnTo>
                        <a:pt x="1175753" y="523240"/>
                      </a:lnTo>
                      <a:lnTo>
                        <a:pt x="1178585" y="521970"/>
                      </a:lnTo>
                      <a:lnTo>
                        <a:pt x="1181874" y="521970"/>
                      </a:lnTo>
                      <a:lnTo>
                        <a:pt x="1183500" y="520700"/>
                      </a:lnTo>
                      <a:lnTo>
                        <a:pt x="1182839" y="519430"/>
                      </a:lnTo>
                      <a:lnTo>
                        <a:pt x="1184325" y="519430"/>
                      </a:lnTo>
                      <a:lnTo>
                        <a:pt x="1184059" y="520700"/>
                      </a:lnTo>
                      <a:lnTo>
                        <a:pt x="1183614" y="520700"/>
                      </a:lnTo>
                      <a:lnTo>
                        <a:pt x="1183233" y="521970"/>
                      </a:lnTo>
                      <a:lnTo>
                        <a:pt x="1183551" y="521970"/>
                      </a:lnTo>
                      <a:lnTo>
                        <a:pt x="1185989" y="520700"/>
                      </a:lnTo>
                      <a:lnTo>
                        <a:pt x="1191755" y="520700"/>
                      </a:lnTo>
                      <a:lnTo>
                        <a:pt x="1193380" y="521970"/>
                      </a:lnTo>
                      <a:lnTo>
                        <a:pt x="1201166" y="521970"/>
                      </a:lnTo>
                      <a:lnTo>
                        <a:pt x="1202461" y="523240"/>
                      </a:lnTo>
                      <a:lnTo>
                        <a:pt x="1206271" y="523240"/>
                      </a:lnTo>
                      <a:lnTo>
                        <a:pt x="1206360" y="521970"/>
                      </a:lnTo>
                      <a:lnTo>
                        <a:pt x="1207401" y="521970"/>
                      </a:lnTo>
                      <a:lnTo>
                        <a:pt x="1209459" y="523240"/>
                      </a:lnTo>
                      <a:lnTo>
                        <a:pt x="1210906" y="521970"/>
                      </a:lnTo>
                      <a:lnTo>
                        <a:pt x="1212405" y="521970"/>
                      </a:lnTo>
                      <a:lnTo>
                        <a:pt x="1212430" y="519430"/>
                      </a:lnTo>
                      <a:lnTo>
                        <a:pt x="1212913" y="520700"/>
                      </a:lnTo>
                      <a:lnTo>
                        <a:pt x="1214513" y="520700"/>
                      </a:lnTo>
                      <a:lnTo>
                        <a:pt x="1215009" y="519430"/>
                      </a:lnTo>
                      <a:lnTo>
                        <a:pt x="1215148" y="519430"/>
                      </a:lnTo>
                      <a:lnTo>
                        <a:pt x="1214793" y="518210"/>
                      </a:lnTo>
                      <a:lnTo>
                        <a:pt x="1216253" y="519430"/>
                      </a:lnTo>
                      <a:lnTo>
                        <a:pt x="1217168" y="520700"/>
                      </a:lnTo>
                      <a:lnTo>
                        <a:pt x="1218806" y="519557"/>
                      </a:lnTo>
                      <a:lnTo>
                        <a:pt x="1218514" y="520700"/>
                      </a:lnTo>
                      <a:lnTo>
                        <a:pt x="1218374" y="520700"/>
                      </a:lnTo>
                      <a:lnTo>
                        <a:pt x="1218438" y="521970"/>
                      </a:lnTo>
                      <a:lnTo>
                        <a:pt x="1219885" y="521970"/>
                      </a:lnTo>
                      <a:lnTo>
                        <a:pt x="1217422" y="523240"/>
                      </a:lnTo>
                      <a:lnTo>
                        <a:pt x="1216139" y="523240"/>
                      </a:lnTo>
                      <a:lnTo>
                        <a:pt x="1214640" y="524510"/>
                      </a:lnTo>
                      <a:lnTo>
                        <a:pt x="1217396" y="524510"/>
                      </a:lnTo>
                      <a:lnTo>
                        <a:pt x="1219288" y="523240"/>
                      </a:lnTo>
                      <a:lnTo>
                        <a:pt x="1219898" y="523240"/>
                      </a:lnTo>
                      <a:lnTo>
                        <a:pt x="1218107" y="525780"/>
                      </a:lnTo>
                      <a:lnTo>
                        <a:pt x="1219276" y="525780"/>
                      </a:lnTo>
                      <a:lnTo>
                        <a:pt x="1220139" y="524510"/>
                      </a:lnTo>
                      <a:lnTo>
                        <a:pt x="1220304" y="524510"/>
                      </a:lnTo>
                      <a:lnTo>
                        <a:pt x="1220355" y="523240"/>
                      </a:lnTo>
                      <a:lnTo>
                        <a:pt x="1220457" y="525780"/>
                      </a:lnTo>
                      <a:lnTo>
                        <a:pt x="1221193" y="524510"/>
                      </a:lnTo>
                      <a:lnTo>
                        <a:pt x="1222502" y="524510"/>
                      </a:lnTo>
                      <a:lnTo>
                        <a:pt x="1222019" y="523240"/>
                      </a:lnTo>
                      <a:lnTo>
                        <a:pt x="1223200" y="524510"/>
                      </a:lnTo>
                      <a:lnTo>
                        <a:pt x="1224254" y="525780"/>
                      </a:lnTo>
                      <a:lnTo>
                        <a:pt x="1225245" y="524510"/>
                      </a:lnTo>
                      <a:lnTo>
                        <a:pt x="1226045" y="523240"/>
                      </a:lnTo>
                      <a:lnTo>
                        <a:pt x="1224876" y="521970"/>
                      </a:lnTo>
                      <a:lnTo>
                        <a:pt x="1225753" y="519430"/>
                      </a:lnTo>
                      <a:lnTo>
                        <a:pt x="1226388" y="520700"/>
                      </a:lnTo>
                      <a:lnTo>
                        <a:pt x="1226299" y="521970"/>
                      </a:lnTo>
                      <a:lnTo>
                        <a:pt x="1229271" y="521970"/>
                      </a:lnTo>
                      <a:lnTo>
                        <a:pt x="1229093" y="524510"/>
                      </a:lnTo>
                      <a:lnTo>
                        <a:pt x="1231163" y="520700"/>
                      </a:lnTo>
                      <a:lnTo>
                        <a:pt x="1232014" y="519430"/>
                      </a:lnTo>
                      <a:lnTo>
                        <a:pt x="1231988" y="520700"/>
                      </a:lnTo>
                      <a:lnTo>
                        <a:pt x="1231633" y="521970"/>
                      </a:lnTo>
                      <a:lnTo>
                        <a:pt x="1234554" y="521970"/>
                      </a:lnTo>
                      <a:lnTo>
                        <a:pt x="1235113" y="520700"/>
                      </a:lnTo>
                      <a:lnTo>
                        <a:pt x="1235608" y="521970"/>
                      </a:lnTo>
                      <a:lnTo>
                        <a:pt x="1221422" y="530860"/>
                      </a:lnTo>
                      <a:lnTo>
                        <a:pt x="1220114" y="530860"/>
                      </a:lnTo>
                      <a:lnTo>
                        <a:pt x="1219263" y="532130"/>
                      </a:lnTo>
                      <a:lnTo>
                        <a:pt x="1218946" y="532130"/>
                      </a:lnTo>
                      <a:lnTo>
                        <a:pt x="1218209" y="533400"/>
                      </a:lnTo>
                      <a:lnTo>
                        <a:pt x="1217841" y="534670"/>
                      </a:lnTo>
                      <a:lnTo>
                        <a:pt x="1218298" y="535940"/>
                      </a:lnTo>
                      <a:lnTo>
                        <a:pt x="1221054" y="535940"/>
                      </a:lnTo>
                      <a:lnTo>
                        <a:pt x="1223429" y="534670"/>
                      </a:lnTo>
                      <a:lnTo>
                        <a:pt x="1224927" y="534670"/>
                      </a:lnTo>
                      <a:lnTo>
                        <a:pt x="1224635" y="535940"/>
                      </a:lnTo>
                      <a:lnTo>
                        <a:pt x="1226146" y="535940"/>
                      </a:lnTo>
                      <a:lnTo>
                        <a:pt x="1227848" y="534670"/>
                      </a:lnTo>
                      <a:lnTo>
                        <a:pt x="1228420" y="534670"/>
                      </a:lnTo>
                      <a:lnTo>
                        <a:pt x="1228788" y="532130"/>
                      </a:lnTo>
                      <a:lnTo>
                        <a:pt x="1228826" y="533400"/>
                      </a:lnTo>
                      <a:lnTo>
                        <a:pt x="1229042" y="533400"/>
                      </a:lnTo>
                      <a:lnTo>
                        <a:pt x="1229360" y="532130"/>
                      </a:lnTo>
                      <a:lnTo>
                        <a:pt x="1230185" y="532130"/>
                      </a:lnTo>
                      <a:lnTo>
                        <a:pt x="1230414" y="530860"/>
                      </a:lnTo>
                      <a:lnTo>
                        <a:pt x="1230833" y="529590"/>
                      </a:lnTo>
                      <a:lnTo>
                        <a:pt x="1231099" y="529590"/>
                      </a:lnTo>
                      <a:lnTo>
                        <a:pt x="1231861" y="528320"/>
                      </a:lnTo>
                      <a:lnTo>
                        <a:pt x="1233081" y="527050"/>
                      </a:lnTo>
                      <a:lnTo>
                        <a:pt x="1233690" y="525780"/>
                      </a:lnTo>
                      <a:lnTo>
                        <a:pt x="1234236" y="525780"/>
                      </a:lnTo>
                      <a:lnTo>
                        <a:pt x="1234401" y="527050"/>
                      </a:lnTo>
                      <a:lnTo>
                        <a:pt x="1235506" y="527050"/>
                      </a:lnTo>
                      <a:lnTo>
                        <a:pt x="1235837" y="525780"/>
                      </a:lnTo>
                      <a:lnTo>
                        <a:pt x="1235951" y="527050"/>
                      </a:lnTo>
                      <a:lnTo>
                        <a:pt x="1237665" y="525780"/>
                      </a:lnTo>
                      <a:lnTo>
                        <a:pt x="1238338" y="523240"/>
                      </a:lnTo>
                      <a:lnTo>
                        <a:pt x="1239583" y="521970"/>
                      </a:lnTo>
                      <a:lnTo>
                        <a:pt x="1239113" y="524510"/>
                      </a:lnTo>
                      <a:lnTo>
                        <a:pt x="1239050" y="524713"/>
                      </a:lnTo>
                      <a:lnTo>
                        <a:pt x="1239431" y="525780"/>
                      </a:lnTo>
                      <a:lnTo>
                        <a:pt x="1240155" y="524510"/>
                      </a:lnTo>
                      <a:lnTo>
                        <a:pt x="1239850" y="523240"/>
                      </a:lnTo>
                      <a:lnTo>
                        <a:pt x="1240574" y="521970"/>
                      </a:lnTo>
                      <a:lnTo>
                        <a:pt x="1241374" y="521970"/>
                      </a:lnTo>
                      <a:lnTo>
                        <a:pt x="1241704" y="520700"/>
                      </a:lnTo>
                      <a:lnTo>
                        <a:pt x="1242034" y="519430"/>
                      </a:lnTo>
                      <a:lnTo>
                        <a:pt x="1243025" y="518160"/>
                      </a:lnTo>
                      <a:lnTo>
                        <a:pt x="1244523" y="518160"/>
                      </a:lnTo>
                      <a:lnTo>
                        <a:pt x="1244752" y="519430"/>
                      </a:lnTo>
                      <a:lnTo>
                        <a:pt x="1245463" y="518160"/>
                      </a:lnTo>
                      <a:lnTo>
                        <a:pt x="1245603" y="519557"/>
                      </a:lnTo>
                      <a:lnTo>
                        <a:pt x="1246733" y="523240"/>
                      </a:lnTo>
                      <a:lnTo>
                        <a:pt x="1246911" y="524510"/>
                      </a:lnTo>
                      <a:lnTo>
                        <a:pt x="1247571" y="525780"/>
                      </a:lnTo>
                      <a:lnTo>
                        <a:pt x="1246949" y="525780"/>
                      </a:lnTo>
                      <a:lnTo>
                        <a:pt x="1246809" y="528320"/>
                      </a:lnTo>
                      <a:lnTo>
                        <a:pt x="1245717" y="528320"/>
                      </a:lnTo>
                      <a:lnTo>
                        <a:pt x="1245755" y="529590"/>
                      </a:lnTo>
                      <a:lnTo>
                        <a:pt x="1243672" y="532130"/>
                      </a:lnTo>
                      <a:lnTo>
                        <a:pt x="1242898" y="535940"/>
                      </a:lnTo>
                      <a:lnTo>
                        <a:pt x="1243012" y="537210"/>
                      </a:lnTo>
                      <a:lnTo>
                        <a:pt x="1246212" y="537210"/>
                      </a:lnTo>
                      <a:lnTo>
                        <a:pt x="1249895" y="532130"/>
                      </a:lnTo>
                      <a:lnTo>
                        <a:pt x="1250708" y="530860"/>
                      </a:lnTo>
                      <a:lnTo>
                        <a:pt x="1251648" y="530860"/>
                      </a:lnTo>
                      <a:lnTo>
                        <a:pt x="1251877" y="529590"/>
                      </a:lnTo>
                      <a:lnTo>
                        <a:pt x="1252105" y="530860"/>
                      </a:lnTo>
                      <a:lnTo>
                        <a:pt x="1252181" y="529590"/>
                      </a:lnTo>
                      <a:lnTo>
                        <a:pt x="1252372" y="530860"/>
                      </a:lnTo>
                      <a:lnTo>
                        <a:pt x="1252512" y="530860"/>
                      </a:lnTo>
                      <a:lnTo>
                        <a:pt x="1252601" y="532130"/>
                      </a:lnTo>
                      <a:lnTo>
                        <a:pt x="1250848" y="532130"/>
                      </a:lnTo>
                      <a:lnTo>
                        <a:pt x="1250772" y="533400"/>
                      </a:lnTo>
                      <a:lnTo>
                        <a:pt x="1252004" y="533400"/>
                      </a:lnTo>
                      <a:lnTo>
                        <a:pt x="1252067" y="534670"/>
                      </a:lnTo>
                      <a:lnTo>
                        <a:pt x="1251331" y="534670"/>
                      </a:lnTo>
                      <a:lnTo>
                        <a:pt x="1251216" y="535940"/>
                      </a:lnTo>
                      <a:lnTo>
                        <a:pt x="1250797" y="535940"/>
                      </a:lnTo>
                      <a:lnTo>
                        <a:pt x="1250657" y="537210"/>
                      </a:lnTo>
                      <a:lnTo>
                        <a:pt x="1251407" y="535940"/>
                      </a:lnTo>
                      <a:lnTo>
                        <a:pt x="1251851" y="535940"/>
                      </a:lnTo>
                      <a:lnTo>
                        <a:pt x="1250721" y="538480"/>
                      </a:lnTo>
                      <a:lnTo>
                        <a:pt x="1250556" y="541020"/>
                      </a:lnTo>
                      <a:lnTo>
                        <a:pt x="1253731" y="539750"/>
                      </a:lnTo>
                      <a:lnTo>
                        <a:pt x="1253985" y="538480"/>
                      </a:lnTo>
                      <a:lnTo>
                        <a:pt x="1254988" y="538480"/>
                      </a:lnTo>
                      <a:lnTo>
                        <a:pt x="1255090" y="539750"/>
                      </a:lnTo>
                      <a:lnTo>
                        <a:pt x="1255979" y="538480"/>
                      </a:lnTo>
                      <a:lnTo>
                        <a:pt x="1257287" y="542290"/>
                      </a:lnTo>
                      <a:lnTo>
                        <a:pt x="1259776" y="538480"/>
                      </a:lnTo>
                      <a:lnTo>
                        <a:pt x="1260602" y="537210"/>
                      </a:lnTo>
                      <a:lnTo>
                        <a:pt x="1261364" y="534670"/>
                      </a:lnTo>
                      <a:lnTo>
                        <a:pt x="1262227" y="530860"/>
                      </a:lnTo>
                      <a:lnTo>
                        <a:pt x="1262710" y="529590"/>
                      </a:lnTo>
                      <a:lnTo>
                        <a:pt x="1263967" y="527050"/>
                      </a:lnTo>
                      <a:lnTo>
                        <a:pt x="1264640" y="525780"/>
                      </a:lnTo>
                      <a:lnTo>
                        <a:pt x="1265097" y="524510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601" name="object 141">
                  <a:extLst>
                    <a:ext uri="{FF2B5EF4-FFF2-40B4-BE49-F238E27FC236}">
                      <a16:creationId xmlns:a16="http://schemas.microsoft.com/office/drawing/2014/main" id="{7372EBA5-EBD8-49EF-1DAD-9C19C509C933}"/>
                    </a:ext>
                  </a:extLst>
                </p:cNvPr>
                <p:cNvSpPr/>
                <p:nvPr/>
              </p:nvSpPr>
              <p:spPr>
                <a:xfrm>
                  <a:off x="1462747" y="2226602"/>
                  <a:ext cx="296545" cy="91884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6544" h="918844">
                      <a:moveTo>
                        <a:pt x="89103" y="436511"/>
                      </a:moveTo>
                      <a:lnTo>
                        <a:pt x="88887" y="436422"/>
                      </a:lnTo>
                      <a:lnTo>
                        <a:pt x="88074" y="436041"/>
                      </a:lnTo>
                      <a:lnTo>
                        <a:pt x="87922" y="435508"/>
                      </a:lnTo>
                      <a:lnTo>
                        <a:pt x="87845" y="435254"/>
                      </a:lnTo>
                      <a:lnTo>
                        <a:pt x="86931" y="435508"/>
                      </a:lnTo>
                      <a:lnTo>
                        <a:pt x="85344" y="434784"/>
                      </a:lnTo>
                      <a:lnTo>
                        <a:pt x="83743" y="434098"/>
                      </a:lnTo>
                      <a:lnTo>
                        <a:pt x="82207" y="433933"/>
                      </a:lnTo>
                      <a:lnTo>
                        <a:pt x="83007" y="433641"/>
                      </a:lnTo>
                      <a:lnTo>
                        <a:pt x="83223" y="433476"/>
                      </a:lnTo>
                      <a:lnTo>
                        <a:pt x="83680" y="433120"/>
                      </a:lnTo>
                      <a:lnTo>
                        <a:pt x="83413" y="432358"/>
                      </a:lnTo>
                      <a:lnTo>
                        <a:pt x="82943" y="432435"/>
                      </a:lnTo>
                      <a:lnTo>
                        <a:pt x="80911" y="433438"/>
                      </a:lnTo>
                      <a:lnTo>
                        <a:pt x="80098" y="433476"/>
                      </a:lnTo>
                      <a:lnTo>
                        <a:pt x="78994" y="432943"/>
                      </a:lnTo>
                      <a:lnTo>
                        <a:pt x="77800" y="432435"/>
                      </a:lnTo>
                      <a:lnTo>
                        <a:pt x="77228" y="432943"/>
                      </a:lnTo>
                      <a:lnTo>
                        <a:pt x="75806" y="431101"/>
                      </a:lnTo>
                      <a:lnTo>
                        <a:pt x="75234" y="428942"/>
                      </a:lnTo>
                      <a:lnTo>
                        <a:pt x="76708" y="428498"/>
                      </a:lnTo>
                      <a:lnTo>
                        <a:pt x="77114" y="428955"/>
                      </a:lnTo>
                      <a:lnTo>
                        <a:pt x="78232" y="429221"/>
                      </a:lnTo>
                      <a:lnTo>
                        <a:pt x="79438" y="430949"/>
                      </a:lnTo>
                      <a:lnTo>
                        <a:pt x="80619" y="430606"/>
                      </a:lnTo>
                      <a:lnTo>
                        <a:pt x="79006" y="429196"/>
                      </a:lnTo>
                      <a:lnTo>
                        <a:pt x="78105" y="428498"/>
                      </a:lnTo>
                      <a:lnTo>
                        <a:pt x="77317" y="427888"/>
                      </a:lnTo>
                      <a:lnTo>
                        <a:pt x="74574" y="425678"/>
                      </a:lnTo>
                      <a:lnTo>
                        <a:pt x="74142" y="425335"/>
                      </a:lnTo>
                      <a:lnTo>
                        <a:pt x="73799" y="425056"/>
                      </a:lnTo>
                      <a:lnTo>
                        <a:pt x="73444" y="424776"/>
                      </a:lnTo>
                      <a:lnTo>
                        <a:pt x="73253" y="424497"/>
                      </a:lnTo>
                      <a:lnTo>
                        <a:pt x="67233" y="425018"/>
                      </a:lnTo>
                      <a:lnTo>
                        <a:pt x="65824" y="423786"/>
                      </a:lnTo>
                      <a:lnTo>
                        <a:pt x="64871" y="423265"/>
                      </a:lnTo>
                      <a:lnTo>
                        <a:pt x="61353" y="421335"/>
                      </a:lnTo>
                      <a:lnTo>
                        <a:pt x="59118" y="423265"/>
                      </a:lnTo>
                      <a:lnTo>
                        <a:pt x="55295" y="422922"/>
                      </a:lnTo>
                      <a:lnTo>
                        <a:pt x="53543" y="422363"/>
                      </a:lnTo>
                      <a:lnTo>
                        <a:pt x="49618" y="421640"/>
                      </a:lnTo>
                      <a:lnTo>
                        <a:pt x="48666" y="421500"/>
                      </a:lnTo>
                      <a:lnTo>
                        <a:pt x="49555" y="421792"/>
                      </a:lnTo>
                      <a:lnTo>
                        <a:pt x="49022" y="422567"/>
                      </a:lnTo>
                      <a:lnTo>
                        <a:pt x="48069" y="423265"/>
                      </a:lnTo>
                      <a:lnTo>
                        <a:pt x="45427" y="423583"/>
                      </a:lnTo>
                      <a:lnTo>
                        <a:pt x="42824" y="425056"/>
                      </a:lnTo>
                      <a:lnTo>
                        <a:pt x="37604" y="424522"/>
                      </a:lnTo>
                      <a:lnTo>
                        <a:pt x="35166" y="425335"/>
                      </a:lnTo>
                      <a:lnTo>
                        <a:pt x="29514" y="424370"/>
                      </a:lnTo>
                      <a:lnTo>
                        <a:pt x="26822" y="423837"/>
                      </a:lnTo>
                      <a:lnTo>
                        <a:pt x="22644" y="422668"/>
                      </a:lnTo>
                      <a:lnTo>
                        <a:pt x="18465" y="425094"/>
                      </a:lnTo>
                      <a:lnTo>
                        <a:pt x="16713" y="425678"/>
                      </a:lnTo>
                      <a:lnTo>
                        <a:pt x="16560" y="425323"/>
                      </a:lnTo>
                      <a:lnTo>
                        <a:pt x="14947" y="426542"/>
                      </a:lnTo>
                      <a:lnTo>
                        <a:pt x="2984" y="435063"/>
                      </a:lnTo>
                      <a:lnTo>
                        <a:pt x="2870" y="436410"/>
                      </a:lnTo>
                      <a:lnTo>
                        <a:pt x="2755" y="436994"/>
                      </a:lnTo>
                      <a:lnTo>
                        <a:pt x="2273" y="437883"/>
                      </a:lnTo>
                      <a:lnTo>
                        <a:pt x="2387" y="438975"/>
                      </a:lnTo>
                      <a:lnTo>
                        <a:pt x="2514" y="439508"/>
                      </a:lnTo>
                      <a:lnTo>
                        <a:pt x="2870" y="440042"/>
                      </a:lnTo>
                      <a:lnTo>
                        <a:pt x="3733" y="442150"/>
                      </a:lnTo>
                      <a:lnTo>
                        <a:pt x="1168" y="443268"/>
                      </a:lnTo>
                      <a:lnTo>
                        <a:pt x="0" y="444741"/>
                      </a:lnTo>
                      <a:lnTo>
                        <a:pt x="292" y="444919"/>
                      </a:lnTo>
                      <a:lnTo>
                        <a:pt x="1244" y="445008"/>
                      </a:lnTo>
                      <a:lnTo>
                        <a:pt x="2552" y="444969"/>
                      </a:lnTo>
                      <a:lnTo>
                        <a:pt x="3467" y="445325"/>
                      </a:lnTo>
                      <a:lnTo>
                        <a:pt x="3860" y="445274"/>
                      </a:lnTo>
                      <a:lnTo>
                        <a:pt x="6311" y="447941"/>
                      </a:lnTo>
                      <a:lnTo>
                        <a:pt x="8432" y="449389"/>
                      </a:lnTo>
                      <a:lnTo>
                        <a:pt x="9220" y="450316"/>
                      </a:lnTo>
                      <a:lnTo>
                        <a:pt x="10337" y="450888"/>
                      </a:lnTo>
                      <a:lnTo>
                        <a:pt x="10985" y="450900"/>
                      </a:lnTo>
                      <a:lnTo>
                        <a:pt x="11582" y="451040"/>
                      </a:lnTo>
                      <a:lnTo>
                        <a:pt x="11988" y="451383"/>
                      </a:lnTo>
                      <a:lnTo>
                        <a:pt x="12446" y="451586"/>
                      </a:lnTo>
                      <a:lnTo>
                        <a:pt x="12560" y="451764"/>
                      </a:lnTo>
                      <a:lnTo>
                        <a:pt x="12636" y="452170"/>
                      </a:lnTo>
                      <a:lnTo>
                        <a:pt x="12420" y="452983"/>
                      </a:lnTo>
                      <a:lnTo>
                        <a:pt x="13169" y="452805"/>
                      </a:lnTo>
                      <a:lnTo>
                        <a:pt x="14655" y="452526"/>
                      </a:lnTo>
                      <a:lnTo>
                        <a:pt x="15100" y="452361"/>
                      </a:lnTo>
                      <a:lnTo>
                        <a:pt x="15709" y="451916"/>
                      </a:lnTo>
                      <a:lnTo>
                        <a:pt x="15963" y="451459"/>
                      </a:lnTo>
                      <a:lnTo>
                        <a:pt x="16332" y="451243"/>
                      </a:lnTo>
                      <a:lnTo>
                        <a:pt x="16941" y="450659"/>
                      </a:lnTo>
                      <a:lnTo>
                        <a:pt x="17856" y="450989"/>
                      </a:lnTo>
                      <a:lnTo>
                        <a:pt x="18415" y="451523"/>
                      </a:lnTo>
                      <a:lnTo>
                        <a:pt x="18821" y="451802"/>
                      </a:lnTo>
                      <a:lnTo>
                        <a:pt x="19202" y="452170"/>
                      </a:lnTo>
                      <a:lnTo>
                        <a:pt x="20002" y="452488"/>
                      </a:lnTo>
                      <a:lnTo>
                        <a:pt x="20916" y="452564"/>
                      </a:lnTo>
                      <a:lnTo>
                        <a:pt x="22009" y="452374"/>
                      </a:lnTo>
                      <a:lnTo>
                        <a:pt x="22771" y="452932"/>
                      </a:lnTo>
                      <a:lnTo>
                        <a:pt x="23291" y="453237"/>
                      </a:lnTo>
                      <a:lnTo>
                        <a:pt x="23482" y="453529"/>
                      </a:lnTo>
                      <a:lnTo>
                        <a:pt x="23495" y="454101"/>
                      </a:lnTo>
                      <a:lnTo>
                        <a:pt x="23406" y="455218"/>
                      </a:lnTo>
                      <a:lnTo>
                        <a:pt x="23088" y="455955"/>
                      </a:lnTo>
                      <a:lnTo>
                        <a:pt x="22758" y="457225"/>
                      </a:lnTo>
                      <a:lnTo>
                        <a:pt x="22847" y="460095"/>
                      </a:lnTo>
                      <a:lnTo>
                        <a:pt x="23761" y="460298"/>
                      </a:lnTo>
                      <a:lnTo>
                        <a:pt x="23863" y="459879"/>
                      </a:lnTo>
                      <a:lnTo>
                        <a:pt x="23964" y="459232"/>
                      </a:lnTo>
                      <a:lnTo>
                        <a:pt x="25374" y="459041"/>
                      </a:lnTo>
                      <a:lnTo>
                        <a:pt x="26555" y="459232"/>
                      </a:lnTo>
                      <a:lnTo>
                        <a:pt x="28295" y="459879"/>
                      </a:lnTo>
                      <a:lnTo>
                        <a:pt x="26581" y="461060"/>
                      </a:lnTo>
                      <a:lnTo>
                        <a:pt x="26289" y="462445"/>
                      </a:lnTo>
                      <a:lnTo>
                        <a:pt x="28930" y="463257"/>
                      </a:lnTo>
                      <a:lnTo>
                        <a:pt x="29222" y="464731"/>
                      </a:lnTo>
                      <a:lnTo>
                        <a:pt x="29540" y="465137"/>
                      </a:lnTo>
                      <a:lnTo>
                        <a:pt x="29514" y="465277"/>
                      </a:lnTo>
                      <a:lnTo>
                        <a:pt x="29438" y="465442"/>
                      </a:lnTo>
                      <a:lnTo>
                        <a:pt x="30289" y="465709"/>
                      </a:lnTo>
                      <a:lnTo>
                        <a:pt x="32143" y="465582"/>
                      </a:lnTo>
                      <a:lnTo>
                        <a:pt x="32524" y="465277"/>
                      </a:lnTo>
                      <a:lnTo>
                        <a:pt x="32702" y="465137"/>
                      </a:lnTo>
                      <a:lnTo>
                        <a:pt x="34277" y="464058"/>
                      </a:lnTo>
                      <a:lnTo>
                        <a:pt x="34594" y="463727"/>
                      </a:lnTo>
                      <a:lnTo>
                        <a:pt x="34861" y="463346"/>
                      </a:lnTo>
                      <a:lnTo>
                        <a:pt x="34988" y="462445"/>
                      </a:lnTo>
                      <a:lnTo>
                        <a:pt x="35458" y="461391"/>
                      </a:lnTo>
                      <a:lnTo>
                        <a:pt x="36576" y="461645"/>
                      </a:lnTo>
                      <a:lnTo>
                        <a:pt x="37338" y="461416"/>
                      </a:lnTo>
                      <a:lnTo>
                        <a:pt x="37795" y="461060"/>
                      </a:lnTo>
                      <a:lnTo>
                        <a:pt x="37998" y="460705"/>
                      </a:lnTo>
                      <a:lnTo>
                        <a:pt x="37934" y="459600"/>
                      </a:lnTo>
                      <a:lnTo>
                        <a:pt x="37782" y="459041"/>
                      </a:lnTo>
                      <a:lnTo>
                        <a:pt x="37299" y="457504"/>
                      </a:lnTo>
                      <a:lnTo>
                        <a:pt x="37033" y="455955"/>
                      </a:lnTo>
                      <a:lnTo>
                        <a:pt x="36931" y="454888"/>
                      </a:lnTo>
                      <a:lnTo>
                        <a:pt x="37376" y="454444"/>
                      </a:lnTo>
                      <a:lnTo>
                        <a:pt x="39865" y="454101"/>
                      </a:lnTo>
                      <a:lnTo>
                        <a:pt x="41503" y="454139"/>
                      </a:lnTo>
                      <a:lnTo>
                        <a:pt x="42557" y="455218"/>
                      </a:lnTo>
                      <a:lnTo>
                        <a:pt x="43446" y="454101"/>
                      </a:lnTo>
                      <a:lnTo>
                        <a:pt x="44551" y="452716"/>
                      </a:lnTo>
                      <a:lnTo>
                        <a:pt x="45021" y="452374"/>
                      </a:lnTo>
                      <a:lnTo>
                        <a:pt x="47091" y="450659"/>
                      </a:lnTo>
                      <a:lnTo>
                        <a:pt x="47701" y="450113"/>
                      </a:lnTo>
                      <a:lnTo>
                        <a:pt x="47904" y="449986"/>
                      </a:lnTo>
                      <a:lnTo>
                        <a:pt x="48133" y="449986"/>
                      </a:lnTo>
                      <a:lnTo>
                        <a:pt x="47853" y="450405"/>
                      </a:lnTo>
                      <a:lnTo>
                        <a:pt x="47726" y="450697"/>
                      </a:lnTo>
                      <a:lnTo>
                        <a:pt x="48374" y="451065"/>
                      </a:lnTo>
                      <a:lnTo>
                        <a:pt x="49441" y="452272"/>
                      </a:lnTo>
                      <a:lnTo>
                        <a:pt x="50431" y="452831"/>
                      </a:lnTo>
                      <a:lnTo>
                        <a:pt x="52133" y="453529"/>
                      </a:lnTo>
                      <a:lnTo>
                        <a:pt x="52451" y="452805"/>
                      </a:lnTo>
                      <a:lnTo>
                        <a:pt x="53809" y="450850"/>
                      </a:lnTo>
                      <a:lnTo>
                        <a:pt x="54762" y="449973"/>
                      </a:lnTo>
                      <a:lnTo>
                        <a:pt x="55956" y="448818"/>
                      </a:lnTo>
                      <a:lnTo>
                        <a:pt x="58153" y="447586"/>
                      </a:lnTo>
                      <a:lnTo>
                        <a:pt x="60109" y="446151"/>
                      </a:lnTo>
                      <a:lnTo>
                        <a:pt x="60159" y="445973"/>
                      </a:lnTo>
                      <a:lnTo>
                        <a:pt x="60261" y="445274"/>
                      </a:lnTo>
                      <a:lnTo>
                        <a:pt x="60299" y="444969"/>
                      </a:lnTo>
                      <a:lnTo>
                        <a:pt x="60223" y="442226"/>
                      </a:lnTo>
                      <a:lnTo>
                        <a:pt x="62166" y="442785"/>
                      </a:lnTo>
                      <a:lnTo>
                        <a:pt x="62090" y="442226"/>
                      </a:lnTo>
                      <a:lnTo>
                        <a:pt x="61963" y="441286"/>
                      </a:lnTo>
                      <a:lnTo>
                        <a:pt x="61950" y="440855"/>
                      </a:lnTo>
                      <a:lnTo>
                        <a:pt x="63258" y="439293"/>
                      </a:lnTo>
                      <a:lnTo>
                        <a:pt x="64490" y="439039"/>
                      </a:lnTo>
                      <a:lnTo>
                        <a:pt x="64782" y="438899"/>
                      </a:lnTo>
                      <a:lnTo>
                        <a:pt x="65074" y="438975"/>
                      </a:lnTo>
                      <a:lnTo>
                        <a:pt x="65163" y="439115"/>
                      </a:lnTo>
                      <a:lnTo>
                        <a:pt x="65697" y="439216"/>
                      </a:lnTo>
                      <a:lnTo>
                        <a:pt x="67437" y="440486"/>
                      </a:lnTo>
                      <a:lnTo>
                        <a:pt x="68402" y="441083"/>
                      </a:lnTo>
                      <a:lnTo>
                        <a:pt x="69316" y="441693"/>
                      </a:lnTo>
                      <a:lnTo>
                        <a:pt x="70459" y="441706"/>
                      </a:lnTo>
                      <a:lnTo>
                        <a:pt x="70827" y="441693"/>
                      </a:lnTo>
                      <a:lnTo>
                        <a:pt x="71462" y="441579"/>
                      </a:lnTo>
                      <a:lnTo>
                        <a:pt x="72390" y="441286"/>
                      </a:lnTo>
                      <a:lnTo>
                        <a:pt x="72910" y="440855"/>
                      </a:lnTo>
                      <a:lnTo>
                        <a:pt x="74053" y="440639"/>
                      </a:lnTo>
                      <a:lnTo>
                        <a:pt x="75018" y="440410"/>
                      </a:lnTo>
                      <a:lnTo>
                        <a:pt x="78663" y="439458"/>
                      </a:lnTo>
                      <a:lnTo>
                        <a:pt x="80975" y="438899"/>
                      </a:lnTo>
                      <a:lnTo>
                        <a:pt x="84074" y="438150"/>
                      </a:lnTo>
                      <a:lnTo>
                        <a:pt x="88353" y="436994"/>
                      </a:lnTo>
                      <a:lnTo>
                        <a:pt x="88290" y="436740"/>
                      </a:lnTo>
                      <a:lnTo>
                        <a:pt x="88557" y="436651"/>
                      </a:lnTo>
                      <a:lnTo>
                        <a:pt x="88823" y="436600"/>
                      </a:lnTo>
                      <a:lnTo>
                        <a:pt x="89103" y="436511"/>
                      </a:lnTo>
                      <a:close/>
                    </a:path>
                    <a:path w="296544" h="918844">
                      <a:moveTo>
                        <a:pt x="97802" y="0"/>
                      </a:moveTo>
                      <a:lnTo>
                        <a:pt x="97307" y="927"/>
                      </a:lnTo>
                      <a:lnTo>
                        <a:pt x="96647" y="1854"/>
                      </a:lnTo>
                      <a:lnTo>
                        <a:pt x="95808" y="2768"/>
                      </a:lnTo>
                      <a:lnTo>
                        <a:pt x="95935" y="3187"/>
                      </a:lnTo>
                      <a:lnTo>
                        <a:pt x="96012" y="3543"/>
                      </a:lnTo>
                      <a:lnTo>
                        <a:pt x="96050" y="3975"/>
                      </a:lnTo>
                      <a:lnTo>
                        <a:pt x="97802" y="0"/>
                      </a:lnTo>
                      <a:close/>
                    </a:path>
                    <a:path w="296544" h="918844">
                      <a:moveTo>
                        <a:pt x="296062" y="833564"/>
                      </a:moveTo>
                      <a:lnTo>
                        <a:pt x="294093" y="829754"/>
                      </a:lnTo>
                      <a:lnTo>
                        <a:pt x="292239" y="825944"/>
                      </a:lnTo>
                      <a:lnTo>
                        <a:pt x="290068" y="822134"/>
                      </a:lnTo>
                      <a:lnTo>
                        <a:pt x="285711" y="814514"/>
                      </a:lnTo>
                      <a:lnTo>
                        <a:pt x="284276" y="811974"/>
                      </a:lnTo>
                      <a:lnTo>
                        <a:pt x="283565" y="810704"/>
                      </a:lnTo>
                      <a:lnTo>
                        <a:pt x="277622" y="810704"/>
                      </a:lnTo>
                      <a:lnTo>
                        <a:pt x="275577" y="811974"/>
                      </a:lnTo>
                      <a:lnTo>
                        <a:pt x="271246" y="811974"/>
                      </a:lnTo>
                      <a:lnTo>
                        <a:pt x="269367" y="809434"/>
                      </a:lnTo>
                      <a:lnTo>
                        <a:pt x="268046" y="811974"/>
                      </a:lnTo>
                      <a:lnTo>
                        <a:pt x="268058" y="805624"/>
                      </a:lnTo>
                      <a:lnTo>
                        <a:pt x="266814" y="799274"/>
                      </a:lnTo>
                      <a:lnTo>
                        <a:pt x="267677" y="796734"/>
                      </a:lnTo>
                      <a:lnTo>
                        <a:pt x="268986" y="792924"/>
                      </a:lnTo>
                      <a:lnTo>
                        <a:pt x="269341" y="792924"/>
                      </a:lnTo>
                      <a:lnTo>
                        <a:pt x="269189" y="791654"/>
                      </a:lnTo>
                      <a:lnTo>
                        <a:pt x="268414" y="791654"/>
                      </a:lnTo>
                      <a:lnTo>
                        <a:pt x="268338" y="790384"/>
                      </a:lnTo>
                      <a:lnTo>
                        <a:pt x="268986" y="790384"/>
                      </a:lnTo>
                      <a:lnTo>
                        <a:pt x="269633" y="789114"/>
                      </a:lnTo>
                      <a:lnTo>
                        <a:pt x="265620" y="791654"/>
                      </a:lnTo>
                      <a:lnTo>
                        <a:pt x="263652" y="792924"/>
                      </a:lnTo>
                      <a:lnTo>
                        <a:pt x="263093" y="794194"/>
                      </a:lnTo>
                      <a:lnTo>
                        <a:pt x="261937" y="794194"/>
                      </a:lnTo>
                      <a:lnTo>
                        <a:pt x="260997" y="795464"/>
                      </a:lnTo>
                      <a:lnTo>
                        <a:pt x="259905" y="795464"/>
                      </a:lnTo>
                      <a:lnTo>
                        <a:pt x="259549" y="796734"/>
                      </a:lnTo>
                      <a:lnTo>
                        <a:pt x="245795" y="796734"/>
                      </a:lnTo>
                      <a:lnTo>
                        <a:pt x="246443" y="795464"/>
                      </a:lnTo>
                      <a:lnTo>
                        <a:pt x="246214" y="795464"/>
                      </a:lnTo>
                      <a:lnTo>
                        <a:pt x="245491" y="794194"/>
                      </a:lnTo>
                      <a:lnTo>
                        <a:pt x="244894" y="792924"/>
                      </a:lnTo>
                      <a:lnTo>
                        <a:pt x="244678" y="792924"/>
                      </a:lnTo>
                      <a:lnTo>
                        <a:pt x="244754" y="791654"/>
                      </a:lnTo>
                      <a:lnTo>
                        <a:pt x="243928" y="789114"/>
                      </a:lnTo>
                      <a:lnTo>
                        <a:pt x="243509" y="787844"/>
                      </a:lnTo>
                      <a:lnTo>
                        <a:pt x="234607" y="789114"/>
                      </a:lnTo>
                      <a:lnTo>
                        <a:pt x="231203" y="787844"/>
                      </a:lnTo>
                      <a:lnTo>
                        <a:pt x="232486" y="786574"/>
                      </a:lnTo>
                      <a:lnTo>
                        <a:pt x="235000" y="785304"/>
                      </a:lnTo>
                      <a:lnTo>
                        <a:pt x="234683" y="781494"/>
                      </a:lnTo>
                      <a:lnTo>
                        <a:pt x="230073" y="777684"/>
                      </a:lnTo>
                      <a:lnTo>
                        <a:pt x="227977" y="775144"/>
                      </a:lnTo>
                      <a:lnTo>
                        <a:pt x="225247" y="770064"/>
                      </a:lnTo>
                      <a:lnTo>
                        <a:pt x="225234" y="767524"/>
                      </a:lnTo>
                      <a:lnTo>
                        <a:pt x="223393" y="763714"/>
                      </a:lnTo>
                      <a:lnTo>
                        <a:pt x="221373" y="762444"/>
                      </a:lnTo>
                      <a:lnTo>
                        <a:pt x="220014" y="761174"/>
                      </a:lnTo>
                      <a:lnTo>
                        <a:pt x="220586" y="761174"/>
                      </a:lnTo>
                      <a:lnTo>
                        <a:pt x="223469" y="758634"/>
                      </a:lnTo>
                      <a:lnTo>
                        <a:pt x="223837" y="758634"/>
                      </a:lnTo>
                      <a:lnTo>
                        <a:pt x="224040" y="757364"/>
                      </a:lnTo>
                      <a:lnTo>
                        <a:pt x="223367" y="757364"/>
                      </a:lnTo>
                      <a:lnTo>
                        <a:pt x="222643" y="754824"/>
                      </a:lnTo>
                      <a:lnTo>
                        <a:pt x="224548" y="751014"/>
                      </a:lnTo>
                      <a:lnTo>
                        <a:pt x="225831" y="749744"/>
                      </a:lnTo>
                      <a:lnTo>
                        <a:pt x="229400" y="747204"/>
                      </a:lnTo>
                      <a:lnTo>
                        <a:pt x="230809" y="747204"/>
                      </a:lnTo>
                      <a:lnTo>
                        <a:pt x="231559" y="745934"/>
                      </a:lnTo>
                      <a:lnTo>
                        <a:pt x="232206" y="745934"/>
                      </a:lnTo>
                      <a:lnTo>
                        <a:pt x="232232" y="744664"/>
                      </a:lnTo>
                      <a:lnTo>
                        <a:pt x="232092" y="744664"/>
                      </a:lnTo>
                      <a:lnTo>
                        <a:pt x="232092" y="743394"/>
                      </a:lnTo>
                      <a:lnTo>
                        <a:pt x="231965" y="743394"/>
                      </a:lnTo>
                      <a:lnTo>
                        <a:pt x="231775" y="742124"/>
                      </a:lnTo>
                      <a:lnTo>
                        <a:pt x="231775" y="740854"/>
                      </a:lnTo>
                      <a:lnTo>
                        <a:pt x="232054" y="739584"/>
                      </a:lnTo>
                      <a:lnTo>
                        <a:pt x="232676" y="738314"/>
                      </a:lnTo>
                      <a:lnTo>
                        <a:pt x="233692" y="737044"/>
                      </a:lnTo>
                      <a:lnTo>
                        <a:pt x="234391" y="734504"/>
                      </a:lnTo>
                      <a:lnTo>
                        <a:pt x="234569" y="734504"/>
                      </a:lnTo>
                      <a:lnTo>
                        <a:pt x="234708" y="733234"/>
                      </a:lnTo>
                      <a:lnTo>
                        <a:pt x="235229" y="731964"/>
                      </a:lnTo>
                      <a:lnTo>
                        <a:pt x="236105" y="726884"/>
                      </a:lnTo>
                      <a:lnTo>
                        <a:pt x="236855" y="726884"/>
                      </a:lnTo>
                      <a:lnTo>
                        <a:pt x="237934" y="725614"/>
                      </a:lnTo>
                      <a:lnTo>
                        <a:pt x="238518" y="725614"/>
                      </a:lnTo>
                      <a:lnTo>
                        <a:pt x="240855" y="724344"/>
                      </a:lnTo>
                      <a:lnTo>
                        <a:pt x="243027" y="721804"/>
                      </a:lnTo>
                      <a:lnTo>
                        <a:pt x="245249" y="720534"/>
                      </a:lnTo>
                      <a:lnTo>
                        <a:pt x="247802" y="719264"/>
                      </a:lnTo>
                      <a:lnTo>
                        <a:pt x="250444" y="717994"/>
                      </a:lnTo>
                      <a:lnTo>
                        <a:pt x="253657" y="717994"/>
                      </a:lnTo>
                      <a:lnTo>
                        <a:pt x="254495" y="716724"/>
                      </a:lnTo>
                      <a:lnTo>
                        <a:pt x="258495" y="716724"/>
                      </a:lnTo>
                      <a:lnTo>
                        <a:pt x="260362" y="715454"/>
                      </a:lnTo>
                      <a:lnTo>
                        <a:pt x="261493" y="715454"/>
                      </a:lnTo>
                      <a:lnTo>
                        <a:pt x="262775" y="716724"/>
                      </a:lnTo>
                      <a:lnTo>
                        <a:pt x="264299" y="715454"/>
                      </a:lnTo>
                      <a:lnTo>
                        <a:pt x="264896" y="714184"/>
                      </a:lnTo>
                      <a:lnTo>
                        <a:pt x="265557" y="714184"/>
                      </a:lnTo>
                      <a:lnTo>
                        <a:pt x="266369" y="712914"/>
                      </a:lnTo>
                      <a:lnTo>
                        <a:pt x="267309" y="712914"/>
                      </a:lnTo>
                      <a:lnTo>
                        <a:pt x="269989" y="711644"/>
                      </a:lnTo>
                      <a:lnTo>
                        <a:pt x="271564" y="712914"/>
                      </a:lnTo>
                      <a:lnTo>
                        <a:pt x="272656" y="712914"/>
                      </a:lnTo>
                      <a:lnTo>
                        <a:pt x="272656" y="715454"/>
                      </a:lnTo>
                      <a:lnTo>
                        <a:pt x="274916" y="714184"/>
                      </a:lnTo>
                      <a:lnTo>
                        <a:pt x="277088" y="715454"/>
                      </a:lnTo>
                      <a:lnTo>
                        <a:pt x="277952" y="714184"/>
                      </a:lnTo>
                      <a:lnTo>
                        <a:pt x="277685" y="714184"/>
                      </a:lnTo>
                      <a:lnTo>
                        <a:pt x="277304" y="712914"/>
                      </a:lnTo>
                      <a:lnTo>
                        <a:pt x="276110" y="711644"/>
                      </a:lnTo>
                      <a:lnTo>
                        <a:pt x="273710" y="709104"/>
                      </a:lnTo>
                      <a:lnTo>
                        <a:pt x="273215" y="707834"/>
                      </a:lnTo>
                      <a:lnTo>
                        <a:pt x="269989" y="707834"/>
                      </a:lnTo>
                      <a:lnTo>
                        <a:pt x="269544" y="709104"/>
                      </a:lnTo>
                      <a:lnTo>
                        <a:pt x="269341" y="709104"/>
                      </a:lnTo>
                      <a:lnTo>
                        <a:pt x="268109" y="707834"/>
                      </a:lnTo>
                      <a:lnTo>
                        <a:pt x="267690" y="707834"/>
                      </a:lnTo>
                      <a:lnTo>
                        <a:pt x="267589" y="706564"/>
                      </a:lnTo>
                      <a:lnTo>
                        <a:pt x="267855" y="706564"/>
                      </a:lnTo>
                      <a:lnTo>
                        <a:pt x="268287" y="705294"/>
                      </a:lnTo>
                      <a:lnTo>
                        <a:pt x="271094" y="700214"/>
                      </a:lnTo>
                      <a:lnTo>
                        <a:pt x="273875" y="697674"/>
                      </a:lnTo>
                      <a:lnTo>
                        <a:pt x="276059" y="692594"/>
                      </a:lnTo>
                      <a:lnTo>
                        <a:pt x="276352" y="692594"/>
                      </a:lnTo>
                      <a:lnTo>
                        <a:pt x="275666" y="691324"/>
                      </a:lnTo>
                      <a:lnTo>
                        <a:pt x="275475" y="691324"/>
                      </a:lnTo>
                      <a:lnTo>
                        <a:pt x="275158" y="690054"/>
                      </a:lnTo>
                      <a:lnTo>
                        <a:pt x="273507" y="690054"/>
                      </a:lnTo>
                      <a:lnTo>
                        <a:pt x="272732" y="688784"/>
                      </a:lnTo>
                      <a:lnTo>
                        <a:pt x="270459" y="688784"/>
                      </a:lnTo>
                      <a:lnTo>
                        <a:pt x="268630" y="687514"/>
                      </a:lnTo>
                      <a:lnTo>
                        <a:pt x="267004" y="687514"/>
                      </a:lnTo>
                      <a:lnTo>
                        <a:pt x="265696" y="686244"/>
                      </a:lnTo>
                      <a:lnTo>
                        <a:pt x="264756" y="684974"/>
                      </a:lnTo>
                      <a:lnTo>
                        <a:pt x="263525" y="686244"/>
                      </a:lnTo>
                      <a:lnTo>
                        <a:pt x="261048" y="686244"/>
                      </a:lnTo>
                      <a:lnTo>
                        <a:pt x="260515" y="687514"/>
                      </a:lnTo>
                      <a:lnTo>
                        <a:pt x="256133" y="687514"/>
                      </a:lnTo>
                      <a:lnTo>
                        <a:pt x="254901" y="686244"/>
                      </a:lnTo>
                      <a:lnTo>
                        <a:pt x="252806" y="684974"/>
                      </a:lnTo>
                      <a:lnTo>
                        <a:pt x="251256" y="684974"/>
                      </a:lnTo>
                      <a:lnTo>
                        <a:pt x="251104" y="686244"/>
                      </a:lnTo>
                      <a:lnTo>
                        <a:pt x="249783" y="687514"/>
                      </a:lnTo>
                      <a:lnTo>
                        <a:pt x="247345" y="687514"/>
                      </a:lnTo>
                      <a:lnTo>
                        <a:pt x="247205" y="688784"/>
                      </a:lnTo>
                      <a:lnTo>
                        <a:pt x="242023" y="688784"/>
                      </a:lnTo>
                      <a:lnTo>
                        <a:pt x="241287" y="687514"/>
                      </a:lnTo>
                      <a:lnTo>
                        <a:pt x="239598" y="687514"/>
                      </a:lnTo>
                      <a:lnTo>
                        <a:pt x="239623" y="688784"/>
                      </a:lnTo>
                      <a:lnTo>
                        <a:pt x="234175" y="688784"/>
                      </a:lnTo>
                      <a:lnTo>
                        <a:pt x="233794" y="686244"/>
                      </a:lnTo>
                      <a:lnTo>
                        <a:pt x="233108" y="683704"/>
                      </a:lnTo>
                      <a:lnTo>
                        <a:pt x="233057" y="682434"/>
                      </a:lnTo>
                      <a:lnTo>
                        <a:pt x="232892" y="681164"/>
                      </a:lnTo>
                      <a:lnTo>
                        <a:pt x="232562" y="681164"/>
                      </a:lnTo>
                      <a:lnTo>
                        <a:pt x="232486" y="679894"/>
                      </a:lnTo>
                      <a:lnTo>
                        <a:pt x="227850" y="679894"/>
                      </a:lnTo>
                      <a:lnTo>
                        <a:pt x="227660" y="678624"/>
                      </a:lnTo>
                      <a:lnTo>
                        <a:pt x="227368" y="678624"/>
                      </a:lnTo>
                      <a:lnTo>
                        <a:pt x="227012" y="677354"/>
                      </a:lnTo>
                      <a:lnTo>
                        <a:pt x="227647" y="676084"/>
                      </a:lnTo>
                      <a:lnTo>
                        <a:pt x="227380" y="676084"/>
                      </a:lnTo>
                      <a:lnTo>
                        <a:pt x="226910" y="674814"/>
                      </a:lnTo>
                      <a:lnTo>
                        <a:pt x="226479" y="673544"/>
                      </a:lnTo>
                      <a:lnTo>
                        <a:pt x="225856" y="673544"/>
                      </a:lnTo>
                      <a:lnTo>
                        <a:pt x="224713" y="672274"/>
                      </a:lnTo>
                      <a:lnTo>
                        <a:pt x="222910" y="672274"/>
                      </a:lnTo>
                      <a:lnTo>
                        <a:pt x="220700" y="669734"/>
                      </a:lnTo>
                      <a:lnTo>
                        <a:pt x="219976" y="669734"/>
                      </a:lnTo>
                      <a:lnTo>
                        <a:pt x="218236" y="668464"/>
                      </a:lnTo>
                      <a:lnTo>
                        <a:pt x="217131" y="668464"/>
                      </a:lnTo>
                      <a:lnTo>
                        <a:pt x="215569" y="667194"/>
                      </a:lnTo>
                      <a:lnTo>
                        <a:pt x="215099" y="664654"/>
                      </a:lnTo>
                      <a:lnTo>
                        <a:pt x="214528" y="662114"/>
                      </a:lnTo>
                      <a:lnTo>
                        <a:pt x="214007" y="660844"/>
                      </a:lnTo>
                      <a:lnTo>
                        <a:pt x="212458" y="659574"/>
                      </a:lnTo>
                      <a:lnTo>
                        <a:pt x="210172" y="657034"/>
                      </a:lnTo>
                      <a:lnTo>
                        <a:pt x="208851" y="657034"/>
                      </a:lnTo>
                      <a:lnTo>
                        <a:pt x="207162" y="655764"/>
                      </a:lnTo>
                      <a:lnTo>
                        <a:pt x="205740" y="654494"/>
                      </a:lnTo>
                      <a:lnTo>
                        <a:pt x="201231" y="654494"/>
                      </a:lnTo>
                      <a:lnTo>
                        <a:pt x="201803" y="655764"/>
                      </a:lnTo>
                      <a:lnTo>
                        <a:pt x="201193" y="654494"/>
                      </a:lnTo>
                      <a:lnTo>
                        <a:pt x="199771" y="655764"/>
                      </a:lnTo>
                      <a:lnTo>
                        <a:pt x="198158" y="654494"/>
                      </a:lnTo>
                      <a:lnTo>
                        <a:pt x="196634" y="655764"/>
                      </a:lnTo>
                      <a:lnTo>
                        <a:pt x="198386" y="655764"/>
                      </a:lnTo>
                      <a:lnTo>
                        <a:pt x="199009" y="657034"/>
                      </a:lnTo>
                      <a:lnTo>
                        <a:pt x="199072" y="658304"/>
                      </a:lnTo>
                      <a:lnTo>
                        <a:pt x="199694" y="659574"/>
                      </a:lnTo>
                      <a:lnTo>
                        <a:pt x="200456" y="660844"/>
                      </a:lnTo>
                      <a:lnTo>
                        <a:pt x="201155" y="662114"/>
                      </a:lnTo>
                      <a:lnTo>
                        <a:pt x="201803" y="663384"/>
                      </a:lnTo>
                      <a:lnTo>
                        <a:pt x="201980" y="663384"/>
                      </a:lnTo>
                      <a:lnTo>
                        <a:pt x="202095" y="664654"/>
                      </a:lnTo>
                      <a:lnTo>
                        <a:pt x="202336" y="664654"/>
                      </a:lnTo>
                      <a:lnTo>
                        <a:pt x="202438" y="665924"/>
                      </a:lnTo>
                      <a:lnTo>
                        <a:pt x="202006" y="667194"/>
                      </a:lnTo>
                      <a:lnTo>
                        <a:pt x="200787" y="669734"/>
                      </a:lnTo>
                      <a:lnTo>
                        <a:pt x="199631" y="671004"/>
                      </a:lnTo>
                      <a:lnTo>
                        <a:pt x="198818" y="672274"/>
                      </a:lnTo>
                      <a:lnTo>
                        <a:pt x="198081" y="674814"/>
                      </a:lnTo>
                      <a:lnTo>
                        <a:pt x="196735" y="676084"/>
                      </a:lnTo>
                      <a:lnTo>
                        <a:pt x="196303" y="676084"/>
                      </a:lnTo>
                      <a:lnTo>
                        <a:pt x="195326" y="677354"/>
                      </a:lnTo>
                      <a:lnTo>
                        <a:pt x="174091" y="692594"/>
                      </a:lnTo>
                      <a:lnTo>
                        <a:pt x="167386" y="695134"/>
                      </a:lnTo>
                      <a:lnTo>
                        <a:pt x="165049" y="696404"/>
                      </a:lnTo>
                      <a:lnTo>
                        <a:pt x="163144" y="697674"/>
                      </a:lnTo>
                      <a:lnTo>
                        <a:pt x="162293" y="698944"/>
                      </a:lnTo>
                      <a:lnTo>
                        <a:pt x="161493" y="700214"/>
                      </a:lnTo>
                      <a:lnTo>
                        <a:pt x="160274" y="701484"/>
                      </a:lnTo>
                      <a:lnTo>
                        <a:pt x="160743" y="702754"/>
                      </a:lnTo>
                      <a:lnTo>
                        <a:pt x="159804" y="702754"/>
                      </a:lnTo>
                      <a:lnTo>
                        <a:pt x="159524" y="704024"/>
                      </a:lnTo>
                      <a:lnTo>
                        <a:pt x="157238" y="704024"/>
                      </a:lnTo>
                      <a:lnTo>
                        <a:pt x="156768" y="706564"/>
                      </a:lnTo>
                      <a:lnTo>
                        <a:pt x="156006" y="710374"/>
                      </a:lnTo>
                      <a:lnTo>
                        <a:pt x="154444" y="715454"/>
                      </a:lnTo>
                      <a:lnTo>
                        <a:pt x="151574" y="720534"/>
                      </a:lnTo>
                      <a:lnTo>
                        <a:pt x="149847" y="721804"/>
                      </a:lnTo>
                      <a:lnTo>
                        <a:pt x="148297" y="724344"/>
                      </a:lnTo>
                      <a:lnTo>
                        <a:pt x="143827" y="724344"/>
                      </a:lnTo>
                      <a:lnTo>
                        <a:pt x="142976" y="723074"/>
                      </a:lnTo>
                      <a:lnTo>
                        <a:pt x="142316" y="721804"/>
                      </a:lnTo>
                      <a:lnTo>
                        <a:pt x="141947" y="721804"/>
                      </a:lnTo>
                      <a:lnTo>
                        <a:pt x="140982" y="720534"/>
                      </a:lnTo>
                      <a:lnTo>
                        <a:pt x="140373" y="717994"/>
                      </a:lnTo>
                      <a:lnTo>
                        <a:pt x="139242" y="716724"/>
                      </a:lnTo>
                      <a:lnTo>
                        <a:pt x="136144" y="716724"/>
                      </a:lnTo>
                      <a:lnTo>
                        <a:pt x="134505" y="715454"/>
                      </a:lnTo>
                      <a:lnTo>
                        <a:pt x="132346" y="714184"/>
                      </a:lnTo>
                      <a:lnTo>
                        <a:pt x="131686" y="714184"/>
                      </a:lnTo>
                      <a:lnTo>
                        <a:pt x="131508" y="715454"/>
                      </a:lnTo>
                      <a:lnTo>
                        <a:pt x="130035" y="715454"/>
                      </a:lnTo>
                      <a:lnTo>
                        <a:pt x="129743" y="716724"/>
                      </a:lnTo>
                      <a:lnTo>
                        <a:pt x="127127" y="716724"/>
                      </a:lnTo>
                      <a:lnTo>
                        <a:pt x="127431" y="715454"/>
                      </a:lnTo>
                      <a:lnTo>
                        <a:pt x="127558" y="715454"/>
                      </a:lnTo>
                      <a:lnTo>
                        <a:pt x="127292" y="714184"/>
                      </a:lnTo>
                      <a:lnTo>
                        <a:pt x="126187" y="711644"/>
                      </a:lnTo>
                      <a:lnTo>
                        <a:pt x="127622" y="710374"/>
                      </a:lnTo>
                      <a:lnTo>
                        <a:pt x="129070" y="710374"/>
                      </a:lnTo>
                      <a:lnTo>
                        <a:pt x="130314" y="709104"/>
                      </a:lnTo>
                      <a:lnTo>
                        <a:pt x="131546" y="709104"/>
                      </a:lnTo>
                      <a:lnTo>
                        <a:pt x="131533" y="707834"/>
                      </a:lnTo>
                      <a:lnTo>
                        <a:pt x="131025" y="706564"/>
                      </a:lnTo>
                      <a:lnTo>
                        <a:pt x="129552" y="704024"/>
                      </a:lnTo>
                      <a:lnTo>
                        <a:pt x="129324" y="702754"/>
                      </a:lnTo>
                      <a:lnTo>
                        <a:pt x="129019" y="701484"/>
                      </a:lnTo>
                      <a:lnTo>
                        <a:pt x="127533" y="701484"/>
                      </a:lnTo>
                      <a:lnTo>
                        <a:pt x="127825" y="702754"/>
                      </a:lnTo>
                      <a:lnTo>
                        <a:pt x="127965" y="702754"/>
                      </a:lnTo>
                      <a:lnTo>
                        <a:pt x="128041" y="704024"/>
                      </a:lnTo>
                      <a:lnTo>
                        <a:pt x="126911" y="704024"/>
                      </a:lnTo>
                      <a:lnTo>
                        <a:pt x="125120" y="705294"/>
                      </a:lnTo>
                      <a:lnTo>
                        <a:pt x="122224" y="707834"/>
                      </a:lnTo>
                      <a:lnTo>
                        <a:pt x="120319" y="710374"/>
                      </a:lnTo>
                      <a:lnTo>
                        <a:pt x="115112" y="715454"/>
                      </a:lnTo>
                      <a:lnTo>
                        <a:pt x="115062" y="717994"/>
                      </a:lnTo>
                      <a:lnTo>
                        <a:pt x="115697" y="725614"/>
                      </a:lnTo>
                      <a:lnTo>
                        <a:pt x="121005" y="730694"/>
                      </a:lnTo>
                      <a:lnTo>
                        <a:pt x="121132" y="737044"/>
                      </a:lnTo>
                      <a:lnTo>
                        <a:pt x="120738" y="737044"/>
                      </a:lnTo>
                      <a:lnTo>
                        <a:pt x="118833" y="738314"/>
                      </a:lnTo>
                      <a:lnTo>
                        <a:pt x="117678" y="739584"/>
                      </a:lnTo>
                      <a:lnTo>
                        <a:pt x="117170" y="740854"/>
                      </a:lnTo>
                      <a:lnTo>
                        <a:pt x="119278" y="740854"/>
                      </a:lnTo>
                      <a:lnTo>
                        <a:pt x="121246" y="743394"/>
                      </a:lnTo>
                      <a:lnTo>
                        <a:pt x="128193" y="745934"/>
                      </a:lnTo>
                      <a:lnTo>
                        <a:pt x="133324" y="748474"/>
                      </a:lnTo>
                      <a:lnTo>
                        <a:pt x="139293" y="758634"/>
                      </a:lnTo>
                      <a:lnTo>
                        <a:pt x="141693" y="763714"/>
                      </a:lnTo>
                      <a:lnTo>
                        <a:pt x="146113" y="770064"/>
                      </a:lnTo>
                      <a:lnTo>
                        <a:pt x="148437" y="771334"/>
                      </a:lnTo>
                      <a:lnTo>
                        <a:pt x="154698" y="785304"/>
                      </a:lnTo>
                      <a:lnTo>
                        <a:pt x="156972" y="789114"/>
                      </a:lnTo>
                      <a:lnTo>
                        <a:pt x="160197" y="796734"/>
                      </a:lnTo>
                      <a:lnTo>
                        <a:pt x="162115" y="801814"/>
                      </a:lnTo>
                      <a:lnTo>
                        <a:pt x="164604" y="806894"/>
                      </a:lnTo>
                      <a:lnTo>
                        <a:pt x="166116" y="808164"/>
                      </a:lnTo>
                      <a:lnTo>
                        <a:pt x="167322" y="811974"/>
                      </a:lnTo>
                      <a:lnTo>
                        <a:pt x="166712" y="813244"/>
                      </a:lnTo>
                      <a:lnTo>
                        <a:pt x="168236" y="817054"/>
                      </a:lnTo>
                      <a:lnTo>
                        <a:pt x="170472" y="817054"/>
                      </a:lnTo>
                      <a:lnTo>
                        <a:pt x="173405" y="820864"/>
                      </a:lnTo>
                      <a:lnTo>
                        <a:pt x="174053" y="820864"/>
                      </a:lnTo>
                      <a:lnTo>
                        <a:pt x="174231" y="823404"/>
                      </a:lnTo>
                      <a:lnTo>
                        <a:pt x="174802" y="823404"/>
                      </a:lnTo>
                      <a:lnTo>
                        <a:pt x="175450" y="822134"/>
                      </a:lnTo>
                      <a:lnTo>
                        <a:pt x="178308" y="822134"/>
                      </a:lnTo>
                      <a:lnTo>
                        <a:pt x="180047" y="824674"/>
                      </a:lnTo>
                      <a:lnTo>
                        <a:pt x="180047" y="828484"/>
                      </a:lnTo>
                      <a:lnTo>
                        <a:pt x="178968" y="829754"/>
                      </a:lnTo>
                      <a:lnTo>
                        <a:pt x="177469" y="829754"/>
                      </a:lnTo>
                      <a:lnTo>
                        <a:pt x="179044" y="832294"/>
                      </a:lnTo>
                      <a:lnTo>
                        <a:pt x="182308" y="837374"/>
                      </a:lnTo>
                      <a:lnTo>
                        <a:pt x="184785" y="841184"/>
                      </a:lnTo>
                      <a:lnTo>
                        <a:pt x="187985" y="846264"/>
                      </a:lnTo>
                      <a:lnTo>
                        <a:pt x="188709" y="848804"/>
                      </a:lnTo>
                      <a:lnTo>
                        <a:pt x="187401" y="850074"/>
                      </a:lnTo>
                      <a:lnTo>
                        <a:pt x="185762" y="852614"/>
                      </a:lnTo>
                      <a:lnTo>
                        <a:pt x="185712" y="853884"/>
                      </a:lnTo>
                      <a:lnTo>
                        <a:pt x="186601" y="855154"/>
                      </a:lnTo>
                      <a:lnTo>
                        <a:pt x="186791" y="856424"/>
                      </a:lnTo>
                      <a:lnTo>
                        <a:pt x="186855" y="857694"/>
                      </a:lnTo>
                      <a:lnTo>
                        <a:pt x="187248" y="857694"/>
                      </a:lnTo>
                      <a:lnTo>
                        <a:pt x="188023" y="856424"/>
                      </a:lnTo>
                      <a:lnTo>
                        <a:pt x="189598" y="860234"/>
                      </a:lnTo>
                      <a:lnTo>
                        <a:pt x="190804" y="861504"/>
                      </a:lnTo>
                      <a:lnTo>
                        <a:pt x="191173" y="864044"/>
                      </a:lnTo>
                      <a:lnTo>
                        <a:pt x="195376" y="866584"/>
                      </a:lnTo>
                      <a:lnTo>
                        <a:pt x="199745" y="869124"/>
                      </a:lnTo>
                      <a:lnTo>
                        <a:pt x="201739" y="872934"/>
                      </a:lnTo>
                      <a:lnTo>
                        <a:pt x="205320" y="876744"/>
                      </a:lnTo>
                      <a:lnTo>
                        <a:pt x="208076" y="878014"/>
                      </a:lnTo>
                      <a:lnTo>
                        <a:pt x="216458" y="883094"/>
                      </a:lnTo>
                      <a:lnTo>
                        <a:pt x="223100" y="886904"/>
                      </a:lnTo>
                      <a:lnTo>
                        <a:pt x="236461" y="893254"/>
                      </a:lnTo>
                      <a:lnTo>
                        <a:pt x="242468" y="894524"/>
                      </a:lnTo>
                      <a:lnTo>
                        <a:pt x="256413" y="904684"/>
                      </a:lnTo>
                      <a:lnTo>
                        <a:pt x="256489" y="905954"/>
                      </a:lnTo>
                      <a:lnTo>
                        <a:pt x="257683" y="911034"/>
                      </a:lnTo>
                      <a:lnTo>
                        <a:pt x="261835" y="911034"/>
                      </a:lnTo>
                      <a:lnTo>
                        <a:pt x="270040" y="917384"/>
                      </a:lnTo>
                      <a:lnTo>
                        <a:pt x="270548" y="918654"/>
                      </a:lnTo>
                      <a:lnTo>
                        <a:pt x="280187" y="916114"/>
                      </a:lnTo>
                      <a:lnTo>
                        <a:pt x="279946" y="911034"/>
                      </a:lnTo>
                      <a:lnTo>
                        <a:pt x="279463" y="911034"/>
                      </a:lnTo>
                      <a:lnTo>
                        <a:pt x="278980" y="909764"/>
                      </a:lnTo>
                      <a:lnTo>
                        <a:pt x="281863" y="907224"/>
                      </a:lnTo>
                      <a:lnTo>
                        <a:pt x="283565" y="907224"/>
                      </a:lnTo>
                      <a:lnTo>
                        <a:pt x="284276" y="905954"/>
                      </a:lnTo>
                      <a:lnTo>
                        <a:pt x="284695" y="905954"/>
                      </a:lnTo>
                      <a:lnTo>
                        <a:pt x="283679" y="904684"/>
                      </a:lnTo>
                      <a:lnTo>
                        <a:pt x="282867" y="904684"/>
                      </a:lnTo>
                      <a:lnTo>
                        <a:pt x="282625" y="903414"/>
                      </a:lnTo>
                      <a:lnTo>
                        <a:pt x="281736" y="903414"/>
                      </a:lnTo>
                      <a:lnTo>
                        <a:pt x="283540" y="900874"/>
                      </a:lnTo>
                      <a:lnTo>
                        <a:pt x="285165" y="899604"/>
                      </a:lnTo>
                      <a:lnTo>
                        <a:pt x="286308" y="898334"/>
                      </a:lnTo>
                      <a:lnTo>
                        <a:pt x="288048" y="897064"/>
                      </a:lnTo>
                      <a:lnTo>
                        <a:pt x="289166" y="894524"/>
                      </a:lnTo>
                      <a:lnTo>
                        <a:pt x="290601" y="893254"/>
                      </a:lnTo>
                      <a:lnTo>
                        <a:pt x="291820" y="891984"/>
                      </a:lnTo>
                      <a:lnTo>
                        <a:pt x="293497" y="889444"/>
                      </a:lnTo>
                      <a:lnTo>
                        <a:pt x="293865" y="888174"/>
                      </a:lnTo>
                      <a:lnTo>
                        <a:pt x="292100" y="888174"/>
                      </a:lnTo>
                      <a:lnTo>
                        <a:pt x="287997" y="886904"/>
                      </a:lnTo>
                      <a:lnTo>
                        <a:pt x="287350" y="885634"/>
                      </a:lnTo>
                      <a:lnTo>
                        <a:pt x="286232" y="879284"/>
                      </a:lnTo>
                      <a:lnTo>
                        <a:pt x="284949" y="879284"/>
                      </a:lnTo>
                      <a:lnTo>
                        <a:pt x="285991" y="878014"/>
                      </a:lnTo>
                      <a:lnTo>
                        <a:pt x="289013" y="872934"/>
                      </a:lnTo>
                      <a:lnTo>
                        <a:pt x="289356" y="872934"/>
                      </a:lnTo>
                      <a:lnTo>
                        <a:pt x="287261" y="870394"/>
                      </a:lnTo>
                      <a:lnTo>
                        <a:pt x="286359" y="866584"/>
                      </a:lnTo>
                      <a:lnTo>
                        <a:pt x="286651" y="866584"/>
                      </a:lnTo>
                      <a:lnTo>
                        <a:pt x="288658" y="862774"/>
                      </a:lnTo>
                      <a:lnTo>
                        <a:pt x="289585" y="862774"/>
                      </a:lnTo>
                      <a:lnTo>
                        <a:pt x="290296" y="861504"/>
                      </a:lnTo>
                      <a:lnTo>
                        <a:pt x="291084" y="861504"/>
                      </a:lnTo>
                      <a:lnTo>
                        <a:pt x="291655" y="860234"/>
                      </a:lnTo>
                      <a:lnTo>
                        <a:pt x="292646" y="857694"/>
                      </a:lnTo>
                      <a:lnTo>
                        <a:pt x="293471" y="857694"/>
                      </a:lnTo>
                      <a:lnTo>
                        <a:pt x="292608" y="856424"/>
                      </a:lnTo>
                      <a:lnTo>
                        <a:pt x="292036" y="855154"/>
                      </a:lnTo>
                      <a:lnTo>
                        <a:pt x="291515" y="853884"/>
                      </a:lnTo>
                      <a:lnTo>
                        <a:pt x="291071" y="851344"/>
                      </a:lnTo>
                      <a:lnTo>
                        <a:pt x="290614" y="851344"/>
                      </a:lnTo>
                      <a:lnTo>
                        <a:pt x="290360" y="850074"/>
                      </a:lnTo>
                      <a:lnTo>
                        <a:pt x="290410" y="847534"/>
                      </a:lnTo>
                      <a:lnTo>
                        <a:pt x="290703" y="846264"/>
                      </a:lnTo>
                      <a:lnTo>
                        <a:pt x="291134" y="844994"/>
                      </a:lnTo>
                      <a:lnTo>
                        <a:pt x="291757" y="842454"/>
                      </a:lnTo>
                      <a:lnTo>
                        <a:pt x="292100" y="841184"/>
                      </a:lnTo>
                      <a:lnTo>
                        <a:pt x="292379" y="839914"/>
                      </a:lnTo>
                      <a:lnTo>
                        <a:pt x="292989" y="838644"/>
                      </a:lnTo>
                      <a:lnTo>
                        <a:pt x="293687" y="837374"/>
                      </a:lnTo>
                      <a:lnTo>
                        <a:pt x="295744" y="834834"/>
                      </a:lnTo>
                      <a:lnTo>
                        <a:pt x="296062" y="833564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602" name="object 142">
                  <a:extLst>
                    <a:ext uri="{FF2B5EF4-FFF2-40B4-BE49-F238E27FC236}">
                      <a16:creationId xmlns:a16="http://schemas.microsoft.com/office/drawing/2014/main" id="{8EFD63A5-507F-FF20-3C11-18518656945B}"/>
                    </a:ext>
                  </a:extLst>
                </p:cNvPr>
                <p:cNvPicPr/>
                <p:nvPr/>
              </p:nvPicPr>
              <p:blipFill>
                <a:blip r:embed="rId17" cstate="print"/>
                <a:stretch>
                  <a:fillRect/>
                </a:stretch>
              </p:blipFill>
              <p:spPr>
                <a:xfrm>
                  <a:off x="1511630" y="2700709"/>
                  <a:ext cx="272666" cy="250140"/>
                </a:xfrm>
                <a:prstGeom prst="rect">
                  <a:avLst/>
                </a:prstGeom>
              </p:spPr>
            </p:pic>
            <p:sp>
              <p:nvSpPr>
                <p:cNvPr id="603" name="object 143">
                  <a:extLst>
                    <a:ext uri="{FF2B5EF4-FFF2-40B4-BE49-F238E27FC236}">
                      <a16:creationId xmlns:a16="http://schemas.microsoft.com/office/drawing/2014/main" id="{A11AD574-D6AA-F723-2055-4A005ADC08E7}"/>
                    </a:ext>
                  </a:extLst>
                </p:cNvPr>
                <p:cNvSpPr/>
                <p:nvPr/>
              </p:nvSpPr>
              <p:spPr>
                <a:xfrm>
                  <a:off x="1610004" y="1635239"/>
                  <a:ext cx="2124075" cy="21240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24075" h="2124075">
                      <a:moveTo>
                        <a:pt x="76" y="584695"/>
                      </a:moveTo>
                      <a:lnTo>
                        <a:pt x="0" y="584365"/>
                      </a:lnTo>
                      <a:lnTo>
                        <a:pt x="12" y="584530"/>
                      </a:lnTo>
                      <a:lnTo>
                        <a:pt x="50" y="584695"/>
                      </a:lnTo>
                      <a:lnTo>
                        <a:pt x="76" y="584860"/>
                      </a:lnTo>
                      <a:lnTo>
                        <a:pt x="76" y="584695"/>
                      </a:lnTo>
                      <a:close/>
                    </a:path>
                    <a:path w="2124075" h="2124075">
                      <a:moveTo>
                        <a:pt x="110032" y="2114410"/>
                      </a:moveTo>
                      <a:lnTo>
                        <a:pt x="109804" y="2114105"/>
                      </a:lnTo>
                      <a:lnTo>
                        <a:pt x="109689" y="2113953"/>
                      </a:lnTo>
                      <a:lnTo>
                        <a:pt x="109994" y="2113610"/>
                      </a:lnTo>
                      <a:lnTo>
                        <a:pt x="106502" y="2113610"/>
                      </a:lnTo>
                      <a:lnTo>
                        <a:pt x="105803" y="2113610"/>
                      </a:lnTo>
                      <a:lnTo>
                        <a:pt x="105283" y="2113610"/>
                      </a:lnTo>
                      <a:lnTo>
                        <a:pt x="105473" y="2113737"/>
                      </a:lnTo>
                      <a:lnTo>
                        <a:pt x="105676" y="2113953"/>
                      </a:lnTo>
                      <a:lnTo>
                        <a:pt x="105879" y="2114105"/>
                      </a:lnTo>
                      <a:lnTo>
                        <a:pt x="104330" y="2113927"/>
                      </a:lnTo>
                      <a:lnTo>
                        <a:pt x="102704" y="2113381"/>
                      </a:lnTo>
                      <a:lnTo>
                        <a:pt x="101219" y="2113064"/>
                      </a:lnTo>
                      <a:lnTo>
                        <a:pt x="101015" y="2114054"/>
                      </a:lnTo>
                      <a:lnTo>
                        <a:pt x="101866" y="2114181"/>
                      </a:lnTo>
                      <a:lnTo>
                        <a:pt x="102514" y="2114816"/>
                      </a:lnTo>
                      <a:lnTo>
                        <a:pt x="100965" y="2114956"/>
                      </a:lnTo>
                      <a:lnTo>
                        <a:pt x="101625" y="2115629"/>
                      </a:lnTo>
                      <a:lnTo>
                        <a:pt x="107721" y="2114931"/>
                      </a:lnTo>
                      <a:lnTo>
                        <a:pt x="110032" y="2114410"/>
                      </a:lnTo>
                      <a:close/>
                    </a:path>
                    <a:path w="2124075" h="2124075">
                      <a:moveTo>
                        <a:pt x="114033" y="2115553"/>
                      </a:moveTo>
                      <a:lnTo>
                        <a:pt x="112344" y="2115553"/>
                      </a:lnTo>
                      <a:lnTo>
                        <a:pt x="111404" y="2115553"/>
                      </a:lnTo>
                      <a:lnTo>
                        <a:pt x="110655" y="2115870"/>
                      </a:lnTo>
                      <a:lnTo>
                        <a:pt x="113258" y="2116607"/>
                      </a:lnTo>
                      <a:lnTo>
                        <a:pt x="113906" y="2115743"/>
                      </a:lnTo>
                      <a:lnTo>
                        <a:pt x="114033" y="2115553"/>
                      </a:lnTo>
                      <a:close/>
                    </a:path>
                    <a:path w="2124075" h="2124075">
                      <a:moveTo>
                        <a:pt x="130962" y="2119376"/>
                      </a:moveTo>
                      <a:lnTo>
                        <a:pt x="130670" y="2118322"/>
                      </a:lnTo>
                      <a:lnTo>
                        <a:pt x="130187" y="2118588"/>
                      </a:lnTo>
                      <a:lnTo>
                        <a:pt x="130962" y="2119376"/>
                      </a:lnTo>
                      <a:close/>
                    </a:path>
                    <a:path w="2124075" h="2124075">
                      <a:moveTo>
                        <a:pt x="199364" y="2115743"/>
                      </a:moveTo>
                      <a:lnTo>
                        <a:pt x="197091" y="2115362"/>
                      </a:lnTo>
                      <a:lnTo>
                        <a:pt x="194767" y="2115756"/>
                      </a:lnTo>
                      <a:lnTo>
                        <a:pt x="187401" y="2115997"/>
                      </a:lnTo>
                      <a:lnTo>
                        <a:pt x="182753" y="2112772"/>
                      </a:lnTo>
                      <a:lnTo>
                        <a:pt x="163868" y="2100745"/>
                      </a:lnTo>
                      <a:lnTo>
                        <a:pt x="161810" y="2097951"/>
                      </a:lnTo>
                      <a:lnTo>
                        <a:pt x="158140" y="2094191"/>
                      </a:lnTo>
                      <a:lnTo>
                        <a:pt x="157149" y="2092325"/>
                      </a:lnTo>
                      <a:lnTo>
                        <a:pt x="155321" y="2089759"/>
                      </a:lnTo>
                      <a:lnTo>
                        <a:pt x="154432" y="2088515"/>
                      </a:lnTo>
                      <a:lnTo>
                        <a:pt x="153784" y="2089759"/>
                      </a:lnTo>
                      <a:lnTo>
                        <a:pt x="151472" y="2088515"/>
                      </a:lnTo>
                      <a:lnTo>
                        <a:pt x="151193" y="2088045"/>
                      </a:lnTo>
                      <a:lnTo>
                        <a:pt x="151091" y="2086457"/>
                      </a:lnTo>
                      <a:lnTo>
                        <a:pt x="151333" y="2084971"/>
                      </a:lnTo>
                      <a:lnTo>
                        <a:pt x="152488" y="2083358"/>
                      </a:lnTo>
                      <a:lnTo>
                        <a:pt x="153784" y="2083181"/>
                      </a:lnTo>
                      <a:lnTo>
                        <a:pt x="151142" y="2078837"/>
                      </a:lnTo>
                      <a:lnTo>
                        <a:pt x="151117" y="2075561"/>
                      </a:lnTo>
                      <a:lnTo>
                        <a:pt x="149479" y="2075561"/>
                      </a:lnTo>
                      <a:lnTo>
                        <a:pt x="149326" y="2075548"/>
                      </a:lnTo>
                      <a:lnTo>
                        <a:pt x="149326" y="2086457"/>
                      </a:lnTo>
                      <a:lnTo>
                        <a:pt x="149212" y="2112010"/>
                      </a:lnTo>
                      <a:lnTo>
                        <a:pt x="149186" y="2110562"/>
                      </a:lnTo>
                      <a:lnTo>
                        <a:pt x="149199" y="2105520"/>
                      </a:lnTo>
                      <a:lnTo>
                        <a:pt x="149212" y="2097913"/>
                      </a:lnTo>
                      <a:lnTo>
                        <a:pt x="149301" y="2089061"/>
                      </a:lnTo>
                      <a:lnTo>
                        <a:pt x="149326" y="2086457"/>
                      </a:lnTo>
                      <a:lnTo>
                        <a:pt x="149326" y="2075548"/>
                      </a:lnTo>
                      <a:lnTo>
                        <a:pt x="148043" y="2075548"/>
                      </a:lnTo>
                      <a:lnTo>
                        <a:pt x="148056" y="2076056"/>
                      </a:lnTo>
                      <a:lnTo>
                        <a:pt x="146773" y="2075903"/>
                      </a:lnTo>
                      <a:lnTo>
                        <a:pt x="145034" y="2076208"/>
                      </a:lnTo>
                      <a:lnTo>
                        <a:pt x="144310" y="2076196"/>
                      </a:lnTo>
                      <a:lnTo>
                        <a:pt x="144310" y="2113546"/>
                      </a:lnTo>
                      <a:lnTo>
                        <a:pt x="139979" y="2114181"/>
                      </a:lnTo>
                      <a:lnTo>
                        <a:pt x="138772" y="2115020"/>
                      </a:lnTo>
                      <a:lnTo>
                        <a:pt x="138671" y="2114588"/>
                      </a:lnTo>
                      <a:lnTo>
                        <a:pt x="138518" y="2113838"/>
                      </a:lnTo>
                      <a:lnTo>
                        <a:pt x="138468" y="2113572"/>
                      </a:lnTo>
                      <a:lnTo>
                        <a:pt x="138366" y="2113064"/>
                      </a:lnTo>
                      <a:lnTo>
                        <a:pt x="141503" y="2113076"/>
                      </a:lnTo>
                      <a:lnTo>
                        <a:pt x="140716" y="2111933"/>
                      </a:lnTo>
                      <a:lnTo>
                        <a:pt x="140182" y="2111133"/>
                      </a:lnTo>
                      <a:lnTo>
                        <a:pt x="138036" y="2110168"/>
                      </a:lnTo>
                      <a:lnTo>
                        <a:pt x="137655" y="2109647"/>
                      </a:lnTo>
                      <a:lnTo>
                        <a:pt x="136105" y="2109813"/>
                      </a:lnTo>
                      <a:lnTo>
                        <a:pt x="137401" y="2110105"/>
                      </a:lnTo>
                      <a:lnTo>
                        <a:pt x="135915" y="2111933"/>
                      </a:lnTo>
                      <a:lnTo>
                        <a:pt x="132638" y="2106396"/>
                      </a:lnTo>
                      <a:lnTo>
                        <a:pt x="132778" y="2106460"/>
                      </a:lnTo>
                      <a:lnTo>
                        <a:pt x="134924" y="2107171"/>
                      </a:lnTo>
                      <a:lnTo>
                        <a:pt x="138468" y="2108720"/>
                      </a:lnTo>
                      <a:lnTo>
                        <a:pt x="142671" y="2110740"/>
                      </a:lnTo>
                      <a:lnTo>
                        <a:pt x="144221" y="2110562"/>
                      </a:lnTo>
                      <a:lnTo>
                        <a:pt x="144310" y="2113546"/>
                      </a:lnTo>
                      <a:lnTo>
                        <a:pt x="144310" y="2076196"/>
                      </a:lnTo>
                      <a:lnTo>
                        <a:pt x="141820" y="2076107"/>
                      </a:lnTo>
                      <a:lnTo>
                        <a:pt x="140741" y="2074227"/>
                      </a:lnTo>
                      <a:lnTo>
                        <a:pt x="137337" y="2073071"/>
                      </a:lnTo>
                      <a:lnTo>
                        <a:pt x="137223" y="2073313"/>
                      </a:lnTo>
                      <a:lnTo>
                        <a:pt x="135267" y="2074303"/>
                      </a:lnTo>
                      <a:lnTo>
                        <a:pt x="133337" y="2076958"/>
                      </a:lnTo>
                      <a:lnTo>
                        <a:pt x="131927" y="2081403"/>
                      </a:lnTo>
                      <a:lnTo>
                        <a:pt x="131025" y="2080704"/>
                      </a:lnTo>
                      <a:lnTo>
                        <a:pt x="127520" y="2077961"/>
                      </a:lnTo>
                      <a:lnTo>
                        <a:pt x="125564" y="2077326"/>
                      </a:lnTo>
                      <a:lnTo>
                        <a:pt x="123926" y="2078621"/>
                      </a:lnTo>
                      <a:lnTo>
                        <a:pt x="124460" y="2078799"/>
                      </a:lnTo>
                      <a:lnTo>
                        <a:pt x="125450" y="2078875"/>
                      </a:lnTo>
                      <a:lnTo>
                        <a:pt x="126276" y="2079726"/>
                      </a:lnTo>
                      <a:lnTo>
                        <a:pt x="125780" y="2080628"/>
                      </a:lnTo>
                      <a:lnTo>
                        <a:pt x="126288" y="2081060"/>
                      </a:lnTo>
                      <a:lnTo>
                        <a:pt x="128041" y="2080704"/>
                      </a:lnTo>
                      <a:lnTo>
                        <a:pt x="128524" y="2081352"/>
                      </a:lnTo>
                      <a:lnTo>
                        <a:pt x="124802" y="2086457"/>
                      </a:lnTo>
                      <a:lnTo>
                        <a:pt x="124714" y="2082330"/>
                      </a:lnTo>
                      <a:lnTo>
                        <a:pt x="121488" y="2084882"/>
                      </a:lnTo>
                      <a:lnTo>
                        <a:pt x="123952" y="2094534"/>
                      </a:lnTo>
                      <a:lnTo>
                        <a:pt x="130759" y="2090597"/>
                      </a:lnTo>
                      <a:lnTo>
                        <a:pt x="131927" y="2090039"/>
                      </a:lnTo>
                      <a:lnTo>
                        <a:pt x="136309" y="2089531"/>
                      </a:lnTo>
                      <a:lnTo>
                        <a:pt x="139496" y="2089061"/>
                      </a:lnTo>
                      <a:lnTo>
                        <a:pt x="138899" y="2094915"/>
                      </a:lnTo>
                      <a:lnTo>
                        <a:pt x="133629" y="2095169"/>
                      </a:lnTo>
                      <a:lnTo>
                        <a:pt x="130365" y="2096262"/>
                      </a:lnTo>
                      <a:lnTo>
                        <a:pt x="129438" y="2096985"/>
                      </a:lnTo>
                      <a:lnTo>
                        <a:pt x="128143" y="2097913"/>
                      </a:lnTo>
                      <a:lnTo>
                        <a:pt x="127635" y="2097316"/>
                      </a:lnTo>
                      <a:lnTo>
                        <a:pt x="127622" y="2100668"/>
                      </a:lnTo>
                      <a:lnTo>
                        <a:pt x="128524" y="2103704"/>
                      </a:lnTo>
                      <a:lnTo>
                        <a:pt x="129120" y="2104694"/>
                      </a:lnTo>
                      <a:lnTo>
                        <a:pt x="132156" y="2106168"/>
                      </a:lnTo>
                      <a:lnTo>
                        <a:pt x="132422" y="2111337"/>
                      </a:lnTo>
                      <a:lnTo>
                        <a:pt x="133654" y="2111819"/>
                      </a:lnTo>
                      <a:lnTo>
                        <a:pt x="133692" y="2112111"/>
                      </a:lnTo>
                      <a:lnTo>
                        <a:pt x="133350" y="2113572"/>
                      </a:lnTo>
                      <a:lnTo>
                        <a:pt x="133070" y="2113381"/>
                      </a:lnTo>
                      <a:lnTo>
                        <a:pt x="132283" y="2112835"/>
                      </a:lnTo>
                      <a:lnTo>
                        <a:pt x="131800" y="2111718"/>
                      </a:lnTo>
                      <a:lnTo>
                        <a:pt x="131737" y="2111565"/>
                      </a:lnTo>
                      <a:lnTo>
                        <a:pt x="130975" y="2110346"/>
                      </a:lnTo>
                      <a:lnTo>
                        <a:pt x="130378" y="2108885"/>
                      </a:lnTo>
                      <a:lnTo>
                        <a:pt x="129387" y="2107781"/>
                      </a:lnTo>
                      <a:lnTo>
                        <a:pt x="128816" y="2107298"/>
                      </a:lnTo>
                      <a:lnTo>
                        <a:pt x="128778" y="2111718"/>
                      </a:lnTo>
                      <a:lnTo>
                        <a:pt x="126885" y="2110295"/>
                      </a:lnTo>
                      <a:lnTo>
                        <a:pt x="122821" y="2107971"/>
                      </a:lnTo>
                      <a:lnTo>
                        <a:pt x="122694" y="2107895"/>
                      </a:lnTo>
                      <a:lnTo>
                        <a:pt x="119583" y="2106549"/>
                      </a:lnTo>
                      <a:lnTo>
                        <a:pt x="116700" y="2105164"/>
                      </a:lnTo>
                      <a:lnTo>
                        <a:pt x="117513" y="2106168"/>
                      </a:lnTo>
                      <a:lnTo>
                        <a:pt x="118478" y="2107171"/>
                      </a:lnTo>
                      <a:lnTo>
                        <a:pt x="120053" y="2108225"/>
                      </a:lnTo>
                      <a:lnTo>
                        <a:pt x="120802" y="2107971"/>
                      </a:lnTo>
                      <a:lnTo>
                        <a:pt x="122364" y="2108822"/>
                      </a:lnTo>
                      <a:lnTo>
                        <a:pt x="122555" y="2109305"/>
                      </a:lnTo>
                      <a:lnTo>
                        <a:pt x="124129" y="2111933"/>
                      </a:lnTo>
                      <a:lnTo>
                        <a:pt x="126111" y="2112454"/>
                      </a:lnTo>
                      <a:lnTo>
                        <a:pt x="127762" y="2113381"/>
                      </a:lnTo>
                      <a:lnTo>
                        <a:pt x="126276" y="2112899"/>
                      </a:lnTo>
                      <a:lnTo>
                        <a:pt x="126276" y="2116480"/>
                      </a:lnTo>
                      <a:lnTo>
                        <a:pt x="126123" y="2116798"/>
                      </a:lnTo>
                      <a:lnTo>
                        <a:pt x="125514" y="2117801"/>
                      </a:lnTo>
                      <a:lnTo>
                        <a:pt x="126276" y="2116480"/>
                      </a:lnTo>
                      <a:lnTo>
                        <a:pt x="126276" y="2112899"/>
                      </a:lnTo>
                      <a:lnTo>
                        <a:pt x="126085" y="2112835"/>
                      </a:lnTo>
                      <a:lnTo>
                        <a:pt x="122669" y="2112276"/>
                      </a:lnTo>
                      <a:lnTo>
                        <a:pt x="121704" y="2110638"/>
                      </a:lnTo>
                      <a:lnTo>
                        <a:pt x="121170" y="2111235"/>
                      </a:lnTo>
                      <a:lnTo>
                        <a:pt x="120218" y="2113838"/>
                      </a:lnTo>
                      <a:lnTo>
                        <a:pt x="118630" y="2113242"/>
                      </a:lnTo>
                      <a:lnTo>
                        <a:pt x="120611" y="2110168"/>
                      </a:lnTo>
                      <a:lnTo>
                        <a:pt x="121005" y="2109660"/>
                      </a:lnTo>
                      <a:lnTo>
                        <a:pt x="118922" y="2109990"/>
                      </a:lnTo>
                      <a:lnTo>
                        <a:pt x="116827" y="2111578"/>
                      </a:lnTo>
                      <a:lnTo>
                        <a:pt x="112229" y="2111629"/>
                      </a:lnTo>
                      <a:lnTo>
                        <a:pt x="109575" y="2111425"/>
                      </a:lnTo>
                      <a:lnTo>
                        <a:pt x="107048" y="2111819"/>
                      </a:lnTo>
                      <a:lnTo>
                        <a:pt x="107492" y="2111984"/>
                      </a:lnTo>
                      <a:lnTo>
                        <a:pt x="108013" y="2112391"/>
                      </a:lnTo>
                      <a:lnTo>
                        <a:pt x="108394" y="2112568"/>
                      </a:lnTo>
                      <a:lnTo>
                        <a:pt x="106959" y="2112746"/>
                      </a:lnTo>
                      <a:lnTo>
                        <a:pt x="106210" y="2112543"/>
                      </a:lnTo>
                      <a:lnTo>
                        <a:pt x="104406" y="2112238"/>
                      </a:lnTo>
                      <a:lnTo>
                        <a:pt x="105397" y="2112518"/>
                      </a:lnTo>
                      <a:lnTo>
                        <a:pt x="106337" y="2112924"/>
                      </a:lnTo>
                      <a:lnTo>
                        <a:pt x="107111" y="2113584"/>
                      </a:lnTo>
                      <a:lnTo>
                        <a:pt x="110032" y="2113584"/>
                      </a:lnTo>
                      <a:lnTo>
                        <a:pt x="110413" y="2113165"/>
                      </a:lnTo>
                      <a:lnTo>
                        <a:pt x="111239" y="2113737"/>
                      </a:lnTo>
                      <a:lnTo>
                        <a:pt x="111975" y="2114588"/>
                      </a:lnTo>
                      <a:lnTo>
                        <a:pt x="112306" y="2115477"/>
                      </a:lnTo>
                      <a:lnTo>
                        <a:pt x="114071" y="2115477"/>
                      </a:lnTo>
                      <a:lnTo>
                        <a:pt x="114655" y="2114588"/>
                      </a:lnTo>
                      <a:lnTo>
                        <a:pt x="115430" y="2115743"/>
                      </a:lnTo>
                      <a:lnTo>
                        <a:pt x="115735" y="2116874"/>
                      </a:lnTo>
                      <a:lnTo>
                        <a:pt x="114858" y="2117928"/>
                      </a:lnTo>
                      <a:lnTo>
                        <a:pt x="115697" y="2117191"/>
                      </a:lnTo>
                      <a:lnTo>
                        <a:pt x="115925" y="2116366"/>
                      </a:lnTo>
                      <a:lnTo>
                        <a:pt x="118033" y="2115642"/>
                      </a:lnTo>
                      <a:lnTo>
                        <a:pt x="119799" y="2116188"/>
                      </a:lnTo>
                      <a:lnTo>
                        <a:pt x="121005" y="2116137"/>
                      </a:lnTo>
                      <a:lnTo>
                        <a:pt x="121170" y="2115642"/>
                      </a:lnTo>
                      <a:lnTo>
                        <a:pt x="121932" y="2115096"/>
                      </a:lnTo>
                      <a:lnTo>
                        <a:pt x="122745" y="2115108"/>
                      </a:lnTo>
                      <a:lnTo>
                        <a:pt x="121818" y="2117801"/>
                      </a:lnTo>
                      <a:lnTo>
                        <a:pt x="118808" y="2116632"/>
                      </a:lnTo>
                      <a:lnTo>
                        <a:pt x="116979" y="2120163"/>
                      </a:lnTo>
                      <a:lnTo>
                        <a:pt x="121856" y="2118423"/>
                      </a:lnTo>
                      <a:lnTo>
                        <a:pt x="123583" y="2117953"/>
                      </a:lnTo>
                      <a:lnTo>
                        <a:pt x="125488" y="2117852"/>
                      </a:lnTo>
                      <a:lnTo>
                        <a:pt x="124142" y="2120100"/>
                      </a:lnTo>
                      <a:lnTo>
                        <a:pt x="127838" y="2118995"/>
                      </a:lnTo>
                      <a:lnTo>
                        <a:pt x="129705" y="2118169"/>
                      </a:lnTo>
                      <a:lnTo>
                        <a:pt x="130098" y="2116480"/>
                      </a:lnTo>
                      <a:lnTo>
                        <a:pt x="130149" y="2116302"/>
                      </a:lnTo>
                      <a:lnTo>
                        <a:pt x="130670" y="2118322"/>
                      </a:lnTo>
                      <a:lnTo>
                        <a:pt x="134378" y="2116302"/>
                      </a:lnTo>
                      <a:lnTo>
                        <a:pt x="135089" y="2115921"/>
                      </a:lnTo>
                      <a:lnTo>
                        <a:pt x="133781" y="2117674"/>
                      </a:lnTo>
                      <a:lnTo>
                        <a:pt x="135470" y="2119934"/>
                      </a:lnTo>
                      <a:lnTo>
                        <a:pt x="138811" y="2120392"/>
                      </a:lnTo>
                      <a:lnTo>
                        <a:pt x="142455" y="2121420"/>
                      </a:lnTo>
                      <a:lnTo>
                        <a:pt x="143713" y="2121204"/>
                      </a:lnTo>
                      <a:lnTo>
                        <a:pt x="145669" y="2118715"/>
                      </a:lnTo>
                      <a:lnTo>
                        <a:pt x="145389" y="2118639"/>
                      </a:lnTo>
                      <a:lnTo>
                        <a:pt x="144843" y="2118372"/>
                      </a:lnTo>
                      <a:lnTo>
                        <a:pt x="145732" y="2118449"/>
                      </a:lnTo>
                      <a:lnTo>
                        <a:pt x="147878" y="2119604"/>
                      </a:lnTo>
                      <a:lnTo>
                        <a:pt x="147878" y="2120696"/>
                      </a:lnTo>
                      <a:lnTo>
                        <a:pt x="149440" y="2120696"/>
                      </a:lnTo>
                      <a:lnTo>
                        <a:pt x="150952" y="2120696"/>
                      </a:lnTo>
                      <a:lnTo>
                        <a:pt x="150952" y="2120366"/>
                      </a:lnTo>
                      <a:lnTo>
                        <a:pt x="167995" y="2120658"/>
                      </a:lnTo>
                      <a:lnTo>
                        <a:pt x="167436" y="2120519"/>
                      </a:lnTo>
                      <a:lnTo>
                        <a:pt x="166522" y="2120366"/>
                      </a:lnTo>
                      <a:lnTo>
                        <a:pt x="166268" y="2120315"/>
                      </a:lnTo>
                      <a:lnTo>
                        <a:pt x="170294" y="2120785"/>
                      </a:lnTo>
                      <a:lnTo>
                        <a:pt x="174117" y="2122055"/>
                      </a:lnTo>
                      <a:lnTo>
                        <a:pt x="179349" y="2123503"/>
                      </a:lnTo>
                      <a:lnTo>
                        <a:pt x="180492" y="2123579"/>
                      </a:lnTo>
                      <a:lnTo>
                        <a:pt x="198018" y="2120887"/>
                      </a:lnTo>
                      <a:lnTo>
                        <a:pt x="198018" y="2120315"/>
                      </a:lnTo>
                      <a:lnTo>
                        <a:pt x="198031" y="2116632"/>
                      </a:lnTo>
                      <a:lnTo>
                        <a:pt x="198983" y="2115997"/>
                      </a:lnTo>
                      <a:lnTo>
                        <a:pt x="199364" y="2115743"/>
                      </a:lnTo>
                      <a:close/>
                    </a:path>
                    <a:path w="2124075" h="2124075">
                      <a:moveTo>
                        <a:pt x="1205090" y="245110"/>
                      </a:moveTo>
                      <a:close/>
                    </a:path>
                    <a:path w="2124075" h="2124075">
                      <a:moveTo>
                        <a:pt x="1207008" y="228117"/>
                      </a:moveTo>
                      <a:lnTo>
                        <a:pt x="1205928" y="227330"/>
                      </a:lnTo>
                      <a:lnTo>
                        <a:pt x="1204366" y="228600"/>
                      </a:lnTo>
                      <a:lnTo>
                        <a:pt x="1206119" y="228600"/>
                      </a:lnTo>
                      <a:lnTo>
                        <a:pt x="1207008" y="228117"/>
                      </a:lnTo>
                      <a:close/>
                    </a:path>
                    <a:path w="2124075" h="2124075">
                      <a:moveTo>
                        <a:pt x="1207693" y="222250"/>
                      </a:moveTo>
                      <a:lnTo>
                        <a:pt x="1201915" y="222250"/>
                      </a:lnTo>
                      <a:lnTo>
                        <a:pt x="1202601" y="223520"/>
                      </a:lnTo>
                      <a:lnTo>
                        <a:pt x="1202817" y="223520"/>
                      </a:lnTo>
                      <a:lnTo>
                        <a:pt x="1202931" y="224790"/>
                      </a:lnTo>
                      <a:lnTo>
                        <a:pt x="1204087" y="223520"/>
                      </a:lnTo>
                      <a:lnTo>
                        <a:pt x="1206207" y="223520"/>
                      </a:lnTo>
                      <a:lnTo>
                        <a:pt x="1207693" y="222250"/>
                      </a:lnTo>
                      <a:close/>
                    </a:path>
                    <a:path w="2124075" h="2124075">
                      <a:moveTo>
                        <a:pt x="1208874" y="227672"/>
                      </a:moveTo>
                      <a:lnTo>
                        <a:pt x="1208455" y="227330"/>
                      </a:lnTo>
                      <a:lnTo>
                        <a:pt x="1207008" y="228117"/>
                      </a:lnTo>
                      <a:lnTo>
                        <a:pt x="1207681" y="228600"/>
                      </a:lnTo>
                      <a:lnTo>
                        <a:pt x="1208874" y="227672"/>
                      </a:lnTo>
                      <a:close/>
                    </a:path>
                    <a:path w="2124075" h="2124075">
                      <a:moveTo>
                        <a:pt x="1222629" y="210820"/>
                      </a:moveTo>
                      <a:lnTo>
                        <a:pt x="1222502" y="210820"/>
                      </a:lnTo>
                      <a:lnTo>
                        <a:pt x="1222629" y="210820"/>
                      </a:lnTo>
                      <a:close/>
                    </a:path>
                    <a:path w="2124075" h="2124075">
                      <a:moveTo>
                        <a:pt x="1263129" y="190068"/>
                      </a:moveTo>
                      <a:lnTo>
                        <a:pt x="1262824" y="189230"/>
                      </a:lnTo>
                      <a:lnTo>
                        <a:pt x="1262684" y="189611"/>
                      </a:lnTo>
                      <a:lnTo>
                        <a:pt x="1263065" y="190169"/>
                      </a:lnTo>
                      <a:close/>
                    </a:path>
                    <a:path w="2124075" h="2124075">
                      <a:moveTo>
                        <a:pt x="1311516" y="134620"/>
                      </a:moveTo>
                      <a:lnTo>
                        <a:pt x="1311262" y="134620"/>
                      </a:lnTo>
                      <a:lnTo>
                        <a:pt x="1311465" y="134721"/>
                      </a:lnTo>
                      <a:close/>
                    </a:path>
                    <a:path w="2124075" h="2124075">
                      <a:moveTo>
                        <a:pt x="1311846" y="148361"/>
                      </a:moveTo>
                      <a:lnTo>
                        <a:pt x="1311567" y="147739"/>
                      </a:lnTo>
                      <a:lnTo>
                        <a:pt x="1311376" y="147802"/>
                      </a:lnTo>
                      <a:lnTo>
                        <a:pt x="1311821" y="148412"/>
                      </a:lnTo>
                      <a:close/>
                    </a:path>
                    <a:path w="2124075" h="2124075">
                      <a:moveTo>
                        <a:pt x="1348854" y="90170"/>
                      </a:moveTo>
                      <a:lnTo>
                        <a:pt x="1345552" y="90170"/>
                      </a:lnTo>
                      <a:lnTo>
                        <a:pt x="1342542" y="92710"/>
                      </a:lnTo>
                      <a:lnTo>
                        <a:pt x="1344028" y="92710"/>
                      </a:lnTo>
                      <a:lnTo>
                        <a:pt x="1346631" y="92710"/>
                      </a:lnTo>
                      <a:lnTo>
                        <a:pt x="1348854" y="90170"/>
                      </a:lnTo>
                      <a:close/>
                    </a:path>
                    <a:path w="2124075" h="2124075">
                      <a:moveTo>
                        <a:pt x="1356029" y="77470"/>
                      </a:moveTo>
                      <a:lnTo>
                        <a:pt x="1354162" y="77470"/>
                      </a:lnTo>
                      <a:lnTo>
                        <a:pt x="1352397" y="77470"/>
                      </a:lnTo>
                      <a:lnTo>
                        <a:pt x="1351216" y="78740"/>
                      </a:lnTo>
                      <a:lnTo>
                        <a:pt x="1355229" y="78740"/>
                      </a:lnTo>
                      <a:lnTo>
                        <a:pt x="1356029" y="77470"/>
                      </a:lnTo>
                      <a:close/>
                    </a:path>
                    <a:path w="2124075" h="2124075">
                      <a:moveTo>
                        <a:pt x="1357757" y="74930"/>
                      </a:moveTo>
                      <a:lnTo>
                        <a:pt x="1355483" y="74930"/>
                      </a:lnTo>
                      <a:lnTo>
                        <a:pt x="1355039" y="76200"/>
                      </a:lnTo>
                      <a:lnTo>
                        <a:pt x="1356893" y="76200"/>
                      </a:lnTo>
                      <a:lnTo>
                        <a:pt x="1357757" y="74930"/>
                      </a:lnTo>
                      <a:close/>
                    </a:path>
                    <a:path w="2124075" h="2124075">
                      <a:moveTo>
                        <a:pt x="1366532" y="82550"/>
                      </a:moveTo>
                      <a:lnTo>
                        <a:pt x="1365618" y="81280"/>
                      </a:lnTo>
                      <a:lnTo>
                        <a:pt x="1364919" y="82550"/>
                      </a:lnTo>
                      <a:lnTo>
                        <a:pt x="1366532" y="82550"/>
                      </a:lnTo>
                      <a:close/>
                    </a:path>
                    <a:path w="2124075" h="2124075">
                      <a:moveTo>
                        <a:pt x="1368272" y="76200"/>
                      </a:moveTo>
                      <a:lnTo>
                        <a:pt x="1367205" y="76200"/>
                      </a:lnTo>
                      <a:lnTo>
                        <a:pt x="1366443" y="77470"/>
                      </a:lnTo>
                      <a:lnTo>
                        <a:pt x="1367370" y="77470"/>
                      </a:lnTo>
                      <a:lnTo>
                        <a:pt x="1368272" y="76200"/>
                      </a:lnTo>
                      <a:close/>
                    </a:path>
                    <a:path w="2124075" h="2124075">
                      <a:moveTo>
                        <a:pt x="1446974" y="31750"/>
                      </a:moveTo>
                      <a:lnTo>
                        <a:pt x="1445094" y="33020"/>
                      </a:lnTo>
                      <a:lnTo>
                        <a:pt x="1446961" y="32270"/>
                      </a:lnTo>
                      <a:lnTo>
                        <a:pt x="1446974" y="31750"/>
                      </a:lnTo>
                      <a:close/>
                    </a:path>
                    <a:path w="2124075" h="2124075">
                      <a:moveTo>
                        <a:pt x="1503210" y="7620"/>
                      </a:moveTo>
                      <a:lnTo>
                        <a:pt x="1500759" y="6350"/>
                      </a:lnTo>
                      <a:lnTo>
                        <a:pt x="1496961" y="5080"/>
                      </a:lnTo>
                      <a:lnTo>
                        <a:pt x="1493126" y="6350"/>
                      </a:lnTo>
                      <a:lnTo>
                        <a:pt x="1490827" y="6350"/>
                      </a:lnTo>
                      <a:lnTo>
                        <a:pt x="1490522" y="3810"/>
                      </a:lnTo>
                      <a:lnTo>
                        <a:pt x="1490357" y="3949"/>
                      </a:lnTo>
                      <a:lnTo>
                        <a:pt x="1490357" y="6350"/>
                      </a:lnTo>
                      <a:lnTo>
                        <a:pt x="1489811" y="7620"/>
                      </a:lnTo>
                      <a:lnTo>
                        <a:pt x="1488795" y="7620"/>
                      </a:lnTo>
                      <a:lnTo>
                        <a:pt x="1489176" y="6350"/>
                      </a:lnTo>
                      <a:lnTo>
                        <a:pt x="1490357" y="6350"/>
                      </a:lnTo>
                      <a:lnTo>
                        <a:pt x="1490357" y="3949"/>
                      </a:lnTo>
                      <a:lnTo>
                        <a:pt x="1488935" y="5080"/>
                      </a:lnTo>
                      <a:lnTo>
                        <a:pt x="1487017" y="6350"/>
                      </a:lnTo>
                      <a:lnTo>
                        <a:pt x="1487322" y="5080"/>
                      </a:lnTo>
                      <a:lnTo>
                        <a:pt x="1487639" y="3810"/>
                      </a:lnTo>
                      <a:lnTo>
                        <a:pt x="1485595" y="5080"/>
                      </a:lnTo>
                      <a:lnTo>
                        <a:pt x="1486357" y="3810"/>
                      </a:lnTo>
                      <a:lnTo>
                        <a:pt x="1485036" y="2540"/>
                      </a:lnTo>
                      <a:lnTo>
                        <a:pt x="1483372" y="3810"/>
                      </a:lnTo>
                      <a:lnTo>
                        <a:pt x="1483385" y="6350"/>
                      </a:lnTo>
                      <a:lnTo>
                        <a:pt x="1482483" y="8890"/>
                      </a:lnTo>
                      <a:lnTo>
                        <a:pt x="1482572" y="7620"/>
                      </a:lnTo>
                      <a:lnTo>
                        <a:pt x="1481264" y="7620"/>
                      </a:lnTo>
                      <a:lnTo>
                        <a:pt x="1479981" y="6350"/>
                      </a:lnTo>
                      <a:lnTo>
                        <a:pt x="1478978" y="10160"/>
                      </a:lnTo>
                      <a:lnTo>
                        <a:pt x="1484388" y="12700"/>
                      </a:lnTo>
                      <a:lnTo>
                        <a:pt x="1482331" y="12700"/>
                      </a:lnTo>
                      <a:lnTo>
                        <a:pt x="1480756" y="11430"/>
                      </a:lnTo>
                      <a:lnTo>
                        <a:pt x="1478953" y="16510"/>
                      </a:lnTo>
                      <a:lnTo>
                        <a:pt x="1480159" y="16510"/>
                      </a:lnTo>
                      <a:lnTo>
                        <a:pt x="1490065" y="16510"/>
                      </a:lnTo>
                      <a:lnTo>
                        <a:pt x="1492504" y="15240"/>
                      </a:lnTo>
                      <a:lnTo>
                        <a:pt x="1496187" y="12700"/>
                      </a:lnTo>
                      <a:lnTo>
                        <a:pt x="1498041" y="11430"/>
                      </a:lnTo>
                      <a:lnTo>
                        <a:pt x="1499158" y="11430"/>
                      </a:lnTo>
                      <a:lnTo>
                        <a:pt x="1501140" y="10160"/>
                      </a:lnTo>
                      <a:lnTo>
                        <a:pt x="1501584" y="8890"/>
                      </a:lnTo>
                      <a:lnTo>
                        <a:pt x="1503210" y="7620"/>
                      </a:lnTo>
                      <a:close/>
                    </a:path>
                    <a:path w="2124075" h="2124075">
                      <a:moveTo>
                        <a:pt x="1577682" y="22860"/>
                      </a:moveTo>
                      <a:lnTo>
                        <a:pt x="1576324" y="19050"/>
                      </a:lnTo>
                      <a:lnTo>
                        <a:pt x="1575879" y="17780"/>
                      </a:lnTo>
                      <a:lnTo>
                        <a:pt x="1575282" y="19050"/>
                      </a:lnTo>
                      <a:lnTo>
                        <a:pt x="1570342" y="16510"/>
                      </a:lnTo>
                      <a:lnTo>
                        <a:pt x="1563166" y="16510"/>
                      </a:lnTo>
                      <a:lnTo>
                        <a:pt x="1564347" y="15240"/>
                      </a:lnTo>
                      <a:lnTo>
                        <a:pt x="1564830" y="13970"/>
                      </a:lnTo>
                      <a:lnTo>
                        <a:pt x="1563776" y="12700"/>
                      </a:lnTo>
                      <a:lnTo>
                        <a:pt x="1562341" y="10160"/>
                      </a:lnTo>
                      <a:lnTo>
                        <a:pt x="1559090" y="12700"/>
                      </a:lnTo>
                      <a:lnTo>
                        <a:pt x="1558315" y="12700"/>
                      </a:lnTo>
                      <a:lnTo>
                        <a:pt x="1558315" y="11430"/>
                      </a:lnTo>
                      <a:lnTo>
                        <a:pt x="1556143" y="11430"/>
                      </a:lnTo>
                      <a:lnTo>
                        <a:pt x="1553972" y="12700"/>
                      </a:lnTo>
                      <a:lnTo>
                        <a:pt x="1552016" y="12700"/>
                      </a:lnTo>
                      <a:lnTo>
                        <a:pt x="1552613" y="11430"/>
                      </a:lnTo>
                      <a:lnTo>
                        <a:pt x="1549946" y="10160"/>
                      </a:lnTo>
                      <a:lnTo>
                        <a:pt x="1545120" y="5080"/>
                      </a:lnTo>
                      <a:lnTo>
                        <a:pt x="1542237" y="11430"/>
                      </a:lnTo>
                      <a:lnTo>
                        <a:pt x="1538757" y="15240"/>
                      </a:lnTo>
                      <a:lnTo>
                        <a:pt x="1540979" y="19050"/>
                      </a:lnTo>
                      <a:lnTo>
                        <a:pt x="1537703" y="20320"/>
                      </a:lnTo>
                      <a:lnTo>
                        <a:pt x="1535633" y="21590"/>
                      </a:lnTo>
                      <a:lnTo>
                        <a:pt x="1535976" y="20320"/>
                      </a:lnTo>
                      <a:lnTo>
                        <a:pt x="1536636" y="19050"/>
                      </a:lnTo>
                      <a:lnTo>
                        <a:pt x="1537804" y="17780"/>
                      </a:lnTo>
                      <a:lnTo>
                        <a:pt x="1536179" y="17780"/>
                      </a:lnTo>
                      <a:lnTo>
                        <a:pt x="1532432" y="19050"/>
                      </a:lnTo>
                      <a:lnTo>
                        <a:pt x="1529918" y="17780"/>
                      </a:lnTo>
                      <a:lnTo>
                        <a:pt x="1531264" y="16510"/>
                      </a:lnTo>
                      <a:lnTo>
                        <a:pt x="1534680" y="13970"/>
                      </a:lnTo>
                      <a:lnTo>
                        <a:pt x="1536598" y="15240"/>
                      </a:lnTo>
                      <a:lnTo>
                        <a:pt x="1537169" y="11430"/>
                      </a:lnTo>
                      <a:lnTo>
                        <a:pt x="1532521" y="12446"/>
                      </a:lnTo>
                      <a:lnTo>
                        <a:pt x="1532242" y="11430"/>
                      </a:lnTo>
                      <a:lnTo>
                        <a:pt x="1531785" y="11430"/>
                      </a:lnTo>
                      <a:lnTo>
                        <a:pt x="1531162" y="10160"/>
                      </a:lnTo>
                      <a:lnTo>
                        <a:pt x="1532813" y="8890"/>
                      </a:lnTo>
                      <a:lnTo>
                        <a:pt x="1535709" y="8890"/>
                      </a:lnTo>
                      <a:lnTo>
                        <a:pt x="1536382" y="10160"/>
                      </a:lnTo>
                      <a:lnTo>
                        <a:pt x="1537817" y="8890"/>
                      </a:lnTo>
                      <a:lnTo>
                        <a:pt x="1539100" y="7620"/>
                      </a:lnTo>
                      <a:lnTo>
                        <a:pt x="1541030" y="6350"/>
                      </a:lnTo>
                      <a:lnTo>
                        <a:pt x="1540814" y="5080"/>
                      </a:lnTo>
                      <a:lnTo>
                        <a:pt x="1528406" y="0"/>
                      </a:lnTo>
                      <a:lnTo>
                        <a:pt x="1528089" y="1270"/>
                      </a:lnTo>
                      <a:lnTo>
                        <a:pt x="1527505" y="3810"/>
                      </a:lnTo>
                      <a:lnTo>
                        <a:pt x="1525930" y="6350"/>
                      </a:lnTo>
                      <a:lnTo>
                        <a:pt x="1524469" y="6350"/>
                      </a:lnTo>
                      <a:lnTo>
                        <a:pt x="1524419" y="7620"/>
                      </a:lnTo>
                      <a:lnTo>
                        <a:pt x="1526387" y="7620"/>
                      </a:lnTo>
                      <a:lnTo>
                        <a:pt x="1525168" y="8890"/>
                      </a:lnTo>
                      <a:lnTo>
                        <a:pt x="1528089" y="8890"/>
                      </a:lnTo>
                      <a:lnTo>
                        <a:pt x="1525346" y="10160"/>
                      </a:lnTo>
                      <a:lnTo>
                        <a:pt x="1522984" y="10160"/>
                      </a:lnTo>
                      <a:lnTo>
                        <a:pt x="1520278" y="11430"/>
                      </a:lnTo>
                      <a:lnTo>
                        <a:pt x="1521955" y="12700"/>
                      </a:lnTo>
                      <a:lnTo>
                        <a:pt x="1520253" y="12700"/>
                      </a:lnTo>
                      <a:lnTo>
                        <a:pt x="1520723" y="13728"/>
                      </a:lnTo>
                      <a:lnTo>
                        <a:pt x="1518488" y="12700"/>
                      </a:lnTo>
                      <a:lnTo>
                        <a:pt x="1518462" y="16510"/>
                      </a:lnTo>
                      <a:lnTo>
                        <a:pt x="1519415" y="16510"/>
                      </a:lnTo>
                      <a:lnTo>
                        <a:pt x="1520304" y="17780"/>
                      </a:lnTo>
                      <a:lnTo>
                        <a:pt x="1515478" y="17780"/>
                      </a:lnTo>
                      <a:lnTo>
                        <a:pt x="1514614" y="19050"/>
                      </a:lnTo>
                      <a:lnTo>
                        <a:pt x="1513611" y="19050"/>
                      </a:lnTo>
                      <a:lnTo>
                        <a:pt x="1512709" y="21590"/>
                      </a:lnTo>
                      <a:lnTo>
                        <a:pt x="1512392" y="20320"/>
                      </a:lnTo>
                      <a:lnTo>
                        <a:pt x="1511782" y="17780"/>
                      </a:lnTo>
                      <a:lnTo>
                        <a:pt x="1512189" y="12700"/>
                      </a:lnTo>
                      <a:lnTo>
                        <a:pt x="1512290" y="11430"/>
                      </a:lnTo>
                      <a:lnTo>
                        <a:pt x="1509737" y="12700"/>
                      </a:lnTo>
                      <a:lnTo>
                        <a:pt x="1510779" y="11430"/>
                      </a:lnTo>
                      <a:lnTo>
                        <a:pt x="1512290" y="11430"/>
                      </a:lnTo>
                      <a:lnTo>
                        <a:pt x="1512862" y="11430"/>
                      </a:lnTo>
                      <a:lnTo>
                        <a:pt x="1515084" y="8890"/>
                      </a:lnTo>
                      <a:lnTo>
                        <a:pt x="1514462" y="6350"/>
                      </a:lnTo>
                      <a:lnTo>
                        <a:pt x="1514475" y="5080"/>
                      </a:lnTo>
                      <a:lnTo>
                        <a:pt x="1503908" y="12700"/>
                      </a:lnTo>
                      <a:lnTo>
                        <a:pt x="1503426" y="13970"/>
                      </a:lnTo>
                      <a:lnTo>
                        <a:pt x="1502029" y="15240"/>
                      </a:lnTo>
                      <a:lnTo>
                        <a:pt x="1501432" y="16510"/>
                      </a:lnTo>
                      <a:lnTo>
                        <a:pt x="1499844" y="17780"/>
                      </a:lnTo>
                      <a:lnTo>
                        <a:pt x="1499019" y="17780"/>
                      </a:lnTo>
                      <a:lnTo>
                        <a:pt x="1496568" y="20320"/>
                      </a:lnTo>
                      <a:lnTo>
                        <a:pt x="1495920" y="21590"/>
                      </a:lnTo>
                      <a:lnTo>
                        <a:pt x="1496644" y="20320"/>
                      </a:lnTo>
                      <a:lnTo>
                        <a:pt x="1496898" y="22834"/>
                      </a:lnTo>
                      <a:lnTo>
                        <a:pt x="1497368" y="21590"/>
                      </a:lnTo>
                      <a:lnTo>
                        <a:pt x="1496910" y="22860"/>
                      </a:lnTo>
                      <a:lnTo>
                        <a:pt x="1496428" y="24130"/>
                      </a:lnTo>
                      <a:lnTo>
                        <a:pt x="1494739" y="24130"/>
                      </a:lnTo>
                      <a:lnTo>
                        <a:pt x="1493469" y="26670"/>
                      </a:lnTo>
                      <a:lnTo>
                        <a:pt x="1493418" y="27940"/>
                      </a:lnTo>
                      <a:lnTo>
                        <a:pt x="1491665" y="26670"/>
                      </a:lnTo>
                      <a:lnTo>
                        <a:pt x="1491284" y="25400"/>
                      </a:lnTo>
                      <a:lnTo>
                        <a:pt x="1490040" y="26670"/>
                      </a:lnTo>
                      <a:lnTo>
                        <a:pt x="1490662" y="27889"/>
                      </a:lnTo>
                      <a:lnTo>
                        <a:pt x="1486458" y="26670"/>
                      </a:lnTo>
                      <a:lnTo>
                        <a:pt x="1489646" y="22860"/>
                      </a:lnTo>
                      <a:lnTo>
                        <a:pt x="1491780" y="20320"/>
                      </a:lnTo>
                      <a:lnTo>
                        <a:pt x="1491996" y="17780"/>
                      </a:lnTo>
                      <a:lnTo>
                        <a:pt x="1480642" y="17780"/>
                      </a:lnTo>
                      <a:lnTo>
                        <a:pt x="1477594" y="17780"/>
                      </a:lnTo>
                      <a:lnTo>
                        <a:pt x="1473123" y="17780"/>
                      </a:lnTo>
                      <a:lnTo>
                        <a:pt x="1469898" y="20320"/>
                      </a:lnTo>
                      <a:lnTo>
                        <a:pt x="1466672" y="21590"/>
                      </a:lnTo>
                      <a:lnTo>
                        <a:pt x="1465605" y="22860"/>
                      </a:lnTo>
                      <a:lnTo>
                        <a:pt x="1466672" y="24130"/>
                      </a:lnTo>
                      <a:lnTo>
                        <a:pt x="1467739" y="22860"/>
                      </a:lnTo>
                      <a:lnTo>
                        <a:pt x="1468767" y="24130"/>
                      </a:lnTo>
                      <a:lnTo>
                        <a:pt x="1466672" y="24130"/>
                      </a:lnTo>
                      <a:lnTo>
                        <a:pt x="1464703" y="24130"/>
                      </a:lnTo>
                      <a:lnTo>
                        <a:pt x="1465478" y="25400"/>
                      </a:lnTo>
                      <a:lnTo>
                        <a:pt x="1466265" y="25400"/>
                      </a:lnTo>
                      <a:lnTo>
                        <a:pt x="1465541" y="27940"/>
                      </a:lnTo>
                      <a:lnTo>
                        <a:pt x="1463459" y="26670"/>
                      </a:lnTo>
                      <a:lnTo>
                        <a:pt x="1465770" y="29210"/>
                      </a:lnTo>
                      <a:lnTo>
                        <a:pt x="1468970" y="29210"/>
                      </a:lnTo>
                      <a:lnTo>
                        <a:pt x="1468234" y="30480"/>
                      </a:lnTo>
                      <a:lnTo>
                        <a:pt x="1465453" y="30480"/>
                      </a:lnTo>
                      <a:lnTo>
                        <a:pt x="1463700" y="31750"/>
                      </a:lnTo>
                      <a:lnTo>
                        <a:pt x="1462722" y="31750"/>
                      </a:lnTo>
                      <a:lnTo>
                        <a:pt x="1465097" y="30480"/>
                      </a:lnTo>
                      <a:lnTo>
                        <a:pt x="1461973" y="29210"/>
                      </a:lnTo>
                      <a:lnTo>
                        <a:pt x="1460779" y="27940"/>
                      </a:lnTo>
                      <a:lnTo>
                        <a:pt x="1462214" y="27940"/>
                      </a:lnTo>
                      <a:lnTo>
                        <a:pt x="1460157" y="26670"/>
                      </a:lnTo>
                      <a:lnTo>
                        <a:pt x="1459217" y="26670"/>
                      </a:lnTo>
                      <a:lnTo>
                        <a:pt x="1457985" y="27165"/>
                      </a:lnTo>
                      <a:lnTo>
                        <a:pt x="1458887" y="26670"/>
                      </a:lnTo>
                      <a:lnTo>
                        <a:pt x="1460855" y="25400"/>
                      </a:lnTo>
                      <a:lnTo>
                        <a:pt x="1460969" y="24130"/>
                      </a:lnTo>
                      <a:lnTo>
                        <a:pt x="1454823" y="22860"/>
                      </a:lnTo>
                      <a:lnTo>
                        <a:pt x="1453286" y="22860"/>
                      </a:lnTo>
                      <a:lnTo>
                        <a:pt x="1451317" y="24130"/>
                      </a:lnTo>
                      <a:lnTo>
                        <a:pt x="1451686" y="25400"/>
                      </a:lnTo>
                      <a:lnTo>
                        <a:pt x="1454175" y="26670"/>
                      </a:lnTo>
                      <a:lnTo>
                        <a:pt x="1452943" y="26670"/>
                      </a:lnTo>
                      <a:lnTo>
                        <a:pt x="1456283" y="27851"/>
                      </a:lnTo>
                      <a:lnTo>
                        <a:pt x="1456042" y="27940"/>
                      </a:lnTo>
                      <a:lnTo>
                        <a:pt x="1453718" y="27940"/>
                      </a:lnTo>
                      <a:lnTo>
                        <a:pt x="1451368" y="29210"/>
                      </a:lnTo>
                      <a:lnTo>
                        <a:pt x="1452943" y="26670"/>
                      </a:lnTo>
                      <a:lnTo>
                        <a:pt x="1450124" y="26670"/>
                      </a:lnTo>
                      <a:lnTo>
                        <a:pt x="1450581" y="25400"/>
                      </a:lnTo>
                      <a:lnTo>
                        <a:pt x="1435557" y="24130"/>
                      </a:lnTo>
                      <a:lnTo>
                        <a:pt x="1437157" y="25400"/>
                      </a:lnTo>
                      <a:lnTo>
                        <a:pt x="1438541" y="25400"/>
                      </a:lnTo>
                      <a:lnTo>
                        <a:pt x="1440091" y="26670"/>
                      </a:lnTo>
                      <a:lnTo>
                        <a:pt x="1440776" y="27940"/>
                      </a:lnTo>
                      <a:lnTo>
                        <a:pt x="1440903" y="26670"/>
                      </a:lnTo>
                      <a:lnTo>
                        <a:pt x="1441589" y="27940"/>
                      </a:lnTo>
                      <a:lnTo>
                        <a:pt x="1446504" y="27940"/>
                      </a:lnTo>
                      <a:lnTo>
                        <a:pt x="1447990" y="26670"/>
                      </a:lnTo>
                      <a:lnTo>
                        <a:pt x="1448333" y="27940"/>
                      </a:lnTo>
                      <a:lnTo>
                        <a:pt x="1447901" y="29210"/>
                      </a:lnTo>
                      <a:lnTo>
                        <a:pt x="1447761" y="30480"/>
                      </a:lnTo>
                      <a:lnTo>
                        <a:pt x="1448231" y="31750"/>
                      </a:lnTo>
                      <a:lnTo>
                        <a:pt x="1446961" y="32270"/>
                      </a:lnTo>
                      <a:lnTo>
                        <a:pt x="1446961" y="33020"/>
                      </a:lnTo>
                      <a:lnTo>
                        <a:pt x="1448181" y="34290"/>
                      </a:lnTo>
                      <a:lnTo>
                        <a:pt x="1447609" y="34290"/>
                      </a:lnTo>
                      <a:lnTo>
                        <a:pt x="1448066" y="35217"/>
                      </a:lnTo>
                      <a:lnTo>
                        <a:pt x="1440370" y="31750"/>
                      </a:lnTo>
                      <a:lnTo>
                        <a:pt x="1436154" y="30480"/>
                      </a:lnTo>
                      <a:lnTo>
                        <a:pt x="1436243" y="31750"/>
                      </a:lnTo>
                      <a:lnTo>
                        <a:pt x="1436865" y="33020"/>
                      </a:lnTo>
                      <a:lnTo>
                        <a:pt x="1433830" y="35560"/>
                      </a:lnTo>
                      <a:lnTo>
                        <a:pt x="1432788" y="34290"/>
                      </a:lnTo>
                      <a:lnTo>
                        <a:pt x="1432407" y="31750"/>
                      </a:lnTo>
                      <a:lnTo>
                        <a:pt x="1430934" y="33020"/>
                      </a:lnTo>
                      <a:lnTo>
                        <a:pt x="1424901" y="34290"/>
                      </a:lnTo>
                      <a:lnTo>
                        <a:pt x="1426146" y="38100"/>
                      </a:lnTo>
                      <a:lnTo>
                        <a:pt x="1426464" y="39941"/>
                      </a:lnTo>
                      <a:lnTo>
                        <a:pt x="1425613" y="39370"/>
                      </a:lnTo>
                      <a:lnTo>
                        <a:pt x="1424444" y="41910"/>
                      </a:lnTo>
                      <a:lnTo>
                        <a:pt x="1423822" y="43180"/>
                      </a:lnTo>
                      <a:lnTo>
                        <a:pt x="1421650" y="45720"/>
                      </a:lnTo>
                      <a:lnTo>
                        <a:pt x="1419491" y="46990"/>
                      </a:lnTo>
                      <a:lnTo>
                        <a:pt x="1418082" y="48260"/>
                      </a:lnTo>
                      <a:lnTo>
                        <a:pt x="1418996" y="46990"/>
                      </a:lnTo>
                      <a:lnTo>
                        <a:pt x="1420317" y="45720"/>
                      </a:lnTo>
                      <a:lnTo>
                        <a:pt x="1421307" y="44450"/>
                      </a:lnTo>
                      <a:lnTo>
                        <a:pt x="1422311" y="43180"/>
                      </a:lnTo>
                      <a:lnTo>
                        <a:pt x="1422057" y="43180"/>
                      </a:lnTo>
                      <a:lnTo>
                        <a:pt x="1422641" y="40640"/>
                      </a:lnTo>
                      <a:lnTo>
                        <a:pt x="1423314" y="40640"/>
                      </a:lnTo>
                      <a:lnTo>
                        <a:pt x="1423809" y="39370"/>
                      </a:lnTo>
                      <a:lnTo>
                        <a:pt x="1423339" y="38100"/>
                      </a:lnTo>
                      <a:lnTo>
                        <a:pt x="1422996" y="35560"/>
                      </a:lnTo>
                      <a:lnTo>
                        <a:pt x="1424190" y="34290"/>
                      </a:lnTo>
                      <a:lnTo>
                        <a:pt x="1424292" y="33020"/>
                      </a:lnTo>
                      <a:lnTo>
                        <a:pt x="1424012" y="31750"/>
                      </a:lnTo>
                      <a:lnTo>
                        <a:pt x="1423746" y="30480"/>
                      </a:lnTo>
                      <a:lnTo>
                        <a:pt x="1422222" y="30480"/>
                      </a:lnTo>
                      <a:lnTo>
                        <a:pt x="1421371" y="31750"/>
                      </a:lnTo>
                      <a:lnTo>
                        <a:pt x="1420825" y="31750"/>
                      </a:lnTo>
                      <a:lnTo>
                        <a:pt x="1420799" y="30480"/>
                      </a:lnTo>
                      <a:lnTo>
                        <a:pt x="1419479" y="34290"/>
                      </a:lnTo>
                      <a:lnTo>
                        <a:pt x="1418297" y="35560"/>
                      </a:lnTo>
                      <a:lnTo>
                        <a:pt x="1418513" y="34290"/>
                      </a:lnTo>
                      <a:lnTo>
                        <a:pt x="1418640" y="34290"/>
                      </a:lnTo>
                      <a:lnTo>
                        <a:pt x="1418666" y="33020"/>
                      </a:lnTo>
                      <a:lnTo>
                        <a:pt x="1417878" y="34290"/>
                      </a:lnTo>
                      <a:lnTo>
                        <a:pt x="1416735" y="35560"/>
                      </a:lnTo>
                      <a:lnTo>
                        <a:pt x="1414881" y="39370"/>
                      </a:lnTo>
                      <a:lnTo>
                        <a:pt x="1417294" y="39370"/>
                      </a:lnTo>
                      <a:lnTo>
                        <a:pt x="1419313" y="40640"/>
                      </a:lnTo>
                      <a:lnTo>
                        <a:pt x="1418043" y="41910"/>
                      </a:lnTo>
                      <a:lnTo>
                        <a:pt x="1414322" y="44450"/>
                      </a:lnTo>
                      <a:lnTo>
                        <a:pt x="1412760" y="44450"/>
                      </a:lnTo>
                      <a:lnTo>
                        <a:pt x="1413548" y="43180"/>
                      </a:lnTo>
                      <a:lnTo>
                        <a:pt x="1414348" y="41910"/>
                      </a:lnTo>
                      <a:lnTo>
                        <a:pt x="1413205" y="43180"/>
                      </a:lnTo>
                      <a:lnTo>
                        <a:pt x="1413891" y="40640"/>
                      </a:lnTo>
                      <a:lnTo>
                        <a:pt x="1414627" y="40640"/>
                      </a:lnTo>
                      <a:lnTo>
                        <a:pt x="1414868" y="38100"/>
                      </a:lnTo>
                      <a:lnTo>
                        <a:pt x="1414259" y="38100"/>
                      </a:lnTo>
                      <a:lnTo>
                        <a:pt x="1414005" y="36830"/>
                      </a:lnTo>
                      <a:lnTo>
                        <a:pt x="1414919" y="35560"/>
                      </a:lnTo>
                      <a:lnTo>
                        <a:pt x="1414399" y="34290"/>
                      </a:lnTo>
                      <a:lnTo>
                        <a:pt x="1411401" y="35560"/>
                      </a:lnTo>
                      <a:lnTo>
                        <a:pt x="1407744" y="35560"/>
                      </a:lnTo>
                      <a:lnTo>
                        <a:pt x="1405826" y="36830"/>
                      </a:lnTo>
                      <a:lnTo>
                        <a:pt x="1402778" y="39370"/>
                      </a:lnTo>
                      <a:lnTo>
                        <a:pt x="1405572" y="40640"/>
                      </a:lnTo>
                      <a:lnTo>
                        <a:pt x="1407020" y="40640"/>
                      </a:lnTo>
                      <a:lnTo>
                        <a:pt x="1407680" y="41910"/>
                      </a:lnTo>
                      <a:lnTo>
                        <a:pt x="1404404" y="41910"/>
                      </a:lnTo>
                      <a:lnTo>
                        <a:pt x="1404721" y="43180"/>
                      </a:lnTo>
                      <a:lnTo>
                        <a:pt x="1405064" y="44323"/>
                      </a:lnTo>
                      <a:lnTo>
                        <a:pt x="1402702" y="43180"/>
                      </a:lnTo>
                      <a:lnTo>
                        <a:pt x="1400606" y="43180"/>
                      </a:lnTo>
                      <a:lnTo>
                        <a:pt x="1397419" y="41910"/>
                      </a:lnTo>
                      <a:lnTo>
                        <a:pt x="1398651" y="43180"/>
                      </a:lnTo>
                      <a:lnTo>
                        <a:pt x="1399819" y="45720"/>
                      </a:lnTo>
                      <a:lnTo>
                        <a:pt x="1402245" y="46990"/>
                      </a:lnTo>
                      <a:lnTo>
                        <a:pt x="1403934" y="46990"/>
                      </a:lnTo>
                      <a:lnTo>
                        <a:pt x="1402613" y="48260"/>
                      </a:lnTo>
                      <a:lnTo>
                        <a:pt x="1399819" y="48260"/>
                      </a:lnTo>
                      <a:lnTo>
                        <a:pt x="1396809" y="46990"/>
                      </a:lnTo>
                      <a:lnTo>
                        <a:pt x="1395793" y="45720"/>
                      </a:lnTo>
                      <a:lnTo>
                        <a:pt x="1394866" y="45720"/>
                      </a:lnTo>
                      <a:lnTo>
                        <a:pt x="1394523" y="44450"/>
                      </a:lnTo>
                      <a:lnTo>
                        <a:pt x="1395818" y="44450"/>
                      </a:lnTo>
                      <a:lnTo>
                        <a:pt x="1392923" y="41910"/>
                      </a:lnTo>
                      <a:lnTo>
                        <a:pt x="1391970" y="44450"/>
                      </a:lnTo>
                      <a:lnTo>
                        <a:pt x="1390726" y="45720"/>
                      </a:lnTo>
                      <a:lnTo>
                        <a:pt x="1390103" y="46990"/>
                      </a:lnTo>
                      <a:lnTo>
                        <a:pt x="1390307" y="49530"/>
                      </a:lnTo>
                      <a:lnTo>
                        <a:pt x="1391716" y="49530"/>
                      </a:lnTo>
                      <a:lnTo>
                        <a:pt x="1388973" y="52070"/>
                      </a:lnTo>
                      <a:lnTo>
                        <a:pt x="1385608" y="52070"/>
                      </a:lnTo>
                      <a:lnTo>
                        <a:pt x="1383398" y="54610"/>
                      </a:lnTo>
                      <a:lnTo>
                        <a:pt x="1385570" y="57150"/>
                      </a:lnTo>
                      <a:lnTo>
                        <a:pt x="1387233" y="58420"/>
                      </a:lnTo>
                      <a:lnTo>
                        <a:pt x="1385976" y="59690"/>
                      </a:lnTo>
                      <a:lnTo>
                        <a:pt x="1386370" y="59690"/>
                      </a:lnTo>
                      <a:lnTo>
                        <a:pt x="1387043" y="60960"/>
                      </a:lnTo>
                      <a:lnTo>
                        <a:pt x="1385366" y="60960"/>
                      </a:lnTo>
                      <a:lnTo>
                        <a:pt x="1383601" y="59690"/>
                      </a:lnTo>
                      <a:lnTo>
                        <a:pt x="1385976" y="59690"/>
                      </a:lnTo>
                      <a:lnTo>
                        <a:pt x="1384058" y="58420"/>
                      </a:lnTo>
                      <a:lnTo>
                        <a:pt x="1382547" y="59690"/>
                      </a:lnTo>
                      <a:lnTo>
                        <a:pt x="1382014" y="59690"/>
                      </a:lnTo>
                      <a:lnTo>
                        <a:pt x="1382522" y="62230"/>
                      </a:lnTo>
                      <a:lnTo>
                        <a:pt x="1384858" y="63500"/>
                      </a:lnTo>
                      <a:lnTo>
                        <a:pt x="1381696" y="63500"/>
                      </a:lnTo>
                      <a:lnTo>
                        <a:pt x="1379448" y="60960"/>
                      </a:lnTo>
                      <a:lnTo>
                        <a:pt x="1369021" y="66040"/>
                      </a:lnTo>
                      <a:lnTo>
                        <a:pt x="1369428" y="67310"/>
                      </a:lnTo>
                      <a:lnTo>
                        <a:pt x="1369339" y="68580"/>
                      </a:lnTo>
                      <a:lnTo>
                        <a:pt x="1379994" y="68580"/>
                      </a:lnTo>
                      <a:lnTo>
                        <a:pt x="1380871" y="67310"/>
                      </a:lnTo>
                      <a:lnTo>
                        <a:pt x="1384236" y="67310"/>
                      </a:lnTo>
                      <a:lnTo>
                        <a:pt x="1385316" y="69850"/>
                      </a:lnTo>
                      <a:lnTo>
                        <a:pt x="1388160" y="69850"/>
                      </a:lnTo>
                      <a:lnTo>
                        <a:pt x="1386332" y="71120"/>
                      </a:lnTo>
                      <a:lnTo>
                        <a:pt x="1379791" y="72390"/>
                      </a:lnTo>
                      <a:lnTo>
                        <a:pt x="1380845" y="74930"/>
                      </a:lnTo>
                      <a:lnTo>
                        <a:pt x="1379093" y="73660"/>
                      </a:lnTo>
                      <a:lnTo>
                        <a:pt x="1377886" y="72390"/>
                      </a:lnTo>
                      <a:lnTo>
                        <a:pt x="1376362" y="69850"/>
                      </a:lnTo>
                      <a:lnTo>
                        <a:pt x="1372222" y="73660"/>
                      </a:lnTo>
                      <a:lnTo>
                        <a:pt x="1369301" y="74930"/>
                      </a:lnTo>
                      <a:lnTo>
                        <a:pt x="1368094" y="74930"/>
                      </a:lnTo>
                      <a:lnTo>
                        <a:pt x="1369275" y="75399"/>
                      </a:lnTo>
                      <a:lnTo>
                        <a:pt x="1369644" y="74930"/>
                      </a:lnTo>
                      <a:lnTo>
                        <a:pt x="1371777" y="74930"/>
                      </a:lnTo>
                      <a:lnTo>
                        <a:pt x="1372984" y="76200"/>
                      </a:lnTo>
                      <a:lnTo>
                        <a:pt x="1371320" y="76200"/>
                      </a:lnTo>
                      <a:lnTo>
                        <a:pt x="1369275" y="75399"/>
                      </a:lnTo>
                      <a:lnTo>
                        <a:pt x="1368653" y="76200"/>
                      </a:lnTo>
                      <a:lnTo>
                        <a:pt x="1368272" y="76200"/>
                      </a:lnTo>
                      <a:lnTo>
                        <a:pt x="1369783" y="77470"/>
                      </a:lnTo>
                      <a:lnTo>
                        <a:pt x="1371561" y="77470"/>
                      </a:lnTo>
                      <a:lnTo>
                        <a:pt x="1369999" y="78740"/>
                      </a:lnTo>
                      <a:lnTo>
                        <a:pt x="1367345" y="78740"/>
                      </a:lnTo>
                      <a:lnTo>
                        <a:pt x="1367929" y="80010"/>
                      </a:lnTo>
                      <a:lnTo>
                        <a:pt x="1369491" y="80010"/>
                      </a:lnTo>
                      <a:lnTo>
                        <a:pt x="1367675" y="81280"/>
                      </a:lnTo>
                      <a:lnTo>
                        <a:pt x="1368183" y="81280"/>
                      </a:lnTo>
                      <a:lnTo>
                        <a:pt x="1366532" y="82550"/>
                      </a:lnTo>
                      <a:lnTo>
                        <a:pt x="1367510" y="82550"/>
                      </a:lnTo>
                      <a:lnTo>
                        <a:pt x="1368145" y="83820"/>
                      </a:lnTo>
                      <a:lnTo>
                        <a:pt x="1366316" y="83820"/>
                      </a:lnTo>
                      <a:lnTo>
                        <a:pt x="1364526" y="82550"/>
                      </a:lnTo>
                      <a:lnTo>
                        <a:pt x="1363637" y="80010"/>
                      </a:lnTo>
                      <a:lnTo>
                        <a:pt x="1363764" y="76200"/>
                      </a:lnTo>
                      <a:lnTo>
                        <a:pt x="1360576" y="72390"/>
                      </a:lnTo>
                      <a:lnTo>
                        <a:pt x="1359052" y="76200"/>
                      </a:lnTo>
                      <a:lnTo>
                        <a:pt x="1357274" y="77470"/>
                      </a:lnTo>
                      <a:lnTo>
                        <a:pt x="1355229" y="78740"/>
                      </a:lnTo>
                      <a:lnTo>
                        <a:pt x="1357045" y="78740"/>
                      </a:lnTo>
                      <a:lnTo>
                        <a:pt x="1359839" y="80010"/>
                      </a:lnTo>
                      <a:lnTo>
                        <a:pt x="1357388" y="81280"/>
                      </a:lnTo>
                      <a:lnTo>
                        <a:pt x="1355420" y="81280"/>
                      </a:lnTo>
                      <a:lnTo>
                        <a:pt x="1352092" y="82550"/>
                      </a:lnTo>
                      <a:lnTo>
                        <a:pt x="1350784" y="82550"/>
                      </a:lnTo>
                      <a:lnTo>
                        <a:pt x="1350492" y="83820"/>
                      </a:lnTo>
                      <a:lnTo>
                        <a:pt x="1349603" y="83820"/>
                      </a:lnTo>
                      <a:lnTo>
                        <a:pt x="1349692" y="82550"/>
                      </a:lnTo>
                      <a:lnTo>
                        <a:pt x="1345501" y="82550"/>
                      </a:lnTo>
                      <a:lnTo>
                        <a:pt x="1344879" y="83820"/>
                      </a:lnTo>
                      <a:lnTo>
                        <a:pt x="1343863" y="83820"/>
                      </a:lnTo>
                      <a:lnTo>
                        <a:pt x="1344193" y="86360"/>
                      </a:lnTo>
                      <a:lnTo>
                        <a:pt x="1345412" y="87630"/>
                      </a:lnTo>
                      <a:lnTo>
                        <a:pt x="1352461" y="85090"/>
                      </a:lnTo>
                      <a:lnTo>
                        <a:pt x="1352334" y="83820"/>
                      </a:lnTo>
                      <a:lnTo>
                        <a:pt x="1354099" y="83820"/>
                      </a:lnTo>
                      <a:lnTo>
                        <a:pt x="1355826" y="85090"/>
                      </a:lnTo>
                      <a:lnTo>
                        <a:pt x="1357337" y="86360"/>
                      </a:lnTo>
                      <a:lnTo>
                        <a:pt x="1354797" y="85090"/>
                      </a:lnTo>
                      <a:lnTo>
                        <a:pt x="1351902" y="87630"/>
                      </a:lnTo>
                      <a:lnTo>
                        <a:pt x="1349679" y="88900"/>
                      </a:lnTo>
                      <a:lnTo>
                        <a:pt x="1352600" y="88900"/>
                      </a:lnTo>
                      <a:lnTo>
                        <a:pt x="1353845" y="90170"/>
                      </a:lnTo>
                      <a:lnTo>
                        <a:pt x="1353007" y="91440"/>
                      </a:lnTo>
                      <a:lnTo>
                        <a:pt x="1355369" y="91440"/>
                      </a:lnTo>
                      <a:lnTo>
                        <a:pt x="1357985" y="90170"/>
                      </a:lnTo>
                      <a:lnTo>
                        <a:pt x="1359623" y="90170"/>
                      </a:lnTo>
                      <a:lnTo>
                        <a:pt x="1358531" y="91440"/>
                      </a:lnTo>
                      <a:lnTo>
                        <a:pt x="1354696" y="92710"/>
                      </a:lnTo>
                      <a:lnTo>
                        <a:pt x="1355788" y="93980"/>
                      </a:lnTo>
                      <a:lnTo>
                        <a:pt x="1357845" y="95250"/>
                      </a:lnTo>
                      <a:lnTo>
                        <a:pt x="1355191" y="95250"/>
                      </a:lnTo>
                      <a:lnTo>
                        <a:pt x="1352296" y="93980"/>
                      </a:lnTo>
                      <a:lnTo>
                        <a:pt x="1348955" y="92710"/>
                      </a:lnTo>
                      <a:lnTo>
                        <a:pt x="1347762" y="92710"/>
                      </a:lnTo>
                      <a:lnTo>
                        <a:pt x="1347203" y="93980"/>
                      </a:lnTo>
                      <a:lnTo>
                        <a:pt x="1344663" y="95250"/>
                      </a:lnTo>
                      <a:lnTo>
                        <a:pt x="1344028" y="92710"/>
                      </a:lnTo>
                      <a:lnTo>
                        <a:pt x="1342771" y="93980"/>
                      </a:lnTo>
                      <a:lnTo>
                        <a:pt x="1341043" y="95250"/>
                      </a:lnTo>
                      <a:lnTo>
                        <a:pt x="1340764" y="95250"/>
                      </a:lnTo>
                      <a:lnTo>
                        <a:pt x="1339113" y="96520"/>
                      </a:lnTo>
                      <a:lnTo>
                        <a:pt x="1338313" y="97790"/>
                      </a:lnTo>
                      <a:lnTo>
                        <a:pt x="1340815" y="97790"/>
                      </a:lnTo>
                      <a:lnTo>
                        <a:pt x="1344129" y="96520"/>
                      </a:lnTo>
                      <a:lnTo>
                        <a:pt x="1348587" y="96520"/>
                      </a:lnTo>
                      <a:lnTo>
                        <a:pt x="1350543" y="97790"/>
                      </a:lnTo>
                      <a:lnTo>
                        <a:pt x="1353502" y="99060"/>
                      </a:lnTo>
                      <a:lnTo>
                        <a:pt x="1353642" y="101600"/>
                      </a:lnTo>
                      <a:lnTo>
                        <a:pt x="1353362" y="101600"/>
                      </a:lnTo>
                      <a:lnTo>
                        <a:pt x="1351927" y="99060"/>
                      </a:lnTo>
                      <a:lnTo>
                        <a:pt x="1344637" y="99060"/>
                      </a:lnTo>
                      <a:lnTo>
                        <a:pt x="1337030" y="100330"/>
                      </a:lnTo>
                      <a:lnTo>
                        <a:pt x="1337398" y="100330"/>
                      </a:lnTo>
                      <a:lnTo>
                        <a:pt x="1337767" y="102870"/>
                      </a:lnTo>
                      <a:lnTo>
                        <a:pt x="1337221" y="102870"/>
                      </a:lnTo>
                      <a:lnTo>
                        <a:pt x="1326934" y="105410"/>
                      </a:lnTo>
                      <a:lnTo>
                        <a:pt x="1328737" y="107950"/>
                      </a:lnTo>
                      <a:lnTo>
                        <a:pt x="1329309" y="107950"/>
                      </a:lnTo>
                      <a:lnTo>
                        <a:pt x="1332674" y="109220"/>
                      </a:lnTo>
                      <a:lnTo>
                        <a:pt x="1329766" y="109220"/>
                      </a:lnTo>
                      <a:lnTo>
                        <a:pt x="1326616" y="110490"/>
                      </a:lnTo>
                      <a:lnTo>
                        <a:pt x="1323632" y="110490"/>
                      </a:lnTo>
                      <a:lnTo>
                        <a:pt x="1324419" y="111760"/>
                      </a:lnTo>
                      <a:lnTo>
                        <a:pt x="1326172" y="111760"/>
                      </a:lnTo>
                      <a:lnTo>
                        <a:pt x="1324991" y="113030"/>
                      </a:lnTo>
                      <a:lnTo>
                        <a:pt x="1323771" y="111760"/>
                      </a:lnTo>
                      <a:lnTo>
                        <a:pt x="1322552" y="111760"/>
                      </a:lnTo>
                      <a:lnTo>
                        <a:pt x="1324686" y="113030"/>
                      </a:lnTo>
                      <a:lnTo>
                        <a:pt x="1322882" y="114300"/>
                      </a:lnTo>
                      <a:lnTo>
                        <a:pt x="1324292" y="115570"/>
                      </a:lnTo>
                      <a:lnTo>
                        <a:pt x="1325067" y="114300"/>
                      </a:lnTo>
                      <a:lnTo>
                        <a:pt x="1326591" y="114300"/>
                      </a:lnTo>
                      <a:lnTo>
                        <a:pt x="1327315" y="113030"/>
                      </a:lnTo>
                      <a:lnTo>
                        <a:pt x="1329461" y="113030"/>
                      </a:lnTo>
                      <a:lnTo>
                        <a:pt x="1327835" y="114300"/>
                      </a:lnTo>
                      <a:lnTo>
                        <a:pt x="1327988" y="115570"/>
                      </a:lnTo>
                      <a:lnTo>
                        <a:pt x="1324292" y="115570"/>
                      </a:lnTo>
                      <a:lnTo>
                        <a:pt x="1318514" y="115570"/>
                      </a:lnTo>
                      <a:lnTo>
                        <a:pt x="1318475" y="116840"/>
                      </a:lnTo>
                      <a:lnTo>
                        <a:pt x="1318056" y="119380"/>
                      </a:lnTo>
                      <a:lnTo>
                        <a:pt x="1319517" y="120650"/>
                      </a:lnTo>
                      <a:lnTo>
                        <a:pt x="1321219" y="120650"/>
                      </a:lnTo>
                      <a:lnTo>
                        <a:pt x="1322362" y="121920"/>
                      </a:lnTo>
                      <a:lnTo>
                        <a:pt x="1321028" y="121920"/>
                      </a:lnTo>
                      <a:lnTo>
                        <a:pt x="1319784" y="123190"/>
                      </a:lnTo>
                      <a:lnTo>
                        <a:pt x="1320901" y="123190"/>
                      </a:lnTo>
                      <a:lnTo>
                        <a:pt x="1323289" y="121920"/>
                      </a:lnTo>
                      <a:lnTo>
                        <a:pt x="1324597" y="121920"/>
                      </a:lnTo>
                      <a:lnTo>
                        <a:pt x="1331772" y="121920"/>
                      </a:lnTo>
                      <a:lnTo>
                        <a:pt x="1334439" y="120650"/>
                      </a:lnTo>
                      <a:lnTo>
                        <a:pt x="1332649" y="121920"/>
                      </a:lnTo>
                      <a:lnTo>
                        <a:pt x="1329169" y="124460"/>
                      </a:lnTo>
                      <a:lnTo>
                        <a:pt x="1326222" y="123190"/>
                      </a:lnTo>
                      <a:lnTo>
                        <a:pt x="1325791" y="123190"/>
                      </a:lnTo>
                      <a:lnTo>
                        <a:pt x="1324597" y="121920"/>
                      </a:lnTo>
                      <a:lnTo>
                        <a:pt x="1323225" y="123190"/>
                      </a:lnTo>
                      <a:lnTo>
                        <a:pt x="1321422" y="123190"/>
                      </a:lnTo>
                      <a:lnTo>
                        <a:pt x="1321168" y="123444"/>
                      </a:lnTo>
                      <a:lnTo>
                        <a:pt x="1321168" y="132080"/>
                      </a:lnTo>
                      <a:lnTo>
                        <a:pt x="1318615" y="130810"/>
                      </a:lnTo>
                      <a:lnTo>
                        <a:pt x="1318044" y="129120"/>
                      </a:lnTo>
                      <a:lnTo>
                        <a:pt x="1318514" y="129540"/>
                      </a:lnTo>
                      <a:lnTo>
                        <a:pt x="1320685" y="129540"/>
                      </a:lnTo>
                      <a:lnTo>
                        <a:pt x="1321168" y="132080"/>
                      </a:lnTo>
                      <a:lnTo>
                        <a:pt x="1321168" y="123444"/>
                      </a:lnTo>
                      <a:lnTo>
                        <a:pt x="1320152" y="124460"/>
                      </a:lnTo>
                      <a:lnTo>
                        <a:pt x="1316710" y="124460"/>
                      </a:lnTo>
                      <a:lnTo>
                        <a:pt x="1313662" y="127000"/>
                      </a:lnTo>
                      <a:lnTo>
                        <a:pt x="1317447" y="127000"/>
                      </a:lnTo>
                      <a:lnTo>
                        <a:pt x="1318679" y="125730"/>
                      </a:lnTo>
                      <a:lnTo>
                        <a:pt x="1318488" y="127000"/>
                      </a:lnTo>
                      <a:lnTo>
                        <a:pt x="1317713" y="128270"/>
                      </a:lnTo>
                      <a:lnTo>
                        <a:pt x="1317612" y="143510"/>
                      </a:lnTo>
                      <a:lnTo>
                        <a:pt x="1316075" y="147320"/>
                      </a:lnTo>
                      <a:lnTo>
                        <a:pt x="1312875" y="147320"/>
                      </a:lnTo>
                      <a:lnTo>
                        <a:pt x="1315173" y="146050"/>
                      </a:lnTo>
                      <a:lnTo>
                        <a:pt x="1316189" y="144780"/>
                      </a:lnTo>
                      <a:lnTo>
                        <a:pt x="1317612" y="143510"/>
                      </a:lnTo>
                      <a:lnTo>
                        <a:pt x="1317612" y="128270"/>
                      </a:lnTo>
                      <a:lnTo>
                        <a:pt x="1317155" y="128270"/>
                      </a:lnTo>
                      <a:lnTo>
                        <a:pt x="1317459" y="128574"/>
                      </a:lnTo>
                      <a:lnTo>
                        <a:pt x="1312506" y="133350"/>
                      </a:lnTo>
                      <a:lnTo>
                        <a:pt x="1313535" y="134620"/>
                      </a:lnTo>
                      <a:lnTo>
                        <a:pt x="1313891" y="135890"/>
                      </a:lnTo>
                      <a:lnTo>
                        <a:pt x="1311465" y="134721"/>
                      </a:lnTo>
                      <a:lnTo>
                        <a:pt x="1309370" y="139700"/>
                      </a:lnTo>
                      <a:lnTo>
                        <a:pt x="1313154" y="139700"/>
                      </a:lnTo>
                      <a:lnTo>
                        <a:pt x="1312240" y="140970"/>
                      </a:lnTo>
                      <a:lnTo>
                        <a:pt x="1314767" y="140970"/>
                      </a:lnTo>
                      <a:lnTo>
                        <a:pt x="1314170" y="142240"/>
                      </a:lnTo>
                      <a:lnTo>
                        <a:pt x="1312722" y="142240"/>
                      </a:lnTo>
                      <a:lnTo>
                        <a:pt x="1312722" y="147370"/>
                      </a:lnTo>
                      <a:lnTo>
                        <a:pt x="1311846" y="148361"/>
                      </a:lnTo>
                      <a:lnTo>
                        <a:pt x="1311960" y="148590"/>
                      </a:lnTo>
                      <a:lnTo>
                        <a:pt x="1311821" y="148412"/>
                      </a:lnTo>
                      <a:lnTo>
                        <a:pt x="1310538" y="149860"/>
                      </a:lnTo>
                      <a:lnTo>
                        <a:pt x="1308798" y="149860"/>
                      </a:lnTo>
                      <a:lnTo>
                        <a:pt x="1309103" y="148590"/>
                      </a:lnTo>
                      <a:lnTo>
                        <a:pt x="1311376" y="147802"/>
                      </a:lnTo>
                      <a:lnTo>
                        <a:pt x="1310093" y="146050"/>
                      </a:lnTo>
                      <a:lnTo>
                        <a:pt x="1309268" y="147866"/>
                      </a:lnTo>
                      <a:lnTo>
                        <a:pt x="1309408" y="147320"/>
                      </a:lnTo>
                      <a:lnTo>
                        <a:pt x="1307731" y="147320"/>
                      </a:lnTo>
                      <a:lnTo>
                        <a:pt x="1306055" y="146329"/>
                      </a:lnTo>
                      <a:lnTo>
                        <a:pt x="1306296" y="146050"/>
                      </a:lnTo>
                      <a:lnTo>
                        <a:pt x="1309090" y="142240"/>
                      </a:lnTo>
                      <a:lnTo>
                        <a:pt x="1311567" y="147739"/>
                      </a:lnTo>
                      <a:lnTo>
                        <a:pt x="1312722" y="147370"/>
                      </a:lnTo>
                      <a:lnTo>
                        <a:pt x="1312722" y="142240"/>
                      </a:lnTo>
                      <a:lnTo>
                        <a:pt x="1312418" y="142240"/>
                      </a:lnTo>
                      <a:lnTo>
                        <a:pt x="1309243" y="139700"/>
                      </a:lnTo>
                      <a:lnTo>
                        <a:pt x="1308646" y="138430"/>
                      </a:lnTo>
                      <a:lnTo>
                        <a:pt x="1307439" y="140970"/>
                      </a:lnTo>
                      <a:lnTo>
                        <a:pt x="1306296" y="143510"/>
                      </a:lnTo>
                      <a:lnTo>
                        <a:pt x="1305547" y="146100"/>
                      </a:lnTo>
                      <a:lnTo>
                        <a:pt x="1305483" y="146329"/>
                      </a:lnTo>
                      <a:lnTo>
                        <a:pt x="1305547" y="146100"/>
                      </a:lnTo>
                      <a:lnTo>
                        <a:pt x="1301699" y="149860"/>
                      </a:lnTo>
                      <a:lnTo>
                        <a:pt x="1300886" y="151130"/>
                      </a:lnTo>
                      <a:lnTo>
                        <a:pt x="1301800" y="151130"/>
                      </a:lnTo>
                      <a:lnTo>
                        <a:pt x="1302689" y="149860"/>
                      </a:lnTo>
                      <a:lnTo>
                        <a:pt x="1303616" y="149860"/>
                      </a:lnTo>
                      <a:lnTo>
                        <a:pt x="1300124" y="152400"/>
                      </a:lnTo>
                      <a:lnTo>
                        <a:pt x="1296543" y="154940"/>
                      </a:lnTo>
                      <a:lnTo>
                        <a:pt x="1293266" y="157480"/>
                      </a:lnTo>
                      <a:lnTo>
                        <a:pt x="1295273" y="157480"/>
                      </a:lnTo>
                      <a:lnTo>
                        <a:pt x="1297025" y="156210"/>
                      </a:lnTo>
                      <a:lnTo>
                        <a:pt x="1299108" y="154940"/>
                      </a:lnTo>
                      <a:lnTo>
                        <a:pt x="1299387" y="154940"/>
                      </a:lnTo>
                      <a:lnTo>
                        <a:pt x="1300416" y="153670"/>
                      </a:lnTo>
                      <a:lnTo>
                        <a:pt x="1302689" y="153670"/>
                      </a:lnTo>
                      <a:lnTo>
                        <a:pt x="1303629" y="152400"/>
                      </a:lnTo>
                      <a:lnTo>
                        <a:pt x="1304759" y="152400"/>
                      </a:lnTo>
                      <a:lnTo>
                        <a:pt x="1302981" y="153670"/>
                      </a:lnTo>
                      <a:lnTo>
                        <a:pt x="1300327" y="154940"/>
                      </a:lnTo>
                      <a:lnTo>
                        <a:pt x="1299197" y="156210"/>
                      </a:lnTo>
                      <a:lnTo>
                        <a:pt x="1301635" y="156210"/>
                      </a:lnTo>
                      <a:lnTo>
                        <a:pt x="1300073" y="157480"/>
                      </a:lnTo>
                      <a:lnTo>
                        <a:pt x="1297825" y="157480"/>
                      </a:lnTo>
                      <a:lnTo>
                        <a:pt x="1296111" y="158750"/>
                      </a:lnTo>
                      <a:lnTo>
                        <a:pt x="1299883" y="161290"/>
                      </a:lnTo>
                      <a:lnTo>
                        <a:pt x="1297889" y="162560"/>
                      </a:lnTo>
                      <a:lnTo>
                        <a:pt x="1296200" y="163563"/>
                      </a:lnTo>
                      <a:lnTo>
                        <a:pt x="1296200" y="164439"/>
                      </a:lnTo>
                      <a:lnTo>
                        <a:pt x="1294904" y="166370"/>
                      </a:lnTo>
                      <a:lnTo>
                        <a:pt x="1293164" y="167640"/>
                      </a:lnTo>
                      <a:lnTo>
                        <a:pt x="1293253" y="165100"/>
                      </a:lnTo>
                      <a:lnTo>
                        <a:pt x="1293609" y="165100"/>
                      </a:lnTo>
                      <a:lnTo>
                        <a:pt x="1295158" y="165100"/>
                      </a:lnTo>
                      <a:lnTo>
                        <a:pt x="1294701" y="164820"/>
                      </a:lnTo>
                      <a:lnTo>
                        <a:pt x="1296200" y="164439"/>
                      </a:lnTo>
                      <a:lnTo>
                        <a:pt x="1296200" y="163563"/>
                      </a:lnTo>
                      <a:lnTo>
                        <a:pt x="1294396" y="164630"/>
                      </a:lnTo>
                      <a:lnTo>
                        <a:pt x="1291107" y="162560"/>
                      </a:lnTo>
                      <a:lnTo>
                        <a:pt x="1290154" y="162560"/>
                      </a:lnTo>
                      <a:lnTo>
                        <a:pt x="1284351" y="166370"/>
                      </a:lnTo>
                      <a:lnTo>
                        <a:pt x="1281379" y="167640"/>
                      </a:lnTo>
                      <a:lnTo>
                        <a:pt x="1278153" y="168910"/>
                      </a:lnTo>
                      <a:lnTo>
                        <a:pt x="1281112" y="170180"/>
                      </a:lnTo>
                      <a:lnTo>
                        <a:pt x="1279067" y="171450"/>
                      </a:lnTo>
                      <a:lnTo>
                        <a:pt x="1276159" y="172720"/>
                      </a:lnTo>
                      <a:lnTo>
                        <a:pt x="1274991" y="175260"/>
                      </a:lnTo>
                      <a:lnTo>
                        <a:pt x="1277353" y="175260"/>
                      </a:lnTo>
                      <a:lnTo>
                        <a:pt x="1276642" y="176530"/>
                      </a:lnTo>
                      <a:lnTo>
                        <a:pt x="1276845" y="176530"/>
                      </a:lnTo>
                      <a:lnTo>
                        <a:pt x="1274114" y="177800"/>
                      </a:lnTo>
                      <a:lnTo>
                        <a:pt x="1271892" y="179070"/>
                      </a:lnTo>
                      <a:lnTo>
                        <a:pt x="1269441" y="181610"/>
                      </a:lnTo>
                      <a:lnTo>
                        <a:pt x="1271651" y="181610"/>
                      </a:lnTo>
                      <a:lnTo>
                        <a:pt x="1273759" y="180340"/>
                      </a:lnTo>
                      <a:lnTo>
                        <a:pt x="1276032" y="180340"/>
                      </a:lnTo>
                      <a:lnTo>
                        <a:pt x="1275232" y="181610"/>
                      </a:lnTo>
                      <a:lnTo>
                        <a:pt x="1273924" y="182880"/>
                      </a:lnTo>
                      <a:lnTo>
                        <a:pt x="1273060" y="184150"/>
                      </a:lnTo>
                      <a:lnTo>
                        <a:pt x="1273517" y="184150"/>
                      </a:lnTo>
                      <a:lnTo>
                        <a:pt x="1274546" y="186690"/>
                      </a:lnTo>
                      <a:lnTo>
                        <a:pt x="1275346" y="186690"/>
                      </a:lnTo>
                      <a:lnTo>
                        <a:pt x="1279753" y="184150"/>
                      </a:lnTo>
                      <a:lnTo>
                        <a:pt x="1282674" y="182880"/>
                      </a:lnTo>
                      <a:lnTo>
                        <a:pt x="1286764" y="181610"/>
                      </a:lnTo>
                      <a:lnTo>
                        <a:pt x="1287805" y="180340"/>
                      </a:lnTo>
                      <a:lnTo>
                        <a:pt x="1290358" y="179070"/>
                      </a:lnTo>
                      <a:lnTo>
                        <a:pt x="1289786" y="179070"/>
                      </a:lnTo>
                      <a:lnTo>
                        <a:pt x="1289342" y="176530"/>
                      </a:lnTo>
                      <a:lnTo>
                        <a:pt x="1284185" y="179070"/>
                      </a:lnTo>
                      <a:lnTo>
                        <a:pt x="1287183" y="176530"/>
                      </a:lnTo>
                      <a:lnTo>
                        <a:pt x="1290116" y="175260"/>
                      </a:lnTo>
                      <a:lnTo>
                        <a:pt x="1295819" y="171450"/>
                      </a:lnTo>
                      <a:lnTo>
                        <a:pt x="1294536" y="172720"/>
                      </a:lnTo>
                      <a:lnTo>
                        <a:pt x="1296428" y="173990"/>
                      </a:lnTo>
                      <a:lnTo>
                        <a:pt x="1294599" y="175260"/>
                      </a:lnTo>
                      <a:lnTo>
                        <a:pt x="1292834" y="176530"/>
                      </a:lnTo>
                      <a:lnTo>
                        <a:pt x="1291145" y="176530"/>
                      </a:lnTo>
                      <a:lnTo>
                        <a:pt x="1291932" y="177800"/>
                      </a:lnTo>
                      <a:lnTo>
                        <a:pt x="1294384" y="177800"/>
                      </a:lnTo>
                      <a:lnTo>
                        <a:pt x="1295615" y="179070"/>
                      </a:lnTo>
                      <a:lnTo>
                        <a:pt x="1293126" y="182880"/>
                      </a:lnTo>
                      <a:lnTo>
                        <a:pt x="1287437" y="181610"/>
                      </a:lnTo>
                      <a:lnTo>
                        <a:pt x="1284655" y="185420"/>
                      </a:lnTo>
                      <a:lnTo>
                        <a:pt x="1285684" y="184150"/>
                      </a:lnTo>
                      <a:lnTo>
                        <a:pt x="1287627" y="184150"/>
                      </a:lnTo>
                      <a:lnTo>
                        <a:pt x="1286268" y="185420"/>
                      </a:lnTo>
                      <a:lnTo>
                        <a:pt x="1286433" y="185420"/>
                      </a:lnTo>
                      <a:lnTo>
                        <a:pt x="1287500" y="187960"/>
                      </a:lnTo>
                      <a:lnTo>
                        <a:pt x="1277759" y="187960"/>
                      </a:lnTo>
                      <a:lnTo>
                        <a:pt x="1273213" y="190500"/>
                      </a:lnTo>
                      <a:lnTo>
                        <a:pt x="1273835" y="189230"/>
                      </a:lnTo>
                      <a:lnTo>
                        <a:pt x="1274978" y="187960"/>
                      </a:lnTo>
                      <a:lnTo>
                        <a:pt x="1273606" y="185420"/>
                      </a:lnTo>
                      <a:lnTo>
                        <a:pt x="1271422" y="182880"/>
                      </a:lnTo>
                      <a:lnTo>
                        <a:pt x="1268806" y="184150"/>
                      </a:lnTo>
                      <a:lnTo>
                        <a:pt x="1265707" y="184150"/>
                      </a:lnTo>
                      <a:lnTo>
                        <a:pt x="1263738" y="186690"/>
                      </a:lnTo>
                      <a:lnTo>
                        <a:pt x="1268196" y="186690"/>
                      </a:lnTo>
                      <a:lnTo>
                        <a:pt x="1266101" y="187960"/>
                      </a:lnTo>
                      <a:lnTo>
                        <a:pt x="1263726" y="189230"/>
                      </a:lnTo>
                      <a:lnTo>
                        <a:pt x="1263129" y="190068"/>
                      </a:lnTo>
                      <a:lnTo>
                        <a:pt x="1263294" y="190500"/>
                      </a:lnTo>
                      <a:lnTo>
                        <a:pt x="1263065" y="190169"/>
                      </a:lnTo>
                      <a:lnTo>
                        <a:pt x="1261935" y="191770"/>
                      </a:lnTo>
                      <a:lnTo>
                        <a:pt x="1262684" y="189611"/>
                      </a:lnTo>
                      <a:lnTo>
                        <a:pt x="1260716" y="186690"/>
                      </a:lnTo>
                      <a:lnTo>
                        <a:pt x="1259738" y="187960"/>
                      </a:lnTo>
                      <a:lnTo>
                        <a:pt x="1256372" y="187960"/>
                      </a:lnTo>
                      <a:lnTo>
                        <a:pt x="1255941" y="190500"/>
                      </a:lnTo>
                      <a:lnTo>
                        <a:pt x="1254353" y="190500"/>
                      </a:lnTo>
                      <a:lnTo>
                        <a:pt x="1255445" y="191770"/>
                      </a:lnTo>
                      <a:lnTo>
                        <a:pt x="1257325" y="191770"/>
                      </a:lnTo>
                      <a:lnTo>
                        <a:pt x="1258760" y="193040"/>
                      </a:lnTo>
                      <a:lnTo>
                        <a:pt x="1249629" y="193040"/>
                      </a:lnTo>
                      <a:lnTo>
                        <a:pt x="1249426" y="196481"/>
                      </a:lnTo>
                      <a:lnTo>
                        <a:pt x="1249565" y="196850"/>
                      </a:lnTo>
                      <a:lnTo>
                        <a:pt x="1252588" y="196850"/>
                      </a:lnTo>
                      <a:lnTo>
                        <a:pt x="1255852" y="198120"/>
                      </a:lnTo>
                      <a:lnTo>
                        <a:pt x="1256512" y="198120"/>
                      </a:lnTo>
                      <a:lnTo>
                        <a:pt x="1257084" y="201930"/>
                      </a:lnTo>
                      <a:lnTo>
                        <a:pt x="1256004" y="200660"/>
                      </a:lnTo>
                      <a:lnTo>
                        <a:pt x="1255153" y="199390"/>
                      </a:lnTo>
                      <a:lnTo>
                        <a:pt x="1253782" y="200660"/>
                      </a:lnTo>
                      <a:lnTo>
                        <a:pt x="1250454" y="199390"/>
                      </a:lnTo>
                      <a:lnTo>
                        <a:pt x="1249426" y="196481"/>
                      </a:lnTo>
                      <a:lnTo>
                        <a:pt x="1247787" y="191770"/>
                      </a:lnTo>
                      <a:lnTo>
                        <a:pt x="1245704" y="196850"/>
                      </a:lnTo>
                      <a:lnTo>
                        <a:pt x="1246339" y="196850"/>
                      </a:lnTo>
                      <a:lnTo>
                        <a:pt x="1248740" y="199390"/>
                      </a:lnTo>
                      <a:lnTo>
                        <a:pt x="1250594" y="201079"/>
                      </a:lnTo>
                      <a:lnTo>
                        <a:pt x="1244866" y="198120"/>
                      </a:lnTo>
                      <a:lnTo>
                        <a:pt x="1244269" y="198120"/>
                      </a:lnTo>
                      <a:lnTo>
                        <a:pt x="1240497" y="199390"/>
                      </a:lnTo>
                      <a:lnTo>
                        <a:pt x="1239304" y="199390"/>
                      </a:lnTo>
                      <a:lnTo>
                        <a:pt x="1238478" y="198120"/>
                      </a:lnTo>
                      <a:lnTo>
                        <a:pt x="1237056" y="196850"/>
                      </a:lnTo>
                      <a:lnTo>
                        <a:pt x="1232649" y="198120"/>
                      </a:lnTo>
                      <a:lnTo>
                        <a:pt x="1231480" y="199390"/>
                      </a:lnTo>
                      <a:lnTo>
                        <a:pt x="1231950" y="199390"/>
                      </a:lnTo>
                      <a:lnTo>
                        <a:pt x="1232331" y="200660"/>
                      </a:lnTo>
                      <a:lnTo>
                        <a:pt x="1234338" y="200660"/>
                      </a:lnTo>
                      <a:lnTo>
                        <a:pt x="1234770" y="200660"/>
                      </a:lnTo>
                      <a:lnTo>
                        <a:pt x="1235608" y="201930"/>
                      </a:lnTo>
                      <a:lnTo>
                        <a:pt x="1234338" y="200660"/>
                      </a:lnTo>
                      <a:lnTo>
                        <a:pt x="1233246" y="203200"/>
                      </a:lnTo>
                      <a:lnTo>
                        <a:pt x="1232306" y="203200"/>
                      </a:lnTo>
                      <a:lnTo>
                        <a:pt x="1243457" y="204470"/>
                      </a:lnTo>
                      <a:lnTo>
                        <a:pt x="1245565" y="201930"/>
                      </a:lnTo>
                      <a:lnTo>
                        <a:pt x="1247698" y="201930"/>
                      </a:lnTo>
                      <a:lnTo>
                        <a:pt x="1247698" y="204470"/>
                      </a:lnTo>
                      <a:lnTo>
                        <a:pt x="1243457" y="204470"/>
                      </a:lnTo>
                      <a:lnTo>
                        <a:pt x="1241323" y="204470"/>
                      </a:lnTo>
                      <a:lnTo>
                        <a:pt x="1241323" y="207010"/>
                      </a:lnTo>
                      <a:lnTo>
                        <a:pt x="1240828" y="208114"/>
                      </a:lnTo>
                      <a:lnTo>
                        <a:pt x="1240828" y="231140"/>
                      </a:lnTo>
                      <a:lnTo>
                        <a:pt x="1239939" y="232410"/>
                      </a:lnTo>
                      <a:lnTo>
                        <a:pt x="1238440" y="233413"/>
                      </a:lnTo>
                      <a:lnTo>
                        <a:pt x="1240828" y="231140"/>
                      </a:lnTo>
                      <a:lnTo>
                        <a:pt x="1240828" y="208114"/>
                      </a:lnTo>
                      <a:lnTo>
                        <a:pt x="1240751" y="208280"/>
                      </a:lnTo>
                      <a:lnTo>
                        <a:pt x="1238110" y="207238"/>
                      </a:lnTo>
                      <a:lnTo>
                        <a:pt x="1238110" y="233641"/>
                      </a:lnTo>
                      <a:lnTo>
                        <a:pt x="1236370" y="234797"/>
                      </a:lnTo>
                      <a:lnTo>
                        <a:pt x="1236599" y="233680"/>
                      </a:lnTo>
                      <a:lnTo>
                        <a:pt x="1237361" y="233680"/>
                      </a:lnTo>
                      <a:lnTo>
                        <a:pt x="1236878" y="232410"/>
                      </a:lnTo>
                      <a:lnTo>
                        <a:pt x="1238110" y="233641"/>
                      </a:lnTo>
                      <a:lnTo>
                        <a:pt x="1238110" y="207238"/>
                      </a:lnTo>
                      <a:lnTo>
                        <a:pt x="1237551" y="207010"/>
                      </a:lnTo>
                      <a:lnTo>
                        <a:pt x="1241323" y="207010"/>
                      </a:lnTo>
                      <a:lnTo>
                        <a:pt x="1241323" y="204470"/>
                      </a:lnTo>
                      <a:lnTo>
                        <a:pt x="1240332" y="204470"/>
                      </a:lnTo>
                      <a:lnTo>
                        <a:pt x="1237462" y="206921"/>
                      </a:lnTo>
                      <a:lnTo>
                        <a:pt x="1236421" y="205740"/>
                      </a:lnTo>
                      <a:lnTo>
                        <a:pt x="1235341" y="205740"/>
                      </a:lnTo>
                      <a:lnTo>
                        <a:pt x="1235341" y="217170"/>
                      </a:lnTo>
                      <a:lnTo>
                        <a:pt x="1232839" y="217170"/>
                      </a:lnTo>
                      <a:lnTo>
                        <a:pt x="1231315" y="217170"/>
                      </a:lnTo>
                      <a:lnTo>
                        <a:pt x="1232979" y="215265"/>
                      </a:lnTo>
                      <a:lnTo>
                        <a:pt x="1232839" y="217170"/>
                      </a:lnTo>
                      <a:lnTo>
                        <a:pt x="1233512" y="215900"/>
                      </a:lnTo>
                      <a:lnTo>
                        <a:pt x="1235341" y="217170"/>
                      </a:lnTo>
                      <a:lnTo>
                        <a:pt x="1235341" y="205740"/>
                      </a:lnTo>
                      <a:lnTo>
                        <a:pt x="1231417" y="205740"/>
                      </a:lnTo>
                      <a:lnTo>
                        <a:pt x="1230490" y="205867"/>
                      </a:lnTo>
                      <a:lnTo>
                        <a:pt x="1230490" y="209550"/>
                      </a:lnTo>
                      <a:lnTo>
                        <a:pt x="1227340" y="209550"/>
                      </a:lnTo>
                      <a:lnTo>
                        <a:pt x="1225080" y="210616"/>
                      </a:lnTo>
                      <a:lnTo>
                        <a:pt x="1226312" y="209550"/>
                      </a:lnTo>
                      <a:lnTo>
                        <a:pt x="1229093" y="208280"/>
                      </a:lnTo>
                      <a:lnTo>
                        <a:pt x="1230490" y="209550"/>
                      </a:lnTo>
                      <a:lnTo>
                        <a:pt x="1230490" y="205867"/>
                      </a:lnTo>
                      <a:lnTo>
                        <a:pt x="1221447" y="207010"/>
                      </a:lnTo>
                      <a:lnTo>
                        <a:pt x="1222438" y="208280"/>
                      </a:lnTo>
                      <a:lnTo>
                        <a:pt x="1223924" y="208280"/>
                      </a:lnTo>
                      <a:lnTo>
                        <a:pt x="1224800" y="210743"/>
                      </a:lnTo>
                      <a:lnTo>
                        <a:pt x="1224927" y="210743"/>
                      </a:lnTo>
                      <a:lnTo>
                        <a:pt x="1231684" y="210743"/>
                      </a:lnTo>
                      <a:lnTo>
                        <a:pt x="1230998" y="209880"/>
                      </a:lnTo>
                      <a:lnTo>
                        <a:pt x="1232395" y="210743"/>
                      </a:lnTo>
                      <a:lnTo>
                        <a:pt x="1232496" y="210870"/>
                      </a:lnTo>
                      <a:lnTo>
                        <a:pt x="1231633" y="212090"/>
                      </a:lnTo>
                      <a:lnTo>
                        <a:pt x="1233157" y="212813"/>
                      </a:lnTo>
                      <a:lnTo>
                        <a:pt x="1233055" y="214045"/>
                      </a:lnTo>
                      <a:lnTo>
                        <a:pt x="1231531" y="212090"/>
                      </a:lnTo>
                      <a:lnTo>
                        <a:pt x="1231747" y="210820"/>
                      </a:lnTo>
                      <a:lnTo>
                        <a:pt x="1227112" y="210820"/>
                      </a:lnTo>
                      <a:lnTo>
                        <a:pt x="1227112" y="214630"/>
                      </a:lnTo>
                      <a:lnTo>
                        <a:pt x="1226400" y="217170"/>
                      </a:lnTo>
                      <a:lnTo>
                        <a:pt x="1224965" y="213779"/>
                      </a:lnTo>
                      <a:lnTo>
                        <a:pt x="1227112" y="214630"/>
                      </a:lnTo>
                      <a:lnTo>
                        <a:pt x="1227112" y="210820"/>
                      </a:lnTo>
                      <a:lnTo>
                        <a:pt x="1224838" y="210820"/>
                      </a:lnTo>
                      <a:lnTo>
                        <a:pt x="1224635" y="210820"/>
                      </a:lnTo>
                      <a:lnTo>
                        <a:pt x="1224267" y="212090"/>
                      </a:lnTo>
                      <a:lnTo>
                        <a:pt x="1223924" y="213360"/>
                      </a:lnTo>
                      <a:lnTo>
                        <a:pt x="1224267" y="212090"/>
                      </a:lnTo>
                      <a:lnTo>
                        <a:pt x="1222552" y="210870"/>
                      </a:lnTo>
                      <a:lnTo>
                        <a:pt x="1220482" y="212115"/>
                      </a:lnTo>
                      <a:lnTo>
                        <a:pt x="1218857" y="213360"/>
                      </a:lnTo>
                      <a:lnTo>
                        <a:pt x="1217523" y="215900"/>
                      </a:lnTo>
                      <a:lnTo>
                        <a:pt x="1217891" y="215900"/>
                      </a:lnTo>
                      <a:lnTo>
                        <a:pt x="1218869" y="215900"/>
                      </a:lnTo>
                      <a:lnTo>
                        <a:pt x="1220050" y="217170"/>
                      </a:lnTo>
                      <a:lnTo>
                        <a:pt x="1217891" y="215900"/>
                      </a:lnTo>
                      <a:lnTo>
                        <a:pt x="1217383" y="217220"/>
                      </a:lnTo>
                      <a:lnTo>
                        <a:pt x="1216977" y="218033"/>
                      </a:lnTo>
                      <a:lnTo>
                        <a:pt x="1216583" y="217170"/>
                      </a:lnTo>
                      <a:lnTo>
                        <a:pt x="1215999" y="215900"/>
                      </a:lnTo>
                      <a:lnTo>
                        <a:pt x="1213904" y="215900"/>
                      </a:lnTo>
                      <a:lnTo>
                        <a:pt x="1213891" y="217170"/>
                      </a:lnTo>
                      <a:lnTo>
                        <a:pt x="1211656" y="215900"/>
                      </a:lnTo>
                      <a:lnTo>
                        <a:pt x="1210767" y="215900"/>
                      </a:lnTo>
                      <a:lnTo>
                        <a:pt x="1210767" y="219710"/>
                      </a:lnTo>
                      <a:lnTo>
                        <a:pt x="1210271" y="218440"/>
                      </a:lnTo>
                      <a:lnTo>
                        <a:pt x="1209662" y="217220"/>
                      </a:lnTo>
                      <a:lnTo>
                        <a:pt x="1210576" y="218440"/>
                      </a:lnTo>
                      <a:lnTo>
                        <a:pt x="1210767" y="219710"/>
                      </a:lnTo>
                      <a:lnTo>
                        <a:pt x="1210767" y="215900"/>
                      </a:lnTo>
                      <a:lnTo>
                        <a:pt x="1209636" y="217170"/>
                      </a:lnTo>
                      <a:lnTo>
                        <a:pt x="1208405" y="214630"/>
                      </a:lnTo>
                      <a:lnTo>
                        <a:pt x="1205318" y="214630"/>
                      </a:lnTo>
                      <a:lnTo>
                        <a:pt x="1208874" y="218440"/>
                      </a:lnTo>
                      <a:lnTo>
                        <a:pt x="1210221" y="218440"/>
                      </a:lnTo>
                      <a:lnTo>
                        <a:pt x="1209078" y="219710"/>
                      </a:lnTo>
                      <a:lnTo>
                        <a:pt x="1207477" y="219710"/>
                      </a:lnTo>
                      <a:lnTo>
                        <a:pt x="1206119" y="220980"/>
                      </a:lnTo>
                      <a:lnTo>
                        <a:pt x="1211008" y="220980"/>
                      </a:lnTo>
                      <a:lnTo>
                        <a:pt x="1213751" y="220980"/>
                      </a:lnTo>
                      <a:lnTo>
                        <a:pt x="1220673" y="222250"/>
                      </a:lnTo>
                      <a:lnTo>
                        <a:pt x="1222933" y="222250"/>
                      </a:lnTo>
                      <a:lnTo>
                        <a:pt x="1220254" y="223520"/>
                      </a:lnTo>
                      <a:lnTo>
                        <a:pt x="1217091" y="224790"/>
                      </a:lnTo>
                      <a:lnTo>
                        <a:pt x="1216710" y="224790"/>
                      </a:lnTo>
                      <a:lnTo>
                        <a:pt x="1217015" y="223520"/>
                      </a:lnTo>
                      <a:lnTo>
                        <a:pt x="1217117" y="222250"/>
                      </a:lnTo>
                      <a:lnTo>
                        <a:pt x="1216037" y="222250"/>
                      </a:lnTo>
                      <a:lnTo>
                        <a:pt x="1214996" y="223520"/>
                      </a:lnTo>
                      <a:lnTo>
                        <a:pt x="1213269" y="222351"/>
                      </a:lnTo>
                      <a:lnTo>
                        <a:pt x="1213269" y="233680"/>
                      </a:lnTo>
                      <a:lnTo>
                        <a:pt x="1207681" y="233680"/>
                      </a:lnTo>
                      <a:lnTo>
                        <a:pt x="1210957" y="232410"/>
                      </a:lnTo>
                      <a:lnTo>
                        <a:pt x="1213269" y="233680"/>
                      </a:lnTo>
                      <a:lnTo>
                        <a:pt x="1213269" y="222351"/>
                      </a:lnTo>
                      <a:lnTo>
                        <a:pt x="1213129" y="222250"/>
                      </a:lnTo>
                      <a:lnTo>
                        <a:pt x="1211008" y="220980"/>
                      </a:lnTo>
                      <a:lnTo>
                        <a:pt x="1209230" y="222250"/>
                      </a:lnTo>
                      <a:lnTo>
                        <a:pt x="1207693" y="222250"/>
                      </a:lnTo>
                      <a:lnTo>
                        <a:pt x="1206233" y="223520"/>
                      </a:lnTo>
                      <a:lnTo>
                        <a:pt x="1204874" y="226060"/>
                      </a:lnTo>
                      <a:lnTo>
                        <a:pt x="1203617" y="226060"/>
                      </a:lnTo>
                      <a:lnTo>
                        <a:pt x="1205522" y="227330"/>
                      </a:lnTo>
                      <a:lnTo>
                        <a:pt x="1205928" y="227330"/>
                      </a:lnTo>
                      <a:lnTo>
                        <a:pt x="1208455" y="227330"/>
                      </a:lnTo>
                      <a:lnTo>
                        <a:pt x="1209306" y="227330"/>
                      </a:lnTo>
                      <a:lnTo>
                        <a:pt x="1208874" y="227672"/>
                      </a:lnTo>
                      <a:lnTo>
                        <a:pt x="1210068" y="228600"/>
                      </a:lnTo>
                      <a:lnTo>
                        <a:pt x="1208557" y="228600"/>
                      </a:lnTo>
                      <a:lnTo>
                        <a:pt x="1209179" y="229870"/>
                      </a:lnTo>
                      <a:lnTo>
                        <a:pt x="1208595" y="229870"/>
                      </a:lnTo>
                      <a:lnTo>
                        <a:pt x="1208201" y="231140"/>
                      </a:lnTo>
                      <a:lnTo>
                        <a:pt x="1207122" y="231140"/>
                      </a:lnTo>
                      <a:lnTo>
                        <a:pt x="1205026" y="232410"/>
                      </a:lnTo>
                      <a:lnTo>
                        <a:pt x="1205649" y="232410"/>
                      </a:lnTo>
                      <a:lnTo>
                        <a:pt x="1205611" y="233680"/>
                      </a:lnTo>
                      <a:lnTo>
                        <a:pt x="1205306" y="233680"/>
                      </a:lnTo>
                      <a:lnTo>
                        <a:pt x="1204264" y="236220"/>
                      </a:lnTo>
                      <a:lnTo>
                        <a:pt x="1205674" y="237490"/>
                      </a:lnTo>
                      <a:lnTo>
                        <a:pt x="1208303" y="240030"/>
                      </a:lnTo>
                      <a:lnTo>
                        <a:pt x="1220774" y="237490"/>
                      </a:lnTo>
                      <a:lnTo>
                        <a:pt x="1222514" y="238760"/>
                      </a:lnTo>
                      <a:lnTo>
                        <a:pt x="1225334" y="238760"/>
                      </a:lnTo>
                      <a:lnTo>
                        <a:pt x="1226312" y="237490"/>
                      </a:lnTo>
                      <a:lnTo>
                        <a:pt x="1227302" y="236220"/>
                      </a:lnTo>
                      <a:lnTo>
                        <a:pt x="1226642" y="237490"/>
                      </a:lnTo>
                      <a:lnTo>
                        <a:pt x="1228382" y="237490"/>
                      </a:lnTo>
                      <a:lnTo>
                        <a:pt x="1237691" y="237490"/>
                      </a:lnTo>
                      <a:lnTo>
                        <a:pt x="1236091" y="236220"/>
                      </a:lnTo>
                      <a:lnTo>
                        <a:pt x="1236306" y="235115"/>
                      </a:lnTo>
                      <a:lnTo>
                        <a:pt x="1238846" y="237490"/>
                      </a:lnTo>
                      <a:lnTo>
                        <a:pt x="1241450" y="236220"/>
                      </a:lnTo>
                      <a:lnTo>
                        <a:pt x="1242491" y="236220"/>
                      </a:lnTo>
                      <a:lnTo>
                        <a:pt x="1240561" y="237490"/>
                      </a:lnTo>
                      <a:lnTo>
                        <a:pt x="1238846" y="237490"/>
                      </a:lnTo>
                      <a:lnTo>
                        <a:pt x="1238605" y="237490"/>
                      </a:lnTo>
                      <a:lnTo>
                        <a:pt x="1234516" y="238760"/>
                      </a:lnTo>
                      <a:lnTo>
                        <a:pt x="1232535" y="240030"/>
                      </a:lnTo>
                      <a:lnTo>
                        <a:pt x="1234109" y="242570"/>
                      </a:lnTo>
                      <a:lnTo>
                        <a:pt x="1235951" y="242570"/>
                      </a:lnTo>
                      <a:lnTo>
                        <a:pt x="1233551" y="243840"/>
                      </a:lnTo>
                      <a:lnTo>
                        <a:pt x="1232141" y="242570"/>
                      </a:lnTo>
                      <a:lnTo>
                        <a:pt x="1230833" y="242570"/>
                      </a:lnTo>
                      <a:lnTo>
                        <a:pt x="1232649" y="241300"/>
                      </a:lnTo>
                      <a:lnTo>
                        <a:pt x="1231468" y="240030"/>
                      </a:lnTo>
                      <a:lnTo>
                        <a:pt x="1228382" y="237490"/>
                      </a:lnTo>
                      <a:lnTo>
                        <a:pt x="1226337" y="238760"/>
                      </a:lnTo>
                      <a:lnTo>
                        <a:pt x="1223949" y="240030"/>
                      </a:lnTo>
                      <a:lnTo>
                        <a:pt x="1224089" y="241300"/>
                      </a:lnTo>
                      <a:lnTo>
                        <a:pt x="1222260" y="240030"/>
                      </a:lnTo>
                      <a:lnTo>
                        <a:pt x="1221105" y="238760"/>
                      </a:lnTo>
                      <a:lnTo>
                        <a:pt x="1216317" y="240030"/>
                      </a:lnTo>
                      <a:lnTo>
                        <a:pt x="1208303" y="240030"/>
                      </a:lnTo>
                      <a:lnTo>
                        <a:pt x="1204429" y="240030"/>
                      </a:lnTo>
                      <a:lnTo>
                        <a:pt x="1206004" y="241300"/>
                      </a:lnTo>
                      <a:lnTo>
                        <a:pt x="1207477" y="242570"/>
                      </a:lnTo>
                      <a:lnTo>
                        <a:pt x="1205712" y="242570"/>
                      </a:lnTo>
                      <a:lnTo>
                        <a:pt x="1205407" y="243840"/>
                      </a:lnTo>
                      <a:lnTo>
                        <a:pt x="1203998" y="242570"/>
                      </a:lnTo>
                      <a:lnTo>
                        <a:pt x="1205064" y="245084"/>
                      </a:lnTo>
                      <a:lnTo>
                        <a:pt x="1208684" y="243840"/>
                      </a:lnTo>
                      <a:lnTo>
                        <a:pt x="1210094" y="243840"/>
                      </a:lnTo>
                      <a:lnTo>
                        <a:pt x="1207503" y="245110"/>
                      </a:lnTo>
                      <a:lnTo>
                        <a:pt x="1208290" y="246380"/>
                      </a:lnTo>
                      <a:lnTo>
                        <a:pt x="1209814" y="247650"/>
                      </a:lnTo>
                      <a:lnTo>
                        <a:pt x="1208773" y="247650"/>
                      </a:lnTo>
                      <a:lnTo>
                        <a:pt x="1205052" y="250190"/>
                      </a:lnTo>
                      <a:lnTo>
                        <a:pt x="1208481" y="250190"/>
                      </a:lnTo>
                      <a:lnTo>
                        <a:pt x="1210779" y="250190"/>
                      </a:lnTo>
                      <a:lnTo>
                        <a:pt x="1211986" y="246380"/>
                      </a:lnTo>
                      <a:lnTo>
                        <a:pt x="1215224" y="247650"/>
                      </a:lnTo>
                      <a:lnTo>
                        <a:pt x="1212811" y="254000"/>
                      </a:lnTo>
                      <a:lnTo>
                        <a:pt x="1211707" y="252730"/>
                      </a:lnTo>
                      <a:lnTo>
                        <a:pt x="1209865" y="252730"/>
                      </a:lnTo>
                      <a:lnTo>
                        <a:pt x="1208481" y="250190"/>
                      </a:lnTo>
                      <a:lnTo>
                        <a:pt x="1206157" y="255270"/>
                      </a:lnTo>
                      <a:lnTo>
                        <a:pt x="1209001" y="257810"/>
                      </a:lnTo>
                      <a:lnTo>
                        <a:pt x="1209294" y="260350"/>
                      </a:lnTo>
                      <a:lnTo>
                        <a:pt x="1211364" y="259080"/>
                      </a:lnTo>
                      <a:lnTo>
                        <a:pt x="1212443" y="256540"/>
                      </a:lnTo>
                      <a:lnTo>
                        <a:pt x="1213192" y="255270"/>
                      </a:lnTo>
                      <a:lnTo>
                        <a:pt x="1213078" y="256540"/>
                      </a:lnTo>
                      <a:lnTo>
                        <a:pt x="1211846" y="259080"/>
                      </a:lnTo>
                      <a:lnTo>
                        <a:pt x="1215364" y="259080"/>
                      </a:lnTo>
                      <a:lnTo>
                        <a:pt x="1213281" y="264160"/>
                      </a:lnTo>
                      <a:lnTo>
                        <a:pt x="1216266" y="262890"/>
                      </a:lnTo>
                      <a:lnTo>
                        <a:pt x="1216520" y="260350"/>
                      </a:lnTo>
                      <a:lnTo>
                        <a:pt x="1216901" y="259080"/>
                      </a:lnTo>
                      <a:lnTo>
                        <a:pt x="1218336" y="259080"/>
                      </a:lnTo>
                      <a:lnTo>
                        <a:pt x="1221282" y="256540"/>
                      </a:lnTo>
                      <a:lnTo>
                        <a:pt x="1223632" y="254000"/>
                      </a:lnTo>
                      <a:lnTo>
                        <a:pt x="1229207" y="252730"/>
                      </a:lnTo>
                      <a:lnTo>
                        <a:pt x="1231760" y="251460"/>
                      </a:lnTo>
                      <a:lnTo>
                        <a:pt x="1234401" y="252730"/>
                      </a:lnTo>
                      <a:lnTo>
                        <a:pt x="1230261" y="252730"/>
                      </a:lnTo>
                      <a:lnTo>
                        <a:pt x="1227836" y="256540"/>
                      </a:lnTo>
                      <a:lnTo>
                        <a:pt x="1226921" y="259080"/>
                      </a:lnTo>
                      <a:lnTo>
                        <a:pt x="1225943" y="260350"/>
                      </a:lnTo>
                      <a:lnTo>
                        <a:pt x="1226172" y="259080"/>
                      </a:lnTo>
                      <a:lnTo>
                        <a:pt x="1226629" y="256540"/>
                      </a:lnTo>
                      <a:lnTo>
                        <a:pt x="1227620" y="254000"/>
                      </a:lnTo>
                      <a:lnTo>
                        <a:pt x="1224737" y="254000"/>
                      </a:lnTo>
                      <a:lnTo>
                        <a:pt x="1223010" y="256540"/>
                      </a:lnTo>
                      <a:lnTo>
                        <a:pt x="1220089" y="257810"/>
                      </a:lnTo>
                      <a:lnTo>
                        <a:pt x="1218780" y="259080"/>
                      </a:lnTo>
                      <a:lnTo>
                        <a:pt x="1221244" y="260350"/>
                      </a:lnTo>
                      <a:lnTo>
                        <a:pt x="1221447" y="260350"/>
                      </a:lnTo>
                      <a:lnTo>
                        <a:pt x="1222603" y="259080"/>
                      </a:lnTo>
                      <a:lnTo>
                        <a:pt x="1222375" y="260350"/>
                      </a:lnTo>
                      <a:lnTo>
                        <a:pt x="1220812" y="261620"/>
                      </a:lnTo>
                      <a:lnTo>
                        <a:pt x="1219288" y="261620"/>
                      </a:lnTo>
                      <a:lnTo>
                        <a:pt x="1217396" y="262890"/>
                      </a:lnTo>
                      <a:lnTo>
                        <a:pt x="1218057" y="264160"/>
                      </a:lnTo>
                      <a:lnTo>
                        <a:pt x="1214894" y="265430"/>
                      </a:lnTo>
                      <a:lnTo>
                        <a:pt x="1214132" y="265430"/>
                      </a:lnTo>
                      <a:lnTo>
                        <a:pt x="1213548" y="266700"/>
                      </a:lnTo>
                      <a:lnTo>
                        <a:pt x="1214780" y="266700"/>
                      </a:lnTo>
                      <a:lnTo>
                        <a:pt x="1216456" y="267970"/>
                      </a:lnTo>
                      <a:lnTo>
                        <a:pt x="1219250" y="267970"/>
                      </a:lnTo>
                      <a:lnTo>
                        <a:pt x="1218095" y="269240"/>
                      </a:lnTo>
                      <a:lnTo>
                        <a:pt x="1215974" y="269240"/>
                      </a:lnTo>
                      <a:lnTo>
                        <a:pt x="1215872" y="271780"/>
                      </a:lnTo>
                      <a:lnTo>
                        <a:pt x="1214399" y="271780"/>
                      </a:lnTo>
                      <a:lnTo>
                        <a:pt x="1214729" y="270510"/>
                      </a:lnTo>
                      <a:lnTo>
                        <a:pt x="1212202" y="270510"/>
                      </a:lnTo>
                      <a:lnTo>
                        <a:pt x="1211478" y="273050"/>
                      </a:lnTo>
                      <a:lnTo>
                        <a:pt x="1210398" y="274320"/>
                      </a:lnTo>
                      <a:lnTo>
                        <a:pt x="1208824" y="273050"/>
                      </a:lnTo>
                      <a:lnTo>
                        <a:pt x="1211376" y="273050"/>
                      </a:lnTo>
                      <a:lnTo>
                        <a:pt x="1211351" y="270510"/>
                      </a:lnTo>
                      <a:lnTo>
                        <a:pt x="1211249" y="269240"/>
                      </a:lnTo>
                      <a:lnTo>
                        <a:pt x="1210170" y="269240"/>
                      </a:lnTo>
                      <a:lnTo>
                        <a:pt x="1209408" y="270510"/>
                      </a:lnTo>
                      <a:lnTo>
                        <a:pt x="1208455" y="270510"/>
                      </a:lnTo>
                      <a:lnTo>
                        <a:pt x="1207643" y="271780"/>
                      </a:lnTo>
                      <a:lnTo>
                        <a:pt x="1208163" y="274320"/>
                      </a:lnTo>
                      <a:lnTo>
                        <a:pt x="1207185" y="274320"/>
                      </a:lnTo>
                      <a:lnTo>
                        <a:pt x="1209141" y="275590"/>
                      </a:lnTo>
                      <a:lnTo>
                        <a:pt x="1211732" y="278130"/>
                      </a:lnTo>
                      <a:lnTo>
                        <a:pt x="1212659" y="277088"/>
                      </a:lnTo>
                      <a:lnTo>
                        <a:pt x="1212570" y="276860"/>
                      </a:lnTo>
                      <a:lnTo>
                        <a:pt x="1212621" y="275590"/>
                      </a:lnTo>
                      <a:lnTo>
                        <a:pt x="1212392" y="274320"/>
                      </a:lnTo>
                      <a:lnTo>
                        <a:pt x="1212786" y="275590"/>
                      </a:lnTo>
                      <a:lnTo>
                        <a:pt x="1212697" y="276085"/>
                      </a:lnTo>
                      <a:lnTo>
                        <a:pt x="1212659" y="277088"/>
                      </a:lnTo>
                      <a:lnTo>
                        <a:pt x="1213065" y="278130"/>
                      </a:lnTo>
                      <a:lnTo>
                        <a:pt x="1214056" y="278130"/>
                      </a:lnTo>
                      <a:lnTo>
                        <a:pt x="1215085" y="275590"/>
                      </a:lnTo>
                      <a:lnTo>
                        <a:pt x="1213739" y="274320"/>
                      </a:lnTo>
                      <a:lnTo>
                        <a:pt x="1219339" y="274320"/>
                      </a:lnTo>
                      <a:lnTo>
                        <a:pt x="1218844" y="275590"/>
                      </a:lnTo>
                      <a:lnTo>
                        <a:pt x="1217993" y="276860"/>
                      </a:lnTo>
                      <a:lnTo>
                        <a:pt x="1219238" y="275590"/>
                      </a:lnTo>
                      <a:lnTo>
                        <a:pt x="1220127" y="275590"/>
                      </a:lnTo>
                      <a:lnTo>
                        <a:pt x="1221549" y="273050"/>
                      </a:lnTo>
                      <a:lnTo>
                        <a:pt x="1221828" y="271780"/>
                      </a:lnTo>
                      <a:lnTo>
                        <a:pt x="1223454" y="271780"/>
                      </a:lnTo>
                      <a:lnTo>
                        <a:pt x="1225448" y="271780"/>
                      </a:lnTo>
                      <a:lnTo>
                        <a:pt x="1226273" y="273050"/>
                      </a:lnTo>
                      <a:lnTo>
                        <a:pt x="1223454" y="271780"/>
                      </a:lnTo>
                      <a:lnTo>
                        <a:pt x="1220508" y="275590"/>
                      </a:lnTo>
                      <a:lnTo>
                        <a:pt x="1218412" y="276860"/>
                      </a:lnTo>
                      <a:lnTo>
                        <a:pt x="1223264" y="276860"/>
                      </a:lnTo>
                      <a:lnTo>
                        <a:pt x="1225600" y="278130"/>
                      </a:lnTo>
                      <a:lnTo>
                        <a:pt x="1223454" y="278130"/>
                      </a:lnTo>
                      <a:lnTo>
                        <a:pt x="1217358" y="280670"/>
                      </a:lnTo>
                      <a:lnTo>
                        <a:pt x="1216113" y="285750"/>
                      </a:lnTo>
                      <a:lnTo>
                        <a:pt x="1225600" y="283210"/>
                      </a:lnTo>
                      <a:lnTo>
                        <a:pt x="1226286" y="283210"/>
                      </a:lnTo>
                      <a:lnTo>
                        <a:pt x="1221193" y="284480"/>
                      </a:lnTo>
                      <a:lnTo>
                        <a:pt x="1220825" y="288290"/>
                      </a:lnTo>
                      <a:lnTo>
                        <a:pt x="1219085" y="287020"/>
                      </a:lnTo>
                      <a:lnTo>
                        <a:pt x="1218018" y="287020"/>
                      </a:lnTo>
                      <a:lnTo>
                        <a:pt x="1214729" y="285750"/>
                      </a:lnTo>
                      <a:lnTo>
                        <a:pt x="1214450" y="285750"/>
                      </a:lnTo>
                      <a:lnTo>
                        <a:pt x="1213231" y="284480"/>
                      </a:lnTo>
                      <a:lnTo>
                        <a:pt x="1211770" y="284480"/>
                      </a:lnTo>
                      <a:lnTo>
                        <a:pt x="1212926" y="285750"/>
                      </a:lnTo>
                      <a:lnTo>
                        <a:pt x="1213180" y="285750"/>
                      </a:lnTo>
                      <a:lnTo>
                        <a:pt x="1212938" y="287020"/>
                      </a:lnTo>
                      <a:lnTo>
                        <a:pt x="1211808" y="287020"/>
                      </a:lnTo>
                      <a:lnTo>
                        <a:pt x="1210945" y="290830"/>
                      </a:lnTo>
                      <a:lnTo>
                        <a:pt x="1214742" y="294640"/>
                      </a:lnTo>
                      <a:lnTo>
                        <a:pt x="1218158" y="297180"/>
                      </a:lnTo>
                      <a:lnTo>
                        <a:pt x="1221181" y="299720"/>
                      </a:lnTo>
                      <a:lnTo>
                        <a:pt x="1225003" y="299720"/>
                      </a:lnTo>
                      <a:lnTo>
                        <a:pt x="1227035" y="300990"/>
                      </a:lnTo>
                      <a:lnTo>
                        <a:pt x="1229207" y="299720"/>
                      </a:lnTo>
                      <a:lnTo>
                        <a:pt x="1231138" y="299720"/>
                      </a:lnTo>
                      <a:lnTo>
                        <a:pt x="1229512" y="300990"/>
                      </a:lnTo>
                      <a:lnTo>
                        <a:pt x="1227340" y="300990"/>
                      </a:lnTo>
                      <a:lnTo>
                        <a:pt x="1226185" y="302260"/>
                      </a:lnTo>
                      <a:lnTo>
                        <a:pt x="1227442" y="304800"/>
                      </a:lnTo>
                      <a:lnTo>
                        <a:pt x="1229728" y="303530"/>
                      </a:lnTo>
                      <a:lnTo>
                        <a:pt x="1233297" y="304800"/>
                      </a:lnTo>
                      <a:lnTo>
                        <a:pt x="1233512" y="303530"/>
                      </a:lnTo>
                      <a:lnTo>
                        <a:pt x="1235024" y="302260"/>
                      </a:lnTo>
                      <a:lnTo>
                        <a:pt x="1234376" y="303530"/>
                      </a:lnTo>
                      <a:lnTo>
                        <a:pt x="1233627" y="304800"/>
                      </a:lnTo>
                      <a:lnTo>
                        <a:pt x="1234059" y="304800"/>
                      </a:lnTo>
                      <a:lnTo>
                        <a:pt x="1236002" y="303530"/>
                      </a:lnTo>
                      <a:lnTo>
                        <a:pt x="1237424" y="304800"/>
                      </a:lnTo>
                      <a:lnTo>
                        <a:pt x="1239875" y="304800"/>
                      </a:lnTo>
                      <a:lnTo>
                        <a:pt x="1242034" y="303530"/>
                      </a:lnTo>
                      <a:lnTo>
                        <a:pt x="1247279" y="302260"/>
                      </a:lnTo>
                      <a:lnTo>
                        <a:pt x="1250403" y="300990"/>
                      </a:lnTo>
                      <a:lnTo>
                        <a:pt x="1255471" y="298450"/>
                      </a:lnTo>
                      <a:lnTo>
                        <a:pt x="1258620" y="294640"/>
                      </a:lnTo>
                      <a:lnTo>
                        <a:pt x="1261224" y="293370"/>
                      </a:lnTo>
                      <a:lnTo>
                        <a:pt x="1260157" y="292100"/>
                      </a:lnTo>
                      <a:lnTo>
                        <a:pt x="1263942" y="292100"/>
                      </a:lnTo>
                      <a:lnTo>
                        <a:pt x="1264513" y="290830"/>
                      </a:lnTo>
                      <a:lnTo>
                        <a:pt x="1263751" y="290830"/>
                      </a:lnTo>
                      <a:lnTo>
                        <a:pt x="1263002" y="289560"/>
                      </a:lnTo>
                      <a:lnTo>
                        <a:pt x="1266621" y="289560"/>
                      </a:lnTo>
                      <a:lnTo>
                        <a:pt x="1266240" y="288290"/>
                      </a:lnTo>
                      <a:lnTo>
                        <a:pt x="1265821" y="287020"/>
                      </a:lnTo>
                      <a:lnTo>
                        <a:pt x="1266367" y="287020"/>
                      </a:lnTo>
                      <a:lnTo>
                        <a:pt x="1270114" y="284480"/>
                      </a:lnTo>
                      <a:lnTo>
                        <a:pt x="1271079" y="284480"/>
                      </a:lnTo>
                      <a:lnTo>
                        <a:pt x="1270304" y="283210"/>
                      </a:lnTo>
                      <a:lnTo>
                        <a:pt x="1269492" y="283210"/>
                      </a:lnTo>
                      <a:lnTo>
                        <a:pt x="1268768" y="281940"/>
                      </a:lnTo>
                      <a:lnTo>
                        <a:pt x="1271041" y="281940"/>
                      </a:lnTo>
                      <a:lnTo>
                        <a:pt x="1272273" y="283210"/>
                      </a:lnTo>
                      <a:lnTo>
                        <a:pt x="1276972" y="283210"/>
                      </a:lnTo>
                      <a:lnTo>
                        <a:pt x="1278102" y="281940"/>
                      </a:lnTo>
                      <a:lnTo>
                        <a:pt x="1280363" y="279400"/>
                      </a:lnTo>
                      <a:lnTo>
                        <a:pt x="1280807" y="278130"/>
                      </a:lnTo>
                      <a:lnTo>
                        <a:pt x="1282153" y="281940"/>
                      </a:lnTo>
                      <a:lnTo>
                        <a:pt x="1282649" y="279400"/>
                      </a:lnTo>
                      <a:lnTo>
                        <a:pt x="1282204" y="275590"/>
                      </a:lnTo>
                      <a:lnTo>
                        <a:pt x="1279804" y="274320"/>
                      </a:lnTo>
                      <a:lnTo>
                        <a:pt x="1279347" y="273050"/>
                      </a:lnTo>
                      <a:lnTo>
                        <a:pt x="1278890" y="271780"/>
                      </a:lnTo>
                      <a:lnTo>
                        <a:pt x="1280033" y="271780"/>
                      </a:lnTo>
                      <a:lnTo>
                        <a:pt x="1281455" y="273050"/>
                      </a:lnTo>
                      <a:lnTo>
                        <a:pt x="1281404" y="271780"/>
                      </a:lnTo>
                      <a:lnTo>
                        <a:pt x="1285367" y="273050"/>
                      </a:lnTo>
                      <a:lnTo>
                        <a:pt x="1283843" y="271780"/>
                      </a:lnTo>
                      <a:lnTo>
                        <a:pt x="1282192" y="267970"/>
                      </a:lnTo>
                      <a:lnTo>
                        <a:pt x="1282573" y="265430"/>
                      </a:lnTo>
                      <a:lnTo>
                        <a:pt x="1286573" y="264160"/>
                      </a:lnTo>
                      <a:lnTo>
                        <a:pt x="1285836" y="267970"/>
                      </a:lnTo>
                      <a:lnTo>
                        <a:pt x="1285519" y="267970"/>
                      </a:lnTo>
                      <a:lnTo>
                        <a:pt x="1285417" y="266700"/>
                      </a:lnTo>
                      <a:lnTo>
                        <a:pt x="1283436" y="267970"/>
                      </a:lnTo>
                      <a:lnTo>
                        <a:pt x="1283893" y="267970"/>
                      </a:lnTo>
                      <a:lnTo>
                        <a:pt x="1284782" y="271780"/>
                      </a:lnTo>
                      <a:lnTo>
                        <a:pt x="1285430" y="273050"/>
                      </a:lnTo>
                      <a:lnTo>
                        <a:pt x="1284897" y="275590"/>
                      </a:lnTo>
                      <a:lnTo>
                        <a:pt x="1284389" y="276860"/>
                      </a:lnTo>
                      <a:lnTo>
                        <a:pt x="1286954" y="278130"/>
                      </a:lnTo>
                      <a:lnTo>
                        <a:pt x="1286332" y="280670"/>
                      </a:lnTo>
                      <a:lnTo>
                        <a:pt x="1288491" y="281940"/>
                      </a:lnTo>
                      <a:lnTo>
                        <a:pt x="1292161" y="279400"/>
                      </a:lnTo>
                      <a:lnTo>
                        <a:pt x="1292682" y="281940"/>
                      </a:lnTo>
                      <a:lnTo>
                        <a:pt x="1292466" y="283210"/>
                      </a:lnTo>
                      <a:lnTo>
                        <a:pt x="1293837" y="284480"/>
                      </a:lnTo>
                      <a:lnTo>
                        <a:pt x="1298028" y="285750"/>
                      </a:lnTo>
                      <a:lnTo>
                        <a:pt x="1299108" y="285750"/>
                      </a:lnTo>
                      <a:lnTo>
                        <a:pt x="1301076" y="279400"/>
                      </a:lnTo>
                      <a:lnTo>
                        <a:pt x="1301470" y="278130"/>
                      </a:lnTo>
                      <a:lnTo>
                        <a:pt x="1300568" y="274320"/>
                      </a:lnTo>
                      <a:lnTo>
                        <a:pt x="1300314" y="273050"/>
                      </a:lnTo>
                      <a:lnTo>
                        <a:pt x="1300264" y="270510"/>
                      </a:lnTo>
                      <a:lnTo>
                        <a:pt x="1300797" y="269240"/>
                      </a:lnTo>
                      <a:lnTo>
                        <a:pt x="1301407" y="269240"/>
                      </a:lnTo>
                      <a:lnTo>
                        <a:pt x="1302219" y="267970"/>
                      </a:lnTo>
                      <a:lnTo>
                        <a:pt x="1302385" y="266700"/>
                      </a:lnTo>
                      <a:lnTo>
                        <a:pt x="1301978" y="266700"/>
                      </a:lnTo>
                      <a:lnTo>
                        <a:pt x="1301902" y="265430"/>
                      </a:lnTo>
                      <a:lnTo>
                        <a:pt x="1302092" y="265430"/>
                      </a:lnTo>
                      <a:lnTo>
                        <a:pt x="1304759" y="264160"/>
                      </a:lnTo>
                      <a:lnTo>
                        <a:pt x="1307426" y="262890"/>
                      </a:lnTo>
                      <a:lnTo>
                        <a:pt x="1308430" y="262890"/>
                      </a:lnTo>
                      <a:lnTo>
                        <a:pt x="1309255" y="261620"/>
                      </a:lnTo>
                      <a:lnTo>
                        <a:pt x="1309573" y="260350"/>
                      </a:lnTo>
                      <a:lnTo>
                        <a:pt x="1311706" y="252730"/>
                      </a:lnTo>
                      <a:lnTo>
                        <a:pt x="1312214" y="251460"/>
                      </a:lnTo>
                      <a:lnTo>
                        <a:pt x="1312722" y="250190"/>
                      </a:lnTo>
                      <a:lnTo>
                        <a:pt x="1309636" y="246380"/>
                      </a:lnTo>
                      <a:lnTo>
                        <a:pt x="1308608" y="245110"/>
                      </a:lnTo>
                      <a:lnTo>
                        <a:pt x="1307465" y="241300"/>
                      </a:lnTo>
                      <a:lnTo>
                        <a:pt x="1311389" y="241300"/>
                      </a:lnTo>
                      <a:lnTo>
                        <a:pt x="1312938" y="240030"/>
                      </a:lnTo>
                      <a:lnTo>
                        <a:pt x="1313789" y="240030"/>
                      </a:lnTo>
                      <a:lnTo>
                        <a:pt x="1315859" y="236220"/>
                      </a:lnTo>
                      <a:lnTo>
                        <a:pt x="1316012" y="235115"/>
                      </a:lnTo>
                      <a:lnTo>
                        <a:pt x="1315986" y="234797"/>
                      </a:lnTo>
                      <a:lnTo>
                        <a:pt x="1315643" y="233680"/>
                      </a:lnTo>
                      <a:lnTo>
                        <a:pt x="1315008" y="233680"/>
                      </a:lnTo>
                      <a:lnTo>
                        <a:pt x="1314653" y="232410"/>
                      </a:lnTo>
                      <a:lnTo>
                        <a:pt x="1313091" y="231140"/>
                      </a:lnTo>
                      <a:lnTo>
                        <a:pt x="1311579" y="229870"/>
                      </a:lnTo>
                      <a:lnTo>
                        <a:pt x="1310386" y="228600"/>
                      </a:lnTo>
                      <a:lnTo>
                        <a:pt x="1309204" y="228600"/>
                      </a:lnTo>
                      <a:lnTo>
                        <a:pt x="1307846" y="227330"/>
                      </a:lnTo>
                      <a:lnTo>
                        <a:pt x="1307401" y="226060"/>
                      </a:lnTo>
                      <a:lnTo>
                        <a:pt x="1306474" y="226060"/>
                      </a:lnTo>
                      <a:lnTo>
                        <a:pt x="1306233" y="224790"/>
                      </a:lnTo>
                      <a:lnTo>
                        <a:pt x="1307757" y="217170"/>
                      </a:lnTo>
                      <a:lnTo>
                        <a:pt x="1308011" y="215900"/>
                      </a:lnTo>
                      <a:lnTo>
                        <a:pt x="1308519" y="213360"/>
                      </a:lnTo>
                      <a:lnTo>
                        <a:pt x="1308773" y="212090"/>
                      </a:lnTo>
                      <a:lnTo>
                        <a:pt x="1307185" y="209550"/>
                      </a:lnTo>
                      <a:lnTo>
                        <a:pt x="1306398" y="208280"/>
                      </a:lnTo>
                      <a:lnTo>
                        <a:pt x="1305369" y="207010"/>
                      </a:lnTo>
                      <a:lnTo>
                        <a:pt x="1305420" y="205740"/>
                      </a:lnTo>
                      <a:lnTo>
                        <a:pt x="1306322" y="203200"/>
                      </a:lnTo>
                      <a:lnTo>
                        <a:pt x="1306398" y="201930"/>
                      </a:lnTo>
                      <a:lnTo>
                        <a:pt x="1306474" y="200660"/>
                      </a:lnTo>
                      <a:lnTo>
                        <a:pt x="1307147" y="196850"/>
                      </a:lnTo>
                      <a:lnTo>
                        <a:pt x="1305953" y="194310"/>
                      </a:lnTo>
                      <a:lnTo>
                        <a:pt x="1304607" y="191770"/>
                      </a:lnTo>
                      <a:lnTo>
                        <a:pt x="1304201" y="191770"/>
                      </a:lnTo>
                      <a:lnTo>
                        <a:pt x="1304061" y="190500"/>
                      </a:lnTo>
                      <a:lnTo>
                        <a:pt x="1305674" y="186690"/>
                      </a:lnTo>
                      <a:lnTo>
                        <a:pt x="1306347" y="185420"/>
                      </a:lnTo>
                      <a:lnTo>
                        <a:pt x="1307325" y="184150"/>
                      </a:lnTo>
                      <a:lnTo>
                        <a:pt x="1308315" y="182880"/>
                      </a:lnTo>
                      <a:lnTo>
                        <a:pt x="1311275" y="179070"/>
                      </a:lnTo>
                      <a:lnTo>
                        <a:pt x="1312545" y="176530"/>
                      </a:lnTo>
                      <a:lnTo>
                        <a:pt x="1313942" y="175260"/>
                      </a:lnTo>
                      <a:lnTo>
                        <a:pt x="1316342" y="175260"/>
                      </a:lnTo>
                      <a:lnTo>
                        <a:pt x="1316913" y="173990"/>
                      </a:lnTo>
                      <a:lnTo>
                        <a:pt x="1318755" y="173990"/>
                      </a:lnTo>
                      <a:lnTo>
                        <a:pt x="1320050" y="172720"/>
                      </a:lnTo>
                      <a:lnTo>
                        <a:pt x="1332217" y="173990"/>
                      </a:lnTo>
                      <a:lnTo>
                        <a:pt x="1333411" y="172720"/>
                      </a:lnTo>
                      <a:lnTo>
                        <a:pt x="1333665" y="171450"/>
                      </a:lnTo>
                      <a:lnTo>
                        <a:pt x="1333931" y="170180"/>
                      </a:lnTo>
                      <a:lnTo>
                        <a:pt x="1334427" y="168910"/>
                      </a:lnTo>
                      <a:lnTo>
                        <a:pt x="1334516" y="167640"/>
                      </a:lnTo>
                      <a:lnTo>
                        <a:pt x="1334147" y="166370"/>
                      </a:lnTo>
                      <a:lnTo>
                        <a:pt x="1333969" y="166370"/>
                      </a:lnTo>
                      <a:lnTo>
                        <a:pt x="1333944" y="165100"/>
                      </a:lnTo>
                      <a:lnTo>
                        <a:pt x="1333449" y="163830"/>
                      </a:lnTo>
                      <a:lnTo>
                        <a:pt x="1332077" y="163830"/>
                      </a:lnTo>
                      <a:lnTo>
                        <a:pt x="1331404" y="162560"/>
                      </a:lnTo>
                      <a:lnTo>
                        <a:pt x="1330909" y="161290"/>
                      </a:lnTo>
                      <a:lnTo>
                        <a:pt x="1330642" y="158750"/>
                      </a:lnTo>
                      <a:lnTo>
                        <a:pt x="1330401" y="157480"/>
                      </a:lnTo>
                      <a:lnTo>
                        <a:pt x="1332153" y="154940"/>
                      </a:lnTo>
                      <a:lnTo>
                        <a:pt x="1333944" y="153670"/>
                      </a:lnTo>
                      <a:lnTo>
                        <a:pt x="1334770" y="152400"/>
                      </a:lnTo>
                      <a:lnTo>
                        <a:pt x="1335608" y="151130"/>
                      </a:lnTo>
                      <a:lnTo>
                        <a:pt x="1337030" y="148590"/>
                      </a:lnTo>
                      <a:lnTo>
                        <a:pt x="1338592" y="146050"/>
                      </a:lnTo>
                      <a:lnTo>
                        <a:pt x="1339761" y="144780"/>
                      </a:lnTo>
                      <a:lnTo>
                        <a:pt x="1339938" y="143510"/>
                      </a:lnTo>
                      <a:lnTo>
                        <a:pt x="1340129" y="142240"/>
                      </a:lnTo>
                      <a:lnTo>
                        <a:pt x="1340700" y="139700"/>
                      </a:lnTo>
                      <a:lnTo>
                        <a:pt x="1340827" y="137160"/>
                      </a:lnTo>
                      <a:lnTo>
                        <a:pt x="1340993" y="135890"/>
                      </a:lnTo>
                      <a:lnTo>
                        <a:pt x="1341335" y="133350"/>
                      </a:lnTo>
                      <a:lnTo>
                        <a:pt x="1341424" y="132080"/>
                      </a:lnTo>
                      <a:lnTo>
                        <a:pt x="1341183" y="129540"/>
                      </a:lnTo>
                      <a:lnTo>
                        <a:pt x="1340586" y="127000"/>
                      </a:lnTo>
                      <a:lnTo>
                        <a:pt x="1339608" y="125730"/>
                      </a:lnTo>
                      <a:lnTo>
                        <a:pt x="1343101" y="124460"/>
                      </a:lnTo>
                      <a:lnTo>
                        <a:pt x="1348308" y="123190"/>
                      </a:lnTo>
                      <a:lnTo>
                        <a:pt x="1351330" y="120650"/>
                      </a:lnTo>
                      <a:lnTo>
                        <a:pt x="1353464" y="120650"/>
                      </a:lnTo>
                      <a:lnTo>
                        <a:pt x="1354531" y="118110"/>
                      </a:lnTo>
                      <a:lnTo>
                        <a:pt x="1352613" y="116840"/>
                      </a:lnTo>
                      <a:lnTo>
                        <a:pt x="1353337" y="116840"/>
                      </a:lnTo>
                      <a:lnTo>
                        <a:pt x="1353566" y="115570"/>
                      </a:lnTo>
                      <a:lnTo>
                        <a:pt x="1353959" y="115570"/>
                      </a:lnTo>
                      <a:lnTo>
                        <a:pt x="1355915" y="114300"/>
                      </a:lnTo>
                      <a:lnTo>
                        <a:pt x="1358125" y="111760"/>
                      </a:lnTo>
                      <a:lnTo>
                        <a:pt x="1361097" y="109220"/>
                      </a:lnTo>
                      <a:lnTo>
                        <a:pt x="1365072" y="105410"/>
                      </a:lnTo>
                      <a:lnTo>
                        <a:pt x="1366735" y="101600"/>
                      </a:lnTo>
                      <a:lnTo>
                        <a:pt x="1366989" y="100330"/>
                      </a:lnTo>
                      <a:lnTo>
                        <a:pt x="1368475" y="96520"/>
                      </a:lnTo>
                      <a:lnTo>
                        <a:pt x="1359242" y="92710"/>
                      </a:lnTo>
                      <a:lnTo>
                        <a:pt x="1368336" y="91440"/>
                      </a:lnTo>
                      <a:lnTo>
                        <a:pt x="1368831" y="90170"/>
                      </a:lnTo>
                      <a:lnTo>
                        <a:pt x="1369326" y="88900"/>
                      </a:lnTo>
                      <a:lnTo>
                        <a:pt x="1370050" y="87630"/>
                      </a:lnTo>
                      <a:lnTo>
                        <a:pt x="1370482" y="86360"/>
                      </a:lnTo>
                      <a:lnTo>
                        <a:pt x="1371193" y="85090"/>
                      </a:lnTo>
                      <a:lnTo>
                        <a:pt x="1372273" y="82550"/>
                      </a:lnTo>
                      <a:lnTo>
                        <a:pt x="1372908" y="81280"/>
                      </a:lnTo>
                      <a:lnTo>
                        <a:pt x="1376133" y="80010"/>
                      </a:lnTo>
                      <a:lnTo>
                        <a:pt x="1378369" y="78740"/>
                      </a:lnTo>
                      <a:lnTo>
                        <a:pt x="1379080" y="77470"/>
                      </a:lnTo>
                      <a:lnTo>
                        <a:pt x="1380464" y="77470"/>
                      </a:lnTo>
                      <a:lnTo>
                        <a:pt x="1382458" y="78740"/>
                      </a:lnTo>
                      <a:lnTo>
                        <a:pt x="1385100" y="78740"/>
                      </a:lnTo>
                      <a:lnTo>
                        <a:pt x="1387614" y="80010"/>
                      </a:lnTo>
                      <a:lnTo>
                        <a:pt x="1390053" y="80010"/>
                      </a:lnTo>
                      <a:lnTo>
                        <a:pt x="1391602" y="74930"/>
                      </a:lnTo>
                      <a:lnTo>
                        <a:pt x="1391831" y="71120"/>
                      </a:lnTo>
                      <a:lnTo>
                        <a:pt x="1391920" y="68580"/>
                      </a:lnTo>
                      <a:lnTo>
                        <a:pt x="1391983" y="67310"/>
                      </a:lnTo>
                      <a:lnTo>
                        <a:pt x="1392059" y="66040"/>
                      </a:lnTo>
                      <a:lnTo>
                        <a:pt x="1417256" y="71120"/>
                      </a:lnTo>
                      <a:lnTo>
                        <a:pt x="1418463" y="71120"/>
                      </a:lnTo>
                      <a:lnTo>
                        <a:pt x="1418856" y="69850"/>
                      </a:lnTo>
                      <a:lnTo>
                        <a:pt x="1419148" y="69850"/>
                      </a:lnTo>
                      <a:lnTo>
                        <a:pt x="1418958" y="68580"/>
                      </a:lnTo>
                      <a:lnTo>
                        <a:pt x="1419009" y="66040"/>
                      </a:lnTo>
                      <a:lnTo>
                        <a:pt x="1419275" y="64770"/>
                      </a:lnTo>
                      <a:lnTo>
                        <a:pt x="1419618" y="64770"/>
                      </a:lnTo>
                      <a:lnTo>
                        <a:pt x="1420495" y="63500"/>
                      </a:lnTo>
                      <a:lnTo>
                        <a:pt x="1422298" y="60960"/>
                      </a:lnTo>
                      <a:lnTo>
                        <a:pt x="1422374" y="57150"/>
                      </a:lnTo>
                      <a:lnTo>
                        <a:pt x="1421282" y="55880"/>
                      </a:lnTo>
                      <a:lnTo>
                        <a:pt x="1420596" y="54610"/>
                      </a:lnTo>
                      <a:lnTo>
                        <a:pt x="1427365" y="54610"/>
                      </a:lnTo>
                      <a:lnTo>
                        <a:pt x="1432941" y="53340"/>
                      </a:lnTo>
                      <a:lnTo>
                        <a:pt x="1433715" y="53340"/>
                      </a:lnTo>
                      <a:lnTo>
                        <a:pt x="1433753" y="52070"/>
                      </a:lnTo>
                      <a:lnTo>
                        <a:pt x="1434020" y="50800"/>
                      </a:lnTo>
                      <a:lnTo>
                        <a:pt x="1433626" y="49530"/>
                      </a:lnTo>
                      <a:lnTo>
                        <a:pt x="1434261" y="49530"/>
                      </a:lnTo>
                      <a:lnTo>
                        <a:pt x="1434541" y="48260"/>
                      </a:lnTo>
                      <a:lnTo>
                        <a:pt x="1438681" y="48260"/>
                      </a:lnTo>
                      <a:lnTo>
                        <a:pt x="1452676" y="62230"/>
                      </a:lnTo>
                      <a:lnTo>
                        <a:pt x="1454264" y="62230"/>
                      </a:lnTo>
                      <a:lnTo>
                        <a:pt x="1472717" y="60960"/>
                      </a:lnTo>
                      <a:lnTo>
                        <a:pt x="1472031" y="60960"/>
                      </a:lnTo>
                      <a:lnTo>
                        <a:pt x="1472590" y="59690"/>
                      </a:lnTo>
                      <a:lnTo>
                        <a:pt x="1474889" y="58420"/>
                      </a:lnTo>
                      <a:lnTo>
                        <a:pt x="1478661" y="60960"/>
                      </a:lnTo>
                      <a:lnTo>
                        <a:pt x="1489468" y="66040"/>
                      </a:lnTo>
                      <a:lnTo>
                        <a:pt x="1491068" y="63500"/>
                      </a:lnTo>
                      <a:lnTo>
                        <a:pt x="1495793" y="58420"/>
                      </a:lnTo>
                      <a:lnTo>
                        <a:pt x="1496974" y="57150"/>
                      </a:lnTo>
                      <a:lnTo>
                        <a:pt x="1498612" y="58420"/>
                      </a:lnTo>
                      <a:lnTo>
                        <a:pt x="1499438" y="57150"/>
                      </a:lnTo>
                      <a:lnTo>
                        <a:pt x="1499603" y="57150"/>
                      </a:lnTo>
                      <a:lnTo>
                        <a:pt x="1500085" y="55880"/>
                      </a:lnTo>
                      <a:lnTo>
                        <a:pt x="1500352" y="55880"/>
                      </a:lnTo>
                      <a:lnTo>
                        <a:pt x="1500543" y="54610"/>
                      </a:lnTo>
                      <a:lnTo>
                        <a:pt x="1501419" y="50800"/>
                      </a:lnTo>
                      <a:lnTo>
                        <a:pt x="1501419" y="46990"/>
                      </a:lnTo>
                      <a:lnTo>
                        <a:pt x="1502384" y="43180"/>
                      </a:lnTo>
                      <a:lnTo>
                        <a:pt x="1502765" y="41910"/>
                      </a:lnTo>
                      <a:lnTo>
                        <a:pt x="1503083" y="40640"/>
                      </a:lnTo>
                      <a:lnTo>
                        <a:pt x="1503540" y="39370"/>
                      </a:lnTo>
                      <a:lnTo>
                        <a:pt x="1504429" y="38100"/>
                      </a:lnTo>
                      <a:lnTo>
                        <a:pt x="1506004" y="36830"/>
                      </a:lnTo>
                      <a:lnTo>
                        <a:pt x="1507972" y="35560"/>
                      </a:lnTo>
                      <a:lnTo>
                        <a:pt x="1509395" y="34290"/>
                      </a:lnTo>
                      <a:lnTo>
                        <a:pt x="1511642" y="31750"/>
                      </a:lnTo>
                      <a:lnTo>
                        <a:pt x="1513027" y="31750"/>
                      </a:lnTo>
                      <a:lnTo>
                        <a:pt x="1517980" y="30480"/>
                      </a:lnTo>
                      <a:lnTo>
                        <a:pt x="1524419" y="30480"/>
                      </a:lnTo>
                      <a:lnTo>
                        <a:pt x="1525460" y="29210"/>
                      </a:lnTo>
                      <a:lnTo>
                        <a:pt x="1526235" y="29210"/>
                      </a:lnTo>
                      <a:lnTo>
                        <a:pt x="1527086" y="27940"/>
                      </a:lnTo>
                      <a:lnTo>
                        <a:pt x="1530337" y="26670"/>
                      </a:lnTo>
                      <a:lnTo>
                        <a:pt x="1532712" y="29210"/>
                      </a:lnTo>
                      <a:lnTo>
                        <a:pt x="1535214" y="31750"/>
                      </a:lnTo>
                      <a:lnTo>
                        <a:pt x="1535341" y="31750"/>
                      </a:lnTo>
                      <a:lnTo>
                        <a:pt x="1537233" y="33020"/>
                      </a:lnTo>
                      <a:lnTo>
                        <a:pt x="1538503" y="33020"/>
                      </a:lnTo>
                      <a:lnTo>
                        <a:pt x="1540002" y="34290"/>
                      </a:lnTo>
                      <a:lnTo>
                        <a:pt x="1541703" y="35560"/>
                      </a:lnTo>
                      <a:lnTo>
                        <a:pt x="1543469" y="35560"/>
                      </a:lnTo>
                      <a:lnTo>
                        <a:pt x="1546999" y="38100"/>
                      </a:lnTo>
                      <a:lnTo>
                        <a:pt x="1550619" y="39370"/>
                      </a:lnTo>
                      <a:lnTo>
                        <a:pt x="1551305" y="41910"/>
                      </a:lnTo>
                      <a:lnTo>
                        <a:pt x="1551317" y="43180"/>
                      </a:lnTo>
                      <a:lnTo>
                        <a:pt x="1550974" y="44450"/>
                      </a:lnTo>
                      <a:lnTo>
                        <a:pt x="1550606" y="44450"/>
                      </a:lnTo>
                      <a:lnTo>
                        <a:pt x="1550022" y="45720"/>
                      </a:lnTo>
                      <a:lnTo>
                        <a:pt x="1548980" y="46990"/>
                      </a:lnTo>
                      <a:lnTo>
                        <a:pt x="1548091" y="46990"/>
                      </a:lnTo>
                      <a:lnTo>
                        <a:pt x="1546707" y="49530"/>
                      </a:lnTo>
                      <a:lnTo>
                        <a:pt x="1545844" y="50800"/>
                      </a:lnTo>
                      <a:lnTo>
                        <a:pt x="1546809" y="53340"/>
                      </a:lnTo>
                      <a:lnTo>
                        <a:pt x="1547368" y="52070"/>
                      </a:lnTo>
                      <a:lnTo>
                        <a:pt x="1548739" y="50800"/>
                      </a:lnTo>
                      <a:lnTo>
                        <a:pt x="1550593" y="46990"/>
                      </a:lnTo>
                      <a:lnTo>
                        <a:pt x="1552651" y="45720"/>
                      </a:lnTo>
                      <a:lnTo>
                        <a:pt x="1556194" y="45720"/>
                      </a:lnTo>
                      <a:lnTo>
                        <a:pt x="1560207" y="44450"/>
                      </a:lnTo>
                      <a:lnTo>
                        <a:pt x="1560995" y="43180"/>
                      </a:lnTo>
                      <a:lnTo>
                        <a:pt x="1562646" y="40640"/>
                      </a:lnTo>
                      <a:lnTo>
                        <a:pt x="1562950" y="40640"/>
                      </a:lnTo>
                      <a:lnTo>
                        <a:pt x="1563255" y="39370"/>
                      </a:lnTo>
                      <a:lnTo>
                        <a:pt x="1563433" y="38100"/>
                      </a:lnTo>
                      <a:lnTo>
                        <a:pt x="1564855" y="38100"/>
                      </a:lnTo>
                      <a:lnTo>
                        <a:pt x="1567103" y="39370"/>
                      </a:lnTo>
                      <a:lnTo>
                        <a:pt x="1568500" y="39370"/>
                      </a:lnTo>
                      <a:lnTo>
                        <a:pt x="1570443" y="40640"/>
                      </a:lnTo>
                      <a:lnTo>
                        <a:pt x="1574228" y="40640"/>
                      </a:lnTo>
                      <a:lnTo>
                        <a:pt x="1573695" y="38100"/>
                      </a:lnTo>
                      <a:lnTo>
                        <a:pt x="1573504" y="36830"/>
                      </a:lnTo>
                      <a:lnTo>
                        <a:pt x="1573237" y="35217"/>
                      </a:lnTo>
                      <a:lnTo>
                        <a:pt x="1573072" y="34290"/>
                      </a:lnTo>
                      <a:lnTo>
                        <a:pt x="1567992" y="34290"/>
                      </a:lnTo>
                      <a:lnTo>
                        <a:pt x="1567395" y="36830"/>
                      </a:lnTo>
                      <a:lnTo>
                        <a:pt x="1566621" y="35560"/>
                      </a:lnTo>
                      <a:lnTo>
                        <a:pt x="1565617" y="34290"/>
                      </a:lnTo>
                      <a:lnTo>
                        <a:pt x="1564144" y="33020"/>
                      </a:lnTo>
                      <a:lnTo>
                        <a:pt x="1563128" y="34290"/>
                      </a:lnTo>
                      <a:lnTo>
                        <a:pt x="1560347" y="35560"/>
                      </a:lnTo>
                      <a:lnTo>
                        <a:pt x="1557451" y="36830"/>
                      </a:lnTo>
                      <a:lnTo>
                        <a:pt x="1554657" y="38100"/>
                      </a:lnTo>
                      <a:lnTo>
                        <a:pt x="1554454" y="36830"/>
                      </a:lnTo>
                      <a:lnTo>
                        <a:pt x="1556067" y="36830"/>
                      </a:lnTo>
                      <a:lnTo>
                        <a:pt x="1556893" y="35560"/>
                      </a:lnTo>
                      <a:lnTo>
                        <a:pt x="1557350" y="35560"/>
                      </a:lnTo>
                      <a:lnTo>
                        <a:pt x="1556296" y="34290"/>
                      </a:lnTo>
                      <a:lnTo>
                        <a:pt x="1554035" y="34290"/>
                      </a:lnTo>
                      <a:lnTo>
                        <a:pt x="1552803" y="33020"/>
                      </a:lnTo>
                      <a:lnTo>
                        <a:pt x="1554581" y="33020"/>
                      </a:lnTo>
                      <a:lnTo>
                        <a:pt x="1553311" y="29210"/>
                      </a:lnTo>
                      <a:lnTo>
                        <a:pt x="1548701" y="27940"/>
                      </a:lnTo>
                      <a:lnTo>
                        <a:pt x="1545158" y="27940"/>
                      </a:lnTo>
                      <a:lnTo>
                        <a:pt x="1541919" y="26670"/>
                      </a:lnTo>
                      <a:lnTo>
                        <a:pt x="1541272" y="24130"/>
                      </a:lnTo>
                      <a:lnTo>
                        <a:pt x="1545945" y="26670"/>
                      </a:lnTo>
                      <a:lnTo>
                        <a:pt x="1552829" y="27940"/>
                      </a:lnTo>
                      <a:lnTo>
                        <a:pt x="1564487" y="27940"/>
                      </a:lnTo>
                      <a:lnTo>
                        <a:pt x="1565338" y="25400"/>
                      </a:lnTo>
                      <a:lnTo>
                        <a:pt x="1571205" y="24130"/>
                      </a:lnTo>
                      <a:lnTo>
                        <a:pt x="1576158" y="22860"/>
                      </a:lnTo>
                      <a:lnTo>
                        <a:pt x="1577682" y="22860"/>
                      </a:lnTo>
                      <a:close/>
                    </a:path>
                    <a:path w="2124075" h="2124075">
                      <a:moveTo>
                        <a:pt x="2123452" y="358508"/>
                      </a:moveTo>
                      <a:lnTo>
                        <a:pt x="2122754" y="358381"/>
                      </a:lnTo>
                      <a:lnTo>
                        <a:pt x="2122335" y="358673"/>
                      </a:lnTo>
                      <a:lnTo>
                        <a:pt x="2122792" y="358686"/>
                      </a:lnTo>
                      <a:lnTo>
                        <a:pt x="2123033" y="358863"/>
                      </a:lnTo>
                      <a:lnTo>
                        <a:pt x="2123452" y="358508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604" name="object 144">
                  <a:extLst>
                    <a:ext uri="{FF2B5EF4-FFF2-40B4-BE49-F238E27FC236}">
                      <a16:creationId xmlns:a16="http://schemas.microsoft.com/office/drawing/2014/main" id="{72CE632F-1FEB-A073-394F-E133C0BFFD68}"/>
                    </a:ext>
                  </a:extLst>
                </p:cNvPr>
                <p:cNvSpPr/>
                <p:nvPr/>
              </p:nvSpPr>
              <p:spPr>
                <a:xfrm>
                  <a:off x="3114819" y="2239265"/>
                  <a:ext cx="269240" cy="104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9239" h="104775">
                      <a:moveTo>
                        <a:pt x="140500" y="101600"/>
                      </a:moveTo>
                      <a:lnTo>
                        <a:pt x="140080" y="102743"/>
                      </a:lnTo>
                      <a:lnTo>
                        <a:pt x="141351" y="103124"/>
                      </a:lnTo>
                      <a:lnTo>
                        <a:pt x="144551" y="104521"/>
                      </a:lnTo>
                      <a:lnTo>
                        <a:pt x="144767" y="104013"/>
                      </a:lnTo>
                      <a:lnTo>
                        <a:pt x="144906" y="102870"/>
                      </a:lnTo>
                      <a:lnTo>
                        <a:pt x="145440" y="102489"/>
                      </a:lnTo>
                      <a:lnTo>
                        <a:pt x="145783" y="102362"/>
                      </a:lnTo>
                      <a:lnTo>
                        <a:pt x="145910" y="102235"/>
                      </a:lnTo>
                      <a:lnTo>
                        <a:pt x="146257" y="101981"/>
                      </a:lnTo>
                      <a:lnTo>
                        <a:pt x="141782" y="101981"/>
                      </a:lnTo>
                      <a:lnTo>
                        <a:pt x="140500" y="101600"/>
                      </a:lnTo>
                      <a:close/>
                    </a:path>
                    <a:path w="269239" h="104775">
                      <a:moveTo>
                        <a:pt x="173074" y="87249"/>
                      </a:moveTo>
                      <a:lnTo>
                        <a:pt x="138810" y="87249"/>
                      </a:lnTo>
                      <a:lnTo>
                        <a:pt x="148564" y="87376"/>
                      </a:lnTo>
                      <a:lnTo>
                        <a:pt x="142265" y="93853"/>
                      </a:lnTo>
                      <a:lnTo>
                        <a:pt x="139064" y="98298"/>
                      </a:lnTo>
                      <a:lnTo>
                        <a:pt x="141477" y="99441"/>
                      </a:lnTo>
                      <a:lnTo>
                        <a:pt x="141926" y="101346"/>
                      </a:lnTo>
                      <a:lnTo>
                        <a:pt x="141897" y="101727"/>
                      </a:lnTo>
                      <a:lnTo>
                        <a:pt x="141782" y="101981"/>
                      </a:lnTo>
                      <a:lnTo>
                        <a:pt x="146257" y="101981"/>
                      </a:lnTo>
                      <a:lnTo>
                        <a:pt x="146951" y="101473"/>
                      </a:lnTo>
                      <a:lnTo>
                        <a:pt x="147815" y="101346"/>
                      </a:lnTo>
                      <a:lnTo>
                        <a:pt x="147853" y="99949"/>
                      </a:lnTo>
                      <a:lnTo>
                        <a:pt x="150647" y="97028"/>
                      </a:lnTo>
                      <a:lnTo>
                        <a:pt x="151790" y="96520"/>
                      </a:lnTo>
                      <a:lnTo>
                        <a:pt x="150634" y="96139"/>
                      </a:lnTo>
                      <a:lnTo>
                        <a:pt x="150266" y="95123"/>
                      </a:lnTo>
                      <a:lnTo>
                        <a:pt x="150355" y="91666"/>
                      </a:lnTo>
                      <a:lnTo>
                        <a:pt x="151422" y="89027"/>
                      </a:lnTo>
                      <a:lnTo>
                        <a:pt x="151764" y="87884"/>
                      </a:lnTo>
                      <a:lnTo>
                        <a:pt x="171547" y="87884"/>
                      </a:lnTo>
                      <a:lnTo>
                        <a:pt x="173074" y="87249"/>
                      </a:lnTo>
                      <a:close/>
                    </a:path>
                    <a:path w="269239" h="104775">
                      <a:moveTo>
                        <a:pt x="173401" y="86995"/>
                      </a:moveTo>
                      <a:lnTo>
                        <a:pt x="65951" y="86995"/>
                      </a:lnTo>
                      <a:lnTo>
                        <a:pt x="66751" y="87376"/>
                      </a:lnTo>
                      <a:lnTo>
                        <a:pt x="71666" y="87884"/>
                      </a:lnTo>
                      <a:lnTo>
                        <a:pt x="74460" y="88646"/>
                      </a:lnTo>
                      <a:lnTo>
                        <a:pt x="81457" y="91440"/>
                      </a:lnTo>
                      <a:lnTo>
                        <a:pt x="84391" y="93726"/>
                      </a:lnTo>
                      <a:lnTo>
                        <a:pt x="89865" y="97282"/>
                      </a:lnTo>
                      <a:lnTo>
                        <a:pt x="91859" y="100076"/>
                      </a:lnTo>
                      <a:lnTo>
                        <a:pt x="98678" y="100076"/>
                      </a:lnTo>
                      <a:lnTo>
                        <a:pt x="102577" y="99060"/>
                      </a:lnTo>
                      <a:lnTo>
                        <a:pt x="110210" y="99060"/>
                      </a:lnTo>
                      <a:lnTo>
                        <a:pt x="112598" y="98933"/>
                      </a:lnTo>
                      <a:lnTo>
                        <a:pt x="117576" y="91948"/>
                      </a:lnTo>
                      <a:lnTo>
                        <a:pt x="120700" y="90297"/>
                      </a:lnTo>
                      <a:lnTo>
                        <a:pt x="125082" y="88519"/>
                      </a:lnTo>
                      <a:lnTo>
                        <a:pt x="138161" y="88519"/>
                      </a:lnTo>
                      <a:lnTo>
                        <a:pt x="138810" y="87249"/>
                      </a:lnTo>
                      <a:lnTo>
                        <a:pt x="173074" y="87249"/>
                      </a:lnTo>
                      <a:lnTo>
                        <a:pt x="173380" y="87122"/>
                      </a:lnTo>
                      <a:close/>
                    </a:path>
                    <a:path w="269239" h="104775">
                      <a:moveTo>
                        <a:pt x="63893" y="89281"/>
                      </a:moveTo>
                      <a:lnTo>
                        <a:pt x="41071" y="89281"/>
                      </a:lnTo>
                      <a:lnTo>
                        <a:pt x="42379" y="91313"/>
                      </a:lnTo>
                      <a:lnTo>
                        <a:pt x="44221" y="96266"/>
                      </a:lnTo>
                      <a:lnTo>
                        <a:pt x="53949" y="99441"/>
                      </a:lnTo>
                      <a:lnTo>
                        <a:pt x="56603" y="98044"/>
                      </a:lnTo>
                      <a:lnTo>
                        <a:pt x="58254" y="97536"/>
                      </a:lnTo>
                      <a:lnTo>
                        <a:pt x="59054" y="96647"/>
                      </a:lnTo>
                      <a:lnTo>
                        <a:pt x="63493" y="96647"/>
                      </a:lnTo>
                      <a:lnTo>
                        <a:pt x="63743" y="95123"/>
                      </a:lnTo>
                      <a:lnTo>
                        <a:pt x="63779" y="89408"/>
                      </a:lnTo>
                      <a:close/>
                    </a:path>
                    <a:path w="269239" h="104775">
                      <a:moveTo>
                        <a:pt x="63493" y="96647"/>
                      </a:moveTo>
                      <a:lnTo>
                        <a:pt x="60337" y="96647"/>
                      </a:lnTo>
                      <a:lnTo>
                        <a:pt x="61023" y="97917"/>
                      </a:lnTo>
                      <a:lnTo>
                        <a:pt x="62433" y="97917"/>
                      </a:lnTo>
                      <a:lnTo>
                        <a:pt x="63347" y="97536"/>
                      </a:lnTo>
                      <a:lnTo>
                        <a:pt x="63493" y="96647"/>
                      </a:lnTo>
                      <a:close/>
                    </a:path>
                    <a:path w="269239" h="104775">
                      <a:moveTo>
                        <a:pt x="65379" y="87630"/>
                      </a:moveTo>
                      <a:lnTo>
                        <a:pt x="33350" y="87630"/>
                      </a:lnTo>
                      <a:lnTo>
                        <a:pt x="33464" y="87884"/>
                      </a:lnTo>
                      <a:lnTo>
                        <a:pt x="37477" y="88646"/>
                      </a:lnTo>
                      <a:lnTo>
                        <a:pt x="35839" y="90043"/>
                      </a:lnTo>
                      <a:lnTo>
                        <a:pt x="40525" y="90678"/>
                      </a:lnTo>
                      <a:lnTo>
                        <a:pt x="39585" y="93599"/>
                      </a:lnTo>
                      <a:lnTo>
                        <a:pt x="41071" y="89281"/>
                      </a:lnTo>
                      <a:lnTo>
                        <a:pt x="63893" y="89281"/>
                      </a:lnTo>
                      <a:lnTo>
                        <a:pt x="65379" y="87630"/>
                      </a:lnTo>
                      <a:close/>
                    </a:path>
                    <a:path w="269239" h="104775">
                      <a:moveTo>
                        <a:pt x="28641" y="91698"/>
                      </a:moveTo>
                      <a:lnTo>
                        <a:pt x="27419" y="91948"/>
                      </a:lnTo>
                      <a:lnTo>
                        <a:pt x="27292" y="92837"/>
                      </a:lnTo>
                      <a:lnTo>
                        <a:pt x="28641" y="91698"/>
                      </a:lnTo>
                      <a:close/>
                    </a:path>
                    <a:path w="269239" h="104775">
                      <a:moveTo>
                        <a:pt x="138161" y="88519"/>
                      </a:moveTo>
                      <a:lnTo>
                        <a:pt x="125082" y="88519"/>
                      </a:lnTo>
                      <a:lnTo>
                        <a:pt x="124917" y="88646"/>
                      </a:lnTo>
                      <a:lnTo>
                        <a:pt x="129908" y="91186"/>
                      </a:lnTo>
                      <a:lnTo>
                        <a:pt x="131076" y="91698"/>
                      </a:lnTo>
                      <a:lnTo>
                        <a:pt x="131787" y="91948"/>
                      </a:lnTo>
                      <a:lnTo>
                        <a:pt x="132524" y="92710"/>
                      </a:lnTo>
                      <a:lnTo>
                        <a:pt x="135953" y="92837"/>
                      </a:lnTo>
                      <a:lnTo>
                        <a:pt x="138161" y="88519"/>
                      </a:lnTo>
                      <a:close/>
                    </a:path>
                    <a:path w="269239" h="104775">
                      <a:moveTo>
                        <a:pt x="207505" y="84455"/>
                      </a:moveTo>
                      <a:lnTo>
                        <a:pt x="32207" y="84455"/>
                      </a:lnTo>
                      <a:lnTo>
                        <a:pt x="30149" y="86233"/>
                      </a:lnTo>
                      <a:lnTo>
                        <a:pt x="29324" y="88138"/>
                      </a:lnTo>
                      <a:lnTo>
                        <a:pt x="25755" y="88519"/>
                      </a:lnTo>
                      <a:lnTo>
                        <a:pt x="24904" y="88773"/>
                      </a:lnTo>
                      <a:lnTo>
                        <a:pt x="23088" y="88900"/>
                      </a:lnTo>
                      <a:lnTo>
                        <a:pt x="22656" y="89027"/>
                      </a:lnTo>
                      <a:lnTo>
                        <a:pt x="20535" y="89408"/>
                      </a:lnTo>
                      <a:lnTo>
                        <a:pt x="19697" y="90043"/>
                      </a:lnTo>
                      <a:lnTo>
                        <a:pt x="18656" y="90170"/>
                      </a:lnTo>
                      <a:lnTo>
                        <a:pt x="19253" y="91694"/>
                      </a:lnTo>
                      <a:lnTo>
                        <a:pt x="27927" y="88773"/>
                      </a:lnTo>
                      <a:lnTo>
                        <a:pt x="29286" y="88519"/>
                      </a:lnTo>
                      <a:lnTo>
                        <a:pt x="32353" y="88519"/>
                      </a:lnTo>
                      <a:lnTo>
                        <a:pt x="33350" y="87630"/>
                      </a:lnTo>
                      <a:lnTo>
                        <a:pt x="65379" y="87630"/>
                      </a:lnTo>
                      <a:lnTo>
                        <a:pt x="65951" y="86995"/>
                      </a:lnTo>
                      <a:lnTo>
                        <a:pt x="173401" y="86995"/>
                      </a:lnTo>
                      <a:lnTo>
                        <a:pt x="173443" y="86741"/>
                      </a:lnTo>
                      <a:lnTo>
                        <a:pt x="202804" y="86741"/>
                      </a:lnTo>
                      <a:lnTo>
                        <a:pt x="203174" y="86614"/>
                      </a:lnTo>
                      <a:lnTo>
                        <a:pt x="206616" y="85090"/>
                      </a:lnTo>
                      <a:lnTo>
                        <a:pt x="207505" y="84455"/>
                      </a:lnTo>
                      <a:close/>
                    </a:path>
                    <a:path w="269239" h="104775">
                      <a:moveTo>
                        <a:pt x="30152" y="90424"/>
                      </a:moveTo>
                      <a:lnTo>
                        <a:pt x="28359" y="90424"/>
                      </a:lnTo>
                      <a:lnTo>
                        <a:pt x="28447" y="90678"/>
                      </a:lnTo>
                      <a:lnTo>
                        <a:pt x="28562" y="91186"/>
                      </a:lnTo>
                      <a:lnTo>
                        <a:pt x="28955" y="91186"/>
                      </a:lnTo>
                      <a:lnTo>
                        <a:pt x="28679" y="91666"/>
                      </a:lnTo>
                      <a:lnTo>
                        <a:pt x="30152" y="90424"/>
                      </a:lnTo>
                      <a:close/>
                    </a:path>
                    <a:path w="269239" h="104775">
                      <a:moveTo>
                        <a:pt x="171547" y="87884"/>
                      </a:moveTo>
                      <a:lnTo>
                        <a:pt x="151764" y="87884"/>
                      </a:lnTo>
                      <a:lnTo>
                        <a:pt x="157797" y="91440"/>
                      </a:lnTo>
                      <a:lnTo>
                        <a:pt x="159245" y="91186"/>
                      </a:lnTo>
                      <a:lnTo>
                        <a:pt x="164630" y="90551"/>
                      </a:lnTo>
                      <a:lnTo>
                        <a:pt x="168186" y="89281"/>
                      </a:lnTo>
                      <a:lnTo>
                        <a:pt x="171547" y="87884"/>
                      </a:lnTo>
                      <a:close/>
                    </a:path>
                    <a:path w="269239" h="104775">
                      <a:moveTo>
                        <a:pt x="32353" y="88519"/>
                      </a:moveTo>
                      <a:lnTo>
                        <a:pt x="29286" y="88519"/>
                      </a:lnTo>
                      <a:lnTo>
                        <a:pt x="28638" y="89154"/>
                      </a:lnTo>
                      <a:lnTo>
                        <a:pt x="27927" y="89789"/>
                      </a:lnTo>
                      <a:lnTo>
                        <a:pt x="27419" y="90551"/>
                      </a:lnTo>
                      <a:lnTo>
                        <a:pt x="28359" y="90424"/>
                      </a:lnTo>
                      <a:lnTo>
                        <a:pt x="30152" y="90424"/>
                      </a:lnTo>
                      <a:lnTo>
                        <a:pt x="31356" y="89408"/>
                      </a:lnTo>
                      <a:lnTo>
                        <a:pt x="32353" y="88519"/>
                      </a:lnTo>
                      <a:close/>
                    </a:path>
                    <a:path w="269239" h="104775">
                      <a:moveTo>
                        <a:pt x="202804" y="86741"/>
                      </a:moveTo>
                      <a:lnTo>
                        <a:pt x="173443" y="86741"/>
                      </a:lnTo>
                      <a:lnTo>
                        <a:pt x="179273" y="88011"/>
                      </a:lnTo>
                      <a:lnTo>
                        <a:pt x="179527" y="88646"/>
                      </a:lnTo>
                      <a:lnTo>
                        <a:pt x="179971" y="88900"/>
                      </a:lnTo>
                      <a:lnTo>
                        <a:pt x="180479" y="89154"/>
                      </a:lnTo>
                      <a:lnTo>
                        <a:pt x="184175" y="89789"/>
                      </a:lnTo>
                      <a:lnTo>
                        <a:pt x="187439" y="90424"/>
                      </a:lnTo>
                      <a:lnTo>
                        <a:pt x="190944" y="90170"/>
                      </a:lnTo>
                      <a:lnTo>
                        <a:pt x="191515" y="90170"/>
                      </a:lnTo>
                      <a:lnTo>
                        <a:pt x="195364" y="89535"/>
                      </a:lnTo>
                      <a:lnTo>
                        <a:pt x="198729" y="88138"/>
                      </a:lnTo>
                      <a:lnTo>
                        <a:pt x="202804" y="86741"/>
                      </a:lnTo>
                      <a:close/>
                    </a:path>
                    <a:path w="269239" h="104775">
                      <a:moveTo>
                        <a:pt x="18821" y="83058"/>
                      </a:moveTo>
                      <a:lnTo>
                        <a:pt x="16992" y="83566"/>
                      </a:lnTo>
                      <a:lnTo>
                        <a:pt x="16630" y="83947"/>
                      </a:lnTo>
                      <a:lnTo>
                        <a:pt x="16601" y="84328"/>
                      </a:lnTo>
                      <a:lnTo>
                        <a:pt x="17106" y="85725"/>
                      </a:lnTo>
                      <a:lnTo>
                        <a:pt x="22110" y="85725"/>
                      </a:lnTo>
                      <a:lnTo>
                        <a:pt x="27203" y="84709"/>
                      </a:lnTo>
                      <a:lnTo>
                        <a:pt x="32207" y="84455"/>
                      </a:lnTo>
                      <a:lnTo>
                        <a:pt x="207505" y="84455"/>
                      </a:lnTo>
                      <a:lnTo>
                        <a:pt x="208216" y="83947"/>
                      </a:lnTo>
                      <a:lnTo>
                        <a:pt x="19138" y="83947"/>
                      </a:lnTo>
                      <a:lnTo>
                        <a:pt x="18821" y="83058"/>
                      </a:lnTo>
                      <a:close/>
                    </a:path>
                    <a:path w="269239" h="104775">
                      <a:moveTo>
                        <a:pt x="268297" y="79756"/>
                      </a:moveTo>
                      <a:lnTo>
                        <a:pt x="258864" y="79756"/>
                      </a:lnTo>
                      <a:lnTo>
                        <a:pt x="259613" y="80645"/>
                      </a:lnTo>
                      <a:lnTo>
                        <a:pt x="260222" y="82042"/>
                      </a:lnTo>
                      <a:lnTo>
                        <a:pt x="260489" y="82804"/>
                      </a:lnTo>
                      <a:lnTo>
                        <a:pt x="261164" y="84328"/>
                      </a:lnTo>
                      <a:lnTo>
                        <a:pt x="261264" y="85217"/>
                      </a:lnTo>
                      <a:lnTo>
                        <a:pt x="262089" y="85090"/>
                      </a:lnTo>
                      <a:lnTo>
                        <a:pt x="263107" y="85090"/>
                      </a:lnTo>
                      <a:lnTo>
                        <a:pt x="264033" y="84328"/>
                      </a:lnTo>
                      <a:lnTo>
                        <a:pt x="268147" y="82804"/>
                      </a:lnTo>
                      <a:lnTo>
                        <a:pt x="268223" y="81915"/>
                      </a:lnTo>
                      <a:lnTo>
                        <a:pt x="268643" y="80645"/>
                      </a:lnTo>
                      <a:lnTo>
                        <a:pt x="268414" y="80010"/>
                      </a:lnTo>
                      <a:lnTo>
                        <a:pt x="268297" y="79756"/>
                      </a:lnTo>
                      <a:close/>
                    </a:path>
                    <a:path w="269239" h="104775">
                      <a:moveTo>
                        <a:pt x="263107" y="85090"/>
                      </a:moveTo>
                      <a:lnTo>
                        <a:pt x="262089" y="85090"/>
                      </a:lnTo>
                      <a:lnTo>
                        <a:pt x="262953" y="85217"/>
                      </a:lnTo>
                      <a:lnTo>
                        <a:pt x="263107" y="85090"/>
                      </a:lnTo>
                      <a:close/>
                    </a:path>
                    <a:path w="269239" h="104775">
                      <a:moveTo>
                        <a:pt x="239255" y="79121"/>
                      </a:moveTo>
                      <a:lnTo>
                        <a:pt x="21145" y="79121"/>
                      </a:lnTo>
                      <a:lnTo>
                        <a:pt x="22656" y="81534"/>
                      </a:lnTo>
                      <a:lnTo>
                        <a:pt x="21539" y="83820"/>
                      </a:lnTo>
                      <a:lnTo>
                        <a:pt x="19138" y="83947"/>
                      </a:lnTo>
                      <a:lnTo>
                        <a:pt x="208216" y="83947"/>
                      </a:lnTo>
                      <a:lnTo>
                        <a:pt x="209105" y="83312"/>
                      </a:lnTo>
                      <a:lnTo>
                        <a:pt x="222402" y="83312"/>
                      </a:lnTo>
                      <a:lnTo>
                        <a:pt x="229209" y="81915"/>
                      </a:lnTo>
                      <a:lnTo>
                        <a:pt x="230911" y="81534"/>
                      </a:lnTo>
                      <a:lnTo>
                        <a:pt x="232676" y="80899"/>
                      </a:lnTo>
                      <a:lnTo>
                        <a:pt x="236616" y="80899"/>
                      </a:lnTo>
                      <a:lnTo>
                        <a:pt x="237629" y="80137"/>
                      </a:lnTo>
                      <a:lnTo>
                        <a:pt x="239255" y="79121"/>
                      </a:lnTo>
                      <a:close/>
                    </a:path>
                    <a:path w="269239" h="104775">
                      <a:moveTo>
                        <a:pt x="222402" y="83312"/>
                      </a:moveTo>
                      <a:lnTo>
                        <a:pt x="209105" y="83312"/>
                      </a:lnTo>
                      <a:lnTo>
                        <a:pt x="217512" y="83566"/>
                      </a:lnTo>
                      <a:lnTo>
                        <a:pt x="222402" y="83312"/>
                      </a:lnTo>
                      <a:close/>
                    </a:path>
                    <a:path w="269239" h="104775">
                      <a:moveTo>
                        <a:pt x="233591" y="83185"/>
                      </a:moveTo>
                      <a:close/>
                    </a:path>
                    <a:path w="269239" h="104775">
                      <a:moveTo>
                        <a:pt x="236616" y="80899"/>
                      </a:moveTo>
                      <a:lnTo>
                        <a:pt x="232676" y="80899"/>
                      </a:lnTo>
                      <a:lnTo>
                        <a:pt x="232841" y="81661"/>
                      </a:lnTo>
                      <a:lnTo>
                        <a:pt x="233337" y="82550"/>
                      </a:lnTo>
                      <a:lnTo>
                        <a:pt x="233527" y="83185"/>
                      </a:lnTo>
                      <a:lnTo>
                        <a:pt x="236616" y="80899"/>
                      </a:lnTo>
                      <a:close/>
                    </a:path>
                    <a:path w="269239" h="104775">
                      <a:moveTo>
                        <a:pt x="267334" y="78994"/>
                      </a:moveTo>
                      <a:lnTo>
                        <a:pt x="244284" y="78994"/>
                      </a:lnTo>
                      <a:lnTo>
                        <a:pt x="245249" y="79248"/>
                      </a:lnTo>
                      <a:lnTo>
                        <a:pt x="247154" y="79502"/>
                      </a:lnTo>
                      <a:lnTo>
                        <a:pt x="250355" y="80137"/>
                      </a:lnTo>
                      <a:lnTo>
                        <a:pt x="253860" y="81153"/>
                      </a:lnTo>
                      <a:lnTo>
                        <a:pt x="258864" y="79756"/>
                      </a:lnTo>
                      <a:lnTo>
                        <a:pt x="268297" y="79756"/>
                      </a:lnTo>
                      <a:lnTo>
                        <a:pt x="268122" y="79375"/>
                      </a:lnTo>
                      <a:lnTo>
                        <a:pt x="267334" y="78994"/>
                      </a:lnTo>
                      <a:close/>
                    </a:path>
                    <a:path w="269239" h="104775">
                      <a:moveTo>
                        <a:pt x="262925" y="65278"/>
                      </a:moveTo>
                      <a:lnTo>
                        <a:pt x="10515" y="65278"/>
                      </a:lnTo>
                      <a:lnTo>
                        <a:pt x="12420" y="67564"/>
                      </a:lnTo>
                      <a:lnTo>
                        <a:pt x="16319" y="68834"/>
                      </a:lnTo>
                      <a:lnTo>
                        <a:pt x="18554" y="70993"/>
                      </a:lnTo>
                      <a:lnTo>
                        <a:pt x="16370" y="73914"/>
                      </a:lnTo>
                      <a:lnTo>
                        <a:pt x="14427" y="74041"/>
                      </a:lnTo>
                      <a:lnTo>
                        <a:pt x="13563" y="74295"/>
                      </a:lnTo>
                      <a:lnTo>
                        <a:pt x="17538" y="76708"/>
                      </a:lnTo>
                      <a:lnTo>
                        <a:pt x="16294" y="79375"/>
                      </a:lnTo>
                      <a:lnTo>
                        <a:pt x="17703" y="79502"/>
                      </a:lnTo>
                      <a:lnTo>
                        <a:pt x="21145" y="79121"/>
                      </a:lnTo>
                      <a:lnTo>
                        <a:pt x="239255" y="79121"/>
                      </a:lnTo>
                      <a:lnTo>
                        <a:pt x="239458" y="78994"/>
                      </a:lnTo>
                      <a:lnTo>
                        <a:pt x="267334" y="78994"/>
                      </a:lnTo>
                      <a:lnTo>
                        <a:pt x="266611" y="78613"/>
                      </a:lnTo>
                      <a:lnTo>
                        <a:pt x="266268" y="78232"/>
                      </a:lnTo>
                      <a:lnTo>
                        <a:pt x="265442" y="77470"/>
                      </a:lnTo>
                      <a:lnTo>
                        <a:pt x="265353" y="77343"/>
                      </a:lnTo>
                      <a:lnTo>
                        <a:pt x="265112" y="76708"/>
                      </a:lnTo>
                      <a:lnTo>
                        <a:pt x="265341" y="75819"/>
                      </a:lnTo>
                      <a:lnTo>
                        <a:pt x="265620" y="74295"/>
                      </a:lnTo>
                      <a:lnTo>
                        <a:pt x="265633" y="73279"/>
                      </a:lnTo>
                      <a:lnTo>
                        <a:pt x="265430" y="73025"/>
                      </a:lnTo>
                      <a:lnTo>
                        <a:pt x="265036" y="72517"/>
                      </a:lnTo>
                      <a:lnTo>
                        <a:pt x="264414" y="72009"/>
                      </a:lnTo>
                      <a:lnTo>
                        <a:pt x="263804" y="71755"/>
                      </a:lnTo>
                      <a:lnTo>
                        <a:pt x="263169" y="71628"/>
                      </a:lnTo>
                      <a:lnTo>
                        <a:pt x="262877" y="71374"/>
                      </a:lnTo>
                      <a:lnTo>
                        <a:pt x="262242" y="70612"/>
                      </a:lnTo>
                      <a:lnTo>
                        <a:pt x="260781" y="70231"/>
                      </a:lnTo>
                      <a:lnTo>
                        <a:pt x="260616" y="70231"/>
                      </a:lnTo>
                      <a:lnTo>
                        <a:pt x="260464" y="69977"/>
                      </a:lnTo>
                      <a:lnTo>
                        <a:pt x="260591" y="68453"/>
                      </a:lnTo>
                      <a:lnTo>
                        <a:pt x="261150" y="67437"/>
                      </a:lnTo>
                      <a:lnTo>
                        <a:pt x="262445" y="65786"/>
                      </a:lnTo>
                      <a:lnTo>
                        <a:pt x="262925" y="65278"/>
                      </a:lnTo>
                      <a:close/>
                    </a:path>
                    <a:path w="269239" h="104775">
                      <a:moveTo>
                        <a:pt x="3378" y="62611"/>
                      </a:moveTo>
                      <a:lnTo>
                        <a:pt x="3428" y="63373"/>
                      </a:lnTo>
                      <a:lnTo>
                        <a:pt x="3098" y="64008"/>
                      </a:lnTo>
                      <a:lnTo>
                        <a:pt x="2539" y="64135"/>
                      </a:lnTo>
                      <a:lnTo>
                        <a:pt x="4457" y="65278"/>
                      </a:lnTo>
                      <a:lnTo>
                        <a:pt x="6095" y="65405"/>
                      </a:lnTo>
                      <a:lnTo>
                        <a:pt x="10515" y="65278"/>
                      </a:lnTo>
                      <a:lnTo>
                        <a:pt x="262925" y="65278"/>
                      </a:lnTo>
                      <a:lnTo>
                        <a:pt x="263525" y="64643"/>
                      </a:lnTo>
                      <a:lnTo>
                        <a:pt x="263999" y="63246"/>
                      </a:lnTo>
                      <a:lnTo>
                        <a:pt x="3848" y="63246"/>
                      </a:lnTo>
                      <a:lnTo>
                        <a:pt x="4038" y="63119"/>
                      </a:lnTo>
                      <a:lnTo>
                        <a:pt x="3378" y="62611"/>
                      </a:lnTo>
                      <a:close/>
                    </a:path>
                    <a:path w="269239" h="104775">
                      <a:moveTo>
                        <a:pt x="4305" y="62992"/>
                      </a:moveTo>
                      <a:lnTo>
                        <a:pt x="3848" y="63246"/>
                      </a:lnTo>
                      <a:lnTo>
                        <a:pt x="5168" y="63246"/>
                      </a:lnTo>
                      <a:lnTo>
                        <a:pt x="4305" y="62992"/>
                      </a:lnTo>
                      <a:close/>
                    </a:path>
                    <a:path w="269239" h="104775">
                      <a:moveTo>
                        <a:pt x="5194" y="57023"/>
                      </a:moveTo>
                      <a:lnTo>
                        <a:pt x="5321" y="58166"/>
                      </a:lnTo>
                      <a:lnTo>
                        <a:pt x="6235" y="62357"/>
                      </a:lnTo>
                      <a:lnTo>
                        <a:pt x="5168" y="63246"/>
                      </a:lnTo>
                      <a:lnTo>
                        <a:pt x="263999" y="63246"/>
                      </a:lnTo>
                      <a:lnTo>
                        <a:pt x="264172" y="62738"/>
                      </a:lnTo>
                      <a:lnTo>
                        <a:pt x="11112" y="62738"/>
                      </a:lnTo>
                      <a:lnTo>
                        <a:pt x="7569" y="61341"/>
                      </a:lnTo>
                      <a:lnTo>
                        <a:pt x="7772" y="60198"/>
                      </a:lnTo>
                      <a:lnTo>
                        <a:pt x="7264" y="58928"/>
                      </a:lnTo>
                      <a:lnTo>
                        <a:pt x="7086" y="58420"/>
                      </a:lnTo>
                      <a:lnTo>
                        <a:pt x="5194" y="57023"/>
                      </a:lnTo>
                      <a:close/>
                    </a:path>
                    <a:path w="269239" h="104775">
                      <a:moveTo>
                        <a:pt x="9613" y="56388"/>
                      </a:moveTo>
                      <a:lnTo>
                        <a:pt x="10045" y="59690"/>
                      </a:lnTo>
                      <a:lnTo>
                        <a:pt x="12725" y="61214"/>
                      </a:lnTo>
                      <a:lnTo>
                        <a:pt x="15151" y="61849"/>
                      </a:lnTo>
                      <a:lnTo>
                        <a:pt x="11112" y="62738"/>
                      </a:lnTo>
                      <a:lnTo>
                        <a:pt x="264172" y="62738"/>
                      </a:lnTo>
                      <a:lnTo>
                        <a:pt x="264302" y="62357"/>
                      </a:lnTo>
                      <a:lnTo>
                        <a:pt x="261721" y="62357"/>
                      </a:lnTo>
                      <a:lnTo>
                        <a:pt x="261906" y="60198"/>
                      </a:lnTo>
                      <a:lnTo>
                        <a:pt x="261804" y="56515"/>
                      </a:lnTo>
                      <a:lnTo>
                        <a:pt x="10490" y="56515"/>
                      </a:lnTo>
                      <a:lnTo>
                        <a:pt x="9613" y="56388"/>
                      </a:lnTo>
                      <a:close/>
                    </a:path>
                    <a:path w="269239" h="104775">
                      <a:moveTo>
                        <a:pt x="264604" y="61468"/>
                      </a:moveTo>
                      <a:lnTo>
                        <a:pt x="261721" y="62357"/>
                      </a:lnTo>
                      <a:lnTo>
                        <a:pt x="264302" y="62357"/>
                      </a:lnTo>
                      <a:lnTo>
                        <a:pt x="264604" y="61468"/>
                      </a:lnTo>
                      <a:close/>
                    </a:path>
                    <a:path w="269239" h="104775">
                      <a:moveTo>
                        <a:pt x="259797" y="53086"/>
                      </a:moveTo>
                      <a:lnTo>
                        <a:pt x="12953" y="53086"/>
                      </a:lnTo>
                      <a:lnTo>
                        <a:pt x="14312" y="53467"/>
                      </a:lnTo>
                      <a:lnTo>
                        <a:pt x="13119" y="54991"/>
                      </a:lnTo>
                      <a:lnTo>
                        <a:pt x="12636" y="56261"/>
                      </a:lnTo>
                      <a:lnTo>
                        <a:pt x="10490" y="56515"/>
                      </a:lnTo>
                      <a:lnTo>
                        <a:pt x="261804" y="56515"/>
                      </a:lnTo>
                      <a:lnTo>
                        <a:pt x="261734" y="54991"/>
                      </a:lnTo>
                      <a:lnTo>
                        <a:pt x="260756" y="54483"/>
                      </a:lnTo>
                      <a:lnTo>
                        <a:pt x="259854" y="53213"/>
                      </a:lnTo>
                      <a:close/>
                    </a:path>
                    <a:path w="269239" h="104775">
                      <a:moveTo>
                        <a:pt x="263590" y="42926"/>
                      </a:moveTo>
                      <a:lnTo>
                        <a:pt x="12788" y="42926"/>
                      </a:lnTo>
                      <a:lnTo>
                        <a:pt x="9956" y="45847"/>
                      </a:lnTo>
                      <a:lnTo>
                        <a:pt x="8458" y="47117"/>
                      </a:lnTo>
                      <a:lnTo>
                        <a:pt x="8928" y="47752"/>
                      </a:lnTo>
                      <a:lnTo>
                        <a:pt x="9994" y="48641"/>
                      </a:lnTo>
                      <a:lnTo>
                        <a:pt x="10121" y="51562"/>
                      </a:lnTo>
                      <a:lnTo>
                        <a:pt x="11302" y="53213"/>
                      </a:lnTo>
                      <a:lnTo>
                        <a:pt x="12953" y="53086"/>
                      </a:lnTo>
                      <a:lnTo>
                        <a:pt x="259797" y="53086"/>
                      </a:lnTo>
                      <a:lnTo>
                        <a:pt x="259283" y="51943"/>
                      </a:lnTo>
                      <a:lnTo>
                        <a:pt x="258572" y="50038"/>
                      </a:lnTo>
                      <a:lnTo>
                        <a:pt x="257898" y="47625"/>
                      </a:lnTo>
                      <a:lnTo>
                        <a:pt x="257505" y="46482"/>
                      </a:lnTo>
                      <a:lnTo>
                        <a:pt x="258279" y="45593"/>
                      </a:lnTo>
                      <a:lnTo>
                        <a:pt x="261239" y="45466"/>
                      </a:lnTo>
                      <a:lnTo>
                        <a:pt x="262915" y="44704"/>
                      </a:lnTo>
                      <a:lnTo>
                        <a:pt x="263639" y="43815"/>
                      </a:lnTo>
                      <a:lnTo>
                        <a:pt x="263590" y="42926"/>
                      </a:lnTo>
                      <a:close/>
                    </a:path>
                    <a:path w="269239" h="104775">
                      <a:moveTo>
                        <a:pt x="17678" y="27178"/>
                      </a:moveTo>
                      <a:lnTo>
                        <a:pt x="13588" y="28702"/>
                      </a:lnTo>
                      <a:lnTo>
                        <a:pt x="5359" y="31877"/>
                      </a:lnTo>
                      <a:lnTo>
                        <a:pt x="1930" y="34290"/>
                      </a:lnTo>
                      <a:lnTo>
                        <a:pt x="952" y="37846"/>
                      </a:lnTo>
                      <a:lnTo>
                        <a:pt x="1319" y="39624"/>
                      </a:lnTo>
                      <a:lnTo>
                        <a:pt x="1409" y="41910"/>
                      </a:lnTo>
                      <a:lnTo>
                        <a:pt x="431" y="42545"/>
                      </a:lnTo>
                      <a:lnTo>
                        <a:pt x="393" y="43561"/>
                      </a:lnTo>
                      <a:lnTo>
                        <a:pt x="0" y="43815"/>
                      </a:lnTo>
                      <a:lnTo>
                        <a:pt x="711" y="44958"/>
                      </a:lnTo>
                      <a:lnTo>
                        <a:pt x="3809" y="43815"/>
                      </a:lnTo>
                      <a:lnTo>
                        <a:pt x="7340" y="43053"/>
                      </a:lnTo>
                      <a:lnTo>
                        <a:pt x="9766" y="42926"/>
                      </a:lnTo>
                      <a:lnTo>
                        <a:pt x="263590" y="42926"/>
                      </a:lnTo>
                      <a:lnTo>
                        <a:pt x="263410" y="39624"/>
                      </a:lnTo>
                      <a:lnTo>
                        <a:pt x="264604" y="39624"/>
                      </a:lnTo>
                      <a:lnTo>
                        <a:pt x="265633" y="38862"/>
                      </a:lnTo>
                      <a:lnTo>
                        <a:pt x="266559" y="38862"/>
                      </a:lnTo>
                      <a:lnTo>
                        <a:pt x="262280" y="35052"/>
                      </a:lnTo>
                      <a:lnTo>
                        <a:pt x="258343" y="34798"/>
                      </a:lnTo>
                      <a:lnTo>
                        <a:pt x="256768" y="34544"/>
                      </a:lnTo>
                      <a:lnTo>
                        <a:pt x="256006" y="34544"/>
                      </a:lnTo>
                      <a:lnTo>
                        <a:pt x="254609" y="34417"/>
                      </a:lnTo>
                      <a:lnTo>
                        <a:pt x="253644" y="33909"/>
                      </a:lnTo>
                      <a:lnTo>
                        <a:pt x="251104" y="32766"/>
                      </a:lnTo>
                      <a:lnTo>
                        <a:pt x="252729" y="32004"/>
                      </a:lnTo>
                      <a:lnTo>
                        <a:pt x="252336" y="30988"/>
                      </a:lnTo>
                      <a:lnTo>
                        <a:pt x="252183" y="30480"/>
                      </a:lnTo>
                      <a:lnTo>
                        <a:pt x="251971" y="30099"/>
                      </a:lnTo>
                      <a:lnTo>
                        <a:pt x="20421" y="30099"/>
                      </a:lnTo>
                      <a:lnTo>
                        <a:pt x="20002" y="29337"/>
                      </a:lnTo>
                      <a:lnTo>
                        <a:pt x="17805" y="27559"/>
                      </a:lnTo>
                      <a:lnTo>
                        <a:pt x="17678" y="27178"/>
                      </a:lnTo>
                      <a:close/>
                    </a:path>
                    <a:path w="269239" h="104775">
                      <a:moveTo>
                        <a:pt x="266559" y="38862"/>
                      </a:moveTo>
                      <a:lnTo>
                        <a:pt x="265633" y="38862"/>
                      </a:lnTo>
                      <a:lnTo>
                        <a:pt x="268452" y="41783"/>
                      </a:lnTo>
                      <a:lnTo>
                        <a:pt x="268439" y="41402"/>
                      </a:lnTo>
                      <a:lnTo>
                        <a:pt x="268173" y="40767"/>
                      </a:lnTo>
                      <a:lnTo>
                        <a:pt x="268049" y="40386"/>
                      </a:lnTo>
                      <a:lnTo>
                        <a:pt x="267741" y="40386"/>
                      </a:lnTo>
                      <a:lnTo>
                        <a:pt x="267982" y="40259"/>
                      </a:lnTo>
                      <a:lnTo>
                        <a:pt x="267842" y="40005"/>
                      </a:lnTo>
                      <a:lnTo>
                        <a:pt x="266559" y="38862"/>
                      </a:lnTo>
                      <a:close/>
                    </a:path>
                    <a:path w="269239" h="104775">
                      <a:moveTo>
                        <a:pt x="268008" y="40259"/>
                      </a:moveTo>
                      <a:lnTo>
                        <a:pt x="267741" y="40386"/>
                      </a:lnTo>
                      <a:lnTo>
                        <a:pt x="268049" y="40386"/>
                      </a:lnTo>
                      <a:close/>
                    </a:path>
                    <a:path w="269239" h="104775">
                      <a:moveTo>
                        <a:pt x="264604" y="39624"/>
                      </a:moveTo>
                      <a:lnTo>
                        <a:pt x="263410" y="39624"/>
                      </a:lnTo>
                      <a:lnTo>
                        <a:pt x="263855" y="40005"/>
                      </a:lnTo>
                      <a:lnTo>
                        <a:pt x="264604" y="39624"/>
                      </a:lnTo>
                      <a:close/>
                    </a:path>
                    <a:path w="269239" h="104775">
                      <a:moveTo>
                        <a:pt x="24206" y="26289"/>
                      </a:moveTo>
                      <a:lnTo>
                        <a:pt x="24485" y="27305"/>
                      </a:lnTo>
                      <a:lnTo>
                        <a:pt x="25438" y="28067"/>
                      </a:lnTo>
                      <a:lnTo>
                        <a:pt x="26111" y="28829"/>
                      </a:lnTo>
                      <a:lnTo>
                        <a:pt x="20421" y="30099"/>
                      </a:lnTo>
                      <a:lnTo>
                        <a:pt x="251971" y="30099"/>
                      </a:lnTo>
                      <a:lnTo>
                        <a:pt x="251829" y="29845"/>
                      </a:lnTo>
                      <a:lnTo>
                        <a:pt x="41859" y="29845"/>
                      </a:lnTo>
                      <a:lnTo>
                        <a:pt x="39065" y="29083"/>
                      </a:lnTo>
                      <a:lnTo>
                        <a:pt x="32816" y="28702"/>
                      </a:lnTo>
                      <a:lnTo>
                        <a:pt x="26365" y="28702"/>
                      </a:lnTo>
                      <a:lnTo>
                        <a:pt x="27012" y="26543"/>
                      </a:lnTo>
                      <a:lnTo>
                        <a:pt x="26212" y="26543"/>
                      </a:lnTo>
                      <a:lnTo>
                        <a:pt x="24206" y="26289"/>
                      </a:lnTo>
                      <a:close/>
                    </a:path>
                    <a:path w="269239" h="104775">
                      <a:moveTo>
                        <a:pt x="250983" y="26543"/>
                      </a:moveTo>
                      <a:lnTo>
                        <a:pt x="43002" y="26543"/>
                      </a:lnTo>
                      <a:lnTo>
                        <a:pt x="44183" y="27813"/>
                      </a:lnTo>
                      <a:lnTo>
                        <a:pt x="41859" y="29845"/>
                      </a:lnTo>
                      <a:lnTo>
                        <a:pt x="251829" y="29845"/>
                      </a:lnTo>
                      <a:lnTo>
                        <a:pt x="250553" y="27559"/>
                      </a:lnTo>
                      <a:lnTo>
                        <a:pt x="250558" y="26924"/>
                      </a:lnTo>
                      <a:lnTo>
                        <a:pt x="250983" y="26543"/>
                      </a:lnTo>
                      <a:close/>
                    </a:path>
                    <a:path w="269239" h="104775">
                      <a:moveTo>
                        <a:pt x="29692" y="28575"/>
                      </a:moveTo>
                      <a:lnTo>
                        <a:pt x="26365" y="28702"/>
                      </a:lnTo>
                      <a:lnTo>
                        <a:pt x="32816" y="28702"/>
                      </a:lnTo>
                      <a:lnTo>
                        <a:pt x="29692" y="28575"/>
                      </a:lnTo>
                      <a:close/>
                    </a:path>
                    <a:path w="269239" h="104775">
                      <a:moveTo>
                        <a:pt x="252272" y="22352"/>
                      </a:moveTo>
                      <a:lnTo>
                        <a:pt x="52908" y="22352"/>
                      </a:lnTo>
                      <a:lnTo>
                        <a:pt x="54584" y="22987"/>
                      </a:lnTo>
                      <a:lnTo>
                        <a:pt x="51295" y="23368"/>
                      </a:lnTo>
                      <a:lnTo>
                        <a:pt x="47955" y="23495"/>
                      </a:lnTo>
                      <a:lnTo>
                        <a:pt x="43167" y="24511"/>
                      </a:lnTo>
                      <a:lnTo>
                        <a:pt x="39979" y="24765"/>
                      </a:lnTo>
                      <a:lnTo>
                        <a:pt x="38950" y="26162"/>
                      </a:lnTo>
                      <a:lnTo>
                        <a:pt x="40449" y="26797"/>
                      </a:lnTo>
                      <a:lnTo>
                        <a:pt x="43002" y="26543"/>
                      </a:lnTo>
                      <a:lnTo>
                        <a:pt x="250983" y="26543"/>
                      </a:lnTo>
                      <a:lnTo>
                        <a:pt x="251523" y="26035"/>
                      </a:lnTo>
                      <a:lnTo>
                        <a:pt x="252298" y="25400"/>
                      </a:lnTo>
                      <a:lnTo>
                        <a:pt x="252514" y="25146"/>
                      </a:lnTo>
                      <a:lnTo>
                        <a:pt x="252387" y="23876"/>
                      </a:lnTo>
                      <a:lnTo>
                        <a:pt x="252272" y="22352"/>
                      </a:lnTo>
                      <a:close/>
                    </a:path>
                    <a:path w="269239" h="104775">
                      <a:moveTo>
                        <a:pt x="27165" y="26035"/>
                      </a:moveTo>
                      <a:lnTo>
                        <a:pt x="26212" y="26543"/>
                      </a:lnTo>
                      <a:lnTo>
                        <a:pt x="27012" y="26543"/>
                      </a:lnTo>
                      <a:lnTo>
                        <a:pt x="27165" y="26035"/>
                      </a:lnTo>
                      <a:close/>
                    </a:path>
                    <a:path w="269239" h="104775">
                      <a:moveTo>
                        <a:pt x="44538" y="13589"/>
                      </a:moveTo>
                      <a:lnTo>
                        <a:pt x="43916" y="14859"/>
                      </a:lnTo>
                      <a:lnTo>
                        <a:pt x="44856" y="15621"/>
                      </a:lnTo>
                      <a:lnTo>
                        <a:pt x="45342" y="16383"/>
                      </a:lnTo>
                      <a:lnTo>
                        <a:pt x="45450" y="18796"/>
                      </a:lnTo>
                      <a:lnTo>
                        <a:pt x="45166" y="19431"/>
                      </a:lnTo>
                      <a:lnTo>
                        <a:pt x="44881" y="19939"/>
                      </a:lnTo>
                      <a:lnTo>
                        <a:pt x="47523" y="21590"/>
                      </a:lnTo>
                      <a:lnTo>
                        <a:pt x="51155" y="22606"/>
                      </a:lnTo>
                      <a:lnTo>
                        <a:pt x="52908" y="22352"/>
                      </a:lnTo>
                      <a:lnTo>
                        <a:pt x="252272" y="22352"/>
                      </a:lnTo>
                      <a:lnTo>
                        <a:pt x="252107" y="21082"/>
                      </a:lnTo>
                      <a:lnTo>
                        <a:pt x="251790" y="19812"/>
                      </a:lnTo>
                      <a:lnTo>
                        <a:pt x="172872" y="19812"/>
                      </a:lnTo>
                      <a:lnTo>
                        <a:pt x="169138" y="17780"/>
                      </a:lnTo>
                      <a:lnTo>
                        <a:pt x="164017" y="17018"/>
                      </a:lnTo>
                      <a:lnTo>
                        <a:pt x="66217" y="17018"/>
                      </a:lnTo>
                      <a:lnTo>
                        <a:pt x="63451" y="15875"/>
                      </a:lnTo>
                      <a:lnTo>
                        <a:pt x="52984" y="15875"/>
                      </a:lnTo>
                      <a:lnTo>
                        <a:pt x="50787" y="15113"/>
                      </a:lnTo>
                      <a:lnTo>
                        <a:pt x="48044" y="14732"/>
                      </a:lnTo>
                      <a:lnTo>
                        <a:pt x="44538" y="13589"/>
                      </a:lnTo>
                      <a:close/>
                    </a:path>
                    <a:path w="269239" h="104775">
                      <a:moveTo>
                        <a:pt x="187909" y="17018"/>
                      </a:moveTo>
                      <a:lnTo>
                        <a:pt x="183540" y="18161"/>
                      </a:lnTo>
                      <a:lnTo>
                        <a:pt x="179844" y="19685"/>
                      </a:lnTo>
                      <a:lnTo>
                        <a:pt x="172872" y="19812"/>
                      </a:lnTo>
                      <a:lnTo>
                        <a:pt x="251790" y="19812"/>
                      </a:lnTo>
                      <a:lnTo>
                        <a:pt x="251599" y="19431"/>
                      </a:lnTo>
                      <a:lnTo>
                        <a:pt x="200012" y="19431"/>
                      </a:lnTo>
                      <a:lnTo>
                        <a:pt x="199979" y="19177"/>
                      </a:lnTo>
                      <a:lnTo>
                        <a:pt x="196926" y="19177"/>
                      </a:lnTo>
                      <a:lnTo>
                        <a:pt x="194081" y="18034"/>
                      </a:lnTo>
                      <a:lnTo>
                        <a:pt x="193188" y="17526"/>
                      </a:lnTo>
                      <a:lnTo>
                        <a:pt x="188556" y="17526"/>
                      </a:lnTo>
                      <a:lnTo>
                        <a:pt x="187909" y="17018"/>
                      </a:lnTo>
                      <a:close/>
                    </a:path>
                    <a:path w="269239" h="104775">
                      <a:moveTo>
                        <a:pt x="221970" y="9525"/>
                      </a:moveTo>
                      <a:lnTo>
                        <a:pt x="221221" y="9779"/>
                      </a:lnTo>
                      <a:lnTo>
                        <a:pt x="220954" y="9906"/>
                      </a:lnTo>
                      <a:lnTo>
                        <a:pt x="219544" y="10795"/>
                      </a:lnTo>
                      <a:lnTo>
                        <a:pt x="217042" y="12827"/>
                      </a:lnTo>
                      <a:lnTo>
                        <a:pt x="215087" y="13716"/>
                      </a:lnTo>
                      <a:lnTo>
                        <a:pt x="214248" y="14478"/>
                      </a:lnTo>
                      <a:lnTo>
                        <a:pt x="213207" y="14859"/>
                      </a:lnTo>
                      <a:lnTo>
                        <a:pt x="212280" y="15240"/>
                      </a:lnTo>
                      <a:lnTo>
                        <a:pt x="210686" y="15240"/>
                      </a:lnTo>
                      <a:lnTo>
                        <a:pt x="210083" y="15875"/>
                      </a:lnTo>
                      <a:lnTo>
                        <a:pt x="208610" y="17145"/>
                      </a:lnTo>
                      <a:lnTo>
                        <a:pt x="206108" y="17907"/>
                      </a:lnTo>
                      <a:lnTo>
                        <a:pt x="203174" y="19050"/>
                      </a:lnTo>
                      <a:lnTo>
                        <a:pt x="202374" y="19304"/>
                      </a:lnTo>
                      <a:lnTo>
                        <a:pt x="200012" y="19431"/>
                      </a:lnTo>
                      <a:lnTo>
                        <a:pt x="251599" y="19431"/>
                      </a:lnTo>
                      <a:lnTo>
                        <a:pt x="250977" y="18288"/>
                      </a:lnTo>
                      <a:lnTo>
                        <a:pt x="250570" y="17907"/>
                      </a:lnTo>
                      <a:lnTo>
                        <a:pt x="250177" y="17399"/>
                      </a:lnTo>
                      <a:lnTo>
                        <a:pt x="249277" y="16510"/>
                      </a:lnTo>
                      <a:lnTo>
                        <a:pt x="248539" y="16510"/>
                      </a:lnTo>
                      <a:lnTo>
                        <a:pt x="249148" y="16383"/>
                      </a:lnTo>
                      <a:lnTo>
                        <a:pt x="248205" y="15240"/>
                      </a:lnTo>
                      <a:lnTo>
                        <a:pt x="212280" y="15240"/>
                      </a:lnTo>
                      <a:lnTo>
                        <a:pt x="210807" y="15113"/>
                      </a:lnTo>
                      <a:lnTo>
                        <a:pt x="248096" y="15113"/>
                      </a:lnTo>
                      <a:lnTo>
                        <a:pt x="247878" y="14859"/>
                      </a:lnTo>
                      <a:lnTo>
                        <a:pt x="247091" y="14224"/>
                      </a:lnTo>
                      <a:lnTo>
                        <a:pt x="246037" y="13462"/>
                      </a:lnTo>
                      <a:lnTo>
                        <a:pt x="245008" y="12954"/>
                      </a:lnTo>
                      <a:lnTo>
                        <a:pt x="243408" y="11811"/>
                      </a:lnTo>
                      <a:lnTo>
                        <a:pt x="242206" y="10668"/>
                      </a:lnTo>
                      <a:lnTo>
                        <a:pt x="235521" y="10668"/>
                      </a:lnTo>
                      <a:lnTo>
                        <a:pt x="233298" y="10287"/>
                      </a:lnTo>
                      <a:lnTo>
                        <a:pt x="224040" y="10287"/>
                      </a:lnTo>
                      <a:lnTo>
                        <a:pt x="221970" y="9525"/>
                      </a:lnTo>
                      <a:close/>
                    </a:path>
                    <a:path w="269239" h="104775">
                      <a:moveTo>
                        <a:pt x="199897" y="18542"/>
                      </a:moveTo>
                      <a:lnTo>
                        <a:pt x="196926" y="19177"/>
                      </a:lnTo>
                      <a:lnTo>
                        <a:pt x="199979" y="19177"/>
                      </a:lnTo>
                      <a:lnTo>
                        <a:pt x="199897" y="18542"/>
                      </a:lnTo>
                      <a:close/>
                    </a:path>
                    <a:path w="269239" h="104775">
                      <a:moveTo>
                        <a:pt x="190957" y="16256"/>
                      </a:moveTo>
                      <a:lnTo>
                        <a:pt x="191185" y="16764"/>
                      </a:lnTo>
                      <a:lnTo>
                        <a:pt x="188556" y="17526"/>
                      </a:lnTo>
                      <a:lnTo>
                        <a:pt x="193188" y="17526"/>
                      </a:lnTo>
                      <a:lnTo>
                        <a:pt x="190957" y="16256"/>
                      </a:lnTo>
                      <a:close/>
                    </a:path>
                    <a:path w="269239" h="104775">
                      <a:moveTo>
                        <a:pt x="102336" y="508"/>
                      </a:moveTo>
                      <a:lnTo>
                        <a:pt x="98526" y="3175"/>
                      </a:lnTo>
                      <a:lnTo>
                        <a:pt x="90423" y="4953"/>
                      </a:lnTo>
                      <a:lnTo>
                        <a:pt x="87947" y="7366"/>
                      </a:lnTo>
                      <a:lnTo>
                        <a:pt x="82321" y="10287"/>
                      </a:lnTo>
                      <a:lnTo>
                        <a:pt x="80581" y="11303"/>
                      </a:lnTo>
                      <a:lnTo>
                        <a:pt x="77825" y="13716"/>
                      </a:lnTo>
                      <a:lnTo>
                        <a:pt x="75869" y="16129"/>
                      </a:lnTo>
                      <a:lnTo>
                        <a:pt x="70053" y="17018"/>
                      </a:lnTo>
                      <a:lnTo>
                        <a:pt x="164017" y="17018"/>
                      </a:lnTo>
                      <a:lnTo>
                        <a:pt x="160604" y="16510"/>
                      </a:lnTo>
                      <a:lnTo>
                        <a:pt x="158013" y="15240"/>
                      </a:lnTo>
                      <a:lnTo>
                        <a:pt x="156334" y="13970"/>
                      </a:lnTo>
                      <a:lnTo>
                        <a:pt x="147192" y="13970"/>
                      </a:lnTo>
                      <a:lnTo>
                        <a:pt x="144945" y="11430"/>
                      </a:lnTo>
                      <a:lnTo>
                        <a:pt x="143548" y="8255"/>
                      </a:lnTo>
                      <a:lnTo>
                        <a:pt x="143624" y="7620"/>
                      </a:lnTo>
                      <a:lnTo>
                        <a:pt x="136969" y="7620"/>
                      </a:lnTo>
                      <a:lnTo>
                        <a:pt x="132905" y="6858"/>
                      </a:lnTo>
                      <a:lnTo>
                        <a:pt x="131571" y="4953"/>
                      </a:lnTo>
                      <a:lnTo>
                        <a:pt x="129209" y="2540"/>
                      </a:lnTo>
                      <a:lnTo>
                        <a:pt x="124002" y="2540"/>
                      </a:lnTo>
                      <a:lnTo>
                        <a:pt x="120688" y="1905"/>
                      </a:lnTo>
                      <a:lnTo>
                        <a:pt x="114020" y="1905"/>
                      </a:lnTo>
                      <a:lnTo>
                        <a:pt x="110070" y="1651"/>
                      </a:lnTo>
                      <a:lnTo>
                        <a:pt x="102336" y="508"/>
                      </a:lnTo>
                      <a:close/>
                    </a:path>
                    <a:path w="269239" h="104775">
                      <a:moveTo>
                        <a:pt x="249148" y="16383"/>
                      </a:moveTo>
                      <a:lnTo>
                        <a:pt x="248539" y="16510"/>
                      </a:lnTo>
                      <a:lnTo>
                        <a:pt x="249277" y="16510"/>
                      </a:lnTo>
                      <a:lnTo>
                        <a:pt x="249148" y="16383"/>
                      </a:lnTo>
                      <a:close/>
                    </a:path>
                    <a:path w="269239" h="104775">
                      <a:moveTo>
                        <a:pt x="60070" y="14478"/>
                      </a:moveTo>
                      <a:lnTo>
                        <a:pt x="56807" y="15494"/>
                      </a:lnTo>
                      <a:lnTo>
                        <a:pt x="52984" y="15875"/>
                      </a:lnTo>
                      <a:lnTo>
                        <a:pt x="63451" y="15875"/>
                      </a:lnTo>
                      <a:lnTo>
                        <a:pt x="60070" y="14478"/>
                      </a:lnTo>
                      <a:close/>
                    </a:path>
                    <a:path w="269239" h="104775">
                      <a:moveTo>
                        <a:pt x="153479" y="11811"/>
                      </a:moveTo>
                      <a:lnTo>
                        <a:pt x="149694" y="13970"/>
                      </a:lnTo>
                      <a:lnTo>
                        <a:pt x="156334" y="13970"/>
                      </a:lnTo>
                      <a:lnTo>
                        <a:pt x="153479" y="11811"/>
                      </a:lnTo>
                      <a:close/>
                    </a:path>
                    <a:path w="269239" h="104775">
                      <a:moveTo>
                        <a:pt x="236105" y="7112"/>
                      </a:moveTo>
                      <a:lnTo>
                        <a:pt x="235521" y="10668"/>
                      </a:lnTo>
                      <a:lnTo>
                        <a:pt x="242206" y="10668"/>
                      </a:lnTo>
                      <a:lnTo>
                        <a:pt x="241833" y="10287"/>
                      </a:lnTo>
                      <a:lnTo>
                        <a:pt x="241668" y="10160"/>
                      </a:lnTo>
                      <a:lnTo>
                        <a:pt x="239776" y="7874"/>
                      </a:lnTo>
                      <a:lnTo>
                        <a:pt x="236105" y="7112"/>
                      </a:lnTo>
                      <a:close/>
                    </a:path>
                    <a:path w="269239" h="104775">
                      <a:moveTo>
                        <a:pt x="226682" y="9525"/>
                      </a:moveTo>
                      <a:lnTo>
                        <a:pt x="224040" y="10287"/>
                      </a:lnTo>
                      <a:lnTo>
                        <a:pt x="233298" y="10287"/>
                      </a:lnTo>
                      <a:lnTo>
                        <a:pt x="226682" y="9525"/>
                      </a:lnTo>
                      <a:close/>
                    </a:path>
                    <a:path w="269239" h="104775">
                      <a:moveTo>
                        <a:pt x="143929" y="5080"/>
                      </a:moveTo>
                      <a:lnTo>
                        <a:pt x="138861" y="6731"/>
                      </a:lnTo>
                      <a:lnTo>
                        <a:pt x="136969" y="7620"/>
                      </a:lnTo>
                      <a:lnTo>
                        <a:pt x="143624" y="7620"/>
                      </a:lnTo>
                      <a:lnTo>
                        <a:pt x="143929" y="5080"/>
                      </a:lnTo>
                      <a:close/>
                    </a:path>
                    <a:path w="269239" h="104775">
                      <a:moveTo>
                        <a:pt x="130301" y="0"/>
                      </a:moveTo>
                      <a:lnTo>
                        <a:pt x="127698" y="762"/>
                      </a:lnTo>
                      <a:lnTo>
                        <a:pt x="126580" y="889"/>
                      </a:lnTo>
                      <a:lnTo>
                        <a:pt x="124002" y="2540"/>
                      </a:lnTo>
                      <a:lnTo>
                        <a:pt x="129209" y="2540"/>
                      </a:lnTo>
                      <a:lnTo>
                        <a:pt x="129400" y="381"/>
                      </a:lnTo>
                      <a:lnTo>
                        <a:pt x="130623" y="381"/>
                      </a:lnTo>
                      <a:lnTo>
                        <a:pt x="130301" y="0"/>
                      </a:lnTo>
                      <a:close/>
                    </a:path>
                    <a:path w="269239" h="104775">
                      <a:moveTo>
                        <a:pt x="130623" y="381"/>
                      </a:moveTo>
                      <a:lnTo>
                        <a:pt x="129400" y="381"/>
                      </a:lnTo>
                      <a:lnTo>
                        <a:pt x="131051" y="889"/>
                      </a:lnTo>
                      <a:lnTo>
                        <a:pt x="130623" y="381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605" name="object 145">
                  <a:extLst>
                    <a:ext uri="{FF2B5EF4-FFF2-40B4-BE49-F238E27FC236}">
                      <a16:creationId xmlns:a16="http://schemas.microsoft.com/office/drawing/2014/main" id="{647631F6-6EB5-4978-873B-94FDAABC5A2A}"/>
                    </a:ext>
                  </a:extLst>
                </p:cNvPr>
                <p:cNvPicPr/>
                <p:nvPr/>
              </p:nvPicPr>
              <p:blipFill>
                <a:blip r:embed="rId18" cstate="print"/>
                <a:stretch>
                  <a:fillRect/>
                </a:stretch>
              </p:blipFill>
              <p:spPr>
                <a:xfrm>
                  <a:off x="3733921" y="2219683"/>
                  <a:ext cx="156933" cy="68325"/>
                </a:xfrm>
                <a:prstGeom prst="rect">
                  <a:avLst/>
                </a:prstGeom>
              </p:spPr>
            </p:pic>
            <p:sp>
              <p:nvSpPr>
                <p:cNvPr id="606" name="object 146">
                  <a:extLst>
                    <a:ext uri="{FF2B5EF4-FFF2-40B4-BE49-F238E27FC236}">
                      <a16:creationId xmlns:a16="http://schemas.microsoft.com/office/drawing/2014/main" id="{93B86318-72A9-360F-34A7-C4B66F54FA3A}"/>
                    </a:ext>
                  </a:extLst>
                </p:cNvPr>
                <p:cNvSpPr/>
                <p:nvPr/>
              </p:nvSpPr>
              <p:spPr>
                <a:xfrm>
                  <a:off x="3314395" y="1994344"/>
                  <a:ext cx="690245" cy="49910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90245" h="499110">
                      <a:moveTo>
                        <a:pt x="148767" y="276072"/>
                      </a:moveTo>
                      <a:lnTo>
                        <a:pt x="147916" y="274624"/>
                      </a:lnTo>
                      <a:lnTo>
                        <a:pt x="148145" y="274205"/>
                      </a:lnTo>
                      <a:lnTo>
                        <a:pt x="148336" y="273875"/>
                      </a:lnTo>
                      <a:lnTo>
                        <a:pt x="146189" y="271805"/>
                      </a:lnTo>
                      <a:lnTo>
                        <a:pt x="145224" y="271081"/>
                      </a:lnTo>
                      <a:lnTo>
                        <a:pt x="143802" y="270484"/>
                      </a:lnTo>
                      <a:lnTo>
                        <a:pt x="143065" y="270141"/>
                      </a:lnTo>
                      <a:lnTo>
                        <a:pt x="141719" y="270179"/>
                      </a:lnTo>
                      <a:lnTo>
                        <a:pt x="141325" y="270484"/>
                      </a:lnTo>
                      <a:lnTo>
                        <a:pt x="138823" y="270421"/>
                      </a:lnTo>
                      <a:lnTo>
                        <a:pt x="137896" y="268960"/>
                      </a:lnTo>
                      <a:lnTo>
                        <a:pt x="136652" y="267817"/>
                      </a:lnTo>
                      <a:lnTo>
                        <a:pt x="94665" y="267817"/>
                      </a:lnTo>
                      <a:lnTo>
                        <a:pt x="94665" y="292938"/>
                      </a:lnTo>
                      <a:lnTo>
                        <a:pt x="93332" y="291744"/>
                      </a:lnTo>
                      <a:lnTo>
                        <a:pt x="93332" y="296138"/>
                      </a:lnTo>
                      <a:lnTo>
                        <a:pt x="92837" y="294982"/>
                      </a:lnTo>
                      <a:lnTo>
                        <a:pt x="93332" y="296138"/>
                      </a:lnTo>
                      <a:lnTo>
                        <a:pt x="93332" y="291744"/>
                      </a:lnTo>
                      <a:lnTo>
                        <a:pt x="92392" y="290880"/>
                      </a:lnTo>
                      <a:lnTo>
                        <a:pt x="90474" y="290842"/>
                      </a:lnTo>
                      <a:lnTo>
                        <a:pt x="92392" y="290868"/>
                      </a:lnTo>
                      <a:lnTo>
                        <a:pt x="94665" y="292938"/>
                      </a:lnTo>
                      <a:lnTo>
                        <a:pt x="94665" y="267817"/>
                      </a:lnTo>
                      <a:lnTo>
                        <a:pt x="93357" y="267817"/>
                      </a:lnTo>
                      <a:lnTo>
                        <a:pt x="93357" y="288785"/>
                      </a:lnTo>
                      <a:lnTo>
                        <a:pt x="90906" y="287337"/>
                      </a:lnTo>
                      <a:lnTo>
                        <a:pt x="93357" y="288785"/>
                      </a:lnTo>
                      <a:lnTo>
                        <a:pt x="93357" y="267817"/>
                      </a:lnTo>
                      <a:lnTo>
                        <a:pt x="88811" y="267817"/>
                      </a:lnTo>
                      <a:lnTo>
                        <a:pt x="88811" y="286067"/>
                      </a:lnTo>
                      <a:lnTo>
                        <a:pt x="88468" y="285864"/>
                      </a:lnTo>
                      <a:lnTo>
                        <a:pt x="88468" y="299275"/>
                      </a:lnTo>
                      <a:lnTo>
                        <a:pt x="88277" y="299072"/>
                      </a:lnTo>
                      <a:lnTo>
                        <a:pt x="88468" y="299275"/>
                      </a:lnTo>
                      <a:lnTo>
                        <a:pt x="88468" y="285864"/>
                      </a:lnTo>
                      <a:lnTo>
                        <a:pt x="85534" y="283933"/>
                      </a:lnTo>
                      <a:lnTo>
                        <a:pt x="82029" y="281660"/>
                      </a:lnTo>
                      <a:lnTo>
                        <a:pt x="82029" y="288264"/>
                      </a:lnTo>
                      <a:lnTo>
                        <a:pt x="81711" y="287350"/>
                      </a:lnTo>
                      <a:lnTo>
                        <a:pt x="82029" y="288264"/>
                      </a:lnTo>
                      <a:lnTo>
                        <a:pt x="82029" y="281660"/>
                      </a:lnTo>
                      <a:lnTo>
                        <a:pt x="80060" y="280377"/>
                      </a:lnTo>
                      <a:lnTo>
                        <a:pt x="85534" y="283933"/>
                      </a:lnTo>
                      <a:lnTo>
                        <a:pt x="88811" y="286067"/>
                      </a:lnTo>
                      <a:lnTo>
                        <a:pt x="88811" y="267817"/>
                      </a:lnTo>
                      <a:lnTo>
                        <a:pt x="84975" y="267817"/>
                      </a:lnTo>
                      <a:lnTo>
                        <a:pt x="84975" y="275793"/>
                      </a:lnTo>
                      <a:lnTo>
                        <a:pt x="84340" y="275437"/>
                      </a:lnTo>
                      <a:lnTo>
                        <a:pt x="83680" y="275018"/>
                      </a:lnTo>
                      <a:lnTo>
                        <a:pt x="81064" y="272872"/>
                      </a:lnTo>
                      <a:lnTo>
                        <a:pt x="81534" y="273253"/>
                      </a:lnTo>
                      <a:lnTo>
                        <a:pt x="83680" y="275018"/>
                      </a:lnTo>
                      <a:lnTo>
                        <a:pt x="84975" y="275793"/>
                      </a:lnTo>
                      <a:lnTo>
                        <a:pt x="84975" y="267817"/>
                      </a:lnTo>
                      <a:lnTo>
                        <a:pt x="79870" y="267817"/>
                      </a:lnTo>
                      <a:lnTo>
                        <a:pt x="79870" y="271830"/>
                      </a:lnTo>
                      <a:lnTo>
                        <a:pt x="77673" y="270713"/>
                      </a:lnTo>
                      <a:lnTo>
                        <a:pt x="77673" y="288061"/>
                      </a:lnTo>
                      <a:lnTo>
                        <a:pt x="77406" y="287947"/>
                      </a:lnTo>
                      <a:lnTo>
                        <a:pt x="77597" y="288010"/>
                      </a:lnTo>
                      <a:lnTo>
                        <a:pt x="77673" y="270713"/>
                      </a:lnTo>
                      <a:lnTo>
                        <a:pt x="76962" y="270332"/>
                      </a:lnTo>
                      <a:lnTo>
                        <a:pt x="79870" y="271830"/>
                      </a:lnTo>
                      <a:lnTo>
                        <a:pt x="79870" y="267817"/>
                      </a:lnTo>
                      <a:lnTo>
                        <a:pt x="78524" y="267817"/>
                      </a:lnTo>
                      <a:lnTo>
                        <a:pt x="136537" y="267716"/>
                      </a:lnTo>
                      <a:lnTo>
                        <a:pt x="135699" y="266954"/>
                      </a:lnTo>
                      <a:lnTo>
                        <a:pt x="79933" y="266954"/>
                      </a:lnTo>
                      <a:lnTo>
                        <a:pt x="135686" y="266941"/>
                      </a:lnTo>
                      <a:lnTo>
                        <a:pt x="133578" y="265010"/>
                      </a:lnTo>
                      <a:lnTo>
                        <a:pt x="131914" y="262051"/>
                      </a:lnTo>
                      <a:lnTo>
                        <a:pt x="131610" y="261518"/>
                      </a:lnTo>
                      <a:lnTo>
                        <a:pt x="131546" y="261366"/>
                      </a:lnTo>
                      <a:lnTo>
                        <a:pt x="131000" y="259943"/>
                      </a:lnTo>
                      <a:lnTo>
                        <a:pt x="129095" y="255003"/>
                      </a:lnTo>
                      <a:lnTo>
                        <a:pt x="128968" y="254685"/>
                      </a:lnTo>
                      <a:lnTo>
                        <a:pt x="125933" y="251891"/>
                      </a:lnTo>
                      <a:lnTo>
                        <a:pt x="123583" y="249212"/>
                      </a:lnTo>
                      <a:lnTo>
                        <a:pt x="123939" y="248526"/>
                      </a:lnTo>
                      <a:lnTo>
                        <a:pt x="124002" y="248158"/>
                      </a:lnTo>
                      <a:lnTo>
                        <a:pt x="122885" y="247954"/>
                      </a:lnTo>
                      <a:lnTo>
                        <a:pt x="122618" y="250558"/>
                      </a:lnTo>
                      <a:lnTo>
                        <a:pt x="118605" y="252882"/>
                      </a:lnTo>
                      <a:lnTo>
                        <a:pt x="116484" y="255003"/>
                      </a:lnTo>
                      <a:lnTo>
                        <a:pt x="115392" y="254520"/>
                      </a:lnTo>
                      <a:lnTo>
                        <a:pt x="113106" y="259943"/>
                      </a:lnTo>
                      <a:lnTo>
                        <a:pt x="111721" y="259765"/>
                      </a:lnTo>
                      <a:lnTo>
                        <a:pt x="105092" y="258559"/>
                      </a:lnTo>
                      <a:lnTo>
                        <a:pt x="103289" y="255358"/>
                      </a:lnTo>
                      <a:lnTo>
                        <a:pt x="102387" y="254279"/>
                      </a:lnTo>
                      <a:lnTo>
                        <a:pt x="101180" y="253923"/>
                      </a:lnTo>
                      <a:lnTo>
                        <a:pt x="99847" y="252780"/>
                      </a:lnTo>
                      <a:lnTo>
                        <a:pt x="98399" y="249516"/>
                      </a:lnTo>
                      <a:lnTo>
                        <a:pt x="97167" y="248335"/>
                      </a:lnTo>
                      <a:lnTo>
                        <a:pt x="96901" y="248081"/>
                      </a:lnTo>
                      <a:lnTo>
                        <a:pt x="95821" y="248043"/>
                      </a:lnTo>
                      <a:lnTo>
                        <a:pt x="95821" y="257619"/>
                      </a:lnTo>
                      <a:lnTo>
                        <a:pt x="95034" y="259346"/>
                      </a:lnTo>
                      <a:lnTo>
                        <a:pt x="94945" y="259918"/>
                      </a:lnTo>
                      <a:lnTo>
                        <a:pt x="95008" y="259359"/>
                      </a:lnTo>
                      <a:lnTo>
                        <a:pt x="95808" y="257619"/>
                      </a:lnTo>
                      <a:lnTo>
                        <a:pt x="95821" y="248043"/>
                      </a:lnTo>
                      <a:lnTo>
                        <a:pt x="95758" y="257352"/>
                      </a:lnTo>
                      <a:lnTo>
                        <a:pt x="92417" y="255409"/>
                      </a:lnTo>
                      <a:lnTo>
                        <a:pt x="95758" y="257352"/>
                      </a:lnTo>
                      <a:lnTo>
                        <a:pt x="95758" y="248043"/>
                      </a:lnTo>
                      <a:lnTo>
                        <a:pt x="93764" y="247954"/>
                      </a:lnTo>
                      <a:lnTo>
                        <a:pt x="94068" y="247535"/>
                      </a:lnTo>
                      <a:lnTo>
                        <a:pt x="92443" y="247535"/>
                      </a:lnTo>
                      <a:lnTo>
                        <a:pt x="92138" y="247954"/>
                      </a:lnTo>
                      <a:lnTo>
                        <a:pt x="92125" y="248081"/>
                      </a:lnTo>
                      <a:lnTo>
                        <a:pt x="89496" y="246329"/>
                      </a:lnTo>
                      <a:lnTo>
                        <a:pt x="89128" y="246087"/>
                      </a:lnTo>
                      <a:lnTo>
                        <a:pt x="87845" y="246329"/>
                      </a:lnTo>
                      <a:lnTo>
                        <a:pt x="82702" y="243687"/>
                      </a:lnTo>
                      <a:lnTo>
                        <a:pt x="80619" y="242392"/>
                      </a:lnTo>
                      <a:lnTo>
                        <a:pt x="80860" y="239991"/>
                      </a:lnTo>
                      <a:lnTo>
                        <a:pt x="82296" y="237820"/>
                      </a:lnTo>
                      <a:lnTo>
                        <a:pt x="80695" y="237820"/>
                      </a:lnTo>
                      <a:lnTo>
                        <a:pt x="80556" y="237769"/>
                      </a:lnTo>
                      <a:lnTo>
                        <a:pt x="80556" y="265874"/>
                      </a:lnTo>
                      <a:lnTo>
                        <a:pt x="80060" y="265353"/>
                      </a:lnTo>
                      <a:lnTo>
                        <a:pt x="79717" y="264566"/>
                      </a:lnTo>
                      <a:lnTo>
                        <a:pt x="79095" y="264147"/>
                      </a:lnTo>
                      <a:lnTo>
                        <a:pt x="79717" y="264553"/>
                      </a:lnTo>
                      <a:lnTo>
                        <a:pt x="80060" y="265315"/>
                      </a:lnTo>
                      <a:lnTo>
                        <a:pt x="80556" y="265874"/>
                      </a:lnTo>
                      <a:lnTo>
                        <a:pt x="80556" y="237769"/>
                      </a:lnTo>
                      <a:lnTo>
                        <a:pt x="78460" y="236982"/>
                      </a:lnTo>
                      <a:lnTo>
                        <a:pt x="78460" y="267817"/>
                      </a:lnTo>
                      <a:lnTo>
                        <a:pt x="78041" y="267817"/>
                      </a:lnTo>
                      <a:lnTo>
                        <a:pt x="78460" y="267817"/>
                      </a:lnTo>
                      <a:lnTo>
                        <a:pt x="78460" y="236982"/>
                      </a:lnTo>
                      <a:lnTo>
                        <a:pt x="77558" y="236651"/>
                      </a:lnTo>
                      <a:lnTo>
                        <a:pt x="77558" y="263296"/>
                      </a:lnTo>
                      <a:lnTo>
                        <a:pt x="76390" y="262585"/>
                      </a:lnTo>
                      <a:lnTo>
                        <a:pt x="75323" y="262153"/>
                      </a:lnTo>
                      <a:lnTo>
                        <a:pt x="76390" y="262572"/>
                      </a:lnTo>
                      <a:lnTo>
                        <a:pt x="77558" y="263296"/>
                      </a:lnTo>
                      <a:lnTo>
                        <a:pt x="77558" y="236651"/>
                      </a:lnTo>
                      <a:lnTo>
                        <a:pt x="77038" y="236448"/>
                      </a:lnTo>
                      <a:lnTo>
                        <a:pt x="75780" y="235978"/>
                      </a:lnTo>
                      <a:lnTo>
                        <a:pt x="75780" y="255447"/>
                      </a:lnTo>
                      <a:lnTo>
                        <a:pt x="75107" y="255905"/>
                      </a:lnTo>
                      <a:lnTo>
                        <a:pt x="75107" y="262064"/>
                      </a:lnTo>
                      <a:lnTo>
                        <a:pt x="73621" y="262064"/>
                      </a:lnTo>
                      <a:lnTo>
                        <a:pt x="73342" y="262089"/>
                      </a:lnTo>
                      <a:lnTo>
                        <a:pt x="73215" y="262128"/>
                      </a:lnTo>
                      <a:lnTo>
                        <a:pt x="73215" y="284454"/>
                      </a:lnTo>
                      <a:lnTo>
                        <a:pt x="72694" y="283933"/>
                      </a:lnTo>
                      <a:lnTo>
                        <a:pt x="73215" y="284454"/>
                      </a:lnTo>
                      <a:lnTo>
                        <a:pt x="73215" y="262128"/>
                      </a:lnTo>
                      <a:lnTo>
                        <a:pt x="73037" y="262153"/>
                      </a:lnTo>
                      <a:lnTo>
                        <a:pt x="73342" y="262077"/>
                      </a:lnTo>
                      <a:lnTo>
                        <a:pt x="73609" y="262051"/>
                      </a:lnTo>
                      <a:lnTo>
                        <a:pt x="75095" y="262051"/>
                      </a:lnTo>
                      <a:lnTo>
                        <a:pt x="75107" y="255905"/>
                      </a:lnTo>
                      <a:lnTo>
                        <a:pt x="74803" y="256108"/>
                      </a:lnTo>
                      <a:lnTo>
                        <a:pt x="74803" y="260197"/>
                      </a:lnTo>
                      <a:lnTo>
                        <a:pt x="74650" y="260121"/>
                      </a:lnTo>
                      <a:lnTo>
                        <a:pt x="74650" y="260946"/>
                      </a:lnTo>
                      <a:lnTo>
                        <a:pt x="74434" y="261175"/>
                      </a:lnTo>
                      <a:lnTo>
                        <a:pt x="74650" y="260946"/>
                      </a:lnTo>
                      <a:lnTo>
                        <a:pt x="74650" y="260121"/>
                      </a:lnTo>
                      <a:lnTo>
                        <a:pt x="73939" y="259600"/>
                      </a:lnTo>
                      <a:lnTo>
                        <a:pt x="74803" y="260197"/>
                      </a:lnTo>
                      <a:lnTo>
                        <a:pt x="74803" y="256108"/>
                      </a:lnTo>
                      <a:lnTo>
                        <a:pt x="74066" y="256590"/>
                      </a:lnTo>
                      <a:lnTo>
                        <a:pt x="75768" y="255447"/>
                      </a:lnTo>
                      <a:lnTo>
                        <a:pt x="75780" y="235978"/>
                      </a:lnTo>
                      <a:lnTo>
                        <a:pt x="74701" y="235572"/>
                      </a:lnTo>
                      <a:lnTo>
                        <a:pt x="74256" y="235407"/>
                      </a:lnTo>
                      <a:lnTo>
                        <a:pt x="73012" y="234518"/>
                      </a:lnTo>
                      <a:lnTo>
                        <a:pt x="73012" y="257352"/>
                      </a:lnTo>
                      <a:lnTo>
                        <a:pt x="72491" y="257683"/>
                      </a:lnTo>
                      <a:lnTo>
                        <a:pt x="72491" y="258572"/>
                      </a:lnTo>
                      <a:lnTo>
                        <a:pt x="71958" y="258127"/>
                      </a:lnTo>
                      <a:lnTo>
                        <a:pt x="71729" y="258165"/>
                      </a:lnTo>
                      <a:lnTo>
                        <a:pt x="71564" y="258279"/>
                      </a:lnTo>
                      <a:lnTo>
                        <a:pt x="71399" y="258318"/>
                      </a:lnTo>
                      <a:lnTo>
                        <a:pt x="70700" y="258660"/>
                      </a:lnTo>
                      <a:lnTo>
                        <a:pt x="68376" y="259600"/>
                      </a:lnTo>
                      <a:lnTo>
                        <a:pt x="63893" y="259473"/>
                      </a:lnTo>
                      <a:lnTo>
                        <a:pt x="63017" y="259486"/>
                      </a:lnTo>
                      <a:lnTo>
                        <a:pt x="62141" y="259537"/>
                      </a:lnTo>
                      <a:lnTo>
                        <a:pt x="57886" y="260210"/>
                      </a:lnTo>
                      <a:lnTo>
                        <a:pt x="54521" y="260591"/>
                      </a:lnTo>
                      <a:lnTo>
                        <a:pt x="50812" y="261048"/>
                      </a:lnTo>
                      <a:lnTo>
                        <a:pt x="51130" y="260997"/>
                      </a:lnTo>
                      <a:lnTo>
                        <a:pt x="54508" y="260578"/>
                      </a:lnTo>
                      <a:lnTo>
                        <a:pt x="57873" y="260197"/>
                      </a:lnTo>
                      <a:lnTo>
                        <a:pt x="62128" y="259524"/>
                      </a:lnTo>
                      <a:lnTo>
                        <a:pt x="63017" y="259473"/>
                      </a:lnTo>
                      <a:lnTo>
                        <a:pt x="63893" y="259473"/>
                      </a:lnTo>
                      <a:lnTo>
                        <a:pt x="64147" y="259473"/>
                      </a:lnTo>
                      <a:lnTo>
                        <a:pt x="68376" y="259588"/>
                      </a:lnTo>
                      <a:lnTo>
                        <a:pt x="68694" y="259461"/>
                      </a:lnTo>
                      <a:lnTo>
                        <a:pt x="70700" y="258660"/>
                      </a:lnTo>
                      <a:lnTo>
                        <a:pt x="71386" y="258305"/>
                      </a:lnTo>
                      <a:lnTo>
                        <a:pt x="71551" y="258267"/>
                      </a:lnTo>
                      <a:lnTo>
                        <a:pt x="71729" y="258152"/>
                      </a:lnTo>
                      <a:lnTo>
                        <a:pt x="71945" y="258114"/>
                      </a:lnTo>
                      <a:lnTo>
                        <a:pt x="72491" y="258572"/>
                      </a:lnTo>
                      <a:lnTo>
                        <a:pt x="72491" y="257683"/>
                      </a:lnTo>
                      <a:lnTo>
                        <a:pt x="72301" y="257797"/>
                      </a:lnTo>
                      <a:lnTo>
                        <a:pt x="72999" y="257352"/>
                      </a:lnTo>
                      <a:lnTo>
                        <a:pt x="73012" y="234518"/>
                      </a:lnTo>
                      <a:lnTo>
                        <a:pt x="70256" y="232511"/>
                      </a:lnTo>
                      <a:lnTo>
                        <a:pt x="69367" y="233400"/>
                      </a:lnTo>
                      <a:lnTo>
                        <a:pt x="68795" y="235572"/>
                      </a:lnTo>
                      <a:lnTo>
                        <a:pt x="66954" y="232270"/>
                      </a:lnTo>
                      <a:lnTo>
                        <a:pt x="63817" y="232918"/>
                      </a:lnTo>
                      <a:lnTo>
                        <a:pt x="58356" y="236448"/>
                      </a:lnTo>
                      <a:lnTo>
                        <a:pt x="56908" y="236131"/>
                      </a:lnTo>
                      <a:lnTo>
                        <a:pt x="54978" y="235648"/>
                      </a:lnTo>
                      <a:lnTo>
                        <a:pt x="53378" y="234848"/>
                      </a:lnTo>
                      <a:lnTo>
                        <a:pt x="53708" y="234048"/>
                      </a:lnTo>
                      <a:lnTo>
                        <a:pt x="53975" y="233248"/>
                      </a:lnTo>
                      <a:lnTo>
                        <a:pt x="54343" y="232117"/>
                      </a:lnTo>
                      <a:lnTo>
                        <a:pt x="50812" y="232117"/>
                      </a:lnTo>
                      <a:lnTo>
                        <a:pt x="43662" y="228574"/>
                      </a:lnTo>
                      <a:lnTo>
                        <a:pt x="41706" y="226491"/>
                      </a:lnTo>
                      <a:lnTo>
                        <a:pt x="41097" y="225844"/>
                      </a:lnTo>
                      <a:lnTo>
                        <a:pt x="36347" y="223596"/>
                      </a:lnTo>
                      <a:lnTo>
                        <a:pt x="27838" y="226491"/>
                      </a:lnTo>
                      <a:lnTo>
                        <a:pt x="15062" y="222313"/>
                      </a:lnTo>
                      <a:lnTo>
                        <a:pt x="12014" y="220218"/>
                      </a:lnTo>
                      <a:lnTo>
                        <a:pt x="11607" y="220065"/>
                      </a:lnTo>
                      <a:lnTo>
                        <a:pt x="9436" y="219265"/>
                      </a:lnTo>
                      <a:lnTo>
                        <a:pt x="6705" y="220065"/>
                      </a:lnTo>
                      <a:lnTo>
                        <a:pt x="1143" y="218313"/>
                      </a:lnTo>
                      <a:lnTo>
                        <a:pt x="292" y="221221"/>
                      </a:lnTo>
                      <a:lnTo>
                        <a:pt x="0" y="222389"/>
                      </a:lnTo>
                      <a:lnTo>
                        <a:pt x="508" y="222478"/>
                      </a:lnTo>
                      <a:lnTo>
                        <a:pt x="2908" y="224180"/>
                      </a:lnTo>
                      <a:lnTo>
                        <a:pt x="4940" y="225755"/>
                      </a:lnTo>
                      <a:lnTo>
                        <a:pt x="10833" y="227368"/>
                      </a:lnTo>
                      <a:lnTo>
                        <a:pt x="14198" y="227825"/>
                      </a:lnTo>
                      <a:lnTo>
                        <a:pt x="16891" y="233768"/>
                      </a:lnTo>
                      <a:lnTo>
                        <a:pt x="21056" y="233248"/>
                      </a:lnTo>
                      <a:lnTo>
                        <a:pt x="21678" y="236639"/>
                      </a:lnTo>
                      <a:lnTo>
                        <a:pt x="22059" y="238531"/>
                      </a:lnTo>
                      <a:lnTo>
                        <a:pt x="22745" y="243700"/>
                      </a:lnTo>
                      <a:lnTo>
                        <a:pt x="25222" y="243725"/>
                      </a:lnTo>
                      <a:lnTo>
                        <a:pt x="23837" y="245300"/>
                      </a:lnTo>
                      <a:lnTo>
                        <a:pt x="25882" y="246570"/>
                      </a:lnTo>
                      <a:lnTo>
                        <a:pt x="24523" y="250532"/>
                      </a:lnTo>
                      <a:lnTo>
                        <a:pt x="23812" y="251752"/>
                      </a:lnTo>
                      <a:lnTo>
                        <a:pt x="22669" y="253212"/>
                      </a:lnTo>
                      <a:lnTo>
                        <a:pt x="21691" y="253085"/>
                      </a:lnTo>
                      <a:lnTo>
                        <a:pt x="21463" y="254647"/>
                      </a:lnTo>
                      <a:lnTo>
                        <a:pt x="22390" y="254342"/>
                      </a:lnTo>
                      <a:lnTo>
                        <a:pt x="24460" y="255181"/>
                      </a:lnTo>
                      <a:lnTo>
                        <a:pt x="27089" y="254393"/>
                      </a:lnTo>
                      <a:lnTo>
                        <a:pt x="31394" y="254901"/>
                      </a:lnTo>
                      <a:lnTo>
                        <a:pt x="33705" y="255143"/>
                      </a:lnTo>
                      <a:lnTo>
                        <a:pt x="35941" y="255562"/>
                      </a:lnTo>
                      <a:lnTo>
                        <a:pt x="36131" y="254393"/>
                      </a:lnTo>
                      <a:lnTo>
                        <a:pt x="36322" y="253212"/>
                      </a:lnTo>
                      <a:lnTo>
                        <a:pt x="36525" y="251993"/>
                      </a:lnTo>
                      <a:lnTo>
                        <a:pt x="40182" y="252755"/>
                      </a:lnTo>
                      <a:lnTo>
                        <a:pt x="42075" y="255041"/>
                      </a:lnTo>
                      <a:lnTo>
                        <a:pt x="42252" y="255181"/>
                      </a:lnTo>
                      <a:lnTo>
                        <a:pt x="42875" y="255841"/>
                      </a:lnTo>
                      <a:lnTo>
                        <a:pt x="43815" y="256641"/>
                      </a:lnTo>
                      <a:lnTo>
                        <a:pt x="45427" y="257784"/>
                      </a:lnTo>
                      <a:lnTo>
                        <a:pt x="46456" y="258394"/>
                      </a:lnTo>
                      <a:lnTo>
                        <a:pt x="47510" y="259054"/>
                      </a:lnTo>
                      <a:lnTo>
                        <a:pt x="48285" y="259689"/>
                      </a:lnTo>
                      <a:lnTo>
                        <a:pt x="49606" y="261188"/>
                      </a:lnTo>
                      <a:lnTo>
                        <a:pt x="50228" y="261150"/>
                      </a:lnTo>
                      <a:lnTo>
                        <a:pt x="49580" y="261264"/>
                      </a:lnTo>
                      <a:lnTo>
                        <a:pt x="51396" y="263194"/>
                      </a:lnTo>
                      <a:lnTo>
                        <a:pt x="51701" y="263639"/>
                      </a:lnTo>
                      <a:lnTo>
                        <a:pt x="52209" y="264680"/>
                      </a:lnTo>
                      <a:lnTo>
                        <a:pt x="52527" y="265925"/>
                      </a:lnTo>
                      <a:lnTo>
                        <a:pt x="52755" y="267728"/>
                      </a:lnTo>
                      <a:lnTo>
                        <a:pt x="52819" y="268757"/>
                      </a:lnTo>
                      <a:lnTo>
                        <a:pt x="52933" y="269976"/>
                      </a:lnTo>
                      <a:lnTo>
                        <a:pt x="52717" y="270268"/>
                      </a:lnTo>
                      <a:lnTo>
                        <a:pt x="52425" y="270586"/>
                      </a:lnTo>
                      <a:lnTo>
                        <a:pt x="51943" y="270929"/>
                      </a:lnTo>
                      <a:lnTo>
                        <a:pt x="51562" y="271272"/>
                      </a:lnTo>
                      <a:lnTo>
                        <a:pt x="51244" y="271513"/>
                      </a:lnTo>
                      <a:lnTo>
                        <a:pt x="50977" y="271754"/>
                      </a:lnTo>
                      <a:lnTo>
                        <a:pt x="50914" y="272313"/>
                      </a:lnTo>
                      <a:lnTo>
                        <a:pt x="52603" y="275336"/>
                      </a:lnTo>
                      <a:lnTo>
                        <a:pt x="52755" y="275805"/>
                      </a:lnTo>
                      <a:lnTo>
                        <a:pt x="53149" y="276872"/>
                      </a:lnTo>
                      <a:lnTo>
                        <a:pt x="51523" y="277647"/>
                      </a:lnTo>
                      <a:lnTo>
                        <a:pt x="54076" y="278815"/>
                      </a:lnTo>
                      <a:lnTo>
                        <a:pt x="55029" y="279336"/>
                      </a:lnTo>
                      <a:lnTo>
                        <a:pt x="56629" y="279463"/>
                      </a:lnTo>
                      <a:lnTo>
                        <a:pt x="57188" y="279476"/>
                      </a:lnTo>
                      <a:lnTo>
                        <a:pt x="57962" y="279577"/>
                      </a:lnTo>
                      <a:lnTo>
                        <a:pt x="59664" y="279717"/>
                      </a:lnTo>
                      <a:lnTo>
                        <a:pt x="62712" y="279895"/>
                      </a:lnTo>
                      <a:lnTo>
                        <a:pt x="65252" y="282219"/>
                      </a:lnTo>
                      <a:lnTo>
                        <a:pt x="66382" y="283222"/>
                      </a:lnTo>
                      <a:lnTo>
                        <a:pt x="67246" y="284010"/>
                      </a:lnTo>
                      <a:lnTo>
                        <a:pt x="68262" y="284899"/>
                      </a:lnTo>
                      <a:lnTo>
                        <a:pt x="68402" y="285127"/>
                      </a:lnTo>
                      <a:lnTo>
                        <a:pt x="68503" y="285292"/>
                      </a:lnTo>
                      <a:lnTo>
                        <a:pt x="68643" y="285737"/>
                      </a:lnTo>
                      <a:lnTo>
                        <a:pt x="68859" y="286245"/>
                      </a:lnTo>
                      <a:lnTo>
                        <a:pt x="68872" y="286639"/>
                      </a:lnTo>
                      <a:lnTo>
                        <a:pt x="69164" y="286994"/>
                      </a:lnTo>
                      <a:lnTo>
                        <a:pt x="69418" y="287426"/>
                      </a:lnTo>
                      <a:lnTo>
                        <a:pt x="70269" y="289115"/>
                      </a:lnTo>
                      <a:lnTo>
                        <a:pt x="74726" y="293573"/>
                      </a:lnTo>
                      <a:lnTo>
                        <a:pt x="76835" y="295503"/>
                      </a:lnTo>
                      <a:lnTo>
                        <a:pt x="78041" y="297065"/>
                      </a:lnTo>
                      <a:lnTo>
                        <a:pt x="81775" y="298577"/>
                      </a:lnTo>
                      <a:lnTo>
                        <a:pt x="84848" y="298932"/>
                      </a:lnTo>
                      <a:lnTo>
                        <a:pt x="86474" y="299173"/>
                      </a:lnTo>
                      <a:lnTo>
                        <a:pt x="88887" y="299593"/>
                      </a:lnTo>
                      <a:lnTo>
                        <a:pt x="88938" y="299402"/>
                      </a:lnTo>
                      <a:lnTo>
                        <a:pt x="89115" y="299364"/>
                      </a:lnTo>
                      <a:lnTo>
                        <a:pt x="90271" y="299148"/>
                      </a:lnTo>
                      <a:lnTo>
                        <a:pt x="90474" y="299110"/>
                      </a:lnTo>
                      <a:lnTo>
                        <a:pt x="91935" y="298297"/>
                      </a:lnTo>
                      <a:lnTo>
                        <a:pt x="93599" y="298881"/>
                      </a:lnTo>
                      <a:lnTo>
                        <a:pt x="93662" y="298310"/>
                      </a:lnTo>
                      <a:lnTo>
                        <a:pt x="93726" y="298602"/>
                      </a:lnTo>
                      <a:lnTo>
                        <a:pt x="93827" y="298323"/>
                      </a:lnTo>
                      <a:lnTo>
                        <a:pt x="93764" y="298805"/>
                      </a:lnTo>
                      <a:lnTo>
                        <a:pt x="94272" y="298323"/>
                      </a:lnTo>
                      <a:lnTo>
                        <a:pt x="94742" y="297891"/>
                      </a:lnTo>
                      <a:lnTo>
                        <a:pt x="95478" y="297319"/>
                      </a:lnTo>
                      <a:lnTo>
                        <a:pt x="96405" y="296532"/>
                      </a:lnTo>
                      <a:lnTo>
                        <a:pt x="97383" y="295414"/>
                      </a:lnTo>
                      <a:lnTo>
                        <a:pt x="98869" y="294030"/>
                      </a:lnTo>
                      <a:lnTo>
                        <a:pt x="104394" y="290423"/>
                      </a:lnTo>
                      <a:lnTo>
                        <a:pt x="106667" y="288759"/>
                      </a:lnTo>
                      <a:lnTo>
                        <a:pt x="109855" y="286893"/>
                      </a:lnTo>
                      <a:lnTo>
                        <a:pt x="110515" y="286473"/>
                      </a:lnTo>
                      <a:lnTo>
                        <a:pt x="113157" y="284505"/>
                      </a:lnTo>
                      <a:lnTo>
                        <a:pt x="114223" y="284924"/>
                      </a:lnTo>
                      <a:lnTo>
                        <a:pt x="115062" y="285051"/>
                      </a:lnTo>
                      <a:lnTo>
                        <a:pt x="118135" y="289382"/>
                      </a:lnTo>
                      <a:lnTo>
                        <a:pt x="118643" y="289864"/>
                      </a:lnTo>
                      <a:lnTo>
                        <a:pt x="118732" y="290868"/>
                      </a:lnTo>
                      <a:lnTo>
                        <a:pt x="118503" y="291274"/>
                      </a:lnTo>
                      <a:lnTo>
                        <a:pt x="117525" y="292468"/>
                      </a:lnTo>
                      <a:lnTo>
                        <a:pt x="117322" y="292785"/>
                      </a:lnTo>
                      <a:lnTo>
                        <a:pt x="116725" y="294157"/>
                      </a:lnTo>
                      <a:lnTo>
                        <a:pt x="117716" y="294500"/>
                      </a:lnTo>
                      <a:lnTo>
                        <a:pt x="119151" y="295884"/>
                      </a:lnTo>
                      <a:lnTo>
                        <a:pt x="116116" y="297942"/>
                      </a:lnTo>
                      <a:lnTo>
                        <a:pt x="114795" y="298805"/>
                      </a:lnTo>
                      <a:lnTo>
                        <a:pt x="117906" y="301434"/>
                      </a:lnTo>
                      <a:lnTo>
                        <a:pt x="118046" y="301929"/>
                      </a:lnTo>
                      <a:lnTo>
                        <a:pt x="118529" y="302374"/>
                      </a:lnTo>
                      <a:lnTo>
                        <a:pt x="119227" y="302945"/>
                      </a:lnTo>
                      <a:lnTo>
                        <a:pt x="120230" y="303593"/>
                      </a:lnTo>
                      <a:lnTo>
                        <a:pt x="121132" y="304050"/>
                      </a:lnTo>
                      <a:lnTo>
                        <a:pt x="122085" y="304876"/>
                      </a:lnTo>
                      <a:lnTo>
                        <a:pt x="122389" y="306260"/>
                      </a:lnTo>
                      <a:lnTo>
                        <a:pt x="123545" y="306844"/>
                      </a:lnTo>
                      <a:lnTo>
                        <a:pt x="126187" y="306311"/>
                      </a:lnTo>
                      <a:lnTo>
                        <a:pt x="127571" y="306057"/>
                      </a:lnTo>
                      <a:lnTo>
                        <a:pt x="127444" y="304927"/>
                      </a:lnTo>
                      <a:lnTo>
                        <a:pt x="127177" y="304927"/>
                      </a:lnTo>
                      <a:lnTo>
                        <a:pt x="127266" y="301434"/>
                      </a:lnTo>
                      <a:lnTo>
                        <a:pt x="127762" y="297942"/>
                      </a:lnTo>
                      <a:lnTo>
                        <a:pt x="127660" y="295414"/>
                      </a:lnTo>
                      <a:lnTo>
                        <a:pt x="127482" y="293192"/>
                      </a:lnTo>
                      <a:lnTo>
                        <a:pt x="129946" y="294132"/>
                      </a:lnTo>
                      <a:lnTo>
                        <a:pt x="130949" y="296875"/>
                      </a:lnTo>
                      <a:lnTo>
                        <a:pt x="130987" y="297180"/>
                      </a:lnTo>
                      <a:lnTo>
                        <a:pt x="131356" y="295884"/>
                      </a:lnTo>
                      <a:lnTo>
                        <a:pt x="131470" y="294982"/>
                      </a:lnTo>
                      <a:lnTo>
                        <a:pt x="131597" y="293192"/>
                      </a:lnTo>
                      <a:lnTo>
                        <a:pt x="131686" y="291846"/>
                      </a:lnTo>
                      <a:lnTo>
                        <a:pt x="134035" y="290753"/>
                      </a:lnTo>
                      <a:lnTo>
                        <a:pt x="134150" y="292633"/>
                      </a:lnTo>
                      <a:lnTo>
                        <a:pt x="134823" y="290753"/>
                      </a:lnTo>
                      <a:lnTo>
                        <a:pt x="134912" y="290525"/>
                      </a:lnTo>
                      <a:lnTo>
                        <a:pt x="134467" y="290525"/>
                      </a:lnTo>
                      <a:lnTo>
                        <a:pt x="133959" y="288912"/>
                      </a:lnTo>
                      <a:lnTo>
                        <a:pt x="132803" y="288264"/>
                      </a:lnTo>
                      <a:lnTo>
                        <a:pt x="133311" y="286893"/>
                      </a:lnTo>
                      <a:lnTo>
                        <a:pt x="134150" y="284505"/>
                      </a:lnTo>
                      <a:lnTo>
                        <a:pt x="135661" y="280377"/>
                      </a:lnTo>
                      <a:lnTo>
                        <a:pt x="136194" y="277634"/>
                      </a:lnTo>
                      <a:lnTo>
                        <a:pt x="140055" y="274205"/>
                      </a:lnTo>
                      <a:lnTo>
                        <a:pt x="141935" y="274205"/>
                      </a:lnTo>
                      <a:lnTo>
                        <a:pt x="146189" y="274332"/>
                      </a:lnTo>
                      <a:lnTo>
                        <a:pt x="147154" y="274447"/>
                      </a:lnTo>
                      <a:lnTo>
                        <a:pt x="148767" y="276072"/>
                      </a:lnTo>
                      <a:close/>
                    </a:path>
                    <a:path w="690245" h="499110">
                      <a:moveTo>
                        <a:pt x="201701" y="193040"/>
                      </a:moveTo>
                      <a:lnTo>
                        <a:pt x="201053" y="190500"/>
                      </a:lnTo>
                      <a:lnTo>
                        <a:pt x="200736" y="189230"/>
                      </a:lnTo>
                      <a:lnTo>
                        <a:pt x="196265" y="190500"/>
                      </a:lnTo>
                      <a:lnTo>
                        <a:pt x="189255" y="190500"/>
                      </a:lnTo>
                      <a:lnTo>
                        <a:pt x="184670" y="189230"/>
                      </a:lnTo>
                      <a:lnTo>
                        <a:pt x="182156" y="189230"/>
                      </a:lnTo>
                      <a:lnTo>
                        <a:pt x="176263" y="187960"/>
                      </a:lnTo>
                      <a:lnTo>
                        <a:pt x="172402" y="189230"/>
                      </a:lnTo>
                      <a:lnTo>
                        <a:pt x="168935" y="186690"/>
                      </a:lnTo>
                      <a:lnTo>
                        <a:pt x="168122" y="185420"/>
                      </a:lnTo>
                      <a:lnTo>
                        <a:pt x="167779" y="186690"/>
                      </a:lnTo>
                      <a:lnTo>
                        <a:pt x="166192" y="187960"/>
                      </a:lnTo>
                      <a:lnTo>
                        <a:pt x="163423" y="187960"/>
                      </a:lnTo>
                      <a:lnTo>
                        <a:pt x="161912" y="189230"/>
                      </a:lnTo>
                      <a:lnTo>
                        <a:pt x="161264" y="190500"/>
                      </a:lnTo>
                      <a:lnTo>
                        <a:pt x="161023" y="193040"/>
                      </a:lnTo>
                      <a:lnTo>
                        <a:pt x="160337" y="193040"/>
                      </a:lnTo>
                      <a:lnTo>
                        <a:pt x="158559" y="194310"/>
                      </a:lnTo>
                      <a:lnTo>
                        <a:pt x="156248" y="194310"/>
                      </a:lnTo>
                      <a:lnTo>
                        <a:pt x="158292" y="196850"/>
                      </a:lnTo>
                      <a:lnTo>
                        <a:pt x="159829" y="198120"/>
                      </a:lnTo>
                      <a:lnTo>
                        <a:pt x="161226" y="199390"/>
                      </a:lnTo>
                      <a:lnTo>
                        <a:pt x="161340" y="200660"/>
                      </a:lnTo>
                      <a:lnTo>
                        <a:pt x="162267" y="201930"/>
                      </a:lnTo>
                      <a:lnTo>
                        <a:pt x="162801" y="200660"/>
                      </a:lnTo>
                      <a:lnTo>
                        <a:pt x="163499" y="201930"/>
                      </a:lnTo>
                      <a:lnTo>
                        <a:pt x="164807" y="201930"/>
                      </a:lnTo>
                      <a:lnTo>
                        <a:pt x="189522" y="201930"/>
                      </a:lnTo>
                      <a:lnTo>
                        <a:pt x="190068" y="200660"/>
                      </a:lnTo>
                      <a:lnTo>
                        <a:pt x="190601" y="199390"/>
                      </a:lnTo>
                      <a:lnTo>
                        <a:pt x="191833" y="196850"/>
                      </a:lnTo>
                      <a:lnTo>
                        <a:pt x="195503" y="194310"/>
                      </a:lnTo>
                      <a:lnTo>
                        <a:pt x="196888" y="194310"/>
                      </a:lnTo>
                      <a:lnTo>
                        <a:pt x="201701" y="193040"/>
                      </a:lnTo>
                      <a:close/>
                    </a:path>
                    <a:path w="690245" h="499110">
                      <a:moveTo>
                        <a:pt x="207632" y="87630"/>
                      </a:moveTo>
                      <a:lnTo>
                        <a:pt x="205409" y="85090"/>
                      </a:lnTo>
                      <a:lnTo>
                        <a:pt x="204571" y="85090"/>
                      </a:lnTo>
                      <a:lnTo>
                        <a:pt x="199580" y="80010"/>
                      </a:lnTo>
                      <a:lnTo>
                        <a:pt x="196151" y="77470"/>
                      </a:lnTo>
                      <a:lnTo>
                        <a:pt x="191185" y="74930"/>
                      </a:lnTo>
                      <a:lnTo>
                        <a:pt x="182232" y="74930"/>
                      </a:lnTo>
                      <a:lnTo>
                        <a:pt x="181635" y="76200"/>
                      </a:lnTo>
                      <a:lnTo>
                        <a:pt x="180035" y="76200"/>
                      </a:lnTo>
                      <a:lnTo>
                        <a:pt x="179539" y="74930"/>
                      </a:lnTo>
                      <a:lnTo>
                        <a:pt x="179070" y="74930"/>
                      </a:lnTo>
                      <a:lnTo>
                        <a:pt x="178485" y="73660"/>
                      </a:lnTo>
                      <a:lnTo>
                        <a:pt x="177698" y="72390"/>
                      </a:lnTo>
                      <a:lnTo>
                        <a:pt x="177190" y="71120"/>
                      </a:lnTo>
                      <a:lnTo>
                        <a:pt x="176796" y="69850"/>
                      </a:lnTo>
                      <a:lnTo>
                        <a:pt x="174104" y="71120"/>
                      </a:lnTo>
                      <a:lnTo>
                        <a:pt x="173329" y="72390"/>
                      </a:lnTo>
                      <a:lnTo>
                        <a:pt x="169087" y="72390"/>
                      </a:lnTo>
                      <a:lnTo>
                        <a:pt x="169011" y="73660"/>
                      </a:lnTo>
                      <a:lnTo>
                        <a:pt x="168351" y="74930"/>
                      </a:lnTo>
                      <a:lnTo>
                        <a:pt x="169354" y="74930"/>
                      </a:lnTo>
                      <a:lnTo>
                        <a:pt x="167932" y="76200"/>
                      </a:lnTo>
                      <a:lnTo>
                        <a:pt x="165569" y="76200"/>
                      </a:lnTo>
                      <a:lnTo>
                        <a:pt x="164312" y="74930"/>
                      </a:lnTo>
                      <a:lnTo>
                        <a:pt x="162890" y="74930"/>
                      </a:lnTo>
                      <a:lnTo>
                        <a:pt x="162648" y="73660"/>
                      </a:lnTo>
                      <a:lnTo>
                        <a:pt x="163068" y="73660"/>
                      </a:lnTo>
                      <a:lnTo>
                        <a:pt x="162979" y="72390"/>
                      </a:lnTo>
                      <a:lnTo>
                        <a:pt x="160858" y="72390"/>
                      </a:lnTo>
                      <a:lnTo>
                        <a:pt x="160096" y="71120"/>
                      </a:lnTo>
                      <a:lnTo>
                        <a:pt x="156603" y="71120"/>
                      </a:lnTo>
                      <a:lnTo>
                        <a:pt x="154559" y="69850"/>
                      </a:lnTo>
                      <a:lnTo>
                        <a:pt x="154876" y="71120"/>
                      </a:lnTo>
                      <a:lnTo>
                        <a:pt x="155028" y="72390"/>
                      </a:lnTo>
                      <a:lnTo>
                        <a:pt x="154736" y="72390"/>
                      </a:lnTo>
                      <a:lnTo>
                        <a:pt x="154660" y="73660"/>
                      </a:lnTo>
                      <a:lnTo>
                        <a:pt x="150787" y="73660"/>
                      </a:lnTo>
                      <a:lnTo>
                        <a:pt x="149390" y="76200"/>
                      </a:lnTo>
                      <a:lnTo>
                        <a:pt x="148437" y="77470"/>
                      </a:lnTo>
                      <a:lnTo>
                        <a:pt x="148590" y="78740"/>
                      </a:lnTo>
                      <a:lnTo>
                        <a:pt x="147688" y="80010"/>
                      </a:lnTo>
                      <a:lnTo>
                        <a:pt x="145567" y="80010"/>
                      </a:lnTo>
                      <a:lnTo>
                        <a:pt x="137706" y="83820"/>
                      </a:lnTo>
                      <a:lnTo>
                        <a:pt x="134188" y="85090"/>
                      </a:lnTo>
                      <a:lnTo>
                        <a:pt x="134632" y="85090"/>
                      </a:lnTo>
                      <a:lnTo>
                        <a:pt x="135483" y="86360"/>
                      </a:lnTo>
                      <a:lnTo>
                        <a:pt x="134810" y="87630"/>
                      </a:lnTo>
                      <a:lnTo>
                        <a:pt x="134315" y="87630"/>
                      </a:lnTo>
                      <a:lnTo>
                        <a:pt x="131597" y="88900"/>
                      </a:lnTo>
                      <a:lnTo>
                        <a:pt x="129692" y="88900"/>
                      </a:lnTo>
                      <a:lnTo>
                        <a:pt x="127177" y="91440"/>
                      </a:lnTo>
                      <a:lnTo>
                        <a:pt x="207492" y="91440"/>
                      </a:lnTo>
                      <a:lnTo>
                        <a:pt x="207302" y="90170"/>
                      </a:lnTo>
                      <a:lnTo>
                        <a:pt x="207352" y="87630"/>
                      </a:lnTo>
                      <a:lnTo>
                        <a:pt x="207632" y="87630"/>
                      </a:lnTo>
                      <a:close/>
                    </a:path>
                    <a:path w="690245" h="499110">
                      <a:moveTo>
                        <a:pt x="300456" y="34290"/>
                      </a:moveTo>
                      <a:lnTo>
                        <a:pt x="300164" y="33020"/>
                      </a:lnTo>
                      <a:lnTo>
                        <a:pt x="299212" y="33020"/>
                      </a:lnTo>
                      <a:lnTo>
                        <a:pt x="299212" y="34290"/>
                      </a:lnTo>
                      <a:lnTo>
                        <a:pt x="300456" y="34290"/>
                      </a:lnTo>
                      <a:close/>
                    </a:path>
                    <a:path w="690245" h="499110">
                      <a:moveTo>
                        <a:pt x="483222" y="25400"/>
                      </a:moveTo>
                      <a:lnTo>
                        <a:pt x="483057" y="25400"/>
                      </a:lnTo>
                      <a:lnTo>
                        <a:pt x="483222" y="25400"/>
                      </a:lnTo>
                      <a:close/>
                    </a:path>
                    <a:path w="690245" h="499110">
                      <a:moveTo>
                        <a:pt x="503542" y="323291"/>
                      </a:moveTo>
                      <a:lnTo>
                        <a:pt x="499313" y="308813"/>
                      </a:lnTo>
                      <a:lnTo>
                        <a:pt x="498957" y="306654"/>
                      </a:lnTo>
                      <a:lnTo>
                        <a:pt x="498322" y="306654"/>
                      </a:lnTo>
                      <a:lnTo>
                        <a:pt x="497166" y="305892"/>
                      </a:lnTo>
                      <a:lnTo>
                        <a:pt x="495452" y="304749"/>
                      </a:lnTo>
                      <a:lnTo>
                        <a:pt x="494423" y="303987"/>
                      </a:lnTo>
                      <a:lnTo>
                        <a:pt x="493356" y="303352"/>
                      </a:lnTo>
                      <a:lnTo>
                        <a:pt x="492506" y="302844"/>
                      </a:lnTo>
                      <a:lnTo>
                        <a:pt x="491718" y="302590"/>
                      </a:lnTo>
                      <a:lnTo>
                        <a:pt x="490842" y="302336"/>
                      </a:lnTo>
                      <a:lnTo>
                        <a:pt x="489610" y="302336"/>
                      </a:lnTo>
                      <a:lnTo>
                        <a:pt x="488556" y="302463"/>
                      </a:lnTo>
                      <a:lnTo>
                        <a:pt x="486460" y="302971"/>
                      </a:lnTo>
                      <a:lnTo>
                        <a:pt x="485825" y="303225"/>
                      </a:lnTo>
                      <a:lnTo>
                        <a:pt x="485216" y="303352"/>
                      </a:lnTo>
                      <a:lnTo>
                        <a:pt x="484670" y="303225"/>
                      </a:lnTo>
                      <a:lnTo>
                        <a:pt x="484251" y="303225"/>
                      </a:lnTo>
                      <a:lnTo>
                        <a:pt x="483958" y="302971"/>
                      </a:lnTo>
                      <a:lnTo>
                        <a:pt x="483806" y="302717"/>
                      </a:lnTo>
                      <a:lnTo>
                        <a:pt x="483463" y="302336"/>
                      </a:lnTo>
                      <a:lnTo>
                        <a:pt x="483222" y="301320"/>
                      </a:lnTo>
                      <a:lnTo>
                        <a:pt x="483108" y="300697"/>
                      </a:lnTo>
                      <a:lnTo>
                        <a:pt x="483108" y="326339"/>
                      </a:lnTo>
                      <a:lnTo>
                        <a:pt x="482282" y="327596"/>
                      </a:lnTo>
                      <a:lnTo>
                        <a:pt x="481596" y="326326"/>
                      </a:lnTo>
                      <a:lnTo>
                        <a:pt x="481761" y="326326"/>
                      </a:lnTo>
                      <a:lnTo>
                        <a:pt x="483108" y="326339"/>
                      </a:lnTo>
                      <a:lnTo>
                        <a:pt x="483108" y="300697"/>
                      </a:lnTo>
                      <a:lnTo>
                        <a:pt x="483082" y="300558"/>
                      </a:lnTo>
                      <a:lnTo>
                        <a:pt x="482866" y="300177"/>
                      </a:lnTo>
                      <a:lnTo>
                        <a:pt x="482866" y="324942"/>
                      </a:lnTo>
                      <a:lnTo>
                        <a:pt x="482282" y="324942"/>
                      </a:lnTo>
                      <a:lnTo>
                        <a:pt x="482066" y="325056"/>
                      </a:lnTo>
                      <a:lnTo>
                        <a:pt x="481672" y="325056"/>
                      </a:lnTo>
                      <a:lnTo>
                        <a:pt x="479463" y="323786"/>
                      </a:lnTo>
                      <a:lnTo>
                        <a:pt x="477875" y="322516"/>
                      </a:lnTo>
                      <a:lnTo>
                        <a:pt x="475703" y="323786"/>
                      </a:lnTo>
                      <a:lnTo>
                        <a:pt x="475221" y="323786"/>
                      </a:lnTo>
                      <a:lnTo>
                        <a:pt x="472186" y="325056"/>
                      </a:lnTo>
                      <a:lnTo>
                        <a:pt x="470293" y="327596"/>
                      </a:lnTo>
                      <a:lnTo>
                        <a:pt x="466813" y="331406"/>
                      </a:lnTo>
                      <a:lnTo>
                        <a:pt x="463867" y="331406"/>
                      </a:lnTo>
                      <a:lnTo>
                        <a:pt x="461340" y="332676"/>
                      </a:lnTo>
                      <a:lnTo>
                        <a:pt x="461035" y="332676"/>
                      </a:lnTo>
                      <a:lnTo>
                        <a:pt x="453453" y="335216"/>
                      </a:lnTo>
                      <a:lnTo>
                        <a:pt x="452018" y="335216"/>
                      </a:lnTo>
                      <a:lnTo>
                        <a:pt x="451370" y="332676"/>
                      </a:lnTo>
                      <a:lnTo>
                        <a:pt x="450519" y="331406"/>
                      </a:lnTo>
                      <a:lnTo>
                        <a:pt x="449668" y="330136"/>
                      </a:lnTo>
                      <a:lnTo>
                        <a:pt x="449707" y="329946"/>
                      </a:lnTo>
                      <a:lnTo>
                        <a:pt x="450773" y="331673"/>
                      </a:lnTo>
                      <a:lnTo>
                        <a:pt x="450799" y="331800"/>
                      </a:lnTo>
                      <a:lnTo>
                        <a:pt x="451370" y="332676"/>
                      </a:lnTo>
                      <a:lnTo>
                        <a:pt x="452018" y="334467"/>
                      </a:lnTo>
                      <a:lnTo>
                        <a:pt x="453199" y="335102"/>
                      </a:lnTo>
                      <a:lnTo>
                        <a:pt x="453466" y="335102"/>
                      </a:lnTo>
                      <a:lnTo>
                        <a:pt x="461035" y="332181"/>
                      </a:lnTo>
                      <a:lnTo>
                        <a:pt x="463880" y="331165"/>
                      </a:lnTo>
                      <a:lnTo>
                        <a:pt x="466826" y="330530"/>
                      </a:lnTo>
                      <a:lnTo>
                        <a:pt x="472198" y="324942"/>
                      </a:lnTo>
                      <a:lnTo>
                        <a:pt x="475234" y="323164"/>
                      </a:lnTo>
                      <a:lnTo>
                        <a:pt x="475703" y="323037"/>
                      </a:lnTo>
                      <a:lnTo>
                        <a:pt x="477875" y="322275"/>
                      </a:lnTo>
                      <a:lnTo>
                        <a:pt x="479475" y="322656"/>
                      </a:lnTo>
                      <a:lnTo>
                        <a:pt x="481672" y="323926"/>
                      </a:lnTo>
                      <a:lnTo>
                        <a:pt x="482866" y="324942"/>
                      </a:lnTo>
                      <a:lnTo>
                        <a:pt x="482866" y="300177"/>
                      </a:lnTo>
                      <a:lnTo>
                        <a:pt x="482295" y="299161"/>
                      </a:lnTo>
                      <a:lnTo>
                        <a:pt x="483082" y="297891"/>
                      </a:lnTo>
                      <a:lnTo>
                        <a:pt x="483552" y="297891"/>
                      </a:lnTo>
                      <a:lnTo>
                        <a:pt x="483946" y="298018"/>
                      </a:lnTo>
                      <a:lnTo>
                        <a:pt x="484251" y="297891"/>
                      </a:lnTo>
                      <a:lnTo>
                        <a:pt x="484212" y="297510"/>
                      </a:lnTo>
                      <a:lnTo>
                        <a:pt x="484124" y="297129"/>
                      </a:lnTo>
                      <a:lnTo>
                        <a:pt x="483628" y="296494"/>
                      </a:lnTo>
                      <a:lnTo>
                        <a:pt x="483044" y="295859"/>
                      </a:lnTo>
                      <a:lnTo>
                        <a:pt x="482549" y="295097"/>
                      </a:lnTo>
                      <a:lnTo>
                        <a:pt x="481990" y="294462"/>
                      </a:lnTo>
                      <a:lnTo>
                        <a:pt x="481457" y="293954"/>
                      </a:lnTo>
                      <a:lnTo>
                        <a:pt x="481406" y="293700"/>
                      </a:lnTo>
                      <a:lnTo>
                        <a:pt x="481520" y="292176"/>
                      </a:lnTo>
                      <a:lnTo>
                        <a:pt x="481749" y="290779"/>
                      </a:lnTo>
                      <a:lnTo>
                        <a:pt x="482053" y="289001"/>
                      </a:lnTo>
                      <a:lnTo>
                        <a:pt x="481685" y="289128"/>
                      </a:lnTo>
                      <a:lnTo>
                        <a:pt x="481330" y="289382"/>
                      </a:lnTo>
                      <a:lnTo>
                        <a:pt x="480936" y="289509"/>
                      </a:lnTo>
                      <a:lnTo>
                        <a:pt x="478878" y="289763"/>
                      </a:lnTo>
                      <a:lnTo>
                        <a:pt x="477824" y="290017"/>
                      </a:lnTo>
                      <a:lnTo>
                        <a:pt x="475208" y="290271"/>
                      </a:lnTo>
                      <a:lnTo>
                        <a:pt x="471347" y="290779"/>
                      </a:lnTo>
                      <a:lnTo>
                        <a:pt x="469150" y="290652"/>
                      </a:lnTo>
                      <a:lnTo>
                        <a:pt x="463943" y="290652"/>
                      </a:lnTo>
                      <a:lnTo>
                        <a:pt x="463283" y="291922"/>
                      </a:lnTo>
                      <a:lnTo>
                        <a:pt x="461708" y="293700"/>
                      </a:lnTo>
                      <a:lnTo>
                        <a:pt x="460514" y="292684"/>
                      </a:lnTo>
                      <a:lnTo>
                        <a:pt x="458203" y="292430"/>
                      </a:lnTo>
                      <a:lnTo>
                        <a:pt x="457428" y="292303"/>
                      </a:lnTo>
                      <a:lnTo>
                        <a:pt x="456653" y="292176"/>
                      </a:lnTo>
                      <a:lnTo>
                        <a:pt x="455002" y="292303"/>
                      </a:lnTo>
                      <a:lnTo>
                        <a:pt x="454621" y="292049"/>
                      </a:lnTo>
                      <a:lnTo>
                        <a:pt x="454583" y="290271"/>
                      </a:lnTo>
                      <a:lnTo>
                        <a:pt x="454406" y="289255"/>
                      </a:lnTo>
                      <a:lnTo>
                        <a:pt x="452539" y="289255"/>
                      </a:lnTo>
                      <a:lnTo>
                        <a:pt x="451878" y="289128"/>
                      </a:lnTo>
                      <a:lnTo>
                        <a:pt x="451815" y="315036"/>
                      </a:lnTo>
                      <a:lnTo>
                        <a:pt x="451764" y="315950"/>
                      </a:lnTo>
                      <a:lnTo>
                        <a:pt x="451573" y="314896"/>
                      </a:lnTo>
                      <a:lnTo>
                        <a:pt x="447598" y="314896"/>
                      </a:lnTo>
                      <a:lnTo>
                        <a:pt x="447903" y="313829"/>
                      </a:lnTo>
                      <a:lnTo>
                        <a:pt x="448373" y="313893"/>
                      </a:lnTo>
                      <a:lnTo>
                        <a:pt x="450265" y="313893"/>
                      </a:lnTo>
                      <a:lnTo>
                        <a:pt x="451586" y="314655"/>
                      </a:lnTo>
                      <a:lnTo>
                        <a:pt x="451815" y="315036"/>
                      </a:lnTo>
                      <a:lnTo>
                        <a:pt x="451815" y="289128"/>
                      </a:lnTo>
                      <a:lnTo>
                        <a:pt x="451294" y="288493"/>
                      </a:lnTo>
                      <a:lnTo>
                        <a:pt x="451218" y="287350"/>
                      </a:lnTo>
                      <a:lnTo>
                        <a:pt x="451142" y="286842"/>
                      </a:lnTo>
                      <a:lnTo>
                        <a:pt x="449719" y="287477"/>
                      </a:lnTo>
                      <a:lnTo>
                        <a:pt x="448462" y="288340"/>
                      </a:lnTo>
                      <a:lnTo>
                        <a:pt x="448462" y="311353"/>
                      </a:lnTo>
                      <a:lnTo>
                        <a:pt x="448373" y="311721"/>
                      </a:lnTo>
                      <a:lnTo>
                        <a:pt x="448322" y="311086"/>
                      </a:lnTo>
                      <a:lnTo>
                        <a:pt x="448246" y="312356"/>
                      </a:lnTo>
                      <a:lnTo>
                        <a:pt x="448246" y="311086"/>
                      </a:lnTo>
                      <a:lnTo>
                        <a:pt x="447624" y="311086"/>
                      </a:lnTo>
                      <a:lnTo>
                        <a:pt x="445871" y="308546"/>
                      </a:lnTo>
                      <a:lnTo>
                        <a:pt x="445477" y="308546"/>
                      </a:lnTo>
                      <a:lnTo>
                        <a:pt x="444690" y="307276"/>
                      </a:lnTo>
                      <a:lnTo>
                        <a:pt x="444220" y="307276"/>
                      </a:lnTo>
                      <a:lnTo>
                        <a:pt x="443611" y="306006"/>
                      </a:lnTo>
                      <a:lnTo>
                        <a:pt x="441934" y="307276"/>
                      </a:lnTo>
                      <a:lnTo>
                        <a:pt x="440080" y="307276"/>
                      </a:lnTo>
                      <a:lnTo>
                        <a:pt x="438137" y="308546"/>
                      </a:lnTo>
                      <a:lnTo>
                        <a:pt x="436600" y="311086"/>
                      </a:lnTo>
                      <a:lnTo>
                        <a:pt x="434835" y="313626"/>
                      </a:lnTo>
                      <a:lnTo>
                        <a:pt x="433387" y="314579"/>
                      </a:lnTo>
                      <a:lnTo>
                        <a:pt x="433387" y="318706"/>
                      </a:lnTo>
                      <a:lnTo>
                        <a:pt x="433298" y="319976"/>
                      </a:lnTo>
                      <a:lnTo>
                        <a:pt x="433171" y="319976"/>
                      </a:lnTo>
                      <a:lnTo>
                        <a:pt x="432612" y="321246"/>
                      </a:lnTo>
                      <a:lnTo>
                        <a:pt x="430618" y="321246"/>
                      </a:lnTo>
                      <a:lnTo>
                        <a:pt x="431076" y="321132"/>
                      </a:lnTo>
                      <a:lnTo>
                        <a:pt x="431685" y="321005"/>
                      </a:lnTo>
                      <a:lnTo>
                        <a:pt x="432295" y="320751"/>
                      </a:lnTo>
                      <a:lnTo>
                        <a:pt x="432625" y="320497"/>
                      </a:lnTo>
                      <a:lnTo>
                        <a:pt x="433019" y="319862"/>
                      </a:lnTo>
                      <a:lnTo>
                        <a:pt x="433171" y="319608"/>
                      </a:lnTo>
                      <a:lnTo>
                        <a:pt x="433311" y="319227"/>
                      </a:lnTo>
                      <a:lnTo>
                        <a:pt x="433311" y="318706"/>
                      </a:lnTo>
                      <a:lnTo>
                        <a:pt x="433387" y="314579"/>
                      </a:lnTo>
                      <a:lnTo>
                        <a:pt x="432879" y="314896"/>
                      </a:lnTo>
                      <a:lnTo>
                        <a:pt x="431838" y="314896"/>
                      </a:lnTo>
                      <a:lnTo>
                        <a:pt x="431711" y="315442"/>
                      </a:lnTo>
                      <a:lnTo>
                        <a:pt x="431660" y="315036"/>
                      </a:lnTo>
                      <a:lnTo>
                        <a:pt x="431838" y="314782"/>
                      </a:lnTo>
                      <a:lnTo>
                        <a:pt x="432257" y="314528"/>
                      </a:lnTo>
                      <a:lnTo>
                        <a:pt x="432892" y="313893"/>
                      </a:lnTo>
                      <a:lnTo>
                        <a:pt x="434835" y="312623"/>
                      </a:lnTo>
                      <a:lnTo>
                        <a:pt x="436613" y="310845"/>
                      </a:lnTo>
                      <a:lnTo>
                        <a:pt x="438137" y="308051"/>
                      </a:lnTo>
                      <a:lnTo>
                        <a:pt x="440093" y="306781"/>
                      </a:lnTo>
                      <a:lnTo>
                        <a:pt x="440956" y="306146"/>
                      </a:lnTo>
                      <a:lnTo>
                        <a:pt x="441934" y="306146"/>
                      </a:lnTo>
                      <a:lnTo>
                        <a:pt x="443623" y="305892"/>
                      </a:lnTo>
                      <a:lnTo>
                        <a:pt x="448462" y="311353"/>
                      </a:lnTo>
                      <a:lnTo>
                        <a:pt x="448462" y="288340"/>
                      </a:lnTo>
                      <a:lnTo>
                        <a:pt x="445630" y="290271"/>
                      </a:lnTo>
                      <a:lnTo>
                        <a:pt x="441210" y="289001"/>
                      </a:lnTo>
                      <a:lnTo>
                        <a:pt x="438746" y="288493"/>
                      </a:lnTo>
                      <a:lnTo>
                        <a:pt x="436092" y="287985"/>
                      </a:lnTo>
                      <a:lnTo>
                        <a:pt x="430441" y="287350"/>
                      </a:lnTo>
                      <a:lnTo>
                        <a:pt x="429475" y="287426"/>
                      </a:lnTo>
                      <a:lnTo>
                        <a:pt x="429475" y="321246"/>
                      </a:lnTo>
                      <a:lnTo>
                        <a:pt x="428358" y="321246"/>
                      </a:lnTo>
                      <a:lnTo>
                        <a:pt x="423024" y="319976"/>
                      </a:lnTo>
                      <a:lnTo>
                        <a:pt x="422490" y="322516"/>
                      </a:lnTo>
                      <a:lnTo>
                        <a:pt x="422033" y="322516"/>
                      </a:lnTo>
                      <a:lnTo>
                        <a:pt x="421817" y="323786"/>
                      </a:lnTo>
                      <a:lnTo>
                        <a:pt x="421678" y="323786"/>
                      </a:lnTo>
                      <a:lnTo>
                        <a:pt x="421132" y="326326"/>
                      </a:lnTo>
                      <a:lnTo>
                        <a:pt x="421005" y="327596"/>
                      </a:lnTo>
                      <a:lnTo>
                        <a:pt x="420725" y="327596"/>
                      </a:lnTo>
                      <a:lnTo>
                        <a:pt x="420306" y="328866"/>
                      </a:lnTo>
                      <a:lnTo>
                        <a:pt x="417830" y="328866"/>
                      </a:lnTo>
                      <a:lnTo>
                        <a:pt x="417131" y="327596"/>
                      </a:lnTo>
                      <a:lnTo>
                        <a:pt x="415632" y="326326"/>
                      </a:lnTo>
                      <a:lnTo>
                        <a:pt x="415239" y="326326"/>
                      </a:lnTo>
                      <a:lnTo>
                        <a:pt x="414362" y="325056"/>
                      </a:lnTo>
                      <a:lnTo>
                        <a:pt x="413562" y="325056"/>
                      </a:lnTo>
                      <a:lnTo>
                        <a:pt x="412089" y="326326"/>
                      </a:lnTo>
                      <a:lnTo>
                        <a:pt x="411429" y="326326"/>
                      </a:lnTo>
                      <a:lnTo>
                        <a:pt x="409448" y="327596"/>
                      </a:lnTo>
                      <a:lnTo>
                        <a:pt x="406260" y="328866"/>
                      </a:lnTo>
                      <a:lnTo>
                        <a:pt x="404634" y="328866"/>
                      </a:lnTo>
                      <a:lnTo>
                        <a:pt x="405422" y="328498"/>
                      </a:lnTo>
                      <a:lnTo>
                        <a:pt x="406260" y="327990"/>
                      </a:lnTo>
                      <a:lnTo>
                        <a:pt x="408393" y="327228"/>
                      </a:lnTo>
                      <a:lnTo>
                        <a:pt x="409460" y="326847"/>
                      </a:lnTo>
                      <a:lnTo>
                        <a:pt x="411429" y="325958"/>
                      </a:lnTo>
                      <a:lnTo>
                        <a:pt x="412089" y="325577"/>
                      </a:lnTo>
                      <a:lnTo>
                        <a:pt x="413562" y="324942"/>
                      </a:lnTo>
                      <a:lnTo>
                        <a:pt x="414362" y="324815"/>
                      </a:lnTo>
                      <a:lnTo>
                        <a:pt x="415442" y="325704"/>
                      </a:lnTo>
                      <a:lnTo>
                        <a:pt x="415645" y="325958"/>
                      </a:lnTo>
                      <a:lnTo>
                        <a:pt x="417144" y="327228"/>
                      </a:lnTo>
                      <a:lnTo>
                        <a:pt x="417842" y="327863"/>
                      </a:lnTo>
                      <a:lnTo>
                        <a:pt x="418566" y="328244"/>
                      </a:lnTo>
                      <a:lnTo>
                        <a:pt x="418884" y="328371"/>
                      </a:lnTo>
                      <a:lnTo>
                        <a:pt x="419227" y="328371"/>
                      </a:lnTo>
                      <a:lnTo>
                        <a:pt x="420306" y="327990"/>
                      </a:lnTo>
                      <a:lnTo>
                        <a:pt x="420725" y="327482"/>
                      </a:lnTo>
                      <a:lnTo>
                        <a:pt x="421017" y="326847"/>
                      </a:lnTo>
                      <a:lnTo>
                        <a:pt x="421144" y="325450"/>
                      </a:lnTo>
                      <a:lnTo>
                        <a:pt x="421347" y="324815"/>
                      </a:lnTo>
                      <a:lnTo>
                        <a:pt x="421589" y="324053"/>
                      </a:lnTo>
                      <a:lnTo>
                        <a:pt x="421716" y="323545"/>
                      </a:lnTo>
                      <a:lnTo>
                        <a:pt x="421817" y="322910"/>
                      </a:lnTo>
                      <a:lnTo>
                        <a:pt x="422046" y="322021"/>
                      </a:lnTo>
                      <a:lnTo>
                        <a:pt x="422490" y="321386"/>
                      </a:lnTo>
                      <a:lnTo>
                        <a:pt x="423037" y="319862"/>
                      </a:lnTo>
                      <a:lnTo>
                        <a:pt x="428358" y="320878"/>
                      </a:lnTo>
                      <a:lnTo>
                        <a:pt x="429475" y="321246"/>
                      </a:lnTo>
                      <a:lnTo>
                        <a:pt x="429475" y="287426"/>
                      </a:lnTo>
                      <a:lnTo>
                        <a:pt x="425234" y="287731"/>
                      </a:lnTo>
                      <a:lnTo>
                        <a:pt x="419531" y="287985"/>
                      </a:lnTo>
                      <a:lnTo>
                        <a:pt x="419735" y="282270"/>
                      </a:lnTo>
                      <a:lnTo>
                        <a:pt x="419798" y="280365"/>
                      </a:lnTo>
                      <a:lnTo>
                        <a:pt x="420103" y="280746"/>
                      </a:lnTo>
                      <a:lnTo>
                        <a:pt x="420636" y="280873"/>
                      </a:lnTo>
                      <a:lnTo>
                        <a:pt x="420954" y="281127"/>
                      </a:lnTo>
                      <a:lnTo>
                        <a:pt x="421513" y="280365"/>
                      </a:lnTo>
                      <a:lnTo>
                        <a:pt x="421601" y="280238"/>
                      </a:lnTo>
                      <a:lnTo>
                        <a:pt x="422109" y="278968"/>
                      </a:lnTo>
                      <a:lnTo>
                        <a:pt x="422376" y="278333"/>
                      </a:lnTo>
                      <a:lnTo>
                        <a:pt x="423887" y="277952"/>
                      </a:lnTo>
                      <a:lnTo>
                        <a:pt x="426148" y="277190"/>
                      </a:lnTo>
                      <a:lnTo>
                        <a:pt x="427710" y="276555"/>
                      </a:lnTo>
                      <a:lnTo>
                        <a:pt x="431126" y="276809"/>
                      </a:lnTo>
                      <a:lnTo>
                        <a:pt x="435444" y="278587"/>
                      </a:lnTo>
                      <a:lnTo>
                        <a:pt x="437375" y="279857"/>
                      </a:lnTo>
                      <a:lnTo>
                        <a:pt x="436422" y="280619"/>
                      </a:lnTo>
                      <a:lnTo>
                        <a:pt x="436333" y="280746"/>
                      </a:lnTo>
                      <a:lnTo>
                        <a:pt x="436245" y="281762"/>
                      </a:lnTo>
                      <a:lnTo>
                        <a:pt x="442391" y="276682"/>
                      </a:lnTo>
                      <a:lnTo>
                        <a:pt x="443166" y="276047"/>
                      </a:lnTo>
                      <a:lnTo>
                        <a:pt x="440575" y="276682"/>
                      </a:lnTo>
                      <a:lnTo>
                        <a:pt x="440321" y="276555"/>
                      </a:lnTo>
                      <a:lnTo>
                        <a:pt x="438835" y="275793"/>
                      </a:lnTo>
                      <a:lnTo>
                        <a:pt x="437489" y="274777"/>
                      </a:lnTo>
                      <a:lnTo>
                        <a:pt x="434644" y="273126"/>
                      </a:lnTo>
                      <a:lnTo>
                        <a:pt x="436676" y="271221"/>
                      </a:lnTo>
                      <a:lnTo>
                        <a:pt x="438569" y="269697"/>
                      </a:lnTo>
                      <a:lnTo>
                        <a:pt x="440842" y="267792"/>
                      </a:lnTo>
                      <a:lnTo>
                        <a:pt x="436981" y="263474"/>
                      </a:lnTo>
                      <a:lnTo>
                        <a:pt x="436067" y="262585"/>
                      </a:lnTo>
                      <a:lnTo>
                        <a:pt x="435698" y="262839"/>
                      </a:lnTo>
                      <a:lnTo>
                        <a:pt x="435140" y="262966"/>
                      </a:lnTo>
                      <a:lnTo>
                        <a:pt x="434619" y="263601"/>
                      </a:lnTo>
                      <a:lnTo>
                        <a:pt x="432447" y="265125"/>
                      </a:lnTo>
                      <a:lnTo>
                        <a:pt x="431228" y="266268"/>
                      </a:lnTo>
                      <a:lnTo>
                        <a:pt x="429933" y="267030"/>
                      </a:lnTo>
                      <a:lnTo>
                        <a:pt x="429615" y="267157"/>
                      </a:lnTo>
                      <a:lnTo>
                        <a:pt x="429310" y="267411"/>
                      </a:lnTo>
                      <a:lnTo>
                        <a:pt x="427037" y="267919"/>
                      </a:lnTo>
                      <a:lnTo>
                        <a:pt x="426072" y="269697"/>
                      </a:lnTo>
                      <a:lnTo>
                        <a:pt x="423456" y="268554"/>
                      </a:lnTo>
                      <a:lnTo>
                        <a:pt x="420331" y="266776"/>
                      </a:lnTo>
                      <a:lnTo>
                        <a:pt x="419950" y="267538"/>
                      </a:lnTo>
                      <a:lnTo>
                        <a:pt x="418465" y="269824"/>
                      </a:lnTo>
                      <a:lnTo>
                        <a:pt x="417906" y="272237"/>
                      </a:lnTo>
                      <a:lnTo>
                        <a:pt x="418985" y="274904"/>
                      </a:lnTo>
                      <a:lnTo>
                        <a:pt x="419366" y="276809"/>
                      </a:lnTo>
                      <a:lnTo>
                        <a:pt x="417944" y="277190"/>
                      </a:lnTo>
                      <a:lnTo>
                        <a:pt x="416788" y="276174"/>
                      </a:lnTo>
                      <a:lnTo>
                        <a:pt x="410006" y="277063"/>
                      </a:lnTo>
                      <a:lnTo>
                        <a:pt x="410349" y="277952"/>
                      </a:lnTo>
                      <a:lnTo>
                        <a:pt x="415353" y="277952"/>
                      </a:lnTo>
                      <a:lnTo>
                        <a:pt x="415277" y="278714"/>
                      </a:lnTo>
                      <a:lnTo>
                        <a:pt x="415036" y="278968"/>
                      </a:lnTo>
                      <a:lnTo>
                        <a:pt x="414401" y="278968"/>
                      </a:lnTo>
                      <a:lnTo>
                        <a:pt x="413854" y="278714"/>
                      </a:lnTo>
                      <a:lnTo>
                        <a:pt x="413575" y="278841"/>
                      </a:lnTo>
                      <a:lnTo>
                        <a:pt x="412711" y="279603"/>
                      </a:lnTo>
                      <a:lnTo>
                        <a:pt x="412864" y="280238"/>
                      </a:lnTo>
                      <a:lnTo>
                        <a:pt x="412965" y="282270"/>
                      </a:lnTo>
                      <a:lnTo>
                        <a:pt x="412699" y="281508"/>
                      </a:lnTo>
                      <a:lnTo>
                        <a:pt x="412394" y="280873"/>
                      </a:lnTo>
                      <a:lnTo>
                        <a:pt x="411886" y="280365"/>
                      </a:lnTo>
                      <a:lnTo>
                        <a:pt x="411149" y="281508"/>
                      </a:lnTo>
                      <a:lnTo>
                        <a:pt x="410184" y="282143"/>
                      </a:lnTo>
                      <a:lnTo>
                        <a:pt x="409752" y="283413"/>
                      </a:lnTo>
                      <a:lnTo>
                        <a:pt x="409435" y="284556"/>
                      </a:lnTo>
                      <a:lnTo>
                        <a:pt x="408698" y="287731"/>
                      </a:lnTo>
                      <a:lnTo>
                        <a:pt x="408089" y="287731"/>
                      </a:lnTo>
                      <a:lnTo>
                        <a:pt x="407517" y="287985"/>
                      </a:lnTo>
                      <a:lnTo>
                        <a:pt x="406514" y="287731"/>
                      </a:lnTo>
                      <a:lnTo>
                        <a:pt x="405130" y="287731"/>
                      </a:lnTo>
                      <a:lnTo>
                        <a:pt x="400265" y="286969"/>
                      </a:lnTo>
                      <a:lnTo>
                        <a:pt x="396544" y="286334"/>
                      </a:lnTo>
                      <a:lnTo>
                        <a:pt x="396074" y="286715"/>
                      </a:lnTo>
                      <a:lnTo>
                        <a:pt x="394462" y="287731"/>
                      </a:lnTo>
                      <a:lnTo>
                        <a:pt x="392798" y="288874"/>
                      </a:lnTo>
                      <a:lnTo>
                        <a:pt x="391985" y="291287"/>
                      </a:lnTo>
                      <a:lnTo>
                        <a:pt x="391998" y="292049"/>
                      </a:lnTo>
                      <a:lnTo>
                        <a:pt x="392188" y="292557"/>
                      </a:lnTo>
                      <a:lnTo>
                        <a:pt x="392963" y="293319"/>
                      </a:lnTo>
                      <a:lnTo>
                        <a:pt x="393547" y="293954"/>
                      </a:lnTo>
                      <a:lnTo>
                        <a:pt x="394449" y="294716"/>
                      </a:lnTo>
                      <a:lnTo>
                        <a:pt x="396379" y="296621"/>
                      </a:lnTo>
                      <a:lnTo>
                        <a:pt x="399084" y="296748"/>
                      </a:lnTo>
                      <a:lnTo>
                        <a:pt x="400202" y="296748"/>
                      </a:lnTo>
                      <a:lnTo>
                        <a:pt x="402869" y="297510"/>
                      </a:lnTo>
                      <a:lnTo>
                        <a:pt x="403758" y="299288"/>
                      </a:lnTo>
                      <a:lnTo>
                        <a:pt x="403021" y="302590"/>
                      </a:lnTo>
                      <a:lnTo>
                        <a:pt x="402793" y="303987"/>
                      </a:lnTo>
                      <a:lnTo>
                        <a:pt x="405345" y="308813"/>
                      </a:lnTo>
                      <a:lnTo>
                        <a:pt x="405650" y="309321"/>
                      </a:lnTo>
                      <a:lnTo>
                        <a:pt x="405790" y="309448"/>
                      </a:lnTo>
                      <a:lnTo>
                        <a:pt x="407212" y="310972"/>
                      </a:lnTo>
                      <a:lnTo>
                        <a:pt x="407339" y="311353"/>
                      </a:lnTo>
                      <a:lnTo>
                        <a:pt x="404583" y="314363"/>
                      </a:lnTo>
                      <a:lnTo>
                        <a:pt x="404583" y="328891"/>
                      </a:lnTo>
                      <a:lnTo>
                        <a:pt x="403809" y="330136"/>
                      </a:lnTo>
                      <a:lnTo>
                        <a:pt x="402069" y="331406"/>
                      </a:lnTo>
                      <a:lnTo>
                        <a:pt x="400634" y="331406"/>
                      </a:lnTo>
                      <a:lnTo>
                        <a:pt x="397548" y="328866"/>
                      </a:lnTo>
                      <a:lnTo>
                        <a:pt x="397637" y="328574"/>
                      </a:lnTo>
                      <a:lnTo>
                        <a:pt x="400977" y="331038"/>
                      </a:lnTo>
                      <a:lnTo>
                        <a:pt x="401701" y="331165"/>
                      </a:lnTo>
                      <a:lnTo>
                        <a:pt x="403821" y="329387"/>
                      </a:lnTo>
                      <a:lnTo>
                        <a:pt x="404583" y="328891"/>
                      </a:lnTo>
                      <a:lnTo>
                        <a:pt x="404583" y="314363"/>
                      </a:lnTo>
                      <a:lnTo>
                        <a:pt x="402094" y="317068"/>
                      </a:lnTo>
                      <a:lnTo>
                        <a:pt x="399211" y="321386"/>
                      </a:lnTo>
                      <a:lnTo>
                        <a:pt x="398589" y="322275"/>
                      </a:lnTo>
                      <a:lnTo>
                        <a:pt x="398475" y="324180"/>
                      </a:lnTo>
                      <a:lnTo>
                        <a:pt x="398284" y="325323"/>
                      </a:lnTo>
                      <a:lnTo>
                        <a:pt x="398157" y="325831"/>
                      </a:lnTo>
                      <a:lnTo>
                        <a:pt x="397852" y="326466"/>
                      </a:lnTo>
                      <a:lnTo>
                        <a:pt x="397675" y="327101"/>
                      </a:lnTo>
                      <a:lnTo>
                        <a:pt x="397814" y="327228"/>
                      </a:lnTo>
                      <a:lnTo>
                        <a:pt x="397929" y="327482"/>
                      </a:lnTo>
                      <a:lnTo>
                        <a:pt x="389763" y="327596"/>
                      </a:lnTo>
                      <a:lnTo>
                        <a:pt x="389229" y="326326"/>
                      </a:lnTo>
                      <a:lnTo>
                        <a:pt x="388874" y="326326"/>
                      </a:lnTo>
                      <a:lnTo>
                        <a:pt x="387756" y="325056"/>
                      </a:lnTo>
                      <a:lnTo>
                        <a:pt x="374942" y="325056"/>
                      </a:lnTo>
                      <a:lnTo>
                        <a:pt x="373049" y="323786"/>
                      </a:lnTo>
                      <a:lnTo>
                        <a:pt x="371881" y="323786"/>
                      </a:lnTo>
                      <a:lnTo>
                        <a:pt x="371157" y="322516"/>
                      </a:lnTo>
                      <a:lnTo>
                        <a:pt x="368388" y="322516"/>
                      </a:lnTo>
                      <a:lnTo>
                        <a:pt x="367385" y="323786"/>
                      </a:lnTo>
                      <a:lnTo>
                        <a:pt x="366141" y="326326"/>
                      </a:lnTo>
                      <a:lnTo>
                        <a:pt x="364020" y="327596"/>
                      </a:lnTo>
                      <a:lnTo>
                        <a:pt x="361518" y="327596"/>
                      </a:lnTo>
                      <a:lnTo>
                        <a:pt x="352755" y="335216"/>
                      </a:lnTo>
                      <a:lnTo>
                        <a:pt x="352552" y="336486"/>
                      </a:lnTo>
                      <a:lnTo>
                        <a:pt x="352361" y="336486"/>
                      </a:lnTo>
                      <a:lnTo>
                        <a:pt x="352196" y="339026"/>
                      </a:lnTo>
                      <a:lnTo>
                        <a:pt x="352539" y="340296"/>
                      </a:lnTo>
                      <a:lnTo>
                        <a:pt x="349224" y="342836"/>
                      </a:lnTo>
                      <a:lnTo>
                        <a:pt x="348056" y="344106"/>
                      </a:lnTo>
                      <a:lnTo>
                        <a:pt x="346024" y="345376"/>
                      </a:lnTo>
                      <a:lnTo>
                        <a:pt x="344665" y="345376"/>
                      </a:lnTo>
                      <a:lnTo>
                        <a:pt x="343242" y="346646"/>
                      </a:lnTo>
                      <a:lnTo>
                        <a:pt x="340118" y="347916"/>
                      </a:lnTo>
                      <a:lnTo>
                        <a:pt x="338429" y="347916"/>
                      </a:lnTo>
                      <a:lnTo>
                        <a:pt x="335661" y="349186"/>
                      </a:lnTo>
                      <a:lnTo>
                        <a:pt x="333806" y="349186"/>
                      </a:lnTo>
                      <a:lnTo>
                        <a:pt x="331990" y="351726"/>
                      </a:lnTo>
                      <a:lnTo>
                        <a:pt x="332295" y="351726"/>
                      </a:lnTo>
                      <a:lnTo>
                        <a:pt x="332447" y="352996"/>
                      </a:lnTo>
                      <a:lnTo>
                        <a:pt x="331330" y="354266"/>
                      </a:lnTo>
                      <a:lnTo>
                        <a:pt x="329755" y="355536"/>
                      </a:lnTo>
                      <a:lnTo>
                        <a:pt x="328015" y="358076"/>
                      </a:lnTo>
                      <a:lnTo>
                        <a:pt x="322872" y="358076"/>
                      </a:lnTo>
                      <a:lnTo>
                        <a:pt x="321716" y="359346"/>
                      </a:lnTo>
                      <a:lnTo>
                        <a:pt x="320281" y="359346"/>
                      </a:lnTo>
                      <a:lnTo>
                        <a:pt x="320052" y="360616"/>
                      </a:lnTo>
                      <a:lnTo>
                        <a:pt x="318452" y="360616"/>
                      </a:lnTo>
                      <a:lnTo>
                        <a:pt x="317004" y="359346"/>
                      </a:lnTo>
                      <a:lnTo>
                        <a:pt x="316230" y="358076"/>
                      </a:lnTo>
                      <a:lnTo>
                        <a:pt x="315633" y="356806"/>
                      </a:lnTo>
                      <a:lnTo>
                        <a:pt x="314363" y="356806"/>
                      </a:lnTo>
                      <a:lnTo>
                        <a:pt x="313575" y="355536"/>
                      </a:lnTo>
                      <a:lnTo>
                        <a:pt x="309549" y="355536"/>
                      </a:lnTo>
                      <a:lnTo>
                        <a:pt x="308063" y="354266"/>
                      </a:lnTo>
                      <a:lnTo>
                        <a:pt x="306565" y="354266"/>
                      </a:lnTo>
                      <a:lnTo>
                        <a:pt x="303542" y="356806"/>
                      </a:lnTo>
                      <a:lnTo>
                        <a:pt x="302348" y="361886"/>
                      </a:lnTo>
                      <a:lnTo>
                        <a:pt x="302209" y="361886"/>
                      </a:lnTo>
                      <a:lnTo>
                        <a:pt x="301967" y="364426"/>
                      </a:lnTo>
                      <a:lnTo>
                        <a:pt x="301548" y="364426"/>
                      </a:lnTo>
                      <a:lnTo>
                        <a:pt x="301155" y="366966"/>
                      </a:lnTo>
                      <a:lnTo>
                        <a:pt x="301383" y="366966"/>
                      </a:lnTo>
                      <a:lnTo>
                        <a:pt x="298716" y="369506"/>
                      </a:lnTo>
                      <a:lnTo>
                        <a:pt x="297599" y="369506"/>
                      </a:lnTo>
                      <a:lnTo>
                        <a:pt x="296633" y="370776"/>
                      </a:lnTo>
                      <a:lnTo>
                        <a:pt x="297307" y="372046"/>
                      </a:lnTo>
                      <a:lnTo>
                        <a:pt x="298551" y="373316"/>
                      </a:lnTo>
                      <a:lnTo>
                        <a:pt x="297395" y="374586"/>
                      </a:lnTo>
                      <a:lnTo>
                        <a:pt x="293687" y="378396"/>
                      </a:lnTo>
                      <a:lnTo>
                        <a:pt x="293560" y="379666"/>
                      </a:lnTo>
                      <a:lnTo>
                        <a:pt x="293497" y="383476"/>
                      </a:lnTo>
                      <a:lnTo>
                        <a:pt x="293624" y="383476"/>
                      </a:lnTo>
                      <a:lnTo>
                        <a:pt x="293751" y="384746"/>
                      </a:lnTo>
                      <a:lnTo>
                        <a:pt x="293966" y="384746"/>
                      </a:lnTo>
                      <a:lnTo>
                        <a:pt x="294271" y="386016"/>
                      </a:lnTo>
                      <a:lnTo>
                        <a:pt x="295554" y="386016"/>
                      </a:lnTo>
                      <a:lnTo>
                        <a:pt x="297624" y="387286"/>
                      </a:lnTo>
                      <a:lnTo>
                        <a:pt x="299720" y="387286"/>
                      </a:lnTo>
                      <a:lnTo>
                        <a:pt x="298627" y="388556"/>
                      </a:lnTo>
                      <a:lnTo>
                        <a:pt x="294830" y="391096"/>
                      </a:lnTo>
                      <a:lnTo>
                        <a:pt x="294792" y="393636"/>
                      </a:lnTo>
                      <a:lnTo>
                        <a:pt x="295732" y="397446"/>
                      </a:lnTo>
                      <a:lnTo>
                        <a:pt x="295910" y="398716"/>
                      </a:lnTo>
                      <a:lnTo>
                        <a:pt x="297802" y="405066"/>
                      </a:lnTo>
                      <a:lnTo>
                        <a:pt x="298107" y="406336"/>
                      </a:lnTo>
                      <a:lnTo>
                        <a:pt x="298246" y="406336"/>
                      </a:lnTo>
                      <a:lnTo>
                        <a:pt x="298348" y="408876"/>
                      </a:lnTo>
                      <a:lnTo>
                        <a:pt x="298132" y="410146"/>
                      </a:lnTo>
                      <a:lnTo>
                        <a:pt x="297865" y="410146"/>
                      </a:lnTo>
                      <a:lnTo>
                        <a:pt x="297942" y="412686"/>
                      </a:lnTo>
                      <a:lnTo>
                        <a:pt x="298005" y="413956"/>
                      </a:lnTo>
                      <a:lnTo>
                        <a:pt x="298183" y="415226"/>
                      </a:lnTo>
                      <a:lnTo>
                        <a:pt x="298208" y="416496"/>
                      </a:lnTo>
                      <a:lnTo>
                        <a:pt x="298069" y="417766"/>
                      </a:lnTo>
                      <a:lnTo>
                        <a:pt x="298196" y="419036"/>
                      </a:lnTo>
                      <a:lnTo>
                        <a:pt x="298386" y="419036"/>
                      </a:lnTo>
                      <a:lnTo>
                        <a:pt x="298538" y="420306"/>
                      </a:lnTo>
                      <a:lnTo>
                        <a:pt x="299300" y="419036"/>
                      </a:lnTo>
                      <a:lnTo>
                        <a:pt x="308825" y="421576"/>
                      </a:lnTo>
                      <a:lnTo>
                        <a:pt x="309905" y="421576"/>
                      </a:lnTo>
                      <a:lnTo>
                        <a:pt x="311124" y="424116"/>
                      </a:lnTo>
                      <a:lnTo>
                        <a:pt x="311480" y="424116"/>
                      </a:lnTo>
                      <a:lnTo>
                        <a:pt x="312039" y="425386"/>
                      </a:lnTo>
                      <a:lnTo>
                        <a:pt x="312229" y="425386"/>
                      </a:lnTo>
                      <a:lnTo>
                        <a:pt x="312635" y="427926"/>
                      </a:lnTo>
                      <a:lnTo>
                        <a:pt x="312191" y="429196"/>
                      </a:lnTo>
                      <a:lnTo>
                        <a:pt x="310337" y="431736"/>
                      </a:lnTo>
                      <a:lnTo>
                        <a:pt x="308571" y="433006"/>
                      </a:lnTo>
                      <a:lnTo>
                        <a:pt x="306920" y="435546"/>
                      </a:lnTo>
                      <a:lnTo>
                        <a:pt x="305955" y="436816"/>
                      </a:lnTo>
                      <a:lnTo>
                        <a:pt x="304825" y="438086"/>
                      </a:lnTo>
                      <a:lnTo>
                        <a:pt x="300164" y="443166"/>
                      </a:lnTo>
                      <a:lnTo>
                        <a:pt x="298907" y="444436"/>
                      </a:lnTo>
                      <a:lnTo>
                        <a:pt x="298919" y="445706"/>
                      </a:lnTo>
                      <a:lnTo>
                        <a:pt x="299110" y="445706"/>
                      </a:lnTo>
                      <a:lnTo>
                        <a:pt x="323786" y="452056"/>
                      </a:lnTo>
                      <a:lnTo>
                        <a:pt x="327393" y="452056"/>
                      </a:lnTo>
                      <a:lnTo>
                        <a:pt x="338645" y="450786"/>
                      </a:lnTo>
                      <a:lnTo>
                        <a:pt x="341388" y="452056"/>
                      </a:lnTo>
                      <a:lnTo>
                        <a:pt x="345732" y="452056"/>
                      </a:lnTo>
                      <a:lnTo>
                        <a:pt x="347446" y="450786"/>
                      </a:lnTo>
                      <a:lnTo>
                        <a:pt x="349834" y="449516"/>
                      </a:lnTo>
                      <a:lnTo>
                        <a:pt x="354444" y="449516"/>
                      </a:lnTo>
                      <a:lnTo>
                        <a:pt x="358355" y="448246"/>
                      </a:lnTo>
                      <a:lnTo>
                        <a:pt x="367461" y="448246"/>
                      </a:lnTo>
                      <a:lnTo>
                        <a:pt x="370814" y="446976"/>
                      </a:lnTo>
                      <a:lnTo>
                        <a:pt x="372656" y="445706"/>
                      </a:lnTo>
                      <a:lnTo>
                        <a:pt x="375869" y="445706"/>
                      </a:lnTo>
                      <a:lnTo>
                        <a:pt x="375983" y="444436"/>
                      </a:lnTo>
                      <a:lnTo>
                        <a:pt x="376389" y="444436"/>
                      </a:lnTo>
                      <a:lnTo>
                        <a:pt x="376669" y="443166"/>
                      </a:lnTo>
                      <a:lnTo>
                        <a:pt x="376567" y="441896"/>
                      </a:lnTo>
                      <a:lnTo>
                        <a:pt x="375373" y="443166"/>
                      </a:lnTo>
                      <a:lnTo>
                        <a:pt x="376326" y="439356"/>
                      </a:lnTo>
                      <a:lnTo>
                        <a:pt x="376466" y="438086"/>
                      </a:lnTo>
                      <a:lnTo>
                        <a:pt x="376631" y="436816"/>
                      </a:lnTo>
                      <a:lnTo>
                        <a:pt x="376605" y="434276"/>
                      </a:lnTo>
                      <a:lnTo>
                        <a:pt x="377151" y="431736"/>
                      </a:lnTo>
                      <a:lnTo>
                        <a:pt x="377532" y="430466"/>
                      </a:lnTo>
                      <a:lnTo>
                        <a:pt x="377609" y="429196"/>
                      </a:lnTo>
                      <a:lnTo>
                        <a:pt x="377977" y="429196"/>
                      </a:lnTo>
                      <a:lnTo>
                        <a:pt x="378256" y="427926"/>
                      </a:lnTo>
                      <a:lnTo>
                        <a:pt x="379933" y="426656"/>
                      </a:lnTo>
                      <a:lnTo>
                        <a:pt x="381038" y="425386"/>
                      </a:lnTo>
                      <a:lnTo>
                        <a:pt x="381800" y="425386"/>
                      </a:lnTo>
                      <a:lnTo>
                        <a:pt x="384708" y="422846"/>
                      </a:lnTo>
                      <a:lnTo>
                        <a:pt x="387807" y="422846"/>
                      </a:lnTo>
                      <a:lnTo>
                        <a:pt x="391274" y="424116"/>
                      </a:lnTo>
                      <a:lnTo>
                        <a:pt x="393014" y="424116"/>
                      </a:lnTo>
                      <a:lnTo>
                        <a:pt x="394677" y="422846"/>
                      </a:lnTo>
                      <a:lnTo>
                        <a:pt x="396328" y="421576"/>
                      </a:lnTo>
                      <a:lnTo>
                        <a:pt x="397929" y="421576"/>
                      </a:lnTo>
                      <a:lnTo>
                        <a:pt x="394728" y="419036"/>
                      </a:lnTo>
                      <a:lnTo>
                        <a:pt x="397344" y="419036"/>
                      </a:lnTo>
                      <a:lnTo>
                        <a:pt x="398195" y="417766"/>
                      </a:lnTo>
                      <a:lnTo>
                        <a:pt x="400608" y="416496"/>
                      </a:lnTo>
                      <a:lnTo>
                        <a:pt x="401523" y="416496"/>
                      </a:lnTo>
                      <a:lnTo>
                        <a:pt x="402082" y="415226"/>
                      </a:lnTo>
                      <a:lnTo>
                        <a:pt x="405371" y="415226"/>
                      </a:lnTo>
                      <a:lnTo>
                        <a:pt x="406425" y="413956"/>
                      </a:lnTo>
                      <a:lnTo>
                        <a:pt x="408762" y="413956"/>
                      </a:lnTo>
                      <a:lnTo>
                        <a:pt x="409714" y="415226"/>
                      </a:lnTo>
                      <a:lnTo>
                        <a:pt x="410171" y="415226"/>
                      </a:lnTo>
                      <a:lnTo>
                        <a:pt x="412902" y="417766"/>
                      </a:lnTo>
                      <a:lnTo>
                        <a:pt x="413575" y="417766"/>
                      </a:lnTo>
                      <a:lnTo>
                        <a:pt x="414210" y="416496"/>
                      </a:lnTo>
                      <a:lnTo>
                        <a:pt x="417207" y="413956"/>
                      </a:lnTo>
                      <a:lnTo>
                        <a:pt x="419569" y="412686"/>
                      </a:lnTo>
                      <a:lnTo>
                        <a:pt x="419747" y="412686"/>
                      </a:lnTo>
                      <a:lnTo>
                        <a:pt x="419696" y="411416"/>
                      </a:lnTo>
                      <a:lnTo>
                        <a:pt x="419277" y="407606"/>
                      </a:lnTo>
                      <a:lnTo>
                        <a:pt x="418769" y="403796"/>
                      </a:lnTo>
                      <a:lnTo>
                        <a:pt x="419277" y="403796"/>
                      </a:lnTo>
                      <a:lnTo>
                        <a:pt x="419925" y="402526"/>
                      </a:lnTo>
                      <a:lnTo>
                        <a:pt x="421030" y="402526"/>
                      </a:lnTo>
                      <a:lnTo>
                        <a:pt x="421246" y="401256"/>
                      </a:lnTo>
                      <a:lnTo>
                        <a:pt x="421347" y="399986"/>
                      </a:lnTo>
                      <a:lnTo>
                        <a:pt x="421906" y="398716"/>
                      </a:lnTo>
                      <a:lnTo>
                        <a:pt x="421932" y="396176"/>
                      </a:lnTo>
                      <a:lnTo>
                        <a:pt x="423062" y="394906"/>
                      </a:lnTo>
                      <a:lnTo>
                        <a:pt x="424522" y="393636"/>
                      </a:lnTo>
                      <a:lnTo>
                        <a:pt x="425894" y="394906"/>
                      </a:lnTo>
                      <a:lnTo>
                        <a:pt x="427812" y="393636"/>
                      </a:lnTo>
                      <a:lnTo>
                        <a:pt x="429387" y="393636"/>
                      </a:lnTo>
                      <a:lnTo>
                        <a:pt x="431927" y="392366"/>
                      </a:lnTo>
                      <a:lnTo>
                        <a:pt x="433501" y="391096"/>
                      </a:lnTo>
                      <a:lnTo>
                        <a:pt x="433743" y="391096"/>
                      </a:lnTo>
                      <a:lnTo>
                        <a:pt x="434225" y="389826"/>
                      </a:lnTo>
                      <a:lnTo>
                        <a:pt x="432854" y="388556"/>
                      </a:lnTo>
                      <a:lnTo>
                        <a:pt x="431330" y="386016"/>
                      </a:lnTo>
                      <a:lnTo>
                        <a:pt x="430149" y="383476"/>
                      </a:lnTo>
                      <a:lnTo>
                        <a:pt x="429234" y="383476"/>
                      </a:lnTo>
                      <a:lnTo>
                        <a:pt x="428167" y="380936"/>
                      </a:lnTo>
                      <a:lnTo>
                        <a:pt x="427736" y="380936"/>
                      </a:lnTo>
                      <a:lnTo>
                        <a:pt x="427570" y="379666"/>
                      </a:lnTo>
                      <a:lnTo>
                        <a:pt x="428091" y="379666"/>
                      </a:lnTo>
                      <a:lnTo>
                        <a:pt x="429260" y="378396"/>
                      </a:lnTo>
                      <a:lnTo>
                        <a:pt x="432117" y="379666"/>
                      </a:lnTo>
                      <a:lnTo>
                        <a:pt x="435724" y="379666"/>
                      </a:lnTo>
                      <a:lnTo>
                        <a:pt x="436245" y="380936"/>
                      </a:lnTo>
                      <a:lnTo>
                        <a:pt x="438353" y="380936"/>
                      </a:lnTo>
                      <a:lnTo>
                        <a:pt x="441261" y="379666"/>
                      </a:lnTo>
                      <a:lnTo>
                        <a:pt x="443306" y="378396"/>
                      </a:lnTo>
                      <a:lnTo>
                        <a:pt x="444449" y="378396"/>
                      </a:lnTo>
                      <a:lnTo>
                        <a:pt x="445135" y="377126"/>
                      </a:lnTo>
                      <a:lnTo>
                        <a:pt x="445287" y="377126"/>
                      </a:lnTo>
                      <a:lnTo>
                        <a:pt x="445452" y="375856"/>
                      </a:lnTo>
                      <a:lnTo>
                        <a:pt x="445668" y="375856"/>
                      </a:lnTo>
                      <a:lnTo>
                        <a:pt x="445706" y="374586"/>
                      </a:lnTo>
                      <a:lnTo>
                        <a:pt x="445579" y="374586"/>
                      </a:lnTo>
                      <a:lnTo>
                        <a:pt x="445287" y="373316"/>
                      </a:lnTo>
                      <a:lnTo>
                        <a:pt x="444639" y="373316"/>
                      </a:lnTo>
                      <a:lnTo>
                        <a:pt x="443382" y="370776"/>
                      </a:lnTo>
                      <a:lnTo>
                        <a:pt x="443725" y="370776"/>
                      </a:lnTo>
                      <a:lnTo>
                        <a:pt x="444411" y="369506"/>
                      </a:lnTo>
                      <a:lnTo>
                        <a:pt x="444690" y="369506"/>
                      </a:lnTo>
                      <a:lnTo>
                        <a:pt x="445096" y="368236"/>
                      </a:lnTo>
                      <a:lnTo>
                        <a:pt x="447090" y="366966"/>
                      </a:lnTo>
                      <a:lnTo>
                        <a:pt x="446976" y="365696"/>
                      </a:lnTo>
                      <a:lnTo>
                        <a:pt x="449668" y="364426"/>
                      </a:lnTo>
                      <a:lnTo>
                        <a:pt x="450900" y="364426"/>
                      </a:lnTo>
                      <a:lnTo>
                        <a:pt x="451396" y="361886"/>
                      </a:lnTo>
                      <a:lnTo>
                        <a:pt x="451993" y="361886"/>
                      </a:lnTo>
                      <a:lnTo>
                        <a:pt x="452424" y="360616"/>
                      </a:lnTo>
                      <a:lnTo>
                        <a:pt x="452882" y="360616"/>
                      </a:lnTo>
                      <a:lnTo>
                        <a:pt x="452843" y="359346"/>
                      </a:lnTo>
                      <a:lnTo>
                        <a:pt x="452221" y="359346"/>
                      </a:lnTo>
                      <a:lnTo>
                        <a:pt x="452158" y="358076"/>
                      </a:lnTo>
                      <a:lnTo>
                        <a:pt x="451967" y="356806"/>
                      </a:lnTo>
                      <a:lnTo>
                        <a:pt x="452462" y="355536"/>
                      </a:lnTo>
                      <a:lnTo>
                        <a:pt x="451243" y="352996"/>
                      </a:lnTo>
                      <a:lnTo>
                        <a:pt x="450723" y="351726"/>
                      </a:lnTo>
                      <a:lnTo>
                        <a:pt x="450151" y="351726"/>
                      </a:lnTo>
                      <a:lnTo>
                        <a:pt x="449707" y="350456"/>
                      </a:lnTo>
                      <a:lnTo>
                        <a:pt x="448094" y="347916"/>
                      </a:lnTo>
                      <a:lnTo>
                        <a:pt x="446900" y="346646"/>
                      </a:lnTo>
                      <a:lnTo>
                        <a:pt x="446392" y="346646"/>
                      </a:lnTo>
                      <a:lnTo>
                        <a:pt x="448437" y="344106"/>
                      </a:lnTo>
                      <a:lnTo>
                        <a:pt x="453021" y="339026"/>
                      </a:lnTo>
                      <a:lnTo>
                        <a:pt x="453593" y="340296"/>
                      </a:lnTo>
                      <a:lnTo>
                        <a:pt x="455650" y="340296"/>
                      </a:lnTo>
                      <a:lnTo>
                        <a:pt x="457263" y="339026"/>
                      </a:lnTo>
                      <a:lnTo>
                        <a:pt x="461530" y="336486"/>
                      </a:lnTo>
                      <a:lnTo>
                        <a:pt x="463207" y="335216"/>
                      </a:lnTo>
                      <a:lnTo>
                        <a:pt x="466305" y="333946"/>
                      </a:lnTo>
                      <a:lnTo>
                        <a:pt x="467652" y="333946"/>
                      </a:lnTo>
                      <a:lnTo>
                        <a:pt x="474052" y="332676"/>
                      </a:lnTo>
                      <a:lnTo>
                        <a:pt x="485140" y="332676"/>
                      </a:lnTo>
                      <a:lnTo>
                        <a:pt x="486575" y="333946"/>
                      </a:lnTo>
                      <a:lnTo>
                        <a:pt x="488213" y="333946"/>
                      </a:lnTo>
                      <a:lnTo>
                        <a:pt x="488492" y="332676"/>
                      </a:lnTo>
                      <a:lnTo>
                        <a:pt x="490499" y="332676"/>
                      </a:lnTo>
                      <a:lnTo>
                        <a:pt x="492709" y="331406"/>
                      </a:lnTo>
                      <a:lnTo>
                        <a:pt x="494614" y="330136"/>
                      </a:lnTo>
                      <a:lnTo>
                        <a:pt x="494779" y="330136"/>
                      </a:lnTo>
                      <a:lnTo>
                        <a:pt x="493661" y="328866"/>
                      </a:lnTo>
                      <a:lnTo>
                        <a:pt x="492315" y="328866"/>
                      </a:lnTo>
                      <a:lnTo>
                        <a:pt x="492315" y="327596"/>
                      </a:lnTo>
                      <a:lnTo>
                        <a:pt x="495566" y="327596"/>
                      </a:lnTo>
                      <a:lnTo>
                        <a:pt x="498068" y="326326"/>
                      </a:lnTo>
                      <a:lnTo>
                        <a:pt x="497522" y="326326"/>
                      </a:lnTo>
                      <a:lnTo>
                        <a:pt x="495122" y="325056"/>
                      </a:lnTo>
                      <a:lnTo>
                        <a:pt x="493687" y="323786"/>
                      </a:lnTo>
                      <a:lnTo>
                        <a:pt x="489978" y="323786"/>
                      </a:lnTo>
                      <a:lnTo>
                        <a:pt x="489978" y="325056"/>
                      </a:lnTo>
                      <a:lnTo>
                        <a:pt x="488035" y="325056"/>
                      </a:lnTo>
                      <a:lnTo>
                        <a:pt x="485889" y="326326"/>
                      </a:lnTo>
                      <a:lnTo>
                        <a:pt x="483171" y="326326"/>
                      </a:lnTo>
                      <a:lnTo>
                        <a:pt x="485902" y="325704"/>
                      </a:lnTo>
                      <a:lnTo>
                        <a:pt x="488848" y="324561"/>
                      </a:lnTo>
                      <a:lnTo>
                        <a:pt x="489204" y="324561"/>
                      </a:lnTo>
                      <a:lnTo>
                        <a:pt x="489534" y="324434"/>
                      </a:lnTo>
                      <a:lnTo>
                        <a:pt x="489864" y="324142"/>
                      </a:lnTo>
                      <a:lnTo>
                        <a:pt x="489978" y="325056"/>
                      </a:lnTo>
                      <a:lnTo>
                        <a:pt x="489978" y="323786"/>
                      </a:lnTo>
                      <a:lnTo>
                        <a:pt x="489839" y="323545"/>
                      </a:lnTo>
                      <a:lnTo>
                        <a:pt x="490435" y="323291"/>
                      </a:lnTo>
                      <a:lnTo>
                        <a:pt x="492074" y="323291"/>
                      </a:lnTo>
                      <a:lnTo>
                        <a:pt x="493699" y="323672"/>
                      </a:lnTo>
                      <a:lnTo>
                        <a:pt x="495122" y="324180"/>
                      </a:lnTo>
                      <a:lnTo>
                        <a:pt x="497535" y="325196"/>
                      </a:lnTo>
                      <a:lnTo>
                        <a:pt x="498500" y="325704"/>
                      </a:lnTo>
                      <a:lnTo>
                        <a:pt x="499313" y="326085"/>
                      </a:lnTo>
                      <a:lnTo>
                        <a:pt x="500811" y="325577"/>
                      </a:lnTo>
                      <a:lnTo>
                        <a:pt x="501256" y="325323"/>
                      </a:lnTo>
                      <a:lnTo>
                        <a:pt x="502145" y="324815"/>
                      </a:lnTo>
                      <a:lnTo>
                        <a:pt x="503542" y="323291"/>
                      </a:lnTo>
                      <a:close/>
                    </a:path>
                    <a:path w="690245" h="499110">
                      <a:moveTo>
                        <a:pt x="541743" y="354482"/>
                      </a:moveTo>
                      <a:lnTo>
                        <a:pt x="541566" y="354520"/>
                      </a:lnTo>
                      <a:lnTo>
                        <a:pt x="541401" y="354558"/>
                      </a:lnTo>
                      <a:lnTo>
                        <a:pt x="541223" y="354596"/>
                      </a:lnTo>
                      <a:lnTo>
                        <a:pt x="541401" y="354609"/>
                      </a:lnTo>
                      <a:lnTo>
                        <a:pt x="541629" y="354520"/>
                      </a:lnTo>
                      <a:close/>
                    </a:path>
                    <a:path w="690245" h="499110">
                      <a:moveTo>
                        <a:pt x="610768" y="186690"/>
                      </a:moveTo>
                      <a:lnTo>
                        <a:pt x="609307" y="185420"/>
                      </a:lnTo>
                      <a:lnTo>
                        <a:pt x="605409" y="185420"/>
                      </a:lnTo>
                      <a:lnTo>
                        <a:pt x="606272" y="182880"/>
                      </a:lnTo>
                      <a:lnTo>
                        <a:pt x="607999" y="177800"/>
                      </a:lnTo>
                      <a:lnTo>
                        <a:pt x="296329" y="177800"/>
                      </a:lnTo>
                      <a:lnTo>
                        <a:pt x="293903" y="177800"/>
                      </a:lnTo>
                      <a:lnTo>
                        <a:pt x="292938" y="180340"/>
                      </a:lnTo>
                      <a:lnTo>
                        <a:pt x="290042" y="179070"/>
                      </a:lnTo>
                      <a:lnTo>
                        <a:pt x="284683" y="179070"/>
                      </a:lnTo>
                      <a:lnTo>
                        <a:pt x="284835" y="177800"/>
                      </a:lnTo>
                      <a:lnTo>
                        <a:pt x="284137" y="177800"/>
                      </a:lnTo>
                      <a:lnTo>
                        <a:pt x="284099" y="179070"/>
                      </a:lnTo>
                      <a:lnTo>
                        <a:pt x="283565" y="179070"/>
                      </a:lnTo>
                      <a:lnTo>
                        <a:pt x="283870" y="180340"/>
                      </a:lnTo>
                      <a:lnTo>
                        <a:pt x="284530" y="180340"/>
                      </a:lnTo>
                      <a:lnTo>
                        <a:pt x="282943" y="181610"/>
                      </a:lnTo>
                      <a:lnTo>
                        <a:pt x="283832" y="181610"/>
                      </a:lnTo>
                      <a:lnTo>
                        <a:pt x="280873" y="184150"/>
                      </a:lnTo>
                      <a:lnTo>
                        <a:pt x="282790" y="185420"/>
                      </a:lnTo>
                      <a:lnTo>
                        <a:pt x="284226" y="185420"/>
                      </a:lnTo>
                      <a:lnTo>
                        <a:pt x="286575" y="182880"/>
                      </a:lnTo>
                      <a:lnTo>
                        <a:pt x="287655" y="185420"/>
                      </a:lnTo>
                      <a:lnTo>
                        <a:pt x="288963" y="187960"/>
                      </a:lnTo>
                      <a:lnTo>
                        <a:pt x="287921" y="191770"/>
                      </a:lnTo>
                      <a:lnTo>
                        <a:pt x="288175" y="196850"/>
                      </a:lnTo>
                      <a:lnTo>
                        <a:pt x="291338" y="199390"/>
                      </a:lnTo>
                      <a:lnTo>
                        <a:pt x="300748" y="204470"/>
                      </a:lnTo>
                      <a:lnTo>
                        <a:pt x="303669" y="208280"/>
                      </a:lnTo>
                      <a:lnTo>
                        <a:pt x="306425" y="212090"/>
                      </a:lnTo>
                      <a:lnTo>
                        <a:pt x="309829" y="215900"/>
                      </a:lnTo>
                      <a:lnTo>
                        <a:pt x="311937" y="217170"/>
                      </a:lnTo>
                      <a:lnTo>
                        <a:pt x="313474" y="219710"/>
                      </a:lnTo>
                      <a:lnTo>
                        <a:pt x="314845" y="219710"/>
                      </a:lnTo>
                      <a:lnTo>
                        <a:pt x="315391" y="220980"/>
                      </a:lnTo>
                      <a:lnTo>
                        <a:pt x="316509" y="220980"/>
                      </a:lnTo>
                      <a:lnTo>
                        <a:pt x="322084" y="219710"/>
                      </a:lnTo>
                      <a:lnTo>
                        <a:pt x="327101" y="218440"/>
                      </a:lnTo>
                      <a:lnTo>
                        <a:pt x="341096" y="218440"/>
                      </a:lnTo>
                      <a:lnTo>
                        <a:pt x="349618" y="219710"/>
                      </a:lnTo>
                      <a:lnTo>
                        <a:pt x="350824" y="219710"/>
                      </a:lnTo>
                      <a:lnTo>
                        <a:pt x="351802" y="218440"/>
                      </a:lnTo>
                      <a:lnTo>
                        <a:pt x="354114" y="218440"/>
                      </a:lnTo>
                      <a:lnTo>
                        <a:pt x="355993" y="215900"/>
                      </a:lnTo>
                      <a:lnTo>
                        <a:pt x="357149" y="217170"/>
                      </a:lnTo>
                      <a:lnTo>
                        <a:pt x="358165" y="217170"/>
                      </a:lnTo>
                      <a:lnTo>
                        <a:pt x="359308" y="218440"/>
                      </a:lnTo>
                      <a:lnTo>
                        <a:pt x="360375" y="219710"/>
                      </a:lnTo>
                      <a:lnTo>
                        <a:pt x="361353" y="220980"/>
                      </a:lnTo>
                      <a:lnTo>
                        <a:pt x="362140" y="220980"/>
                      </a:lnTo>
                      <a:lnTo>
                        <a:pt x="364464" y="223520"/>
                      </a:lnTo>
                      <a:lnTo>
                        <a:pt x="366242" y="224790"/>
                      </a:lnTo>
                      <a:lnTo>
                        <a:pt x="368007" y="227330"/>
                      </a:lnTo>
                      <a:lnTo>
                        <a:pt x="368249" y="227330"/>
                      </a:lnTo>
                      <a:lnTo>
                        <a:pt x="368846" y="228600"/>
                      </a:lnTo>
                      <a:lnTo>
                        <a:pt x="369125" y="228600"/>
                      </a:lnTo>
                      <a:lnTo>
                        <a:pt x="371005" y="231140"/>
                      </a:lnTo>
                      <a:lnTo>
                        <a:pt x="372224" y="229870"/>
                      </a:lnTo>
                      <a:lnTo>
                        <a:pt x="375259" y="229870"/>
                      </a:lnTo>
                      <a:lnTo>
                        <a:pt x="373837" y="233680"/>
                      </a:lnTo>
                      <a:lnTo>
                        <a:pt x="373608" y="236220"/>
                      </a:lnTo>
                      <a:lnTo>
                        <a:pt x="373202" y="238760"/>
                      </a:lnTo>
                      <a:lnTo>
                        <a:pt x="373100" y="241300"/>
                      </a:lnTo>
                      <a:lnTo>
                        <a:pt x="372859" y="242570"/>
                      </a:lnTo>
                      <a:lnTo>
                        <a:pt x="372745" y="243840"/>
                      </a:lnTo>
                      <a:lnTo>
                        <a:pt x="372808" y="245110"/>
                      </a:lnTo>
                      <a:lnTo>
                        <a:pt x="373126" y="246380"/>
                      </a:lnTo>
                      <a:lnTo>
                        <a:pt x="379768" y="246380"/>
                      </a:lnTo>
                      <a:lnTo>
                        <a:pt x="379984" y="247650"/>
                      </a:lnTo>
                      <a:lnTo>
                        <a:pt x="380009" y="250190"/>
                      </a:lnTo>
                      <a:lnTo>
                        <a:pt x="380415" y="252730"/>
                      </a:lnTo>
                      <a:lnTo>
                        <a:pt x="381241" y="255270"/>
                      </a:lnTo>
                      <a:lnTo>
                        <a:pt x="381927" y="256540"/>
                      </a:lnTo>
                      <a:lnTo>
                        <a:pt x="381977" y="257810"/>
                      </a:lnTo>
                      <a:lnTo>
                        <a:pt x="382308" y="259080"/>
                      </a:lnTo>
                      <a:lnTo>
                        <a:pt x="382968" y="260350"/>
                      </a:lnTo>
                      <a:lnTo>
                        <a:pt x="400075" y="260350"/>
                      </a:lnTo>
                      <a:lnTo>
                        <a:pt x="400418" y="261620"/>
                      </a:lnTo>
                      <a:lnTo>
                        <a:pt x="401853" y="261620"/>
                      </a:lnTo>
                      <a:lnTo>
                        <a:pt x="402336" y="262890"/>
                      </a:lnTo>
                      <a:lnTo>
                        <a:pt x="402602" y="262890"/>
                      </a:lnTo>
                      <a:lnTo>
                        <a:pt x="403364" y="264160"/>
                      </a:lnTo>
                      <a:lnTo>
                        <a:pt x="401904" y="265430"/>
                      </a:lnTo>
                      <a:lnTo>
                        <a:pt x="401053" y="266700"/>
                      </a:lnTo>
                      <a:lnTo>
                        <a:pt x="403225" y="267970"/>
                      </a:lnTo>
                      <a:lnTo>
                        <a:pt x="404888" y="269240"/>
                      </a:lnTo>
                      <a:lnTo>
                        <a:pt x="407314" y="270510"/>
                      </a:lnTo>
                      <a:lnTo>
                        <a:pt x="410489" y="270510"/>
                      </a:lnTo>
                      <a:lnTo>
                        <a:pt x="410070" y="269240"/>
                      </a:lnTo>
                      <a:lnTo>
                        <a:pt x="410108" y="266700"/>
                      </a:lnTo>
                      <a:lnTo>
                        <a:pt x="410222" y="264160"/>
                      </a:lnTo>
                      <a:lnTo>
                        <a:pt x="411657" y="262890"/>
                      </a:lnTo>
                      <a:lnTo>
                        <a:pt x="413512" y="261620"/>
                      </a:lnTo>
                      <a:lnTo>
                        <a:pt x="415632" y="260350"/>
                      </a:lnTo>
                      <a:lnTo>
                        <a:pt x="416013" y="259080"/>
                      </a:lnTo>
                      <a:lnTo>
                        <a:pt x="417512" y="257810"/>
                      </a:lnTo>
                      <a:lnTo>
                        <a:pt x="420306" y="256540"/>
                      </a:lnTo>
                      <a:lnTo>
                        <a:pt x="426732" y="251460"/>
                      </a:lnTo>
                      <a:lnTo>
                        <a:pt x="443572" y="242570"/>
                      </a:lnTo>
                      <a:lnTo>
                        <a:pt x="443153" y="241300"/>
                      </a:lnTo>
                      <a:lnTo>
                        <a:pt x="442290" y="241300"/>
                      </a:lnTo>
                      <a:lnTo>
                        <a:pt x="442417" y="240030"/>
                      </a:lnTo>
                      <a:lnTo>
                        <a:pt x="443077" y="240030"/>
                      </a:lnTo>
                      <a:lnTo>
                        <a:pt x="444055" y="238760"/>
                      </a:lnTo>
                      <a:lnTo>
                        <a:pt x="445579" y="237490"/>
                      </a:lnTo>
                      <a:lnTo>
                        <a:pt x="446582" y="236220"/>
                      </a:lnTo>
                      <a:lnTo>
                        <a:pt x="447497" y="234950"/>
                      </a:lnTo>
                      <a:lnTo>
                        <a:pt x="448500" y="233680"/>
                      </a:lnTo>
                      <a:lnTo>
                        <a:pt x="462470" y="233680"/>
                      </a:lnTo>
                      <a:lnTo>
                        <a:pt x="463969" y="234950"/>
                      </a:lnTo>
                      <a:lnTo>
                        <a:pt x="474878" y="237490"/>
                      </a:lnTo>
                      <a:lnTo>
                        <a:pt x="480021" y="240030"/>
                      </a:lnTo>
                      <a:lnTo>
                        <a:pt x="479628" y="238760"/>
                      </a:lnTo>
                      <a:lnTo>
                        <a:pt x="479386" y="237490"/>
                      </a:lnTo>
                      <a:lnTo>
                        <a:pt x="479145" y="237490"/>
                      </a:lnTo>
                      <a:lnTo>
                        <a:pt x="479082" y="236220"/>
                      </a:lnTo>
                      <a:lnTo>
                        <a:pt x="478345" y="233680"/>
                      </a:lnTo>
                      <a:lnTo>
                        <a:pt x="479437" y="229870"/>
                      </a:lnTo>
                      <a:lnTo>
                        <a:pt x="479806" y="228600"/>
                      </a:lnTo>
                      <a:lnTo>
                        <a:pt x="483641" y="227330"/>
                      </a:lnTo>
                      <a:lnTo>
                        <a:pt x="483781" y="227330"/>
                      </a:lnTo>
                      <a:lnTo>
                        <a:pt x="485190" y="226060"/>
                      </a:lnTo>
                      <a:lnTo>
                        <a:pt x="492290" y="226060"/>
                      </a:lnTo>
                      <a:lnTo>
                        <a:pt x="495223" y="228600"/>
                      </a:lnTo>
                      <a:lnTo>
                        <a:pt x="496265" y="228600"/>
                      </a:lnTo>
                      <a:lnTo>
                        <a:pt x="497789" y="229870"/>
                      </a:lnTo>
                      <a:lnTo>
                        <a:pt x="499402" y="229870"/>
                      </a:lnTo>
                      <a:lnTo>
                        <a:pt x="501243" y="231140"/>
                      </a:lnTo>
                      <a:lnTo>
                        <a:pt x="503796" y="231140"/>
                      </a:lnTo>
                      <a:lnTo>
                        <a:pt x="505485" y="232410"/>
                      </a:lnTo>
                      <a:lnTo>
                        <a:pt x="507403" y="232410"/>
                      </a:lnTo>
                      <a:lnTo>
                        <a:pt x="508914" y="231140"/>
                      </a:lnTo>
                      <a:lnTo>
                        <a:pt x="511797" y="231140"/>
                      </a:lnTo>
                      <a:lnTo>
                        <a:pt x="512457" y="229870"/>
                      </a:lnTo>
                      <a:lnTo>
                        <a:pt x="512660" y="231140"/>
                      </a:lnTo>
                      <a:lnTo>
                        <a:pt x="516394" y="229870"/>
                      </a:lnTo>
                      <a:lnTo>
                        <a:pt x="521271" y="231140"/>
                      </a:lnTo>
                      <a:lnTo>
                        <a:pt x="551002" y="231140"/>
                      </a:lnTo>
                      <a:lnTo>
                        <a:pt x="553453" y="232410"/>
                      </a:lnTo>
                      <a:lnTo>
                        <a:pt x="556247" y="232410"/>
                      </a:lnTo>
                      <a:lnTo>
                        <a:pt x="557072" y="233680"/>
                      </a:lnTo>
                      <a:lnTo>
                        <a:pt x="558609" y="233680"/>
                      </a:lnTo>
                      <a:lnTo>
                        <a:pt x="559295" y="232410"/>
                      </a:lnTo>
                      <a:lnTo>
                        <a:pt x="560527" y="232410"/>
                      </a:lnTo>
                      <a:lnTo>
                        <a:pt x="562660" y="234950"/>
                      </a:lnTo>
                      <a:lnTo>
                        <a:pt x="564476" y="238760"/>
                      </a:lnTo>
                      <a:lnTo>
                        <a:pt x="570788" y="238760"/>
                      </a:lnTo>
                      <a:lnTo>
                        <a:pt x="571868" y="240030"/>
                      </a:lnTo>
                      <a:lnTo>
                        <a:pt x="573176" y="240030"/>
                      </a:lnTo>
                      <a:lnTo>
                        <a:pt x="573633" y="241300"/>
                      </a:lnTo>
                      <a:lnTo>
                        <a:pt x="574954" y="242570"/>
                      </a:lnTo>
                      <a:lnTo>
                        <a:pt x="575513" y="242570"/>
                      </a:lnTo>
                      <a:lnTo>
                        <a:pt x="575906" y="243840"/>
                      </a:lnTo>
                      <a:lnTo>
                        <a:pt x="576008" y="242570"/>
                      </a:lnTo>
                      <a:lnTo>
                        <a:pt x="576338" y="241300"/>
                      </a:lnTo>
                      <a:lnTo>
                        <a:pt x="575144" y="234950"/>
                      </a:lnTo>
                      <a:lnTo>
                        <a:pt x="575995" y="233680"/>
                      </a:lnTo>
                      <a:lnTo>
                        <a:pt x="576529" y="232410"/>
                      </a:lnTo>
                      <a:lnTo>
                        <a:pt x="578040" y="232410"/>
                      </a:lnTo>
                      <a:lnTo>
                        <a:pt x="583971" y="231140"/>
                      </a:lnTo>
                      <a:lnTo>
                        <a:pt x="577418" y="231140"/>
                      </a:lnTo>
                      <a:lnTo>
                        <a:pt x="578802" y="227330"/>
                      </a:lnTo>
                      <a:lnTo>
                        <a:pt x="583704" y="227330"/>
                      </a:lnTo>
                      <a:lnTo>
                        <a:pt x="584200" y="226060"/>
                      </a:lnTo>
                      <a:lnTo>
                        <a:pt x="583158" y="220980"/>
                      </a:lnTo>
                      <a:lnTo>
                        <a:pt x="582930" y="220980"/>
                      </a:lnTo>
                      <a:lnTo>
                        <a:pt x="582193" y="219710"/>
                      </a:lnTo>
                      <a:lnTo>
                        <a:pt x="581190" y="217170"/>
                      </a:lnTo>
                      <a:lnTo>
                        <a:pt x="580847" y="215900"/>
                      </a:lnTo>
                      <a:lnTo>
                        <a:pt x="580504" y="214630"/>
                      </a:lnTo>
                      <a:lnTo>
                        <a:pt x="578650" y="210820"/>
                      </a:lnTo>
                      <a:lnTo>
                        <a:pt x="578421" y="209550"/>
                      </a:lnTo>
                      <a:lnTo>
                        <a:pt x="577723" y="204470"/>
                      </a:lnTo>
                      <a:lnTo>
                        <a:pt x="577303" y="203200"/>
                      </a:lnTo>
                      <a:lnTo>
                        <a:pt x="578383" y="199390"/>
                      </a:lnTo>
                      <a:lnTo>
                        <a:pt x="578878" y="200660"/>
                      </a:lnTo>
                      <a:lnTo>
                        <a:pt x="579920" y="199390"/>
                      </a:lnTo>
                      <a:lnTo>
                        <a:pt x="578612" y="198120"/>
                      </a:lnTo>
                      <a:lnTo>
                        <a:pt x="573100" y="198120"/>
                      </a:lnTo>
                      <a:lnTo>
                        <a:pt x="571830" y="196850"/>
                      </a:lnTo>
                      <a:lnTo>
                        <a:pt x="571233" y="196265"/>
                      </a:lnTo>
                      <a:lnTo>
                        <a:pt x="571576" y="195580"/>
                      </a:lnTo>
                      <a:lnTo>
                        <a:pt x="572211" y="194310"/>
                      </a:lnTo>
                      <a:lnTo>
                        <a:pt x="574217" y="194310"/>
                      </a:lnTo>
                      <a:lnTo>
                        <a:pt x="579348" y="193040"/>
                      </a:lnTo>
                      <a:lnTo>
                        <a:pt x="582968" y="191770"/>
                      </a:lnTo>
                      <a:lnTo>
                        <a:pt x="593991" y="189230"/>
                      </a:lnTo>
                      <a:lnTo>
                        <a:pt x="596239" y="187960"/>
                      </a:lnTo>
                      <a:lnTo>
                        <a:pt x="598512" y="187960"/>
                      </a:lnTo>
                      <a:lnTo>
                        <a:pt x="597966" y="189230"/>
                      </a:lnTo>
                      <a:lnTo>
                        <a:pt x="598474" y="190500"/>
                      </a:lnTo>
                      <a:lnTo>
                        <a:pt x="599516" y="191770"/>
                      </a:lnTo>
                      <a:lnTo>
                        <a:pt x="602132" y="190500"/>
                      </a:lnTo>
                      <a:lnTo>
                        <a:pt x="610031" y="190500"/>
                      </a:lnTo>
                      <a:lnTo>
                        <a:pt x="610158" y="189230"/>
                      </a:lnTo>
                      <a:lnTo>
                        <a:pt x="610463" y="187960"/>
                      </a:lnTo>
                      <a:lnTo>
                        <a:pt x="610768" y="186690"/>
                      </a:lnTo>
                      <a:close/>
                    </a:path>
                    <a:path w="690245" h="499110">
                      <a:moveTo>
                        <a:pt x="676986" y="119380"/>
                      </a:moveTo>
                      <a:lnTo>
                        <a:pt x="671334" y="114300"/>
                      </a:lnTo>
                      <a:lnTo>
                        <a:pt x="669798" y="113030"/>
                      </a:lnTo>
                      <a:lnTo>
                        <a:pt x="668261" y="111760"/>
                      </a:lnTo>
                      <a:lnTo>
                        <a:pt x="667727" y="111760"/>
                      </a:lnTo>
                      <a:lnTo>
                        <a:pt x="667054" y="110490"/>
                      </a:lnTo>
                      <a:lnTo>
                        <a:pt x="667372" y="110490"/>
                      </a:lnTo>
                      <a:lnTo>
                        <a:pt x="667219" y="109220"/>
                      </a:lnTo>
                      <a:lnTo>
                        <a:pt x="667537" y="107950"/>
                      </a:lnTo>
                      <a:lnTo>
                        <a:pt x="667486" y="106680"/>
                      </a:lnTo>
                      <a:lnTo>
                        <a:pt x="666102" y="107950"/>
                      </a:lnTo>
                      <a:lnTo>
                        <a:pt x="664730" y="110490"/>
                      </a:lnTo>
                      <a:lnTo>
                        <a:pt x="663308" y="111760"/>
                      </a:lnTo>
                      <a:lnTo>
                        <a:pt x="662203" y="111760"/>
                      </a:lnTo>
                      <a:lnTo>
                        <a:pt x="661009" y="113030"/>
                      </a:lnTo>
                      <a:lnTo>
                        <a:pt x="657771" y="113030"/>
                      </a:lnTo>
                      <a:lnTo>
                        <a:pt x="657809" y="111760"/>
                      </a:lnTo>
                      <a:lnTo>
                        <a:pt x="648665" y="111760"/>
                      </a:lnTo>
                      <a:lnTo>
                        <a:pt x="647865" y="110490"/>
                      </a:lnTo>
                      <a:lnTo>
                        <a:pt x="647128" y="110490"/>
                      </a:lnTo>
                      <a:lnTo>
                        <a:pt x="647217" y="109220"/>
                      </a:lnTo>
                      <a:lnTo>
                        <a:pt x="646823" y="107950"/>
                      </a:lnTo>
                      <a:lnTo>
                        <a:pt x="646226" y="107950"/>
                      </a:lnTo>
                      <a:lnTo>
                        <a:pt x="645782" y="106680"/>
                      </a:lnTo>
                      <a:lnTo>
                        <a:pt x="645502" y="106680"/>
                      </a:lnTo>
                      <a:lnTo>
                        <a:pt x="645172" y="105410"/>
                      </a:lnTo>
                      <a:lnTo>
                        <a:pt x="643775" y="105410"/>
                      </a:lnTo>
                      <a:lnTo>
                        <a:pt x="643826" y="104140"/>
                      </a:lnTo>
                      <a:lnTo>
                        <a:pt x="643966" y="102870"/>
                      </a:lnTo>
                      <a:lnTo>
                        <a:pt x="644779" y="102870"/>
                      </a:lnTo>
                      <a:lnTo>
                        <a:pt x="643432" y="101600"/>
                      </a:lnTo>
                      <a:lnTo>
                        <a:pt x="636612" y="99060"/>
                      </a:lnTo>
                      <a:lnTo>
                        <a:pt x="634885" y="99060"/>
                      </a:lnTo>
                      <a:lnTo>
                        <a:pt x="634136" y="97790"/>
                      </a:lnTo>
                      <a:lnTo>
                        <a:pt x="633247" y="97790"/>
                      </a:lnTo>
                      <a:lnTo>
                        <a:pt x="632904" y="95250"/>
                      </a:lnTo>
                      <a:lnTo>
                        <a:pt x="632421" y="93980"/>
                      </a:lnTo>
                      <a:lnTo>
                        <a:pt x="631952" y="92710"/>
                      </a:lnTo>
                      <a:lnTo>
                        <a:pt x="631507" y="91440"/>
                      </a:lnTo>
                      <a:lnTo>
                        <a:pt x="630961" y="91440"/>
                      </a:lnTo>
                      <a:lnTo>
                        <a:pt x="629589" y="88900"/>
                      </a:lnTo>
                      <a:lnTo>
                        <a:pt x="629234" y="88900"/>
                      </a:lnTo>
                      <a:lnTo>
                        <a:pt x="628510" y="87630"/>
                      </a:lnTo>
                      <a:lnTo>
                        <a:pt x="627430" y="87630"/>
                      </a:lnTo>
                      <a:lnTo>
                        <a:pt x="625627" y="86360"/>
                      </a:lnTo>
                      <a:lnTo>
                        <a:pt x="624852" y="86360"/>
                      </a:lnTo>
                      <a:lnTo>
                        <a:pt x="618274" y="85090"/>
                      </a:lnTo>
                      <a:lnTo>
                        <a:pt x="617728" y="85090"/>
                      </a:lnTo>
                      <a:lnTo>
                        <a:pt x="612914" y="86360"/>
                      </a:lnTo>
                      <a:lnTo>
                        <a:pt x="612101" y="86360"/>
                      </a:lnTo>
                      <a:lnTo>
                        <a:pt x="611784" y="87630"/>
                      </a:lnTo>
                      <a:lnTo>
                        <a:pt x="611352" y="87630"/>
                      </a:lnTo>
                      <a:lnTo>
                        <a:pt x="611162" y="88900"/>
                      </a:lnTo>
                      <a:lnTo>
                        <a:pt x="609206" y="88900"/>
                      </a:lnTo>
                      <a:lnTo>
                        <a:pt x="609066" y="90170"/>
                      </a:lnTo>
                      <a:lnTo>
                        <a:pt x="606653" y="90170"/>
                      </a:lnTo>
                      <a:lnTo>
                        <a:pt x="598601" y="88900"/>
                      </a:lnTo>
                      <a:lnTo>
                        <a:pt x="597839" y="88900"/>
                      </a:lnTo>
                      <a:lnTo>
                        <a:pt x="596112" y="90170"/>
                      </a:lnTo>
                      <a:lnTo>
                        <a:pt x="593686" y="90170"/>
                      </a:lnTo>
                      <a:lnTo>
                        <a:pt x="593229" y="88900"/>
                      </a:lnTo>
                      <a:lnTo>
                        <a:pt x="591832" y="88900"/>
                      </a:lnTo>
                      <a:lnTo>
                        <a:pt x="590638" y="86360"/>
                      </a:lnTo>
                      <a:lnTo>
                        <a:pt x="589356" y="86360"/>
                      </a:lnTo>
                      <a:lnTo>
                        <a:pt x="588327" y="85090"/>
                      </a:lnTo>
                      <a:lnTo>
                        <a:pt x="587895" y="83820"/>
                      </a:lnTo>
                      <a:lnTo>
                        <a:pt x="588505" y="82550"/>
                      </a:lnTo>
                      <a:lnTo>
                        <a:pt x="588797" y="82550"/>
                      </a:lnTo>
                      <a:lnTo>
                        <a:pt x="588924" y="81280"/>
                      </a:lnTo>
                      <a:lnTo>
                        <a:pt x="588670" y="81280"/>
                      </a:lnTo>
                      <a:lnTo>
                        <a:pt x="582917" y="78740"/>
                      </a:lnTo>
                      <a:lnTo>
                        <a:pt x="582307" y="78740"/>
                      </a:lnTo>
                      <a:lnTo>
                        <a:pt x="581812" y="80010"/>
                      </a:lnTo>
                      <a:lnTo>
                        <a:pt x="581507" y="80010"/>
                      </a:lnTo>
                      <a:lnTo>
                        <a:pt x="581304" y="81280"/>
                      </a:lnTo>
                      <a:lnTo>
                        <a:pt x="581215" y="80010"/>
                      </a:lnTo>
                      <a:lnTo>
                        <a:pt x="581050" y="81280"/>
                      </a:lnTo>
                      <a:lnTo>
                        <a:pt x="579882" y="80010"/>
                      </a:lnTo>
                      <a:lnTo>
                        <a:pt x="579450" y="80010"/>
                      </a:lnTo>
                      <a:lnTo>
                        <a:pt x="579170" y="81280"/>
                      </a:lnTo>
                      <a:lnTo>
                        <a:pt x="578777" y="81280"/>
                      </a:lnTo>
                      <a:lnTo>
                        <a:pt x="578777" y="82550"/>
                      </a:lnTo>
                      <a:lnTo>
                        <a:pt x="579653" y="82550"/>
                      </a:lnTo>
                      <a:lnTo>
                        <a:pt x="579539" y="85090"/>
                      </a:lnTo>
                      <a:lnTo>
                        <a:pt x="579145" y="85090"/>
                      </a:lnTo>
                      <a:lnTo>
                        <a:pt x="578192" y="86360"/>
                      </a:lnTo>
                      <a:lnTo>
                        <a:pt x="575703" y="86360"/>
                      </a:lnTo>
                      <a:lnTo>
                        <a:pt x="575284" y="87630"/>
                      </a:lnTo>
                      <a:lnTo>
                        <a:pt x="573214" y="87630"/>
                      </a:lnTo>
                      <a:lnTo>
                        <a:pt x="573354" y="88087"/>
                      </a:lnTo>
                      <a:lnTo>
                        <a:pt x="572160" y="86360"/>
                      </a:lnTo>
                      <a:lnTo>
                        <a:pt x="571754" y="86360"/>
                      </a:lnTo>
                      <a:lnTo>
                        <a:pt x="566775" y="78740"/>
                      </a:lnTo>
                      <a:lnTo>
                        <a:pt x="557047" y="62230"/>
                      </a:lnTo>
                      <a:lnTo>
                        <a:pt x="551776" y="54610"/>
                      </a:lnTo>
                      <a:lnTo>
                        <a:pt x="548741" y="49530"/>
                      </a:lnTo>
                      <a:lnTo>
                        <a:pt x="546112" y="46990"/>
                      </a:lnTo>
                      <a:lnTo>
                        <a:pt x="543166" y="41910"/>
                      </a:lnTo>
                      <a:lnTo>
                        <a:pt x="541515" y="40640"/>
                      </a:lnTo>
                      <a:lnTo>
                        <a:pt x="539775" y="39370"/>
                      </a:lnTo>
                      <a:lnTo>
                        <a:pt x="536930" y="36830"/>
                      </a:lnTo>
                      <a:lnTo>
                        <a:pt x="532650" y="33020"/>
                      </a:lnTo>
                      <a:lnTo>
                        <a:pt x="529564" y="31750"/>
                      </a:lnTo>
                      <a:lnTo>
                        <a:pt x="526580" y="29210"/>
                      </a:lnTo>
                      <a:lnTo>
                        <a:pt x="525576" y="27940"/>
                      </a:lnTo>
                      <a:lnTo>
                        <a:pt x="523659" y="26670"/>
                      </a:lnTo>
                      <a:lnTo>
                        <a:pt x="522389" y="25400"/>
                      </a:lnTo>
                      <a:lnTo>
                        <a:pt x="521042" y="24130"/>
                      </a:lnTo>
                      <a:lnTo>
                        <a:pt x="521271" y="24130"/>
                      </a:lnTo>
                      <a:lnTo>
                        <a:pt x="523240" y="22860"/>
                      </a:lnTo>
                      <a:lnTo>
                        <a:pt x="523506" y="24130"/>
                      </a:lnTo>
                      <a:lnTo>
                        <a:pt x="525830" y="24130"/>
                      </a:lnTo>
                      <a:lnTo>
                        <a:pt x="525856" y="22860"/>
                      </a:lnTo>
                      <a:lnTo>
                        <a:pt x="526427" y="22860"/>
                      </a:lnTo>
                      <a:lnTo>
                        <a:pt x="526440" y="19050"/>
                      </a:lnTo>
                      <a:lnTo>
                        <a:pt x="527367" y="19050"/>
                      </a:lnTo>
                      <a:lnTo>
                        <a:pt x="528523" y="17780"/>
                      </a:lnTo>
                      <a:lnTo>
                        <a:pt x="512152" y="24130"/>
                      </a:lnTo>
                      <a:lnTo>
                        <a:pt x="508063" y="25425"/>
                      </a:lnTo>
                      <a:lnTo>
                        <a:pt x="504317" y="27940"/>
                      </a:lnTo>
                      <a:lnTo>
                        <a:pt x="500240" y="30480"/>
                      </a:lnTo>
                      <a:lnTo>
                        <a:pt x="500100" y="30480"/>
                      </a:lnTo>
                      <a:lnTo>
                        <a:pt x="493839" y="33020"/>
                      </a:lnTo>
                      <a:lnTo>
                        <a:pt x="493229" y="33020"/>
                      </a:lnTo>
                      <a:lnTo>
                        <a:pt x="492988" y="34290"/>
                      </a:lnTo>
                      <a:lnTo>
                        <a:pt x="492874" y="35560"/>
                      </a:lnTo>
                      <a:lnTo>
                        <a:pt x="492658" y="36830"/>
                      </a:lnTo>
                      <a:lnTo>
                        <a:pt x="491210" y="36830"/>
                      </a:lnTo>
                      <a:lnTo>
                        <a:pt x="490778" y="35560"/>
                      </a:lnTo>
                      <a:lnTo>
                        <a:pt x="481431" y="35560"/>
                      </a:lnTo>
                      <a:lnTo>
                        <a:pt x="478637" y="38100"/>
                      </a:lnTo>
                      <a:lnTo>
                        <a:pt x="476275" y="34290"/>
                      </a:lnTo>
                      <a:lnTo>
                        <a:pt x="476123" y="34290"/>
                      </a:lnTo>
                      <a:lnTo>
                        <a:pt x="475894" y="33020"/>
                      </a:lnTo>
                      <a:lnTo>
                        <a:pt x="476567" y="33020"/>
                      </a:lnTo>
                      <a:lnTo>
                        <a:pt x="476808" y="31750"/>
                      </a:lnTo>
                      <a:lnTo>
                        <a:pt x="477291" y="31750"/>
                      </a:lnTo>
                      <a:lnTo>
                        <a:pt x="478129" y="30480"/>
                      </a:lnTo>
                      <a:lnTo>
                        <a:pt x="478320" y="30480"/>
                      </a:lnTo>
                      <a:lnTo>
                        <a:pt x="478472" y="29210"/>
                      </a:lnTo>
                      <a:lnTo>
                        <a:pt x="479399" y="29210"/>
                      </a:lnTo>
                      <a:lnTo>
                        <a:pt x="480847" y="27940"/>
                      </a:lnTo>
                      <a:lnTo>
                        <a:pt x="481533" y="27940"/>
                      </a:lnTo>
                      <a:lnTo>
                        <a:pt x="482612" y="26670"/>
                      </a:lnTo>
                      <a:lnTo>
                        <a:pt x="482815" y="26670"/>
                      </a:lnTo>
                      <a:lnTo>
                        <a:pt x="483057" y="25425"/>
                      </a:lnTo>
                      <a:lnTo>
                        <a:pt x="474192" y="26670"/>
                      </a:lnTo>
                      <a:lnTo>
                        <a:pt x="472046" y="26670"/>
                      </a:lnTo>
                      <a:lnTo>
                        <a:pt x="469734" y="25400"/>
                      </a:lnTo>
                      <a:lnTo>
                        <a:pt x="467702" y="24130"/>
                      </a:lnTo>
                      <a:lnTo>
                        <a:pt x="466013" y="24130"/>
                      </a:lnTo>
                      <a:lnTo>
                        <a:pt x="465861" y="25400"/>
                      </a:lnTo>
                      <a:lnTo>
                        <a:pt x="467372" y="25400"/>
                      </a:lnTo>
                      <a:lnTo>
                        <a:pt x="466725" y="26670"/>
                      </a:lnTo>
                      <a:lnTo>
                        <a:pt x="465543" y="26670"/>
                      </a:lnTo>
                      <a:lnTo>
                        <a:pt x="465112" y="27940"/>
                      </a:lnTo>
                      <a:lnTo>
                        <a:pt x="463918" y="27940"/>
                      </a:lnTo>
                      <a:lnTo>
                        <a:pt x="463905" y="25400"/>
                      </a:lnTo>
                      <a:lnTo>
                        <a:pt x="463600" y="25400"/>
                      </a:lnTo>
                      <a:lnTo>
                        <a:pt x="463638" y="24130"/>
                      </a:lnTo>
                      <a:lnTo>
                        <a:pt x="463511" y="24130"/>
                      </a:lnTo>
                      <a:lnTo>
                        <a:pt x="463194" y="22860"/>
                      </a:lnTo>
                      <a:lnTo>
                        <a:pt x="462749" y="21590"/>
                      </a:lnTo>
                      <a:lnTo>
                        <a:pt x="460413" y="19050"/>
                      </a:lnTo>
                      <a:lnTo>
                        <a:pt x="460286" y="19050"/>
                      </a:lnTo>
                      <a:lnTo>
                        <a:pt x="459003" y="20320"/>
                      </a:lnTo>
                      <a:lnTo>
                        <a:pt x="459143" y="20320"/>
                      </a:lnTo>
                      <a:lnTo>
                        <a:pt x="459930" y="21590"/>
                      </a:lnTo>
                      <a:lnTo>
                        <a:pt x="460209" y="22860"/>
                      </a:lnTo>
                      <a:lnTo>
                        <a:pt x="460273" y="24130"/>
                      </a:lnTo>
                      <a:lnTo>
                        <a:pt x="459447" y="24130"/>
                      </a:lnTo>
                      <a:lnTo>
                        <a:pt x="458825" y="22860"/>
                      </a:lnTo>
                      <a:lnTo>
                        <a:pt x="457174" y="22860"/>
                      </a:lnTo>
                      <a:lnTo>
                        <a:pt x="453910" y="24130"/>
                      </a:lnTo>
                      <a:lnTo>
                        <a:pt x="445782" y="24130"/>
                      </a:lnTo>
                      <a:lnTo>
                        <a:pt x="445198" y="22860"/>
                      </a:lnTo>
                      <a:lnTo>
                        <a:pt x="444500" y="22860"/>
                      </a:lnTo>
                      <a:lnTo>
                        <a:pt x="444131" y="21590"/>
                      </a:lnTo>
                      <a:lnTo>
                        <a:pt x="443725" y="21590"/>
                      </a:lnTo>
                      <a:lnTo>
                        <a:pt x="443687" y="20320"/>
                      </a:lnTo>
                      <a:lnTo>
                        <a:pt x="445033" y="20320"/>
                      </a:lnTo>
                      <a:lnTo>
                        <a:pt x="446735" y="21590"/>
                      </a:lnTo>
                      <a:lnTo>
                        <a:pt x="446824" y="19050"/>
                      </a:lnTo>
                      <a:lnTo>
                        <a:pt x="446544" y="19050"/>
                      </a:lnTo>
                      <a:lnTo>
                        <a:pt x="446481" y="17780"/>
                      </a:lnTo>
                      <a:lnTo>
                        <a:pt x="446239" y="17780"/>
                      </a:lnTo>
                      <a:lnTo>
                        <a:pt x="446163" y="16510"/>
                      </a:lnTo>
                      <a:lnTo>
                        <a:pt x="446049" y="15240"/>
                      </a:lnTo>
                      <a:lnTo>
                        <a:pt x="447141" y="13970"/>
                      </a:lnTo>
                      <a:lnTo>
                        <a:pt x="447332" y="12700"/>
                      </a:lnTo>
                      <a:lnTo>
                        <a:pt x="446239" y="11430"/>
                      </a:lnTo>
                      <a:lnTo>
                        <a:pt x="443547" y="6350"/>
                      </a:lnTo>
                      <a:lnTo>
                        <a:pt x="442366" y="3810"/>
                      </a:lnTo>
                      <a:lnTo>
                        <a:pt x="441198" y="1270"/>
                      </a:lnTo>
                      <a:lnTo>
                        <a:pt x="435838" y="1270"/>
                      </a:lnTo>
                      <a:lnTo>
                        <a:pt x="434365" y="2540"/>
                      </a:lnTo>
                      <a:lnTo>
                        <a:pt x="433362" y="3810"/>
                      </a:lnTo>
                      <a:lnTo>
                        <a:pt x="429577" y="3810"/>
                      </a:lnTo>
                      <a:lnTo>
                        <a:pt x="428510" y="2540"/>
                      </a:lnTo>
                      <a:lnTo>
                        <a:pt x="427799" y="2540"/>
                      </a:lnTo>
                      <a:lnTo>
                        <a:pt x="426656" y="1270"/>
                      </a:lnTo>
                      <a:lnTo>
                        <a:pt x="425513" y="0"/>
                      </a:lnTo>
                      <a:lnTo>
                        <a:pt x="417461" y="0"/>
                      </a:lnTo>
                      <a:lnTo>
                        <a:pt x="417080" y="1270"/>
                      </a:lnTo>
                      <a:lnTo>
                        <a:pt x="416255" y="0"/>
                      </a:lnTo>
                      <a:lnTo>
                        <a:pt x="415213" y="0"/>
                      </a:lnTo>
                      <a:lnTo>
                        <a:pt x="415213" y="1079"/>
                      </a:lnTo>
                      <a:lnTo>
                        <a:pt x="413905" y="0"/>
                      </a:lnTo>
                      <a:lnTo>
                        <a:pt x="410908" y="0"/>
                      </a:lnTo>
                      <a:lnTo>
                        <a:pt x="410692" y="1270"/>
                      </a:lnTo>
                      <a:lnTo>
                        <a:pt x="410438" y="2540"/>
                      </a:lnTo>
                      <a:lnTo>
                        <a:pt x="410032" y="2540"/>
                      </a:lnTo>
                      <a:lnTo>
                        <a:pt x="409575" y="3810"/>
                      </a:lnTo>
                      <a:lnTo>
                        <a:pt x="406781" y="5080"/>
                      </a:lnTo>
                      <a:lnTo>
                        <a:pt x="404710" y="6350"/>
                      </a:lnTo>
                      <a:lnTo>
                        <a:pt x="403644" y="7620"/>
                      </a:lnTo>
                      <a:lnTo>
                        <a:pt x="398068" y="7620"/>
                      </a:lnTo>
                      <a:lnTo>
                        <a:pt x="397903" y="8890"/>
                      </a:lnTo>
                      <a:lnTo>
                        <a:pt x="397738" y="8890"/>
                      </a:lnTo>
                      <a:lnTo>
                        <a:pt x="391147" y="10160"/>
                      </a:lnTo>
                      <a:lnTo>
                        <a:pt x="390994" y="10160"/>
                      </a:lnTo>
                      <a:lnTo>
                        <a:pt x="385241" y="11430"/>
                      </a:lnTo>
                      <a:lnTo>
                        <a:pt x="383273" y="11430"/>
                      </a:lnTo>
                      <a:lnTo>
                        <a:pt x="383159" y="12700"/>
                      </a:lnTo>
                      <a:lnTo>
                        <a:pt x="376707" y="12700"/>
                      </a:lnTo>
                      <a:lnTo>
                        <a:pt x="374459" y="13970"/>
                      </a:lnTo>
                      <a:lnTo>
                        <a:pt x="371906" y="13970"/>
                      </a:lnTo>
                      <a:lnTo>
                        <a:pt x="371830" y="12700"/>
                      </a:lnTo>
                      <a:lnTo>
                        <a:pt x="370166" y="12700"/>
                      </a:lnTo>
                      <a:lnTo>
                        <a:pt x="369938" y="13970"/>
                      </a:lnTo>
                      <a:lnTo>
                        <a:pt x="364693" y="13970"/>
                      </a:lnTo>
                      <a:lnTo>
                        <a:pt x="361607" y="16510"/>
                      </a:lnTo>
                      <a:lnTo>
                        <a:pt x="360946" y="16510"/>
                      </a:lnTo>
                      <a:lnTo>
                        <a:pt x="359981" y="17780"/>
                      </a:lnTo>
                      <a:lnTo>
                        <a:pt x="359511" y="19050"/>
                      </a:lnTo>
                      <a:lnTo>
                        <a:pt x="358838" y="19050"/>
                      </a:lnTo>
                      <a:lnTo>
                        <a:pt x="358571" y="20320"/>
                      </a:lnTo>
                      <a:lnTo>
                        <a:pt x="358406" y="19050"/>
                      </a:lnTo>
                      <a:lnTo>
                        <a:pt x="356362" y="19050"/>
                      </a:lnTo>
                      <a:lnTo>
                        <a:pt x="354850" y="20320"/>
                      </a:lnTo>
                      <a:lnTo>
                        <a:pt x="352983" y="20320"/>
                      </a:lnTo>
                      <a:lnTo>
                        <a:pt x="352767" y="19050"/>
                      </a:lnTo>
                      <a:lnTo>
                        <a:pt x="350240" y="19050"/>
                      </a:lnTo>
                      <a:lnTo>
                        <a:pt x="349846" y="20320"/>
                      </a:lnTo>
                      <a:lnTo>
                        <a:pt x="343522" y="20320"/>
                      </a:lnTo>
                      <a:lnTo>
                        <a:pt x="343293" y="21590"/>
                      </a:lnTo>
                      <a:lnTo>
                        <a:pt x="338785" y="21590"/>
                      </a:lnTo>
                      <a:lnTo>
                        <a:pt x="333806" y="22860"/>
                      </a:lnTo>
                      <a:lnTo>
                        <a:pt x="331254" y="22860"/>
                      </a:lnTo>
                      <a:lnTo>
                        <a:pt x="330720" y="24130"/>
                      </a:lnTo>
                      <a:lnTo>
                        <a:pt x="327101" y="25400"/>
                      </a:lnTo>
                      <a:lnTo>
                        <a:pt x="326986" y="24130"/>
                      </a:lnTo>
                      <a:lnTo>
                        <a:pt x="326872" y="25400"/>
                      </a:lnTo>
                      <a:lnTo>
                        <a:pt x="323189" y="25400"/>
                      </a:lnTo>
                      <a:lnTo>
                        <a:pt x="323126" y="26670"/>
                      </a:lnTo>
                      <a:lnTo>
                        <a:pt x="322046" y="27940"/>
                      </a:lnTo>
                      <a:lnTo>
                        <a:pt x="320763" y="27940"/>
                      </a:lnTo>
                      <a:lnTo>
                        <a:pt x="320890" y="26670"/>
                      </a:lnTo>
                      <a:lnTo>
                        <a:pt x="309016" y="26670"/>
                      </a:lnTo>
                      <a:lnTo>
                        <a:pt x="307047" y="25400"/>
                      </a:lnTo>
                      <a:lnTo>
                        <a:pt x="304507" y="25400"/>
                      </a:lnTo>
                      <a:lnTo>
                        <a:pt x="303568" y="26670"/>
                      </a:lnTo>
                      <a:lnTo>
                        <a:pt x="302793" y="27940"/>
                      </a:lnTo>
                      <a:lnTo>
                        <a:pt x="300494" y="27940"/>
                      </a:lnTo>
                      <a:lnTo>
                        <a:pt x="303263" y="30480"/>
                      </a:lnTo>
                      <a:lnTo>
                        <a:pt x="303199" y="31750"/>
                      </a:lnTo>
                      <a:lnTo>
                        <a:pt x="302387" y="31750"/>
                      </a:lnTo>
                      <a:lnTo>
                        <a:pt x="301840" y="33020"/>
                      </a:lnTo>
                      <a:lnTo>
                        <a:pt x="301498" y="33020"/>
                      </a:lnTo>
                      <a:lnTo>
                        <a:pt x="301447" y="34290"/>
                      </a:lnTo>
                      <a:lnTo>
                        <a:pt x="301688" y="34290"/>
                      </a:lnTo>
                      <a:lnTo>
                        <a:pt x="302526" y="35560"/>
                      </a:lnTo>
                      <a:lnTo>
                        <a:pt x="306209" y="35560"/>
                      </a:lnTo>
                      <a:lnTo>
                        <a:pt x="306578" y="34290"/>
                      </a:lnTo>
                      <a:lnTo>
                        <a:pt x="307073" y="34290"/>
                      </a:lnTo>
                      <a:lnTo>
                        <a:pt x="307594" y="35560"/>
                      </a:lnTo>
                      <a:lnTo>
                        <a:pt x="308533" y="35560"/>
                      </a:lnTo>
                      <a:lnTo>
                        <a:pt x="308457" y="36830"/>
                      </a:lnTo>
                      <a:lnTo>
                        <a:pt x="307378" y="36830"/>
                      </a:lnTo>
                      <a:lnTo>
                        <a:pt x="307047" y="38100"/>
                      </a:lnTo>
                      <a:lnTo>
                        <a:pt x="306260" y="38100"/>
                      </a:lnTo>
                      <a:lnTo>
                        <a:pt x="305943" y="36830"/>
                      </a:lnTo>
                      <a:lnTo>
                        <a:pt x="303923" y="36830"/>
                      </a:lnTo>
                      <a:lnTo>
                        <a:pt x="303898" y="38100"/>
                      </a:lnTo>
                      <a:lnTo>
                        <a:pt x="303174" y="38100"/>
                      </a:lnTo>
                      <a:lnTo>
                        <a:pt x="302844" y="39370"/>
                      </a:lnTo>
                      <a:lnTo>
                        <a:pt x="303301" y="39370"/>
                      </a:lnTo>
                      <a:lnTo>
                        <a:pt x="303733" y="40640"/>
                      </a:lnTo>
                      <a:lnTo>
                        <a:pt x="305701" y="40640"/>
                      </a:lnTo>
                      <a:lnTo>
                        <a:pt x="306666" y="41910"/>
                      </a:lnTo>
                      <a:lnTo>
                        <a:pt x="309638" y="41910"/>
                      </a:lnTo>
                      <a:lnTo>
                        <a:pt x="311137" y="43180"/>
                      </a:lnTo>
                      <a:lnTo>
                        <a:pt x="315163" y="44450"/>
                      </a:lnTo>
                      <a:lnTo>
                        <a:pt x="316763" y="44450"/>
                      </a:lnTo>
                      <a:lnTo>
                        <a:pt x="316572" y="45720"/>
                      </a:lnTo>
                      <a:lnTo>
                        <a:pt x="316191" y="45720"/>
                      </a:lnTo>
                      <a:lnTo>
                        <a:pt x="316001" y="46990"/>
                      </a:lnTo>
                      <a:lnTo>
                        <a:pt x="308241" y="46990"/>
                      </a:lnTo>
                      <a:lnTo>
                        <a:pt x="308203" y="45720"/>
                      </a:lnTo>
                      <a:lnTo>
                        <a:pt x="306400" y="45720"/>
                      </a:lnTo>
                      <a:lnTo>
                        <a:pt x="306311" y="46990"/>
                      </a:lnTo>
                      <a:lnTo>
                        <a:pt x="305714" y="46990"/>
                      </a:lnTo>
                      <a:lnTo>
                        <a:pt x="305054" y="45720"/>
                      </a:lnTo>
                      <a:lnTo>
                        <a:pt x="302285" y="45720"/>
                      </a:lnTo>
                      <a:lnTo>
                        <a:pt x="301828" y="46990"/>
                      </a:lnTo>
                      <a:lnTo>
                        <a:pt x="300609" y="46990"/>
                      </a:lnTo>
                      <a:lnTo>
                        <a:pt x="298450" y="49530"/>
                      </a:lnTo>
                      <a:lnTo>
                        <a:pt x="297484" y="50800"/>
                      </a:lnTo>
                      <a:lnTo>
                        <a:pt x="296672" y="50800"/>
                      </a:lnTo>
                      <a:lnTo>
                        <a:pt x="296481" y="52070"/>
                      </a:lnTo>
                      <a:lnTo>
                        <a:pt x="300507" y="58420"/>
                      </a:lnTo>
                      <a:lnTo>
                        <a:pt x="301028" y="58420"/>
                      </a:lnTo>
                      <a:lnTo>
                        <a:pt x="301142" y="59690"/>
                      </a:lnTo>
                      <a:lnTo>
                        <a:pt x="299542" y="59690"/>
                      </a:lnTo>
                      <a:lnTo>
                        <a:pt x="298716" y="60960"/>
                      </a:lnTo>
                      <a:lnTo>
                        <a:pt x="297408" y="60960"/>
                      </a:lnTo>
                      <a:lnTo>
                        <a:pt x="297256" y="62230"/>
                      </a:lnTo>
                      <a:lnTo>
                        <a:pt x="293128" y="62230"/>
                      </a:lnTo>
                      <a:lnTo>
                        <a:pt x="292544" y="63500"/>
                      </a:lnTo>
                      <a:lnTo>
                        <a:pt x="291452" y="63500"/>
                      </a:lnTo>
                      <a:lnTo>
                        <a:pt x="289928" y="64770"/>
                      </a:lnTo>
                      <a:lnTo>
                        <a:pt x="289610" y="66040"/>
                      </a:lnTo>
                      <a:lnTo>
                        <a:pt x="286715" y="66040"/>
                      </a:lnTo>
                      <a:lnTo>
                        <a:pt x="286880" y="67310"/>
                      </a:lnTo>
                      <a:lnTo>
                        <a:pt x="287261" y="67310"/>
                      </a:lnTo>
                      <a:lnTo>
                        <a:pt x="287959" y="68580"/>
                      </a:lnTo>
                      <a:lnTo>
                        <a:pt x="288315" y="68580"/>
                      </a:lnTo>
                      <a:lnTo>
                        <a:pt x="289471" y="69850"/>
                      </a:lnTo>
                      <a:lnTo>
                        <a:pt x="291261" y="69850"/>
                      </a:lnTo>
                      <a:lnTo>
                        <a:pt x="292468" y="71120"/>
                      </a:lnTo>
                      <a:lnTo>
                        <a:pt x="291782" y="71120"/>
                      </a:lnTo>
                      <a:lnTo>
                        <a:pt x="292087" y="72390"/>
                      </a:lnTo>
                      <a:lnTo>
                        <a:pt x="296367" y="72390"/>
                      </a:lnTo>
                      <a:lnTo>
                        <a:pt x="301002" y="74930"/>
                      </a:lnTo>
                      <a:lnTo>
                        <a:pt x="301269" y="76200"/>
                      </a:lnTo>
                      <a:lnTo>
                        <a:pt x="301688" y="76200"/>
                      </a:lnTo>
                      <a:lnTo>
                        <a:pt x="309092" y="78740"/>
                      </a:lnTo>
                      <a:lnTo>
                        <a:pt x="310210" y="80010"/>
                      </a:lnTo>
                      <a:lnTo>
                        <a:pt x="309816" y="80010"/>
                      </a:lnTo>
                      <a:lnTo>
                        <a:pt x="308063" y="82550"/>
                      </a:lnTo>
                      <a:lnTo>
                        <a:pt x="307670" y="83820"/>
                      </a:lnTo>
                      <a:lnTo>
                        <a:pt x="307581" y="85090"/>
                      </a:lnTo>
                      <a:lnTo>
                        <a:pt x="307327" y="86360"/>
                      </a:lnTo>
                      <a:lnTo>
                        <a:pt x="307263" y="87630"/>
                      </a:lnTo>
                      <a:lnTo>
                        <a:pt x="306933" y="87630"/>
                      </a:lnTo>
                      <a:lnTo>
                        <a:pt x="306705" y="88900"/>
                      </a:lnTo>
                      <a:lnTo>
                        <a:pt x="305701" y="88900"/>
                      </a:lnTo>
                      <a:lnTo>
                        <a:pt x="303530" y="90170"/>
                      </a:lnTo>
                      <a:lnTo>
                        <a:pt x="299554" y="90170"/>
                      </a:lnTo>
                      <a:lnTo>
                        <a:pt x="297751" y="91440"/>
                      </a:lnTo>
                      <a:lnTo>
                        <a:pt x="296240" y="91440"/>
                      </a:lnTo>
                      <a:lnTo>
                        <a:pt x="294284" y="90170"/>
                      </a:lnTo>
                      <a:lnTo>
                        <a:pt x="292239" y="90170"/>
                      </a:lnTo>
                      <a:lnTo>
                        <a:pt x="290296" y="88900"/>
                      </a:lnTo>
                      <a:lnTo>
                        <a:pt x="288886" y="88900"/>
                      </a:lnTo>
                      <a:lnTo>
                        <a:pt x="286270" y="87630"/>
                      </a:lnTo>
                      <a:lnTo>
                        <a:pt x="286143" y="87630"/>
                      </a:lnTo>
                      <a:lnTo>
                        <a:pt x="285978" y="88900"/>
                      </a:lnTo>
                      <a:lnTo>
                        <a:pt x="285648" y="90170"/>
                      </a:lnTo>
                      <a:lnTo>
                        <a:pt x="285178" y="90170"/>
                      </a:lnTo>
                      <a:lnTo>
                        <a:pt x="284937" y="91440"/>
                      </a:lnTo>
                      <a:lnTo>
                        <a:pt x="284632" y="91440"/>
                      </a:lnTo>
                      <a:lnTo>
                        <a:pt x="283933" y="92710"/>
                      </a:lnTo>
                      <a:lnTo>
                        <a:pt x="283641" y="92710"/>
                      </a:lnTo>
                      <a:lnTo>
                        <a:pt x="283641" y="173990"/>
                      </a:lnTo>
                      <a:lnTo>
                        <a:pt x="283641" y="175260"/>
                      </a:lnTo>
                      <a:lnTo>
                        <a:pt x="283413" y="175260"/>
                      </a:lnTo>
                      <a:lnTo>
                        <a:pt x="282397" y="175983"/>
                      </a:lnTo>
                      <a:lnTo>
                        <a:pt x="282295" y="175260"/>
                      </a:lnTo>
                      <a:lnTo>
                        <a:pt x="280708" y="173990"/>
                      </a:lnTo>
                      <a:lnTo>
                        <a:pt x="280022" y="172720"/>
                      </a:lnTo>
                      <a:lnTo>
                        <a:pt x="279438" y="171450"/>
                      </a:lnTo>
                      <a:lnTo>
                        <a:pt x="282905" y="171450"/>
                      </a:lnTo>
                      <a:lnTo>
                        <a:pt x="283641" y="173990"/>
                      </a:lnTo>
                      <a:lnTo>
                        <a:pt x="283641" y="92710"/>
                      </a:lnTo>
                      <a:lnTo>
                        <a:pt x="283210" y="92710"/>
                      </a:lnTo>
                      <a:lnTo>
                        <a:pt x="281724" y="93980"/>
                      </a:lnTo>
                      <a:lnTo>
                        <a:pt x="279971" y="93980"/>
                      </a:lnTo>
                      <a:lnTo>
                        <a:pt x="279971" y="92710"/>
                      </a:lnTo>
                      <a:lnTo>
                        <a:pt x="280873" y="92710"/>
                      </a:lnTo>
                      <a:lnTo>
                        <a:pt x="277850" y="91440"/>
                      </a:lnTo>
                      <a:lnTo>
                        <a:pt x="272313" y="91440"/>
                      </a:lnTo>
                      <a:lnTo>
                        <a:pt x="271322" y="90170"/>
                      </a:lnTo>
                      <a:lnTo>
                        <a:pt x="269138" y="90170"/>
                      </a:lnTo>
                      <a:lnTo>
                        <a:pt x="268376" y="88900"/>
                      </a:lnTo>
                      <a:lnTo>
                        <a:pt x="267665" y="88900"/>
                      </a:lnTo>
                      <a:lnTo>
                        <a:pt x="266992" y="87630"/>
                      </a:lnTo>
                      <a:lnTo>
                        <a:pt x="266941" y="86360"/>
                      </a:lnTo>
                      <a:lnTo>
                        <a:pt x="266141" y="81280"/>
                      </a:lnTo>
                      <a:lnTo>
                        <a:pt x="260477" y="82550"/>
                      </a:lnTo>
                      <a:lnTo>
                        <a:pt x="253263" y="82550"/>
                      </a:lnTo>
                      <a:lnTo>
                        <a:pt x="255308" y="83820"/>
                      </a:lnTo>
                      <a:lnTo>
                        <a:pt x="254152" y="85090"/>
                      </a:lnTo>
                      <a:lnTo>
                        <a:pt x="254076" y="86360"/>
                      </a:lnTo>
                      <a:lnTo>
                        <a:pt x="252780" y="86360"/>
                      </a:lnTo>
                      <a:lnTo>
                        <a:pt x="252133" y="87630"/>
                      </a:lnTo>
                      <a:lnTo>
                        <a:pt x="250736" y="87630"/>
                      </a:lnTo>
                      <a:lnTo>
                        <a:pt x="249301" y="86360"/>
                      </a:lnTo>
                      <a:lnTo>
                        <a:pt x="248437" y="86360"/>
                      </a:lnTo>
                      <a:lnTo>
                        <a:pt x="247599" y="85090"/>
                      </a:lnTo>
                      <a:lnTo>
                        <a:pt x="245821" y="83820"/>
                      </a:lnTo>
                      <a:lnTo>
                        <a:pt x="246595" y="82550"/>
                      </a:lnTo>
                      <a:lnTo>
                        <a:pt x="239458" y="83820"/>
                      </a:lnTo>
                      <a:lnTo>
                        <a:pt x="234632" y="83820"/>
                      </a:lnTo>
                      <a:lnTo>
                        <a:pt x="235788" y="85090"/>
                      </a:lnTo>
                      <a:lnTo>
                        <a:pt x="233095" y="87630"/>
                      </a:lnTo>
                      <a:lnTo>
                        <a:pt x="231825" y="86360"/>
                      </a:lnTo>
                      <a:lnTo>
                        <a:pt x="230873" y="88900"/>
                      </a:lnTo>
                      <a:lnTo>
                        <a:pt x="230657" y="88900"/>
                      </a:lnTo>
                      <a:lnTo>
                        <a:pt x="229971" y="90170"/>
                      </a:lnTo>
                      <a:lnTo>
                        <a:pt x="229311" y="90170"/>
                      </a:lnTo>
                      <a:lnTo>
                        <a:pt x="228600" y="91440"/>
                      </a:lnTo>
                      <a:lnTo>
                        <a:pt x="226923" y="91440"/>
                      </a:lnTo>
                      <a:lnTo>
                        <a:pt x="225615" y="92710"/>
                      </a:lnTo>
                      <a:lnTo>
                        <a:pt x="222427" y="92710"/>
                      </a:lnTo>
                      <a:lnTo>
                        <a:pt x="220687" y="91440"/>
                      </a:lnTo>
                      <a:lnTo>
                        <a:pt x="218300" y="90170"/>
                      </a:lnTo>
                      <a:lnTo>
                        <a:pt x="215900" y="87630"/>
                      </a:lnTo>
                      <a:lnTo>
                        <a:pt x="213067" y="86360"/>
                      </a:lnTo>
                      <a:lnTo>
                        <a:pt x="212077" y="85090"/>
                      </a:lnTo>
                      <a:lnTo>
                        <a:pt x="210743" y="83820"/>
                      </a:lnTo>
                      <a:lnTo>
                        <a:pt x="208610" y="83820"/>
                      </a:lnTo>
                      <a:lnTo>
                        <a:pt x="208724" y="85090"/>
                      </a:lnTo>
                      <a:lnTo>
                        <a:pt x="209689" y="87630"/>
                      </a:lnTo>
                      <a:lnTo>
                        <a:pt x="210058" y="88900"/>
                      </a:lnTo>
                      <a:lnTo>
                        <a:pt x="210134" y="90170"/>
                      </a:lnTo>
                      <a:lnTo>
                        <a:pt x="210273" y="91440"/>
                      </a:lnTo>
                      <a:lnTo>
                        <a:pt x="210032" y="91440"/>
                      </a:lnTo>
                      <a:lnTo>
                        <a:pt x="209880" y="92710"/>
                      </a:lnTo>
                      <a:lnTo>
                        <a:pt x="207924" y="93980"/>
                      </a:lnTo>
                      <a:lnTo>
                        <a:pt x="207708" y="92710"/>
                      </a:lnTo>
                      <a:lnTo>
                        <a:pt x="125628" y="92710"/>
                      </a:lnTo>
                      <a:lnTo>
                        <a:pt x="123355" y="92710"/>
                      </a:lnTo>
                      <a:lnTo>
                        <a:pt x="123939" y="93980"/>
                      </a:lnTo>
                      <a:lnTo>
                        <a:pt x="124802" y="95250"/>
                      </a:lnTo>
                      <a:lnTo>
                        <a:pt x="124942" y="96520"/>
                      </a:lnTo>
                      <a:lnTo>
                        <a:pt x="125285" y="97790"/>
                      </a:lnTo>
                      <a:lnTo>
                        <a:pt x="125425" y="99060"/>
                      </a:lnTo>
                      <a:lnTo>
                        <a:pt x="126022" y="99060"/>
                      </a:lnTo>
                      <a:lnTo>
                        <a:pt x="126123" y="100330"/>
                      </a:lnTo>
                      <a:lnTo>
                        <a:pt x="125882" y="100330"/>
                      </a:lnTo>
                      <a:lnTo>
                        <a:pt x="126098" y="101600"/>
                      </a:lnTo>
                      <a:lnTo>
                        <a:pt x="127482" y="101600"/>
                      </a:lnTo>
                      <a:lnTo>
                        <a:pt x="127635" y="102870"/>
                      </a:lnTo>
                      <a:lnTo>
                        <a:pt x="127139" y="104140"/>
                      </a:lnTo>
                      <a:lnTo>
                        <a:pt x="126606" y="104140"/>
                      </a:lnTo>
                      <a:lnTo>
                        <a:pt x="125818" y="105410"/>
                      </a:lnTo>
                      <a:lnTo>
                        <a:pt x="123190" y="105410"/>
                      </a:lnTo>
                      <a:lnTo>
                        <a:pt x="122097" y="106680"/>
                      </a:lnTo>
                      <a:lnTo>
                        <a:pt x="120078" y="106680"/>
                      </a:lnTo>
                      <a:lnTo>
                        <a:pt x="119481" y="105410"/>
                      </a:lnTo>
                      <a:lnTo>
                        <a:pt x="117983" y="104140"/>
                      </a:lnTo>
                      <a:lnTo>
                        <a:pt x="116382" y="102870"/>
                      </a:lnTo>
                      <a:lnTo>
                        <a:pt x="114274" y="100330"/>
                      </a:lnTo>
                      <a:lnTo>
                        <a:pt x="111912" y="97790"/>
                      </a:lnTo>
                      <a:lnTo>
                        <a:pt x="109791" y="96520"/>
                      </a:lnTo>
                      <a:lnTo>
                        <a:pt x="106781" y="96520"/>
                      </a:lnTo>
                      <a:lnTo>
                        <a:pt x="106197" y="97790"/>
                      </a:lnTo>
                      <a:lnTo>
                        <a:pt x="105664" y="99060"/>
                      </a:lnTo>
                      <a:lnTo>
                        <a:pt x="105333" y="101600"/>
                      </a:lnTo>
                      <a:lnTo>
                        <a:pt x="104533" y="102870"/>
                      </a:lnTo>
                      <a:lnTo>
                        <a:pt x="104063" y="102870"/>
                      </a:lnTo>
                      <a:lnTo>
                        <a:pt x="103784" y="104140"/>
                      </a:lnTo>
                      <a:lnTo>
                        <a:pt x="103352" y="104140"/>
                      </a:lnTo>
                      <a:lnTo>
                        <a:pt x="101866" y="105410"/>
                      </a:lnTo>
                      <a:lnTo>
                        <a:pt x="99923" y="105410"/>
                      </a:lnTo>
                      <a:lnTo>
                        <a:pt x="99021" y="106680"/>
                      </a:lnTo>
                      <a:lnTo>
                        <a:pt x="98882" y="107950"/>
                      </a:lnTo>
                      <a:lnTo>
                        <a:pt x="98717" y="107950"/>
                      </a:lnTo>
                      <a:lnTo>
                        <a:pt x="98640" y="109220"/>
                      </a:lnTo>
                      <a:lnTo>
                        <a:pt x="97853" y="113030"/>
                      </a:lnTo>
                      <a:lnTo>
                        <a:pt x="97294" y="115570"/>
                      </a:lnTo>
                      <a:lnTo>
                        <a:pt x="97447" y="115570"/>
                      </a:lnTo>
                      <a:lnTo>
                        <a:pt x="98806" y="116840"/>
                      </a:lnTo>
                      <a:lnTo>
                        <a:pt x="99339" y="116840"/>
                      </a:lnTo>
                      <a:lnTo>
                        <a:pt x="101371" y="118110"/>
                      </a:lnTo>
                      <a:lnTo>
                        <a:pt x="100952" y="119380"/>
                      </a:lnTo>
                      <a:lnTo>
                        <a:pt x="99961" y="120650"/>
                      </a:lnTo>
                      <a:lnTo>
                        <a:pt x="99796" y="121920"/>
                      </a:lnTo>
                      <a:lnTo>
                        <a:pt x="97790" y="123190"/>
                      </a:lnTo>
                      <a:lnTo>
                        <a:pt x="94399" y="129540"/>
                      </a:lnTo>
                      <a:lnTo>
                        <a:pt x="93611" y="130810"/>
                      </a:lnTo>
                      <a:lnTo>
                        <a:pt x="93395" y="132080"/>
                      </a:lnTo>
                      <a:lnTo>
                        <a:pt x="93853" y="133350"/>
                      </a:lnTo>
                      <a:lnTo>
                        <a:pt x="96405" y="133350"/>
                      </a:lnTo>
                      <a:lnTo>
                        <a:pt x="98336" y="134620"/>
                      </a:lnTo>
                      <a:lnTo>
                        <a:pt x="100495" y="134620"/>
                      </a:lnTo>
                      <a:lnTo>
                        <a:pt x="101168" y="135890"/>
                      </a:lnTo>
                      <a:lnTo>
                        <a:pt x="102831" y="137160"/>
                      </a:lnTo>
                      <a:lnTo>
                        <a:pt x="102235" y="138430"/>
                      </a:lnTo>
                      <a:lnTo>
                        <a:pt x="102247" y="139700"/>
                      </a:lnTo>
                      <a:lnTo>
                        <a:pt x="102362" y="143510"/>
                      </a:lnTo>
                      <a:lnTo>
                        <a:pt x="103822" y="144780"/>
                      </a:lnTo>
                      <a:lnTo>
                        <a:pt x="105410" y="146050"/>
                      </a:lnTo>
                      <a:lnTo>
                        <a:pt x="106565" y="146050"/>
                      </a:lnTo>
                      <a:lnTo>
                        <a:pt x="109778" y="144780"/>
                      </a:lnTo>
                      <a:lnTo>
                        <a:pt x="116649" y="144780"/>
                      </a:lnTo>
                      <a:lnTo>
                        <a:pt x="117563" y="146050"/>
                      </a:lnTo>
                      <a:lnTo>
                        <a:pt x="118719" y="147320"/>
                      </a:lnTo>
                      <a:lnTo>
                        <a:pt x="119430" y="148590"/>
                      </a:lnTo>
                      <a:lnTo>
                        <a:pt x="122288" y="152400"/>
                      </a:lnTo>
                      <a:lnTo>
                        <a:pt x="123748" y="154940"/>
                      </a:lnTo>
                      <a:lnTo>
                        <a:pt x="126199" y="158750"/>
                      </a:lnTo>
                      <a:lnTo>
                        <a:pt x="128803" y="160020"/>
                      </a:lnTo>
                      <a:lnTo>
                        <a:pt x="128816" y="162560"/>
                      </a:lnTo>
                      <a:lnTo>
                        <a:pt x="128587" y="163830"/>
                      </a:lnTo>
                      <a:lnTo>
                        <a:pt x="128155" y="163830"/>
                      </a:lnTo>
                      <a:lnTo>
                        <a:pt x="127025" y="165100"/>
                      </a:lnTo>
                      <a:lnTo>
                        <a:pt x="126301" y="163830"/>
                      </a:lnTo>
                      <a:lnTo>
                        <a:pt x="124536" y="163830"/>
                      </a:lnTo>
                      <a:lnTo>
                        <a:pt x="123583" y="162560"/>
                      </a:lnTo>
                      <a:lnTo>
                        <a:pt x="122466" y="162560"/>
                      </a:lnTo>
                      <a:lnTo>
                        <a:pt x="122275" y="163830"/>
                      </a:lnTo>
                      <a:lnTo>
                        <a:pt x="121678" y="163830"/>
                      </a:lnTo>
                      <a:lnTo>
                        <a:pt x="121475" y="165100"/>
                      </a:lnTo>
                      <a:lnTo>
                        <a:pt x="122123" y="165100"/>
                      </a:lnTo>
                      <a:lnTo>
                        <a:pt x="122250" y="166370"/>
                      </a:lnTo>
                      <a:lnTo>
                        <a:pt x="124599" y="166370"/>
                      </a:lnTo>
                      <a:lnTo>
                        <a:pt x="125310" y="167640"/>
                      </a:lnTo>
                      <a:lnTo>
                        <a:pt x="127088" y="167640"/>
                      </a:lnTo>
                      <a:lnTo>
                        <a:pt x="129336" y="168910"/>
                      </a:lnTo>
                      <a:lnTo>
                        <a:pt x="130378" y="170180"/>
                      </a:lnTo>
                      <a:lnTo>
                        <a:pt x="132029" y="170180"/>
                      </a:lnTo>
                      <a:lnTo>
                        <a:pt x="132461" y="168910"/>
                      </a:lnTo>
                      <a:lnTo>
                        <a:pt x="132283" y="168910"/>
                      </a:lnTo>
                      <a:lnTo>
                        <a:pt x="132029" y="167640"/>
                      </a:lnTo>
                      <a:lnTo>
                        <a:pt x="132918" y="168910"/>
                      </a:lnTo>
                      <a:lnTo>
                        <a:pt x="133299" y="167640"/>
                      </a:lnTo>
                      <a:lnTo>
                        <a:pt x="133883" y="167640"/>
                      </a:lnTo>
                      <a:lnTo>
                        <a:pt x="133616" y="166370"/>
                      </a:lnTo>
                      <a:lnTo>
                        <a:pt x="133108" y="166370"/>
                      </a:lnTo>
                      <a:lnTo>
                        <a:pt x="136004" y="165100"/>
                      </a:lnTo>
                      <a:lnTo>
                        <a:pt x="139052" y="166370"/>
                      </a:lnTo>
                      <a:lnTo>
                        <a:pt x="143027" y="165100"/>
                      </a:lnTo>
                      <a:lnTo>
                        <a:pt x="143675" y="165100"/>
                      </a:lnTo>
                      <a:lnTo>
                        <a:pt x="145529" y="163830"/>
                      </a:lnTo>
                      <a:lnTo>
                        <a:pt x="146494" y="162560"/>
                      </a:lnTo>
                      <a:lnTo>
                        <a:pt x="148031" y="161290"/>
                      </a:lnTo>
                      <a:lnTo>
                        <a:pt x="148310" y="161290"/>
                      </a:lnTo>
                      <a:lnTo>
                        <a:pt x="149885" y="160020"/>
                      </a:lnTo>
                      <a:lnTo>
                        <a:pt x="151930" y="160020"/>
                      </a:lnTo>
                      <a:lnTo>
                        <a:pt x="154393" y="158750"/>
                      </a:lnTo>
                      <a:lnTo>
                        <a:pt x="155092" y="158750"/>
                      </a:lnTo>
                      <a:lnTo>
                        <a:pt x="155359" y="157480"/>
                      </a:lnTo>
                      <a:lnTo>
                        <a:pt x="159372" y="157480"/>
                      </a:lnTo>
                      <a:lnTo>
                        <a:pt x="159715" y="156210"/>
                      </a:lnTo>
                      <a:lnTo>
                        <a:pt x="162026" y="156210"/>
                      </a:lnTo>
                      <a:lnTo>
                        <a:pt x="164998" y="157480"/>
                      </a:lnTo>
                      <a:lnTo>
                        <a:pt x="169354" y="158750"/>
                      </a:lnTo>
                      <a:lnTo>
                        <a:pt x="172402" y="160020"/>
                      </a:lnTo>
                      <a:lnTo>
                        <a:pt x="175183" y="161290"/>
                      </a:lnTo>
                      <a:lnTo>
                        <a:pt x="177063" y="161290"/>
                      </a:lnTo>
                      <a:lnTo>
                        <a:pt x="176872" y="158750"/>
                      </a:lnTo>
                      <a:lnTo>
                        <a:pt x="179311" y="158750"/>
                      </a:lnTo>
                      <a:lnTo>
                        <a:pt x="180848" y="160020"/>
                      </a:lnTo>
                      <a:lnTo>
                        <a:pt x="185089" y="160020"/>
                      </a:lnTo>
                      <a:lnTo>
                        <a:pt x="186588" y="162560"/>
                      </a:lnTo>
                      <a:lnTo>
                        <a:pt x="188595" y="166370"/>
                      </a:lnTo>
                      <a:lnTo>
                        <a:pt x="190258" y="170180"/>
                      </a:lnTo>
                      <a:lnTo>
                        <a:pt x="189560" y="176530"/>
                      </a:lnTo>
                      <a:lnTo>
                        <a:pt x="186931" y="179070"/>
                      </a:lnTo>
                      <a:lnTo>
                        <a:pt x="186524" y="184150"/>
                      </a:lnTo>
                      <a:lnTo>
                        <a:pt x="186702" y="184150"/>
                      </a:lnTo>
                      <a:lnTo>
                        <a:pt x="188175" y="187960"/>
                      </a:lnTo>
                      <a:lnTo>
                        <a:pt x="188556" y="186690"/>
                      </a:lnTo>
                      <a:lnTo>
                        <a:pt x="191998" y="187960"/>
                      </a:lnTo>
                      <a:lnTo>
                        <a:pt x="193217" y="189230"/>
                      </a:lnTo>
                      <a:lnTo>
                        <a:pt x="196850" y="187960"/>
                      </a:lnTo>
                      <a:lnTo>
                        <a:pt x="198386" y="187960"/>
                      </a:lnTo>
                      <a:lnTo>
                        <a:pt x="199898" y="186690"/>
                      </a:lnTo>
                      <a:lnTo>
                        <a:pt x="199669" y="185420"/>
                      </a:lnTo>
                      <a:lnTo>
                        <a:pt x="204724" y="185420"/>
                      </a:lnTo>
                      <a:lnTo>
                        <a:pt x="202907" y="189230"/>
                      </a:lnTo>
                      <a:lnTo>
                        <a:pt x="204330" y="191770"/>
                      </a:lnTo>
                      <a:lnTo>
                        <a:pt x="205600" y="191770"/>
                      </a:lnTo>
                      <a:lnTo>
                        <a:pt x="205371" y="194310"/>
                      </a:lnTo>
                      <a:lnTo>
                        <a:pt x="200520" y="194310"/>
                      </a:lnTo>
                      <a:lnTo>
                        <a:pt x="198780" y="195580"/>
                      </a:lnTo>
                      <a:lnTo>
                        <a:pt x="194691" y="195580"/>
                      </a:lnTo>
                      <a:lnTo>
                        <a:pt x="193497" y="198120"/>
                      </a:lnTo>
                      <a:lnTo>
                        <a:pt x="192189" y="200660"/>
                      </a:lnTo>
                      <a:lnTo>
                        <a:pt x="190449" y="204470"/>
                      </a:lnTo>
                      <a:lnTo>
                        <a:pt x="188061" y="204470"/>
                      </a:lnTo>
                      <a:lnTo>
                        <a:pt x="188988" y="203200"/>
                      </a:lnTo>
                      <a:lnTo>
                        <a:pt x="163029" y="203200"/>
                      </a:lnTo>
                      <a:lnTo>
                        <a:pt x="161188" y="203200"/>
                      </a:lnTo>
                      <a:lnTo>
                        <a:pt x="158826" y="204470"/>
                      </a:lnTo>
                      <a:lnTo>
                        <a:pt x="158140" y="203200"/>
                      </a:lnTo>
                      <a:lnTo>
                        <a:pt x="155016" y="200660"/>
                      </a:lnTo>
                      <a:lnTo>
                        <a:pt x="147269" y="200660"/>
                      </a:lnTo>
                      <a:lnTo>
                        <a:pt x="147193" y="201930"/>
                      </a:lnTo>
                      <a:lnTo>
                        <a:pt x="146494" y="201930"/>
                      </a:lnTo>
                      <a:lnTo>
                        <a:pt x="145986" y="204470"/>
                      </a:lnTo>
                      <a:lnTo>
                        <a:pt x="146456" y="205740"/>
                      </a:lnTo>
                      <a:lnTo>
                        <a:pt x="150393" y="207010"/>
                      </a:lnTo>
                      <a:lnTo>
                        <a:pt x="151384" y="207010"/>
                      </a:lnTo>
                      <a:lnTo>
                        <a:pt x="156857" y="208280"/>
                      </a:lnTo>
                      <a:lnTo>
                        <a:pt x="157403" y="213360"/>
                      </a:lnTo>
                      <a:lnTo>
                        <a:pt x="159143" y="218440"/>
                      </a:lnTo>
                      <a:lnTo>
                        <a:pt x="160870" y="222250"/>
                      </a:lnTo>
                      <a:lnTo>
                        <a:pt x="161988" y="224790"/>
                      </a:lnTo>
                      <a:lnTo>
                        <a:pt x="161531" y="224790"/>
                      </a:lnTo>
                      <a:lnTo>
                        <a:pt x="161607" y="226060"/>
                      </a:lnTo>
                      <a:lnTo>
                        <a:pt x="160985" y="226060"/>
                      </a:lnTo>
                      <a:lnTo>
                        <a:pt x="161493" y="227330"/>
                      </a:lnTo>
                      <a:lnTo>
                        <a:pt x="163233" y="226060"/>
                      </a:lnTo>
                      <a:lnTo>
                        <a:pt x="165315" y="226060"/>
                      </a:lnTo>
                      <a:lnTo>
                        <a:pt x="168465" y="227330"/>
                      </a:lnTo>
                      <a:lnTo>
                        <a:pt x="168516" y="229870"/>
                      </a:lnTo>
                      <a:lnTo>
                        <a:pt x="171665" y="232410"/>
                      </a:lnTo>
                      <a:lnTo>
                        <a:pt x="172135" y="231140"/>
                      </a:lnTo>
                      <a:lnTo>
                        <a:pt x="174180" y="231140"/>
                      </a:lnTo>
                      <a:lnTo>
                        <a:pt x="175221" y="232410"/>
                      </a:lnTo>
                      <a:lnTo>
                        <a:pt x="175450" y="232410"/>
                      </a:lnTo>
                      <a:lnTo>
                        <a:pt x="176187" y="233680"/>
                      </a:lnTo>
                      <a:lnTo>
                        <a:pt x="175945" y="232410"/>
                      </a:lnTo>
                      <a:lnTo>
                        <a:pt x="178155" y="232410"/>
                      </a:lnTo>
                      <a:lnTo>
                        <a:pt x="180428" y="233680"/>
                      </a:lnTo>
                      <a:lnTo>
                        <a:pt x="182232" y="233680"/>
                      </a:lnTo>
                      <a:lnTo>
                        <a:pt x="181698" y="234950"/>
                      </a:lnTo>
                      <a:lnTo>
                        <a:pt x="180378" y="234950"/>
                      </a:lnTo>
                      <a:lnTo>
                        <a:pt x="182079" y="237490"/>
                      </a:lnTo>
                      <a:lnTo>
                        <a:pt x="181114" y="238760"/>
                      </a:lnTo>
                      <a:lnTo>
                        <a:pt x="179768" y="241300"/>
                      </a:lnTo>
                      <a:lnTo>
                        <a:pt x="179222" y="241300"/>
                      </a:lnTo>
                      <a:lnTo>
                        <a:pt x="177914" y="242570"/>
                      </a:lnTo>
                      <a:lnTo>
                        <a:pt x="177825" y="243840"/>
                      </a:lnTo>
                      <a:lnTo>
                        <a:pt x="177761" y="247650"/>
                      </a:lnTo>
                      <a:lnTo>
                        <a:pt x="177952" y="250190"/>
                      </a:lnTo>
                      <a:lnTo>
                        <a:pt x="177152" y="250190"/>
                      </a:lnTo>
                      <a:lnTo>
                        <a:pt x="176453" y="251460"/>
                      </a:lnTo>
                      <a:lnTo>
                        <a:pt x="178142" y="251460"/>
                      </a:lnTo>
                      <a:lnTo>
                        <a:pt x="178358" y="250190"/>
                      </a:lnTo>
                      <a:lnTo>
                        <a:pt x="180225" y="248920"/>
                      </a:lnTo>
                      <a:lnTo>
                        <a:pt x="181051" y="248920"/>
                      </a:lnTo>
                      <a:lnTo>
                        <a:pt x="181889" y="247650"/>
                      </a:lnTo>
                      <a:lnTo>
                        <a:pt x="182765" y="246380"/>
                      </a:lnTo>
                      <a:lnTo>
                        <a:pt x="184505" y="245110"/>
                      </a:lnTo>
                      <a:lnTo>
                        <a:pt x="188061" y="243840"/>
                      </a:lnTo>
                      <a:lnTo>
                        <a:pt x="191414" y="242570"/>
                      </a:lnTo>
                      <a:lnTo>
                        <a:pt x="195922" y="241300"/>
                      </a:lnTo>
                      <a:lnTo>
                        <a:pt x="204266" y="241300"/>
                      </a:lnTo>
                      <a:lnTo>
                        <a:pt x="207137" y="243840"/>
                      </a:lnTo>
                      <a:lnTo>
                        <a:pt x="209600" y="246380"/>
                      </a:lnTo>
                      <a:lnTo>
                        <a:pt x="213855" y="250190"/>
                      </a:lnTo>
                      <a:lnTo>
                        <a:pt x="215011" y="250190"/>
                      </a:lnTo>
                      <a:lnTo>
                        <a:pt x="216585" y="252730"/>
                      </a:lnTo>
                      <a:lnTo>
                        <a:pt x="217030" y="254000"/>
                      </a:lnTo>
                      <a:lnTo>
                        <a:pt x="217500" y="254000"/>
                      </a:lnTo>
                      <a:lnTo>
                        <a:pt x="218440" y="255270"/>
                      </a:lnTo>
                      <a:lnTo>
                        <a:pt x="219417" y="256540"/>
                      </a:lnTo>
                      <a:lnTo>
                        <a:pt x="220967" y="257810"/>
                      </a:lnTo>
                      <a:lnTo>
                        <a:pt x="220776" y="257810"/>
                      </a:lnTo>
                      <a:lnTo>
                        <a:pt x="221043" y="259080"/>
                      </a:lnTo>
                      <a:lnTo>
                        <a:pt x="223659" y="259080"/>
                      </a:lnTo>
                      <a:lnTo>
                        <a:pt x="225767" y="257810"/>
                      </a:lnTo>
                      <a:lnTo>
                        <a:pt x="229006" y="257810"/>
                      </a:lnTo>
                      <a:lnTo>
                        <a:pt x="228993" y="231140"/>
                      </a:lnTo>
                      <a:lnTo>
                        <a:pt x="228993" y="204470"/>
                      </a:lnTo>
                      <a:lnTo>
                        <a:pt x="228968" y="194310"/>
                      </a:lnTo>
                      <a:lnTo>
                        <a:pt x="230314" y="194310"/>
                      </a:lnTo>
                      <a:lnTo>
                        <a:pt x="231736" y="193040"/>
                      </a:lnTo>
                      <a:lnTo>
                        <a:pt x="233959" y="193040"/>
                      </a:lnTo>
                      <a:lnTo>
                        <a:pt x="243166" y="190500"/>
                      </a:lnTo>
                      <a:lnTo>
                        <a:pt x="259232" y="185420"/>
                      </a:lnTo>
                      <a:lnTo>
                        <a:pt x="263588" y="185420"/>
                      </a:lnTo>
                      <a:lnTo>
                        <a:pt x="265137" y="184150"/>
                      </a:lnTo>
                      <a:lnTo>
                        <a:pt x="266827" y="184150"/>
                      </a:lnTo>
                      <a:lnTo>
                        <a:pt x="267068" y="182880"/>
                      </a:lnTo>
                      <a:lnTo>
                        <a:pt x="266865" y="181610"/>
                      </a:lnTo>
                      <a:lnTo>
                        <a:pt x="268071" y="179070"/>
                      </a:lnTo>
                      <a:lnTo>
                        <a:pt x="269062" y="179070"/>
                      </a:lnTo>
                      <a:lnTo>
                        <a:pt x="270306" y="177800"/>
                      </a:lnTo>
                      <a:lnTo>
                        <a:pt x="270891" y="179070"/>
                      </a:lnTo>
                      <a:lnTo>
                        <a:pt x="271373" y="179070"/>
                      </a:lnTo>
                      <a:lnTo>
                        <a:pt x="271640" y="177800"/>
                      </a:lnTo>
                      <a:lnTo>
                        <a:pt x="271792" y="177800"/>
                      </a:lnTo>
                      <a:lnTo>
                        <a:pt x="271373" y="179070"/>
                      </a:lnTo>
                      <a:lnTo>
                        <a:pt x="271957" y="179070"/>
                      </a:lnTo>
                      <a:lnTo>
                        <a:pt x="271818" y="177800"/>
                      </a:lnTo>
                      <a:lnTo>
                        <a:pt x="274967" y="177800"/>
                      </a:lnTo>
                      <a:lnTo>
                        <a:pt x="275272" y="176530"/>
                      </a:lnTo>
                      <a:lnTo>
                        <a:pt x="277787" y="177800"/>
                      </a:lnTo>
                      <a:lnTo>
                        <a:pt x="275856" y="179070"/>
                      </a:lnTo>
                      <a:lnTo>
                        <a:pt x="275463" y="179070"/>
                      </a:lnTo>
                      <a:lnTo>
                        <a:pt x="275082" y="180340"/>
                      </a:lnTo>
                      <a:lnTo>
                        <a:pt x="274548" y="181610"/>
                      </a:lnTo>
                      <a:lnTo>
                        <a:pt x="276479" y="182880"/>
                      </a:lnTo>
                      <a:lnTo>
                        <a:pt x="278396" y="180340"/>
                      </a:lnTo>
                      <a:lnTo>
                        <a:pt x="277977" y="182880"/>
                      </a:lnTo>
                      <a:lnTo>
                        <a:pt x="278358" y="182880"/>
                      </a:lnTo>
                      <a:lnTo>
                        <a:pt x="278904" y="181610"/>
                      </a:lnTo>
                      <a:lnTo>
                        <a:pt x="281520" y="181610"/>
                      </a:lnTo>
                      <a:lnTo>
                        <a:pt x="280835" y="180340"/>
                      </a:lnTo>
                      <a:lnTo>
                        <a:pt x="280987" y="179070"/>
                      </a:lnTo>
                      <a:lnTo>
                        <a:pt x="281482" y="179070"/>
                      </a:lnTo>
                      <a:lnTo>
                        <a:pt x="282486" y="176530"/>
                      </a:lnTo>
                      <a:lnTo>
                        <a:pt x="288848" y="176530"/>
                      </a:lnTo>
                      <a:lnTo>
                        <a:pt x="290004" y="175260"/>
                      </a:lnTo>
                      <a:lnTo>
                        <a:pt x="292938" y="176530"/>
                      </a:lnTo>
                      <a:lnTo>
                        <a:pt x="295173" y="175260"/>
                      </a:lnTo>
                      <a:lnTo>
                        <a:pt x="296443" y="176530"/>
                      </a:lnTo>
                      <a:lnTo>
                        <a:pt x="608431" y="176530"/>
                      </a:lnTo>
                      <a:lnTo>
                        <a:pt x="610158" y="171450"/>
                      </a:lnTo>
                      <a:lnTo>
                        <a:pt x="614591" y="158750"/>
                      </a:lnTo>
                      <a:lnTo>
                        <a:pt x="615480" y="156210"/>
                      </a:lnTo>
                      <a:lnTo>
                        <a:pt x="616013" y="154940"/>
                      </a:lnTo>
                      <a:lnTo>
                        <a:pt x="616204" y="153670"/>
                      </a:lnTo>
                      <a:lnTo>
                        <a:pt x="617943" y="154940"/>
                      </a:lnTo>
                      <a:lnTo>
                        <a:pt x="619252" y="154940"/>
                      </a:lnTo>
                      <a:lnTo>
                        <a:pt x="621106" y="156210"/>
                      </a:lnTo>
                      <a:lnTo>
                        <a:pt x="624344" y="157480"/>
                      </a:lnTo>
                      <a:lnTo>
                        <a:pt x="629704" y="160020"/>
                      </a:lnTo>
                      <a:lnTo>
                        <a:pt x="633869" y="157480"/>
                      </a:lnTo>
                      <a:lnTo>
                        <a:pt x="638924" y="158750"/>
                      </a:lnTo>
                      <a:lnTo>
                        <a:pt x="643585" y="161290"/>
                      </a:lnTo>
                      <a:lnTo>
                        <a:pt x="645083" y="160020"/>
                      </a:lnTo>
                      <a:lnTo>
                        <a:pt x="649122" y="157480"/>
                      </a:lnTo>
                      <a:lnTo>
                        <a:pt x="651141" y="156210"/>
                      </a:lnTo>
                      <a:lnTo>
                        <a:pt x="654532" y="154940"/>
                      </a:lnTo>
                      <a:lnTo>
                        <a:pt x="654380" y="153670"/>
                      </a:lnTo>
                      <a:lnTo>
                        <a:pt x="653643" y="147320"/>
                      </a:lnTo>
                      <a:lnTo>
                        <a:pt x="652830" y="144780"/>
                      </a:lnTo>
                      <a:lnTo>
                        <a:pt x="652335" y="140970"/>
                      </a:lnTo>
                      <a:lnTo>
                        <a:pt x="652145" y="139700"/>
                      </a:lnTo>
                      <a:lnTo>
                        <a:pt x="654570" y="133350"/>
                      </a:lnTo>
                      <a:lnTo>
                        <a:pt x="656920" y="132080"/>
                      </a:lnTo>
                      <a:lnTo>
                        <a:pt x="663790" y="132080"/>
                      </a:lnTo>
                      <a:lnTo>
                        <a:pt x="667448" y="130810"/>
                      </a:lnTo>
                      <a:lnTo>
                        <a:pt x="669036" y="128270"/>
                      </a:lnTo>
                      <a:lnTo>
                        <a:pt x="669645" y="127000"/>
                      </a:lnTo>
                      <a:lnTo>
                        <a:pt x="670077" y="125730"/>
                      </a:lnTo>
                      <a:lnTo>
                        <a:pt x="670077" y="124460"/>
                      </a:lnTo>
                      <a:lnTo>
                        <a:pt x="669620" y="124460"/>
                      </a:lnTo>
                      <a:lnTo>
                        <a:pt x="669721" y="123190"/>
                      </a:lnTo>
                      <a:lnTo>
                        <a:pt x="670623" y="120650"/>
                      </a:lnTo>
                      <a:lnTo>
                        <a:pt x="671449" y="119380"/>
                      </a:lnTo>
                      <a:lnTo>
                        <a:pt x="676986" y="119380"/>
                      </a:lnTo>
                      <a:close/>
                    </a:path>
                    <a:path w="690245" h="499110">
                      <a:moveTo>
                        <a:pt x="689787" y="493979"/>
                      </a:moveTo>
                      <a:lnTo>
                        <a:pt x="689622" y="492836"/>
                      </a:lnTo>
                      <a:lnTo>
                        <a:pt x="689546" y="492074"/>
                      </a:lnTo>
                      <a:lnTo>
                        <a:pt x="689140" y="491312"/>
                      </a:lnTo>
                      <a:lnTo>
                        <a:pt x="688949" y="490931"/>
                      </a:lnTo>
                      <a:lnTo>
                        <a:pt x="688403" y="490169"/>
                      </a:lnTo>
                      <a:lnTo>
                        <a:pt x="687984" y="489280"/>
                      </a:lnTo>
                      <a:lnTo>
                        <a:pt x="687273" y="488010"/>
                      </a:lnTo>
                      <a:lnTo>
                        <a:pt x="687070" y="486994"/>
                      </a:lnTo>
                      <a:lnTo>
                        <a:pt x="687095" y="484962"/>
                      </a:lnTo>
                      <a:lnTo>
                        <a:pt x="687501" y="482168"/>
                      </a:lnTo>
                      <a:lnTo>
                        <a:pt x="687768" y="481025"/>
                      </a:lnTo>
                      <a:lnTo>
                        <a:pt x="688327" y="478866"/>
                      </a:lnTo>
                      <a:lnTo>
                        <a:pt x="688924" y="475945"/>
                      </a:lnTo>
                      <a:lnTo>
                        <a:pt x="688975" y="475691"/>
                      </a:lnTo>
                      <a:lnTo>
                        <a:pt x="685647" y="475945"/>
                      </a:lnTo>
                      <a:lnTo>
                        <a:pt x="682269" y="475945"/>
                      </a:lnTo>
                      <a:lnTo>
                        <a:pt x="680529" y="475818"/>
                      </a:lnTo>
                      <a:lnTo>
                        <a:pt x="676554" y="475183"/>
                      </a:lnTo>
                      <a:lnTo>
                        <a:pt x="675817" y="475056"/>
                      </a:lnTo>
                      <a:lnTo>
                        <a:pt x="674192" y="474548"/>
                      </a:lnTo>
                      <a:lnTo>
                        <a:pt x="672973" y="474167"/>
                      </a:lnTo>
                      <a:lnTo>
                        <a:pt x="671614" y="473659"/>
                      </a:lnTo>
                      <a:lnTo>
                        <a:pt x="670115" y="473024"/>
                      </a:lnTo>
                      <a:lnTo>
                        <a:pt x="669378" y="472516"/>
                      </a:lnTo>
                      <a:lnTo>
                        <a:pt x="668820" y="472262"/>
                      </a:lnTo>
                      <a:lnTo>
                        <a:pt x="668375" y="472262"/>
                      </a:lnTo>
                      <a:lnTo>
                        <a:pt x="666292" y="472897"/>
                      </a:lnTo>
                      <a:lnTo>
                        <a:pt x="667029" y="474548"/>
                      </a:lnTo>
                      <a:lnTo>
                        <a:pt x="663981" y="473786"/>
                      </a:lnTo>
                      <a:lnTo>
                        <a:pt x="662368" y="473405"/>
                      </a:lnTo>
                      <a:lnTo>
                        <a:pt x="661149" y="473151"/>
                      </a:lnTo>
                      <a:lnTo>
                        <a:pt x="661289" y="471119"/>
                      </a:lnTo>
                      <a:lnTo>
                        <a:pt x="660323" y="472262"/>
                      </a:lnTo>
                      <a:lnTo>
                        <a:pt x="659853" y="473913"/>
                      </a:lnTo>
                      <a:lnTo>
                        <a:pt x="659282" y="475183"/>
                      </a:lnTo>
                      <a:lnTo>
                        <a:pt x="659079" y="474929"/>
                      </a:lnTo>
                      <a:lnTo>
                        <a:pt x="656666" y="471881"/>
                      </a:lnTo>
                      <a:lnTo>
                        <a:pt x="655713" y="470484"/>
                      </a:lnTo>
                      <a:lnTo>
                        <a:pt x="655472" y="470230"/>
                      </a:lnTo>
                      <a:lnTo>
                        <a:pt x="651294" y="468452"/>
                      </a:lnTo>
                      <a:lnTo>
                        <a:pt x="649935" y="468706"/>
                      </a:lnTo>
                      <a:lnTo>
                        <a:pt x="647344" y="468833"/>
                      </a:lnTo>
                      <a:lnTo>
                        <a:pt x="645883" y="468579"/>
                      </a:lnTo>
                      <a:lnTo>
                        <a:pt x="645477" y="468071"/>
                      </a:lnTo>
                      <a:lnTo>
                        <a:pt x="646290" y="465785"/>
                      </a:lnTo>
                      <a:lnTo>
                        <a:pt x="646658" y="465150"/>
                      </a:lnTo>
                      <a:lnTo>
                        <a:pt x="646899" y="464642"/>
                      </a:lnTo>
                      <a:lnTo>
                        <a:pt x="646341" y="464515"/>
                      </a:lnTo>
                      <a:lnTo>
                        <a:pt x="644309" y="464896"/>
                      </a:lnTo>
                      <a:lnTo>
                        <a:pt x="643382" y="465150"/>
                      </a:lnTo>
                      <a:lnTo>
                        <a:pt x="641642" y="464769"/>
                      </a:lnTo>
                      <a:lnTo>
                        <a:pt x="640956" y="464515"/>
                      </a:lnTo>
                      <a:lnTo>
                        <a:pt x="639178" y="463626"/>
                      </a:lnTo>
                      <a:lnTo>
                        <a:pt x="638289" y="462991"/>
                      </a:lnTo>
                      <a:lnTo>
                        <a:pt x="638111" y="462864"/>
                      </a:lnTo>
                      <a:lnTo>
                        <a:pt x="636993" y="462229"/>
                      </a:lnTo>
                      <a:lnTo>
                        <a:pt x="636460" y="461848"/>
                      </a:lnTo>
                      <a:lnTo>
                        <a:pt x="635838" y="461594"/>
                      </a:lnTo>
                      <a:lnTo>
                        <a:pt x="633984" y="460197"/>
                      </a:lnTo>
                      <a:lnTo>
                        <a:pt x="633209" y="459308"/>
                      </a:lnTo>
                      <a:lnTo>
                        <a:pt x="633450" y="457530"/>
                      </a:lnTo>
                      <a:lnTo>
                        <a:pt x="633222" y="457276"/>
                      </a:lnTo>
                      <a:lnTo>
                        <a:pt x="632942" y="457022"/>
                      </a:lnTo>
                      <a:lnTo>
                        <a:pt x="632269" y="456133"/>
                      </a:lnTo>
                      <a:lnTo>
                        <a:pt x="632333" y="455498"/>
                      </a:lnTo>
                      <a:lnTo>
                        <a:pt x="632345" y="454736"/>
                      </a:lnTo>
                      <a:lnTo>
                        <a:pt x="631596" y="454228"/>
                      </a:lnTo>
                      <a:lnTo>
                        <a:pt x="630936" y="454228"/>
                      </a:lnTo>
                      <a:lnTo>
                        <a:pt x="630250" y="454355"/>
                      </a:lnTo>
                      <a:lnTo>
                        <a:pt x="628916" y="454355"/>
                      </a:lnTo>
                      <a:lnTo>
                        <a:pt x="627316" y="454863"/>
                      </a:lnTo>
                      <a:lnTo>
                        <a:pt x="625983" y="455244"/>
                      </a:lnTo>
                      <a:lnTo>
                        <a:pt x="624497" y="455498"/>
                      </a:lnTo>
                      <a:lnTo>
                        <a:pt x="624166" y="454863"/>
                      </a:lnTo>
                      <a:lnTo>
                        <a:pt x="622452" y="452704"/>
                      </a:lnTo>
                      <a:lnTo>
                        <a:pt x="618490" y="448640"/>
                      </a:lnTo>
                      <a:lnTo>
                        <a:pt x="618324" y="448513"/>
                      </a:lnTo>
                      <a:lnTo>
                        <a:pt x="617855" y="448259"/>
                      </a:lnTo>
                      <a:lnTo>
                        <a:pt x="617105" y="448259"/>
                      </a:lnTo>
                      <a:lnTo>
                        <a:pt x="616940" y="448132"/>
                      </a:lnTo>
                      <a:lnTo>
                        <a:pt x="616737" y="448132"/>
                      </a:lnTo>
                      <a:lnTo>
                        <a:pt x="616381" y="448005"/>
                      </a:lnTo>
                      <a:lnTo>
                        <a:pt x="614299" y="447751"/>
                      </a:lnTo>
                      <a:lnTo>
                        <a:pt x="613397" y="447370"/>
                      </a:lnTo>
                      <a:lnTo>
                        <a:pt x="612571" y="446735"/>
                      </a:lnTo>
                      <a:lnTo>
                        <a:pt x="610958" y="445084"/>
                      </a:lnTo>
                      <a:lnTo>
                        <a:pt x="609536" y="443814"/>
                      </a:lnTo>
                      <a:lnTo>
                        <a:pt x="608977" y="443433"/>
                      </a:lnTo>
                      <a:lnTo>
                        <a:pt x="607402" y="442798"/>
                      </a:lnTo>
                      <a:lnTo>
                        <a:pt x="606386" y="442417"/>
                      </a:lnTo>
                      <a:lnTo>
                        <a:pt x="605866" y="442290"/>
                      </a:lnTo>
                      <a:lnTo>
                        <a:pt x="604862" y="441782"/>
                      </a:lnTo>
                      <a:lnTo>
                        <a:pt x="604367" y="441528"/>
                      </a:lnTo>
                      <a:lnTo>
                        <a:pt x="603631" y="440893"/>
                      </a:lnTo>
                      <a:lnTo>
                        <a:pt x="602792" y="439623"/>
                      </a:lnTo>
                      <a:lnTo>
                        <a:pt x="602742" y="437972"/>
                      </a:lnTo>
                      <a:lnTo>
                        <a:pt x="600824" y="436448"/>
                      </a:lnTo>
                      <a:lnTo>
                        <a:pt x="598436" y="436067"/>
                      </a:lnTo>
                      <a:lnTo>
                        <a:pt x="596201" y="436067"/>
                      </a:lnTo>
                      <a:lnTo>
                        <a:pt x="595134" y="435813"/>
                      </a:lnTo>
                      <a:lnTo>
                        <a:pt x="594258" y="436067"/>
                      </a:lnTo>
                      <a:lnTo>
                        <a:pt x="593559" y="436575"/>
                      </a:lnTo>
                      <a:lnTo>
                        <a:pt x="593356" y="436702"/>
                      </a:lnTo>
                      <a:lnTo>
                        <a:pt x="593280" y="436829"/>
                      </a:lnTo>
                      <a:lnTo>
                        <a:pt x="592848" y="437337"/>
                      </a:lnTo>
                      <a:lnTo>
                        <a:pt x="592594" y="437718"/>
                      </a:lnTo>
                      <a:lnTo>
                        <a:pt x="591832" y="438861"/>
                      </a:lnTo>
                      <a:lnTo>
                        <a:pt x="591324" y="440258"/>
                      </a:lnTo>
                      <a:lnTo>
                        <a:pt x="590854" y="441401"/>
                      </a:lnTo>
                      <a:lnTo>
                        <a:pt x="588860" y="441782"/>
                      </a:lnTo>
                      <a:lnTo>
                        <a:pt x="588454" y="441528"/>
                      </a:lnTo>
                      <a:lnTo>
                        <a:pt x="588048" y="440893"/>
                      </a:lnTo>
                      <a:lnTo>
                        <a:pt x="587781" y="440004"/>
                      </a:lnTo>
                      <a:lnTo>
                        <a:pt x="587336" y="439496"/>
                      </a:lnTo>
                      <a:lnTo>
                        <a:pt x="578370" y="448386"/>
                      </a:lnTo>
                      <a:lnTo>
                        <a:pt x="578345" y="448640"/>
                      </a:lnTo>
                      <a:lnTo>
                        <a:pt x="576935" y="450037"/>
                      </a:lnTo>
                      <a:lnTo>
                        <a:pt x="576910" y="450164"/>
                      </a:lnTo>
                      <a:lnTo>
                        <a:pt x="576630" y="450418"/>
                      </a:lnTo>
                      <a:lnTo>
                        <a:pt x="576503" y="450672"/>
                      </a:lnTo>
                      <a:lnTo>
                        <a:pt x="576376" y="451561"/>
                      </a:lnTo>
                      <a:lnTo>
                        <a:pt x="576503" y="452196"/>
                      </a:lnTo>
                      <a:lnTo>
                        <a:pt x="577011" y="452704"/>
                      </a:lnTo>
                      <a:lnTo>
                        <a:pt x="576884" y="453847"/>
                      </a:lnTo>
                      <a:lnTo>
                        <a:pt x="573646" y="460705"/>
                      </a:lnTo>
                      <a:lnTo>
                        <a:pt x="574395" y="461594"/>
                      </a:lnTo>
                      <a:lnTo>
                        <a:pt x="575525" y="462483"/>
                      </a:lnTo>
                      <a:lnTo>
                        <a:pt x="576618" y="463245"/>
                      </a:lnTo>
                      <a:lnTo>
                        <a:pt x="579767" y="464769"/>
                      </a:lnTo>
                      <a:lnTo>
                        <a:pt x="580161" y="463245"/>
                      </a:lnTo>
                      <a:lnTo>
                        <a:pt x="580199" y="462991"/>
                      </a:lnTo>
                      <a:lnTo>
                        <a:pt x="581393" y="463753"/>
                      </a:lnTo>
                      <a:lnTo>
                        <a:pt x="592543" y="471119"/>
                      </a:lnTo>
                      <a:lnTo>
                        <a:pt x="593953" y="472389"/>
                      </a:lnTo>
                      <a:lnTo>
                        <a:pt x="594347" y="472770"/>
                      </a:lnTo>
                      <a:lnTo>
                        <a:pt x="595287" y="473278"/>
                      </a:lnTo>
                      <a:lnTo>
                        <a:pt x="596011" y="473913"/>
                      </a:lnTo>
                      <a:lnTo>
                        <a:pt x="598576" y="475691"/>
                      </a:lnTo>
                      <a:lnTo>
                        <a:pt x="599528" y="475818"/>
                      </a:lnTo>
                      <a:lnTo>
                        <a:pt x="600227" y="475691"/>
                      </a:lnTo>
                      <a:lnTo>
                        <a:pt x="601014" y="475056"/>
                      </a:lnTo>
                      <a:lnTo>
                        <a:pt x="601853" y="474929"/>
                      </a:lnTo>
                      <a:lnTo>
                        <a:pt x="602056" y="474929"/>
                      </a:lnTo>
                      <a:lnTo>
                        <a:pt x="602208" y="475056"/>
                      </a:lnTo>
                      <a:lnTo>
                        <a:pt x="603326" y="475691"/>
                      </a:lnTo>
                      <a:lnTo>
                        <a:pt x="604253" y="476072"/>
                      </a:lnTo>
                      <a:lnTo>
                        <a:pt x="610831" y="478104"/>
                      </a:lnTo>
                      <a:lnTo>
                        <a:pt x="610857" y="478231"/>
                      </a:lnTo>
                      <a:lnTo>
                        <a:pt x="610997" y="478358"/>
                      </a:lnTo>
                      <a:lnTo>
                        <a:pt x="611149" y="478612"/>
                      </a:lnTo>
                      <a:lnTo>
                        <a:pt x="611327" y="478866"/>
                      </a:lnTo>
                      <a:lnTo>
                        <a:pt x="611644" y="479374"/>
                      </a:lnTo>
                      <a:lnTo>
                        <a:pt x="611708" y="480517"/>
                      </a:lnTo>
                      <a:lnTo>
                        <a:pt x="612482" y="481279"/>
                      </a:lnTo>
                      <a:lnTo>
                        <a:pt x="612711" y="481406"/>
                      </a:lnTo>
                      <a:lnTo>
                        <a:pt x="614273" y="481787"/>
                      </a:lnTo>
                      <a:lnTo>
                        <a:pt x="615492" y="481914"/>
                      </a:lnTo>
                      <a:lnTo>
                        <a:pt x="617766" y="482422"/>
                      </a:lnTo>
                      <a:lnTo>
                        <a:pt x="618820" y="482930"/>
                      </a:lnTo>
                      <a:lnTo>
                        <a:pt x="620014" y="483946"/>
                      </a:lnTo>
                      <a:lnTo>
                        <a:pt x="620471" y="483692"/>
                      </a:lnTo>
                      <a:lnTo>
                        <a:pt x="620991" y="483438"/>
                      </a:lnTo>
                      <a:lnTo>
                        <a:pt x="622160" y="482422"/>
                      </a:lnTo>
                      <a:lnTo>
                        <a:pt x="623023" y="481533"/>
                      </a:lnTo>
                      <a:lnTo>
                        <a:pt x="627621" y="483565"/>
                      </a:lnTo>
                      <a:lnTo>
                        <a:pt x="627443" y="483438"/>
                      </a:lnTo>
                      <a:lnTo>
                        <a:pt x="627964" y="483057"/>
                      </a:lnTo>
                      <a:lnTo>
                        <a:pt x="628573" y="482549"/>
                      </a:lnTo>
                      <a:lnTo>
                        <a:pt x="629183" y="481914"/>
                      </a:lnTo>
                      <a:lnTo>
                        <a:pt x="629399" y="481914"/>
                      </a:lnTo>
                      <a:lnTo>
                        <a:pt x="629526" y="481787"/>
                      </a:lnTo>
                      <a:lnTo>
                        <a:pt x="629767" y="481787"/>
                      </a:lnTo>
                      <a:lnTo>
                        <a:pt x="629983" y="481660"/>
                      </a:lnTo>
                      <a:lnTo>
                        <a:pt x="630326" y="481533"/>
                      </a:lnTo>
                      <a:lnTo>
                        <a:pt x="631012" y="481279"/>
                      </a:lnTo>
                      <a:lnTo>
                        <a:pt x="632015" y="481025"/>
                      </a:lnTo>
                      <a:lnTo>
                        <a:pt x="633806" y="481787"/>
                      </a:lnTo>
                      <a:lnTo>
                        <a:pt x="634949" y="482168"/>
                      </a:lnTo>
                      <a:lnTo>
                        <a:pt x="636625" y="482676"/>
                      </a:lnTo>
                      <a:lnTo>
                        <a:pt x="638187" y="483692"/>
                      </a:lnTo>
                      <a:lnTo>
                        <a:pt x="638556" y="484073"/>
                      </a:lnTo>
                      <a:lnTo>
                        <a:pt x="638683" y="485470"/>
                      </a:lnTo>
                      <a:lnTo>
                        <a:pt x="638822" y="486232"/>
                      </a:lnTo>
                      <a:lnTo>
                        <a:pt x="645185" y="490296"/>
                      </a:lnTo>
                      <a:lnTo>
                        <a:pt x="646582" y="491185"/>
                      </a:lnTo>
                      <a:lnTo>
                        <a:pt x="647331" y="491693"/>
                      </a:lnTo>
                      <a:lnTo>
                        <a:pt x="647763" y="492201"/>
                      </a:lnTo>
                      <a:lnTo>
                        <a:pt x="648157" y="492455"/>
                      </a:lnTo>
                      <a:lnTo>
                        <a:pt x="648741" y="492709"/>
                      </a:lnTo>
                      <a:lnTo>
                        <a:pt x="648995" y="492709"/>
                      </a:lnTo>
                      <a:lnTo>
                        <a:pt x="649338" y="492836"/>
                      </a:lnTo>
                      <a:lnTo>
                        <a:pt x="650671" y="492455"/>
                      </a:lnTo>
                      <a:lnTo>
                        <a:pt x="653503" y="491312"/>
                      </a:lnTo>
                      <a:lnTo>
                        <a:pt x="653999" y="492074"/>
                      </a:lnTo>
                      <a:lnTo>
                        <a:pt x="654494" y="492455"/>
                      </a:lnTo>
                      <a:lnTo>
                        <a:pt x="655904" y="494868"/>
                      </a:lnTo>
                      <a:lnTo>
                        <a:pt x="656704" y="495757"/>
                      </a:lnTo>
                      <a:lnTo>
                        <a:pt x="657758" y="495630"/>
                      </a:lnTo>
                      <a:lnTo>
                        <a:pt x="659422" y="495376"/>
                      </a:lnTo>
                      <a:lnTo>
                        <a:pt x="659930" y="495249"/>
                      </a:lnTo>
                      <a:lnTo>
                        <a:pt x="661416" y="494995"/>
                      </a:lnTo>
                      <a:lnTo>
                        <a:pt x="662990" y="495376"/>
                      </a:lnTo>
                      <a:lnTo>
                        <a:pt x="664819" y="495884"/>
                      </a:lnTo>
                      <a:lnTo>
                        <a:pt x="665302" y="496138"/>
                      </a:lnTo>
                      <a:lnTo>
                        <a:pt x="667677" y="497281"/>
                      </a:lnTo>
                      <a:lnTo>
                        <a:pt x="667854" y="497281"/>
                      </a:lnTo>
                      <a:lnTo>
                        <a:pt x="668274" y="497408"/>
                      </a:lnTo>
                      <a:lnTo>
                        <a:pt x="668477" y="497535"/>
                      </a:lnTo>
                      <a:lnTo>
                        <a:pt x="669366" y="497662"/>
                      </a:lnTo>
                      <a:lnTo>
                        <a:pt x="670077" y="497408"/>
                      </a:lnTo>
                      <a:lnTo>
                        <a:pt x="671880" y="496392"/>
                      </a:lnTo>
                      <a:lnTo>
                        <a:pt x="672566" y="495757"/>
                      </a:lnTo>
                      <a:lnTo>
                        <a:pt x="673125" y="495630"/>
                      </a:lnTo>
                      <a:lnTo>
                        <a:pt x="673722" y="495630"/>
                      </a:lnTo>
                      <a:lnTo>
                        <a:pt x="674052" y="496900"/>
                      </a:lnTo>
                      <a:lnTo>
                        <a:pt x="674268" y="497408"/>
                      </a:lnTo>
                      <a:lnTo>
                        <a:pt x="681596" y="498297"/>
                      </a:lnTo>
                      <a:lnTo>
                        <a:pt x="682561" y="498297"/>
                      </a:lnTo>
                      <a:lnTo>
                        <a:pt x="686054" y="498678"/>
                      </a:lnTo>
                      <a:lnTo>
                        <a:pt x="687539" y="498297"/>
                      </a:lnTo>
                      <a:lnTo>
                        <a:pt x="688238" y="496900"/>
                      </a:lnTo>
                      <a:lnTo>
                        <a:pt x="688886" y="495630"/>
                      </a:lnTo>
                      <a:lnTo>
                        <a:pt x="689229" y="494995"/>
                      </a:lnTo>
                      <a:lnTo>
                        <a:pt x="689787" y="493979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607" name="object 147">
                  <a:extLst>
                    <a:ext uri="{FF2B5EF4-FFF2-40B4-BE49-F238E27FC236}">
                      <a16:creationId xmlns:a16="http://schemas.microsoft.com/office/drawing/2014/main" id="{397EC2C3-AA4D-30FA-E2DB-92BABE991F8A}"/>
                    </a:ext>
                  </a:extLst>
                </p:cNvPr>
                <p:cNvPicPr/>
                <p:nvPr/>
              </p:nvPicPr>
              <p:blipFill>
                <a:blip r:embed="rId19" cstate="print"/>
                <a:stretch>
                  <a:fillRect/>
                </a:stretch>
              </p:blipFill>
              <p:spPr>
                <a:xfrm>
                  <a:off x="4174896" y="2551722"/>
                  <a:ext cx="108013" cy="127000"/>
                </a:xfrm>
                <a:prstGeom prst="rect">
                  <a:avLst/>
                </a:prstGeom>
              </p:spPr>
            </p:pic>
            <p:sp>
              <p:nvSpPr>
                <p:cNvPr id="608" name="object 148">
                  <a:extLst>
                    <a:ext uri="{FF2B5EF4-FFF2-40B4-BE49-F238E27FC236}">
                      <a16:creationId xmlns:a16="http://schemas.microsoft.com/office/drawing/2014/main" id="{6A9D8275-210E-71F0-29D4-C07E39BFC521}"/>
                    </a:ext>
                  </a:extLst>
                </p:cNvPr>
                <p:cNvSpPr/>
                <p:nvPr/>
              </p:nvSpPr>
              <p:spPr>
                <a:xfrm>
                  <a:off x="3491661" y="2227618"/>
                  <a:ext cx="568960" cy="26035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8960" h="260350">
                      <a:moveTo>
                        <a:pt x="18110" y="33020"/>
                      </a:moveTo>
                      <a:lnTo>
                        <a:pt x="17297" y="31750"/>
                      </a:lnTo>
                      <a:lnTo>
                        <a:pt x="18072" y="33070"/>
                      </a:lnTo>
                      <a:close/>
                    </a:path>
                    <a:path w="568960" h="260350">
                      <a:moveTo>
                        <a:pt x="204444" y="81280"/>
                      </a:moveTo>
                      <a:lnTo>
                        <a:pt x="201460" y="80010"/>
                      </a:lnTo>
                      <a:lnTo>
                        <a:pt x="197993" y="77470"/>
                      </a:lnTo>
                      <a:lnTo>
                        <a:pt x="196697" y="77470"/>
                      </a:lnTo>
                      <a:lnTo>
                        <a:pt x="194335" y="76200"/>
                      </a:lnTo>
                      <a:lnTo>
                        <a:pt x="192519" y="76200"/>
                      </a:lnTo>
                      <a:lnTo>
                        <a:pt x="192011" y="77470"/>
                      </a:lnTo>
                      <a:lnTo>
                        <a:pt x="189699" y="77470"/>
                      </a:lnTo>
                      <a:lnTo>
                        <a:pt x="188480" y="76200"/>
                      </a:lnTo>
                      <a:lnTo>
                        <a:pt x="185254" y="73660"/>
                      </a:lnTo>
                      <a:lnTo>
                        <a:pt x="183413" y="72390"/>
                      </a:lnTo>
                      <a:lnTo>
                        <a:pt x="181241" y="71120"/>
                      </a:lnTo>
                      <a:lnTo>
                        <a:pt x="180149" y="71120"/>
                      </a:lnTo>
                      <a:lnTo>
                        <a:pt x="177609" y="68580"/>
                      </a:lnTo>
                      <a:lnTo>
                        <a:pt x="175031" y="68580"/>
                      </a:lnTo>
                      <a:lnTo>
                        <a:pt x="170205" y="63500"/>
                      </a:lnTo>
                      <a:lnTo>
                        <a:pt x="166738" y="62230"/>
                      </a:lnTo>
                      <a:lnTo>
                        <a:pt x="161963" y="59690"/>
                      </a:lnTo>
                      <a:lnTo>
                        <a:pt x="159943" y="58420"/>
                      </a:lnTo>
                      <a:lnTo>
                        <a:pt x="157924" y="57150"/>
                      </a:lnTo>
                      <a:lnTo>
                        <a:pt x="156413" y="55880"/>
                      </a:lnTo>
                      <a:lnTo>
                        <a:pt x="154889" y="54610"/>
                      </a:lnTo>
                      <a:lnTo>
                        <a:pt x="151828" y="53340"/>
                      </a:lnTo>
                      <a:lnTo>
                        <a:pt x="151015" y="52070"/>
                      </a:lnTo>
                      <a:lnTo>
                        <a:pt x="150215" y="52070"/>
                      </a:lnTo>
                      <a:lnTo>
                        <a:pt x="149402" y="50800"/>
                      </a:lnTo>
                      <a:lnTo>
                        <a:pt x="148209" y="50800"/>
                      </a:lnTo>
                      <a:lnTo>
                        <a:pt x="146075" y="49530"/>
                      </a:lnTo>
                      <a:lnTo>
                        <a:pt x="145046" y="48260"/>
                      </a:lnTo>
                      <a:lnTo>
                        <a:pt x="144792" y="46990"/>
                      </a:lnTo>
                      <a:lnTo>
                        <a:pt x="144094" y="45720"/>
                      </a:lnTo>
                      <a:lnTo>
                        <a:pt x="143789" y="44450"/>
                      </a:lnTo>
                      <a:lnTo>
                        <a:pt x="143230" y="41910"/>
                      </a:lnTo>
                      <a:lnTo>
                        <a:pt x="142532" y="40640"/>
                      </a:lnTo>
                      <a:lnTo>
                        <a:pt x="140843" y="40640"/>
                      </a:lnTo>
                      <a:lnTo>
                        <a:pt x="139103" y="36830"/>
                      </a:lnTo>
                      <a:lnTo>
                        <a:pt x="138518" y="35560"/>
                      </a:lnTo>
                      <a:lnTo>
                        <a:pt x="138214" y="34290"/>
                      </a:lnTo>
                      <a:lnTo>
                        <a:pt x="136956" y="29210"/>
                      </a:lnTo>
                      <a:lnTo>
                        <a:pt x="135445" y="27940"/>
                      </a:lnTo>
                      <a:lnTo>
                        <a:pt x="133921" y="26670"/>
                      </a:lnTo>
                      <a:lnTo>
                        <a:pt x="132727" y="25400"/>
                      </a:lnTo>
                      <a:lnTo>
                        <a:pt x="129159" y="25400"/>
                      </a:lnTo>
                      <a:lnTo>
                        <a:pt x="128943" y="26670"/>
                      </a:lnTo>
                      <a:lnTo>
                        <a:pt x="128155" y="26670"/>
                      </a:lnTo>
                      <a:lnTo>
                        <a:pt x="127368" y="27940"/>
                      </a:lnTo>
                      <a:lnTo>
                        <a:pt x="126492" y="27940"/>
                      </a:lnTo>
                      <a:lnTo>
                        <a:pt x="123329" y="26670"/>
                      </a:lnTo>
                      <a:lnTo>
                        <a:pt x="121132" y="26670"/>
                      </a:lnTo>
                      <a:lnTo>
                        <a:pt x="116662" y="25400"/>
                      </a:lnTo>
                      <a:lnTo>
                        <a:pt x="115620" y="26670"/>
                      </a:lnTo>
                      <a:lnTo>
                        <a:pt x="113284" y="25400"/>
                      </a:lnTo>
                      <a:lnTo>
                        <a:pt x="112699" y="25400"/>
                      </a:lnTo>
                      <a:lnTo>
                        <a:pt x="112090" y="24130"/>
                      </a:lnTo>
                      <a:lnTo>
                        <a:pt x="110896" y="24130"/>
                      </a:lnTo>
                      <a:lnTo>
                        <a:pt x="109969" y="22860"/>
                      </a:lnTo>
                      <a:lnTo>
                        <a:pt x="110337" y="21590"/>
                      </a:lnTo>
                      <a:lnTo>
                        <a:pt x="110934" y="20320"/>
                      </a:lnTo>
                      <a:lnTo>
                        <a:pt x="111175" y="20320"/>
                      </a:lnTo>
                      <a:lnTo>
                        <a:pt x="110959" y="19050"/>
                      </a:lnTo>
                      <a:lnTo>
                        <a:pt x="110223" y="17780"/>
                      </a:lnTo>
                      <a:lnTo>
                        <a:pt x="112153" y="17780"/>
                      </a:lnTo>
                      <a:lnTo>
                        <a:pt x="112966" y="16510"/>
                      </a:lnTo>
                      <a:lnTo>
                        <a:pt x="111340" y="15240"/>
                      </a:lnTo>
                      <a:lnTo>
                        <a:pt x="110032" y="15240"/>
                      </a:lnTo>
                      <a:lnTo>
                        <a:pt x="108026" y="13970"/>
                      </a:lnTo>
                      <a:lnTo>
                        <a:pt x="110655" y="12700"/>
                      </a:lnTo>
                      <a:lnTo>
                        <a:pt x="107797" y="11430"/>
                      </a:lnTo>
                      <a:lnTo>
                        <a:pt x="109918" y="10160"/>
                      </a:lnTo>
                      <a:lnTo>
                        <a:pt x="106172" y="8890"/>
                      </a:lnTo>
                      <a:lnTo>
                        <a:pt x="104406" y="7620"/>
                      </a:lnTo>
                      <a:lnTo>
                        <a:pt x="99060" y="7620"/>
                      </a:lnTo>
                      <a:lnTo>
                        <a:pt x="98513" y="6350"/>
                      </a:lnTo>
                      <a:lnTo>
                        <a:pt x="98247" y="6350"/>
                      </a:lnTo>
                      <a:lnTo>
                        <a:pt x="96443" y="3810"/>
                      </a:lnTo>
                      <a:lnTo>
                        <a:pt x="93306" y="3810"/>
                      </a:lnTo>
                      <a:lnTo>
                        <a:pt x="92494" y="2540"/>
                      </a:lnTo>
                      <a:lnTo>
                        <a:pt x="89509" y="0"/>
                      </a:lnTo>
                      <a:lnTo>
                        <a:pt x="89331" y="0"/>
                      </a:lnTo>
                      <a:lnTo>
                        <a:pt x="87477" y="1270"/>
                      </a:lnTo>
                      <a:lnTo>
                        <a:pt x="87210" y="1536"/>
                      </a:lnTo>
                      <a:lnTo>
                        <a:pt x="87210" y="7620"/>
                      </a:lnTo>
                      <a:lnTo>
                        <a:pt x="86982" y="7239"/>
                      </a:lnTo>
                      <a:lnTo>
                        <a:pt x="87210" y="7620"/>
                      </a:lnTo>
                      <a:lnTo>
                        <a:pt x="87210" y="1536"/>
                      </a:lnTo>
                      <a:lnTo>
                        <a:pt x="84886" y="3810"/>
                      </a:lnTo>
                      <a:lnTo>
                        <a:pt x="86436" y="6350"/>
                      </a:lnTo>
                      <a:lnTo>
                        <a:pt x="85432" y="6350"/>
                      </a:lnTo>
                      <a:lnTo>
                        <a:pt x="84747" y="5080"/>
                      </a:lnTo>
                      <a:lnTo>
                        <a:pt x="80225" y="5080"/>
                      </a:lnTo>
                      <a:lnTo>
                        <a:pt x="79806" y="7620"/>
                      </a:lnTo>
                      <a:lnTo>
                        <a:pt x="79222" y="8890"/>
                      </a:lnTo>
                      <a:lnTo>
                        <a:pt x="78498" y="10160"/>
                      </a:lnTo>
                      <a:lnTo>
                        <a:pt x="77685" y="10160"/>
                      </a:lnTo>
                      <a:lnTo>
                        <a:pt x="74409" y="11430"/>
                      </a:lnTo>
                      <a:lnTo>
                        <a:pt x="71716" y="11430"/>
                      </a:lnTo>
                      <a:lnTo>
                        <a:pt x="69456" y="12700"/>
                      </a:lnTo>
                      <a:lnTo>
                        <a:pt x="68910" y="12700"/>
                      </a:lnTo>
                      <a:lnTo>
                        <a:pt x="67691" y="13970"/>
                      </a:lnTo>
                      <a:lnTo>
                        <a:pt x="67043" y="16510"/>
                      </a:lnTo>
                      <a:lnTo>
                        <a:pt x="65925" y="19050"/>
                      </a:lnTo>
                      <a:lnTo>
                        <a:pt x="66243" y="20320"/>
                      </a:lnTo>
                      <a:lnTo>
                        <a:pt x="66535" y="21590"/>
                      </a:lnTo>
                      <a:lnTo>
                        <a:pt x="66840" y="22860"/>
                      </a:lnTo>
                      <a:lnTo>
                        <a:pt x="67081" y="22860"/>
                      </a:lnTo>
                      <a:lnTo>
                        <a:pt x="67475" y="24130"/>
                      </a:lnTo>
                      <a:lnTo>
                        <a:pt x="68707" y="24130"/>
                      </a:lnTo>
                      <a:lnTo>
                        <a:pt x="63030" y="25400"/>
                      </a:lnTo>
                      <a:lnTo>
                        <a:pt x="43510" y="25400"/>
                      </a:lnTo>
                      <a:lnTo>
                        <a:pt x="43700" y="24130"/>
                      </a:lnTo>
                      <a:lnTo>
                        <a:pt x="42151" y="22860"/>
                      </a:lnTo>
                      <a:lnTo>
                        <a:pt x="41173" y="22860"/>
                      </a:lnTo>
                      <a:lnTo>
                        <a:pt x="40220" y="21590"/>
                      </a:lnTo>
                      <a:lnTo>
                        <a:pt x="39751" y="20320"/>
                      </a:lnTo>
                      <a:lnTo>
                        <a:pt x="39319" y="19050"/>
                      </a:lnTo>
                      <a:lnTo>
                        <a:pt x="38696" y="19050"/>
                      </a:lnTo>
                      <a:lnTo>
                        <a:pt x="37731" y="17780"/>
                      </a:lnTo>
                      <a:lnTo>
                        <a:pt x="36588" y="16510"/>
                      </a:lnTo>
                      <a:lnTo>
                        <a:pt x="32334" y="12700"/>
                      </a:lnTo>
                      <a:lnTo>
                        <a:pt x="29857" y="10160"/>
                      </a:lnTo>
                      <a:lnTo>
                        <a:pt x="26987" y="8890"/>
                      </a:lnTo>
                      <a:lnTo>
                        <a:pt x="26416" y="7620"/>
                      </a:lnTo>
                      <a:lnTo>
                        <a:pt x="21958" y="7620"/>
                      </a:lnTo>
                      <a:lnTo>
                        <a:pt x="18656" y="8890"/>
                      </a:lnTo>
                      <a:lnTo>
                        <a:pt x="14135" y="8890"/>
                      </a:lnTo>
                      <a:lnTo>
                        <a:pt x="10782" y="10160"/>
                      </a:lnTo>
                      <a:lnTo>
                        <a:pt x="7239" y="11430"/>
                      </a:lnTo>
                      <a:lnTo>
                        <a:pt x="5499" y="13970"/>
                      </a:lnTo>
                      <a:lnTo>
                        <a:pt x="4622" y="13970"/>
                      </a:lnTo>
                      <a:lnTo>
                        <a:pt x="2946" y="15240"/>
                      </a:lnTo>
                      <a:lnTo>
                        <a:pt x="1079" y="17780"/>
                      </a:lnTo>
                      <a:lnTo>
                        <a:pt x="850" y="17780"/>
                      </a:lnTo>
                      <a:lnTo>
                        <a:pt x="0" y="19050"/>
                      </a:lnTo>
                      <a:lnTo>
                        <a:pt x="1371" y="19050"/>
                      </a:lnTo>
                      <a:lnTo>
                        <a:pt x="5219" y="25400"/>
                      </a:lnTo>
                      <a:lnTo>
                        <a:pt x="7162" y="29210"/>
                      </a:lnTo>
                      <a:lnTo>
                        <a:pt x="7124" y="27940"/>
                      </a:lnTo>
                      <a:lnTo>
                        <a:pt x="6311" y="26670"/>
                      </a:lnTo>
                      <a:lnTo>
                        <a:pt x="6235" y="22860"/>
                      </a:lnTo>
                      <a:lnTo>
                        <a:pt x="7277" y="21590"/>
                      </a:lnTo>
                      <a:lnTo>
                        <a:pt x="7505" y="19050"/>
                      </a:lnTo>
                      <a:lnTo>
                        <a:pt x="7734" y="17780"/>
                      </a:lnTo>
                      <a:lnTo>
                        <a:pt x="4622" y="19050"/>
                      </a:lnTo>
                      <a:lnTo>
                        <a:pt x="6388" y="17780"/>
                      </a:lnTo>
                      <a:lnTo>
                        <a:pt x="6667" y="16510"/>
                      </a:lnTo>
                      <a:lnTo>
                        <a:pt x="7429" y="15240"/>
                      </a:lnTo>
                      <a:lnTo>
                        <a:pt x="7899" y="13970"/>
                      </a:lnTo>
                      <a:lnTo>
                        <a:pt x="10477" y="11430"/>
                      </a:lnTo>
                      <a:lnTo>
                        <a:pt x="15684" y="11430"/>
                      </a:lnTo>
                      <a:lnTo>
                        <a:pt x="17881" y="10160"/>
                      </a:lnTo>
                      <a:lnTo>
                        <a:pt x="22936" y="11430"/>
                      </a:lnTo>
                      <a:lnTo>
                        <a:pt x="21120" y="12700"/>
                      </a:lnTo>
                      <a:lnTo>
                        <a:pt x="21653" y="15240"/>
                      </a:lnTo>
                      <a:lnTo>
                        <a:pt x="22009" y="16510"/>
                      </a:lnTo>
                      <a:lnTo>
                        <a:pt x="23241" y="17780"/>
                      </a:lnTo>
                      <a:lnTo>
                        <a:pt x="23431" y="19050"/>
                      </a:lnTo>
                      <a:lnTo>
                        <a:pt x="23545" y="21590"/>
                      </a:lnTo>
                      <a:lnTo>
                        <a:pt x="26670" y="24130"/>
                      </a:lnTo>
                      <a:lnTo>
                        <a:pt x="29756" y="25400"/>
                      </a:lnTo>
                      <a:lnTo>
                        <a:pt x="32994" y="27940"/>
                      </a:lnTo>
                      <a:lnTo>
                        <a:pt x="34772" y="30480"/>
                      </a:lnTo>
                      <a:lnTo>
                        <a:pt x="32296" y="34290"/>
                      </a:lnTo>
                      <a:lnTo>
                        <a:pt x="27292" y="30480"/>
                      </a:lnTo>
                      <a:lnTo>
                        <a:pt x="27127" y="34290"/>
                      </a:lnTo>
                      <a:lnTo>
                        <a:pt x="27940" y="35560"/>
                      </a:lnTo>
                      <a:lnTo>
                        <a:pt x="28829" y="35560"/>
                      </a:lnTo>
                      <a:lnTo>
                        <a:pt x="26479" y="36830"/>
                      </a:lnTo>
                      <a:lnTo>
                        <a:pt x="24130" y="35560"/>
                      </a:lnTo>
                      <a:lnTo>
                        <a:pt x="21234" y="36830"/>
                      </a:lnTo>
                      <a:lnTo>
                        <a:pt x="18300" y="36830"/>
                      </a:lnTo>
                      <a:lnTo>
                        <a:pt x="18542" y="35560"/>
                      </a:lnTo>
                      <a:lnTo>
                        <a:pt x="18770" y="34290"/>
                      </a:lnTo>
                      <a:lnTo>
                        <a:pt x="18072" y="33070"/>
                      </a:lnTo>
                      <a:lnTo>
                        <a:pt x="15989" y="35560"/>
                      </a:lnTo>
                      <a:lnTo>
                        <a:pt x="14757" y="35560"/>
                      </a:lnTo>
                      <a:lnTo>
                        <a:pt x="12052" y="34290"/>
                      </a:lnTo>
                      <a:lnTo>
                        <a:pt x="9550" y="34290"/>
                      </a:lnTo>
                      <a:lnTo>
                        <a:pt x="8661" y="31750"/>
                      </a:lnTo>
                      <a:lnTo>
                        <a:pt x="7620" y="29210"/>
                      </a:lnTo>
                      <a:lnTo>
                        <a:pt x="7239" y="33070"/>
                      </a:lnTo>
                      <a:lnTo>
                        <a:pt x="6934" y="35560"/>
                      </a:lnTo>
                      <a:lnTo>
                        <a:pt x="5118" y="39370"/>
                      </a:lnTo>
                      <a:lnTo>
                        <a:pt x="4457" y="40640"/>
                      </a:lnTo>
                      <a:lnTo>
                        <a:pt x="4622" y="43180"/>
                      </a:lnTo>
                      <a:lnTo>
                        <a:pt x="5156" y="44450"/>
                      </a:lnTo>
                      <a:lnTo>
                        <a:pt x="5308" y="44450"/>
                      </a:lnTo>
                      <a:lnTo>
                        <a:pt x="5613" y="46990"/>
                      </a:lnTo>
                      <a:lnTo>
                        <a:pt x="11899" y="46990"/>
                      </a:lnTo>
                      <a:lnTo>
                        <a:pt x="13208" y="48260"/>
                      </a:lnTo>
                      <a:lnTo>
                        <a:pt x="14262" y="48260"/>
                      </a:lnTo>
                      <a:lnTo>
                        <a:pt x="14643" y="46990"/>
                      </a:lnTo>
                      <a:lnTo>
                        <a:pt x="15633" y="48260"/>
                      </a:lnTo>
                      <a:lnTo>
                        <a:pt x="14719" y="50800"/>
                      </a:lnTo>
                      <a:lnTo>
                        <a:pt x="14909" y="53340"/>
                      </a:lnTo>
                      <a:lnTo>
                        <a:pt x="15913" y="53340"/>
                      </a:lnTo>
                      <a:lnTo>
                        <a:pt x="17030" y="53340"/>
                      </a:lnTo>
                      <a:lnTo>
                        <a:pt x="18923" y="54610"/>
                      </a:lnTo>
                      <a:lnTo>
                        <a:pt x="16217" y="55880"/>
                      </a:lnTo>
                      <a:lnTo>
                        <a:pt x="15913" y="53340"/>
                      </a:lnTo>
                      <a:lnTo>
                        <a:pt x="15570" y="54610"/>
                      </a:lnTo>
                      <a:lnTo>
                        <a:pt x="13017" y="55880"/>
                      </a:lnTo>
                      <a:lnTo>
                        <a:pt x="12331" y="54610"/>
                      </a:lnTo>
                      <a:lnTo>
                        <a:pt x="11861" y="54610"/>
                      </a:lnTo>
                      <a:lnTo>
                        <a:pt x="12903" y="53340"/>
                      </a:lnTo>
                      <a:lnTo>
                        <a:pt x="13208" y="52070"/>
                      </a:lnTo>
                      <a:lnTo>
                        <a:pt x="12636" y="52070"/>
                      </a:lnTo>
                      <a:lnTo>
                        <a:pt x="10820" y="55880"/>
                      </a:lnTo>
                      <a:lnTo>
                        <a:pt x="10096" y="57150"/>
                      </a:lnTo>
                      <a:lnTo>
                        <a:pt x="11061" y="58420"/>
                      </a:lnTo>
                      <a:lnTo>
                        <a:pt x="11290" y="60960"/>
                      </a:lnTo>
                      <a:lnTo>
                        <a:pt x="11518" y="59690"/>
                      </a:lnTo>
                      <a:lnTo>
                        <a:pt x="11861" y="58420"/>
                      </a:lnTo>
                      <a:lnTo>
                        <a:pt x="15227" y="58420"/>
                      </a:lnTo>
                      <a:lnTo>
                        <a:pt x="17614" y="60960"/>
                      </a:lnTo>
                      <a:lnTo>
                        <a:pt x="20459" y="63500"/>
                      </a:lnTo>
                      <a:lnTo>
                        <a:pt x="22123" y="64770"/>
                      </a:lnTo>
                      <a:lnTo>
                        <a:pt x="22618" y="64770"/>
                      </a:lnTo>
                      <a:lnTo>
                        <a:pt x="22034" y="67310"/>
                      </a:lnTo>
                      <a:lnTo>
                        <a:pt x="21615" y="68580"/>
                      </a:lnTo>
                      <a:lnTo>
                        <a:pt x="21120" y="69850"/>
                      </a:lnTo>
                      <a:lnTo>
                        <a:pt x="19926" y="74930"/>
                      </a:lnTo>
                      <a:lnTo>
                        <a:pt x="20154" y="81280"/>
                      </a:lnTo>
                      <a:lnTo>
                        <a:pt x="21005" y="86360"/>
                      </a:lnTo>
                      <a:lnTo>
                        <a:pt x="21005" y="91440"/>
                      </a:lnTo>
                      <a:lnTo>
                        <a:pt x="21780" y="91440"/>
                      </a:lnTo>
                      <a:lnTo>
                        <a:pt x="23037" y="97790"/>
                      </a:lnTo>
                      <a:lnTo>
                        <a:pt x="22504" y="97790"/>
                      </a:lnTo>
                      <a:lnTo>
                        <a:pt x="23317" y="99060"/>
                      </a:lnTo>
                      <a:lnTo>
                        <a:pt x="41402" y="81280"/>
                      </a:lnTo>
                      <a:lnTo>
                        <a:pt x="43675" y="80010"/>
                      </a:lnTo>
                      <a:lnTo>
                        <a:pt x="46113" y="80010"/>
                      </a:lnTo>
                      <a:lnTo>
                        <a:pt x="50165" y="78740"/>
                      </a:lnTo>
                      <a:lnTo>
                        <a:pt x="51574" y="78740"/>
                      </a:lnTo>
                      <a:lnTo>
                        <a:pt x="53174" y="80010"/>
                      </a:lnTo>
                      <a:lnTo>
                        <a:pt x="55537" y="80010"/>
                      </a:lnTo>
                      <a:lnTo>
                        <a:pt x="55956" y="78740"/>
                      </a:lnTo>
                      <a:lnTo>
                        <a:pt x="57645" y="77470"/>
                      </a:lnTo>
                      <a:lnTo>
                        <a:pt x="57975" y="77470"/>
                      </a:lnTo>
                      <a:lnTo>
                        <a:pt x="58267" y="76200"/>
                      </a:lnTo>
                      <a:lnTo>
                        <a:pt x="69748" y="76200"/>
                      </a:lnTo>
                      <a:lnTo>
                        <a:pt x="70192" y="78740"/>
                      </a:lnTo>
                      <a:lnTo>
                        <a:pt x="70764" y="80010"/>
                      </a:lnTo>
                      <a:lnTo>
                        <a:pt x="71221" y="80010"/>
                      </a:lnTo>
                      <a:lnTo>
                        <a:pt x="71767" y="81280"/>
                      </a:lnTo>
                      <a:lnTo>
                        <a:pt x="73025" y="81280"/>
                      </a:lnTo>
                      <a:lnTo>
                        <a:pt x="73126" y="82550"/>
                      </a:lnTo>
                      <a:lnTo>
                        <a:pt x="78435" y="82550"/>
                      </a:lnTo>
                      <a:lnTo>
                        <a:pt x="80098" y="83820"/>
                      </a:lnTo>
                      <a:lnTo>
                        <a:pt x="81280" y="85090"/>
                      </a:lnTo>
                      <a:lnTo>
                        <a:pt x="83769" y="86360"/>
                      </a:lnTo>
                      <a:lnTo>
                        <a:pt x="98310" y="86360"/>
                      </a:lnTo>
                      <a:lnTo>
                        <a:pt x="100215" y="90170"/>
                      </a:lnTo>
                      <a:lnTo>
                        <a:pt x="101066" y="90170"/>
                      </a:lnTo>
                      <a:lnTo>
                        <a:pt x="102552" y="93980"/>
                      </a:lnTo>
                      <a:lnTo>
                        <a:pt x="102971" y="93980"/>
                      </a:lnTo>
                      <a:lnTo>
                        <a:pt x="103416" y="95250"/>
                      </a:lnTo>
                      <a:lnTo>
                        <a:pt x="107454" y="95250"/>
                      </a:lnTo>
                      <a:lnTo>
                        <a:pt x="109080" y="96520"/>
                      </a:lnTo>
                      <a:lnTo>
                        <a:pt x="109893" y="97790"/>
                      </a:lnTo>
                      <a:lnTo>
                        <a:pt x="110807" y="99060"/>
                      </a:lnTo>
                      <a:lnTo>
                        <a:pt x="111188" y="99060"/>
                      </a:lnTo>
                      <a:lnTo>
                        <a:pt x="112725" y="101600"/>
                      </a:lnTo>
                      <a:lnTo>
                        <a:pt x="113030" y="101600"/>
                      </a:lnTo>
                      <a:lnTo>
                        <a:pt x="113563" y="102870"/>
                      </a:lnTo>
                      <a:lnTo>
                        <a:pt x="125552" y="102870"/>
                      </a:lnTo>
                      <a:lnTo>
                        <a:pt x="125653" y="104140"/>
                      </a:lnTo>
                      <a:lnTo>
                        <a:pt x="126149" y="106680"/>
                      </a:lnTo>
                      <a:lnTo>
                        <a:pt x="125806" y="107950"/>
                      </a:lnTo>
                      <a:lnTo>
                        <a:pt x="125857" y="114300"/>
                      </a:lnTo>
                      <a:lnTo>
                        <a:pt x="126199" y="115570"/>
                      </a:lnTo>
                      <a:lnTo>
                        <a:pt x="126403" y="116840"/>
                      </a:lnTo>
                      <a:lnTo>
                        <a:pt x="126657" y="116840"/>
                      </a:lnTo>
                      <a:lnTo>
                        <a:pt x="127050" y="118110"/>
                      </a:lnTo>
                      <a:lnTo>
                        <a:pt x="127177" y="119380"/>
                      </a:lnTo>
                      <a:lnTo>
                        <a:pt x="127457" y="119380"/>
                      </a:lnTo>
                      <a:lnTo>
                        <a:pt x="127812" y="120650"/>
                      </a:lnTo>
                      <a:lnTo>
                        <a:pt x="129451" y="120650"/>
                      </a:lnTo>
                      <a:lnTo>
                        <a:pt x="130784" y="121920"/>
                      </a:lnTo>
                      <a:lnTo>
                        <a:pt x="135445" y="121920"/>
                      </a:lnTo>
                      <a:lnTo>
                        <a:pt x="136296" y="123190"/>
                      </a:lnTo>
                      <a:lnTo>
                        <a:pt x="137096" y="123190"/>
                      </a:lnTo>
                      <a:lnTo>
                        <a:pt x="138366" y="124460"/>
                      </a:lnTo>
                      <a:lnTo>
                        <a:pt x="138950" y="124460"/>
                      </a:lnTo>
                      <a:lnTo>
                        <a:pt x="139738" y="125730"/>
                      </a:lnTo>
                      <a:lnTo>
                        <a:pt x="141185" y="127000"/>
                      </a:lnTo>
                      <a:lnTo>
                        <a:pt x="143230" y="127000"/>
                      </a:lnTo>
                      <a:lnTo>
                        <a:pt x="144449" y="125730"/>
                      </a:lnTo>
                      <a:lnTo>
                        <a:pt x="148742" y="125730"/>
                      </a:lnTo>
                      <a:lnTo>
                        <a:pt x="149275" y="124460"/>
                      </a:lnTo>
                      <a:lnTo>
                        <a:pt x="150749" y="124460"/>
                      </a:lnTo>
                      <a:lnTo>
                        <a:pt x="152488" y="123190"/>
                      </a:lnTo>
                      <a:lnTo>
                        <a:pt x="154063" y="120650"/>
                      </a:lnTo>
                      <a:lnTo>
                        <a:pt x="155181" y="119380"/>
                      </a:lnTo>
                      <a:lnTo>
                        <a:pt x="155003" y="118110"/>
                      </a:lnTo>
                      <a:lnTo>
                        <a:pt x="154724" y="118110"/>
                      </a:lnTo>
                      <a:lnTo>
                        <a:pt x="156540" y="115570"/>
                      </a:lnTo>
                      <a:lnTo>
                        <a:pt x="158394" y="115570"/>
                      </a:lnTo>
                      <a:lnTo>
                        <a:pt x="161163" y="114300"/>
                      </a:lnTo>
                      <a:lnTo>
                        <a:pt x="165976" y="113030"/>
                      </a:lnTo>
                      <a:lnTo>
                        <a:pt x="167398" y="111760"/>
                      </a:lnTo>
                      <a:lnTo>
                        <a:pt x="168757" y="111760"/>
                      </a:lnTo>
                      <a:lnTo>
                        <a:pt x="170789" y="110490"/>
                      </a:lnTo>
                      <a:lnTo>
                        <a:pt x="171958" y="110490"/>
                      </a:lnTo>
                      <a:lnTo>
                        <a:pt x="175272" y="106680"/>
                      </a:lnTo>
                      <a:lnTo>
                        <a:pt x="174929" y="105410"/>
                      </a:lnTo>
                      <a:lnTo>
                        <a:pt x="175094" y="102870"/>
                      </a:lnTo>
                      <a:lnTo>
                        <a:pt x="175488" y="102870"/>
                      </a:lnTo>
                      <a:lnTo>
                        <a:pt x="184251" y="93980"/>
                      </a:lnTo>
                      <a:lnTo>
                        <a:pt x="186753" y="93980"/>
                      </a:lnTo>
                      <a:lnTo>
                        <a:pt x="188861" y="92710"/>
                      </a:lnTo>
                      <a:lnTo>
                        <a:pt x="190119" y="90170"/>
                      </a:lnTo>
                      <a:lnTo>
                        <a:pt x="191109" y="88900"/>
                      </a:lnTo>
                      <a:lnTo>
                        <a:pt x="192239" y="88900"/>
                      </a:lnTo>
                      <a:lnTo>
                        <a:pt x="194030" y="90170"/>
                      </a:lnTo>
                      <a:lnTo>
                        <a:pt x="196176" y="90170"/>
                      </a:lnTo>
                      <a:lnTo>
                        <a:pt x="197675" y="91440"/>
                      </a:lnTo>
                      <a:lnTo>
                        <a:pt x="202628" y="91440"/>
                      </a:lnTo>
                      <a:lnTo>
                        <a:pt x="202920" y="90170"/>
                      </a:lnTo>
                      <a:lnTo>
                        <a:pt x="203123" y="88900"/>
                      </a:lnTo>
                      <a:lnTo>
                        <a:pt x="203327" y="87630"/>
                      </a:lnTo>
                      <a:lnTo>
                        <a:pt x="203517" y="87630"/>
                      </a:lnTo>
                      <a:lnTo>
                        <a:pt x="204012" y="83820"/>
                      </a:lnTo>
                      <a:lnTo>
                        <a:pt x="204152" y="83820"/>
                      </a:lnTo>
                      <a:lnTo>
                        <a:pt x="204317" y="82550"/>
                      </a:lnTo>
                      <a:lnTo>
                        <a:pt x="204444" y="81280"/>
                      </a:lnTo>
                      <a:close/>
                    </a:path>
                    <a:path w="568960" h="260350">
                      <a:moveTo>
                        <a:pt x="522808" y="250698"/>
                      </a:moveTo>
                      <a:close/>
                    </a:path>
                    <a:path w="568960" h="260350">
                      <a:moveTo>
                        <a:pt x="568807" y="256413"/>
                      </a:moveTo>
                      <a:lnTo>
                        <a:pt x="568299" y="255790"/>
                      </a:lnTo>
                      <a:lnTo>
                        <a:pt x="567880" y="255231"/>
                      </a:lnTo>
                      <a:lnTo>
                        <a:pt x="567486" y="254762"/>
                      </a:lnTo>
                      <a:lnTo>
                        <a:pt x="567245" y="253885"/>
                      </a:lnTo>
                      <a:lnTo>
                        <a:pt x="567334" y="252780"/>
                      </a:lnTo>
                      <a:lnTo>
                        <a:pt x="567448" y="252133"/>
                      </a:lnTo>
                      <a:lnTo>
                        <a:pt x="568528" y="252069"/>
                      </a:lnTo>
                      <a:lnTo>
                        <a:pt x="568007" y="250418"/>
                      </a:lnTo>
                      <a:lnTo>
                        <a:pt x="564489" y="249021"/>
                      </a:lnTo>
                      <a:lnTo>
                        <a:pt x="563295" y="248526"/>
                      </a:lnTo>
                      <a:lnTo>
                        <a:pt x="561721" y="247053"/>
                      </a:lnTo>
                      <a:lnTo>
                        <a:pt x="561251" y="245249"/>
                      </a:lnTo>
                      <a:lnTo>
                        <a:pt x="561822" y="244551"/>
                      </a:lnTo>
                      <a:lnTo>
                        <a:pt x="562279" y="243928"/>
                      </a:lnTo>
                      <a:lnTo>
                        <a:pt x="562432" y="243116"/>
                      </a:lnTo>
                      <a:lnTo>
                        <a:pt x="562610" y="242430"/>
                      </a:lnTo>
                      <a:lnTo>
                        <a:pt x="562343" y="241681"/>
                      </a:lnTo>
                      <a:lnTo>
                        <a:pt x="562127" y="241338"/>
                      </a:lnTo>
                      <a:lnTo>
                        <a:pt x="559308" y="239903"/>
                      </a:lnTo>
                      <a:lnTo>
                        <a:pt x="558152" y="239458"/>
                      </a:lnTo>
                      <a:lnTo>
                        <a:pt x="556831" y="239090"/>
                      </a:lnTo>
                      <a:lnTo>
                        <a:pt x="555498" y="239052"/>
                      </a:lnTo>
                      <a:lnTo>
                        <a:pt x="554101" y="239941"/>
                      </a:lnTo>
                      <a:lnTo>
                        <a:pt x="553415" y="240309"/>
                      </a:lnTo>
                      <a:lnTo>
                        <a:pt x="552983" y="240436"/>
                      </a:lnTo>
                      <a:lnTo>
                        <a:pt x="552462" y="240423"/>
                      </a:lnTo>
                      <a:lnTo>
                        <a:pt x="551434" y="240055"/>
                      </a:lnTo>
                      <a:lnTo>
                        <a:pt x="550887" y="239903"/>
                      </a:lnTo>
                      <a:lnTo>
                        <a:pt x="550252" y="239636"/>
                      </a:lnTo>
                      <a:lnTo>
                        <a:pt x="550075" y="239636"/>
                      </a:lnTo>
                      <a:lnTo>
                        <a:pt x="549071" y="239395"/>
                      </a:lnTo>
                      <a:lnTo>
                        <a:pt x="548220" y="239229"/>
                      </a:lnTo>
                      <a:lnTo>
                        <a:pt x="546430" y="239141"/>
                      </a:lnTo>
                      <a:lnTo>
                        <a:pt x="545680" y="239141"/>
                      </a:lnTo>
                      <a:lnTo>
                        <a:pt x="544944" y="239102"/>
                      </a:lnTo>
                      <a:lnTo>
                        <a:pt x="543991" y="238518"/>
                      </a:lnTo>
                      <a:lnTo>
                        <a:pt x="544410" y="237540"/>
                      </a:lnTo>
                      <a:lnTo>
                        <a:pt x="543928" y="236664"/>
                      </a:lnTo>
                      <a:lnTo>
                        <a:pt x="543864" y="236423"/>
                      </a:lnTo>
                      <a:lnTo>
                        <a:pt x="543344" y="235813"/>
                      </a:lnTo>
                      <a:lnTo>
                        <a:pt x="542112" y="235635"/>
                      </a:lnTo>
                      <a:lnTo>
                        <a:pt x="540918" y="235610"/>
                      </a:lnTo>
                      <a:lnTo>
                        <a:pt x="539991" y="235483"/>
                      </a:lnTo>
                      <a:lnTo>
                        <a:pt x="539013" y="235724"/>
                      </a:lnTo>
                      <a:lnTo>
                        <a:pt x="538759" y="235762"/>
                      </a:lnTo>
                      <a:lnTo>
                        <a:pt x="536295" y="236334"/>
                      </a:lnTo>
                      <a:lnTo>
                        <a:pt x="533247" y="237350"/>
                      </a:lnTo>
                      <a:lnTo>
                        <a:pt x="529971" y="240931"/>
                      </a:lnTo>
                      <a:lnTo>
                        <a:pt x="527748" y="242912"/>
                      </a:lnTo>
                      <a:lnTo>
                        <a:pt x="526745" y="244830"/>
                      </a:lnTo>
                      <a:lnTo>
                        <a:pt x="526148" y="245630"/>
                      </a:lnTo>
                      <a:lnTo>
                        <a:pt x="525576" y="246456"/>
                      </a:lnTo>
                      <a:lnTo>
                        <a:pt x="525043" y="247307"/>
                      </a:lnTo>
                      <a:lnTo>
                        <a:pt x="524294" y="248259"/>
                      </a:lnTo>
                      <a:lnTo>
                        <a:pt x="523735" y="249021"/>
                      </a:lnTo>
                      <a:lnTo>
                        <a:pt x="523278" y="249986"/>
                      </a:lnTo>
                      <a:lnTo>
                        <a:pt x="522808" y="250698"/>
                      </a:lnTo>
                      <a:lnTo>
                        <a:pt x="522681" y="251320"/>
                      </a:lnTo>
                      <a:lnTo>
                        <a:pt x="522414" y="251612"/>
                      </a:lnTo>
                      <a:lnTo>
                        <a:pt x="521182" y="252780"/>
                      </a:lnTo>
                      <a:lnTo>
                        <a:pt x="520598" y="253365"/>
                      </a:lnTo>
                      <a:lnTo>
                        <a:pt x="521068" y="253555"/>
                      </a:lnTo>
                      <a:lnTo>
                        <a:pt x="521360" y="253771"/>
                      </a:lnTo>
                      <a:lnTo>
                        <a:pt x="522376" y="254647"/>
                      </a:lnTo>
                      <a:lnTo>
                        <a:pt x="522897" y="255562"/>
                      </a:lnTo>
                      <a:lnTo>
                        <a:pt x="523430" y="256413"/>
                      </a:lnTo>
                      <a:lnTo>
                        <a:pt x="527494" y="258267"/>
                      </a:lnTo>
                      <a:lnTo>
                        <a:pt x="528586" y="258064"/>
                      </a:lnTo>
                      <a:lnTo>
                        <a:pt x="529818" y="258178"/>
                      </a:lnTo>
                      <a:lnTo>
                        <a:pt x="530098" y="258178"/>
                      </a:lnTo>
                      <a:lnTo>
                        <a:pt x="530593" y="258267"/>
                      </a:lnTo>
                      <a:lnTo>
                        <a:pt x="531863" y="258660"/>
                      </a:lnTo>
                      <a:lnTo>
                        <a:pt x="532701" y="259080"/>
                      </a:lnTo>
                      <a:lnTo>
                        <a:pt x="533527" y="259448"/>
                      </a:lnTo>
                      <a:lnTo>
                        <a:pt x="533679" y="259537"/>
                      </a:lnTo>
                      <a:lnTo>
                        <a:pt x="533869" y="259588"/>
                      </a:lnTo>
                      <a:lnTo>
                        <a:pt x="534708" y="259918"/>
                      </a:lnTo>
                      <a:lnTo>
                        <a:pt x="535317" y="260083"/>
                      </a:lnTo>
                      <a:lnTo>
                        <a:pt x="536105" y="260146"/>
                      </a:lnTo>
                      <a:lnTo>
                        <a:pt x="537692" y="260184"/>
                      </a:lnTo>
                      <a:lnTo>
                        <a:pt x="539356" y="259334"/>
                      </a:lnTo>
                      <a:lnTo>
                        <a:pt x="541489" y="258064"/>
                      </a:lnTo>
                      <a:lnTo>
                        <a:pt x="541680" y="258038"/>
                      </a:lnTo>
                      <a:lnTo>
                        <a:pt x="542848" y="257479"/>
                      </a:lnTo>
                      <a:lnTo>
                        <a:pt x="543941" y="257086"/>
                      </a:lnTo>
                      <a:lnTo>
                        <a:pt x="544791" y="257771"/>
                      </a:lnTo>
                      <a:lnTo>
                        <a:pt x="545757" y="258267"/>
                      </a:lnTo>
                      <a:lnTo>
                        <a:pt x="545947" y="258343"/>
                      </a:lnTo>
                      <a:lnTo>
                        <a:pt x="546303" y="258406"/>
                      </a:lnTo>
                      <a:lnTo>
                        <a:pt x="548093" y="258953"/>
                      </a:lnTo>
                      <a:lnTo>
                        <a:pt x="549706" y="259080"/>
                      </a:lnTo>
                      <a:lnTo>
                        <a:pt x="552399" y="258991"/>
                      </a:lnTo>
                      <a:lnTo>
                        <a:pt x="554723" y="258826"/>
                      </a:lnTo>
                      <a:lnTo>
                        <a:pt x="554888" y="258838"/>
                      </a:lnTo>
                      <a:lnTo>
                        <a:pt x="557364" y="258559"/>
                      </a:lnTo>
                      <a:lnTo>
                        <a:pt x="560705" y="258597"/>
                      </a:lnTo>
                      <a:lnTo>
                        <a:pt x="562635" y="258559"/>
                      </a:lnTo>
                      <a:lnTo>
                        <a:pt x="565264" y="257848"/>
                      </a:lnTo>
                      <a:lnTo>
                        <a:pt x="565289" y="258406"/>
                      </a:lnTo>
                      <a:lnTo>
                        <a:pt x="565543" y="258635"/>
                      </a:lnTo>
                      <a:lnTo>
                        <a:pt x="565746" y="258699"/>
                      </a:lnTo>
                      <a:lnTo>
                        <a:pt x="565950" y="258622"/>
                      </a:lnTo>
                      <a:lnTo>
                        <a:pt x="566496" y="258406"/>
                      </a:lnTo>
                      <a:lnTo>
                        <a:pt x="567359" y="258241"/>
                      </a:lnTo>
                      <a:lnTo>
                        <a:pt x="567944" y="257848"/>
                      </a:lnTo>
                      <a:lnTo>
                        <a:pt x="568528" y="257263"/>
                      </a:lnTo>
                      <a:lnTo>
                        <a:pt x="568604" y="257086"/>
                      </a:lnTo>
                      <a:lnTo>
                        <a:pt x="568756" y="256730"/>
                      </a:lnTo>
                      <a:lnTo>
                        <a:pt x="568807" y="256413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609" name="object 149">
                  <a:extLst>
                    <a:ext uri="{FF2B5EF4-FFF2-40B4-BE49-F238E27FC236}">
                      <a16:creationId xmlns:a16="http://schemas.microsoft.com/office/drawing/2014/main" id="{B13EDE13-C32F-0BD6-92C7-C9A6E01229D3}"/>
                    </a:ext>
                  </a:extLst>
                </p:cNvPr>
                <p:cNvSpPr/>
                <p:nvPr/>
              </p:nvSpPr>
              <p:spPr>
                <a:xfrm>
                  <a:off x="3542563" y="2172931"/>
                  <a:ext cx="593725" cy="5911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3725" h="591185">
                      <a:moveTo>
                        <a:pt x="39065" y="20942"/>
                      </a:moveTo>
                      <a:lnTo>
                        <a:pt x="38315" y="19050"/>
                      </a:lnTo>
                      <a:lnTo>
                        <a:pt x="37579" y="22860"/>
                      </a:lnTo>
                      <a:lnTo>
                        <a:pt x="39065" y="20942"/>
                      </a:lnTo>
                      <a:close/>
                    </a:path>
                    <a:path w="593725" h="591185">
                      <a:moveTo>
                        <a:pt x="39547" y="20320"/>
                      </a:moveTo>
                      <a:lnTo>
                        <a:pt x="39065" y="20942"/>
                      </a:lnTo>
                      <a:lnTo>
                        <a:pt x="39255" y="21437"/>
                      </a:lnTo>
                      <a:lnTo>
                        <a:pt x="39547" y="20320"/>
                      </a:lnTo>
                      <a:close/>
                    </a:path>
                    <a:path w="593725" h="591185">
                      <a:moveTo>
                        <a:pt x="129997" y="39370"/>
                      </a:moveTo>
                      <a:lnTo>
                        <a:pt x="128981" y="38100"/>
                      </a:lnTo>
                      <a:lnTo>
                        <a:pt x="127825" y="38100"/>
                      </a:lnTo>
                      <a:lnTo>
                        <a:pt x="125945" y="39370"/>
                      </a:lnTo>
                      <a:lnTo>
                        <a:pt x="129997" y="39370"/>
                      </a:lnTo>
                      <a:close/>
                    </a:path>
                    <a:path w="593725" h="591185">
                      <a:moveTo>
                        <a:pt x="186778" y="100330"/>
                      </a:moveTo>
                      <a:lnTo>
                        <a:pt x="185686" y="100330"/>
                      </a:lnTo>
                      <a:lnTo>
                        <a:pt x="186232" y="101600"/>
                      </a:lnTo>
                      <a:lnTo>
                        <a:pt x="186651" y="101600"/>
                      </a:lnTo>
                      <a:lnTo>
                        <a:pt x="186778" y="100330"/>
                      </a:lnTo>
                      <a:close/>
                    </a:path>
                    <a:path w="593725" h="591185">
                      <a:moveTo>
                        <a:pt x="186829" y="100330"/>
                      </a:moveTo>
                      <a:lnTo>
                        <a:pt x="186791" y="101600"/>
                      </a:lnTo>
                      <a:lnTo>
                        <a:pt x="186829" y="100330"/>
                      </a:lnTo>
                      <a:close/>
                    </a:path>
                    <a:path w="593725" h="591185">
                      <a:moveTo>
                        <a:pt x="227825" y="78740"/>
                      </a:moveTo>
                      <a:lnTo>
                        <a:pt x="227253" y="77470"/>
                      </a:lnTo>
                      <a:lnTo>
                        <a:pt x="224434" y="76200"/>
                      </a:lnTo>
                      <a:lnTo>
                        <a:pt x="224358" y="78740"/>
                      </a:lnTo>
                      <a:lnTo>
                        <a:pt x="227825" y="78740"/>
                      </a:lnTo>
                      <a:close/>
                    </a:path>
                    <a:path w="593725" h="591185">
                      <a:moveTo>
                        <a:pt x="246240" y="87630"/>
                      </a:moveTo>
                      <a:lnTo>
                        <a:pt x="240626" y="87630"/>
                      </a:lnTo>
                      <a:lnTo>
                        <a:pt x="238671" y="86360"/>
                      </a:lnTo>
                      <a:lnTo>
                        <a:pt x="238290" y="86360"/>
                      </a:lnTo>
                      <a:lnTo>
                        <a:pt x="237502" y="85090"/>
                      </a:lnTo>
                      <a:lnTo>
                        <a:pt x="232689" y="85090"/>
                      </a:lnTo>
                      <a:lnTo>
                        <a:pt x="232727" y="82550"/>
                      </a:lnTo>
                      <a:lnTo>
                        <a:pt x="231914" y="81280"/>
                      </a:lnTo>
                      <a:lnTo>
                        <a:pt x="229539" y="81280"/>
                      </a:lnTo>
                      <a:lnTo>
                        <a:pt x="228676" y="80010"/>
                      </a:lnTo>
                      <a:lnTo>
                        <a:pt x="224320" y="80010"/>
                      </a:lnTo>
                      <a:lnTo>
                        <a:pt x="222783" y="80010"/>
                      </a:lnTo>
                      <a:lnTo>
                        <a:pt x="221767" y="80010"/>
                      </a:lnTo>
                      <a:lnTo>
                        <a:pt x="221856" y="82550"/>
                      </a:lnTo>
                      <a:lnTo>
                        <a:pt x="216103" y="82550"/>
                      </a:lnTo>
                      <a:lnTo>
                        <a:pt x="211912" y="80010"/>
                      </a:lnTo>
                      <a:lnTo>
                        <a:pt x="211937" y="78740"/>
                      </a:lnTo>
                      <a:lnTo>
                        <a:pt x="211213" y="77470"/>
                      </a:lnTo>
                      <a:lnTo>
                        <a:pt x="207556" y="78740"/>
                      </a:lnTo>
                      <a:lnTo>
                        <a:pt x="207924" y="77470"/>
                      </a:lnTo>
                      <a:lnTo>
                        <a:pt x="206971" y="77470"/>
                      </a:lnTo>
                      <a:lnTo>
                        <a:pt x="206870" y="76200"/>
                      </a:lnTo>
                      <a:lnTo>
                        <a:pt x="203733" y="76200"/>
                      </a:lnTo>
                      <a:lnTo>
                        <a:pt x="204343" y="74930"/>
                      </a:lnTo>
                      <a:lnTo>
                        <a:pt x="208749" y="71120"/>
                      </a:lnTo>
                      <a:lnTo>
                        <a:pt x="216522" y="66040"/>
                      </a:lnTo>
                      <a:lnTo>
                        <a:pt x="219506" y="64770"/>
                      </a:lnTo>
                      <a:lnTo>
                        <a:pt x="218287" y="64770"/>
                      </a:lnTo>
                      <a:lnTo>
                        <a:pt x="217309" y="63500"/>
                      </a:lnTo>
                      <a:lnTo>
                        <a:pt x="215404" y="63500"/>
                      </a:lnTo>
                      <a:lnTo>
                        <a:pt x="198577" y="72390"/>
                      </a:lnTo>
                      <a:lnTo>
                        <a:pt x="196684" y="73660"/>
                      </a:lnTo>
                      <a:lnTo>
                        <a:pt x="192138" y="77470"/>
                      </a:lnTo>
                      <a:lnTo>
                        <a:pt x="189357" y="78740"/>
                      </a:lnTo>
                      <a:lnTo>
                        <a:pt x="187845" y="81280"/>
                      </a:lnTo>
                      <a:lnTo>
                        <a:pt x="187464" y="81280"/>
                      </a:lnTo>
                      <a:lnTo>
                        <a:pt x="183489" y="83820"/>
                      </a:lnTo>
                      <a:lnTo>
                        <a:pt x="182067" y="85090"/>
                      </a:lnTo>
                      <a:lnTo>
                        <a:pt x="181952" y="87630"/>
                      </a:lnTo>
                      <a:lnTo>
                        <a:pt x="181914" y="90170"/>
                      </a:lnTo>
                      <a:lnTo>
                        <a:pt x="182321" y="92710"/>
                      </a:lnTo>
                      <a:lnTo>
                        <a:pt x="179133" y="91440"/>
                      </a:lnTo>
                      <a:lnTo>
                        <a:pt x="176720" y="90170"/>
                      </a:lnTo>
                      <a:lnTo>
                        <a:pt x="175056" y="90170"/>
                      </a:lnTo>
                      <a:lnTo>
                        <a:pt x="172885" y="87630"/>
                      </a:lnTo>
                      <a:lnTo>
                        <a:pt x="173736" y="87630"/>
                      </a:lnTo>
                      <a:lnTo>
                        <a:pt x="175196" y="86360"/>
                      </a:lnTo>
                      <a:lnTo>
                        <a:pt x="174434" y="85090"/>
                      </a:lnTo>
                      <a:lnTo>
                        <a:pt x="174739" y="85090"/>
                      </a:lnTo>
                      <a:lnTo>
                        <a:pt x="174536" y="83820"/>
                      </a:lnTo>
                      <a:lnTo>
                        <a:pt x="172821" y="83820"/>
                      </a:lnTo>
                      <a:lnTo>
                        <a:pt x="172250" y="82550"/>
                      </a:lnTo>
                      <a:lnTo>
                        <a:pt x="171640" y="82550"/>
                      </a:lnTo>
                      <a:lnTo>
                        <a:pt x="171538" y="81280"/>
                      </a:lnTo>
                      <a:lnTo>
                        <a:pt x="170205" y="81280"/>
                      </a:lnTo>
                      <a:lnTo>
                        <a:pt x="168313" y="82550"/>
                      </a:lnTo>
                      <a:lnTo>
                        <a:pt x="154800" y="82550"/>
                      </a:lnTo>
                      <a:lnTo>
                        <a:pt x="154571" y="81280"/>
                      </a:lnTo>
                      <a:lnTo>
                        <a:pt x="154152" y="80010"/>
                      </a:lnTo>
                      <a:lnTo>
                        <a:pt x="153809" y="78740"/>
                      </a:lnTo>
                      <a:lnTo>
                        <a:pt x="153073" y="76200"/>
                      </a:lnTo>
                      <a:lnTo>
                        <a:pt x="152260" y="73660"/>
                      </a:lnTo>
                      <a:lnTo>
                        <a:pt x="151853" y="71120"/>
                      </a:lnTo>
                      <a:lnTo>
                        <a:pt x="151815" y="69850"/>
                      </a:lnTo>
                      <a:lnTo>
                        <a:pt x="151714" y="68580"/>
                      </a:lnTo>
                      <a:lnTo>
                        <a:pt x="151447" y="68580"/>
                      </a:lnTo>
                      <a:lnTo>
                        <a:pt x="150672" y="67310"/>
                      </a:lnTo>
                      <a:lnTo>
                        <a:pt x="147789" y="68580"/>
                      </a:lnTo>
                      <a:lnTo>
                        <a:pt x="145300" y="68580"/>
                      </a:lnTo>
                      <a:lnTo>
                        <a:pt x="144945" y="67310"/>
                      </a:lnTo>
                      <a:lnTo>
                        <a:pt x="144640" y="67310"/>
                      </a:lnTo>
                      <a:lnTo>
                        <a:pt x="144691" y="63500"/>
                      </a:lnTo>
                      <a:lnTo>
                        <a:pt x="144894" y="62230"/>
                      </a:lnTo>
                      <a:lnTo>
                        <a:pt x="145046" y="59690"/>
                      </a:lnTo>
                      <a:lnTo>
                        <a:pt x="145440" y="58420"/>
                      </a:lnTo>
                      <a:lnTo>
                        <a:pt x="145669" y="55880"/>
                      </a:lnTo>
                      <a:lnTo>
                        <a:pt x="146024" y="54610"/>
                      </a:lnTo>
                      <a:lnTo>
                        <a:pt x="146735" y="52070"/>
                      </a:lnTo>
                      <a:lnTo>
                        <a:pt x="147091" y="50800"/>
                      </a:lnTo>
                      <a:lnTo>
                        <a:pt x="145402" y="50800"/>
                      </a:lnTo>
                      <a:lnTo>
                        <a:pt x="143903" y="52070"/>
                      </a:lnTo>
                      <a:lnTo>
                        <a:pt x="142836" y="52070"/>
                      </a:lnTo>
                      <a:lnTo>
                        <a:pt x="140957" y="49530"/>
                      </a:lnTo>
                      <a:lnTo>
                        <a:pt x="140677" y="49530"/>
                      </a:lnTo>
                      <a:lnTo>
                        <a:pt x="138074" y="46990"/>
                      </a:lnTo>
                      <a:lnTo>
                        <a:pt x="136296" y="44450"/>
                      </a:lnTo>
                      <a:lnTo>
                        <a:pt x="133985" y="43180"/>
                      </a:lnTo>
                      <a:lnTo>
                        <a:pt x="133184" y="41910"/>
                      </a:lnTo>
                      <a:lnTo>
                        <a:pt x="132207" y="40640"/>
                      </a:lnTo>
                      <a:lnTo>
                        <a:pt x="123634" y="40640"/>
                      </a:lnTo>
                      <a:lnTo>
                        <a:pt x="112928" y="40640"/>
                      </a:lnTo>
                      <a:lnTo>
                        <a:pt x="98933" y="40640"/>
                      </a:lnTo>
                      <a:lnTo>
                        <a:pt x="93916" y="41910"/>
                      </a:lnTo>
                      <a:lnTo>
                        <a:pt x="86245" y="41910"/>
                      </a:lnTo>
                      <a:lnTo>
                        <a:pt x="85852" y="40640"/>
                      </a:lnTo>
                      <a:lnTo>
                        <a:pt x="84924" y="40640"/>
                      </a:lnTo>
                      <a:lnTo>
                        <a:pt x="84531" y="39370"/>
                      </a:lnTo>
                      <a:lnTo>
                        <a:pt x="83781" y="39370"/>
                      </a:lnTo>
                      <a:lnTo>
                        <a:pt x="79971" y="35560"/>
                      </a:lnTo>
                      <a:lnTo>
                        <a:pt x="78257" y="33020"/>
                      </a:lnTo>
                      <a:lnTo>
                        <a:pt x="75501" y="30480"/>
                      </a:lnTo>
                      <a:lnTo>
                        <a:pt x="72580" y="25400"/>
                      </a:lnTo>
                      <a:lnTo>
                        <a:pt x="63169" y="20320"/>
                      </a:lnTo>
                      <a:lnTo>
                        <a:pt x="60007" y="19050"/>
                      </a:lnTo>
                      <a:lnTo>
                        <a:pt x="59410" y="19050"/>
                      </a:lnTo>
                      <a:lnTo>
                        <a:pt x="60071" y="20320"/>
                      </a:lnTo>
                      <a:lnTo>
                        <a:pt x="60109" y="25400"/>
                      </a:lnTo>
                      <a:lnTo>
                        <a:pt x="59639" y="26670"/>
                      </a:lnTo>
                      <a:lnTo>
                        <a:pt x="59448" y="27940"/>
                      </a:lnTo>
                      <a:lnTo>
                        <a:pt x="59169" y="27940"/>
                      </a:lnTo>
                      <a:lnTo>
                        <a:pt x="58216" y="29210"/>
                      </a:lnTo>
                      <a:lnTo>
                        <a:pt x="56553" y="30480"/>
                      </a:lnTo>
                      <a:lnTo>
                        <a:pt x="56019" y="30480"/>
                      </a:lnTo>
                      <a:lnTo>
                        <a:pt x="56781" y="33020"/>
                      </a:lnTo>
                      <a:lnTo>
                        <a:pt x="55943" y="33020"/>
                      </a:lnTo>
                      <a:lnTo>
                        <a:pt x="55778" y="31750"/>
                      </a:lnTo>
                      <a:lnTo>
                        <a:pt x="54356" y="31750"/>
                      </a:lnTo>
                      <a:lnTo>
                        <a:pt x="53352" y="33020"/>
                      </a:lnTo>
                      <a:lnTo>
                        <a:pt x="50342" y="31750"/>
                      </a:lnTo>
                      <a:lnTo>
                        <a:pt x="51346" y="30480"/>
                      </a:lnTo>
                      <a:lnTo>
                        <a:pt x="50342" y="29210"/>
                      </a:lnTo>
                      <a:lnTo>
                        <a:pt x="48221" y="27940"/>
                      </a:lnTo>
                      <a:lnTo>
                        <a:pt x="47142" y="25400"/>
                      </a:lnTo>
                      <a:lnTo>
                        <a:pt x="45834" y="20320"/>
                      </a:lnTo>
                      <a:lnTo>
                        <a:pt x="48488" y="17780"/>
                      </a:lnTo>
                      <a:lnTo>
                        <a:pt x="49377" y="15240"/>
                      </a:lnTo>
                      <a:lnTo>
                        <a:pt x="49822" y="13970"/>
                      </a:lnTo>
                      <a:lnTo>
                        <a:pt x="50533" y="12700"/>
                      </a:lnTo>
                      <a:lnTo>
                        <a:pt x="55549" y="16510"/>
                      </a:lnTo>
                      <a:lnTo>
                        <a:pt x="50546" y="12700"/>
                      </a:lnTo>
                      <a:lnTo>
                        <a:pt x="50825" y="11430"/>
                      </a:lnTo>
                      <a:lnTo>
                        <a:pt x="50279" y="11430"/>
                      </a:lnTo>
                      <a:lnTo>
                        <a:pt x="49580" y="10160"/>
                      </a:lnTo>
                      <a:lnTo>
                        <a:pt x="49466" y="7620"/>
                      </a:lnTo>
                      <a:lnTo>
                        <a:pt x="49847" y="5080"/>
                      </a:lnTo>
                      <a:lnTo>
                        <a:pt x="49377" y="5511"/>
                      </a:lnTo>
                      <a:lnTo>
                        <a:pt x="49377" y="7620"/>
                      </a:lnTo>
                      <a:lnTo>
                        <a:pt x="48387" y="7620"/>
                      </a:lnTo>
                      <a:lnTo>
                        <a:pt x="48501" y="10160"/>
                      </a:lnTo>
                      <a:lnTo>
                        <a:pt x="48183" y="7620"/>
                      </a:lnTo>
                      <a:lnTo>
                        <a:pt x="48628" y="6591"/>
                      </a:lnTo>
                      <a:lnTo>
                        <a:pt x="49377" y="7620"/>
                      </a:lnTo>
                      <a:lnTo>
                        <a:pt x="49377" y="5511"/>
                      </a:lnTo>
                      <a:lnTo>
                        <a:pt x="48666" y="6146"/>
                      </a:lnTo>
                      <a:lnTo>
                        <a:pt x="48336" y="5080"/>
                      </a:lnTo>
                      <a:lnTo>
                        <a:pt x="47955" y="3810"/>
                      </a:lnTo>
                      <a:lnTo>
                        <a:pt x="47256" y="5080"/>
                      </a:lnTo>
                      <a:lnTo>
                        <a:pt x="46380" y="3810"/>
                      </a:lnTo>
                      <a:lnTo>
                        <a:pt x="46723" y="2540"/>
                      </a:lnTo>
                      <a:lnTo>
                        <a:pt x="45224" y="1066"/>
                      </a:lnTo>
                      <a:lnTo>
                        <a:pt x="45224" y="5080"/>
                      </a:lnTo>
                      <a:lnTo>
                        <a:pt x="43675" y="3810"/>
                      </a:lnTo>
                      <a:lnTo>
                        <a:pt x="44704" y="2628"/>
                      </a:lnTo>
                      <a:lnTo>
                        <a:pt x="45224" y="5080"/>
                      </a:lnTo>
                      <a:lnTo>
                        <a:pt x="45224" y="1066"/>
                      </a:lnTo>
                      <a:lnTo>
                        <a:pt x="44145" y="0"/>
                      </a:lnTo>
                      <a:lnTo>
                        <a:pt x="44678" y="2540"/>
                      </a:lnTo>
                      <a:lnTo>
                        <a:pt x="43091" y="2540"/>
                      </a:lnTo>
                      <a:lnTo>
                        <a:pt x="43256" y="3810"/>
                      </a:lnTo>
                      <a:lnTo>
                        <a:pt x="43332" y="5080"/>
                      </a:lnTo>
                      <a:lnTo>
                        <a:pt x="42392" y="6350"/>
                      </a:lnTo>
                      <a:lnTo>
                        <a:pt x="41402" y="6350"/>
                      </a:lnTo>
                      <a:lnTo>
                        <a:pt x="40601" y="7620"/>
                      </a:lnTo>
                      <a:lnTo>
                        <a:pt x="39852" y="7620"/>
                      </a:lnTo>
                      <a:lnTo>
                        <a:pt x="39217" y="8890"/>
                      </a:lnTo>
                      <a:lnTo>
                        <a:pt x="38976" y="10160"/>
                      </a:lnTo>
                      <a:lnTo>
                        <a:pt x="39712" y="11430"/>
                      </a:lnTo>
                      <a:lnTo>
                        <a:pt x="40551" y="12700"/>
                      </a:lnTo>
                      <a:lnTo>
                        <a:pt x="40436" y="13970"/>
                      </a:lnTo>
                      <a:lnTo>
                        <a:pt x="39204" y="13970"/>
                      </a:lnTo>
                      <a:lnTo>
                        <a:pt x="38506" y="16510"/>
                      </a:lnTo>
                      <a:lnTo>
                        <a:pt x="38239" y="17780"/>
                      </a:lnTo>
                      <a:lnTo>
                        <a:pt x="40093" y="16510"/>
                      </a:lnTo>
                      <a:lnTo>
                        <a:pt x="41706" y="15240"/>
                      </a:lnTo>
                      <a:lnTo>
                        <a:pt x="40589" y="16510"/>
                      </a:lnTo>
                      <a:lnTo>
                        <a:pt x="40284" y="16510"/>
                      </a:lnTo>
                      <a:lnTo>
                        <a:pt x="40170" y="17780"/>
                      </a:lnTo>
                      <a:lnTo>
                        <a:pt x="40132" y="20320"/>
                      </a:lnTo>
                      <a:lnTo>
                        <a:pt x="40474" y="20320"/>
                      </a:lnTo>
                      <a:lnTo>
                        <a:pt x="41249" y="20320"/>
                      </a:lnTo>
                      <a:lnTo>
                        <a:pt x="41198" y="21590"/>
                      </a:lnTo>
                      <a:lnTo>
                        <a:pt x="40474" y="20320"/>
                      </a:lnTo>
                      <a:lnTo>
                        <a:pt x="40360" y="21590"/>
                      </a:lnTo>
                      <a:lnTo>
                        <a:pt x="39319" y="21590"/>
                      </a:lnTo>
                      <a:lnTo>
                        <a:pt x="39255" y="21437"/>
                      </a:lnTo>
                      <a:lnTo>
                        <a:pt x="39217" y="21590"/>
                      </a:lnTo>
                      <a:lnTo>
                        <a:pt x="37934" y="26670"/>
                      </a:lnTo>
                      <a:lnTo>
                        <a:pt x="31686" y="27940"/>
                      </a:lnTo>
                      <a:lnTo>
                        <a:pt x="33032" y="22860"/>
                      </a:lnTo>
                      <a:lnTo>
                        <a:pt x="33883" y="22860"/>
                      </a:lnTo>
                      <a:lnTo>
                        <a:pt x="33807" y="21590"/>
                      </a:lnTo>
                      <a:lnTo>
                        <a:pt x="33070" y="21590"/>
                      </a:lnTo>
                      <a:lnTo>
                        <a:pt x="32842" y="20320"/>
                      </a:lnTo>
                      <a:lnTo>
                        <a:pt x="32270" y="17780"/>
                      </a:lnTo>
                      <a:lnTo>
                        <a:pt x="33108" y="17780"/>
                      </a:lnTo>
                      <a:lnTo>
                        <a:pt x="33769" y="15240"/>
                      </a:lnTo>
                      <a:lnTo>
                        <a:pt x="34378" y="12700"/>
                      </a:lnTo>
                      <a:lnTo>
                        <a:pt x="34963" y="12700"/>
                      </a:lnTo>
                      <a:lnTo>
                        <a:pt x="35306" y="11430"/>
                      </a:lnTo>
                      <a:lnTo>
                        <a:pt x="36080" y="10160"/>
                      </a:lnTo>
                      <a:lnTo>
                        <a:pt x="36817" y="8890"/>
                      </a:lnTo>
                      <a:lnTo>
                        <a:pt x="37388" y="8890"/>
                      </a:lnTo>
                      <a:lnTo>
                        <a:pt x="37896" y="7620"/>
                      </a:lnTo>
                      <a:lnTo>
                        <a:pt x="38303" y="6350"/>
                      </a:lnTo>
                      <a:lnTo>
                        <a:pt x="32664" y="6350"/>
                      </a:lnTo>
                      <a:lnTo>
                        <a:pt x="31064" y="7620"/>
                      </a:lnTo>
                      <a:lnTo>
                        <a:pt x="23037" y="10160"/>
                      </a:lnTo>
                      <a:lnTo>
                        <a:pt x="14998" y="11430"/>
                      </a:lnTo>
                      <a:lnTo>
                        <a:pt x="5791" y="13970"/>
                      </a:lnTo>
                      <a:lnTo>
                        <a:pt x="3568" y="13970"/>
                      </a:lnTo>
                      <a:lnTo>
                        <a:pt x="2146" y="15240"/>
                      </a:lnTo>
                      <a:lnTo>
                        <a:pt x="800" y="15240"/>
                      </a:lnTo>
                      <a:lnTo>
                        <a:pt x="838" y="78740"/>
                      </a:lnTo>
                      <a:lnTo>
                        <a:pt x="419" y="78740"/>
                      </a:lnTo>
                      <a:lnTo>
                        <a:pt x="0" y="80010"/>
                      </a:lnTo>
                      <a:lnTo>
                        <a:pt x="12128" y="80010"/>
                      </a:lnTo>
                      <a:lnTo>
                        <a:pt x="17805" y="78740"/>
                      </a:lnTo>
                      <a:lnTo>
                        <a:pt x="16586" y="78740"/>
                      </a:lnTo>
                      <a:lnTo>
                        <a:pt x="16192" y="77470"/>
                      </a:lnTo>
                      <a:lnTo>
                        <a:pt x="15938" y="77470"/>
                      </a:lnTo>
                      <a:lnTo>
                        <a:pt x="15646" y="76200"/>
                      </a:lnTo>
                      <a:lnTo>
                        <a:pt x="15405" y="76200"/>
                      </a:lnTo>
                      <a:lnTo>
                        <a:pt x="15354" y="74930"/>
                      </a:lnTo>
                      <a:lnTo>
                        <a:pt x="15151" y="73660"/>
                      </a:lnTo>
                      <a:lnTo>
                        <a:pt x="16141" y="71120"/>
                      </a:lnTo>
                      <a:lnTo>
                        <a:pt x="16802" y="68580"/>
                      </a:lnTo>
                      <a:lnTo>
                        <a:pt x="18021" y="67310"/>
                      </a:lnTo>
                      <a:lnTo>
                        <a:pt x="18554" y="67310"/>
                      </a:lnTo>
                      <a:lnTo>
                        <a:pt x="20815" y="66040"/>
                      </a:lnTo>
                      <a:lnTo>
                        <a:pt x="23507" y="66040"/>
                      </a:lnTo>
                      <a:lnTo>
                        <a:pt x="26797" y="64770"/>
                      </a:lnTo>
                      <a:lnTo>
                        <a:pt x="27597" y="64770"/>
                      </a:lnTo>
                      <a:lnTo>
                        <a:pt x="28905" y="62230"/>
                      </a:lnTo>
                      <a:lnTo>
                        <a:pt x="29337" y="59690"/>
                      </a:lnTo>
                      <a:lnTo>
                        <a:pt x="33845" y="59690"/>
                      </a:lnTo>
                      <a:lnTo>
                        <a:pt x="34544" y="60960"/>
                      </a:lnTo>
                      <a:lnTo>
                        <a:pt x="35814" y="62230"/>
                      </a:lnTo>
                      <a:lnTo>
                        <a:pt x="36309" y="62230"/>
                      </a:lnTo>
                      <a:lnTo>
                        <a:pt x="34759" y="59690"/>
                      </a:lnTo>
                      <a:lnTo>
                        <a:pt x="33997" y="58420"/>
                      </a:lnTo>
                      <a:lnTo>
                        <a:pt x="36576" y="55880"/>
                      </a:lnTo>
                      <a:lnTo>
                        <a:pt x="38430" y="54610"/>
                      </a:lnTo>
                      <a:lnTo>
                        <a:pt x="41592" y="57150"/>
                      </a:lnTo>
                      <a:lnTo>
                        <a:pt x="42710" y="58420"/>
                      </a:lnTo>
                      <a:lnTo>
                        <a:pt x="45542" y="58420"/>
                      </a:lnTo>
                      <a:lnTo>
                        <a:pt x="47612" y="62230"/>
                      </a:lnTo>
                      <a:lnTo>
                        <a:pt x="53428" y="62230"/>
                      </a:lnTo>
                      <a:lnTo>
                        <a:pt x="55283" y="63500"/>
                      </a:lnTo>
                      <a:lnTo>
                        <a:pt x="59016" y="64770"/>
                      </a:lnTo>
                      <a:lnTo>
                        <a:pt x="56896" y="66040"/>
                      </a:lnTo>
                      <a:lnTo>
                        <a:pt x="59753" y="67310"/>
                      </a:lnTo>
                      <a:lnTo>
                        <a:pt x="57137" y="68580"/>
                      </a:lnTo>
                      <a:lnTo>
                        <a:pt x="59143" y="69850"/>
                      </a:lnTo>
                      <a:lnTo>
                        <a:pt x="60452" y="69850"/>
                      </a:lnTo>
                      <a:lnTo>
                        <a:pt x="62064" y="71120"/>
                      </a:lnTo>
                      <a:lnTo>
                        <a:pt x="61252" y="72390"/>
                      </a:lnTo>
                      <a:lnTo>
                        <a:pt x="59334" y="72390"/>
                      </a:lnTo>
                      <a:lnTo>
                        <a:pt x="60071" y="73660"/>
                      </a:lnTo>
                      <a:lnTo>
                        <a:pt x="60274" y="74930"/>
                      </a:lnTo>
                      <a:lnTo>
                        <a:pt x="60045" y="74930"/>
                      </a:lnTo>
                      <a:lnTo>
                        <a:pt x="59436" y="77470"/>
                      </a:lnTo>
                      <a:lnTo>
                        <a:pt x="59080" y="77470"/>
                      </a:lnTo>
                      <a:lnTo>
                        <a:pt x="60007" y="78740"/>
                      </a:lnTo>
                      <a:lnTo>
                        <a:pt x="61201" y="78740"/>
                      </a:lnTo>
                      <a:lnTo>
                        <a:pt x="61798" y="80010"/>
                      </a:lnTo>
                      <a:lnTo>
                        <a:pt x="62395" y="80010"/>
                      </a:lnTo>
                      <a:lnTo>
                        <a:pt x="64731" y="81280"/>
                      </a:lnTo>
                      <a:lnTo>
                        <a:pt x="72440" y="81280"/>
                      </a:lnTo>
                      <a:lnTo>
                        <a:pt x="75603" y="82550"/>
                      </a:lnTo>
                      <a:lnTo>
                        <a:pt x="76466" y="82550"/>
                      </a:lnTo>
                      <a:lnTo>
                        <a:pt x="77266" y="81280"/>
                      </a:lnTo>
                      <a:lnTo>
                        <a:pt x="78257" y="81280"/>
                      </a:lnTo>
                      <a:lnTo>
                        <a:pt x="78257" y="80010"/>
                      </a:lnTo>
                      <a:lnTo>
                        <a:pt x="81826" y="80010"/>
                      </a:lnTo>
                      <a:lnTo>
                        <a:pt x="83032" y="81280"/>
                      </a:lnTo>
                      <a:lnTo>
                        <a:pt x="86055" y="85090"/>
                      </a:lnTo>
                      <a:lnTo>
                        <a:pt x="87617" y="90170"/>
                      </a:lnTo>
                      <a:lnTo>
                        <a:pt x="89954" y="95250"/>
                      </a:lnTo>
                      <a:lnTo>
                        <a:pt x="91643" y="95250"/>
                      </a:lnTo>
                      <a:lnTo>
                        <a:pt x="92392" y="97790"/>
                      </a:lnTo>
                      <a:lnTo>
                        <a:pt x="92887" y="99060"/>
                      </a:lnTo>
                      <a:lnTo>
                        <a:pt x="93192" y="100330"/>
                      </a:lnTo>
                      <a:lnTo>
                        <a:pt x="93814" y="101600"/>
                      </a:lnTo>
                      <a:lnTo>
                        <a:pt x="94068" y="102870"/>
                      </a:lnTo>
                      <a:lnTo>
                        <a:pt x="95186" y="104140"/>
                      </a:lnTo>
                      <a:lnTo>
                        <a:pt x="97307" y="105410"/>
                      </a:lnTo>
                      <a:lnTo>
                        <a:pt x="100926" y="107950"/>
                      </a:lnTo>
                      <a:lnTo>
                        <a:pt x="103987" y="109220"/>
                      </a:lnTo>
                      <a:lnTo>
                        <a:pt x="107035" y="111760"/>
                      </a:lnTo>
                      <a:lnTo>
                        <a:pt x="111074" y="114300"/>
                      </a:lnTo>
                      <a:lnTo>
                        <a:pt x="115836" y="116840"/>
                      </a:lnTo>
                      <a:lnTo>
                        <a:pt x="119316" y="118110"/>
                      </a:lnTo>
                      <a:lnTo>
                        <a:pt x="124129" y="123190"/>
                      </a:lnTo>
                      <a:lnTo>
                        <a:pt x="126720" y="124460"/>
                      </a:lnTo>
                      <a:lnTo>
                        <a:pt x="129247" y="125730"/>
                      </a:lnTo>
                      <a:lnTo>
                        <a:pt x="130340" y="125730"/>
                      </a:lnTo>
                      <a:lnTo>
                        <a:pt x="132511" y="127000"/>
                      </a:lnTo>
                      <a:lnTo>
                        <a:pt x="134366" y="128270"/>
                      </a:lnTo>
                      <a:lnTo>
                        <a:pt x="137579" y="130810"/>
                      </a:lnTo>
                      <a:lnTo>
                        <a:pt x="138811" y="132080"/>
                      </a:lnTo>
                      <a:lnTo>
                        <a:pt x="141109" y="132080"/>
                      </a:lnTo>
                      <a:lnTo>
                        <a:pt x="141617" y="130810"/>
                      </a:lnTo>
                      <a:lnTo>
                        <a:pt x="143446" y="130810"/>
                      </a:lnTo>
                      <a:lnTo>
                        <a:pt x="145796" y="132080"/>
                      </a:lnTo>
                      <a:lnTo>
                        <a:pt x="147091" y="133350"/>
                      </a:lnTo>
                      <a:lnTo>
                        <a:pt x="148818" y="133350"/>
                      </a:lnTo>
                      <a:lnTo>
                        <a:pt x="153568" y="135890"/>
                      </a:lnTo>
                      <a:lnTo>
                        <a:pt x="153263" y="138430"/>
                      </a:lnTo>
                      <a:lnTo>
                        <a:pt x="152946" y="139700"/>
                      </a:lnTo>
                      <a:lnTo>
                        <a:pt x="152755" y="140970"/>
                      </a:lnTo>
                      <a:lnTo>
                        <a:pt x="152628" y="142240"/>
                      </a:lnTo>
                      <a:lnTo>
                        <a:pt x="152488" y="142240"/>
                      </a:lnTo>
                      <a:lnTo>
                        <a:pt x="152387" y="143510"/>
                      </a:lnTo>
                      <a:lnTo>
                        <a:pt x="152234" y="144780"/>
                      </a:lnTo>
                      <a:lnTo>
                        <a:pt x="152031" y="144780"/>
                      </a:lnTo>
                      <a:lnTo>
                        <a:pt x="151739" y="146050"/>
                      </a:lnTo>
                      <a:lnTo>
                        <a:pt x="158826" y="146050"/>
                      </a:lnTo>
                      <a:lnTo>
                        <a:pt x="159600" y="147320"/>
                      </a:lnTo>
                      <a:lnTo>
                        <a:pt x="160705" y="147320"/>
                      </a:lnTo>
                      <a:lnTo>
                        <a:pt x="160883" y="148590"/>
                      </a:lnTo>
                      <a:lnTo>
                        <a:pt x="169976" y="148590"/>
                      </a:lnTo>
                      <a:lnTo>
                        <a:pt x="170116" y="147320"/>
                      </a:lnTo>
                      <a:lnTo>
                        <a:pt x="170421" y="146050"/>
                      </a:lnTo>
                      <a:lnTo>
                        <a:pt x="170230" y="144780"/>
                      </a:lnTo>
                      <a:lnTo>
                        <a:pt x="170408" y="144780"/>
                      </a:lnTo>
                      <a:lnTo>
                        <a:pt x="171310" y="143510"/>
                      </a:lnTo>
                      <a:lnTo>
                        <a:pt x="172847" y="140970"/>
                      </a:lnTo>
                      <a:lnTo>
                        <a:pt x="179285" y="133350"/>
                      </a:lnTo>
                      <a:lnTo>
                        <a:pt x="177482" y="130810"/>
                      </a:lnTo>
                      <a:lnTo>
                        <a:pt x="176580" y="130810"/>
                      </a:lnTo>
                      <a:lnTo>
                        <a:pt x="175069" y="128270"/>
                      </a:lnTo>
                      <a:lnTo>
                        <a:pt x="174688" y="128270"/>
                      </a:lnTo>
                      <a:lnTo>
                        <a:pt x="174561" y="125730"/>
                      </a:lnTo>
                      <a:lnTo>
                        <a:pt x="174840" y="124460"/>
                      </a:lnTo>
                      <a:lnTo>
                        <a:pt x="175590" y="121920"/>
                      </a:lnTo>
                      <a:lnTo>
                        <a:pt x="175196" y="120650"/>
                      </a:lnTo>
                      <a:lnTo>
                        <a:pt x="174701" y="119380"/>
                      </a:lnTo>
                      <a:lnTo>
                        <a:pt x="172034" y="119380"/>
                      </a:lnTo>
                      <a:lnTo>
                        <a:pt x="168452" y="118110"/>
                      </a:lnTo>
                      <a:lnTo>
                        <a:pt x="168224" y="118110"/>
                      </a:lnTo>
                      <a:lnTo>
                        <a:pt x="166281" y="116840"/>
                      </a:lnTo>
                      <a:lnTo>
                        <a:pt x="165379" y="115570"/>
                      </a:lnTo>
                      <a:lnTo>
                        <a:pt x="164592" y="115570"/>
                      </a:lnTo>
                      <a:lnTo>
                        <a:pt x="164020" y="114300"/>
                      </a:lnTo>
                      <a:lnTo>
                        <a:pt x="163804" y="114300"/>
                      </a:lnTo>
                      <a:lnTo>
                        <a:pt x="163817" y="113030"/>
                      </a:lnTo>
                      <a:lnTo>
                        <a:pt x="164642" y="110490"/>
                      </a:lnTo>
                      <a:lnTo>
                        <a:pt x="166293" y="109220"/>
                      </a:lnTo>
                      <a:lnTo>
                        <a:pt x="167906" y="109220"/>
                      </a:lnTo>
                      <a:lnTo>
                        <a:pt x="168376" y="107950"/>
                      </a:lnTo>
                      <a:lnTo>
                        <a:pt x="172097" y="109220"/>
                      </a:lnTo>
                      <a:lnTo>
                        <a:pt x="178346" y="109220"/>
                      </a:lnTo>
                      <a:lnTo>
                        <a:pt x="179349" y="110490"/>
                      </a:lnTo>
                      <a:lnTo>
                        <a:pt x="179920" y="109220"/>
                      </a:lnTo>
                      <a:lnTo>
                        <a:pt x="180530" y="109220"/>
                      </a:lnTo>
                      <a:lnTo>
                        <a:pt x="180898" y="107950"/>
                      </a:lnTo>
                      <a:lnTo>
                        <a:pt x="181267" y="106680"/>
                      </a:lnTo>
                      <a:lnTo>
                        <a:pt x="181571" y="105410"/>
                      </a:lnTo>
                      <a:lnTo>
                        <a:pt x="182016" y="104140"/>
                      </a:lnTo>
                      <a:lnTo>
                        <a:pt x="182968" y="102870"/>
                      </a:lnTo>
                      <a:lnTo>
                        <a:pt x="184226" y="102870"/>
                      </a:lnTo>
                      <a:lnTo>
                        <a:pt x="184531" y="104140"/>
                      </a:lnTo>
                      <a:lnTo>
                        <a:pt x="184797" y="104140"/>
                      </a:lnTo>
                      <a:lnTo>
                        <a:pt x="184873" y="102870"/>
                      </a:lnTo>
                      <a:lnTo>
                        <a:pt x="184543" y="101600"/>
                      </a:lnTo>
                      <a:lnTo>
                        <a:pt x="185407" y="100330"/>
                      </a:lnTo>
                      <a:lnTo>
                        <a:pt x="182194" y="100330"/>
                      </a:lnTo>
                      <a:lnTo>
                        <a:pt x="181825" y="99060"/>
                      </a:lnTo>
                      <a:lnTo>
                        <a:pt x="188620" y="97790"/>
                      </a:lnTo>
                      <a:lnTo>
                        <a:pt x="189776" y="99060"/>
                      </a:lnTo>
                      <a:lnTo>
                        <a:pt x="191198" y="99060"/>
                      </a:lnTo>
                      <a:lnTo>
                        <a:pt x="191008" y="97790"/>
                      </a:lnTo>
                      <a:lnTo>
                        <a:pt x="190817" y="96520"/>
                      </a:lnTo>
                      <a:lnTo>
                        <a:pt x="189738" y="93980"/>
                      </a:lnTo>
                      <a:lnTo>
                        <a:pt x="190017" y="92710"/>
                      </a:lnTo>
                      <a:lnTo>
                        <a:pt x="190296" y="91440"/>
                      </a:lnTo>
                      <a:lnTo>
                        <a:pt x="191782" y="88900"/>
                      </a:lnTo>
                      <a:lnTo>
                        <a:pt x="192163" y="88900"/>
                      </a:lnTo>
                      <a:lnTo>
                        <a:pt x="195287" y="90170"/>
                      </a:lnTo>
                      <a:lnTo>
                        <a:pt x="197916" y="91440"/>
                      </a:lnTo>
                      <a:lnTo>
                        <a:pt x="198882" y="90170"/>
                      </a:lnTo>
                      <a:lnTo>
                        <a:pt x="201142" y="88900"/>
                      </a:lnTo>
                      <a:lnTo>
                        <a:pt x="203060" y="88900"/>
                      </a:lnTo>
                      <a:lnTo>
                        <a:pt x="204279" y="87630"/>
                      </a:lnTo>
                      <a:lnTo>
                        <a:pt x="206451" y="85090"/>
                      </a:lnTo>
                      <a:lnTo>
                        <a:pt x="207899" y="85090"/>
                      </a:lnTo>
                      <a:lnTo>
                        <a:pt x="212674" y="90170"/>
                      </a:lnTo>
                      <a:lnTo>
                        <a:pt x="210553" y="91440"/>
                      </a:lnTo>
                      <a:lnTo>
                        <a:pt x="208521" y="92710"/>
                      </a:lnTo>
                      <a:lnTo>
                        <a:pt x="206463" y="95250"/>
                      </a:lnTo>
                      <a:lnTo>
                        <a:pt x="207899" y="96520"/>
                      </a:lnTo>
                      <a:lnTo>
                        <a:pt x="209321" y="96520"/>
                      </a:lnTo>
                      <a:lnTo>
                        <a:pt x="210667" y="97790"/>
                      </a:lnTo>
                      <a:lnTo>
                        <a:pt x="212407" y="99060"/>
                      </a:lnTo>
                      <a:lnTo>
                        <a:pt x="214985" y="97790"/>
                      </a:lnTo>
                      <a:lnTo>
                        <a:pt x="215277" y="97790"/>
                      </a:lnTo>
                      <a:lnTo>
                        <a:pt x="216573" y="96520"/>
                      </a:lnTo>
                      <a:lnTo>
                        <a:pt x="219925" y="96520"/>
                      </a:lnTo>
                      <a:lnTo>
                        <a:pt x="221538" y="97790"/>
                      </a:lnTo>
                      <a:lnTo>
                        <a:pt x="223596" y="97790"/>
                      </a:lnTo>
                      <a:lnTo>
                        <a:pt x="226250" y="100330"/>
                      </a:lnTo>
                      <a:lnTo>
                        <a:pt x="227418" y="99060"/>
                      </a:lnTo>
                      <a:lnTo>
                        <a:pt x="229463" y="97790"/>
                      </a:lnTo>
                      <a:lnTo>
                        <a:pt x="230555" y="97790"/>
                      </a:lnTo>
                      <a:lnTo>
                        <a:pt x="230746" y="96520"/>
                      </a:lnTo>
                      <a:lnTo>
                        <a:pt x="230949" y="96520"/>
                      </a:lnTo>
                      <a:lnTo>
                        <a:pt x="231241" y="95250"/>
                      </a:lnTo>
                      <a:lnTo>
                        <a:pt x="231952" y="93980"/>
                      </a:lnTo>
                      <a:lnTo>
                        <a:pt x="233857" y="95250"/>
                      </a:lnTo>
                      <a:lnTo>
                        <a:pt x="235762" y="95250"/>
                      </a:lnTo>
                      <a:lnTo>
                        <a:pt x="235254" y="93980"/>
                      </a:lnTo>
                      <a:lnTo>
                        <a:pt x="235318" y="91440"/>
                      </a:lnTo>
                      <a:lnTo>
                        <a:pt x="236143" y="91440"/>
                      </a:lnTo>
                      <a:lnTo>
                        <a:pt x="237172" y="92710"/>
                      </a:lnTo>
                      <a:lnTo>
                        <a:pt x="237832" y="92710"/>
                      </a:lnTo>
                      <a:lnTo>
                        <a:pt x="238556" y="93980"/>
                      </a:lnTo>
                      <a:lnTo>
                        <a:pt x="239153" y="92710"/>
                      </a:lnTo>
                      <a:lnTo>
                        <a:pt x="240157" y="92710"/>
                      </a:lnTo>
                      <a:lnTo>
                        <a:pt x="240677" y="91440"/>
                      </a:lnTo>
                      <a:lnTo>
                        <a:pt x="241515" y="91440"/>
                      </a:lnTo>
                      <a:lnTo>
                        <a:pt x="242023" y="90170"/>
                      </a:lnTo>
                      <a:lnTo>
                        <a:pt x="244043" y="90170"/>
                      </a:lnTo>
                      <a:lnTo>
                        <a:pt x="244995" y="88900"/>
                      </a:lnTo>
                      <a:lnTo>
                        <a:pt x="245999" y="88900"/>
                      </a:lnTo>
                      <a:lnTo>
                        <a:pt x="246240" y="87630"/>
                      </a:lnTo>
                      <a:close/>
                    </a:path>
                    <a:path w="593725" h="591185">
                      <a:moveTo>
                        <a:pt x="401142" y="443306"/>
                      </a:moveTo>
                      <a:lnTo>
                        <a:pt x="244906" y="443306"/>
                      </a:lnTo>
                      <a:lnTo>
                        <a:pt x="243738" y="443306"/>
                      </a:lnTo>
                      <a:lnTo>
                        <a:pt x="243395" y="443306"/>
                      </a:lnTo>
                      <a:lnTo>
                        <a:pt x="243738" y="444576"/>
                      </a:lnTo>
                      <a:lnTo>
                        <a:pt x="244081" y="447116"/>
                      </a:lnTo>
                      <a:lnTo>
                        <a:pt x="245262" y="450926"/>
                      </a:lnTo>
                      <a:lnTo>
                        <a:pt x="247967" y="463626"/>
                      </a:lnTo>
                      <a:lnTo>
                        <a:pt x="248272" y="464896"/>
                      </a:lnTo>
                      <a:lnTo>
                        <a:pt x="248615" y="466166"/>
                      </a:lnTo>
                      <a:lnTo>
                        <a:pt x="248907" y="467436"/>
                      </a:lnTo>
                      <a:lnTo>
                        <a:pt x="249059" y="469976"/>
                      </a:lnTo>
                      <a:lnTo>
                        <a:pt x="249605" y="472516"/>
                      </a:lnTo>
                      <a:lnTo>
                        <a:pt x="250012" y="473786"/>
                      </a:lnTo>
                      <a:lnTo>
                        <a:pt x="250748" y="475056"/>
                      </a:lnTo>
                      <a:lnTo>
                        <a:pt x="257975" y="485216"/>
                      </a:lnTo>
                      <a:lnTo>
                        <a:pt x="255790" y="485216"/>
                      </a:lnTo>
                      <a:lnTo>
                        <a:pt x="256362" y="486486"/>
                      </a:lnTo>
                      <a:lnTo>
                        <a:pt x="256984" y="487756"/>
                      </a:lnTo>
                      <a:lnTo>
                        <a:pt x="258826" y="490296"/>
                      </a:lnTo>
                      <a:lnTo>
                        <a:pt x="259334" y="492836"/>
                      </a:lnTo>
                      <a:lnTo>
                        <a:pt x="260515" y="492836"/>
                      </a:lnTo>
                      <a:lnTo>
                        <a:pt x="259829" y="494106"/>
                      </a:lnTo>
                      <a:lnTo>
                        <a:pt x="261264" y="494106"/>
                      </a:lnTo>
                      <a:lnTo>
                        <a:pt x="262229" y="495376"/>
                      </a:lnTo>
                      <a:lnTo>
                        <a:pt x="263347" y="496646"/>
                      </a:lnTo>
                      <a:lnTo>
                        <a:pt x="263639" y="496646"/>
                      </a:lnTo>
                      <a:lnTo>
                        <a:pt x="264375" y="497916"/>
                      </a:lnTo>
                      <a:lnTo>
                        <a:pt x="265226" y="501726"/>
                      </a:lnTo>
                      <a:lnTo>
                        <a:pt x="265430" y="502996"/>
                      </a:lnTo>
                      <a:lnTo>
                        <a:pt x="266115" y="505536"/>
                      </a:lnTo>
                      <a:lnTo>
                        <a:pt x="266700" y="506806"/>
                      </a:lnTo>
                      <a:lnTo>
                        <a:pt x="266979" y="508076"/>
                      </a:lnTo>
                      <a:lnTo>
                        <a:pt x="267804" y="510616"/>
                      </a:lnTo>
                      <a:lnTo>
                        <a:pt x="268338" y="511886"/>
                      </a:lnTo>
                      <a:lnTo>
                        <a:pt x="271145" y="519506"/>
                      </a:lnTo>
                      <a:lnTo>
                        <a:pt x="270662" y="522046"/>
                      </a:lnTo>
                      <a:lnTo>
                        <a:pt x="270586" y="523316"/>
                      </a:lnTo>
                      <a:lnTo>
                        <a:pt x="272948" y="528396"/>
                      </a:lnTo>
                      <a:lnTo>
                        <a:pt x="273596" y="529666"/>
                      </a:lnTo>
                      <a:lnTo>
                        <a:pt x="273773" y="529666"/>
                      </a:lnTo>
                      <a:lnTo>
                        <a:pt x="274612" y="530936"/>
                      </a:lnTo>
                      <a:lnTo>
                        <a:pt x="276847" y="534746"/>
                      </a:lnTo>
                      <a:lnTo>
                        <a:pt x="279869" y="538556"/>
                      </a:lnTo>
                      <a:lnTo>
                        <a:pt x="280695" y="539826"/>
                      </a:lnTo>
                      <a:lnTo>
                        <a:pt x="281571" y="541096"/>
                      </a:lnTo>
                      <a:lnTo>
                        <a:pt x="282232" y="542366"/>
                      </a:lnTo>
                      <a:lnTo>
                        <a:pt x="283451" y="544906"/>
                      </a:lnTo>
                      <a:lnTo>
                        <a:pt x="284010" y="546176"/>
                      </a:lnTo>
                      <a:lnTo>
                        <a:pt x="284797" y="547446"/>
                      </a:lnTo>
                      <a:lnTo>
                        <a:pt x="285496" y="549986"/>
                      </a:lnTo>
                      <a:lnTo>
                        <a:pt x="285699" y="551256"/>
                      </a:lnTo>
                      <a:lnTo>
                        <a:pt x="286296" y="552526"/>
                      </a:lnTo>
                      <a:lnTo>
                        <a:pt x="286766" y="553796"/>
                      </a:lnTo>
                      <a:lnTo>
                        <a:pt x="287832" y="556336"/>
                      </a:lnTo>
                      <a:lnTo>
                        <a:pt x="289280" y="558876"/>
                      </a:lnTo>
                      <a:lnTo>
                        <a:pt x="289433" y="560146"/>
                      </a:lnTo>
                      <a:lnTo>
                        <a:pt x="289864" y="560146"/>
                      </a:lnTo>
                      <a:lnTo>
                        <a:pt x="290436" y="561416"/>
                      </a:lnTo>
                      <a:lnTo>
                        <a:pt x="291668" y="563956"/>
                      </a:lnTo>
                      <a:lnTo>
                        <a:pt x="293649" y="567766"/>
                      </a:lnTo>
                      <a:lnTo>
                        <a:pt x="294017" y="570306"/>
                      </a:lnTo>
                      <a:lnTo>
                        <a:pt x="292874" y="570306"/>
                      </a:lnTo>
                      <a:lnTo>
                        <a:pt x="292519" y="569036"/>
                      </a:lnTo>
                      <a:lnTo>
                        <a:pt x="292138" y="569036"/>
                      </a:lnTo>
                      <a:lnTo>
                        <a:pt x="290944" y="565226"/>
                      </a:lnTo>
                      <a:lnTo>
                        <a:pt x="291033" y="566496"/>
                      </a:lnTo>
                      <a:lnTo>
                        <a:pt x="291211" y="566496"/>
                      </a:lnTo>
                      <a:lnTo>
                        <a:pt x="291795" y="569036"/>
                      </a:lnTo>
                      <a:lnTo>
                        <a:pt x="293065" y="572846"/>
                      </a:lnTo>
                      <a:lnTo>
                        <a:pt x="293420" y="574116"/>
                      </a:lnTo>
                      <a:lnTo>
                        <a:pt x="293992" y="575386"/>
                      </a:lnTo>
                      <a:lnTo>
                        <a:pt x="295846" y="576656"/>
                      </a:lnTo>
                      <a:lnTo>
                        <a:pt x="296849" y="577926"/>
                      </a:lnTo>
                      <a:lnTo>
                        <a:pt x="296418" y="577926"/>
                      </a:lnTo>
                      <a:lnTo>
                        <a:pt x="295694" y="579196"/>
                      </a:lnTo>
                      <a:lnTo>
                        <a:pt x="302818" y="588086"/>
                      </a:lnTo>
                      <a:lnTo>
                        <a:pt x="303301" y="588086"/>
                      </a:lnTo>
                      <a:lnTo>
                        <a:pt x="304965" y="589356"/>
                      </a:lnTo>
                      <a:lnTo>
                        <a:pt x="308762" y="590626"/>
                      </a:lnTo>
                      <a:lnTo>
                        <a:pt x="309257" y="590626"/>
                      </a:lnTo>
                      <a:lnTo>
                        <a:pt x="309791" y="589356"/>
                      </a:lnTo>
                      <a:lnTo>
                        <a:pt x="312775" y="588086"/>
                      </a:lnTo>
                      <a:lnTo>
                        <a:pt x="316318" y="586816"/>
                      </a:lnTo>
                      <a:lnTo>
                        <a:pt x="317322" y="586816"/>
                      </a:lnTo>
                      <a:lnTo>
                        <a:pt x="317906" y="583006"/>
                      </a:lnTo>
                      <a:lnTo>
                        <a:pt x="318109" y="580466"/>
                      </a:lnTo>
                      <a:lnTo>
                        <a:pt x="319163" y="577926"/>
                      </a:lnTo>
                      <a:lnTo>
                        <a:pt x="320040" y="576656"/>
                      </a:lnTo>
                      <a:lnTo>
                        <a:pt x="323710" y="575386"/>
                      </a:lnTo>
                      <a:lnTo>
                        <a:pt x="325869" y="574116"/>
                      </a:lnTo>
                      <a:lnTo>
                        <a:pt x="330847" y="574116"/>
                      </a:lnTo>
                      <a:lnTo>
                        <a:pt x="332524" y="575386"/>
                      </a:lnTo>
                      <a:lnTo>
                        <a:pt x="336524" y="575386"/>
                      </a:lnTo>
                      <a:lnTo>
                        <a:pt x="335394" y="574116"/>
                      </a:lnTo>
                      <a:lnTo>
                        <a:pt x="331660" y="574116"/>
                      </a:lnTo>
                      <a:lnTo>
                        <a:pt x="330784" y="572846"/>
                      </a:lnTo>
                      <a:lnTo>
                        <a:pt x="329476" y="572846"/>
                      </a:lnTo>
                      <a:lnTo>
                        <a:pt x="329044" y="571576"/>
                      </a:lnTo>
                      <a:lnTo>
                        <a:pt x="329247" y="570306"/>
                      </a:lnTo>
                      <a:lnTo>
                        <a:pt x="329438" y="569036"/>
                      </a:lnTo>
                      <a:lnTo>
                        <a:pt x="330123" y="569036"/>
                      </a:lnTo>
                      <a:lnTo>
                        <a:pt x="331355" y="566496"/>
                      </a:lnTo>
                      <a:lnTo>
                        <a:pt x="331876" y="565226"/>
                      </a:lnTo>
                      <a:lnTo>
                        <a:pt x="332778" y="563956"/>
                      </a:lnTo>
                      <a:lnTo>
                        <a:pt x="333121" y="561416"/>
                      </a:lnTo>
                      <a:lnTo>
                        <a:pt x="334746" y="560146"/>
                      </a:lnTo>
                      <a:lnTo>
                        <a:pt x="336943" y="558876"/>
                      </a:lnTo>
                      <a:lnTo>
                        <a:pt x="340233" y="558876"/>
                      </a:lnTo>
                      <a:lnTo>
                        <a:pt x="342188" y="560146"/>
                      </a:lnTo>
                      <a:lnTo>
                        <a:pt x="342252" y="558876"/>
                      </a:lnTo>
                      <a:lnTo>
                        <a:pt x="342519" y="553796"/>
                      </a:lnTo>
                      <a:lnTo>
                        <a:pt x="342493" y="552526"/>
                      </a:lnTo>
                      <a:lnTo>
                        <a:pt x="341998" y="548716"/>
                      </a:lnTo>
                      <a:lnTo>
                        <a:pt x="341617" y="547446"/>
                      </a:lnTo>
                      <a:lnTo>
                        <a:pt x="340614" y="546176"/>
                      </a:lnTo>
                      <a:lnTo>
                        <a:pt x="340271" y="544906"/>
                      </a:lnTo>
                      <a:lnTo>
                        <a:pt x="339877" y="544906"/>
                      </a:lnTo>
                      <a:lnTo>
                        <a:pt x="341998" y="543636"/>
                      </a:lnTo>
                      <a:lnTo>
                        <a:pt x="341261" y="543636"/>
                      </a:lnTo>
                      <a:lnTo>
                        <a:pt x="340944" y="541096"/>
                      </a:lnTo>
                      <a:lnTo>
                        <a:pt x="340969" y="538556"/>
                      </a:lnTo>
                      <a:lnTo>
                        <a:pt x="341414" y="537286"/>
                      </a:lnTo>
                      <a:lnTo>
                        <a:pt x="342138" y="534746"/>
                      </a:lnTo>
                      <a:lnTo>
                        <a:pt x="342696" y="534746"/>
                      </a:lnTo>
                      <a:lnTo>
                        <a:pt x="343268" y="533476"/>
                      </a:lnTo>
                      <a:lnTo>
                        <a:pt x="344906" y="529666"/>
                      </a:lnTo>
                      <a:lnTo>
                        <a:pt x="346405" y="527126"/>
                      </a:lnTo>
                      <a:lnTo>
                        <a:pt x="347827" y="524586"/>
                      </a:lnTo>
                      <a:lnTo>
                        <a:pt x="348107" y="522046"/>
                      </a:lnTo>
                      <a:lnTo>
                        <a:pt x="348094" y="519506"/>
                      </a:lnTo>
                      <a:lnTo>
                        <a:pt x="348246" y="518236"/>
                      </a:lnTo>
                      <a:lnTo>
                        <a:pt x="348297" y="513156"/>
                      </a:lnTo>
                      <a:lnTo>
                        <a:pt x="346608" y="513156"/>
                      </a:lnTo>
                      <a:lnTo>
                        <a:pt x="345122" y="511886"/>
                      </a:lnTo>
                      <a:lnTo>
                        <a:pt x="344779" y="510616"/>
                      </a:lnTo>
                      <a:lnTo>
                        <a:pt x="346583" y="509346"/>
                      </a:lnTo>
                      <a:lnTo>
                        <a:pt x="348399" y="511886"/>
                      </a:lnTo>
                      <a:lnTo>
                        <a:pt x="348157" y="510616"/>
                      </a:lnTo>
                      <a:lnTo>
                        <a:pt x="347878" y="509346"/>
                      </a:lnTo>
                      <a:lnTo>
                        <a:pt x="347345" y="508076"/>
                      </a:lnTo>
                      <a:lnTo>
                        <a:pt x="345897" y="505536"/>
                      </a:lnTo>
                      <a:lnTo>
                        <a:pt x="345338" y="502996"/>
                      </a:lnTo>
                      <a:lnTo>
                        <a:pt x="345452" y="500456"/>
                      </a:lnTo>
                      <a:lnTo>
                        <a:pt x="345147" y="495376"/>
                      </a:lnTo>
                      <a:lnTo>
                        <a:pt x="345249" y="490296"/>
                      </a:lnTo>
                      <a:lnTo>
                        <a:pt x="345503" y="487756"/>
                      </a:lnTo>
                      <a:lnTo>
                        <a:pt x="346303" y="486486"/>
                      </a:lnTo>
                      <a:lnTo>
                        <a:pt x="347103" y="483946"/>
                      </a:lnTo>
                      <a:lnTo>
                        <a:pt x="347649" y="481406"/>
                      </a:lnTo>
                      <a:lnTo>
                        <a:pt x="349237" y="480136"/>
                      </a:lnTo>
                      <a:lnTo>
                        <a:pt x="350901" y="478866"/>
                      </a:lnTo>
                      <a:lnTo>
                        <a:pt x="352488" y="477596"/>
                      </a:lnTo>
                      <a:lnTo>
                        <a:pt x="355028" y="477596"/>
                      </a:lnTo>
                      <a:lnTo>
                        <a:pt x="355993" y="478866"/>
                      </a:lnTo>
                      <a:lnTo>
                        <a:pt x="356146" y="480136"/>
                      </a:lnTo>
                      <a:lnTo>
                        <a:pt x="356527" y="478866"/>
                      </a:lnTo>
                      <a:lnTo>
                        <a:pt x="357378" y="477596"/>
                      </a:lnTo>
                      <a:lnTo>
                        <a:pt x="357149" y="475056"/>
                      </a:lnTo>
                      <a:lnTo>
                        <a:pt x="358051" y="477596"/>
                      </a:lnTo>
                      <a:lnTo>
                        <a:pt x="358711" y="478866"/>
                      </a:lnTo>
                      <a:lnTo>
                        <a:pt x="359003" y="478866"/>
                      </a:lnTo>
                      <a:lnTo>
                        <a:pt x="358228" y="477596"/>
                      </a:lnTo>
                      <a:lnTo>
                        <a:pt x="359651" y="477596"/>
                      </a:lnTo>
                      <a:lnTo>
                        <a:pt x="360400" y="476326"/>
                      </a:lnTo>
                      <a:lnTo>
                        <a:pt x="360946" y="476326"/>
                      </a:lnTo>
                      <a:lnTo>
                        <a:pt x="361061" y="475056"/>
                      </a:lnTo>
                      <a:lnTo>
                        <a:pt x="362165" y="472516"/>
                      </a:lnTo>
                      <a:lnTo>
                        <a:pt x="363004" y="471246"/>
                      </a:lnTo>
                      <a:lnTo>
                        <a:pt x="370306" y="471246"/>
                      </a:lnTo>
                      <a:lnTo>
                        <a:pt x="371602" y="469976"/>
                      </a:lnTo>
                      <a:lnTo>
                        <a:pt x="374167" y="468706"/>
                      </a:lnTo>
                      <a:lnTo>
                        <a:pt x="377380" y="467436"/>
                      </a:lnTo>
                      <a:lnTo>
                        <a:pt x="378358" y="463626"/>
                      </a:lnTo>
                      <a:lnTo>
                        <a:pt x="376732" y="462356"/>
                      </a:lnTo>
                      <a:lnTo>
                        <a:pt x="376974" y="462356"/>
                      </a:lnTo>
                      <a:lnTo>
                        <a:pt x="377012" y="461086"/>
                      </a:lnTo>
                      <a:lnTo>
                        <a:pt x="377507" y="461086"/>
                      </a:lnTo>
                      <a:lnTo>
                        <a:pt x="380276" y="456006"/>
                      </a:lnTo>
                      <a:lnTo>
                        <a:pt x="385711" y="456006"/>
                      </a:lnTo>
                      <a:lnTo>
                        <a:pt x="390461" y="452196"/>
                      </a:lnTo>
                      <a:lnTo>
                        <a:pt x="391261" y="452196"/>
                      </a:lnTo>
                      <a:lnTo>
                        <a:pt x="392455" y="450926"/>
                      </a:lnTo>
                      <a:lnTo>
                        <a:pt x="395274" y="447116"/>
                      </a:lnTo>
                      <a:lnTo>
                        <a:pt x="397548" y="445846"/>
                      </a:lnTo>
                      <a:lnTo>
                        <a:pt x="398970" y="444576"/>
                      </a:lnTo>
                      <a:lnTo>
                        <a:pt x="401142" y="443306"/>
                      </a:lnTo>
                      <a:close/>
                    </a:path>
                    <a:path w="593725" h="591185">
                      <a:moveTo>
                        <a:pt x="405561" y="439496"/>
                      </a:moveTo>
                      <a:lnTo>
                        <a:pt x="243954" y="439496"/>
                      </a:lnTo>
                      <a:lnTo>
                        <a:pt x="243674" y="439496"/>
                      </a:lnTo>
                      <a:lnTo>
                        <a:pt x="242557" y="439496"/>
                      </a:lnTo>
                      <a:lnTo>
                        <a:pt x="243941" y="440766"/>
                      </a:lnTo>
                      <a:lnTo>
                        <a:pt x="244487" y="442036"/>
                      </a:lnTo>
                      <a:lnTo>
                        <a:pt x="244703" y="442036"/>
                      </a:lnTo>
                      <a:lnTo>
                        <a:pt x="403301" y="442036"/>
                      </a:lnTo>
                      <a:lnTo>
                        <a:pt x="404583" y="440766"/>
                      </a:lnTo>
                      <a:lnTo>
                        <a:pt x="405561" y="439496"/>
                      </a:lnTo>
                      <a:close/>
                    </a:path>
                    <a:path w="593725" h="591185">
                      <a:moveTo>
                        <a:pt x="593496" y="295986"/>
                      </a:moveTo>
                      <a:lnTo>
                        <a:pt x="592797" y="293446"/>
                      </a:lnTo>
                      <a:lnTo>
                        <a:pt x="592353" y="292176"/>
                      </a:lnTo>
                      <a:lnTo>
                        <a:pt x="591629" y="292176"/>
                      </a:lnTo>
                      <a:lnTo>
                        <a:pt x="591159" y="290906"/>
                      </a:lnTo>
                      <a:lnTo>
                        <a:pt x="590842" y="290906"/>
                      </a:lnTo>
                      <a:lnTo>
                        <a:pt x="589711" y="289636"/>
                      </a:lnTo>
                      <a:lnTo>
                        <a:pt x="582612" y="289636"/>
                      </a:lnTo>
                      <a:lnTo>
                        <a:pt x="581939" y="288366"/>
                      </a:lnTo>
                      <a:lnTo>
                        <a:pt x="581037" y="288366"/>
                      </a:lnTo>
                      <a:lnTo>
                        <a:pt x="580529" y="289636"/>
                      </a:lnTo>
                      <a:lnTo>
                        <a:pt x="577977" y="289636"/>
                      </a:lnTo>
                      <a:lnTo>
                        <a:pt x="578091" y="288366"/>
                      </a:lnTo>
                      <a:lnTo>
                        <a:pt x="578612" y="288366"/>
                      </a:lnTo>
                      <a:lnTo>
                        <a:pt x="578459" y="287096"/>
                      </a:lnTo>
                      <a:lnTo>
                        <a:pt x="578751" y="287096"/>
                      </a:lnTo>
                      <a:lnTo>
                        <a:pt x="579424" y="285826"/>
                      </a:lnTo>
                      <a:lnTo>
                        <a:pt x="580275" y="284556"/>
                      </a:lnTo>
                      <a:lnTo>
                        <a:pt x="582244" y="284556"/>
                      </a:lnTo>
                      <a:lnTo>
                        <a:pt x="582168" y="282016"/>
                      </a:lnTo>
                      <a:lnTo>
                        <a:pt x="581304" y="282016"/>
                      </a:lnTo>
                      <a:lnTo>
                        <a:pt x="580771" y="280746"/>
                      </a:lnTo>
                      <a:lnTo>
                        <a:pt x="580504" y="280746"/>
                      </a:lnTo>
                      <a:lnTo>
                        <a:pt x="580313" y="279476"/>
                      </a:lnTo>
                      <a:lnTo>
                        <a:pt x="579970" y="279476"/>
                      </a:lnTo>
                      <a:lnTo>
                        <a:pt x="578370" y="280746"/>
                      </a:lnTo>
                      <a:lnTo>
                        <a:pt x="577189" y="280746"/>
                      </a:lnTo>
                      <a:lnTo>
                        <a:pt x="576122" y="282016"/>
                      </a:lnTo>
                      <a:lnTo>
                        <a:pt x="576008" y="279476"/>
                      </a:lnTo>
                      <a:lnTo>
                        <a:pt x="575195" y="278206"/>
                      </a:lnTo>
                      <a:lnTo>
                        <a:pt x="577608" y="278206"/>
                      </a:lnTo>
                      <a:lnTo>
                        <a:pt x="577926" y="276936"/>
                      </a:lnTo>
                      <a:lnTo>
                        <a:pt x="578675" y="276936"/>
                      </a:lnTo>
                      <a:lnTo>
                        <a:pt x="578802" y="275666"/>
                      </a:lnTo>
                      <a:lnTo>
                        <a:pt x="577532" y="275666"/>
                      </a:lnTo>
                      <a:lnTo>
                        <a:pt x="577088" y="274396"/>
                      </a:lnTo>
                      <a:lnTo>
                        <a:pt x="575525" y="274396"/>
                      </a:lnTo>
                      <a:lnTo>
                        <a:pt x="575170" y="273126"/>
                      </a:lnTo>
                      <a:lnTo>
                        <a:pt x="573074" y="273126"/>
                      </a:lnTo>
                      <a:lnTo>
                        <a:pt x="567258" y="278206"/>
                      </a:lnTo>
                      <a:lnTo>
                        <a:pt x="565340" y="279476"/>
                      </a:lnTo>
                      <a:lnTo>
                        <a:pt x="563143" y="279476"/>
                      </a:lnTo>
                      <a:lnTo>
                        <a:pt x="562063" y="278206"/>
                      </a:lnTo>
                      <a:lnTo>
                        <a:pt x="559308" y="278206"/>
                      </a:lnTo>
                      <a:lnTo>
                        <a:pt x="557720" y="276936"/>
                      </a:lnTo>
                      <a:lnTo>
                        <a:pt x="556361" y="276936"/>
                      </a:lnTo>
                      <a:lnTo>
                        <a:pt x="555523" y="275666"/>
                      </a:lnTo>
                      <a:lnTo>
                        <a:pt x="553085" y="275666"/>
                      </a:lnTo>
                      <a:lnTo>
                        <a:pt x="550735" y="276936"/>
                      </a:lnTo>
                      <a:lnTo>
                        <a:pt x="548906" y="278206"/>
                      </a:lnTo>
                      <a:lnTo>
                        <a:pt x="547243" y="279476"/>
                      </a:lnTo>
                      <a:lnTo>
                        <a:pt x="545973" y="280746"/>
                      </a:lnTo>
                      <a:lnTo>
                        <a:pt x="544766" y="283286"/>
                      </a:lnTo>
                      <a:lnTo>
                        <a:pt x="539369" y="284556"/>
                      </a:lnTo>
                      <a:lnTo>
                        <a:pt x="537984" y="284556"/>
                      </a:lnTo>
                      <a:lnTo>
                        <a:pt x="535825" y="285826"/>
                      </a:lnTo>
                      <a:lnTo>
                        <a:pt x="533590" y="285826"/>
                      </a:lnTo>
                      <a:lnTo>
                        <a:pt x="533006" y="288366"/>
                      </a:lnTo>
                      <a:lnTo>
                        <a:pt x="532447" y="289636"/>
                      </a:lnTo>
                      <a:lnTo>
                        <a:pt x="531431" y="289636"/>
                      </a:lnTo>
                      <a:lnTo>
                        <a:pt x="530606" y="290906"/>
                      </a:lnTo>
                      <a:lnTo>
                        <a:pt x="530085" y="290906"/>
                      </a:lnTo>
                      <a:lnTo>
                        <a:pt x="528332" y="292176"/>
                      </a:lnTo>
                      <a:lnTo>
                        <a:pt x="527227" y="292176"/>
                      </a:lnTo>
                      <a:lnTo>
                        <a:pt x="526808" y="293446"/>
                      </a:lnTo>
                      <a:lnTo>
                        <a:pt x="526186" y="293446"/>
                      </a:lnTo>
                      <a:lnTo>
                        <a:pt x="526224" y="294716"/>
                      </a:lnTo>
                      <a:lnTo>
                        <a:pt x="526427" y="295986"/>
                      </a:lnTo>
                      <a:lnTo>
                        <a:pt x="526211" y="295986"/>
                      </a:lnTo>
                      <a:lnTo>
                        <a:pt x="525576" y="297256"/>
                      </a:lnTo>
                      <a:lnTo>
                        <a:pt x="524573" y="297256"/>
                      </a:lnTo>
                      <a:lnTo>
                        <a:pt x="523354" y="298526"/>
                      </a:lnTo>
                      <a:lnTo>
                        <a:pt x="512838" y="298526"/>
                      </a:lnTo>
                      <a:lnTo>
                        <a:pt x="512064" y="299796"/>
                      </a:lnTo>
                      <a:lnTo>
                        <a:pt x="510921" y="299796"/>
                      </a:lnTo>
                      <a:lnTo>
                        <a:pt x="510349" y="301066"/>
                      </a:lnTo>
                      <a:lnTo>
                        <a:pt x="510603" y="302336"/>
                      </a:lnTo>
                      <a:lnTo>
                        <a:pt x="511035" y="302336"/>
                      </a:lnTo>
                      <a:lnTo>
                        <a:pt x="511276" y="303606"/>
                      </a:lnTo>
                      <a:lnTo>
                        <a:pt x="512394" y="303606"/>
                      </a:lnTo>
                      <a:lnTo>
                        <a:pt x="513588" y="304876"/>
                      </a:lnTo>
                      <a:lnTo>
                        <a:pt x="516915" y="304876"/>
                      </a:lnTo>
                      <a:lnTo>
                        <a:pt x="517105" y="306146"/>
                      </a:lnTo>
                      <a:lnTo>
                        <a:pt x="517626" y="307416"/>
                      </a:lnTo>
                      <a:lnTo>
                        <a:pt x="516547" y="307416"/>
                      </a:lnTo>
                      <a:lnTo>
                        <a:pt x="516293" y="308686"/>
                      </a:lnTo>
                      <a:lnTo>
                        <a:pt x="516585" y="309956"/>
                      </a:lnTo>
                      <a:lnTo>
                        <a:pt x="516978" y="309956"/>
                      </a:lnTo>
                      <a:lnTo>
                        <a:pt x="517398" y="311226"/>
                      </a:lnTo>
                      <a:lnTo>
                        <a:pt x="517956" y="311226"/>
                      </a:lnTo>
                      <a:lnTo>
                        <a:pt x="517626" y="312496"/>
                      </a:lnTo>
                      <a:lnTo>
                        <a:pt x="517017" y="313766"/>
                      </a:lnTo>
                      <a:lnTo>
                        <a:pt x="494334" y="313766"/>
                      </a:lnTo>
                      <a:lnTo>
                        <a:pt x="493903" y="312496"/>
                      </a:lnTo>
                      <a:lnTo>
                        <a:pt x="491947" y="312496"/>
                      </a:lnTo>
                      <a:lnTo>
                        <a:pt x="490880" y="313766"/>
                      </a:lnTo>
                      <a:lnTo>
                        <a:pt x="490651" y="313766"/>
                      </a:lnTo>
                      <a:lnTo>
                        <a:pt x="488454" y="315036"/>
                      </a:lnTo>
                      <a:lnTo>
                        <a:pt x="482777" y="315036"/>
                      </a:lnTo>
                      <a:lnTo>
                        <a:pt x="481736" y="313766"/>
                      </a:lnTo>
                      <a:lnTo>
                        <a:pt x="475246" y="313766"/>
                      </a:lnTo>
                      <a:lnTo>
                        <a:pt x="474205" y="312496"/>
                      </a:lnTo>
                      <a:lnTo>
                        <a:pt x="472884" y="312496"/>
                      </a:lnTo>
                      <a:lnTo>
                        <a:pt x="472528" y="311226"/>
                      </a:lnTo>
                      <a:lnTo>
                        <a:pt x="471995" y="311226"/>
                      </a:lnTo>
                      <a:lnTo>
                        <a:pt x="471474" y="309956"/>
                      </a:lnTo>
                      <a:lnTo>
                        <a:pt x="470687" y="308686"/>
                      </a:lnTo>
                      <a:lnTo>
                        <a:pt x="469696" y="308686"/>
                      </a:lnTo>
                      <a:lnTo>
                        <a:pt x="470890" y="307416"/>
                      </a:lnTo>
                      <a:lnTo>
                        <a:pt x="471512" y="307416"/>
                      </a:lnTo>
                      <a:lnTo>
                        <a:pt x="471779" y="306146"/>
                      </a:lnTo>
                      <a:lnTo>
                        <a:pt x="471322" y="306146"/>
                      </a:lnTo>
                      <a:lnTo>
                        <a:pt x="471271" y="304876"/>
                      </a:lnTo>
                      <a:lnTo>
                        <a:pt x="470801" y="304876"/>
                      </a:lnTo>
                      <a:lnTo>
                        <a:pt x="470446" y="303606"/>
                      </a:lnTo>
                      <a:lnTo>
                        <a:pt x="470204" y="303606"/>
                      </a:lnTo>
                      <a:lnTo>
                        <a:pt x="470179" y="302336"/>
                      </a:lnTo>
                      <a:lnTo>
                        <a:pt x="470369" y="302336"/>
                      </a:lnTo>
                      <a:lnTo>
                        <a:pt x="470662" y="301066"/>
                      </a:lnTo>
                      <a:lnTo>
                        <a:pt x="471157" y="299796"/>
                      </a:lnTo>
                      <a:lnTo>
                        <a:pt x="471512" y="298526"/>
                      </a:lnTo>
                      <a:lnTo>
                        <a:pt x="471462" y="297256"/>
                      </a:lnTo>
                      <a:lnTo>
                        <a:pt x="471284" y="297256"/>
                      </a:lnTo>
                      <a:lnTo>
                        <a:pt x="471004" y="295986"/>
                      </a:lnTo>
                      <a:lnTo>
                        <a:pt x="470344" y="294716"/>
                      </a:lnTo>
                      <a:lnTo>
                        <a:pt x="468807" y="294716"/>
                      </a:lnTo>
                      <a:lnTo>
                        <a:pt x="468287" y="293446"/>
                      </a:lnTo>
                      <a:lnTo>
                        <a:pt x="467804" y="293446"/>
                      </a:lnTo>
                      <a:lnTo>
                        <a:pt x="467334" y="294716"/>
                      </a:lnTo>
                      <a:lnTo>
                        <a:pt x="464731" y="294716"/>
                      </a:lnTo>
                      <a:lnTo>
                        <a:pt x="462838" y="295986"/>
                      </a:lnTo>
                      <a:lnTo>
                        <a:pt x="461022" y="297256"/>
                      </a:lnTo>
                      <a:lnTo>
                        <a:pt x="460806" y="297256"/>
                      </a:lnTo>
                      <a:lnTo>
                        <a:pt x="460146" y="301066"/>
                      </a:lnTo>
                      <a:lnTo>
                        <a:pt x="459308" y="303606"/>
                      </a:lnTo>
                      <a:lnTo>
                        <a:pt x="458876" y="307416"/>
                      </a:lnTo>
                      <a:lnTo>
                        <a:pt x="458812" y="308686"/>
                      </a:lnTo>
                      <a:lnTo>
                        <a:pt x="459105" y="309956"/>
                      </a:lnTo>
                      <a:lnTo>
                        <a:pt x="459308" y="309956"/>
                      </a:lnTo>
                      <a:lnTo>
                        <a:pt x="459816" y="311226"/>
                      </a:lnTo>
                      <a:lnTo>
                        <a:pt x="460235" y="312496"/>
                      </a:lnTo>
                      <a:lnTo>
                        <a:pt x="460781" y="312496"/>
                      </a:lnTo>
                      <a:lnTo>
                        <a:pt x="461251" y="313766"/>
                      </a:lnTo>
                      <a:lnTo>
                        <a:pt x="461606" y="316306"/>
                      </a:lnTo>
                      <a:lnTo>
                        <a:pt x="460654" y="317576"/>
                      </a:lnTo>
                      <a:lnTo>
                        <a:pt x="460222" y="318465"/>
                      </a:lnTo>
                      <a:lnTo>
                        <a:pt x="460222" y="383959"/>
                      </a:lnTo>
                      <a:lnTo>
                        <a:pt x="459409" y="384886"/>
                      </a:lnTo>
                      <a:lnTo>
                        <a:pt x="458863" y="383616"/>
                      </a:lnTo>
                      <a:lnTo>
                        <a:pt x="457974" y="383616"/>
                      </a:lnTo>
                      <a:lnTo>
                        <a:pt x="457708" y="381076"/>
                      </a:lnTo>
                      <a:lnTo>
                        <a:pt x="458673" y="381076"/>
                      </a:lnTo>
                      <a:lnTo>
                        <a:pt x="458381" y="382346"/>
                      </a:lnTo>
                      <a:lnTo>
                        <a:pt x="459473" y="383616"/>
                      </a:lnTo>
                      <a:lnTo>
                        <a:pt x="459765" y="383616"/>
                      </a:lnTo>
                      <a:lnTo>
                        <a:pt x="460222" y="383959"/>
                      </a:lnTo>
                      <a:lnTo>
                        <a:pt x="460222" y="318465"/>
                      </a:lnTo>
                      <a:lnTo>
                        <a:pt x="459409" y="320116"/>
                      </a:lnTo>
                      <a:lnTo>
                        <a:pt x="446316" y="320116"/>
                      </a:lnTo>
                      <a:lnTo>
                        <a:pt x="446100" y="318846"/>
                      </a:lnTo>
                      <a:lnTo>
                        <a:pt x="445884" y="318846"/>
                      </a:lnTo>
                      <a:lnTo>
                        <a:pt x="445554" y="317576"/>
                      </a:lnTo>
                      <a:lnTo>
                        <a:pt x="444398" y="317576"/>
                      </a:lnTo>
                      <a:lnTo>
                        <a:pt x="443712" y="318846"/>
                      </a:lnTo>
                      <a:lnTo>
                        <a:pt x="441909" y="318846"/>
                      </a:lnTo>
                      <a:lnTo>
                        <a:pt x="441185" y="320116"/>
                      </a:lnTo>
                      <a:lnTo>
                        <a:pt x="440309" y="320116"/>
                      </a:lnTo>
                      <a:lnTo>
                        <a:pt x="439686" y="318846"/>
                      </a:lnTo>
                      <a:lnTo>
                        <a:pt x="439496" y="318846"/>
                      </a:lnTo>
                      <a:lnTo>
                        <a:pt x="437134" y="317576"/>
                      </a:lnTo>
                      <a:lnTo>
                        <a:pt x="428536" y="317576"/>
                      </a:lnTo>
                      <a:lnTo>
                        <a:pt x="427736" y="316306"/>
                      </a:lnTo>
                      <a:lnTo>
                        <a:pt x="427494" y="316306"/>
                      </a:lnTo>
                      <a:lnTo>
                        <a:pt x="426694" y="315036"/>
                      </a:lnTo>
                      <a:lnTo>
                        <a:pt x="426313" y="315036"/>
                      </a:lnTo>
                      <a:lnTo>
                        <a:pt x="425831" y="313766"/>
                      </a:lnTo>
                      <a:lnTo>
                        <a:pt x="425335" y="313766"/>
                      </a:lnTo>
                      <a:lnTo>
                        <a:pt x="422198" y="315036"/>
                      </a:lnTo>
                      <a:lnTo>
                        <a:pt x="419989" y="315036"/>
                      </a:lnTo>
                      <a:lnTo>
                        <a:pt x="419582" y="313766"/>
                      </a:lnTo>
                      <a:lnTo>
                        <a:pt x="418312" y="313766"/>
                      </a:lnTo>
                      <a:lnTo>
                        <a:pt x="418249" y="312496"/>
                      </a:lnTo>
                      <a:lnTo>
                        <a:pt x="417017" y="312496"/>
                      </a:lnTo>
                      <a:lnTo>
                        <a:pt x="415759" y="311226"/>
                      </a:lnTo>
                      <a:lnTo>
                        <a:pt x="412280" y="311226"/>
                      </a:lnTo>
                      <a:lnTo>
                        <a:pt x="411721" y="309956"/>
                      </a:lnTo>
                      <a:lnTo>
                        <a:pt x="411276" y="309956"/>
                      </a:lnTo>
                      <a:lnTo>
                        <a:pt x="410743" y="308686"/>
                      </a:lnTo>
                      <a:lnTo>
                        <a:pt x="410387" y="306146"/>
                      </a:lnTo>
                      <a:lnTo>
                        <a:pt x="410006" y="306146"/>
                      </a:lnTo>
                      <a:lnTo>
                        <a:pt x="408444" y="304876"/>
                      </a:lnTo>
                      <a:lnTo>
                        <a:pt x="406768" y="303606"/>
                      </a:lnTo>
                      <a:lnTo>
                        <a:pt x="401002" y="303606"/>
                      </a:lnTo>
                      <a:lnTo>
                        <a:pt x="400392" y="304876"/>
                      </a:lnTo>
                      <a:lnTo>
                        <a:pt x="399275" y="304876"/>
                      </a:lnTo>
                      <a:lnTo>
                        <a:pt x="399453" y="306146"/>
                      </a:lnTo>
                      <a:lnTo>
                        <a:pt x="394855" y="303606"/>
                      </a:lnTo>
                      <a:lnTo>
                        <a:pt x="393979" y="304876"/>
                      </a:lnTo>
                      <a:lnTo>
                        <a:pt x="392938" y="304876"/>
                      </a:lnTo>
                      <a:lnTo>
                        <a:pt x="392290" y="306146"/>
                      </a:lnTo>
                      <a:lnTo>
                        <a:pt x="391833" y="306146"/>
                      </a:lnTo>
                      <a:lnTo>
                        <a:pt x="390652" y="304876"/>
                      </a:lnTo>
                      <a:lnTo>
                        <a:pt x="389585" y="304876"/>
                      </a:lnTo>
                      <a:lnTo>
                        <a:pt x="387324" y="303606"/>
                      </a:lnTo>
                      <a:lnTo>
                        <a:pt x="384314" y="303606"/>
                      </a:lnTo>
                      <a:lnTo>
                        <a:pt x="383540" y="302336"/>
                      </a:lnTo>
                      <a:lnTo>
                        <a:pt x="383476" y="301066"/>
                      </a:lnTo>
                      <a:lnTo>
                        <a:pt x="383006" y="301066"/>
                      </a:lnTo>
                      <a:lnTo>
                        <a:pt x="382816" y="299796"/>
                      </a:lnTo>
                      <a:lnTo>
                        <a:pt x="382651" y="299796"/>
                      </a:lnTo>
                      <a:lnTo>
                        <a:pt x="376085" y="298526"/>
                      </a:lnTo>
                      <a:lnTo>
                        <a:pt x="375158" y="297256"/>
                      </a:lnTo>
                      <a:lnTo>
                        <a:pt x="369481" y="297256"/>
                      </a:lnTo>
                      <a:lnTo>
                        <a:pt x="367830" y="295986"/>
                      </a:lnTo>
                      <a:lnTo>
                        <a:pt x="367106" y="294716"/>
                      </a:lnTo>
                      <a:lnTo>
                        <a:pt x="365785" y="294716"/>
                      </a:lnTo>
                      <a:lnTo>
                        <a:pt x="364363" y="293446"/>
                      </a:lnTo>
                      <a:lnTo>
                        <a:pt x="362204" y="290906"/>
                      </a:lnTo>
                      <a:lnTo>
                        <a:pt x="361353" y="290906"/>
                      </a:lnTo>
                      <a:lnTo>
                        <a:pt x="360349" y="289636"/>
                      </a:lnTo>
                      <a:lnTo>
                        <a:pt x="358152" y="288366"/>
                      </a:lnTo>
                      <a:lnTo>
                        <a:pt x="355688" y="287096"/>
                      </a:lnTo>
                      <a:lnTo>
                        <a:pt x="353225" y="285826"/>
                      </a:lnTo>
                      <a:lnTo>
                        <a:pt x="352018" y="284556"/>
                      </a:lnTo>
                      <a:lnTo>
                        <a:pt x="351599" y="287096"/>
                      </a:lnTo>
                      <a:lnTo>
                        <a:pt x="348437" y="284556"/>
                      </a:lnTo>
                      <a:lnTo>
                        <a:pt x="347281" y="284556"/>
                      </a:lnTo>
                      <a:lnTo>
                        <a:pt x="346214" y="283286"/>
                      </a:lnTo>
                      <a:lnTo>
                        <a:pt x="345478" y="283286"/>
                      </a:lnTo>
                      <a:lnTo>
                        <a:pt x="345871" y="280746"/>
                      </a:lnTo>
                      <a:lnTo>
                        <a:pt x="346024" y="280746"/>
                      </a:lnTo>
                      <a:lnTo>
                        <a:pt x="346519" y="279476"/>
                      </a:lnTo>
                      <a:lnTo>
                        <a:pt x="346913" y="278206"/>
                      </a:lnTo>
                      <a:lnTo>
                        <a:pt x="347421" y="276936"/>
                      </a:lnTo>
                      <a:lnTo>
                        <a:pt x="347865" y="276936"/>
                      </a:lnTo>
                      <a:lnTo>
                        <a:pt x="348716" y="275666"/>
                      </a:lnTo>
                      <a:lnTo>
                        <a:pt x="348843" y="274396"/>
                      </a:lnTo>
                      <a:lnTo>
                        <a:pt x="348335" y="274396"/>
                      </a:lnTo>
                      <a:lnTo>
                        <a:pt x="348322" y="273126"/>
                      </a:lnTo>
                      <a:lnTo>
                        <a:pt x="348462" y="271856"/>
                      </a:lnTo>
                      <a:lnTo>
                        <a:pt x="349034" y="271856"/>
                      </a:lnTo>
                      <a:lnTo>
                        <a:pt x="350177" y="270586"/>
                      </a:lnTo>
                      <a:lnTo>
                        <a:pt x="359168" y="261696"/>
                      </a:lnTo>
                      <a:lnTo>
                        <a:pt x="347560" y="255346"/>
                      </a:lnTo>
                      <a:lnTo>
                        <a:pt x="348119" y="252806"/>
                      </a:lnTo>
                      <a:lnTo>
                        <a:pt x="347827" y="252806"/>
                      </a:lnTo>
                      <a:lnTo>
                        <a:pt x="346900" y="251536"/>
                      </a:lnTo>
                      <a:lnTo>
                        <a:pt x="345922" y="251536"/>
                      </a:lnTo>
                      <a:lnTo>
                        <a:pt x="343649" y="250266"/>
                      </a:lnTo>
                      <a:lnTo>
                        <a:pt x="339852" y="248996"/>
                      </a:lnTo>
                      <a:lnTo>
                        <a:pt x="337134" y="248996"/>
                      </a:lnTo>
                      <a:lnTo>
                        <a:pt x="336575" y="247726"/>
                      </a:lnTo>
                      <a:lnTo>
                        <a:pt x="335711" y="247726"/>
                      </a:lnTo>
                      <a:lnTo>
                        <a:pt x="335178" y="246456"/>
                      </a:lnTo>
                      <a:lnTo>
                        <a:pt x="334137" y="245186"/>
                      </a:lnTo>
                      <a:lnTo>
                        <a:pt x="333311" y="243916"/>
                      </a:lnTo>
                      <a:lnTo>
                        <a:pt x="332943" y="242646"/>
                      </a:lnTo>
                      <a:lnTo>
                        <a:pt x="332168" y="242646"/>
                      </a:lnTo>
                      <a:lnTo>
                        <a:pt x="330657" y="241376"/>
                      </a:lnTo>
                      <a:lnTo>
                        <a:pt x="329272" y="243916"/>
                      </a:lnTo>
                      <a:lnTo>
                        <a:pt x="327977" y="243916"/>
                      </a:lnTo>
                      <a:lnTo>
                        <a:pt x="327456" y="242646"/>
                      </a:lnTo>
                      <a:lnTo>
                        <a:pt x="327012" y="242646"/>
                      </a:lnTo>
                      <a:lnTo>
                        <a:pt x="326644" y="241376"/>
                      </a:lnTo>
                      <a:lnTo>
                        <a:pt x="326186" y="241376"/>
                      </a:lnTo>
                      <a:lnTo>
                        <a:pt x="326047" y="240106"/>
                      </a:lnTo>
                      <a:lnTo>
                        <a:pt x="326428" y="237566"/>
                      </a:lnTo>
                      <a:lnTo>
                        <a:pt x="326428" y="233756"/>
                      </a:lnTo>
                      <a:lnTo>
                        <a:pt x="326250" y="233756"/>
                      </a:lnTo>
                      <a:lnTo>
                        <a:pt x="325412" y="232486"/>
                      </a:lnTo>
                      <a:lnTo>
                        <a:pt x="323837" y="231216"/>
                      </a:lnTo>
                      <a:lnTo>
                        <a:pt x="322834" y="228676"/>
                      </a:lnTo>
                      <a:lnTo>
                        <a:pt x="322237" y="227406"/>
                      </a:lnTo>
                      <a:lnTo>
                        <a:pt x="321678" y="224866"/>
                      </a:lnTo>
                      <a:lnTo>
                        <a:pt x="321297" y="223596"/>
                      </a:lnTo>
                      <a:lnTo>
                        <a:pt x="326644" y="223596"/>
                      </a:lnTo>
                      <a:lnTo>
                        <a:pt x="327418" y="224866"/>
                      </a:lnTo>
                      <a:lnTo>
                        <a:pt x="329857" y="227406"/>
                      </a:lnTo>
                      <a:lnTo>
                        <a:pt x="332587" y="227406"/>
                      </a:lnTo>
                      <a:lnTo>
                        <a:pt x="335343" y="223596"/>
                      </a:lnTo>
                      <a:lnTo>
                        <a:pt x="336257" y="222326"/>
                      </a:lnTo>
                      <a:lnTo>
                        <a:pt x="337566" y="221056"/>
                      </a:lnTo>
                      <a:lnTo>
                        <a:pt x="337261" y="221056"/>
                      </a:lnTo>
                      <a:lnTo>
                        <a:pt x="337045" y="219786"/>
                      </a:lnTo>
                      <a:lnTo>
                        <a:pt x="336791" y="219786"/>
                      </a:lnTo>
                      <a:lnTo>
                        <a:pt x="336524" y="218516"/>
                      </a:lnTo>
                      <a:lnTo>
                        <a:pt x="336346" y="218516"/>
                      </a:lnTo>
                      <a:lnTo>
                        <a:pt x="336257" y="217246"/>
                      </a:lnTo>
                      <a:lnTo>
                        <a:pt x="336092" y="215976"/>
                      </a:lnTo>
                      <a:lnTo>
                        <a:pt x="335953" y="214706"/>
                      </a:lnTo>
                      <a:lnTo>
                        <a:pt x="335508" y="213436"/>
                      </a:lnTo>
                      <a:lnTo>
                        <a:pt x="332600" y="213436"/>
                      </a:lnTo>
                      <a:lnTo>
                        <a:pt x="331457" y="212166"/>
                      </a:lnTo>
                      <a:lnTo>
                        <a:pt x="330073" y="210896"/>
                      </a:lnTo>
                      <a:lnTo>
                        <a:pt x="329272" y="210896"/>
                      </a:lnTo>
                      <a:lnTo>
                        <a:pt x="329107" y="209626"/>
                      </a:lnTo>
                      <a:lnTo>
                        <a:pt x="328955" y="209626"/>
                      </a:lnTo>
                      <a:lnTo>
                        <a:pt x="328612" y="208356"/>
                      </a:lnTo>
                      <a:lnTo>
                        <a:pt x="327494" y="204546"/>
                      </a:lnTo>
                      <a:lnTo>
                        <a:pt x="326796" y="202006"/>
                      </a:lnTo>
                      <a:lnTo>
                        <a:pt x="326580" y="202006"/>
                      </a:lnTo>
                      <a:lnTo>
                        <a:pt x="326440" y="200736"/>
                      </a:lnTo>
                      <a:lnTo>
                        <a:pt x="326428" y="199466"/>
                      </a:lnTo>
                      <a:lnTo>
                        <a:pt x="326758" y="199466"/>
                      </a:lnTo>
                      <a:lnTo>
                        <a:pt x="329171" y="196926"/>
                      </a:lnTo>
                      <a:lnTo>
                        <a:pt x="329412" y="196926"/>
                      </a:lnTo>
                      <a:lnTo>
                        <a:pt x="329615" y="195656"/>
                      </a:lnTo>
                      <a:lnTo>
                        <a:pt x="329857" y="195656"/>
                      </a:lnTo>
                      <a:lnTo>
                        <a:pt x="328891" y="194386"/>
                      </a:lnTo>
                      <a:lnTo>
                        <a:pt x="326580" y="194386"/>
                      </a:lnTo>
                      <a:lnTo>
                        <a:pt x="323850" y="193116"/>
                      </a:lnTo>
                      <a:lnTo>
                        <a:pt x="321475" y="191846"/>
                      </a:lnTo>
                      <a:lnTo>
                        <a:pt x="320522" y="190576"/>
                      </a:lnTo>
                      <a:lnTo>
                        <a:pt x="319887" y="189306"/>
                      </a:lnTo>
                      <a:lnTo>
                        <a:pt x="318122" y="184226"/>
                      </a:lnTo>
                      <a:lnTo>
                        <a:pt x="317817" y="182956"/>
                      </a:lnTo>
                      <a:lnTo>
                        <a:pt x="317182" y="182956"/>
                      </a:lnTo>
                      <a:lnTo>
                        <a:pt x="316395" y="181686"/>
                      </a:lnTo>
                      <a:lnTo>
                        <a:pt x="316153" y="180416"/>
                      </a:lnTo>
                      <a:lnTo>
                        <a:pt x="316077" y="179146"/>
                      </a:lnTo>
                      <a:lnTo>
                        <a:pt x="316674" y="177876"/>
                      </a:lnTo>
                      <a:lnTo>
                        <a:pt x="316801" y="177876"/>
                      </a:lnTo>
                      <a:lnTo>
                        <a:pt x="316903" y="176606"/>
                      </a:lnTo>
                      <a:lnTo>
                        <a:pt x="313232" y="176606"/>
                      </a:lnTo>
                      <a:lnTo>
                        <a:pt x="309206" y="179146"/>
                      </a:lnTo>
                      <a:lnTo>
                        <a:pt x="306514" y="180416"/>
                      </a:lnTo>
                      <a:lnTo>
                        <a:pt x="305117" y="181686"/>
                      </a:lnTo>
                      <a:lnTo>
                        <a:pt x="300761" y="184226"/>
                      </a:lnTo>
                      <a:lnTo>
                        <a:pt x="299847" y="185496"/>
                      </a:lnTo>
                      <a:lnTo>
                        <a:pt x="298831" y="186766"/>
                      </a:lnTo>
                      <a:lnTo>
                        <a:pt x="297853" y="188036"/>
                      </a:lnTo>
                      <a:lnTo>
                        <a:pt x="297014" y="189306"/>
                      </a:lnTo>
                      <a:lnTo>
                        <a:pt x="291261" y="189306"/>
                      </a:lnTo>
                      <a:lnTo>
                        <a:pt x="290436" y="190576"/>
                      </a:lnTo>
                      <a:lnTo>
                        <a:pt x="288251" y="190576"/>
                      </a:lnTo>
                      <a:lnTo>
                        <a:pt x="286258" y="191846"/>
                      </a:lnTo>
                      <a:lnTo>
                        <a:pt x="284505" y="191846"/>
                      </a:lnTo>
                      <a:lnTo>
                        <a:pt x="282625" y="193116"/>
                      </a:lnTo>
                      <a:lnTo>
                        <a:pt x="281889" y="193116"/>
                      </a:lnTo>
                      <a:lnTo>
                        <a:pt x="281139" y="191846"/>
                      </a:lnTo>
                      <a:lnTo>
                        <a:pt x="277749" y="191846"/>
                      </a:lnTo>
                      <a:lnTo>
                        <a:pt x="276821" y="190576"/>
                      </a:lnTo>
                      <a:lnTo>
                        <a:pt x="271665" y="189306"/>
                      </a:lnTo>
                      <a:lnTo>
                        <a:pt x="261480" y="189306"/>
                      </a:lnTo>
                      <a:lnTo>
                        <a:pt x="259207" y="190576"/>
                      </a:lnTo>
                      <a:lnTo>
                        <a:pt x="257505" y="190576"/>
                      </a:lnTo>
                      <a:lnTo>
                        <a:pt x="257009" y="191846"/>
                      </a:lnTo>
                      <a:lnTo>
                        <a:pt x="256374" y="193116"/>
                      </a:lnTo>
                      <a:lnTo>
                        <a:pt x="256082" y="193116"/>
                      </a:lnTo>
                      <a:lnTo>
                        <a:pt x="255803" y="194386"/>
                      </a:lnTo>
                      <a:lnTo>
                        <a:pt x="255574" y="194386"/>
                      </a:lnTo>
                      <a:lnTo>
                        <a:pt x="255701" y="195656"/>
                      </a:lnTo>
                      <a:lnTo>
                        <a:pt x="258102" y="195656"/>
                      </a:lnTo>
                      <a:lnTo>
                        <a:pt x="258673" y="196926"/>
                      </a:lnTo>
                      <a:lnTo>
                        <a:pt x="257619" y="199466"/>
                      </a:lnTo>
                      <a:lnTo>
                        <a:pt x="257403" y="199466"/>
                      </a:lnTo>
                      <a:lnTo>
                        <a:pt x="257771" y="200736"/>
                      </a:lnTo>
                      <a:lnTo>
                        <a:pt x="262128" y="200736"/>
                      </a:lnTo>
                      <a:lnTo>
                        <a:pt x="262547" y="202006"/>
                      </a:lnTo>
                      <a:lnTo>
                        <a:pt x="262356" y="202006"/>
                      </a:lnTo>
                      <a:lnTo>
                        <a:pt x="261772" y="203276"/>
                      </a:lnTo>
                      <a:lnTo>
                        <a:pt x="260527" y="203276"/>
                      </a:lnTo>
                      <a:lnTo>
                        <a:pt x="259435" y="204546"/>
                      </a:lnTo>
                      <a:lnTo>
                        <a:pt x="258762" y="204546"/>
                      </a:lnTo>
                      <a:lnTo>
                        <a:pt x="258787" y="205816"/>
                      </a:lnTo>
                      <a:lnTo>
                        <a:pt x="259346" y="205816"/>
                      </a:lnTo>
                      <a:lnTo>
                        <a:pt x="261886" y="209626"/>
                      </a:lnTo>
                      <a:lnTo>
                        <a:pt x="259854" y="210896"/>
                      </a:lnTo>
                      <a:lnTo>
                        <a:pt x="259372" y="213436"/>
                      </a:lnTo>
                      <a:lnTo>
                        <a:pt x="259308" y="214706"/>
                      </a:lnTo>
                      <a:lnTo>
                        <a:pt x="259651" y="214706"/>
                      </a:lnTo>
                      <a:lnTo>
                        <a:pt x="260388" y="215976"/>
                      </a:lnTo>
                      <a:lnTo>
                        <a:pt x="261162" y="217246"/>
                      </a:lnTo>
                      <a:lnTo>
                        <a:pt x="262991" y="219786"/>
                      </a:lnTo>
                      <a:lnTo>
                        <a:pt x="264185" y="221056"/>
                      </a:lnTo>
                      <a:lnTo>
                        <a:pt x="268173" y="219786"/>
                      </a:lnTo>
                      <a:lnTo>
                        <a:pt x="268643" y="219786"/>
                      </a:lnTo>
                      <a:lnTo>
                        <a:pt x="268363" y="221056"/>
                      </a:lnTo>
                      <a:lnTo>
                        <a:pt x="268160" y="221056"/>
                      </a:lnTo>
                      <a:lnTo>
                        <a:pt x="268185" y="223596"/>
                      </a:lnTo>
                      <a:lnTo>
                        <a:pt x="268605" y="224866"/>
                      </a:lnTo>
                      <a:lnTo>
                        <a:pt x="269976" y="224866"/>
                      </a:lnTo>
                      <a:lnTo>
                        <a:pt x="274091" y="226136"/>
                      </a:lnTo>
                      <a:lnTo>
                        <a:pt x="276263" y="226136"/>
                      </a:lnTo>
                      <a:lnTo>
                        <a:pt x="276517" y="227406"/>
                      </a:lnTo>
                      <a:lnTo>
                        <a:pt x="277380" y="227406"/>
                      </a:lnTo>
                      <a:lnTo>
                        <a:pt x="277634" y="228676"/>
                      </a:lnTo>
                      <a:lnTo>
                        <a:pt x="277228" y="229946"/>
                      </a:lnTo>
                      <a:lnTo>
                        <a:pt x="276644" y="231216"/>
                      </a:lnTo>
                      <a:lnTo>
                        <a:pt x="274929" y="231216"/>
                      </a:lnTo>
                      <a:lnTo>
                        <a:pt x="272580" y="232486"/>
                      </a:lnTo>
                      <a:lnTo>
                        <a:pt x="271576" y="232486"/>
                      </a:lnTo>
                      <a:lnTo>
                        <a:pt x="269646" y="233756"/>
                      </a:lnTo>
                      <a:lnTo>
                        <a:pt x="268198" y="233756"/>
                      </a:lnTo>
                      <a:lnTo>
                        <a:pt x="267817" y="235026"/>
                      </a:lnTo>
                      <a:lnTo>
                        <a:pt x="266865" y="235026"/>
                      </a:lnTo>
                      <a:lnTo>
                        <a:pt x="266179" y="236296"/>
                      </a:lnTo>
                      <a:lnTo>
                        <a:pt x="266001" y="236296"/>
                      </a:lnTo>
                      <a:lnTo>
                        <a:pt x="265874" y="237566"/>
                      </a:lnTo>
                      <a:lnTo>
                        <a:pt x="266700" y="243916"/>
                      </a:lnTo>
                      <a:lnTo>
                        <a:pt x="266941" y="245186"/>
                      </a:lnTo>
                      <a:lnTo>
                        <a:pt x="267246" y="246456"/>
                      </a:lnTo>
                      <a:lnTo>
                        <a:pt x="267538" y="248996"/>
                      </a:lnTo>
                      <a:lnTo>
                        <a:pt x="266788" y="248996"/>
                      </a:lnTo>
                      <a:lnTo>
                        <a:pt x="264718" y="251536"/>
                      </a:lnTo>
                      <a:lnTo>
                        <a:pt x="260413" y="254076"/>
                      </a:lnTo>
                      <a:lnTo>
                        <a:pt x="259943" y="254076"/>
                      </a:lnTo>
                      <a:lnTo>
                        <a:pt x="258864" y="255346"/>
                      </a:lnTo>
                      <a:lnTo>
                        <a:pt x="257009" y="257886"/>
                      </a:lnTo>
                      <a:lnTo>
                        <a:pt x="256476" y="259156"/>
                      </a:lnTo>
                      <a:lnTo>
                        <a:pt x="256933" y="259156"/>
                      </a:lnTo>
                      <a:lnTo>
                        <a:pt x="257289" y="260426"/>
                      </a:lnTo>
                      <a:lnTo>
                        <a:pt x="257797" y="260426"/>
                      </a:lnTo>
                      <a:lnTo>
                        <a:pt x="258089" y="261696"/>
                      </a:lnTo>
                      <a:lnTo>
                        <a:pt x="255879" y="262966"/>
                      </a:lnTo>
                      <a:lnTo>
                        <a:pt x="253339" y="262966"/>
                      </a:lnTo>
                      <a:lnTo>
                        <a:pt x="251231" y="264236"/>
                      </a:lnTo>
                      <a:lnTo>
                        <a:pt x="250710" y="265506"/>
                      </a:lnTo>
                      <a:lnTo>
                        <a:pt x="249885" y="265506"/>
                      </a:lnTo>
                      <a:lnTo>
                        <a:pt x="248920" y="266776"/>
                      </a:lnTo>
                      <a:lnTo>
                        <a:pt x="248666" y="269316"/>
                      </a:lnTo>
                      <a:lnTo>
                        <a:pt x="248208" y="270586"/>
                      </a:lnTo>
                      <a:lnTo>
                        <a:pt x="247904" y="271856"/>
                      </a:lnTo>
                      <a:lnTo>
                        <a:pt x="247205" y="273126"/>
                      </a:lnTo>
                      <a:lnTo>
                        <a:pt x="246062" y="275666"/>
                      </a:lnTo>
                      <a:lnTo>
                        <a:pt x="246024" y="391236"/>
                      </a:lnTo>
                      <a:lnTo>
                        <a:pt x="243128" y="392506"/>
                      </a:lnTo>
                      <a:lnTo>
                        <a:pt x="241630" y="392506"/>
                      </a:lnTo>
                      <a:lnTo>
                        <a:pt x="244551" y="391236"/>
                      </a:lnTo>
                      <a:lnTo>
                        <a:pt x="246024" y="391236"/>
                      </a:lnTo>
                      <a:lnTo>
                        <a:pt x="246024" y="275666"/>
                      </a:lnTo>
                      <a:lnTo>
                        <a:pt x="245224" y="276936"/>
                      </a:lnTo>
                      <a:lnTo>
                        <a:pt x="243370" y="279476"/>
                      </a:lnTo>
                      <a:lnTo>
                        <a:pt x="242709" y="279476"/>
                      </a:lnTo>
                      <a:lnTo>
                        <a:pt x="239242" y="282016"/>
                      </a:lnTo>
                      <a:lnTo>
                        <a:pt x="237413" y="282016"/>
                      </a:lnTo>
                      <a:lnTo>
                        <a:pt x="236461" y="283286"/>
                      </a:lnTo>
                      <a:lnTo>
                        <a:pt x="235343" y="284556"/>
                      </a:lnTo>
                      <a:lnTo>
                        <a:pt x="230911" y="290906"/>
                      </a:lnTo>
                      <a:lnTo>
                        <a:pt x="229412" y="293446"/>
                      </a:lnTo>
                      <a:lnTo>
                        <a:pt x="226542" y="297256"/>
                      </a:lnTo>
                      <a:lnTo>
                        <a:pt x="221221" y="297256"/>
                      </a:lnTo>
                      <a:lnTo>
                        <a:pt x="219036" y="298526"/>
                      </a:lnTo>
                      <a:lnTo>
                        <a:pt x="216560" y="298526"/>
                      </a:lnTo>
                      <a:lnTo>
                        <a:pt x="215087" y="299796"/>
                      </a:lnTo>
                      <a:lnTo>
                        <a:pt x="212471" y="299796"/>
                      </a:lnTo>
                      <a:lnTo>
                        <a:pt x="212039" y="298526"/>
                      </a:lnTo>
                      <a:lnTo>
                        <a:pt x="211353" y="298526"/>
                      </a:lnTo>
                      <a:lnTo>
                        <a:pt x="210870" y="297256"/>
                      </a:lnTo>
                      <a:lnTo>
                        <a:pt x="210121" y="295986"/>
                      </a:lnTo>
                      <a:lnTo>
                        <a:pt x="209296" y="295986"/>
                      </a:lnTo>
                      <a:lnTo>
                        <a:pt x="208953" y="294716"/>
                      </a:lnTo>
                      <a:lnTo>
                        <a:pt x="207733" y="294716"/>
                      </a:lnTo>
                      <a:lnTo>
                        <a:pt x="206908" y="295986"/>
                      </a:lnTo>
                      <a:lnTo>
                        <a:pt x="205740" y="295986"/>
                      </a:lnTo>
                      <a:lnTo>
                        <a:pt x="204622" y="297256"/>
                      </a:lnTo>
                      <a:lnTo>
                        <a:pt x="203415" y="298526"/>
                      </a:lnTo>
                      <a:lnTo>
                        <a:pt x="202450" y="299796"/>
                      </a:lnTo>
                      <a:lnTo>
                        <a:pt x="201828" y="301066"/>
                      </a:lnTo>
                      <a:lnTo>
                        <a:pt x="200520" y="302336"/>
                      </a:lnTo>
                      <a:lnTo>
                        <a:pt x="197408" y="304876"/>
                      </a:lnTo>
                      <a:lnTo>
                        <a:pt x="194221" y="309956"/>
                      </a:lnTo>
                      <a:lnTo>
                        <a:pt x="193433" y="312496"/>
                      </a:lnTo>
                      <a:lnTo>
                        <a:pt x="194005" y="315036"/>
                      </a:lnTo>
                      <a:lnTo>
                        <a:pt x="194221" y="315036"/>
                      </a:lnTo>
                      <a:lnTo>
                        <a:pt x="195211" y="316306"/>
                      </a:lnTo>
                      <a:lnTo>
                        <a:pt x="198221" y="316306"/>
                      </a:lnTo>
                      <a:lnTo>
                        <a:pt x="199301" y="317576"/>
                      </a:lnTo>
                      <a:lnTo>
                        <a:pt x="203377" y="317576"/>
                      </a:lnTo>
                      <a:lnTo>
                        <a:pt x="203657" y="318846"/>
                      </a:lnTo>
                      <a:lnTo>
                        <a:pt x="203987" y="321386"/>
                      </a:lnTo>
                      <a:lnTo>
                        <a:pt x="202920" y="323926"/>
                      </a:lnTo>
                      <a:lnTo>
                        <a:pt x="204076" y="327736"/>
                      </a:lnTo>
                      <a:lnTo>
                        <a:pt x="204279" y="329006"/>
                      </a:lnTo>
                      <a:lnTo>
                        <a:pt x="205486" y="330276"/>
                      </a:lnTo>
                      <a:lnTo>
                        <a:pt x="206133" y="331546"/>
                      </a:lnTo>
                      <a:lnTo>
                        <a:pt x="208610" y="331546"/>
                      </a:lnTo>
                      <a:lnTo>
                        <a:pt x="209219" y="330276"/>
                      </a:lnTo>
                      <a:lnTo>
                        <a:pt x="210439" y="330276"/>
                      </a:lnTo>
                      <a:lnTo>
                        <a:pt x="210769" y="331546"/>
                      </a:lnTo>
                      <a:lnTo>
                        <a:pt x="211048" y="331546"/>
                      </a:lnTo>
                      <a:lnTo>
                        <a:pt x="211175" y="332816"/>
                      </a:lnTo>
                      <a:lnTo>
                        <a:pt x="211518" y="334086"/>
                      </a:lnTo>
                      <a:lnTo>
                        <a:pt x="211759" y="335356"/>
                      </a:lnTo>
                      <a:lnTo>
                        <a:pt x="212382" y="336626"/>
                      </a:lnTo>
                      <a:lnTo>
                        <a:pt x="212572" y="337896"/>
                      </a:lnTo>
                      <a:lnTo>
                        <a:pt x="215988" y="344246"/>
                      </a:lnTo>
                      <a:lnTo>
                        <a:pt x="217055" y="346786"/>
                      </a:lnTo>
                      <a:lnTo>
                        <a:pt x="215900" y="346786"/>
                      </a:lnTo>
                      <a:lnTo>
                        <a:pt x="215531" y="348056"/>
                      </a:lnTo>
                      <a:lnTo>
                        <a:pt x="215392" y="348056"/>
                      </a:lnTo>
                      <a:lnTo>
                        <a:pt x="215265" y="349326"/>
                      </a:lnTo>
                      <a:lnTo>
                        <a:pt x="216242" y="349326"/>
                      </a:lnTo>
                      <a:lnTo>
                        <a:pt x="216496" y="350596"/>
                      </a:lnTo>
                      <a:lnTo>
                        <a:pt x="216001" y="350596"/>
                      </a:lnTo>
                      <a:lnTo>
                        <a:pt x="215747" y="351866"/>
                      </a:lnTo>
                      <a:lnTo>
                        <a:pt x="213741" y="351866"/>
                      </a:lnTo>
                      <a:lnTo>
                        <a:pt x="213626" y="353136"/>
                      </a:lnTo>
                      <a:lnTo>
                        <a:pt x="211607" y="353136"/>
                      </a:lnTo>
                      <a:lnTo>
                        <a:pt x="210997" y="351866"/>
                      </a:lnTo>
                      <a:lnTo>
                        <a:pt x="209486" y="351866"/>
                      </a:lnTo>
                      <a:lnTo>
                        <a:pt x="209562" y="350596"/>
                      </a:lnTo>
                      <a:lnTo>
                        <a:pt x="206502" y="350596"/>
                      </a:lnTo>
                      <a:lnTo>
                        <a:pt x="204000" y="351866"/>
                      </a:lnTo>
                      <a:lnTo>
                        <a:pt x="202641" y="353136"/>
                      </a:lnTo>
                      <a:lnTo>
                        <a:pt x="202222" y="353136"/>
                      </a:lnTo>
                      <a:lnTo>
                        <a:pt x="202069" y="354406"/>
                      </a:lnTo>
                      <a:lnTo>
                        <a:pt x="198716" y="354406"/>
                      </a:lnTo>
                      <a:lnTo>
                        <a:pt x="197612" y="353136"/>
                      </a:lnTo>
                      <a:lnTo>
                        <a:pt x="189496" y="353136"/>
                      </a:lnTo>
                      <a:lnTo>
                        <a:pt x="183565" y="351866"/>
                      </a:lnTo>
                      <a:lnTo>
                        <a:pt x="183438" y="355676"/>
                      </a:lnTo>
                      <a:lnTo>
                        <a:pt x="183286" y="355676"/>
                      </a:lnTo>
                      <a:lnTo>
                        <a:pt x="183184" y="356946"/>
                      </a:lnTo>
                      <a:lnTo>
                        <a:pt x="179959" y="356946"/>
                      </a:lnTo>
                      <a:lnTo>
                        <a:pt x="175514" y="360756"/>
                      </a:lnTo>
                      <a:lnTo>
                        <a:pt x="175996" y="360756"/>
                      </a:lnTo>
                      <a:lnTo>
                        <a:pt x="176352" y="362026"/>
                      </a:lnTo>
                      <a:lnTo>
                        <a:pt x="175463" y="362026"/>
                      </a:lnTo>
                      <a:lnTo>
                        <a:pt x="174777" y="363296"/>
                      </a:lnTo>
                      <a:lnTo>
                        <a:pt x="177050" y="363296"/>
                      </a:lnTo>
                      <a:lnTo>
                        <a:pt x="179603" y="360756"/>
                      </a:lnTo>
                      <a:lnTo>
                        <a:pt x="181584" y="359486"/>
                      </a:lnTo>
                      <a:lnTo>
                        <a:pt x="182968" y="359486"/>
                      </a:lnTo>
                      <a:lnTo>
                        <a:pt x="182003" y="360756"/>
                      </a:lnTo>
                      <a:lnTo>
                        <a:pt x="180289" y="362026"/>
                      </a:lnTo>
                      <a:lnTo>
                        <a:pt x="179552" y="363296"/>
                      </a:lnTo>
                      <a:lnTo>
                        <a:pt x="183946" y="370916"/>
                      </a:lnTo>
                      <a:lnTo>
                        <a:pt x="184353" y="370916"/>
                      </a:lnTo>
                      <a:lnTo>
                        <a:pt x="186182" y="372186"/>
                      </a:lnTo>
                      <a:lnTo>
                        <a:pt x="188061" y="373456"/>
                      </a:lnTo>
                      <a:lnTo>
                        <a:pt x="189318" y="373456"/>
                      </a:lnTo>
                      <a:lnTo>
                        <a:pt x="191465" y="374726"/>
                      </a:lnTo>
                      <a:lnTo>
                        <a:pt x="192544" y="374726"/>
                      </a:lnTo>
                      <a:lnTo>
                        <a:pt x="193713" y="375996"/>
                      </a:lnTo>
                      <a:lnTo>
                        <a:pt x="197980" y="375996"/>
                      </a:lnTo>
                      <a:lnTo>
                        <a:pt x="198793" y="374726"/>
                      </a:lnTo>
                      <a:lnTo>
                        <a:pt x="200990" y="373456"/>
                      </a:lnTo>
                      <a:lnTo>
                        <a:pt x="203263" y="373456"/>
                      </a:lnTo>
                      <a:lnTo>
                        <a:pt x="202958" y="372186"/>
                      </a:lnTo>
                      <a:lnTo>
                        <a:pt x="204406" y="373456"/>
                      </a:lnTo>
                      <a:lnTo>
                        <a:pt x="206044" y="373456"/>
                      </a:lnTo>
                      <a:lnTo>
                        <a:pt x="207238" y="372186"/>
                      </a:lnTo>
                      <a:lnTo>
                        <a:pt x="207391" y="370916"/>
                      </a:lnTo>
                      <a:lnTo>
                        <a:pt x="208241" y="369646"/>
                      </a:lnTo>
                      <a:lnTo>
                        <a:pt x="207441" y="372186"/>
                      </a:lnTo>
                      <a:lnTo>
                        <a:pt x="206552" y="374726"/>
                      </a:lnTo>
                      <a:lnTo>
                        <a:pt x="204787" y="377266"/>
                      </a:lnTo>
                      <a:lnTo>
                        <a:pt x="204063" y="378536"/>
                      </a:lnTo>
                      <a:lnTo>
                        <a:pt x="202920" y="378536"/>
                      </a:lnTo>
                      <a:lnTo>
                        <a:pt x="202539" y="379806"/>
                      </a:lnTo>
                      <a:lnTo>
                        <a:pt x="199986" y="381076"/>
                      </a:lnTo>
                      <a:lnTo>
                        <a:pt x="194373" y="382346"/>
                      </a:lnTo>
                      <a:lnTo>
                        <a:pt x="192722" y="382346"/>
                      </a:lnTo>
                      <a:lnTo>
                        <a:pt x="187350" y="383616"/>
                      </a:lnTo>
                      <a:lnTo>
                        <a:pt x="189852" y="381076"/>
                      </a:lnTo>
                      <a:lnTo>
                        <a:pt x="189611" y="381076"/>
                      </a:lnTo>
                      <a:lnTo>
                        <a:pt x="186347" y="379806"/>
                      </a:lnTo>
                      <a:lnTo>
                        <a:pt x="185851" y="381076"/>
                      </a:lnTo>
                      <a:lnTo>
                        <a:pt x="187058" y="383616"/>
                      </a:lnTo>
                      <a:lnTo>
                        <a:pt x="187286" y="384886"/>
                      </a:lnTo>
                      <a:lnTo>
                        <a:pt x="188772" y="386219"/>
                      </a:lnTo>
                      <a:lnTo>
                        <a:pt x="189915" y="387426"/>
                      </a:lnTo>
                      <a:lnTo>
                        <a:pt x="190538" y="388696"/>
                      </a:lnTo>
                      <a:lnTo>
                        <a:pt x="191833" y="388696"/>
                      </a:lnTo>
                      <a:lnTo>
                        <a:pt x="193167" y="389966"/>
                      </a:lnTo>
                      <a:lnTo>
                        <a:pt x="194170" y="391236"/>
                      </a:lnTo>
                      <a:lnTo>
                        <a:pt x="196989" y="393776"/>
                      </a:lnTo>
                      <a:lnTo>
                        <a:pt x="200558" y="397586"/>
                      </a:lnTo>
                      <a:lnTo>
                        <a:pt x="201447" y="398856"/>
                      </a:lnTo>
                      <a:lnTo>
                        <a:pt x="202311" y="398856"/>
                      </a:lnTo>
                      <a:lnTo>
                        <a:pt x="204152" y="401396"/>
                      </a:lnTo>
                      <a:lnTo>
                        <a:pt x="205130" y="402666"/>
                      </a:lnTo>
                      <a:lnTo>
                        <a:pt x="207098" y="403936"/>
                      </a:lnTo>
                      <a:lnTo>
                        <a:pt x="208102" y="405206"/>
                      </a:lnTo>
                      <a:lnTo>
                        <a:pt x="211099" y="405206"/>
                      </a:lnTo>
                      <a:lnTo>
                        <a:pt x="213042" y="406476"/>
                      </a:lnTo>
                      <a:lnTo>
                        <a:pt x="215074" y="406476"/>
                      </a:lnTo>
                      <a:lnTo>
                        <a:pt x="223075" y="402666"/>
                      </a:lnTo>
                      <a:lnTo>
                        <a:pt x="225869" y="401396"/>
                      </a:lnTo>
                      <a:lnTo>
                        <a:pt x="229692" y="400126"/>
                      </a:lnTo>
                      <a:lnTo>
                        <a:pt x="232410" y="397586"/>
                      </a:lnTo>
                      <a:lnTo>
                        <a:pt x="233146" y="395046"/>
                      </a:lnTo>
                      <a:lnTo>
                        <a:pt x="233680" y="393636"/>
                      </a:lnTo>
                      <a:lnTo>
                        <a:pt x="234022" y="392506"/>
                      </a:lnTo>
                      <a:lnTo>
                        <a:pt x="233413" y="391236"/>
                      </a:lnTo>
                      <a:lnTo>
                        <a:pt x="232651" y="389966"/>
                      </a:lnTo>
                      <a:lnTo>
                        <a:pt x="230162" y="389966"/>
                      </a:lnTo>
                      <a:lnTo>
                        <a:pt x="229908" y="388696"/>
                      </a:lnTo>
                      <a:lnTo>
                        <a:pt x="231813" y="388696"/>
                      </a:lnTo>
                      <a:lnTo>
                        <a:pt x="230987" y="387426"/>
                      </a:lnTo>
                      <a:lnTo>
                        <a:pt x="232181" y="387426"/>
                      </a:lnTo>
                      <a:lnTo>
                        <a:pt x="235077" y="386156"/>
                      </a:lnTo>
                      <a:lnTo>
                        <a:pt x="234086" y="383616"/>
                      </a:lnTo>
                      <a:lnTo>
                        <a:pt x="232930" y="383616"/>
                      </a:lnTo>
                      <a:lnTo>
                        <a:pt x="232067" y="382346"/>
                      </a:lnTo>
                      <a:lnTo>
                        <a:pt x="241325" y="382346"/>
                      </a:lnTo>
                      <a:lnTo>
                        <a:pt x="243763" y="383616"/>
                      </a:lnTo>
                      <a:lnTo>
                        <a:pt x="240398" y="383616"/>
                      </a:lnTo>
                      <a:lnTo>
                        <a:pt x="237998" y="384886"/>
                      </a:lnTo>
                      <a:lnTo>
                        <a:pt x="237083" y="386156"/>
                      </a:lnTo>
                      <a:lnTo>
                        <a:pt x="237121" y="389966"/>
                      </a:lnTo>
                      <a:lnTo>
                        <a:pt x="237286" y="391236"/>
                      </a:lnTo>
                      <a:lnTo>
                        <a:pt x="237947" y="392506"/>
                      </a:lnTo>
                      <a:lnTo>
                        <a:pt x="240322" y="392506"/>
                      </a:lnTo>
                      <a:lnTo>
                        <a:pt x="240322" y="395046"/>
                      </a:lnTo>
                      <a:lnTo>
                        <a:pt x="238734" y="395947"/>
                      </a:lnTo>
                      <a:lnTo>
                        <a:pt x="239623" y="395046"/>
                      </a:lnTo>
                      <a:lnTo>
                        <a:pt x="240322" y="395046"/>
                      </a:lnTo>
                      <a:lnTo>
                        <a:pt x="240322" y="392506"/>
                      </a:lnTo>
                      <a:lnTo>
                        <a:pt x="238480" y="396087"/>
                      </a:lnTo>
                      <a:lnTo>
                        <a:pt x="238061" y="396316"/>
                      </a:lnTo>
                      <a:lnTo>
                        <a:pt x="238582" y="400126"/>
                      </a:lnTo>
                      <a:lnTo>
                        <a:pt x="238861" y="401396"/>
                      </a:lnTo>
                      <a:lnTo>
                        <a:pt x="239433" y="400126"/>
                      </a:lnTo>
                      <a:lnTo>
                        <a:pt x="239928" y="401396"/>
                      </a:lnTo>
                      <a:lnTo>
                        <a:pt x="239852" y="400126"/>
                      </a:lnTo>
                      <a:lnTo>
                        <a:pt x="240360" y="400126"/>
                      </a:lnTo>
                      <a:lnTo>
                        <a:pt x="240499" y="401396"/>
                      </a:lnTo>
                      <a:lnTo>
                        <a:pt x="241947" y="401396"/>
                      </a:lnTo>
                      <a:lnTo>
                        <a:pt x="242658" y="402666"/>
                      </a:lnTo>
                      <a:lnTo>
                        <a:pt x="241820" y="409016"/>
                      </a:lnTo>
                      <a:lnTo>
                        <a:pt x="241642" y="411556"/>
                      </a:lnTo>
                      <a:lnTo>
                        <a:pt x="241096" y="411556"/>
                      </a:lnTo>
                      <a:lnTo>
                        <a:pt x="240512" y="414096"/>
                      </a:lnTo>
                      <a:lnTo>
                        <a:pt x="240372" y="414096"/>
                      </a:lnTo>
                      <a:lnTo>
                        <a:pt x="239979" y="415366"/>
                      </a:lnTo>
                      <a:lnTo>
                        <a:pt x="239737" y="416636"/>
                      </a:lnTo>
                      <a:lnTo>
                        <a:pt x="239344" y="419176"/>
                      </a:lnTo>
                      <a:lnTo>
                        <a:pt x="239522" y="420446"/>
                      </a:lnTo>
                      <a:lnTo>
                        <a:pt x="239890" y="421716"/>
                      </a:lnTo>
                      <a:lnTo>
                        <a:pt x="240322" y="422986"/>
                      </a:lnTo>
                      <a:lnTo>
                        <a:pt x="240144" y="424256"/>
                      </a:lnTo>
                      <a:lnTo>
                        <a:pt x="240779" y="424256"/>
                      </a:lnTo>
                      <a:lnTo>
                        <a:pt x="239318" y="425526"/>
                      </a:lnTo>
                      <a:lnTo>
                        <a:pt x="241896" y="426796"/>
                      </a:lnTo>
                      <a:lnTo>
                        <a:pt x="240944" y="426796"/>
                      </a:lnTo>
                      <a:lnTo>
                        <a:pt x="240830" y="428066"/>
                      </a:lnTo>
                      <a:lnTo>
                        <a:pt x="243560" y="428066"/>
                      </a:lnTo>
                      <a:lnTo>
                        <a:pt x="244805" y="429336"/>
                      </a:lnTo>
                      <a:lnTo>
                        <a:pt x="245491" y="430606"/>
                      </a:lnTo>
                      <a:lnTo>
                        <a:pt x="245605" y="434416"/>
                      </a:lnTo>
                      <a:lnTo>
                        <a:pt x="244157" y="435686"/>
                      </a:lnTo>
                      <a:lnTo>
                        <a:pt x="242277" y="435686"/>
                      </a:lnTo>
                      <a:lnTo>
                        <a:pt x="242481" y="436956"/>
                      </a:lnTo>
                      <a:lnTo>
                        <a:pt x="242989" y="436956"/>
                      </a:lnTo>
                      <a:lnTo>
                        <a:pt x="243700" y="438226"/>
                      </a:lnTo>
                      <a:lnTo>
                        <a:pt x="406539" y="438226"/>
                      </a:lnTo>
                      <a:lnTo>
                        <a:pt x="405892" y="439496"/>
                      </a:lnTo>
                      <a:lnTo>
                        <a:pt x="406933" y="438226"/>
                      </a:lnTo>
                      <a:lnTo>
                        <a:pt x="407924" y="436956"/>
                      </a:lnTo>
                      <a:lnTo>
                        <a:pt x="409981" y="434416"/>
                      </a:lnTo>
                      <a:lnTo>
                        <a:pt x="411251" y="431876"/>
                      </a:lnTo>
                      <a:lnTo>
                        <a:pt x="412826" y="430606"/>
                      </a:lnTo>
                      <a:lnTo>
                        <a:pt x="420382" y="424256"/>
                      </a:lnTo>
                      <a:lnTo>
                        <a:pt x="422236" y="422986"/>
                      </a:lnTo>
                      <a:lnTo>
                        <a:pt x="421347" y="422986"/>
                      </a:lnTo>
                      <a:lnTo>
                        <a:pt x="421970" y="421716"/>
                      </a:lnTo>
                      <a:lnTo>
                        <a:pt x="420547" y="421716"/>
                      </a:lnTo>
                      <a:lnTo>
                        <a:pt x="419684" y="422986"/>
                      </a:lnTo>
                      <a:lnTo>
                        <a:pt x="419315" y="422986"/>
                      </a:lnTo>
                      <a:lnTo>
                        <a:pt x="418998" y="424256"/>
                      </a:lnTo>
                      <a:lnTo>
                        <a:pt x="418769" y="424256"/>
                      </a:lnTo>
                      <a:lnTo>
                        <a:pt x="419100" y="421716"/>
                      </a:lnTo>
                      <a:lnTo>
                        <a:pt x="419354" y="420446"/>
                      </a:lnTo>
                      <a:lnTo>
                        <a:pt x="422211" y="419176"/>
                      </a:lnTo>
                      <a:lnTo>
                        <a:pt x="424091" y="419176"/>
                      </a:lnTo>
                      <a:lnTo>
                        <a:pt x="424853" y="420446"/>
                      </a:lnTo>
                      <a:lnTo>
                        <a:pt x="423011" y="421716"/>
                      </a:lnTo>
                      <a:lnTo>
                        <a:pt x="424091" y="421716"/>
                      </a:lnTo>
                      <a:lnTo>
                        <a:pt x="425780" y="420446"/>
                      </a:lnTo>
                      <a:lnTo>
                        <a:pt x="427659" y="420446"/>
                      </a:lnTo>
                      <a:lnTo>
                        <a:pt x="430466" y="419176"/>
                      </a:lnTo>
                      <a:lnTo>
                        <a:pt x="433374" y="419176"/>
                      </a:lnTo>
                      <a:lnTo>
                        <a:pt x="435660" y="417906"/>
                      </a:lnTo>
                      <a:lnTo>
                        <a:pt x="434848" y="416636"/>
                      </a:lnTo>
                      <a:lnTo>
                        <a:pt x="433146" y="416636"/>
                      </a:lnTo>
                      <a:lnTo>
                        <a:pt x="432879" y="415366"/>
                      </a:lnTo>
                      <a:lnTo>
                        <a:pt x="436422" y="416636"/>
                      </a:lnTo>
                      <a:lnTo>
                        <a:pt x="436689" y="416636"/>
                      </a:lnTo>
                      <a:lnTo>
                        <a:pt x="437769" y="415366"/>
                      </a:lnTo>
                      <a:lnTo>
                        <a:pt x="441020" y="411556"/>
                      </a:lnTo>
                      <a:lnTo>
                        <a:pt x="444944" y="406476"/>
                      </a:lnTo>
                      <a:lnTo>
                        <a:pt x="444474" y="406476"/>
                      </a:lnTo>
                      <a:lnTo>
                        <a:pt x="444042" y="405206"/>
                      </a:lnTo>
                      <a:lnTo>
                        <a:pt x="443369" y="402666"/>
                      </a:lnTo>
                      <a:lnTo>
                        <a:pt x="443128" y="401396"/>
                      </a:lnTo>
                      <a:lnTo>
                        <a:pt x="443103" y="400126"/>
                      </a:lnTo>
                      <a:lnTo>
                        <a:pt x="443115" y="397586"/>
                      </a:lnTo>
                      <a:lnTo>
                        <a:pt x="444334" y="395046"/>
                      </a:lnTo>
                      <a:lnTo>
                        <a:pt x="446824" y="393776"/>
                      </a:lnTo>
                      <a:lnTo>
                        <a:pt x="450176" y="393776"/>
                      </a:lnTo>
                      <a:lnTo>
                        <a:pt x="451129" y="392506"/>
                      </a:lnTo>
                      <a:lnTo>
                        <a:pt x="455015" y="391236"/>
                      </a:lnTo>
                      <a:lnTo>
                        <a:pt x="456552" y="391236"/>
                      </a:lnTo>
                      <a:lnTo>
                        <a:pt x="459371" y="387426"/>
                      </a:lnTo>
                      <a:lnTo>
                        <a:pt x="462076" y="386219"/>
                      </a:lnTo>
                      <a:lnTo>
                        <a:pt x="462241" y="387426"/>
                      </a:lnTo>
                      <a:lnTo>
                        <a:pt x="461289" y="389966"/>
                      </a:lnTo>
                      <a:lnTo>
                        <a:pt x="461784" y="392506"/>
                      </a:lnTo>
                      <a:lnTo>
                        <a:pt x="462457" y="393776"/>
                      </a:lnTo>
                      <a:lnTo>
                        <a:pt x="463423" y="393776"/>
                      </a:lnTo>
                      <a:lnTo>
                        <a:pt x="463029" y="392506"/>
                      </a:lnTo>
                      <a:lnTo>
                        <a:pt x="466280" y="393636"/>
                      </a:lnTo>
                      <a:lnTo>
                        <a:pt x="466280" y="393776"/>
                      </a:lnTo>
                      <a:lnTo>
                        <a:pt x="466661" y="393776"/>
                      </a:lnTo>
                      <a:lnTo>
                        <a:pt x="466991" y="393776"/>
                      </a:lnTo>
                      <a:lnTo>
                        <a:pt x="467817" y="392506"/>
                      </a:lnTo>
                      <a:lnTo>
                        <a:pt x="467906" y="391236"/>
                      </a:lnTo>
                      <a:lnTo>
                        <a:pt x="467690" y="389966"/>
                      </a:lnTo>
                      <a:lnTo>
                        <a:pt x="467042" y="391236"/>
                      </a:lnTo>
                      <a:lnTo>
                        <a:pt x="466928" y="389966"/>
                      </a:lnTo>
                      <a:lnTo>
                        <a:pt x="466852" y="388696"/>
                      </a:lnTo>
                      <a:lnTo>
                        <a:pt x="467385" y="388696"/>
                      </a:lnTo>
                      <a:lnTo>
                        <a:pt x="467601" y="387426"/>
                      </a:lnTo>
                      <a:lnTo>
                        <a:pt x="467702" y="386156"/>
                      </a:lnTo>
                      <a:lnTo>
                        <a:pt x="468045" y="384886"/>
                      </a:lnTo>
                      <a:lnTo>
                        <a:pt x="468261" y="384886"/>
                      </a:lnTo>
                      <a:lnTo>
                        <a:pt x="468655" y="383616"/>
                      </a:lnTo>
                      <a:lnTo>
                        <a:pt x="468426" y="384886"/>
                      </a:lnTo>
                      <a:lnTo>
                        <a:pt x="468287" y="387426"/>
                      </a:lnTo>
                      <a:lnTo>
                        <a:pt x="469277" y="387426"/>
                      </a:lnTo>
                      <a:lnTo>
                        <a:pt x="469506" y="386156"/>
                      </a:lnTo>
                      <a:lnTo>
                        <a:pt x="470166" y="387426"/>
                      </a:lnTo>
                      <a:lnTo>
                        <a:pt x="469087" y="388696"/>
                      </a:lnTo>
                      <a:lnTo>
                        <a:pt x="468884" y="389966"/>
                      </a:lnTo>
                      <a:lnTo>
                        <a:pt x="468884" y="391236"/>
                      </a:lnTo>
                      <a:lnTo>
                        <a:pt x="469201" y="392506"/>
                      </a:lnTo>
                      <a:lnTo>
                        <a:pt x="470509" y="395046"/>
                      </a:lnTo>
                      <a:lnTo>
                        <a:pt x="470052" y="392506"/>
                      </a:lnTo>
                      <a:lnTo>
                        <a:pt x="472948" y="392506"/>
                      </a:lnTo>
                      <a:lnTo>
                        <a:pt x="474154" y="393776"/>
                      </a:lnTo>
                      <a:lnTo>
                        <a:pt x="474713" y="392506"/>
                      </a:lnTo>
                      <a:lnTo>
                        <a:pt x="474091" y="391236"/>
                      </a:lnTo>
                      <a:lnTo>
                        <a:pt x="473951" y="391236"/>
                      </a:lnTo>
                      <a:lnTo>
                        <a:pt x="473773" y="389966"/>
                      </a:lnTo>
                      <a:lnTo>
                        <a:pt x="473443" y="388696"/>
                      </a:lnTo>
                      <a:lnTo>
                        <a:pt x="473748" y="388696"/>
                      </a:lnTo>
                      <a:lnTo>
                        <a:pt x="474129" y="387426"/>
                      </a:lnTo>
                      <a:lnTo>
                        <a:pt x="474268" y="387426"/>
                      </a:lnTo>
                      <a:lnTo>
                        <a:pt x="474243" y="386156"/>
                      </a:lnTo>
                      <a:lnTo>
                        <a:pt x="474205" y="384771"/>
                      </a:lnTo>
                      <a:lnTo>
                        <a:pt x="474002" y="383616"/>
                      </a:lnTo>
                      <a:lnTo>
                        <a:pt x="473443" y="382346"/>
                      </a:lnTo>
                      <a:lnTo>
                        <a:pt x="473252" y="381076"/>
                      </a:lnTo>
                      <a:lnTo>
                        <a:pt x="472655" y="377266"/>
                      </a:lnTo>
                      <a:lnTo>
                        <a:pt x="472605" y="375996"/>
                      </a:lnTo>
                      <a:lnTo>
                        <a:pt x="472605" y="373456"/>
                      </a:lnTo>
                      <a:lnTo>
                        <a:pt x="471665" y="373456"/>
                      </a:lnTo>
                      <a:lnTo>
                        <a:pt x="472313" y="370916"/>
                      </a:lnTo>
                      <a:lnTo>
                        <a:pt x="472490" y="369646"/>
                      </a:lnTo>
                      <a:lnTo>
                        <a:pt x="472287" y="368376"/>
                      </a:lnTo>
                      <a:lnTo>
                        <a:pt x="470827" y="368376"/>
                      </a:lnTo>
                      <a:lnTo>
                        <a:pt x="470166" y="367106"/>
                      </a:lnTo>
                      <a:lnTo>
                        <a:pt x="469874" y="365836"/>
                      </a:lnTo>
                      <a:lnTo>
                        <a:pt x="470141" y="365836"/>
                      </a:lnTo>
                      <a:lnTo>
                        <a:pt x="470217" y="364566"/>
                      </a:lnTo>
                      <a:lnTo>
                        <a:pt x="469480" y="364566"/>
                      </a:lnTo>
                      <a:lnTo>
                        <a:pt x="469112" y="363296"/>
                      </a:lnTo>
                      <a:lnTo>
                        <a:pt x="467677" y="362026"/>
                      </a:lnTo>
                      <a:lnTo>
                        <a:pt x="467956" y="362026"/>
                      </a:lnTo>
                      <a:lnTo>
                        <a:pt x="468122" y="359486"/>
                      </a:lnTo>
                      <a:lnTo>
                        <a:pt x="468160" y="358216"/>
                      </a:lnTo>
                      <a:lnTo>
                        <a:pt x="469125" y="358216"/>
                      </a:lnTo>
                      <a:lnTo>
                        <a:pt x="469468" y="356946"/>
                      </a:lnTo>
                      <a:lnTo>
                        <a:pt x="469620" y="356946"/>
                      </a:lnTo>
                      <a:lnTo>
                        <a:pt x="469442" y="354406"/>
                      </a:lnTo>
                      <a:lnTo>
                        <a:pt x="470052" y="353136"/>
                      </a:lnTo>
                      <a:lnTo>
                        <a:pt x="469315" y="351866"/>
                      </a:lnTo>
                      <a:lnTo>
                        <a:pt x="466293" y="351866"/>
                      </a:lnTo>
                      <a:lnTo>
                        <a:pt x="466293" y="388696"/>
                      </a:lnTo>
                      <a:lnTo>
                        <a:pt x="466255" y="393090"/>
                      </a:lnTo>
                      <a:lnTo>
                        <a:pt x="465912" y="392506"/>
                      </a:lnTo>
                      <a:lnTo>
                        <a:pt x="465150" y="391236"/>
                      </a:lnTo>
                      <a:lnTo>
                        <a:pt x="466267" y="388696"/>
                      </a:lnTo>
                      <a:lnTo>
                        <a:pt x="466293" y="351866"/>
                      </a:lnTo>
                      <a:lnTo>
                        <a:pt x="465543" y="351866"/>
                      </a:lnTo>
                      <a:lnTo>
                        <a:pt x="464477" y="350596"/>
                      </a:lnTo>
                      <a:lnTo>
                        <a:pt x="462940" y="350596"/>
                      </a:lnTo>
                      <a:lnTo>
                        <a:pt x="462026" y="349580"/>
                      </a:lnTo>
                      <a:lnTo>
                        <a:pt x="462026" y="385864"/>
                      </a:lnTo>
                      <a:lnTo>
                        <a:pt x="461378" y="384886"/>
                      </a:lnTo>
                      <a:lnTo>
                        <a:pt x="461899" y="384886"/>
                      </a:lnTo>
                      <a:lnTo>
                        <a:pt x="462026" y="385864"/>
                      </a:lnTo>
                      <a:lnTo>
                        <a:pt x="462026" y="349580"/>
                      </a:lnTo>
                      <a:lnTo>
                        <a:pt x="461810" y="349326"/>
                      </a:lnTo>
                      <a:lnTo>
                        <a:pt x="460781" y="349326"/>
                      </a:lnTo>
                      <a:lnTo>
                        <a:pt x="460248" y="348056"/>
                      </a:lnTo>
                      <a:lnTo>
                        <a:pt x="460756" y="345516"/>
                      </a:lnTo>
                      <a:lnTo>
                        <a:pt x="461098" y="345516"/>
                      </a:lnTo>
                      <a:lnTo>
                        <a:pt x="461403" y="344246"/>
                      </a:lnTo>
                      <a:lnTo>
                        <a:pt x="461746" y="344246"/>
                      </a:lnTo>
                      <a:lnTo>
                        <a:pt x="462686" y="342976"/>
                      </a:lnTo>
                      <a:lnTo>
                        <a:pt x="464693" y="342976"/>
                      </a:lnTo>
                      <a:lnTo>
                        <a:pt x="465493" y="339166"/>
                      </a:lnTo>
                      <a:lnTo>
                        <a:pt x="472440" y="339166"/>
                      </a:lnTo>
                      <a:lnTo>
                        <a:pt x="472401" y="337896"/>
                      </a:lnTo>
                      <a:lnTo>
                        <a:pt x="473329" y="337896"/>
                      </a:lnTo>
                      <a:lnTo>
                        <a:pt x="472655" y="336626"/>
                      </a:lnTo>
                      <a:lnTo>
                        <a:pt x="470966" y="336626"/>
                      </a:lnTo>
                      <a:lnTo>
                        <a:pt x="470458" y="334086"/>
                      </a:lnTo>
                      <a:lnTo>
                        <a:pt x="467410" y="334086"/>
                      </a:lnTo>
                      <a:lnTo>
                        <a:pt x="466610" y="332816"/>
                      </a:lnTo>
                      <a:lnTo>
                        <a:pt x="464896" y="331546"/>
                      </a:lnTo>
                      <a:lnTo>
                        <a:pt x="464007" y="330276"/>
                      </a:lnTo>
                      <a:lnTo>
                        <a:pt x="462800" y="329006"/>
                      </a:lnTo>
                      <a:lnTo>
                        <a:pt x="460641" y="329006"/>
                      </a:lnTo>
                      <a:lnTo>
                        <a:pt x="460260" y="327736"/>
                      </a:lnTo>
                      <a:lnTo>
                        <a:pt x="461187" y="326466"/>
                      </a:lnTo>
                      <a:lnTo>
                        <a:pt x="461746" y="325196"/>
                      </a:lnTo>
                      <a:lnTo>
                        <a:pt x="462635" y="323926"/>
                      </a:lnTo>
                      <a:lnTo>
                        <a:pt x="464464" y="321386"/>
                      </a:lnTo>
                      <a:lnTo>
                        <a:pt x="466420" y="321386"/>
                      </a:lnTo>
                      <a:lnTo>
                        <a:pt x="466382" y="320116"/>
                      </a:lnTo>
                      <a:lnTo>
                        <a:pt x="465099" y="320116"/>
                      </a:lnTo>
                      <a:lnTo>
                        <a:pt x="464350" y="318846"/>
                      </a:lnTo>
                      <a:lnTo>
                        <a:pt x="463918" y="318846"/>
                      </a:lnTo>
                      <a:lnTo>
                        <a:pt x="464007" y="317576"/>
                      </a:lnTo>
                      <a:lnTo>
                        <a:pt x="465074" y="317576"/>
                      </a:lnTo>
                      <a:lnTo>
                        <a:pt x="466369" y="318846"/>
                      </a:lnTo>
                      <a:lnTo>
                        <a:pt x="467880" y="320116"/>
                      </a:lnTo>
                      <a:lnTo>
                        <a:pt x="468337" y="321386"/>
                      </a:lnTo>
                      <a:lnTo>
                        <a:pt x="469392" y="322656"/>
                      </a:lnTo>
                      <a:lnTo>
                        <a:pt x="469315" y="321386"/>
                      </a:lnTo>
                      <a:lnTo>
                        <a:pt x="470585" y="321386"/>
                      </a:lnTo>
                      <a:lnTo>
                        <a:pt x="471741" y="322656"/>
                      </a:lnTo>
                      <a:lnTo>
                        <a:pt x="473671" y="322656"/>
                      </a:lnTo>
                      <a:lnTo>
                        <a:pt x="473367" y="321386"/>
                      </a:lnTo>
                      <a:lnTo>
                        <a:pt x="473024" y="321386"/>
                      </a:lnTo>
                      <a:lnTo>
                        <a:pt x="472859" y="320116"/>
                      </a:lnTo>
                      <a:lnTo>
                        <a:pt x="474230" y="320116"/>
                      </a:lnTo>
                      <a:lnTo>
                        <a:pt x="474738" y="321386"/>
                      </a:lnTo>
                      <a:lnTo>
                        <a:pt x="475970" y="323926"/>
                      </a:lnTo>
                      <a:lnTo>
                        <a:pt x="476694" y="325196"/>
                      </a:lnTo>
                      <a:lnTo>
                        <a:pt x="477799" y="326466"/>
                      </a:lnTo>
                      <a:lnTo>
                        <a:pt x="481012" y="326466"/>
                      </a:lnTo>
                      <a:lnTo>
                        <a:pt x="482269" y="325196"/>
                      </a:lnTo>
                      <a:lnTo>
                        <a:pt x="482650" y="323926"/>
                      </a:lnTo>
                      <a:lnTo>
                        <a:pt x="483438" y="323926"/>
                      </a:lnTo>
                      <a:lnTo>
                        <a:pt x="483971" y="325196"/>
                      </a:lnTo>
                      <a:lnTo>
                        <a:pt x="484543" y="326466"/>
                      </a:lnTo>
                      <a:lnTo>
                        <a:pt x="484771" y="329006"/>
                      </a:lnTo>
                      <a:lnTo>
                        <a:pt x="484936" y="331546"/>
                      </a:lnTo>
                      <a:lnTo>
                        <a:pt x="485000" y="335356"/>
                      </a:lnTo>
                      <a:lnTo>
                        <a:pt x="485101" y="336626"/>
                      </a:lnTo>
                      <a:lnTo>
                        <a:pt x="486803" y="336626"/>
                      </a:lnTo>
                      <a:lnTo>
                        <a:pt x="487908" y="337896"/>
                      </a:lnTo>
                      <a:lnTo>
                        <a:pt x="489699" y="337896"/>
                      </a:lnTo>
                      <a:lnTo>
                        <a:pt x="491197" y="339166"/>
                      </a:lnTo>
                      <a:lnTo>
                        <a:pt x="500684" y="339166"/>
                      </a:lnTo>
                      <a:lnTo>
                        <a:pt x="502462" y="337896"/>
                      </a:lnTo>
                      <a:lnTo>
                        <a:pt x="508990" y="339166"/>
                      </a:lnTo>
                      <a:lnTo>
                        <a:pt x="516851" y="339166"/>
                      </a:lnTo>
                      <a:lnTo>
                        <a:pt x="519366" y="340436"/>
                      </a:lnTo>
                      <a:lnTo>
                        <a:pt x="520331" y="340436"/>
                      </a:lnTo>
                      <a:lnTo>
                        <a:pt x="522262" y="341706"/>
                      </a:lnTo>
                      <a:lnTo>
                        <a:pt x="522452" y="342976"/>
                      </a:lnTo>
                      <a:lnTo>
                        <a:pt x="521741" y="342976"/>
                      </a:lnTo>
                      <a:lnTo>
                        <a:pt x="519404" y="345516"/>
                      </a:lnTo>
                      <a:lnTo>
                        <a:pt x="519277" y="346786"/>
                      </a:lnTo>
                      <a:lnTo>
                        <a:pt x="519112" y="348056"/>
                      </a:lnTo>
                      <a:lnTo>
                        <a:pt x="518617" y="348056"/>
                      </a:lnTo>
                      <a:lnTo>
                        <a:pt x="518528" y="349326"/>
                      </a:lnTo>
                      <a:lnTo>
                        <a:pt x="517410" y="349326"/>
                      </a:lnTo>
                      <a:lnTo>
                        <a:pt x="516331" y="350596"/>
                      </a:lnTo>
                      <a:lnTo>
                        <a:pt x="515759" y="350596"/>
                      </a:lnTo>
                      <a:lnTo>
                        <a:pt x="515505" y="351866"/>
                      </a:lnTo>
                      <a:lnTo>
                        <a:pt x="514667" y="351866"/>
                      </a:lnTo>
                      <a:lnTo>
                        <a:pt x="514705" y="353136"/>
                      </a:lnTo>
                      <a:lnTo>
                        <a:pt x="514426" y="354406"/>
                      </a:lnTo>
                      <a:lnTo>
                        <a:pt x="512965" y="354406"/>
                      </a:lnTo>
                      <a:lnTo>
                        <a:pt x="511949" y="353136"/>
                      </a:lnTo>
                      <a:lnTo>
                        <a:pt x="510552" y="354406"/>
                      </a:lnTo>
                      <a:lnTo>
                        <a:pt x="510806" y="354406"/>
                      </a:lnTo>
                      <a:lnTo>
                        <a:pt x="505282" y="359486"/>
                      </a:lnTo>
                      <a:lnTo>
                        <a:pt x="505167" y="360756"/>
                      </a:lnTo>
                      <a:lnTo>
                        <a:pt x="503986" y="362026"/>
                      </a:lnTo>
                      <a:lnTo>
                        <a:pt x="504456" y="363296"/>
                      </a:lnTo>
                      <a:lnTo>
                        <a:pt x="505167" y="364566"/>
                      </a:lnTo>
                      <a:lnTo>
                        <a:pt x="506006" y="365836"/>
                      </a:lnTo>
                      <a:lnTo>
                        <a:pt x="506095" y="368376"/>
                      </a:lnTo>
                      <a:lnTo>
                        <a:pt x="506488" y="369646"/>
                      </a:lnTo>
                      <a:lnTo>
                        <a:pt x="506641" y="369646"/>
                      </a:lnTo>
                      <a:lnTo>
                        <a:pt x="506933" y="370916"/>
                      </a:lnTo>
                      <a:lnTo>
                        <a:pt x="507568" y="370916"/>
                      </a:lnTo>
                      <a:lnTo>
                        <a:pt x="507682" y="368376"/>
                      </a:lnTo>
                      <a:lnTo>
                        <a:pt x="509181" y="368376"/>
                      </a:lnTo>
                      <a:lnTo>
                        <a:pt x="508762" y="370916"/>
                      </a:lnTo>
                      <a:lnTo>
                        <a:pt x="510120" y="372186"/>
                      </a:lnTo>
                      <a:lnTo>
                        <a:pt x="510324" y="372186"/>
                      </a:lnTo>
                      <a:lnTo>
                        <a:pt x="510997" y="373456"/>
                      </a:lnTo>
                      <a:lnTo>
                        <a:pt x="511543" y="372186"/>
                      </a:lnTo>
                      <a:lnTo>
                        <a:pt x="512368" y="372186"/>
                      </a:lnTo>
                      <a:lnTo>
                        <a:pt x="512660" y="370916"/>
                      </a:lnTo>
                      <a:lnTo>
                        <a:pt x="512902" y="370916"/>
                      </a:lnTo>
                      <a:lnTo>
                        <a:pt x="513524" y="369646"/>
                      </a:lnTo>
                      <a:lnTo>
                        <a:pt x="513969" y="368376"/>
                      </a:lnTo>
                      <a:lnTo>
                        <a:pt x="514311" y="367106"/>
                      </a:lnTo>
                      <a:lnTo>
                        <a:pt x="515391" y="364566"/>
                      </a:lnTo>
                      <a:lnTo>
                        <a:pt x="515086" y="363296"/>
                      </a:lnTo>
                      <a:lnTo>
                        <a:pt x="515620" y="360756"/>
                      </a:lnTo>
                      <a:lnTo>
                        <a:pt x="516191" y="362026"/>
                      </a:lnTo>
                      <a:lnTo>
                        <a:pt x="517588" y="362026"/>
                      </a:lnTo>
                      <a:lnTo>
                        <a:pt x="518744" y="360756"/>
                      </a:lnTo>
                      <a:lnTo>
                        <a:pt x="519811" y="360756"/>
                      </a:lnTo>
                      <a:lnTo>
                        <a:pt x="520065" y="362026"/>
                      </a:lnTo>
                      <a:lnTo>
                        <a:pt x="520268" y="362026"/>
                      </a:lnTo>
                      <a:lnTo>
                        <a:pt x="520890" y="364566"/>
                      </a:lnTo>
                      <a:lnTo>
                        <a:pt x="521411" y="367106"/>
                      </a:lnTo>
                      <a:lnTo>
                        <a:pt x="521589" y="369646"/>
                      </a:lnTo>
                      <a:lnTo>
                        <a:pt x="521665" y="372186"/>
                      </a:lnTo>
                      <a:lnTo>
                        <a:pt x="522757" y="374726"/>
                      </a:lnTo>
                      <a:lnTo>
                        <a:pt x="523341" y="377266"/>
                      </a:lnTo>
                      <a:lnTo>
                        <a:pt x="523697" y="378536"/>
                      </a:lnTo>
                      <a:lnTo>
                        <a:pt x="524014" y="379806"/>
                      </a:lnTo>
                      <a:lnTo>
                        <a:pt x="524764" y="387426"/>
                      </a:lnTo>
                      <a:lnTo>
                        <a:pt x="525221" y="389966"/>
                      </a:lnTo>
                      <a:lnTo>
                        <a:pt x="528802" y="386156"/>
                      </a:lnTo>
                      <a:lnTo>
                        <a:pt x="530339" y="386156"/>
                      </a:lnTo>
                      <a:lnTo>
                        <a:pt x="532866" y="383616"/>
                      </a:lnTo>
                      <a:lnTo>
                        <a:pt x="531863" y="378536"/>
                      </a:lnTo>
                      <a:lnTo>
                        <a:pt x="531863" y="374726"/>
                      </a:lnTo>
                      <a:lnTo>
                        <a:pt x="532422" y="372186"/>
                      </a:lnTo>
                      <a:lnTo>
                        <a:pt x="533590" y="370916"/>
                      </a:lnTo>
                      <a:lnTo>
                        <a:pt x="535241" y="372186"/>
                      </a:lnTo>
                      <a:lnTo>
                        <a:pt x="535482" y="370916"/>
                      </a:lnTo>
                      <a:lnTo>
                        <a:pt x="536206" y="367106"/>
                      </a:lnTo>
                      <a:lnTo>
                        <a:pt x="537095" y="362026"/>
                      </a:lnTo>
                      <a:lnTo>
                        <a:pt x="536498" y="360756"/>
                      </a:lnTo>
                      <a:lnTo>
                        <a:pt x="535317" y="358216"/>
                      </a:lnTo>
                      <a:lnTo>
                        <a:pt x="535178" y="355676"/>
                      </a:lnTo>
                      <a:lnTo>
                        <a:pt x="541439" y="356946"/>
                      </a:lnTo>
                      <a:lnTo>
                        <a:pt x="545122" y="358216"/>
                      </a:lnTo>
                      <a:lnTo>
                        <a:pt x="547293" y="356946"/>
                      </a:lnTo>
                      <a:lnTo>
                        <a:pt x="548525" y="355676"/>
                      </a:lnTo>
                      <a:lnTo>
                        <a:pt x="549694" y="350596"/>
                      </a:lnTo>
                      <a:lnTo>
                        <a:pt x="553720" y="345516"/>
                      </a:lnTo>
                      <a:lnTo>
                        <a:pt x="555891" y="341706"/>
                      </a:lnTo>
                      <a:lnTo>
                        <a:pt x="554609" y="337896"/>
                      </a:lnTo>
                      <a:lnTo>
                        <a:pt x="553631" y="336626"/>
                      </a:lnTo>
                      <a:lnTo>
                        <a:pt x="553250" y="335356"/>
                      </a:lnTo>
                      <a:lnTo>
                        <a:pt x="557377" y="332816"/>
                      </a:lnTo>
                      <a:lnTo>
                        <a:pt x="559104" y="331546"/>
                      </a:lnTo>
                      <a:lnTo>
                        <a:pt x="559574" y="330276"/>
                      </a:lnTo>
                      <a:lnTo>
                        <a:pt x="559574" y="329006"/>
                      </a:lnTo>
                      <a:lnTo>
                        <a:pt x="560146" y="327736"/>
                      </a:lnTo>
                      <a:lnTo>
                        <a:pt x="562063" y="325196"/>
                      </a:lnTo>
                      <a:lnTo>
                        <a:pt x="561606" y="323926"/>
                      </a:lnTo>
                      <a:lnTo>
                        <a:pt x="560705" y="321386"/>
                      </a:lnTo>
                      <a:lnTo>
                        <a:pt x="560590" y="320116"/>
                      </a:lnTo>
                      <a:lnTo>
                        <a:pt x="560374" y="317576"/>
                      </a:lnTo>
                      <a:lnTo>
                        <a:pt x="561898" y="316306"/>
                      </a:lnTo>
                      <a:lnTo>
                        <a:pt x="564515" y="315036"/>
                      </a:lnTo>
                      <a:lnTo>
                        <a:pt x="567131" y="313766"/>
                      </a:lnTo>
                      <a:lnTo>
                        <a:pt x="568794" y="311226"/>
                      </a:lnTo>
                      <a:lnTo>
                        <a:pt x="576033" y="308686"/>
                      </a:lnTo>
                      <a:lnTo>
                        <a:pt x="582942" y="302336"/>
                      </a:lnTo>
                      <a:lnTo>
                        <a:pt x="585724" y="307416"/>
                      </a:lnTo>
                      <a:lnTo>
                        <a:pt x="585851" y="307416"/>
                      </a:lnTo>
                      <a:lnTo>
                        <a:pt x="587590" y="304876"/>
                      </a:lnTo>
                      <a:lnTo>
                        <a:pt x="586270" y="302336"/>
                      </a:lnTo>
                      <a:lnTo>
                        <a:pt x="586282" y="301066"/>
                      </a:lnTo>
                      <a:lnTo>
                        <a:pt x="591515" y="297256"/>
                      </a:lnTo>
                      <a:lnTo>
                        <a:pt x="593496" y="295986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610" name="object 150">
                  <a:extLst>
                    <a:ext uri="{FF2B5EF4-FFF2-40B4-BE49-F238E27FC236}">
                      <a16:creationId xmlns:a16="http://schemas.microsoft.com/office/drawing/2014/main" id="{FF3B8B51-B18C-541A-A1CE-72C063132796}"/>
                    </a:ext>
                  </a:extLst>
                </p:cNvPr>
                <p:cNvPicPr/>
                <p:nvPr/>
              </p:nvPicPr>
              <p:blipFill>
                <a:blip r:embed="rId20" cstate="print"/>
                <a:stretch>
                  <a:fillRect/>
                </a:stretch>
              </p:blipFill>
              <p:spPr>
                <a:xfrm>
                  <a:off x="4002829" y="2489678"/>
                  <a:ext cx="65468" cy="88519"/>
                </a:xfrm>
                <a:prstGeom prst="rect">
                  <a:avLst/>
                </a:prstGeom>
              </p:spPr>
            </p:pic>
            <p:sp>
              <p:nvSpPr>
                <p:cNvPr id="611" name="object 151">
                  <a:extLst>
                    <a:ext uri="{FF2B5EF4-FFF2-40B4-BE49-F238E27FC236}">
                      <a16:creationId xmlns:a16="http://schemas.microsoft.com/office/drawing/2014/main" id="{C9F03AC2-DBF3-316A-07ED-897A39F287AA}"/>
                    </a:ext>
                  </a:extLst>
                </p:cNvPr>
                <p:cNvSpPr/>
                <p:nvPr/>
              </p:nvSpPr>
              <p:spPr>
                <a:xfrm>
                  <a:off x="3372307" y="2278570"/>
                  <a:ext cx="817880" cy="4578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7879" h="457835">
                      <a:moveTo>
                        <a:pt x="275501" y="201930"/>
                      </a:moveTo>
                      <a:lnTo>
                        <a:pt x="268820" y="201930"/>
                      </a:lnTo>
                      <a:lnTo>
                        <a:pt x="268274" y="200660"/>
                      </a:lnTo>
                      <a:lnTo>
                        <a:pt x="267970" y="200660"/>
                      </a:lnTo>
                      <a:lnTo>
                        <a:pt x="267855" y="199390"/>
                      </a:lnTo>
                      <a:lnTo>
                        <a:pt x="268033" y="198120"/>
                      </a:lnTo>
                      <a:lnTo>
                        <a:pt x="268122" y="194310"/>
                      </a:lnTo>
                      <a:lnTo>
                        <a:pt x="268173" y="190500"/>
                      </a:lnTo>
                      <a:lnTo>
                        <a:pt x="268795" y="187960"/>
                      </a:lnTo>
                      <a:lnTo>
                        <a:pt x="268211" y="186690"/>
                      </a:lnTo>
                      <a:lnTo>
                        <a:pt x="267208" y="186690"/>
                      </a:lnTo>
                      <a:lnTo>
                        <a:pt x="266293" y="185420"/>
                      </a:lnTo>
                      <a:lnTo>
                        <a:pt x="263271" y="185420"/>
                      </a:lnTo>
                      <a:lnTo>
                        <a:pt x="262039" y="184150"/>
                      </a:lnTo>
                      <a:lnTo>
                        <a:pt x="260019" y="184150"/>
                      </a:lnTo>
                      <a:lnTo>
                        <a:pt x="258813" y="182880"/>
                      </a:lnTo>
                      <a:lnTo>
                        <a:pt x="257314" y="182880"/>
                      </a:lnTo>
                      <a:lnTo>
                        <a:pt x="255905" y="181610"/>
                      </a:lnTo>
                      <a:lnTo>
                        <a:pt x="250469" y="173990"/>
                      </a:lnTo>
                      <a:lnTo>
                        <a:pt x="245694" y="168910"/>
                      </a:lnTo>
                      <a:lnTo>
                        <a:pt x="241198" y="161290"/>
                      </a:lnTo>
                      <a:lnTo>
                        <a:pt x="240995" y="161290"/>
                      </a:lnTo>
                      <a:lnTo>
                        <a:pt x="242252" y="158750"/>
                      </a:lnTo>
                      <a:lnTo>
                        <a:pt x="244589" y="156210"/>
                      </a:lnTo>
                      <a:lnTo>
                        <a:pt x="246913" y="153670"/>
                      </a:lnTo>
                      <a:lnTo>
                        <a:pt x="248526" y="152400"/>
                      </a:lnTo>
                      <a:lnTo>
                        <a:pt x="249008" y="151130"/>
                      </a:lnTo>
                      <a:lnTo>
                        <a:pt x="250647" y="149860"/>
                      </a:lnTo>
                      <a:lnTo>
                        <a:pt x="252412" y="147320"/>
                      </a:lnTo>
                      <a:lnTo>
                        <a:pt x="254279" y="144780"/>
                      </a:lnTo>
                      <a:lnTo>
                        <a:pt x="254723" y="143510"/>
                      </a:lnTo>
                      <a:lnTo>
                        <a:pt x="254520" y="142240"/>
                      </a:lnTo>
                      <a:lnTo>
                        <a:pt x="254317" y="140970"/>
                      </a:lnTo>
                      <a:lnTo>
                        <a:pt x="254127" y="140970"/>
                      </a:lnTo>
                      <a:lnTo>
                        <a:pt x="253568" y="139700"/>
                      </a:lnTo>
                      <a:lnTo>
                        <a:pt x="253212" y="139700"/>
                      </a:lnTo>
                      <a:lnTo>
                        <a:pt x="251993" y="137160"/>
                      </a:lnTo>
                      <a:lnTo>
                        <a:pt x="250913" y="137160"/>
                      </a:lnTo>
                      <a:lnTo>
                        <a:pt x="242531" y="135890"/>
                      </a:lnTo>
                      <a:lnTo>
                        <a:pt x="240626" y="135890"/>
                      </a:lnTo>
                      <a:lnTo>
                        <a:pt x="240474" y="134620"/>
                      </a:lnTo>
                      <a:lnTo>
                        <a:pt x="240284" y="134620"/>
                      </a:lnTo>
                      <a:lnTo>
                        <a:pt x="240157" y="133350"/>
                      </a:lnTo>
                      <a:lnTo>
                        <a:pt x="240182" y="130810"/>
                      </a:lnTo>
                      <a:lnTo>
                        <a:pt x="240080" y="129540"/>
                      </a:lnTo>
                      <a:lnTo>
                        <a:pt x="239953" y="127000"/>
                      </a:lnTo>
                      <a:lnTo>
                        <a:pt x="240220" y="125730"/>
                      </a:lnTo>
                      <a:lnTo>
                        <a:pt x="240436" y="124460"/>
                      </a:lnTo>
                      <a:lnTo>
                        <a:pt x="240461" y="123190"/>
                      </a:lnTo>
                      <a:lnTo>
                        <a:pt x="240271" y="121920"/>
                      </a:lnTo>
                      <a:lnTo>
                        <a:pt x="239890" y="120650"/>
                      </a:lnTo>
                      <a:lnTo>
                        <a:pt x="237998" y="114300"/>
                      </a:lnTo>
                      <a:lnTo>
                        <a:pt x="237820" y="113030"/>
                      </a:lnTo>
                      <a:lnTo>
                        <a:pt x="236880" y="109220"/>
                      </a:lnTo>
                      <a:lnTo>
                        <a:pt x="236918" y="107950"/>
                      </a:lnTo>
                      <a:lnTo>
                        <a:pt x="240715" y="104140"/>
                      </a:lnTo>
                      <a:lnTo>
                        <a:pt x="241808" y="102870"/>
                      </a:lnTo>
                      <a:lnTo>
                        <a:pt x="239712" y="102870"/>
                      </a:lnTo>
                      <a:lnTo>
                        <a:pt x="237642" y="101600"/>
                      </a:lnTo>
                      <a:lnTo>
                        <a:pt x="236804" y="101600"/>
                      </a:lnTo>
                      <a:lnTo>
                        <a:pt x="236054" y="100330"/>
                      </a:lnTo>
                      <a:lnTo>
                        <a:pt x="235839" y="100330"/>
                      </a:lnTo>
                      <a:lnTo>
                        <a:pt x="235699" y="99060"/>
                      </a:lnTo>
                      <a:lnTo>
                        <a:pt x="235661" y="95250"/>
                      </a:lnTo>
                      <a:lnTo>
                        <a:pt x="235775" y="93980"/>
                      </a:lnTo>
                      <a:lnTo>
                        <a:pt x="239509" y="90170"/>
                      </a:lnTo>
                      <a:lnTo>
                        <a:pt x="240639" y="88900"/>
                      </a:lnTo>
                      <a:lnTo>
                        <a:pt x="239395" y="87630"/>
                      </a:lnTo>
                      <a:lnTo>
                        <a:pt x="238721" y="86360"/>
                      </a:lnTo>
                      <a:lnTo>
                        <a:pt x="239687" y="86360"/>
                      </a:lnTo>
                      <a:lnTo>
                        <a:pt x="240804" y="85090"/>
                      </a:lnTo>
                      <a:lnTo>
                        <a:pt x="243471" y="82550"/>
                      </a:lnTo>
                      <a:lnTo>
                        <a:pt x="243243" y="82550"/>
                      </a:lnTo>
                      <a:lnTo>
                        <a:pt x="243636" y="80010"/>
                      </a:lnTo>
                      <a:lnTo>
                        <a:pt x="244055" y="80010"/>
                      </a:lnTo>
                      <a:lnTo>
                        <a:pt x="244284" y="78740"/>
                      </a:lnTo>
                      <a:lnTo>
                        <a:pt x="244436" y="77470"/>
                      </a:lnTo>
                      <a:lnTo>
                        <a:pt x="245630" y="73660"/>
                      </a:lnTo>
                      <a:lnTo>
                        <a:pt x="248653" y="69850"/>
                      </a:lnTo>
                      <a:lnTo>
                        <a:pt x="247154" y="69850"/>
                      </a:lnTo>
                      <a:lnTo>
                        <a:pt x="246811" y="68580"/>
                      </a:lnTo>
                      <a:lnTo>
                        <a:pt x="246532" y="68580"/>
                      </a:lnTo>
                      <a:lnTo>
                        <a:pt x="246405" y="67310"/>
                      </a:lnTo>
                      <a:lnTo>
                        <a:pt x="246011" y="66040"/>
                      </a:lnTo>
                      <a:lnTo>
                        <a:pt x="245757" y="64770"/>
                      </a:lnTo>
                      <a:lnTo>
                        <a:pt x="245554" y="64770"/>
                      </a:lnTo>
                      <a:lnTo>
                        <a:pt x="245211" y="63500"/>
                      </a:lnTo>
                      <a:lnTo>
                        <a:pt x="245160" y="57150"/>
                      </a:lnTo>
                      <a:lnTo>
                        <a:pt x="245503" y="54610"/>
                      </a:lnTo>
                      <a:lnTo>
                        <a:pt x="244970" y="53340"/>
                      </a:lnTo>
                      <a:lnTo>
                        <a:pt x="244906" y="52070"/>
                      </a:lnTo>
                      <a:lnTo>
                        <a:pt x="233095" y="52070"/>
                      </a:lnTo>
                      <a:lnTo>
                        <a:pt x="232651" y="50800"/>
                      </a:lnTo>
                      <a:lnTo>
                        <a:pt x="232079" y="50800"/>
                      </a:lnTo>
                      <a:lnTo>
                        <a:pt x="230974" y="49530"/>
                      </a:lnTo>
                      <a:lnTo>
                        <a:pt x="230886" y="48260"/>
                      </a:lnTo>
                      <a:lnTo>
                        <a:pt x="230543" y="48260"/>
                      </a:lnTo>
                      <a:lnTo>
                        <a:pt x="229768" y="46990"/>
                      </a:lnTo>
                      <a:lnTo>
                        <a:pt x="229146" y="46990"/>
                      </a:lnTo>
                      <a:lnTo>
                        <a:pt x="229247" y="45720"/>
                      </a:lnTo>
                      <a:lnTo>
                        <a:pt x="228371" y="45720"/>
                      </a:lnTo>
                      <a:lnTo>
                        <a:pt x="226809" y="44450"/>
                      </a:lnTo>
                      <a:lnTo>
                        <a:pt x="222758" y="44450"/>
                      </a:lnTo>
                      <a:lnTo>
                        <a:pt x="222326" y="43180"/>
                      </a:lnTo>
                      <a:lnTo>
                        <a:pt x="220954" y="40640"/>
                      </a:lnTo>
                      <a:lnTo>
                        <a:pt x="220421" y="39370"/>
                      </a:lnTo>
                      <a:lnTo>
                        <a:pt x="219722" y="39370"/>
                      </a:lnTo>
                      <a:lnTo>
                        <a:pt x="219570" y="38100"/>
                      </a:lnTo>
                      <a:lnTo>
                        <a:pt x="217678" y="35560"/>
                      </a:lnTo>
                      <a:lnTo>
                        <a:pt x="203123" y="35560"/>
                      </a:lnTo>
                      <a:lnTo>
                        <a:pt x="201104" y="34290"/>
                      </a:lnTo>
                      <a:lnTo>
                        <a:pt x="200634" y="33020"/>
                      </a:lnTo>
                      <a:lnTo>
                        <a:pt x="199453" y="33020"/>
                      </a:lnTo>
                      <a:lnTo>
                        <a:pt x="198399" y="31750"/>
                      </a:lnTo>
                      <a:lnTo>
                        <a:pt x="193852" y="31750"/>
                      </a:lnTo>
                      <a:lnTo>
                        <a:pt x="192481" y="30480"/>
                      </a:lnTo>
                      <a:lnTo>
                        <a:pt x="191122" y="30480"/>
                      </a:lnTo>
                      <a:lnTo>
                        <a:pt x="190576" y="29210"/>
                      </a:lnTo>
                      <a:lnTo>
                        <a:pt x="189547" y="26670"/>
                      </a:lnTo>
                      <a:lnTo>
                        <a:pt x="189103" y="25400"/>
                      </a:lnTo>
                      <a:lnTo>
                        <a:pt x="177622" y="25400"/>
                      </a:lnTo>
                      <a:lnTo>
                        <a:pt x="176987" y="26670"/>
                      </a:lnTo>
                      <a:lnTo>
                        <a:pt x="175298" y="27940"/>
                      </a:lnTo>
                      <a:lnTo>
                        <a:pt x="165468" y="27940"/>
                      </a:lnTo>
                      <a:lnTo>
                        <a:pt x="163042" y="29210"/>
                      </a:lnTo>
                      <a:lnTo>
                        <a:pt x="160756" y="30480"/>
                      </a:lnTo>
                      <a:lnTo>
                        <a:pt x="142684" y="48260"/>
                      </a:lnTo>
                      <a:lnTo>
                        <a:pt x="142900" y="49530"/>
                      </a:lnTo>
                      <a:lnTo>
                        <a:pt x="138722" y="49530"/>
                      </a:lnTo>
                      <a:lnTo>
                        <a:pt x="137083" y="48260"/>
                      </a:lnTo>
                      <a:lnTo>
                        <a:pt x="132715" y="48260"/>
                      </a:lnTo>
                      <a:lnTo>
                        <a:pt x="128168" y="49530"/>
                      </a:lnTo>
                      <a:lnTo>
                        <a:pt x="125844" y="50800"/>
                      </a:lnTo>
                      <a:lnTo>
                        <a:pt x="118605" y="52070"/>
                      </a:lnTo>
                      <a:lnTo>
                        <a:pt x="117373" y="52070"/>
                      </a:lnTo>
                      <a:lnTo>
                        <a:pt x="114300" y="53340"/>
                      </a:lnTo>
                      <a:lnTo>
                        <a:pt x="109816" y="53340"/>
                      </a:lnTo>
                      <a:lnTo>
                        <a:pt x="109194" y="52070"/>
                      </a:lnTo>
                      <a:lnTo>
                        <a:pt x="106718" y="52070"/>
                      </a:lnTo>
                      <a:lnTo>
                        <a:pt x="104444" y="50800"/>
                      </a:lnTo>
                      <a:lnTo>
                        <a:pt x="103022" y="50800"/>
                      </a:lnTo>
                      <a:lnTo>
                        <a:pt x="98996" y="49530"/>
                      </a:lnTo>
                      <a:lnTo>
                        <a:pt x="96481" y="48260"/>
                      </a:lnTo>
                      <a:lnTo>
                        <a:pt x="95199" y="48260"/>
                      </a:lnTo>
                      <a:lnTo>
                        <a:pt x="92760" y="46990"/>
                      </a:lnTo>
                      <a:lnTo>
                        <a:pt x="91592" y="45720"/>
                      </a:lnTo>
                      <a:lnTo>
                        <a:pt x="90017" y="44450"/>
                      </a:lnTo>
                      <a:lnTo>
                        <a:pt x="88900" y="41910"/>
                      </a:lnTo>
                      <a:lnTo>
                        <a:pt x="88607" y="41910"/>
                      </a:lnTo>
                      <a:lnTo>
                        <a:pt x="87337" y="40640"/>
                      </a:lnTo>
                      <a:lnTo>
                        <a:pt x="85991" y="40640"/>
                      </a:lnTo>
                      <a:lnTo>
                        <a:pt x="83032" y="39370"/>
                      </a:lnTo>
                      <a:lnTo>
                        <a:pt x="81445" y="39370"/>
                      </a:lnTo>
                      <a:lnTo>
                        <a:pt x="78663" y="38100"/>
                      </a:lnTo>
                      <a:lnTo>
                        <a:pt x="77076" y="38100"/>
                      </a:lnTo>
                      <a:lnTo>
                        <a:pt x="74764" y="37045"/>
                      </a:lnTo>
                      <a:lnTo>
                        <a:pt x="74764" y="151130"/>
                      </a:lnTo>
                      <a:lnTo>
                        <a:pt x="74472" y="153670"/>
                      </a:lnTo>
                      <a:lnTo>
                        <a:pt x="72821" y="152400"/>
                      </a:lnTo>
                      <a:lnTo>
                        <a:pt x="71335" y="152400"/>
                      </a:lnTo>
                      <a:lnTo>
                        <a:pt x="71145" y="151130"/>
                      </a:lnTo>
                      <a:lnTo>
                        <a:pt x="74764" y="151130"/>
                      </a:lnTo>
                      <a:lnTo>
                        <a:pt x="74764" y="37045"/>
                      </a:lnTo>
                      <a:lnTo>
                        <a:pt x="74295" y="36830"/>
                      </a:lnTo>
                      <a:lnTo>
                        <a:pt x="73101" y="36830"/>
                      </a:lnTo>
                      <a:lnTo>
                        <a:pt x="71932" y="35560"/>
                      </a:lnTo>
                      <a:lnTo>
                        <a:pt x="71640" y="34290"/>
                      </a:lnTo>
                      <a:lnTo>
                        <a:pt x="70281" y="30480"/>
                      </a:lnTo>
                      <a:lnTo>
                        <a:pt x="69926" y="27940"/>
                      </a:lnTo>
                      <a:lnTo>
                        <a:pt x="69469" y="25400"/>
                      </a:lnTo>
                      <a:lnTo>
                        <a:pt x="69329" y="24130"/>
                      </a:lnTo>
                      <a:lnTo>
                        <a:pt x="69761" y="24130"/>
                      </a:lnTo>
                      <a:lnTo>
                        <a:pt x="69646" y="22860"/>
                      </a:lnTo>
                      <a:lnTo>
                        <a:pt x="64477" y="22860"/>
                      </a:lnTo>
                      <a:lnTo>
                        <a:pt x="64173" y="21590"/>
                      </a:lnTo>
                      <a:lnTo>
                        <a:pt x="63550" y="20320"/>
                      </a:lnTo>
                      <a:lnTo>
                        <a:pt x="61798" y="20320"/>
                      </a:lnTo>
                      <a:lnTo>
                        <a:pt x="61302" y="19050"/>
                      </a:lnTo>
                      <a:lnTo>
                        <a:pt x="60121" y="17780"/>
                      </a:lnTo>
                      <a:lnTo>
                        <a:pt x="59982" y="17780"/>
                      </a:lnTo>
                      <a:lnTo>
                        <a:pt x="58737" y="16510"/>
                      </a:lnTo>
                      <a:lnTo>
                        <a:pt x="57772" y="16510"/>
                      </a:lnTo>
                      <a:lnTo>
                        <a:pt x="56756" y="15240"/>
                      </a:lnTo>
                      <a:lnTo>
                        <a:pt x="61239" y="12700"/>
                      </a:lnTo>
                      <a:lnTo>
                        <a:pt x="59804" y="11430"/>
                      </a:lnTo>
                      <a:lnTo>
                        <a:pt x="58801" y="10160"/>
                      </a:lnTo>
                      <a:lnTo>
                        <a:pt x="59410" y="8890"/>
                      </a:lnTo>
                      <a:lnTo>
                        <a:pt x="60007" y="8890"/>
                      </a:lnTo>
                      <a:lnTo>
                        <a:pt x="60591" y="7620"/>
                      </a:lnTo>
                      <a:lnTo>
                        <a:pt x="60833" y="7620"/>
                      </a:lnTo>
                      <a:lnTo>
                        <a:pt x="60756" y="6350"/>
                      </a:lnTo>
                      <a:lnTo>
                        <a:pt x="60223" y="6350"/>
                      </a:lnTo>
                      <a:lnTo>
                        <a:pt x="59080" y="3810"/>
                      </a:lnTo>
                      <a:lnTo>
                        <a:pt x="57150" y="1270"/>
                      </a:lnTo>
                      <a:lnTo>
                        <a:pt x="55245" y="1270"/>
                      </a:lnTo>
                      <a:lnTo>
                        <a:pt x="52590" y="2540"/>
                      </a:lnTo>
                      <a:lnTo>
                        <a:pt x="51752" y="3810"/>
                      </a:lnTo>
                      <a:lnTo>
                        <a:pt x="48742" y="5080"/>
                      </a:lnTo>
                      <a:lnTo>
                        <a:pt x="46202" y="7620"/>
                      </a:lnTo>
                      <a:lnTo>
                        <a:pt x="40957" y="10160"/>
                      </a:lnTo>
                      <a:lnTo>
                        <a:pt x="39471" y="11430"/>
                      </a:lnTo>
                      <a:lnTo>
                        <a:pt x="38481" y="12700"/>
                      </a:lnTo>
                      <a:lnTo>
                        <a:pt x="37553" y="13970"/>
                      </a:lnTo>
                      <a:lnTo>
                        <a:pt x="36766" y="13970"/>
                      </a:lnTo>
                      <a:lnTo>
                        <a:pt x="35852" y="15240"/>
                      </a:lnTo>
                      <a:lnTo>
                        <a:pt x="31026" y="15240"/>
                      </a:lnTo>
                      <a:lnTo>
                        <a:pt x="30962" y="16510"/>
                      </a:lnTo>
                      <a:lnTo>
                        <a:pt x="28562" y="15240"/>
                      </a:lnTo>
                      <a:lnTo>
                        <a:pt x="23863" y="15240"/>
                      </a:lnTo>
                      <a:lnTo>
                        <a:pt x="20129" y="13970"/>
                      </a:lnTo>
                      <a:lnTo>
                        <a:pt x="18923" y="11430"/>
                      </a:lnTo>
                      <a:lnTo>
                        <a:pt x="16814" y="10160"/>
                      </a:lnTo>
                      <a:lnTo>
                        <a:pt x="12344" y="5080"/>
                      </a:lnTo>
                      <a:lnTo>
                        <a:pt x="11480" y="3810"/>
                      </a:lnTo>
                      <a:lnTo>
                        <a:pt x="11239" y="3810"/>
                      </a:lnTo>
                      <a:lnTo>
                        <a:pt x="10947" y="2540"/>
                      </a:lnTo>
                      <a:lnTo>
                        <a:pt x="10604" y="2540"/>
                      </a:lnTo>
                      <a:lnTo>
                        <a:pt x="8140" y="0"/>
                      </a:lnTo>
                      <a:lnTo>
                        <a:pt x="7112" y="1270"/>
                      </a:lnTo>
                      <a:lnTo>
                        <a:pt x="5905" y="1270"/>
                      </a:lnTo>
                      <a:lnTo>
                        <a:pt x="6146" y="5080"/>
                      </a:lnTo>
                      <a:lnTo>
                        <a:pt x="5422" y="6350"/>
                      </a:lnTo>
                      <a:lnTo>
                        <a:pt x="787" y="6350"/>
                      </a:lnTo>
                      <a:lnTo>
                        <a:pt x="0" y="7620"/>
                      </a:lnTo>
                      <a:lnTo>
                        <a:pt x="393" y="8890"/>
                      </a:lnTo>
                      <a:lnTo>
                        <a:pt x="1079" y="11430"/>
                      </a:lnTo>
                      <a:lnTo>
                        <a:pt x="1778" y="12700"/>
                      </a:lnTo>
                      <a:lnTo>
                        <a:pt x="2362" y="13970"/>
                      </a:lnTo>
                      <a:lnTo>
                        <a:pt x="3263" y="15240"/>
                      </a:lnTo>
                      <a:lnTo>
                        <a:pt x="4229" y="16510"/>
                      </a:lnTo>
                      <a:lnTo>
                        <a:pt x="4343" y="22860"/>
                      </a:lnTo>
                      <a:lnTo>
                        <a:pt x="4216" y="24130"/>
                      </a:lnTo>
                      <a:lnTo>
                        <a:pt x="7112" y="22860"/>
                      </a:lnTo>
                      <a:lnTo>
                        <a:pt x="6019" y="25400"/>
                      </a:lnTo>
                      <a:lnTo>
                        <a:pt x="4940" y="26670"/>
                      </a:lnTo>
                      <a:lnTo>
                        <a:pt x="3657" y="29210"/>
                      </a:lnTo>
                      <a:lnTo>
                        <a:pt x="3086" y="29210"/>
                      </a:lnTo>
                      <a:lnTo>
                        <a:pt x="2908" y="30480"/>
                      </a:lnTo>
                      <a:lnTo>
                        <a:pt x="2959" y="31750"/>
                      </a:lnTo>
                      <a:lnTo>
                        <a:pt x="4749" y="31750"/>
                      </a:lnTo>
                      <a:lnTo>
                        <a:pt x="5372" y="33020"/>
                      </a:lnTo>
                      <a:lnTo>
                        <a:pt x="6908" y="33020"/>
                      </a:lnTo>
                      <a:lnTo>
                        <a:pt x="7543" y="34290"/>
                      </a:lnTo>
                      <a:lnTo>
                        <a:pt x="8166" y="34290"/>
                      </a:lnTo>
                      <a:lnTo>
                        <a:pt x="8140" y="35560"/>
                      </a:lnTo>
                      <a:lnTo>
                        <a:pt x="7848" y="36830"/>
                      </a:lnTo>
                      <a:lnTo>
                        <a:pt x="7620" y="38100"/>
                      </a:lnTo>
                      <a:lnTo>
                        <a:pt x="7937" y="39370"/>
                      </a:lnTo>
                      <a:lnTo>
                        <a:pt x="9105" y="39370"/>
                      </a:lnTo>
                      <a:lnTo>
                        <a:pt x="9842" y="40640"/>
                      </a:lnTo>
                      <a:lnTo>
                        <a:pt x="10629" y="40640"/>
                      </a:lnTo>
                      <a:lnTo>
                        <a:pt x="10922" y="41910"/>
                      </a:lnTo>
                      <a:lnTo>
                        <a:pt x="11150" y="41910"/>
                      </a:lnTo>
                      <a:lnTo>
                        <a:pt x="10731" y="43180"/>
                      </a:lnTo>
                      <a:lnTo>
                        <a:pt x="10604" y="44450"/>
                      </a:lnTo>
                      <a:lnTo>
                        <a:pt x="10909" y="44450"/>
                      </a:lnTo>
                      <a:lnTo>
                        <a:pt x="11925" y="46990"/>
                      </a:lnTo>
                      <a:lnTo>
                        <a:pt x="12179" y="46990"/>
                      </a:lnTo>
                      <a:lnTo>
                        <a:pt x="12217" y="48260"/>
                      </a:lnTo>
                      <a:lnTo>
                        <a:pt x="12001" y="48260"/>
                      </a:lnTo>
                      <a:lnTo>
                        <a:pt x="11836" y="49530"/>
                      </a:lnTo>
                      <a:lnTo>
                        <a:pt x="11569" y="50800"/>
                      </a:lnTo>
                      <a:lnTo>
                        <a:pt x="12204" y="49530"/>
                      </a:lnTo>
                      <a:lnTo>
                        <a:pt x="13258" y="50800"/>
                      </a:lnTo>
                      <a:lnTo>
                        <a:pt x="14490" y="50800"/>
                      </a:lnTo>
                      <a:lnTo>
                        <a:pt x="14351" y="53340"/>
                      </a:lnTo>
                      <a:lnTo>
                        <a:pt x="14058" y="53340"/>
                      </a:lnTo>
                      <a:lnTo>
                        <a:pt x="14630" y="54610"/>
                      </a:lnTo>
                      <a:lnTo>
                        <a:pt x="15519" y="54610"/>
                      </a:lnTo>
                      <a:lnTo>
                        <a:pt x="16827" y="55880"/>
                      </a:lnTo>
                      <a:lnTo>
                        <a:pt x="17170" y="55880"/>
                      </a:lnTo>
                      <a:lnTo>
                        <a:pt x="17310" y="57150"/>
                      </a:lnTo>
                      <a:lnTo>
                        <a:pt x="17983" y="58420"/>
                      </a:lnTo>
                      <a:lnTo>
                        <a:pt x="18237" y="59690"/>
                      </a:lnTo>
                      <a:lnTo>
                        <a:pt x="18630" y="62230"/>
                      </a:lnTo>
                      <a:lnTo>
                        <a:pt x="18846" y="62230"/>
                      </a:lnTo>
                      <a:lnTo>
                        <a:pt x="19113" y="63500"/>
                      </a:lnTo>
                      <a:lnTo>
                        <a:pt x="19418" y="63500"/>
                      </a:lnTo>
                      <a:lnTo>
                        <a:pt x="19735" y="62230"/>
                      </a:lnTo>
                      <a:lnTo>
                        <a:pt x="21399" y="62230"/>
                      </a:lnTo>
                      <a:lnTo>
                        <a:pt x="21767" y="63500"/>
                      </a:lnTo>
                      <a:lnTo>
                        <a:pt x="22758" y="63500"/>
                      </a:lnTo>
                      <a:lnTo>
                        <a:pt x="23901" y="64770"/>
                      </a:lnTo>
                      <a:lnTo>
                        <a:pt x="24333" y="66040"/>
                      </a:lnTo>
                      <a:lnTo>
                        <a:pt x="28028" y="66040"/>
                      </a:lnTo>
                      <a:lnTo>
                        <a:pt x="29629" y="64770"/>
                      </a:lnTo>
                      <a:lnTo>
                        <a:pt x="30327" y="66040"/>
                      </a:lnTo>
                      <a:lnTo>
                        <a:pt x="32931" y="66040"/>
                      </a:lnTo>
                      <a:lnTo>
                        <a:pt x="31965" y="67310"/>
                      </a:lnTo>
                      <a:lnTo>
                        <a:pt x="29806" y="67310"/>
                      </a:lnTo>
                      <a:lnTo>
                        <a:pt x="28689" y="68580"/>
                      </a:lnTo>
                      <a:lnTo>
                        <a:pt x="28346" y="68580"/>
                      </a:lnTo>
                      <a:lnTo>
                        <a:pt x="28206" y="71120"/>
                      </a:lnTo>
                      <a:lnTo>
                        <a:pt x="28752" y="72390"/>
                      </a:lnTo>
                      <a:lnTo>
                        <a:pt x="29781" y="73660"/>
                      </a:lnTo>
                      <a:lnTo>
                        <a:pt x="30556" y="74930"/>
                      </a:lnTo>
                      <a:lnTo>
                        <a:pt x="30619" y="76200"/>
                      </a:lnTo>
                      <a:lnTo>
                        <a:pt x="30391" y="77470"/>
                      </a:lnTo>
                      <a:lnTo>
                        <a:pt x="27495" y="77470"/>
                      </a:lnTo>
                      <a:lnTo>
                        <a:pt x="26428" y="78740"/>
                      </a:lnTo>
                      <a:lnTo>
                        <a:pt x="25146" y="80010"/>
                      </a:lnTo>
                      <a:lnTo>
                        <a:pt x="24726" y="81280"/>
                      </a:lnTo>
                      <a:lnTo>
                        <a:pt x="24295" y="83820"/>
                      </a:lnTo>
                      <a:lnTo>
                        <a:pt x="24142" y="85090"/>
                      </a:lnTo>
                      <a:lnTo>
                        <a:pt x="23977" y="86360"/>
                      </a:lnTo>
                      <a:lnTo>
                        <a:pt x="21805" y="86360"/>
                      </a:lnTo>
                      <a:lnTo>
                        <a:pt x="20281" y="87630"/>
                      </a:lnTo>
                      <a:lnTo>
                        <a:pt x="20535" y="87630"/>
                      </a:lnTo>
                      <a:lnTo>
                        <a:pt x="21361" y="88900"/>
                      </a:lnTo>
                      <a:lnTo>
                        <a:pt x="21602" y="90170"/>
                      </a:lnTo>
                      <a:lnTo>
                        <a:pt x="22047" y="90170"/>
                      </a:lnTo>
                      <a:lnTo>
                        <a:pt x="21691" y="91440"/>
                      </a:lnTo>
                      <a:lnTo>
                        <a:pt x="21475" y="91440"/>
                      </a:lnTo>
                      <a:lnTo>
                        <a:pt x="20764" y="92710"/>
                      </a:lnTo>
                      <a:lnTo>
                        <a:pt x="19659" y="95250"/>
                      </a:lnTo>
                      <a:lnTo>
                        <a:pt x="19659" y="96520"/>
                      </a:lnTo>
                      <a:lnTo>
                        <a:pt x="20434" y="96520"/>
                      </a:lnTo>
                      <a:lnTo>
                        <a:pt x="20701" y="97790"/>
                      </a:lnTo>
                      <a:lnTo>
                        <a:pt x="21107" y="97790"/>
                      </a:lnTo>
                      <a:lnTo>
                        <a:pt x="21691" y="99060"/>
                      </a:lnTo>
                      <a:lnTo>
                        <a:pt x="23914" y="100330"/>
                      </a:lnTo>
                      <a:lnTo>
                        <a:pt x="24384" y="101600"/>
                      </a:lnTo>
                      <a:lnTo>
                        <a:pt x="26873" y="101600"/>
                      </a:lnTo>
                      <a:lnTo>
                        <a:pt x="27228" y="102870"/>
                      </a:lnTo>
                      <a:lnTo>
                        <a:pt x="27444" y="102870"/>
                      </a:lnTo>
                      <a:lnTo>
                        <a:pt x="27559" y="105410"/>
                      </a:lnTo>
                      <a:lnTo>
                        <a:pt x="27762" y="105410"/>
                      </a:lnTo>
                      <a:lnTo>
                        <a:pt x="28409" y="109220"/>
                      </a:lnTo>
                      <a:lnTo>
                        <a:pt x="28689" y="110490"/>
                      </a:lnTo>
                      <a:lnTo>
                        <a:pt x="29083" y="110490"/>
                      </a:lnTo>
                      <a:lnTo>
                        <a:pt x="29413" y="111760"/>
                      </a:lnTo>
                      <a:lnTo>
                        <a:pt x="32664" y="111760"/>
                      </a:lnTo>
                      <a:lnTo>
                        <a:pt x="34963" y="113030"/>
                      </a:lnTo>
                      <a:lnTo>
                        <a:pt x="35928" y="113030"/>
                      </a:lnTo>
                      <a:lnTo>
                        <a:pt x="43383" y="119380"/>
                      </a:lnTo>
                      <a:lnTo>
                        <a:pt x="47053" y="119380"/>
                      </a:lnTo>
                      <a:lnTo>
                        <a:pt x="47586" y="120650"/>
                      </a:lnTo>
                      <a:lnTo>
                        <a:pt x="48958" y="121920"/>
                      </a:lnTo>
                      <a:lnTo>
                        <a:pt x="50533" y="124460"/>
                      </a:lnTo>
                      <a:lnTo>
                        <a:pt x="51904" y="125730"/>
                      </a:lnTo>
                      <a:lnTo>
                        <a:pt x="54419" y="129540"/>
                      </a:lnTo>
                      <a:lnTo>
                        <a:pt x="54483" y="132080"/>
                      </a:lnTo>
                      <a:lnTo>
                        <a:pt x="54254" y="132080"/>
                      </a:lnTo>
                      <a:lnTo>
                        <a:pt x="53136" y="134620"/>
                      </a:lnTo>
                      <a:lnTo>
                        <a:pt x="52730" y="135890"/>
                      </a:lnTo>
                      <a:lnTo>
                        <a:pt x="52552" y="137160"/>
                      </a:lnTo>
                      <a:lnTo>
                        <a:pt x="52311" y="139700"/>
                      </a:lnTo>
                      <a:lnTo>
                        <a:pt x="52209" y="143510"/>
                      </a:lnTo>
                      <a:lnTo>
                        <a:pt x="53009" y="143510"/>
                      </a:lnTo>
                      <a:lnTo>
                        <a:pt x="56172" y="142240"/>
                      </a:lnTo>
                      <a:lnTo>
                        <a:pt x="56680" y="143510"/>
                      </a:lnTo>
                      <a:lnTo>
                        <a:pt x="56984" y="143510"/>
                      </a:lnTo>
                      <a:lnTo>
                        <a:pt x="57518" y="146050"/>
                      </a:lnTo>
                      <a:lnTo>
                        <a:pt x="57073" y="148590"/>
                      </a:lnTo>
                      <a:lnTo>
                        <a:pt x="57150" y="151130"/>
                      </a:lnTo>
                      <a:lnTo>
                        <a:pt x="57569" y="151130"/>
                      </a:lnTo>
                      <a:lnTo>
                        <a:pt x="58826" y="152400"/>
                      </a:lnTo>
                      <a:lnTo>
                        <a:pt x="59423" y="152400"/>
                      </a:lnTo>
                      <a:lnTo>
                        <a:pt x="60655" y="153670"/>
                      </a:lnTo>
                      <a:lnTo>
                        <a:pt x="61290" y="154940"/>
                      </a:lnTo>
                      <a:lnTo>
                        <a:pt x="61963" y="154940"/>
                      </a:lnTo>
                      <a:lnTo>
                        <a:pt x="62522" y="156210"/>
                      </a:lnTo>
                      <a:lnTo>
                        <a:pt x="62915" y="157480"/>
                      </a:lnTo>
                      <a:lnTo>
                        <a:pt x="64147" y="157480"/>
                      </a:lnTo>
                      <a:lnTo>
                        <a:pt x="65671" y="158750"/>
                      </a:lnTo>
                      <a:lnTo>
                        <a:pt x="69227" y="158750"/>
                      </a:lnTo>
                      <a:lnTo>
                        <a:pt x="70065" y="157480"/>
                      </a:lnTo>
                      <a:lnTo>
                        <a:pt x="70104" y="156210"/>
                      </a:lnTo>
                      <a:lnTo>
                        <a:pt x="69951" y="154940"/>
                      </a:lnTo>
                      <a:lnTo>
                        <a:pt x="69113" y="154940"/>
                      </a:lnTo>
                      <a:lnTo>
                        <a:pt x="68846" y="153670"/>
                      </a:lnTo>
                      <a:lnTo>
                        <a:pt x="69938" y="153670"/>
                      </a:lnTo>
                      <a:lnTo>
                        <a:pt x="70535" y="152400"/>
                      </a:lnTo>
                      <a:lnTo>
                        <a:pt x="71983" y="153670"/>
                      </a:lnTo>
                      <a:lnTo>
                        <a:pt x="72796" y="153670"/>
                      </a:lnTo>
                      <a:lnTo>
                        <a:pt x="76123" y="154940"/>
                      </a:lnTo>
                      <a:lnTo>
                        <a:pt x="77317" y="156210"/>
                      </a:lnTo>
                      <a:lnTo>
                        <a:pt x="78232" y="157480"/>
                      </a:lnTo>
                      <a:lnTo>
                        <a:pt x="78409" y="157480"/>
                      </a:lnTo>
                      <a:lnTo>
                        <a:pt x="79006" y="158750"/>
                      </a:lnTo>
                      <a:lnTo>
                        <a:pt x="80010" y="158750"/>
                      </a:lnTo>
                      <a:lnTo>
                        <a:pt x="80784" y="157480"/>
                      </a:lnTo>
                      <a:lnTo>
                        <a:pt x="82245" y="157480"/>
                      </a:lnTo>
                      <a:lnTo>
                        <a:pt x="85178" y="156210"/>
                      </a:lnTo>
                      <a:lnTo>
                        <a:pt x="86639" y="156210"/>
                      </a:lnTo>
                      <a:lnTo>
                        <a:pt x="87325" y="157480"/>
                      </a:lnTo>
                      <a:lnTo>
                        <a:pt x="88176" y="158750"/>
                      </a:lnTo>
                      <a:lnTo>
                        <a:pt x="88442" y="160020"/>
                      </a:lnTo>
                      <a:lnTo>
                        <a:pt x="89014" y="161290"/>
                      </a:lnTo>
                      <a:lnTo>
                        <a:pt x="89382" y="161290"/>
                      </a:lnTo>
                      <a:lnTo>
                        <a:pt x="90601" y="162560"/>
                      </a:lnTo>
                      <a:lnTo>
                        <a:pt x="91592" y="163830"/>
                      </a:lnTo>
                      <a:lnTo>
                        <a:pt x="93522" y="166370"/>
                      </a:lnTo>
                      <a:lnTo>
                        <a:pt x="94411" y="167640"/>
                      </a:lnTo>
                      <a:lnTo>
                        <a:pt x="95148" y="168910"/>
                      </a:lnTo>
                      <a:lnTo>
                        <a:pt x="95084" y="170180"/>
                      </a:lnTo>
                      <a:lnTo>
                        <a:pt x="94284" y="171450"/>
                      </a:lnTo>
                      <a:lnTo>
                        <a:pt x="95021" y="171450"/>
                      </a:lnTo>
                      <a:lnTo>
                        <a:pt x="97548" y="172720"/>
                      </a:lnTo>
                      <a:lnTo>
                        <a:pt x="98336" y="173990"/>
                      </a:lnTo>
                      <a:lnTo>
                        <a:pt x="98539" y="175260"/>
                      </a:lnTo>
                      <a:lnTo>
                        <a:pt x="106426" y="191770"/>
                      </a:lnTo>
                      <a:lnTo>
                        <a:pt x="112649" y="191770"/>
                      </a:lnTo>
                      <a:lnTo>
                        <a:pt x="117157" y="194310"/>
                      </a:lnTo>
                      <a:lnTo>
                        <a:pt x="118833" y="194310"/>
                      </a:lnTo>
                      <a:lnTo>
                        <a:pt x="119240" y="195580"/>
                      </a:lnTo>
                      <a:lnTo>
                        <a:pt x="120421" y="195580"/>
                      </a:lnTo>
                      <a:lnTo>
                        <a:pt x="121399" y="196850"/>
                      </a:lnTo>
                      <a:lnTo>
                        <a:pt x="122555" y="198120"/>
                      </a:lnTo>
                      <a:lnTo>
                        <a:pt x="123278" y="199390"/>
                      </a:lnTo>
                      <a:lnTo>
                        <a:pt x="124929" y="200660"/>
                      </a:lnTo>
                      <a:lnTo>
                        <a:pt x="125844" y="201930"/>
                      </a:lnTo>
                      <a:lnTo>
                        <a:pt x="127114" y="203200"/>
                      </a:lnTo>
                      <a:lnTo>
                        <a:pt x="129451" y="204470"/>
                      </a:lnTo>
                      <a:lnTo>
                        <a:pt x="131025" y="204470"/>
                      </a:lnTo>
                      <a:lnTo>
                        <a:pt x="132651" y="205740"/>
                      </a:lnTo>
                      <a:lnTo>
                        <a:pt x="133629" y="205740"/>
                      </a:lnTo>
                      <a:lnTo>
                        <a:pt x="134924" y="207010"/>
                      </a:lnTo>
                      <a:lnTo>
                        <a:pt x="135661" y="207010"/>
                      </a:lnTo>
                      <a:lnTo>
                        <a:pt x="136118" y="208280"/>
                      </a:lnTo>
                      <a:lnTo>
                        <a:pt x="137541" y="209550"/>
                      </a:lnTo>
                      <a:lnTo>
                        <a:pt x="138760" y="209550"/>
                      </a:lnTo>
                      <a:lnTo>
                        <a:pt x="140131" y="210820"/>
                      </a:lnTo>
                      <a:lnTo>
                        <a:pt x="147193" y="210820"/>
                      </a:lnTo>
                      <a:lnTo>
                        <a:pt x="148628" y="212090"/>
                      </a:lnTo>
                      <a:lnTo>
                        <a:pt x="151041" y="212090"/>
                      </a:lnTo>
                      <a:lnTo>
                        <a:pt x="151231" y="213360"/>
                      </a:lnTo>
                      <a:lnTo>
                        <a:pt x="153377" y="212090"/>
                      </a:lnTo>
                      <a:lnTo>
                        <a:pt x="164452" y="208280"/>
                      </a:lnTo>
                      <a:lnTo>
                        <a:pt x="164719" y="207010"/>
                      </a:lnTo>
                      <a:lnTo>
                        <a:pt x="164960" y="207010"/>
                      </a:lnTo>
                      <a:lnTo>
                        <a:pt x="166065" y="205740"/>
                      </a:lnTo>
                      <a:lnTo>
                        <a:pt x="168198" y="204470"/>
                      </a:lnTo>
                      <a:lnTo>
                        <a:pt x="172593" y="203200"/>
                      </a:lnTo>
                      <a:lnTo>
                        <a:pt x="180124" y="203200"/>
                      </a:lnTo>
                      <a:lnTo>
                        <a:pt x="182981" y="204470"/>
                      </a:lnTo>
                      <a:lnTo>
                        <a:pt x="184048" y="204470"/>
                      </a:lnTo>
                      <a:lnTo>
                        <a:pt x="184772" y="205740"/>
                      </a:lnTo>
                      <a:lnTo>
                        <a:pt x="185508" y="207010"/>
                      </a:lnTo>
                      <a:lnTo>
                        <a:pt x="185889" y="208280"/>
                      </a:lnTo>
                      <a:lnTo>
                        <a:pt x="186436" y="212090"/>
                      </a:lnTo>
                      <a:lnTo>
                        <a:pt x="186651" y="213360"/>
                      </a:lnTo>
                      <a:lnTo>
                        <a:pt x="186994" y="215900"/>
                      </a:lnTo>
                      <a:lnTo>
                        <a:pt x="187680" y="218440"/>
                      </a:lnTo>
                      <a:lnTo>
                        <a:pt x="188429" y="220980"/>
                      </a:lnTo>
                      <a:lnTo>
                        <a:pt x="188937" y="222250"/>
                      </a:lnTo>
                      <a:lnTo>
                        <a:pt x="190588" y="224790"/>
                      </a:lnTo>
                      <a:lnTo>
                        <a:pt x="194335" y="224790"/>
                      </a:lnTo>
                      <a:lnTo>
                        <a:pt x="198551" y="226060"/>
                      </a:lnTo>
                      <a:lnTo>
                        <a:pt x="201828" y="226060"/>
                      </a:lnTo>
                      <a:lnTo>
                        <a:pt x="211035" y="227330"/>
                      </a:lnTo>
                      <a:lnTo>
                        <a:pt x="211543" y="227330"/>
                      </a:lnTo>
                      <a:lnTo>
                        <a:pt x="214337" y="229870"/>
                      </a:lnTo>
                      <a:lnTo>
                        <a:pt x="217017" y="229870"/>
                      </a:lnTo>
                      <a:lnTo>
                        <a:pt x="219506" y="228600"/>
                      </a:lnTo>
                      <a:lnTo>
                        <a:pt x="226593" y="228600"/>
                      </a:lnTo>
                      <a:lnTo>
                        <a:pt x="230060" y="229870"/>
                      </a:lnTo>
                      <a:lnTo>
                        <a:pt x="236308" y="229870"/>
                      </a:lnTo>
                      <a:lnTo>
                        <a:pt x="237286" y="231140"/>
                      </a:lnTo>
                      <a:lnTo>
                        <a:pt x="237959" y="232410"/>
                      </a:lnTo>
                      <a:lnTo>
                        <a:pt x="239471" y="232410"/>
                      </a:lnTo>
                      <a:lnTo>
                        <a:pt x="242608" y="233680"/>
                      </a:lnTo>
                      <a:lnTo>
                        <a:pt x="251510" y="233680"/>
                      </a:lnTo>
                      <a:lnTo>
                        <a:pt x="251536" y="232410"/>
                      </a:lnTo>
                      <a:lnTo>
                        <a:pt x="252133" y="231140"/>
                      </a:lnTo>
                      <a:lnTo>
                        <a:pt x="252183" y="229870"/>
                      </a:lnTo>
                      <a:lnTo>
                        <a:pt x="252450" y="228600"/>
                      </a:lnTo>
                      <a:lnTo>
                        <a:pt x="252590" y="228600"/>
                      </a:lnTo>
                      <a:lnTo>
                        <a:pt x="253885" y="222250"/>
                      </a:lnTo>
                      <a:lnTo>
                        <a:pt x="254990" y="217170"/>
                      </a:lnTo>
                      <a:lnTo>
                        <a:pt x="257619" y="215900"/>
                      </a:lnTo>
                      <a:lnTo>
                        <a:pt x="258102" y="215900"/>
                      </a:lnTo>
                      <a:lnTo>
                        <a:pt x="258572" y="214630"/>
                      </a:lnTo>
                      <a:lnTo>
                        <a:pt x="259918" y="214630"/>
                      </a:lnTo>
                      <a:lnTo>
                        <a:pt x="261289" y="213360"/>
                      </a:lnTo>
                      <a:lnTo>
                        <a:pt x="262013" y="213360"/>
                      </a:lnTo>
                      <a:lnTo>
                        <a:pt x="270383" y="212090"/>
                      </a:lnTo>
                      <a:lnTo>
                        <a:pt x="272034" y="212090"/>
                      </a:lnTo>
                      <a:lnTo>
                        <a:pt x="272961" y="210820"/>
                      </a:lnTo>
                      <a:lnTo>
                        <a:pt x="273405" y="210820"/>
                      </a:lnTo>
                      <a:lnTo>
                        <a:pt x="273621" y="209550"/>
                      </a:lnTo>
                      <a:lnTo>
                        <a:pt x="274815" y="204470"/>
                      </a:lnTo>
                      <a:lnTo>
                        <a:pt x="275158" y="203200"/>
                      </a:lnTo>
                      <a:lnTo>
                        <a:pt x="275501" y="201930"/>
                      </a:lnTo>
                      <a:close/>
                    </a:path>
                    <a:path w="817879" h="457835">
                      <a:moveTo>
                        <a:pt x="723544" y="371271"/>
                      </a:moveTo>
                      <a:lnTo>
                        <a:pt x="723353" y="371271"/>
                      </a:lnTo>
                      <a:lnTo>
                        <a:pt x="723544" y="371271"/>
                      </a:lnTo>
                      <a:close/>
                    </a:path>
                    <a:path w="817879" h="457835">
                      <a:moveTo>
                        <a:pt x="794816" y="433501"/>
                      </a:moveTo>
                      <a:lnTo>
                        <a:pt x="785317" y="433501"/>
                      </a:lnTo>
                      <a:lnTo>
                        <a:pt x="783323" y="433501"/>
                      </a:lnTo>
                      <a:lnTo>
                        <a:pt x="783031" y="434771"/>
                      </a:lnTo>
                      <a:lnTo>
                        <a:pt x="782904" y="438581"/>
                      </a:lnTo>
                      <a:lnTo>
                        <a:pt x="782739" y="441121"/>
                      </a:lnTo>
                      <a:lnTo>
                        <a:pt x="782726" y="442391"/>
                      </a:lnTo>
                      <a:lnTo>
                        <a:pt x="782269" y="444931"/>
                      </a:lnTo>
                      <a:lnTo>
                        <a:pt x="781075" y="446201"/>
                      </a:lnTo>
                      <a:lnTo>
                        <a:pt x="778751" y="447471"/>
                      </a:lnTo>
                      <a:lnTo>
                        <a:pt x="778967" y="448741"/>
                      </a:lnTo>
                      <a:lnTo>
                        <a:pt x="779500" y="451281"/>
                      </a:lnTo>
                      <a:lnTo>
                        <a:pt x="779767" y="451281"/>
                      </a:lnTo>
                      <a:lnTo>
                        <a:pt x="779843" y="453821"/>
                      </a:lnTo>
                      <a:lnTo>
                        <a:pt x="779678" y="453821"/>
                      </a:lnTo>
                      <a:lnTo>
                        <a:pt x="779614" y="456361"/>
                      </a:lnTo>
                      <a:lnTo>
                        <a:pt x="779259" y="457631"/>
                      </a:lnTo>
                      <a:lnTo>
                        <a:pt x="780300" y="457631"/>
                      </a:lnTo>
                      <a:lnTo>
                        <a:pt x="784059" y="450011"/>
                      </a:lnTo>
                      <a:lnTo>
                        <a:pt x="784923" y="447471"/>
                      </a:lnTo>
                      <a:lnTo>
                        <a:pt x="785914" y="446201"/>
                      </a:lnTo>
                      <a:lnTo>
                        <a:pt x="787438" y="443661"/>
                      </a:lnTo>
                      <a:lnTo>
                        <a:pt x="788517" y="442391"/>
                      </a:lnTo>
                      <a:lnTo>
                        <a:pt x="791616" y="438581"/>
                      </a:lnTo>
                      <a:lnTo>
                        <a:pt x="792594" y="437311"/>
                      </a:lnTo>
                      <a:lnTo>
                        <a:pt x="794397" y="434771"/>
                      </a:lnTo>
                      <a:lnTo>
                        <a:pt x="794816" y="433501"/>
                      </a:lnTo>
                      <a:close/>
                    </a:path>
                    <a:path w="817879" h="457835">
                      <a:moveTo>
                        <a:pt x="817359" y="287451"/>
                      </a:moveTo>
                      <a:lnTo>
                        <a:pt x="817206" y="287451"/>
                      </a:lnTo>
                      <a:lnTo>
                        <a:pt x="817346" y="286181"/>
                      </a:lnTo>
                      <a:lnTo>
                        <a:pt x="816978" y="286181"/>
                      </a:lnTo>
                      <a:lnTo>
                        <a:pt x="816660" y="284911"/>
                      </a:lnTo>
                      <a:lnTo>
                        <a:pt x="816089" y="284911"/>
                      </a:lnTo>
                      <a:lnTo>
                        <a:pt x="815492" y="286181"/>
                      </a:lnTo>
                      <a:lnTo>
                        <a:pt x="813600" y="286181"/>
                      </a:lnTo>
                      <a:lnTo>
                        <a:pt x="811733" y="287451"/>
                      </a:lnTo>
                      <a:lnTo>
                        <a:pt x="810590" y="287451"/>
                      </a:lnTo>
                      <a:lnTo>
                        <a:pt x="804329" y="289991"/>
                      </a:lnTo>
                      <a:lnTo>
                        <a:pt x="803783" y="289991"/>
                      </a:lnTo>
                      <a:lnTo>
                        <a:pt x="803503" y="288721"/>
                      </a:lnTo>
                      <a:lnTo>
                        <a:pt x="803224" y="288721"/>
                      </a:lnTo>
                      <a:lnTo>
                        <a:pt x="802576" y="287451"/>
                      </a:lnTo>
                      <a:lnTo>
                        <a:pt x="802119" y="287451"/>
                      </a:lnTo>
                      <a:lnTo>
                        <a:pt x="801547" y="286181"/>
                      </a:lnTo>
                      <a:lnTo>
                        <a:pt x="801052" y="286181"/>
                      </a:lnTo>
                      <a:lnTo>
                        <a:pt x="800773" y="284911"/>
                      </a:lnTo>
                      <a:lnTo>
                        <a:pt x="800557" y="284911"/>
                      </a:lnTo>
                      <a:lnTo>
                        <a:pt x="800430" y="283641"/>
                      </a:lnTo>
                      <a:lnTo>
                        <a:pt x="800608" y="281101"/>
                      </a:lnTo>
                      <a:lnTo>
                        <a:pt x="799604" y="281101"/>
                      </a:lnTo>
                      <a:lnTo>
                        <a:pt x="789051" y="278561"/>
                      </a:lnTo>
                      <a:lnTo>
                        <a:pt x="789647" y="277291"/>
                      </a:lnTo>
                      <a:lnTo>
                        <a:pt x="790613" y="274751"/>
                      </a:lnTo>
                      <a:lnTo>
                        <a:pt x="790930" y="273481"/>
                      </a:lnTo>
                      <a:lnTo>
                        <a:pt x="791133" y="272211"/>
                      </a:lnTo>
                      <a:lnTo>
                        <a:pt x="791654" y="270941"/>
                      </a:lnTo>
                      <a:lnTo>
                        <a:pt x="791756" y="269671"/>
                      </a:lnTo>
                      <a:lnTo>
                        <a:pt x="792403" y="269671"/>
                      </a:lnTo>
                      <a:lnTo>
                        <a:pt x="793635" y="268401"/>
                      </a:lnTo>
                      <a:lnTo>
                        <a:pt x="794219" y="268401"/>
                      </a:lnTo>
                      <a:lnTo>
                        <a:pt x="794727" y="267131"/>
                      </a:lnTo>
                      <a:lnTo>
                        <a:pt x="794486" y="267131"/>
                      </a:lnTo>
                      <a:lnTo>
                        <a:pt x="794423" y="265861"/>
                      </a:lnTo>
                      <a:lnTo>
                        <a:pt x="794169" y="265861"/>
                      </a:lnTo>
                      <a:lnTo>
                        <a:pt x="793915" y="264591"/>
                      </a:lnTo>
                      <a:lnTo>
                        <a:pt x="788060" y="264591"/>
                      </a:lnTo>
                      <a:lnTo>
                        <a:pt x="786485" y="263321"/>
                      </a:lnTo>
                      <a:lnTo>
                        <a:pt x="785672" y="263321"/>
                      </a:lnTo>
                      <a:lnTo>
                        <a:pt x="785075" y="262051"/>
                      </a:lnTo>
                      <a:lnTo>
                        <a:pt x="784148" y="259511"/>
                      </a:lnTo>
                      <a:lnTo>
                        <a:pt x="783780" y="258241"/>
                      </a:lnTo>
                      <a:lnTo>
                        <a:pt x="782993" y="255701"/>
                      </a:lnTo>
                      <a:lnTo>
                        <a:pt x="782472" y="254431"/>
                      </a:lnTo>
                      <a:lnTo>
                        <a:pt x="782383" y="253161"/>
                      </a:lnTo>
                      <a:lnTo>
                        <a:pt x="785050" y="249351"/>
                      </a:lnTo>
                      <a:lnTo>
                        <a:pt x="774471" y="249351"/>
                      </a:lnTo>
                      <a:lnTo>
                        <a:pt x="772274" y="250621"/>
                      </a:lnTo>
                      <a:lnTo>
                        <a:pt x="768756" y="253161"/>
                      </a:lnTo>
                      <a:lnTo>
                        <a:pt x="766902" y="253161"/>
                      </a:lnTo>
                      <a:lnTo>
                        <a:pt x="765683" y="251891"/>
                      </a:lnTo>
                      <a:lnTo>
                        <a:pt x="766051" y="251891"/>
                      </a:lnTo>
                      <a:lnTo>
                        <a:pt x="766305" y="250621"/>
                      </a:lnTo>
                      <a:lnTo>
                        <a:pt x="766622" y="250621"/>
                      </a:lnTo>
                      <a:lnTo>
                        <a:pt x="767753" y="249351"/>
                      </a:lnTo>
                      <a:lnTo>
                        <a:pt x="768375" y="248081"/>
                      </a:lnTo>
                      <a:lnTo>
                        <a:pt x="768273" y="246811"/>
                      </a:lnTo>
                      <a:lnTo>
                        <a:pt x="767740" y="245541"/>
                      </a:lnTo>
                      <a:lnTo>
                        <a:pt x="767600" y="245541"/>
                      </a:lnTo>
                      <a:lnTo>
                        <a:pt x="767422" y="244271"/>
                      </a:lnTo>
                      <a:lnTo>
                        <a:pt x="765670" y="244271"/>
                      </a:lnTo>
                      <a:lnTo>
                        <a:pt x="765771" y="241731"/>
                      </a:lnTo>
                      <a:lnTo>
                        <a:pt x="765390" y="240461"/>
                      </a:lnTo>
                      <a:lnTo>
                        <a:pt x="767727" y="239191"/>
                      </a:lnTo>
                      <a:lnTo>
                        <a:pt x="768807" y="239191"/>
                      </a:lnTo>
                      <a:lnTo>
                        <a:pt x="769239" y="237921"/>
                      </a:lnTo>
                      <a:lnTo>
                        <a:pt x="769391" y="237921"/>
                      </a:lnTo>
                      <a:lnTo>
                        <a:pt x="769277" y="236651"/>
                      </a:lnTo>
                      <a:lnTo>
                        <a:pt x="769226" y="235381"/>
                      </a:lnTo>
                      <a:lnTo>
                        <a:pt x="769467" y="234111"/>
                      </a:lnTo>
                      <a:lnTo>
                        <a:pt x="769747" y="232841"/>
                      </a:lnTo>
                      <a:lnTo>
                        <a:pt x="770839" y="231571"/>
                      </a:lnTo>
                      <a:lnTo>
                        <a:pt x="772198" y="231571"/>
                      </a:lnTo>
                      <a:lnTo>
                        <a:pt x="773671" y="230301"/>
                      </a:lnTo>
                      <a:lnTo>
                        <a:pt x="773912" y="230301"/>
                      </a:lnTo>
                      <a:lnTo>
                        <a:pt x="774026" y="229031"/>
                      </a:lnTo>
                      <a:lnTo>
                        <a:pt x="774217" y="229031"/>
                      </a:lnTo>
                      <a:lnTo>
                        <a:pt x="774827" y="226491"/>
                      </a:lnTo>
                      <a:lnTo>
                        <a:pt x="775716" y="227761"/>
                      </a:lnTo>
                      <a:lnTo>
                        <a:pt x="778484" y="226491"/>
                      </a:lnTo>
                      <a:lnTo>
                        <a:pt x="779907" y="225221"/>
                      </a:lnTo>
                      <a:lnTo>
                        <a:pt x="780859" y="223951"/>
                      </a:lnTo>
                      <a:lnTo>
                        <a:pt x="781608" y="223951"/>
                      </a:lnTo>
                      <a:lnTo>
                        <a:pt x="782167" y="222681"/>
                      </a:lnTo>
                      <a:lnTo>
                        <a:pt x="781786" y="221411"/>
                      </a:lnTo>
                      <a:lnTo>
                        <a:pt x="781507" y="221411"/>
                      </a:lnTo>
                      <a:lnTo>
                        <a:pt x="781227" y="220141"/>
                      </a:lnTo>
                      <a:lnTo>
                        <a:pt x="780948" y="220141"/>
                      </a:lnTo>
                      <a:lnTo>
                        <a:pt x="780910" y="218871"/>
                      </a:lnTo>
                      <a:lnTo>
                        <a:pt x="781177" y="218871"/>
                      </a:lnTo>
                      <a:lnTo>
                        <a:pt x="781608" y="217601"/>
                      </a:lnTo>
                      <a:lnTo>
                        <a:pt x="782599" y="215061"/>
                      </a:lnTo>
                      <a:lnTo>
                        <a:pt x="782967" y="213791"/>
                      </a:lnTo>
                      <a:lnTo>
                        <a:pt x="783196" y="212521"/>
                      </a:lnTo>
                      <a:lnTo>
                        <a:pt x="783577" y="211251"/>
                      </a:lnTo>
                      <a:lnTo>
                        <a:pt x="783539" y="208711"/>
                      </a:lnTo>
                      <a:lnTo>
                        <a:pt x="783221" y="206171"/>
                      </a:lnTo>
                      <a:lnTo>
                        <a:pt x="783221" y="202361"/>
                      </a:lnTo>
                      <a:lnTo>
                        <a:pt x="783285" y="199821"/>
                      </a:lnTo>
                      <a:lnTo>
                        <a:pt x="782637" y="197281"/>
                      </a:lnTo>
                      <a:lnTo>
                        <a:pt x="782434" y="196011"/>
                      </a:lnTo>
                      <a:lnTo>
                        <a:pt x="780961" y="196011"/>
                      </a:lnTo>
                      <a:lnTo>
                        <a:pt x="780364" y="194741"/>
                      </a:lnTo>
                      <a:lnTo>
                        <a:pt x="778256" y="194741"/>
                      </a:lnTo>
                      <a:lnTo>
                        <a:pt x="778383" y="196011"/>
                      </a:lnTo>
                      <a:lnTo>
                        <a:pt x="777290" y="194741"/>
                      </a:lnTo>
                      <a:lnTo>
                        <a:pt x="776605" y="194741"/>
                      </a:lnTo>
                      <a:lnTo>
                        <a:pt x="776109" y="193471"/>
                      </a:lnTo>
                      <a:lnTo>
                        <a:pt x="774750" y="192201"/>
                      </a:lnTo>
                      <a:lnTo>
                        <a:pt x="775258" y="188391"/>
                      </a:lnTo>
                      <a:lnTo>
                        <a:pt x="772528" y="185851"/>
                      </a:lnTo>
                      <a:lnTo>
                        <a:pt x="771283" y="184581"/>
                      </a:lnTo>
                      <a:lnTo>
                        <a:pt x="770585" y="183311"/>
                      </a:lnTo>
                      <a:lnTo>
                        <a:pt x="768477" y="183311"/>
                      </a:lnTo>
                      <a:lnTo>
                        <a:pt x="768489" y="182041"/>
                      </a:lnTo>
                      <a:lnTo>
                        <a:pt x="765543" y="182041"/>
                      </a:lnTo>
                      <a:lnTo>
                        <a:pt x="764743" y="183311"/>
                      </a:lnTo>
                      <a:lnTo>
                        <a:pt x="763536" y="185851"/>
                      </a:lnTo>
                      <a:lnTo>
                        <a:pt x="762609" y="185851"/>
                      </a:lnTo>
                      <a:lnTo>
                        <a:pt x="763054" y="188391"/>
                      </a:lnTo>
                      <a:lnTo>
                        <a:pt x="763752" y="190931"/>
                      </a:lnTo>
                      <a:lnTo>
                        <a:pt x="761758" y="192201"/>
                      </a:lnTo>
                      <a:lnTo>
                        <a:pt x="756539" y="194741"/>
                      </a:lnTo>
                      <a:lnTo>
                        <a:pt x="756526" y="196011"/>
                      </a:lnTo>
                      <a:lnTo>
                        <a:pt x="757199" y="198551"/>
                      </a:lnTo>
                      <a:lnTo>
                        <a:pt x="757859" y="199821"/>
                      </a:lnTo>
                      <a:lnTo>
                        <a:pt x="756107" y="202361"/>
                      </a:lnTo>
                      <a:lnTo>
                        <a:pt x="755980" y="201091"/>
                      </a:lnTo>
                      <a:lnTo>
                        <a:pt x="753198" y="197281"/>
                      </a:lnTo>
                      <a:lnTo>
                        <a:pt x="746277" y="203631"/>
                      </a:lnTo>
                      <a:lnTo>
                        <a:pt x="739038" y="206171"/>
                      </a:lnTo>
                      <a:lnTo>
                        <a:pt x="737387" y="208711"/>
                      </a:lnTo>
                      <a:lnTo>
                        <a:pt x="732155" y="211251"/>
                      </a:lnTo>
                      <a:lnTo>
                        <a:pt x="730631" y="211251"/>
                      </a:lnTo>
                      <a:lnTo>
                        <a:pt x="730961" y="216331"/>
                      </a:lnTo>
                      <a:lnTo>
                        <a:pt x="732320" y="220141"/>
                      </a:lnTo>
                      <a:lnTo>
                        <a:pt x="730402" y="222681"/>
                      </a:lnTo>
                      <a:lnTo>
                        <a:pt x="729830" y="222681"/>
                      </a:lnTo>
                      <a:lnTo>
                        <a:pt x="729830" y="223951"/>
                      </a:lnTo>
                      <a:lnTo>
                        <a:pt x="729361" y="225221"/>
                      </a:lnTo>
                      <a:lnTo>
                        <a:pt x="727633" y="226491"/>
                      </a:lnTo>
                      <a:lnTo>
                        <a:pt x="723506" y="229031"/>
                      </a:lnTo>
                      <a:lnTo>
                        <a:pt x="723887" y="230301"/>
                      </a:lnTo>
                      <a:lnTo>
                        <a:pt x="724852" y="232841"/>
                      </a:lnTo>
                      <a:lnTo>
                        <a:pt x="726147" y="235381"/>
                      </a:lnTo>
                      <a:lnTo>
                        <a:pt x="723976" y="239191"/>
                      </a:lnTo>
                      <a:lnTo>
                        <a:pt x="719950" y="245541"/>
                      </a:lnTo>
                      <a:lnTo>
                        <a:pt x="718781" y="249351"/>
                      </a:lnTo>
                      <a:lnTo>
                        <a:pt x="717537" y="250621"/>
                      </a:lnTo>
                      <a:lnTo>
                        <a:pt x="715378" y="253161"/>
                      </a:lnTo>
                      <a:lnTo>
                        <a:pt x="711682" y="251891"/>
                      </a:lnTo>
                      <a:lnTo>
                        <a:pt x="705434" y="250621"/>
                      </a:lnTo>
                      <a:lnTo>
                        <a:pt x="705573" y="251891"/>
                      </a:lnTo>
                      <a:lnTo>
                        <a:pt x="707339" y="256971"/>
                      </a:lnTo>
                      <a:lnTo>
                        <a:pt x="706462" y="262051"/>
                      </a:lnTo>
                      <a:lnTo>
                        <a:pt x="705485" y="267131"/>
                      </a:lnTo>
                      <a:lnTo>
                        <a:pt x="703846" y="265861"/>
                      </a:lnTo>
                      <a:lnTo>
                        <a:pt x="702678" y="265861"/>
                      </a:lnTo>
                      <a:lnTo>
                        <a:pt x="702119" y="269671"/>
                      </a:lnTo>
                      <a:lnTo>
                        <a:pt x="702119" y="272211"/>
                      </a:lnTo>
                      <a:lnTo>
                        <a:pt x="703110" y="278561"/>
                      </a:lnTo>
                      <a:lnTo>
                        <a:pt x="700595" y="281101"/>
                      </a:lnTo>
                      <a:lnTo>
                        <a:pt x="699046" y="279831"/>
                      </a:lnTo>
                      <a:lnTo>
                        <a:pt x="695464" y="283641"/>
                      </a:lnTo>
                      <a:lnTo>
                        <a:pt x="695921" y="289991"/>
                      </a:lnTo>
                      <a:lnTo>
                        <a:pt x="696074" y="289991"/>
                      </a:lnTo>
                      <a:lnTo>
                        <a:pt x="695972" y="292531"/>
                      </a:lnTo>
                      <a:lnTo>
                        <a:pt x="695363" y="291261"/>
                      </a:lnTo>
                      <a:lnTo>
                        <a:pt x="692988" y="291261"/>
                      </a:lnTo>
                      <a:lnTo>
                        <a:pt x="692111" y="289991"/>
                      </a:lnTo>
                      <a:lnTo>
                        <a:pt x="691337" y="289991"/>
                      </a:lnTo>
                      <a:lnTo>
                        <a:pt x="689470" y="292531"/>
                      </a:lnTo>
                      <a:lnTo>
                        <a:pt x="689305" y="293801"/>
                      </a:lnTo>
                      <a:lnTo>
                        <a:pt x="689432" y="293801"/>
                      </a:lnTo>
                      <a:lnTo>
                        <a:pt x="689813" y="295071"/>
                      </a:lnTo>
                      <a:lnTo>
                        <a:pt x="689940" y="295071"/>
                      </a:lnTo>
                      <a:lnTo>
                        <a:pt x="691222" y="297611"/>
                      </a:lnTo>
                      <a:lnTo>
                        <a:pt x="692556" y="300151"/>
                      </a:lnTo>
                      <a:lnTo>
                        <a:pt x="693153" y="301421"/>
                      </a:lnTo>
                      <a:lnTo>
                        <a:pt x="694410" y="303961"/>
                      </a:lnTo>
                      <a:lnTo>
                        <a:pt x="695083" y="305231"/>
                      </a:lnTo>
                      <a:lnTo>
                        <a:pt x="696556" y="306501"/>
                      </a:lnTo>
                      <a:lnTo>
                        <a:pt x="696976" y="307771"/>
                      </a:lnTo>
                      <a:lnTo>
                        <a:pt x="696823" y="306501"/>
                      </a:lnTo>
                      <a:lnTo>
                        <a:pt x="696607" y="305231"/>
                      </a:lnTo>
                      <a:lnTo>
                        <a:pt x="696506" y="303961"/>
                      </a:lnTo>
                      <a:lnTo>
                        <a:pt x="696455" y="302691"/>
                      </a:lnTo>
                      <a:lnTo>
                        <a:pt x="698995" y="306501"/>
                      </a:lnTo>
                      <a:lnTo>
                        <a:pt x="698030" y="306501"/>
                      </a:lnTo>
                      <a:lnTo>
                        <a:pt x="698220" y="307771"/>
                      </a:lnTo>
                      <a:lnTo>
                        <a:pt x="699147" y="309041"/>
                      </a:lnTo>
                      <a:lnTo>
                        <a:pt x="699490" y="309041"/>
                      </a:lnTo>
                      <a:lnTo>
                        <a:pt x="699706" y="307771"/>
                      </a:lnTo>
                      <a:lnTo>
                        <a:pt x="701382" y="303961"/>
                      </a:lnTo>
                      <a:lnTo>
                        <a:pt x="701522" y="303961"/>
                      </a:lnTo>
                      <a:lnTo>
                        <a:pt x="701522" y="305231"/>
                      </a:lnTo>
                      <a:lnTo>
                        <a:pt x="701421" y="306501"/>
                      </a:lnTo>
                      <a:lnTo>
                        <a:pt x="701725" y="305231"/>
                      </a:lnTo>
                      <a:lnTo>
                        <a:pt x="702106" y="305231"/>
                      </a:lnTo>
                      <a:lnTo>
                        <a:pt x="701611" y="306501"/>
                      </a:lnTo>
                      <a:lnTo>
                        <a:pt x="700379" y="309041"/>
                      </a:lnTo>
                      <a:lnTo>
                        <a:pt x="700684" y="310311"/>
                      </a:lnTo>
                      <a:lnTo>
                        <a:pt x="701116" y="311581"/>
                      </a:lnTo>
                      <a:lnTo>
                        <a:pt x="701344" y="311581"/>
                      </a:lnTo>
                      <a:lnTo>
                        <a:pt x="701611" y="312851"/>
                      </a:lnTo>
                      <a:lnTo>
                        <a:pt x="702183" y="312851"/>
                      </a:lnTo>
                      <a:lnTo>
                        <a:pt x="702614" y="314121"/>
                      </a:lnTo>
                      <a:lnTo>
                        <a:pt x="702106" y="311581"/>
                      </a:lnTo>
                      <a:lnTo>
                        <a:pt x="702576" y="310311"/>
                      </a:lnTo>
                      <a:lnTo>
                        <a:pt x="705967" y="310311"/>
                      </a:lnTo>
                      <a:lnTo>
                        <a:pt x="708672" y="311581"/>
                      </a:lnTo>
                      <a:lnTo>
                        <a:pt x="710653" y="311581"/>
                      </a:lnTo>
                      <a:lnTo>
                        <a:pt x="711225" y="312851"/>
                      </a:lnTo>
                      <a:lnTo>
                        <a:pt x="710196" y="312851"/>
                      </a:lnTo>
                      <a:lnTo>
                        <a:pt x="709904" y="314121"/>
                      </a:lnTo>
                      <a:lnTo>
                        <a:pt x="709345" y="315391"/>
                      </a:lnTo>
                      <a:lnTo>
                        <a:pt x="712520" y="315391"/>
                      </a:lnTo>
                      <a:lnTo>
                        <a:pt x="711187" y="316661"/>
                      </a:lnTo>
                      <a:lnTo>
                        <a:pt x="712330" y="317931"/>
                      </a:lnTo>
                      <a:lnTo>
                        <a:pt x="712901" y="317931"/>
                      </a:lnTo>
                      <a:lnTo>
                        <a:pt x="714235" y="319201"/>
                      </a:lnTo>
                      <a:lnTo>
                        <a:pt x="714679" y="320471"/>
                      </a:lnTo>
                      <a:lnTo>
                        <a:pt x="714032" y="321741"/>
                      </a:lnTo>
                      <a:lnTo>
                        <a:pt x="712978" y="321741"/>
                      </a:lnTo>
                      <a:lnTo>
                        <a:pt x="713435" y="323011"/>
                      </a:lnTo>
                      <a:lnTo>
                        <a:pt x="712851" y="323011"/>
                      </a:lnTo>
                      <a:lnTo>
                        <a:pt x="712012" y="321741"/>
                      </a:lnTo>
                      <a:lnTo>
                        <a:pt x="710133" y="321741"/>
                      </a:lnTo>
                      <a:lnTo>
                        <a:pt x="709587" y="320471"/>
                      </a:lnTo>
                      <a:lnTo>
                        <a:pt x="709028" y="320471"/>
                      </a:lnTo>
                      <a:lnTo>
                        <a:pt x="708837" y="319201"/>
                      </a:lnTo>
                      <a:lnTo>
                        <a:pt x="708037" y="319201"/>
                      </a:lnTo>
                      <a:lnTo>
                        <a:pt x="708037" y="320471"/>
                      </a:lnTo>
                      <a:lnTo>
                        <a:pt x="708698" y="323011"/>
                      </a:lnTo>
                      <a:lnTo>
                        <a:pt x="709803" y="324281"/>
                      </a:lnTo>
                      <a:lnTo>
                        <a:pt x="710171" y="324281"/>
                      </a:lnTo>
                      <a:lnTo>
                        <a:pt x="711161" y="325551"/>
                      </a:lnTo>
                      <a:lnTo>
                        <a:pt x="714032" y="328091"/>
                      </a:lnTo>
                      <a:lnTo>
                        <a:pt x="713955" y="325551"/>
                      </a:lnTo>
                      <a:lnTo>
                        <a:pt x="713765" y="323011"/>
                      </a:lnTo>
                      <a:lnTo>
                        <a:pt x="714413" y="323011"/>
                      </a:lnTo>
                      <a:lnTo>
                        <a:pt x="715683" y="320471"/>
                      </a:lnTo>
                      <a:lnTo>
                        <a:pt x="716140" y="321741"/>
                      </a:lnTo>
                      <a:lnTo>
                        <a:pt x="716026" y="323011"/>
                      </a:lnTo>
                      <a:lnTo>
                        <a:pt x="715606" y="326821"/>
                      </a:lnTo>
                      <a:lnTo>
                        <a:pt x="715568" y="328091"/>
                      </a:lnTo>
                      <a:lnTo>
                        <a:pt x="715873" y="328091"/>
                      </a:lnTo>
                      <a:lnTo>
                        <a:pt x="716584" y="329361"/>
                      </a:lnTo>
                      <a:lnTo>
                        <a:pt x="721741" y="340791"/>
                      </a:lnTo>
                      <a:lnTo>
                        <a:pt x="721969" y="342061"/>
                      </a:lnTo>
                      <a:lnTo>
                        <a:pt x="722464" y="343331"/>
                      </a:lnTo>
                      <a:lnTo>
                        <a:pt x="723455" y="348411"/>
                      </a:lnTo>
                      <a:lnTo>
                        <a:pt x="722769" y="349681"/>
                      </a:lnTo>
                      <a:lnTo>
                        <a:pt x="721334" y="354761"/>
                      </a:lnTo>
                      <a:lnTo>
                        <a:pt x="721004" y="357301"/>
                      </a:lnTo>
                      <a:lnTo>
                        <a:pt x="720877" y="357301"/>
                      </a:lnTo>
                      <a:lnTo>
                        <a:pt x="720090" y="363651"/>
                      </a:lnTo>
                      <a:lnTo>
                        <a:pt x="718947" y="368731"/>
                      </a:lnTo>
                      <a:lnTo>
                        <a:pt x="718616" y="371271"/>
                      </a:lnTo>
                      <a:lnTo>
                        <a:pt x="723607" y="367461"/>
                      </a:lnTo>
                      <a:lnTo>
                        <a:pt x="724560" y="364921"/>
                      </a:lnTo>
                      <a:lnTo>
                        <a:pt x="724700" y="363651"/>
                      </a:lnTo>
                      <a:lnTo>
                        <a:pt x="724966" y="363651"/>
                      </a:lnTo>
                      <a:lnTo>
                        <a:pt x="724941" y="366191"/>
                      </a:lnTo>
                      <a:lnTo>
                        <a:pt x="724585" y="367461"/>
                      </a:lnTo>
                      <a:lnTo>
                        <a:pt x="722934" y="370001"/>
                      </a:lnTo>
                      <a:lnTo>
                        <a:pt x="723506" y="371182"/>
                      </a:lnTo>
                      <a:lnTo>
                        <a:pt x="725436" y="370001"/>
                      </a:lnTo>
                      <a:lnTo>
                        <a:pt x="725208" y="368731"/>
                      </a:lnTo>
                      <a:lnTo>
                        <a:pt x="726173" y="368731"/>
                      </a:lnTo>
                      <a:lnTo>
                        <a:pt x="725944" y="370001"/>
                      </a:lnTo>
                      <a:lnTo>
                        <a:pt x="725297" y="371271"/>
                      </a:lnTo>
                      <a:lnTo>
                        <a:pt x="725170" y="372541"/>
                      </a:lnTo>
                      <a:lnTo>
                        <a:pt x="725665" y="372541"/>
                      </a:lnTo>
                      <a:lnTo>
                        <a:pt x="726363" y="371182"/>
                      </a:lnTo>
                      <a:lnTo>
                        <a:pt x="726795" y="370001"/>
                      </a:lnTo>
                      <a:lnTo>
                        <a:pt x="727595" y="370001"/>
                      </a:lnTo>
                      <a:lnTo>
                        <a:pt x="727290" y="368731"/>
                      </a:lnTo>
                      <a:lnTo>
                        <a:pt x="727481" y="368731"/>
                      </a:lnTo>
                      <a:lnTo>
                        <a:pt x="728078" y="370001"/>
                      </a:lnTo>
                      <a:lnTo>
                        <a:pt x="728256" y="371271"/>
                      </a:lnTo>
                      <a:lnTo>
                        <a:pt x="728789" y="373811"/>
                      </a:lnTo>
                      <a:lnTo>
                        <a:pt x="729792" y="373811"/>
                      </a:lnTo>
                      <a:lnTo>
                        <a:pt x="729996" y="372541"/>
                      </a:lnTo>
                      <a:lnTo>
                        <a:pt x="730338" y="371271"/>
                      </a:lnTo>
                      <a:lnTo>
                        <a:pt x="730643" y="370001"/>
                      </a:lnTo>
                      <a:lnTo>
                        <a:pt x="731494" y="368731"/>
                      </a:lnTo>
                      <a:lnTo>
                        <a:pt x="732345" y="367461"/>
                      </a:lnTo>
                      <a:lnTo>
                        <a:pt x="731939" y="368731"/>
                      </a:lnTo>
                      <a:lnTo>
                        <a:pt x="731507" y="371271"/>
                      </a:lnTo>
                      <a:lnTo>
                        <a:pt x="730592" y="373811"/>
                      </a:lnTo>
                      <a:lnTo>
                        <a:pt x="732307" y="373811"/>
                      </a:lnTo>
                      <a:lnTo>
                        <a:pt x="733933" y="371182"/>
                      </a:lnTo>
                      <a:lnTo>
                        <a:pt x="734504" y="370001"/>
                      </a:lnTo>
                      <a:lnTo>
                        <a:pt x="734466" y="368731"/>
                      </a:lnTo>
                      <a:lnTo>
                        <a:pt x="734720" y="370001"/>
                      </a:lnTo>
                      <a:lnTo>
                        <a:pt x="734085" y="371271"/>
                      </a:lnTo>
                      <a:lnTo>
                        <a:pt x="733755" y="373811"/>
                      </a:lnTo>
                      <a:lnTo>
                        <a:pt x="733907" y="375081"/>
                      </a:lnTo>
                      <a:lnTo>
                        <a:pt x="737235" y="372541"/>
                      </a:lnTo>
                      <a:lnTo>
                        <a:pt x="738822" y="368731"/>
                      </a:lnTo>
                      <a:lnTo>
                        <a:pt x="739355" y="367461"/>
                      </a:lnTo>
                      <a:lnTo>
                        <a:pt x="740244" y="366191"/>
                      </a:lnTo>
                      <a:lnTo>
                        <a:pt x="742061" y="367461"/>
                      </a:lnTo>
                      <a:lnTo>
                        <a:pt x="744372" y="366191"/>
                      </a:lnTo>
                      <a:lnTo>
                        <a:pt x="744867" y="366191"/>
                      </a:lnTo>
                      <a:lnTo>
                        <a:pt x="743762" y="364921"/>
                      </a:lnTo>
                      <a:lnTo>
                        <a:pt x="748068" y="364921"/>
                      </a:lnTo>
                      <a:lnTo>
                        <a:pt x="748461" y="363651"/>
                      </a:lnTo>
                      <a:lnTo>
                        <a:pt x="747953" y="363651"/>
                      </a:lnTo>
                      <a:lnTo>
                        <a:pt x="747763" y="362381"/>
                      </a:lnTo>
                      <a:lnTo>
                        <a:pt x="752665" y="362381"/>
                      </a:lnTo>
                      <a:lnTo>
                        <a:pt x="753402" y="361111"/>
                      </a:lnTo>
                      <a:lnTo>
                        <a:pt x="755497" y="358571"/>
                      </a:lnTo>
                      <a:lnTo>
                        <a:pt x="755078" y="358571"/>
                      </a:lnTo>
                      <a:lnTo>
                        <a:pt x="755357" y="357301"/>
                      </a:lnTo>
                      <a:lnTo>
                        <a:pt x="755789" y="354761"/>
                      </a:lnTo>
                      <a:lnTo>
                        <a:pt x="756399" y="353491"/>
                      </a:lnTo>
                      <a:lnTo>
                        <a:pt x="756361" y="349681"/>
                      </a:lnTo>
                      <a:lnTo>
                        <a:pt x="756526" y="349681"/>
                      </a:lnTo>
                      <a:lnTo>
                        <a:pt x="758850" y="352221"/>
                      </a:lnTo>
                      <a:lnTo>
                        <a:pt x="760209" y="353491"/>
                      </a:lnTo>
                      <a:lnTo>
                        <a:pt x="760755" y="354761"/>
                      </a:lnTo>
                      <a:lnTo>
                        <a:pt x="760984" y="356031"/>
                      </a:lnTo>
                      <a:lnTo>
                        <a:pt x="761136" y="357301"/>
                      </a:lnTo>
                      <a:lnTo>
                        <a:pt x="761492" y="358571"/>
                      </a:lnTo>
                      <a:lnTo>
                        <a:pt x="761936" y="359841"/>
                      </a:lnTo>
                      <a:lnTo>
                        <a:pt x="762774" y="362381"/>
                      </a:lnTo>
                      <a:lnTo>
                        <a:pt x="763016" y="362381"/>
                      </a:lnTo>
                      <a:lnTo>
                        <a:pt x="763384" y="363651"/>
                      </a:lnTo>
                      <a:lnTo>
                        <a:pt x="763892" y="362381"/>
                      </a:lnTo>
                      <a:lnTo>
                        <a:pt x="766838" y="362381"/>
                      </a:lnTo>
                      <a:lnTo>
                        <a:pt x="766749" y="363651"/>
                      </a:lnTo>
                      <a:lnTo>
                        <a:pt x="766635" y="368731"/>
                      </a:lnTo>
                      <a:lnTo>
                        <a:pt x="766800" y="370001"/>
                      </a:lnTo>
                      <a:lnTo>
                        <a:pt x="768007" y="373811"/>
                      </a:lnTo>
                      <a:lnTo>
                        <a:pt x="768223" y="373811"/>
                      </a:lnTo>
                      <a:lnTo>
                        <a:pt x="768629" y="375081"/>
                      </a:lnTo>
                      <a:lnTo>
                        <a:pt x="769315" y="385241"/>
                      </a:lnTo>
                      <a:lnTo>
                        <a:pt x="769366" y="386511"/>
                      </a:lnTo>
                      <a:lnTo>
                        <a:pt x="769543" y="386511"/>
                      </a:lnTo>
                      <a:lnTo>
                        <a:pt x="770470" y="387781"/>
                      </a:lnTo>
                      <a:lnTo>
                        <a:pt x="771677" y="389051"/>
                      </a:lnTo>
                      <a:lnTo>
                        <a:pt x="772591" y="390321"/>
                      </a:lnTo>
                      <a:lnTo>
                        <a:pt x="772248" y="390321"/>
                      </a:lnTo>
                      <a:lnTo>
                        <a:pt x="772464" y="394131"/>
                      </a:lnTo>
                      <a:lnTo>
                        <a:pt x="772833" y="396671"/>
                      </a:lnTo>
                      <a:lnTo>
                        <a:pt x="773049" y="399211"/>
                      </a:lnTo>
                      <a:lnTo>
                        <a:pt x="773836" y="403021"/>
                      </a:lnTo>
                      <a:lnTo>
                        <a:pt x="774217" y="405561"/>
                      </a:lnTo>
                      <a:lnTo>
                        <a:pt x="774369" y="406831"/>
                      </a:lnTo>
                      <a:lnTo>
                        <a:pt x="774788" y="406831"/>
                      </a:lnTo>
                      <a:lnTo>
                        <a:pt x="774547" y="405561"/>
                      </a:lnTo>
                      <a:lnTo>
                        <a:pt x="774839" y="405561"/>
                      </a:lnTo>
                      <a:lnTo>
                        <a:pt x="775144" y="403021"/>
                      </a:lnTo>
                      <a:lnTo>
                        <a:pt x="774941" y="400481"/>
                      </a:lnTo>
                      <a:lnTo>
                        <a:pt x="774877" y="399211"/>
                      </a:lnTo>
                      <a:lnTo>
                        <a:pt x="775614" y="399211"/>
                      </a:lnTo>
                      <a:lnTo>
                        <a:pt x="776300" y="400481"/>
                      </a:lnTo>
                      <a:lnTo>
                        <a:pt x="777443" y="404291"/>
                      </a:lnTo>
                      <a:lnTo>
                        <a:pt x="777913" y="405561"/>
                      </a:lnTo>
                      <a:lnTo>
                        <a:pt x="778967" y="409371"/>
                      </a:lnTo>
                      <a:lnTo>
                        <a:pt x="779322" y="409371"/>
                      </a:lnTo>
                      <a:lnTo>
                        <a:pt x="781837" y="415721"/>
                      </a:lnTo>
                      <a:lnTo>
                        <a:pt x="782231" y="416991"/>
                      </a:lnTo>
                      <a:lnTo>
                        <a:pt x="782231" y="418261"/>
                      </a:lnTo>
                      <a:lnTo>
                        <a:pt x="781723" y="420801"/>
                      </a:lnTo>
                      <a:lnTo>
                        <a:pt x="780884" y="422071"/>
                      </a:lnTo>
                      <a:lnTo>
                        <a:pt x="781113" y="424611"/>
                      </a:lnTo>
                      <a:lnTo>
                        <a:pt x="781291" y="424611"/>
                      </a:lnTo>
                      <a:lnTo>
                        <a:pt x="782027" y="425881"/>
                      </a:lnTo>
                      <a:lnTo>
                        <a:pt x="781545" y="427151"/>
                      </a:lnTo>
                      <a:lnTo>
                        <a:pt x="781545" y="428421"/>
                      </a:lnTo>
                      <a:lnTo>
                        <a:pt x="781786" y="429691"/>
                      </a:lnTo>
                      <a:lnTo>
                        <a:pt x="780961" y="428421"/>
                      </a:lnTo>
                      <a:lnTo>
                        <a:pt x="779119" y="428421"/>
                      </a:lnTo>
                      <a:lnTo>
                        <a:pt x="778967" y="427151"/>
                      </a:lnTo>
                      <a:lnTo>
                        <a:pt x="778624" y="428421"/>
                      </a:lnTo>
                      <a:lnTo>
                        <a:pt x="778725" y="430961"/>
                      </a:lnTo>
                      <a:lnTo>
                        <a:pt x="780161" y="429691"/>
                      </a:lnTo>
                      <a:lnTo>
                        <a:pt x="780656" y="429691"/>
                      </a:lnTo>
                      <a:lnTo>
                        <a:pt x="780542" y="430961"/>
                      </a:lnTo>
                      <a:lnTo>
                        <a:pt x="780669" y="432231"/>
                      </a:lnTo>
                      <a:lnTo>
                        <a:pt x="782383" y="433501"/>
                      </a:lnTo>
                      <a:lnTo>
                        <a:pt x="782967" y="432231"/>
                      </a:lnTo>
                      <a:lnTo>
                        <a:pt x="784047" y="430961"/>
                      </a:lnTo>
                      <a:lnTo>
                        <a:pt x="784682" y="432231"/>
                      </a:lnTo>
                      <a:lnTo>
                        <a:pt x="795235" y="432231"/>
                      </a:lnTo>
                      <a:lnTo>
                        <a:pt x="795921" y="430961"/>
                      </a:lnTo>
                      <a:lnTo>
                        <a:pt x="795223" y="430961"/>
                      </a:lnTo>
                      <a:lnTo>
                        <a:pt x="794880" y="427151"/>
                      </a:lnTo>
                      <a:lnTo>
                        <a:pt x="794766" y="425881"/>
                      </a:lnTo>
                      <a:lnTo>
                        <a:pt x="793915" y="427151"/>
                      </a:lnTo>
                      <a:lnTo>
                        <a:pt x="793381" y="424611"/>
                      </a:lnTo>
                      <a:lnTo>
                        <a:pt x="793267" y="423341"/>
                      </a:lnTo>
                      <a:lnTo>
                        <a:pt x="792683" y="419531"/>
                      </a:lnTo>
                      <a:lnTo>
                        <a:pt x="790905" y="416991"/>
                      </a:lnTo>
                      <a:lnTo>
                        <a:pt x="789254" y="414451"/>
                      </a:lnTo>
                      <a:lnTo>
                        <a:pt x="788250" y="414451"/>
                      </a:lnTo>
                      <a:lnTo>
                        <a:pt x="788365" y="413181"/>
                      </a:lnTo>
                      <a:lnTo>
                        <a:pt x="789101" y="411911"/>
                      </a:lnTo>
                      <a:lnTo>
                        <a:pt x="789736" y="410641"/>
                      </a:lnTo>
                      <a:lnTo>
                        <a:pt x="789470" y="410641"/>
                      </a:lnTo>
                      <a:lnTo>
                        <a:pt x="789343" y="408101"/>
                      </a:lnTo>
                      <a:lnTo>
                        <a:pt x="789762" y="404291"/>
                      </a:lnTo>
                      <a:lnTo>
                        <a:pt x="789012" y="403021"/>
                      </a:lnTo>
                      <a:lnTo>
                        <a:pt x="788581" y="403021"/>
                      </a:lnTo>
                      <a:lnTo>
                        <a:pt x="787476" y="401751"/>
                      </a:lnTo>
                      <a:lnTo>
                        <a:pt x="786688" y="400481"/>
                      </a:lnTo>
                      <a:lnTo>
                        <a:pt x="785698" y="399211"/>
                      </a:lnTo>
                      <a:lnTo>
                        <a:pt x="781697" y="394131"/>
                      </a:lnTo>
                      <a:lnTo>
                        <a:pt x="778649" y="391591"/>
                      </a:lnTo>
                      <a:lnTo>
                        <a:pt x="775754" y="385241"/>
                      </a:lnTo>
                      <a:lnTo>
                        <a:pt x="775462" y="385241"/>
                      </a:lnTo>
                      <a:lnTo>
                        <a:pt x="775449" y="381431"/>
                      </a:lnTo>
                      <a:lnTo>
                        <a:pt x="777697" y="381431"/>
                      </a:lnTo>
                      <a:lnTo>
                        <a:pt x="779487" y="380161"/>
                      </a:lnTo>
                      <a:lnTo>
                        <a:pt x="780732" y="380161"/>
                      </a:lnTo>
                      <a:lnTo>
                        <a:pt x="780846" y="378891"/>
                      </a:lnTo>
                      <a:lnTo>
                        <a:pt x="780707" y="373811"/>
                      </a:lnTo>
                      <a:lnTo>
                        <a:pt x="780656" y="368731"/>
                      </a:lnTo>
                      <a:lnTo>
                        <a:pt x="783005" y="370001"/>
                      </a:lnTo>
                      <a:lnTo>
                        <a:pt x="784237" y="368731"/>
                      </a:lnTo>
                      <a:lnTo>
                        <a:pt x="784377" y="368731"/>
                      </a:lnTo>
                      <a:lnTo>
                        <a:pt x="784580" y="367461"/>
                      </a:lnTo>
                      <a:lnTo>
                        <a:pt x="785025" y="367461"/>
                      </a:lnTo>
                      <a:lnTo>
                        <a:pt x="785215" y="366191"/>
                      </a:lnTo>
                      <a:lnTo>
                        <a:pt x="785380" y="366191"/>
                      </a:lnTo>
                      <a:lnTo>
                        <a:pt x="785406" y="364921"/>
                      </a:lnTo>
                      <a:lnTo>
                        <a:pt x="785139" y="363651"/>
                      </a:lnTo>
                      <a:lnTo>
                        <a:pt x="784631" y="363651"/>
                      </a:lnTo>
                      <a:lnTo>
                        <a:pt x="784009" y="364921"/>
                      </a:lnTo>
                      <a:lnTo>
                        <a:pt x="783158" y="364921"/>
                      </a:lnTo>
                      <a:lnTo>
                        <a:pt x="782586" y="366191"/>
                      </a:lnTo>
                      <a:lnTo>
                        <a:pt x="782281" y="366191"/>
                      </a:lnTo>
                      <a:lnTo>
                        <a:pt x="782066" y="364921"/>
                      </a:lnTo>
                      <a:lnTo>
                        <a:pt x="781507" y="362381"/>
                      </a:lnTo>
                      <a:lnTo>
                        <a:pt x="780580" y="358571"/>
                      </a:lnTo>
                      <a:lnTo>
                        <a:pt x="780275" y="358571"/>
                      </a:lnTo>
                      <a:lnTo>
                        <a:pt x="779818" y="357301"/>
                      </a:lnTo>
                      <a:lnTo>
                        <a:pt x="779157" y="356031"/>
                      </a:lnTo>
                      <a:lnTo>
                        <a:pt x="778814" y="354761"/>
                      </a:lnTo>
                      <a:lnTo>
                        <a:pt x="777087" y="354761"/>
                      </a:lnTo>
                      <a:lnTo>
                        <a:pt x="776465" y="353491"/>
                      </a:lnTo>
                      <a:lnTo>
                        <a:pt x="774217" y="350951"/>
                      </a:lnTo>
                      <a:lnTo>
                        <a:pt x="773137" y="349681"/>
                      </a:lnTo>
                      <a:lnTo>
                        <a:pt x="771474" y="347141"/>
                      </a:lnTo>
                      <a:lnTo>
                        <a:pt x="769785" y="345871"/>
                      </a:lnTo>
                      <a:lnTo>
                        <a:pt x="768045" y="343331"/>
                      </a:lnTo>
                      <a:lnTo>
                        <a:pt x="767740" y="343331"/>
                      </a:lnTo>
                      <a:lnTo>
                        <a:pt x="768705" y="342061"/>
                      </a:lnTo>
                      <a:lnTo>
                        <a:pt x="768705" y="340791"/>
                      </a:lnTo>
                      <a:lnTo>
                        <a:pt x="768337" y="340791"/>
                      </a:lnTo>
                      <a:lnTo>
                        <a:pt x="767854" y="339521"/>
                      </a:lnTo>
                      <a:lnTo>
                        <a:pt x="767549" y="338251"/>
                      </a:lnTo>
                      <a:lnTo>
                        <a:pt x="767486" y="336981"/>
                      </a:lnTo>
                      <a:lnTo>
                        <a:pt x="765962" y="336981"/>
                      </a:lnTo>
                      <a:lnTo>
                        <a:pt x="764540" y="335711"/>
                      </a:lnTo>
                      <a:lnTo>
                        <a:pt x="764070" y="334441"/>
                      </a:lnTo>
                      <a:lnTo>
                        <a:pt x="763270" y="333171"/>
                      </a:lnTo>
                      <a:lnTo>
                        <a:pt x="767016" y="333171"/>
                      </a:lnTo>
                      <a:lnTo>
                        <a:pt x="768299" y="331901"/>
                      </a:lnTo>
                      <a:lnTo>
                        <a:pt x="769188" y="331901"/>
                      </a:lnTo>
                      <a:lnTo>
                        <a:pt x="769150" y="330631"/>
                      </a:lnTo>
                      <a:lnTo>
                        <a:pt x="768934" y="329361"/>
                      </a:lnTo>
                      <a:lnTo>
                        <a:pt x="768692" y="328091"/>
                      </a:lnTo>
                      <a:lnTo>
                        <a:pt x="768807" y="326821"/>
                      </a:lnTo>
                      <a:lnTo>
                        <a:pt x="770026" y="323011"/>
                      </a:lnTo>
                      <a:lnTo>
                        <a:pt x="770166" y="321741"/>
                      </a:lnTo>
                      <a:lnTo>
                        <a:pt x="770356" y="317931"/>
                      </a:lnTo>
                      <a:lnTo>
                        <a:pt x="770509" y="317931"/>
                      </a:lnTo>
                      <a:lnTo>
                        <a:pt x="772566" y="315391"/>
                      </a:lnTo>
                      <a:lnTo>
                        <a:pt x="772744" y="314121"/>
                      </a:lnTo>
                      <a:lnTo>
                        <a:pt x="774357" y="314121"/>
                      </a:lnTo>
                      <a:lnTo>
                        <a:pt x="774649" y="315391"/>
                      </a:lnTo>
                      <a:lnTo>
                        <a:pt x="785139" y="315391"/>
                      </a:lnTo>
                      <a:lnTo>
                        <a:pt x="785761" y="314121"/>
                      </a:lnTo>
                      <a:lnTo>
                        <a:pt x="786892" y="314121"/>
                      </a:lnTo>
                      <a:lnTo>
                        <a:pt x="787031" y="312851"/>
                      </a:lnTo>
                      <a:lnTo>
                        <a:pt x="787387" y="312851"/>
                      </a:lnTo>
                      <a:lnTo>
                        <a:pt x="787831" y="311581"/>
                      </a:lnTo>
                      <a:lnTo>
                        <a:pt x="788543" y="310311"/>
                      </a:lnTo>
                      <a:lnTo>
                        <a:pt x="788835" y="309041"/>
                      </a:lnTo>
                      <a:lnTo>
                        <a:pt x="793991" y="309041"/>
                      </a:lnTo>
                      <a:lnTo>
                        <a:pt x="793203" y="306501"/>
                      </a:lnTo>
                      <a:lnTo>
                        <a:pt x="793115" y="305231"/>
                      </a:lnTo>
                      <a:lnTo>
                        <a:pt x="793953" y="306501"/>
                      </a:lnTo>
                      <a:lnTo>
                        <a:pt x="796302" y="306501"/>
                      </a:lnTo>
                      <a:lnTo>
                        <a:pt x="797255" y="305231"/>
                      </a:lnTo>
                      <a:lnTo>
                        <a:pt x="797890" y="305231"/>
                      </a:lnTo>
                      <a:lnTo>
                        <a:pt x="800531" y="303961"/>
                      </a:lnTo>
                      <a:lnTo>
                        <a:pt x="801941" y="305231"/>
                      </a:lnTo>
                      <a:lnTo>
                        <a:pt x="802119" y="306501"/>
                      </a:lnTo>
                      <a:lnTo>
                        <a:pt x="802728" y="306501"/>
                      </a:lnTo>
                      <a:lnTo>
                        <a:pt x="802640" y="305231"/>
                      </a:lnTo>
                      <a:lnTo>
                        <a:pt x="802982" y="303961"/>
                      </a:lnTo>
                      <a:lnTo>
                        <a:pt x="803325" y="302691"/>
                      </a:lnTo>
                      <a:lnTo>
                        <a:pt x="803998" y="300151"/>
                      </a:lnTo>
                      <a:lnTo>
                        <a:pt x="805599" y="300151"/>
                      </a:lnTo>
                      <a:lnTo>
                        <a:pt x="806450" y="298881"/>
                      </a:lnTo>
                      <a:lnTo>
                        <a:pt x="809548" y="298881"/>
                      </a:lnTo>
                      <a:lnTo>
                        <a:pt x="809002" y="297611"/>
                      </a:lnTo>
                      <a:lnTo>
                        <a:pt x="808951" y="296341"/>
                      </a:lnTo>
                      <a:lnTo>
                        <a:pt x="809231" y="296341"/>
                      </a:lnTo>
                      <a:lnTo>
                        <a:pt x="809282" y="295071"/>
                      </a:lnTo>
                      <a:lnTo>
                        <a:pt x="810387" y="293801"/>
                      </a:lnTo>
                      <a:lnTo>
                        <a:pt x="810882" y="292531"/>
                      </a:lnTo>
                      <a:lnTo>
                        <a:pt x="811237" y="292531"/>
                      </a:lnTo>
                      <a:lnTo>
                        <a:pt x="811999" y="291261"/>
                      </a:lnTo>
                      <a:lnTo>
                        <a:pt x="813358" y="289991"/>
                      </a:lnTo>
                      <a:lnTo>
                        <a:pt x="815124" y="288721"/>
                      </a:lnTo>
                      <a:lnTo>
                        <a:pt x="816610" y="288721"/>
                      </a:lnTo>
                      <a:lnTo>
                        <a:pt x="817359" y="287451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612" name="object 152">
                  <a:extLst>
                    <a:ext uri="{FF2B5EF4-FFF2-40B4-BE49-F238E27FC236}">
                      <a16:creationId xmlns:a16="http://schemas.microsoft.com/office/drawing/2014/main" id="{06B4A76A-E7DA-2E02-AC3F-FFB8FB2AAB94}"/>
                    </a:ext>
                  </a:extLst>
                </p:cNvPr>
                <p:cNvPicPr/>
                <p:nvPr/>
              </p:nvPicPr>
              <p:blipFill>
                <a:blip r:embed="rId21" cstate="print"/>
                <a:stretch>
                  <a:fillRect/>
                </a:stretch>
              </p:blipFill>
              <p:spPr>
                <a:xfrm>
                  <a:off x="3613185" y="2324923"/>
                  <a:ext cx="242620" cy="208279"/>
                </a:xfrm>
                <a:prstGeom prst="rect">
                  <a:avLst/>
                </a:prstGeom>
              </p:spPr>
            </p:pic>
            <p:sp>
              <p:nvSpPr>
                <p:cNvPr id="613" name="object 153">
                  <a:extLst>
                    <a:ext uri="{FF2B5EF4-FFF2-40B4-BE49-F238E27FC236}">
                      <a16:creationId xmlns:a16="http://schemas.microsoft.com/office/drawing/2014/main" id="{D3F67532-D283-B48A-DCEF-3A1019FD8FE9}"/>
                    </a:ext>
                  </a:extLst>
                </p:cNvPr>
                <p:cNvSpPr/>
                <p:nvPr/>
              </p:nvSpPr>
              <p:spPr>
                <a:xfrm>
                  <a:off x="3795852" y="2030374"/>
                  <a:ext cx="878840" cy="5562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78839" h="556260">
                      <a:moveTo>
                        <a:pt x="572046" y="516890"/>
                      </a:moveTo>
                      <a:lnTo>
                        <a:pt x="572008" y="515620"/>
                      </a:lnTo>
                      <a:lnTo>
                        <a:pt x="571969" y="516890"/>
                      </a:lnTo>
                      <a:close/>
                    </a:path>
                    <a:path w="878839" h="556260">
                      <a:moveTo>
                        <a:pt x="599528" y="519010"/>
                      </a:moveTo>
                      <a:lnTo>
                        <a:pt x="599224" y="518820"/>
                      </a:lnTo>
                      <a:lnTo>
                        <a:pt x="599071" y="519430"/>
                      </a:lnTo>
                      <a:lnTo>
                        <a:pt x="599528" y="519010"/>
                      </a:lnTo>
                      <a:close/>
                    </a:path>
                    <a:path w="878839" h="556260">
                      <a:moveTo>
                        <a:pt x="600506" y="518160"/>
                      </a:moveTo>
                      <a:lnTo>
                        <a:pt x="599528" y="519010"/>
                      </a:lnTo>
                      <a:lnTo>
                        <a:pt x="600189" y="519430"/>
                      </a:lnTo>
                      <a:lnTo>
                        <a:pt x="600341" y="519430"/>
                      </a:lnTo>
                      <a:lnTo>
                        <a:pt x="600506" y="518160"/>
                      </a:lnTo>
                      <a:close/>
                    </a:path>
                    <a:path w="878839" h="556260">
                      <a:moveTo>
                        <a:pt x="619620" y="505409"/>
                      </a:moveTo>
                      <a:close/>
                    </a:path>
                    <a:path w="878839" h="556260">
                      <a:moveTo>
                        <a:pt x="658685" y="477520"/>
                      </a:moveTo>
                      <a:lnTo>
                        <a:pt x="657491" y="477520"/>
                      </a:lnTo>
                      <a:lnTo>
                        <a:pt x="657555" y="474980"/>
                      </a:lnTo>
                      <a:lnTo>
                        <a:pt x="655510" y="476161"/>
                      </a:lnTo>
                      <a:lnTo>
                        <a:pt x="657834" y="478790"/>
                      </a:lnTo>
                      <a:lnTo>
                        <a:pt x="658418" y="478790"/>
                      </a:lnTo>
                      <a:lnTo>
                        <a:pt x="658685" y="477520"/>
                      </a:lnTo>
                      <a:close/>
                    </a:path>
                    <a:path w="878839" h="556260">
                      <a:moveTo>
                        <a:pt x="662813" y="463550"/>
                      </a:moveTo>
                      <a:lnTo>
                        <a:pt x="661644" y="463550"/>
                      </a:lnTo>
                      <a:lnTo>
                        <a:pt x="661771" y="462280"/>
                      </a:lnTo>
                      <a:lnTo>
                        <a:pt x="660577" y="462280"/>
                      </a:lnTo>
                      <a:lnTo>
                        <a:pt x="660577" y="463550"/>
                      </a:lnTo>
                      <a:lnTo>
                        <a:pt x="659917" y="463550"/>
                      </a:lnTo>
                      <a:lnTo>
                        <a:pt x="660146" y="464667"/>
                      </a:lnTo>
                      <a:lnTo>
                        <a:pt x="662813" y="463550"/>
                      </a:lnTo>
                      <a:close/>
                    </a:path>
                    <a:path w="878839" h="556260">
                      <a:moveTo>
                        <a:pt x="666165" y="455930"/>
                      </a:moveTo>
                      <a:lnTo>
                        <a:pt x="664946" y="456247"/>
                      </a:lnTo>
                      <a:lnTo>
                        <a:pt x="664819" y="456755"/>
                      </a:lnTo>
                      <a:lnTo>
                        <a:pt x="666165" y="455930"/>
                      </a:lnTo>
                      <a:close/>
                    </a:path>
                    <a:path w="878839" h="556260">
                      <a:moveTo>
                        <a:pt x="666318" y="457200"/>
                      </a:moveTo>
                      <a:lnTo>
                        <a:pt x="664705" y="457200"/>
                      </a:lnTo>
                      <a:lnTo>
                        <a:pt x="664819" y="456755"/>
                      </a:lnTo>
                      <a:lnTo>
                        <a:pt x="664083" y="457200"/>
                      </a:lnTo>
                      <a:lnTo>
                        <a:pt x="664311" y="458470"/>
                      </a:lnTo>
                      <a:lnTo>
                        <a:pt x="665238" y="458470"/>
                      </a:lnTo>
                      <a:lnTo>
                        <a:pt x="666318" y="457200"/>
                      </a:lnTo>
                      <a:close/>
                    </a:path>
                    <a:path w="878839" h="556260">
                      <a:moveTo>
                        <a:pt x="688454" y="387350"/>
                      </a:moveTo>
                      <a:close/>
                    </a:path>
                    <a:path w="878839" h="556260">
                      <a:moveTo>
                        <a:pt x="756145" y="330847"/>
                      </a:moveTo>
                      <a:lnTo>
                        <a:pt x="755573" y="330733"/>
                      </a:lnTo>
                      <a:lnTo>
                        <a:pt x="754964" y="331152"/>
                      </a:lnTo>
                      <a:lnTo>
                        <a:pt x="756145" y="330847"/>
                      </a:lnTo>
                      <a:close/>
                    </a:path>
                    <a:path w="878839" h="556260">
                      <a:moveTo>
                        <a:pt x="756462" y="330911"/>
                      </a:moveTo>
                      <a:lnTo>
                        <a:pt x="756335" y="330796"/>
                      </a:lnTo>
                      <a:lnTo>
                        <a:pt x="756145" y="330847"/>
                      </a:lnTo>
                      <a:lnTo>
                        <a:pt x="756462" y="330911"/>
                      </a:lnTo>
                      <a:close/>
                    </a:path>
                    <a:path w="878839" h="556260">
                      <a:moveTo>
                        <a:pt x="758990" y="280619"/>
                      </a:moveTo>
                      <a:lnTo>
                        <a:pt x="758748" y="281749"/>
                      </a:lnTo>
                      <a:lnTo>
                        <a:pt x="758990" y="280619"/>
                      </a:lnTo>
                      <a:close/>
                    </a:path>
                    <a:path w="878839" h="556260">
                      <a:moveTo>
                        <a:pt x="791260" y="280619"/>
                      </a:moveTo>
                      <a:lnTo>
                        <a:pt x="788835" y="276415"/>
                      </a:lnTo>
                      <a:lnTo>
                        <a:pt x="787031" y="273354"/>
                      </a:lnTo>
                      <a:lnTo>
                        <a:pt x="784161" y="268465"/>
                      </a:lnTo>
                      <a:lnTo>
                        <a:pt x="784212" y="268249"/>
                      </a:lnTo>
                      <a:lnTo>
                        <a:pt x="784339" y="267982"/>
                      </a:lnTo>
                      <a:lnTo>
                        <a:pt x="784529" y="266877"/>
                      </a:lnTo>
                      <a:lnTo>
                        <a:pt x="784580" y="266611"/>
                      </a:lnTo>
                      <a:lnTo>
                        <a:pt x="783450" y="266877"/>
                      </a:lnTo>
                      <a:lnTo>
                        <a:pt x="783323" y="267296"/>
                      </a:lnTo>
                      <a:lnTo>
                        <a:pt x="783297" y="267462"/>
                      </a:lnTo>
                      <a:lnTo>
                        <a:pt x="783069" y="267944"/>
                      </a:lnTo>
                      <a:lnTo>
                        <a:pt x="782980" y="268300"/>
                      </a:lnTo>
                      <a:lnTo>
                        <a:pt x="782561" y="268808"/>
                      </a:lnTo>
                      <a:lnTo>
                        <a:pt x="781685" y="270027"/>
                      </a:lnTo>
                      <a:lnTo>
                        <a:pt x="781202" y="270548"/>
                      </a:lnTo>
                      <a:lnTo>
                        <a:pt x="780745" y="271005"/>
                      </a:lnTo>
                      <a:lnTo>
                        <a:pt x="780199" y="271665"/>
                      </a:lnTo>
                      <a:lnTo>
                        <a:pt x="778738" y="272389"/>
                      </a:lnTo>
                      <a:lnTo>
                        <a:pt x="767905" y="273354"/>
                      </a:lnTo>
                      <a:lnTo>
                        <a:pt x="765670" y="273113"/>
                      </a:lnTo>
                      <a:lnTo>
                        <a:pt x="763549" y="274091"/>
                      </a:lnTo>
                      <a:lnTo>
                        <a:pt x="763054" y="275221"/>
                      </a:lnTo>
                      <a:lnTo>
                        <a:pt x="762355" y="276161"/>
                      </a:lnTo>
                      <a:lnTo>
                        <a:pt x="761669" y="277152"/>
                      </a:lnTo>
                      <a:lnTo>
                        <a:pt x="759917" y="278803"/>
                      </a:lnTo>
                      <a:lnTo>
                        <a:pt x="759523" y="280047"/>
                      </a:lnTo>
                      <a:lnTo>
                        <a:pt x="759358" y="280162"/>
                      </a:lnTo>
                      <a:lnTo>
                        <a:pt x="759129" y="280619"/>
                      </a:lnTo>
                      <a:lnTo>
                        <a:pt x="791260" y="280619"/>
                      </a:lnTo>
                      <a:close/>
                    </a:path>
                    <a:path w="878839" h="556260">
                      <a:moveTo>
                        <a:pt x="800608" y="309232"/>
                      </a:moveTo>
                      <a:lnTo>
                        <a:pt x="799680" y="309448"/>
                      </a:lnTo>
                      <a:lnTo>
                        <a:pt x="798969" y="309676"/>
                      </a:lnTo>
                      <a:lnTo>
                        <a:pt x="798068" y="309664"/>
                      </a:lnTo>
                      <a:lnTo>
                        <a:pt x="798690" y="304012"/>
                      </a:lnTo>
                      <a:lnTo>
                        <a:pt x="798004" y="297903"/>
                      </a:lnTo>
                      <a:lnTo>
                        <a:pt x="797864" y="294957"/>
                      </a:lnTo>
                      <a:lnTo>
                        <a:pt x="797699" y="291299"/>
                      </a:lnTo>
                      <a:lnTo>
                        <a:pt x="797674" y="290880"/>
                      </a:lnTo>
                      <a:lnTo>
                        <a:pt x="796620" y="289725"/>
                      </a:lnTo>
                      <a:lnTo>
                        <a:pt x="796493" y="289560"/>
                      </a:lnTo>
                      <a:lnTo>
                        <a:pt x="794359" y="285864"/>
                      </a:lnTo>
                      <a:lnTo>
                        <a:pt x="793038" y="283629"/>
                      </a:lnTo>
                      <a:lnTo>
                        <a:pt x="791819" y="281559"/>
                      </a:lnTo>
                      <a:lnTo>
                        <a:pt x="791273" y="280644"/>
                      </a:lnTo>
                      <a:lnTo>
                        <a:pt x="759129" y="280644"/>
                      </a:lnTo>
                      <a:lnTo>
                        <a:pt x="758990" y="280644"/>
                      </a:lnTo>
                      <a:lnTo>
                        <a:pt x="758774" y="281749"/>
                      </a:lnTo>
                      <a:lnTo>
                        <a:pt x="758939" y="281774"/>
                      </a:lnTo>
                      <a:lnTo>
                        <a:pt x="759256" y="281774"/>
                      </a:lnTo>
                      <a:lnTo>
                        <a:pt x="759574" y="281559"/>
                      </a:lnTo>
                      <a:lnTo>
                        <a:pt x="759790" y="282321"/>
                      </a:lnTo>
                      <a:lnTo>
                        <a:pt x="760056" y="282994"/>
                      </a:lnTo>
                      <a:lnTo>
                        <a:pt x="760082" y="283629"/>
                      </a:lnTo>
                      <a:lnTo>
                        <a:pt x="759040" y="283375"/>
                      </a:lnTo>
                      <a:lnTo>
                        <a:pt x="757542" y="280466"/>
                      </a:lnTo>
                      <a:lnTo>
                        <a:pt x="757224" y="282321"/>
                      </a:lnTo>
                      <a:lnTo>
                        <a:pt x="757034" y="283273"/>
                      </a:lnTo>
                      <a:lnTo>
                        <a:pt x="758012" y="283946"/>
                      </a:lnTo>
                      <a:lnTo>
                        <a:pt x="758583" y="284454"/>
                      </a:lnTo>
                      <a:lnTo>
                        <a:pt x="759510" y="285203"/>
                      </a:lnTo>
                      <a:lnTo>
                        <a:pt x="759587" y="286702"/>
                      </a:lnTo>
                      <a:lnTo>
                        <a:pt x="760158" y="287680"/>
                      </a:lnTo>
                      <a:lnTo>
                        <a:pt x="760666" y="288417"/>
                      </a:lnTo>
                      <a:lnTo>
                        <a:pt x="761390" y="288937"/>
                      </a:lnTo>
                      <a:lnTo>
                        <a:pt x="761784" y="289725"/>
                      </a:lnTo>
                      <a:lnTo>
                        <a:pt x="761352" y="289560"/>
                      </a:lnTo>
                      <a:lnTo>
                        <a:pt x="759117" y="291172"/>
                      </a:lnTo>
                      <a:lnTo>
                        <a:pt x="759269" y="291680"/>
                      </a:lnTo>
                      <a:lnTo>
                        <a:pt x="759320" y="291909"/>
                      </a:lnTo>
                      <a:lnTo>
                        <a:pt x="761428" y="291299"/>
                      </a:lnTo>
                      <a:lnTo>
                        <a:pt x="761936" y="291680"/>
                      </a:lnTo>
                      <a:lnTo>
                        <a:pt x="760818" y="292696"/>
                      </a:lnTo>
                      <a:lnTo>
                        <a:pt x="760501" y="293344"/>
                      </a:lnTo>
                      <a:lnTo>
                        <a:pt x="760933" y="293395"/>
                      </a:lnTo>
                      <a:lnTo>
                        <a:pt x="761352" y="293738"/>
                      </a:lnTo>
                      <a:lnTo>
                        <a:pt x="761822" y="293751"/>
                      </a:lnTo>
                      <a:lnTo>
                        <a:pt x="761034" y="294551"/>
                      </a:lnTo>
                      <a:lnTo>
                        <a:pt x="760971" y="294817"/>
                      </a:lnTo>
                      <a:lnTo>
                        <a:pt x="761796" y="294982"/>
                      </a:lnTo>
                      <a:lnTo>
                        <a:pt x="763016" y="295148"/>
                      </a:lnTo>
                      <a:lnTo>
                        <a:pt x="763866" y="295211"/>
                      </a:lnTo>
                      <a:lnTo>
                        <a:pt x="762317" y="296087"/>
                      </a:lnTo>
                      <a:lnTo>
                        <a:pt x="761860" y="296164"/>
                      </a:lnTo>
                      <a:lnTo>
                        <a:pt x="761466" y="297903"/>
                      </a:lnTo>
                      <a:lnTo>
                        <a:pt x="761453" y="297700"/>
                      </a:lnTo>
                      <a:lnTo>
                        <a:pt x="761453" y="297535"/>
                      </a:lnTo>
                      <a:lnTo>
                        <a:pt x="761568" y="296367"/>
                      </a:lnTo>
                      <a:lnTo>
                        <a:pt x="761669" y="295846"/>
                      </a:lnTo>
                      <a:lnTo>
                        <a:pt x="761784" y="295148"/>
                      </a:lnTo>
                      <a:lnTo>
                        <a:pt x="761796" y="294982"/>
                      </a:lnTo>
                      <a:lnTo>
                        <a:pt x="760857" y="295846"/>
                      </a:lnTo>
                      <a:lnTo>
                        <a:pt x="760895" y="295503"/>
                      </a:lnTo>
                      <a:lnTo>
                        <a:pt x="760945" y="295021"/>
                      </a:lnTo>
                      <a:lnTo>
                        <a:pt x="760971" y="294868"/>
                      </a:lnTo>
                      <a:lnTo>
                        <a:pt x="760895" y="294690"/>
                      </a:lnTo>
                      <a:lnTo>
                        <a:pt x="760768" y="294817"/>
                      </a:lnTo>
                      <a:lnTo>
                        <a:pt x="760793" y="294551"/>
                      </a:lnTo>
                      <a:lnTo>
                        <a:pt x="760590" y="294246"/>
                      </a:lnTo>
                      <a:lnTo>
                        <a:pt x="759891" y="295021"/>
                      </a:lnTo>
                      <a:lnTo>
                        <a:pt x="759815" y="294678"/>
                      </a:lnTo>
                      <a:lnTo>
                        <a:pt x="759625" y="294551"/>
                      </a:lnTo>
                      <a:lnTo>
                        <a:pt x="759510" y="294259"/>
                      </a:lnTo>
                      <a:lnTo>
                        <a:pt x="759269" y="294690"/>
                      </a:lnTo>
                      <a:lnTo>
                        <a:pt x="758812" y="295097"/>
                      </a:lnTo>
                      <a:lnTo>
                        <a:pt x="758659" y="295503"/>
                      </a:lnTo>
                      <a:lnTo>
                        <a:pt x="758571" y="294817"/>
                      </a:lnTo>
                      <a:lnTo>
                        <a:pt x="758228" y="294132"/>
                      </a:lnTo>
                      <a:lnTo>
                        <a:pt x="756081" y="292531"/>
                      </a:lnTo>
                      <a:lnTo>
                        <a:pt x="756539" y="294906"/>
                      </a:lnTo>
                      <a:lnTo>
                        <a:pt x="756234" y="296367"/>
                      </a:lnTo>
                      <a:lnTo>
                        <a:pt x="756107" y="294919"/>
                      </a:lnTo>
                      <a:lnTo>
                        <a:pt x="755916" y="293992"/>
                      </a:lnTo>
                      <a:lnTo>
                        <a:pt x="753719" y="293954"/>
                      </a:lnTo>
                      <a:lnTo>
                        <a:pt x="754253" y="295846"/>
                      </a:lnTo>
                      <a:lnTo>
                        <a:pt x="754354" y="296710"/>
                      </a:lnTo>
                      <a:lnTo>
                        <a:pt x="753719" y="297535"/>
                      </a:lnTo>
                      <a:lnTo>
                        <a:pt x="753656" y="297205"/>
                      </a:lnTo>
                      <a:lnTo>
                        <a:pt x="753618" y="297040"/>
                      </a:lnTo>
                      <a:lnTo>
                        <a:pt x="753656" y="296367"/>
                      </a:lnTo>
                      <a:lnTo>
                        <a:pt x="753973" y="295719"/>
                      </a:lnTo>
                      <a:lnTo>
                        <a:pt x="753846" y="294868"/>
                      </a:lnTo>
                      <a:lnTo>
                        <a:pt x="753795" y="294678"/>
                      </a:lnTo>
                      <a:lnTo>
                        <a:pt x="753224" y="297040"/>
                      </a:lnTo>
                      <a:lnTo>
                        <a:pt x="752182" y="294919"/>
                      </a:lnTo>
                      <a:lnTo>
                        <a:pt x="751992" y="297205"/>
                      </a:lnTo>
                      <a:lnTo>
                        <a:pt x="751916" y="296811"/>
                      </a:lnTo>
                      <a:lnTo>
                        <a:pt x="751713" y="296976"/>
                      </a:lnTo>
                      <a:lnTo>
                        <a:pt x="751560" y="297840"/>
                      </a:lnTo>
                      <a:lnTo>
                        <a:pt x="753071" y="298627"/>
                      </a:lnTo>
                      <a:lnTo>
                        <a:pt x="754761" y="298005"/>
                      </a:lnTo>
                      <a:lnTo>
                        <a:pt x="755840" y="299148"/>
                      </a:lnTo>
                      <a:lnTo>
                        <a:pt x="756056" y="298005"/>
                      </a:lnTo>
                      <a:lnTo>
                        <a:pt x="756107" y="297700"/>
                      </a:lnTo>
                      <a:lnTo>
                        <a:pt x="756488" y="298627"/>
                      </a:lnTo>
                      <a:lnTo>
                        <a:pt x="756526" y="299148"/>
                      </a:lnTo>
                      <a:lnTo>
                        <a:pt x="756196" y="301282"/>
                      </a:lnTo>
                      <a:lnTo>
                        <a:pt x="756386" y="302272"/>
                      </a:lnTo>
                      <a:lnTo>
                        <a:pt x="757110" y="304571"/>
                      </a:lnTo>
                      <a:lnTo>
                        <a:pt x="758037" y="307682"/>
                      </a:lnTo>
                      <a:lnTo>
                        <a:pt x="756691" y="308279"/>
                      </a:lnTo>
                      <a:lnTo>
                        <a:pt x="758393" y="308851"/>
                      </a:lnTo>
                      <a:lnTo>
                        <a:pt x="760234" y="309092"/>
                      </a:lnTo>
                      <a:lnTo>
                        <a:pt x="761974" y="309448"/>
                      </a:lnTo>
                      <a:lnTo>
                        <a:pt x="761390" y="309803"/>
                      </a:lnTo>
                      <a:lnTo>
                        <a:pt x="758469" y="311023"/>
                      </a:lnTo>
                      <a:lnTo>
                        <a:pt x="758266" y="312470"/>
                      </a:lnTo>
                      <a:lnTo>
                        <a:pt x="758812" y="312077"/>
                      </a:lnTo>
                      <a:lnTo>
                        <a:pt x="760425" y="314058"/>
                      </a:lnTo>
                      <a:lnTo>
                        <a:pt x="760704" y="314312"/>
                      </a:lnTo>
                      <a:lnTo>
                        <a:pt x="759815" y="313893"/>
                      </a:lnTo>
                      <a:lnTo>
                        <a:pt x="755954" y="316204"/>
                      </a:lnTo>
                      <a:lnTo>
                        <a:pt x="756691" y="317500"/>
                      </a:lnTo>
                      <a:lnTo>
                        <a:pt x="758431" y="317246"/>
                      </a:lnTo>
                      <a:lnTo>
                        <a:pt x="759040" y="317830"/>
                      </a:lnTo>
                      <a:lnTo>
                        <a:pt x="757186" y="318554"/>
                      </a:lnTo>
                      <a:lnTo>
                        <a:pt x="754684" y="320281"/>
                      </a:lnTo>
                      <a:lnTo>
                        <a:pt x="754100" y="323710"/>
                      </a:lnTo>
                      <a:lnTo>
                        <a:pt x="755192" y="324993"/>
                      </a:lnTo>
                      <a:lnTo>
                        <a:pt x="755281" y="325221"/>
                      </a:lnTo>
                      <a:lnTo>
                        <a:pt x="755573" y="326390"/>
                      </a:lnTo>
                      <a:lnTo>
                        <a:pt x="755230" y="325577"/>
                      </a:lnTo>
                      <a:lnTo>
                        <a:pt x="754227" y="325018"/>
                      </a:lnTo>
                      <a:lnTo>
                        <a:pt x="753186" y="325005"/>
                      </a:lnTo>
                      <a:lnTo>
                        <a:pt x="753643" y="326009"/>
                      </a:lnTo>
                      <a:lnTo>
                        <a:pt x="753706" y="326199"/>
                      </a:lnTo>
                      <a:lnTo>
                        <a:pt x="753948" y="327291"/>
                      </a:lnTo>
                      <a:lnTo>
                        <a:pt x="754964" y="330314"/>
                      </a:lnTo>
                      <a:lnTo>
                        <a:pt x="754761" y="329641"/>
                      </a:lnTo>
                      <a:lnTo>
                        <a:pt x="757072" y="330352"/>
                      </a:lnTo>
                      <a:lnTo>
                        <a:pt x="757288" y="329641"/>
                      </a:lnTo>
                      <a:lnTo>
                        <a:pt x="757504" y="328955"/>
                      </a:lnTo>
                      <a:lnTo>
                        <a:pt x="758710" y="329793"/>
                      </a:lnTo>
                      <a:lnTo>
                        <a:pt x="758723" y="329958"/>
                      </a:lnTo>
                      <a:lnTo>
                        <a:pt x="758393" y="330123"/>
                      </a:lnTo>
                      <a:lnTo>
                        <a:pt x="757428" y="329958"/>
                      </a:lnTo>
                      <a:lnTo>
                        <a:pt x="757148" y="331050"/>
                      </a:lnTo>
                      <a:lnTo>
                        <a:pt x="756462" y="330911"/>
                      </a:lnTo>
                      <a:lnTo>
                        <a:pt x="757504" y="331825"/>
                      </a:lnTo>
                      <a:lnTo>
                        <a:pt x="758317" y="332905"/>
                      </a:lnTo>
                      <a:lnTo>
                        <a:pt x="757770" y="332867"/>
                      </a:lnTo>
                      <a:lnTo>
                        <a:pt x="757504" y="332740"/>
                      </a:lnTo>
                      <a:lnTo>
                        <a:pt x="757034" y="332917"/>
                      </a:lnTo>
                      <a:lnTo>
                        <a:pt x="755954" y="333502"/>
                      </a:lnTo>
                      <a:lnTo>
                        <a:pt x="756107" y="333514"/>
                      </a:lnTo>
                      <a:lnTo>
                        <a:pt x="754964" y="333463"/>
                      </a:lnTo>
                      <a:lnTo>
                        <a:pt x="754900" y="333260"/>
                      </a:lnTo>
                      <a:lnTo>
                        <a:pt x="754570" y="332181"/>
                      </a:lnTo>
                      <a:lnTo>
                        <a:pt x="753414" y="332244"/>
                      </a:lnTo>
                      <a:lnTo>
                        <a:pt x="753491" y="333629"/>
                      </a:lnTo>
                      <a:lnTo>
                        <a:pt x="754303" y="333260"/>
                      </a:lnTo>
                      <a:lnTo>
                        <a:pt x="755764" y="334949"/>
                      </a:lnTo>
                      <a:lnTo>
                        <a:pt x="756386" y="336638"/>
                      </a:lnTo>
                      <a:lnTo>
                        <a:pt x="757072" y="338302"/>
                      </a:lnTo>
                      <a:lnTo>
                        <a:pt x="759117" y="335534"/>
                      </a:lnTo>
                      <a:lnTo>
                        <a:pt x="760120" y="333768"/>
                      </a:lnTo>
                      <a:lnTo>
                        <a:pt x="760717" y="333514"/>
                      </a:lnTo>
                      <a:lnTo>
                        <a:pt x="762139" y="332905"/>
                      </a:lnTo>
                      <a:lnTo>
                        <a:pt x="763663" y="332244"/>
                      </a:lnTo>
                      <a:lnTo>
                        <a:pt x="766152" y="331050"/>
                      </a:lnTo>
                      <a:lnTo>
                        <a:pt x="768070" y="330123"/>
                      </a:lnTo>
                      <a:lnTo>
                        <a:pt x="768604" y="329869"/>
                      </a:lnTo>
                      <a:lnTo>
                        <a:pt x="768756" y="331571"/>
                      </a:lnTo>
                      <a:lnTo>
                        <a:pt x="765441" y="333133"/>
                      </a:lnTo>
                      <a:lnTo>
                        <a:pt x="765543" y="333629"/>
                      </a:lnTo>
                      <a:lnTo>
                        <a:pt x="765670" y="334086"/>
                      </a:lnTo>
                      <a:lnTo>
                        <a:pt x="769150" y="335330"/>
                      </a:lnTo>
                      <a:lnTo>
                        <a:pt x="769721" y="335153"/>
                      </a:lnTo>
                      <a:lnTo>
                        <a:pt x="771067" y="333463"/>
                      </a:lnTo>
                      <a:lnTo>
                        <a:pt x="771194" y="333260"/>
                      </a:lnTo>
                      <a:lnTo>
                        <a:pt x="771182" y="332727"/>
                      </a:lnTo>
                      <a:lnTo>
                        <a:pt x="770420" y="332549"/>
                      </a:lnTo>
                      <a:lnTo>
                        <a:pt x="770267" y="332181"/>
                      </a:lnTo>
                      <a:lnTo>
                        <a:pt x="769950" y="331152"/>
                      </a:lnTo>
                      <a:lnTo>
                        <a:pt x="769975" y="330733"/>
                      </a:lnTo>
                      <a:lnTo>
                        <a:pt x="770280" y="330123"/>
                      </a:lnTo>
                      <a:lnTo>
                        <a:pt x="770470" y="329869"/>
                      </a:lnTo>
                      <a:lnTo>
                        <a:pt x="771169" y="328955"/>
                      </a:lnTo>
                      <a:lnTo>
                        <a:pt x="771385" y="328663"/>
                      </a:lnTo>
                      <a:lnTo>
                        <a:pt x="771372" y="329793"/>
                      </a:lnTo>
                      <a:lnTo>
                        <a:pt x="772274" y="332295"/>
                      </a:lnTo>
                      <a:lnTo>
                        <a:pt x="773036" y="332727"/>
                      </a:lnTo>
                      <a:lnTo>
                        <a:pt x="773036" y="331749"/>
                      </a:lnTo>
                      <a:lnTo>
                        <a:pt x="774522" y="331152"/>
                      </a:lnTo>
                      <a:lnTo>
                        <a:pt x="774636" y="330911"/>
                      </a:lnTo>
                      <a:lnTo>
                        <a:pt x="775081" y="329209"/>
                      </a:lnTo>
                      <a:lnTo>
                        <a:pt x="774661" y="328790"/>
                      </a:lnTo>
                      <a:lnTo>
                        <a:pt x="774674" y="328663"/>
                      </a:lnTo>
                      <a:lnTo>
                        <a:pt x="774928" y="326758"/>
                      </a:lnTo>
                      <a:lnTo>
                        <a:pt x="776236" y="326390"/>
                      </a:lnTo>
                      <a:lnTo>
                        <a:pt x="778281" y="325818"/>
                      </a:lnTo>
                      <a:lnTo>
                        <a:pt x="779170" y="325615"/>
                      </a:lnTo>
                      <a:lnTo>
                        <a:pt x="778471" y="326885"/>
                      </a:lnTo>
                      <a:lnTo>
                        <a:pt x="780757" y="327431"/>
                      </a:lnTo>
                      <a:lnTo>
                        <a:pt x="782828" y="328510"/>
                      </a:lnTo>
                      <a:lnTo>
                        <a:pt x="784186" y="329793"/>
                      </a:lnTo>
                      <a:lnTo>
                        <a:pt x="784491" y="329209"/>
                      </a:lnTo>
                      <a:lnTo>
                        <a:pt x="784517" y="328422"/>
                      </a:lnTo>
                      <a:lnTo>
                        <a:pt x="784504" y="327291"/>
                      </a:lnTo>
                      <a:lnTo>
                        <a:pt x="784758" y="326707"/>
                      </a:lnTo>
                      <a:lnTo>
                        <a:pt x="786688" y="326199"/>
                      </a:lnTo>
                      <a:lnTo>
                        <a:pt x="787425" y="325818"/>
                      </a:lnTo>
                      <a:lnTo>
                        <a:pt x="787234" y="325615"/>
                      </a:lnTo>
                      <a:lnTo>
                        <a:pt x="786879" y="325221"/>
                      </a:lnTo>
                      <a:lnTo>
                        <a:pt x="786688" y="324205"/>
                      </a:lnTo>
                      <a:lnTo>
                        <a:pt x="786917" y="323316"/>
                      </a:lnTo>
                      <a:lnTo>
                        <a:pt x="787958" y="324243"/>
                      </a:lnTo>
                      <a:lnTo>
                        <a:pt x="790473" y="324243"/>
                      </a:lnTo>
                      <a:lnTo>
                        <a:pt x="792632" y="324624"/>
                      </a:lnTo>
                      <a:lnTo>
                        <a:pt x="792238" y="326009"/>
                      </a:lnTo>
                      <a:lnTo>
                        <a:pt x="793813" y="324993"/>
                      </a:lnTo>
                      <a:lnTo>
                        <a:pt x="800023" y="312077"/>
                      </a:lnTo>
                      <a:lnTo>
                        <a:pt x="800519" y="309676"/>
                      </a:lnTo>
                      <a:lnTo>
                        <a:pt x="800608" y="309232"/>
                      </a:lnTo>
                      <a:close/>
                    </a:path>
                    <a:path w="878839" h="556260">
                      <a:moveTo>
                        <a:pt x="878382" y="96520"/>
                      </a:moveTo>
                      <a:lnTo>
                        <a:pt x="871334" y="96520"/>
                      </a:lnTo>
                      <a:lnTo>
                        <a:pt x="870026" y="97790"/>
                      </a:lnTo>
                      <a:lnTo>
                        <a:pt x="867308" y="97790"/>
                      </a:lnTo>
                      <a:lnTo>
                        <a:pt x="863536" y="99060"/>
                      </a:lnTo>
                      <a:lnTo>
                        <a:pt x="860882" y="100330"/>
                      </a:lnTo>
                      <a:lnTo>
                        <a:pt x="854519" y="102870"/>
                      </a:lnTo>
                      <a:lnTo>
                        <a:pt x="848969" y="102870"/>
                      </a:lnTo>
                      <a:lnTo>
                        <a:pt x="847725" y="104140"/>
                      </a:lnTo>
                      <a:lnTo>
                        <a:pt x="846455" y="104140"/>
                      </a:lnTo>
                      <a:lnTo>
                        <a:pt x="845273" y="105410"/>
                      </a:lnTo>
                      <a:lnTo>
                        <a:pt x="843038" y="107950"/>
                      </a:lnTo>
                      <a:lnTo>
                        <a:pt x="843546" y="109220"/>
                      </a:lnTo>
                      <a:lnTo>
                        <a:pt x="841184" y="109220"/>
                      </a:lnTo>
                      <a:lnTo>
                        <a:pt x="836587" y="110490"/>
                      </a:lnTo>
                      <a:lnTo>
                        <a:pt x="823671" y="110490"/>
                      </a:lnTo>
                      <a:lnTo>
                        <a:pt x="821004" y="109220"/>
                      </a:lnTo>
                      <a:lnTo>
                        <a:pt x="820318" y="109220"/>
                      </a:lnTo>
                      <a:lnTo>
                        <a:pt x="820407" y="107950"/>
                      </a:lnTo>
                      <a:lnTo>
                        <a:pt x="820140" y="106680"/>
                      </a:lnTo>
                      <a:lnTo>
                        <a:pt x="819581" y="106680"/>
                      </a:lnTo>
                      <a:lnTo>
                        <a:pt x="819023" y="105410"/>
                      </a:lnTo>
                      <a:lnTo>
                        <a:pt x="818095" y="105410"/>
                      </a:lnTo>
                      <a:lnTo>
                        <a:pt x="816203" y="102870"/>
                      </a:lnTo>
                      <a:lnTo>
                        <a:pt x="817613" y="100330"/>
                      </a:lnTo>
                      <a:lnTo>
                        <a:pt x="818007" y="100330"/>
                      </a:lnTo>
                      <a:lnTo>
                        <a:pt x="818451" y="99060"/>
                      </a:lnTo>
                      <a:lnTo>
                        <a:pt x="818781" y="99060"/>
                      </a:lnTo>
                      <a:lnTo>
                        <a:pt x="818375" y="97790"/>
                      </a:lnTo>
                      <a:lnTo>
                        <a:pt x="818184" y="96520"/>
                      </a:lnTo>
                      <a:lnTo>
                        <a:pt x="817702" y="95250"/>
                      </a:lnTo>
                      <a:lnTo>
                        <a:pt x="816813" y="95250"/>
                      </a:lnTo>
                      <a:lnTo>
                        <a:pt x="815263" y="93980"/>
                      </a:lnTo>
                      <a:lnTo>
                        <a:pt x="814705" y="93980"/>
                      </a:lnTo>
                      <a:lnTo>
                        <a:pt x="814679" y="92710"/>
                      </a:lnTo>
                      <a:lnTo>
                        <a:pt x="814819" y="92710"/>
                      </a:lnTo>
                      <a:lnTo>
                        <a:pt x="814882" y="91440"/>
                      </a:lnTo>
                      <a:lnTo>
                        <a:pt x="815797" y="88900"/>
                      </a:lnTo>
                      <a:lnTo>
                        <a:pt x="812571" y="87630"/>
                      </a:lnTo>
                      <a:lnTo>
                        <a:pt x="811276" y="87630"/>
                      </a:lnTo>
                      <a:lnTo>
                        <a:pt x="810996" y="88900"/>
                      </a:lnTo>
                      <a:lnTo>
                        <a:pt x="810120" y="88900"/>
                      </a:lnTo>
                      <a:lnTo>
                        <a:pt x="808240" y="86360"/>
                      </a:lnTo>
                      <a:lnTo>
                        <a:pt x="805903" y="85090"/>
                      </a:lnTo>
                      <a:lnTo>
                        <a:pt x="804887" y="83820"/>
                      </a:lnTo>
                      <a:lnTo>
                        <a:pt x="799541" y="78740"/>
                      </a:lnTo>
                      <a:lnTo>
                        <a:pt x="798296" y="77470"/>
                      </a:lnTo>
                      <a:lnTo>
                        <a:pt x="796442" y="78740"/>
                      </a:lnTo>
                      <a:lnTo>
                        <a:pt x="796188" y="78740"/>
                      </a:lnTo>
                      <a:lnTo>
                        <a:pt x="791171" y="77470"/>
                      </a:lnTo>
                      <a:lnTo>
                        <a:pt x="789508" y="76200"/>
                      </a:lnTo>
                      <a:lnTo>
                        <a:pt x="787133" y="74930"/>
                      </a:lnTo>
                      <a:lnTo>
                        <a:pt x="775601" y="74930"/>
                      </a:lnTo>
                      <a:lnTo>
                        <a:pt x="774839" y="73660"/>
                      </a:lnTo>
                      <a:lnTo>
                        <a:pt x="773442" y="72390"/>
                      </a:lnTo>
                      <a:lnTo>
                        <a:pt x="771753" y="69850"/>
                      </a:lnTo>
                      <a:lnTo>
                        <a:pt x="771410" y="68580"/>
                      </a:lnTo>
                      <a:lnTo>
                        <a:pt x="771271" y="67310"/>
                      </a:lnTo>
                      <a:lnTo>
                        <a:pt x="771652" y="66040"/>
                      </a:lnTo>
                      <a:lnTo>
                        <a:pt x="771829" y="66040"/>
                      </a:lnTo>
                      <a:lnTo>
                        <a:pt x="772045" y="64770"/>
                      </a:lnTo>
                      <a:lnTo>
                        <a:pt x="772121" y="63500"/>
                      </a:lnTo>
                      <a:lnTo>
                        <a:pt x="771855" y="63500"/>
                      </a:lnTo>
                      <a:lnTo>
                        <a:pt x="771613" y="62230"/>
                      </a:lnTo>
                      <a:lnTo>
                        <a:pt x="770496" y="60960"/>
                      </a:lnTo>
                      <a:lnTo>
                        <a:pt x="765949" y="50800"/>
                      </a:lnTo>
                      <a:lnTo>
                        <a:pt x="764540" y="49530"/>
                      </a:lnTo>
                      <a:lnTo>
                        <a:pt x="763524" y="43180"/>
                      </a:lnTo>
                      <a:lnTo>
                        <a:pt x="761212" y="43180"/>
                      </a:lnTo>
                      <a:lnTo>
                        <a:pt x="761288" y="41910"/>
                      </a:lnTo>
                      <a:lnTo>
                        <a:pt x="760780" y="40640"/>
                      </a:lnTo>
                      <a:lnTo>
                        <a:pt x="757783" y="34290"/>
                      </a:lnTo>
                      <a:lnTo>
                        <a:pt x="756259" y="30480"/>
                      </a:lnTo>
                      <a:lnTo>
                        <a:pt x="756005" y="30480"/>
                      </a:lnTo>
                      <a:lnTo>
                        <a:pt x="756005" y="29210"/>
                      </a:lnTo>
                      <a:lnTo>
                        <a:pt x="756539" y="29210"/>
                      </a:lnTo>
                      <a:lnTo>
                        <a:pt x="756462" y="27940"/>
                      </a:lnTo>
                      <a:lnTo>
                        <a:pt x="756691" y="26670"/>
                      </a:lnTo>
                      <a:lnTo>
                        <a:pt x="756259" y="26670"/>
                      </a:lnTo>
                      <a:lnTo>
                        <a:pt x="755294" y="24130"/>
                      </a:lnTo>
                      <a:lnTo>
                        <a:pt x="751674" y="21590"/>
                      </a:lnTo>
                      <a:lnTo>
                        <a:pt x="750112" y="19050"/>
                      </a:lnTo>
                      <a:lnTo>
                        <a:pt x="749630" y="19050"/>
                      </a:lnTo>
                      <a:lnTo>
                        <a:pt x="749236" y="17780"/>
                      </a:lnTo>
                      <a:lnTo>
                        <a:pt x="749947" y="16510"/>
                      </a:lnTo>
                      <a:lnTo>
                        <a:pt x="750430" y="16510"/>
                      </a:lnTo>
                      <a:lnTo>
                        <a:pt x="750608" y="15240"/>
                      </a:lnTo>
                      <a:lnTo>
                        <a:pt x="750417" y="13970"/>
                      </a:lnTo>
                      <a:lnTo>
                        <a:pt x="748944" y="13970"/>
                      </a:lnTo>
                      <a:lnTo>
                        <a:pt x="744588" y="10160"/>
                      </a:lnTo>
                      <a:lnTo>
                        <a:pt x="743940" y="8890"/>
                      </a:lnTo>
                      <a:lnTo>
                        <a:pt x="741159" y="8890"/>
                      </a:lnTo>
                      <a:lnTo>
                        <a:pt x="740740" y="7620"/>
                      </a:lnTo>
                      <a:lnTo>
                        <a:pt x="739127" y="7620"/>
                      </a:lnTo>
                      <a:lnTo>
                        <a:pt x="738047" y="6350"/>
                      </a:lnTo>
                      <a:lnTo>
                        <a:pt x="735368" y="6350"/>
                      </a:lnTo>
                      <a:lnTo>
                        <a:pt x="734174" y="7620"/>
                      </a:lnTo>
                      <a:lnTo>
                        <a:pt x="733221" y="7620"/>
                      </a:lnTo>
                      <a:lnTo>
                        <a:pt x="730250" y="6350"/>
                      </a:lnTo>
                      <a:lnTo>
                        <a:pt x="729729" y="6350"/>
                      </a:lnTo>
                      <a:lnTo>
                        <a:pt x="722452" y="2540"/>
                      </a:lnTo>
                      <a:lnTo>
                        <a:pt x="720559" y="2540"/>
                      </a:lnTo>
                      <a:lnTo>
                        <a:pt x="718642" y="1270"/>
                      </a:lnTo>
                      <a:lnTo>
                        <a:pt x="716661" y="0"/>
                      </a:lnTo>
                      <a:lnTo>
                        <a:pt x="708494" y="0"/>
                      </a:lnTo>
                      <a:lnTo>
                        <a:pt x="706374" y="1270"/>
                      </a:lnTo>
                      <a:lnTo>
                        <a:pt x="699833" y="1270"/>
                      </a:lnTo>
                      <a:lnTo>
                        <a:pt x="692696" y="2540"/>
                      </a:lnTo>
                      <a:lnTo>
                        <a:pt x="688759" y="3810"/>
                      </a:lnTo>
                      <a:lnTo>
                        <a:pt x="684936" y="3810"/>
                      </a:lnTo>
                      <a:lnTo>
                        <a:pt x="679767" y="5080"/>
                      </a:lnTo>
                      <a:lnTo>
                        <a:pt x="675614" y="5080"/>
                      </a:lnTo>
                      <a:lnTo>
                        <a:pt x="675182" y="6350"/>
                      </a:lnTo>
                      <a:lnTo>
                        <a:pt x="674560" y="6350"/>
                      </a:lnTo>
                      <a:lnTo>
                        <a:pt x="672566" y="7620"/>
                      </a:lnTo>
                      <a:lnTo>
                        <a:pt x="670712" y="10160"/>
                      </a:lnTo>
                      <a:lnTo>
                        <a:pt x="667981" y="12700"/>
                      </a:lnTo>
                      <a:lnTo>
                        <a:pt x="665911" y="13970"/>
                      </a:lnTo>
                      <a:lnTo>
                        <a:pt x="664705" y="13970"/>
                      </a:lnTo>
                      <a:lnTo>
                        <a:pt x="664502" y="15240"/>
                      </a:lnTo>
                      <a:lnTo>
                        <a:pt x="664273" y="15240"/>
                      </a:lnTo>
                      <a:lnTo>
                        <a:pt x="663930" y="16510"/>
                      </a:lnTo>
                      <a:lnTo>
                        <a:pt x="664222" y="17780"/>
                      </a:lnTo>
                      <a:lnTo>
                        <a:pt x="671791" y="17780"/>
                      </a:lnTo>
                      <a:lnTo>
                        <a:pt x="672172" y="19050"/>
                      </a:lnTo>
                      <a:lnTo>
                        <a:pt x="673633" y="19050"/>
                      </a:lnTo>
                      <a:lnTo>
                        <a:pt x="673735" y="20320"/>
                      </a:lnTo>
                      <a:lnTo>
                        <a:pt x="673328" y="22860"/>
                      </a:lnTo>
                      <a:lnTo>
                        <a:pt x="673214" y="24130"/>
                      </a:lnTo>
                      <a:lnTo>
                        <a:pt x="673836" y="24130"/>
                      </a:lnTo>
                      <a:lnTo>
                        <a:pt x="674217" y="25400"/>
                      </a:lnTo>
                      <a:lnTo>
                        <a:pt x="674446" y="25400"/>
                      </a:lnTo>
                      <a:lnTo>
                        <a:pt x="674598" y="26670"/>
                      </a:lnTo>
                      <a:lnTo>
                        <a:pt x="674801" y="26670"/>
                      </a:lnTo>
                      <a:lnTo>
                        <a:pt x="673493" y="29210"/>
                      </a:lnTo>
                      <a:lnTo>
                        <a:pt x="671042" y="31750"/>
                      </a:lnTo>
                      <a:lnTo>
                        <a:pt x="665353" y="36830"/>
                      </a:lnTo>
                      <a:lnTo>
                        <a:pt x="663689" y="39370"/>
                      </a:lnTo>
                      <a:lnTo>
                        <a:pt x="662660" y="40640"/>
                      </a:lnTo>
                      <a:lnTo>
                        <a:pt x="661428" y="43180"/>
                      </a:lnTo>
                      <a:lnTo>
                        <a:pt x="660336" y="44450"/>
                      </a:lnTo>
                      <a:lnTo>
                        <a:pt x="659206" y="46990"/>
                      </a:lnTo>
                      <a:lnTo>
                        <a:pt x="657212" y="49530"/>
                      </a:lnTo>
                      <a:lnTo>
                        <a:pt x="654939" y="54610"/>
                      </a:lnTo>
                      <a:lnTo>
                        <a:pt x="654405" y="58420"/>
                      </a:lnTo>
                      <a:lnTo>
                        <a:pt x="654138" y="59690"/>
                      </a:lnTo>
                      <a:lnTo>
                        <a:pt x="654138" y="60960"/>
                      </a:lnTo>
                      <a:lnTo>
                        <a:pt x="654519" y="60960"/>
                      </a:lnTo>
                      <a:lnTo>
                        <a:pt x="654481" y="62230"/>
                      </a:lnTo>
                      <a:lnTo>
                        <a:pt x="654177" y="62230"/>
                      </a:lnTo>
                      <a:lnTo>
                        <a:pt x="654138" y="63500"/>
                      </a:lnTo>
                      <a:lnTo>
                        <a:pt x="654278" y="63500"/>
                      </a:lnTo>
                      <a:lnTo>
                        <a:pt x="654316" y="64770"/>
                      </a:lnTo>
                      <a:lnTo>
                        <a:pt x="653935" y="64770"/>
                      </a:lnTo>
                      <a:lnTo>
                        <a:pt x="653681" y="66040"/>
                      </a:lnTo>
                      <a:lnTo>
                        <a:pt x="653249" y="66040"/>
                      </a:lnTo>
                      <a:lnTo>
                        <a:pt x="649173" y="67310"/>
                      </a:lnTo>
                      <a:lnTo>
                        <a:pt x="649008" y="67310"/>
                      </a:lnTo>
                      <a:lnTo>
                        <a:pt x="643407" y="68580"/>
                      </a:lnTo>
                      <a:lnTo>
                        <a:pt x="641527" y="69850"/>
                      </a:lnTo>
                      <a:lnTo>
                        <a:pt x="638365" y="72390"/>
                      </a:lnTo>
                      <a:lnTo>
                        <a:pt x="633425" y="76200"/>
                      </a:lnTo>
                      <a:lnTo>
                        <a:pt x="618909" y="71120"/>
                      </a:lnTo>
                      <a:lnTo>
                        <a:pt x="616153" y="71120"/>
                      </a:lnTo>
                      <a:lnTo>
                        <a:pt x="612648" y="78740"/>
                      </a:lnTo>
                      <a:lnTo>
                        <a:pt x="603808" y="95250"/>
                      </a:lnTo>
                      <a:lnTo>
                        <a:pt x="603504" y="96520"/>
                      </a:lnTo>
                      <a:lnTo>
                        <a:pt x="603719" y="96520"/>
                      </a:lnTo>
                      <a:lnTo>
                        <a:pt x="603885" y="97790"/>
                      </a:lnTo>
                      <a:lnTo>
                        <a:pt x="603948" y="99060"/>
                      </a:lnTo>
                      <a:lnTo>
                        <a:pt x="603186" y="100330"/>
                      </a:lnTo>
                      <a:lnTo>
                        <a:pt x="601954" y="101600"/>
                      </a:lnTo>
                      <a:lnTo>
                        <a:pt x="599719" y="101600"/>
                      </a:lnTo>
                      <a:lnTo>
                        <a:pt x="600125" y="102870"/>
                      </a:lnTo>
                      <a:lnTo>
                        <a:pt x="600633" y="105410"/>
                      </a:lnTo>
                      <a:lnTo>
                        <a:pt x="601192" y="106680"/>
                      </a:lnTo>
                      <a:lnTo>
                        <a:pt x="601840" y="106680"/>
                      </a:lnTo>
                      <a:lnTo>
                        <a:pt x="602602" y="107950"/>
                      </a:lnTo>
                      <a:lnTo>
                        <a:pt x="605129" y="110490"/>
                      </a:lnTo>
                      <a:lnTo>
                        <a:pt x="606590" y="110490"/>
                      </a:lnTo>
                      <a:lnTo>
                        <a:pt x="606818" y="109220"/>
                      </a:lnTo>
                      <a:lnTo>
                        <a:pt x="609168" y="107950"/>
                      </a:lnTo>
                      <a:lnTo>
                        <a:pt x="612254" y="107950"/>
                      </a:lnTo>
                      <a:lnTo>
                        <a:pt x="618578" y="106680"/>
                      </a:lnTo>
                      <a:lnTo>
                        <a:pt x="620229" y="106680"/>
                      </a:lnTo>
                      <a:lnTo>
                        <a:pt x="622096" y="107950"/>
                      </a:lnTo>
                      <a:lnTo>
                        <a:pt x="625170" y="110490"/>
                      </a:lnTo>
                      <a:lnTo>
                        <a:pt x="626795" y="110490"/>
                      </a:lnTo>
                      <a:lnTo>
                        <a:pt x="627570" y="109220"/>
                      </a:lnTo>
                      <a:lnTo>
                        <a:pt x="629297" y="106680"/>
                      </a:lnTo>
                      <a:lnTo>
                        <a:pt x="630415" y="105410"/>
                      </a:lnTo>
                      <a:lnTo>
                        <a:pt x="643890" y="105410"/>
                      </a:lnTo>
                      <a:lnTo>
                        <a:pt x="644436" y="106680"/>
                      </a:lnTo>
                      <a:lnTo>
                        <a:pt x="644740" y="106680"/>
                      </a:lnTo>
                      <a:lnTo>
                        <a:pt x="646036" y="107950"/>
                      </a:lnTo>
                      <a:lnTo>
                        <a:pt x="647992" y="109220"/>
                      </a:lnTo>
                      <a:lnTo>
                        <a:pt x="649236" y="109220"/>
                      </a:lnTo>
                      <a:lnTo>
                        <a:pt x="650163" y="110490"/>
                      </a:lnTo>
                      <a:lnTo>
                        <a:pt x="651040" y="111760"/>
                      </a:lnTo>
                      <a:lnTo>
                        <a:pt x="651268" y="111760"/>
                      </a:lnTo>
                      <a:lnTo>
                        <a:pt x="652945" y="114300"/>
                      </a:lnTo>
                      <a:lnTo>
                        <a:pt x="654596" y="114300"/>
                      </a:lnTo>
                      <a:lnTo>
                        <a:pt x="657021" y="118110"/>
                      </a:lnTo>
                      <a:lnTo>
                        <a:pt x="659028" y="118110"/>
                      </a:lnTo>
                      <a:lnTo>
                        <a:pt x="660222" y="120650"/>
                      </a:lnTo>
                      <a:lnTo>
                        <a:pt x="662165" y="123190"/>
                      </a:lnTo>
                      <a:lnTo>
                        <a:pt x="662444" y="124460"/>
                      </a:lnTo>
                      <a:lnTo>
                        <a:pt x="662178" y="128270"/>
                      </a:lnTo>
                      <a:lnTo>
                        <a:pt x="649935" y="128270"/>
                      </a:lnTo>
                      <a:lnTo>
                        <a:pt x="644880" y="127000"/>
                      </a:lnTo>
                      <a:lnTo>
                        <a:pt x="626465" y="133350"/>
                      </a:lnTo>
                      <a:lnTo>
                        <a:pt x="616673" y="133350"/>
                      </a:lnTo>
                      <a:lnTo>
                        <a:pt x="614045" y="135890"/>
                      </a:lnTo>
                      <a:lnTo>
                        <a:pt x="612228" y="137160"/>
                      </a:lnTo>
                      <a:lnTo>
                        <a:pt x="609942" y="140970"/>
                      </a:lnTo>
                      <a:lnTo>
                        <a:pt x="609815" y="142240"/>
                      </a:lnTo>
                      <a:lnTo>
                        <a:pt x="609790" y="143510"/>
                      </a:lnTo>
                      <a:lnTo>
                        <a:pt x="610527" y="143510"/>
                      </a:lnTo>
                      <a:lnTo>
                        <a:pt x="609714" y="144780"/>
                      </a:lnTo>
                      <a:lnTo>
                        <a:pt x="609396" y="146050"/>
                      </a:lnTo>
                      <a:lnTo>
                        <a:pt x="607479" y="146050"/>
                      </a:lnTo>
                      <a:lnTo>
                        <a:pt x="606742" y="147320"/>
                      </a:lnTo>
                      <a:lnTo>
                        <a:pt x="606132" y="147320"/>
                      </a:lnTo>
                      <a:lnTo>
                        <a:pt x="604964" y="148590"/>
                      </a:lnTo>
                      <a:lnTo>
                        <a:pt x="603885" y="148590"/>
                      </a:lnTo>
                      <a:lnTo>
                        <a:pt x="603262" y="149860"/>
                      </a:lnTo>
                      <a:lnTo>
                        <a:pt x="601497" y="149860"/>
                      </a:lnTo>
                      <a:lnTo>
                        <a:pt x="590969" y="151130"/>
                      </a:lnTo>
                      <a:lnTo>
                        <a:pt x="588352" y="149860"/>
                      </a:lnTo>
                      <a:lnTo>
                        <a:pt x="587108" y="151130"/>
                      </a:lnTo>
                      <a:lnTo>
                        <a:pt x="586460" y="152400"/>
                      </a:lnTo>
                      <a:lnTo>
                        <a:pt x="585901" y="152400"/>
                      </a:lnTo>
                      <a:lnTo>
                        <a:pt x="582383" y="156210"/>
                      </a:lnTo>
                      <a:lnTo>
                        <a:pt x="579894" y="157480"/>
                      </a:lnTo>
                      <a:lnTo>
                        <a:pt x="576300" y="160020"/>
                      </a:lnTo>
                      <a:lnTo>
                        <a:pt x="575589" y="161290"/>
                      </a:lnTo>
                      <a:lnTo>
                        <a:pt x="574865" y="161290"/>
                      </a:lnTo>
                      <a:lnTo>
                        <a:pt x="573620" y="162560"/>
                      </a:lnTo>
                      <a:lnTo>
                        <a:pt x="572236" y="162560"/>
                      </a:lnTo>
                      <a:lnTo>
                        <a:pt x="572236" y="514350"/>
                      </a:lnTo>
                      <a:lnTo>
                        <a:pt x="572084" y="515200"/>
                      </a:lnTo>
                      <a:lnTo>
                        <a:pt x="572160" y="514350"/>
                      </a:lnTo>
                      <a:lnTo>
                        <a:pt x="572236" y="162560"/>
                      </a:lnTo>
                      <a:lnTo>
                        <a:pt x="567359" y="162560"/>
                      </a:lnTo>
                      <a:lnTo>
                        <a:pt x="566242" y="161290"/>
                      </a:lnTo>
                      <a:lnTo>
                        <a:pt x="565150" y="161290"/>
                      </a:lnTo>
                      <a:lnTo>
                        <a:pt x="562317" y="160020"/>
                      </a:lnTo>
                      <a:lnTo>
                        <a:pt x="556158" y="157480"/>
                      </a:lnTo>
                      <a:lnTo>
                        <a:pt x="552450" y="157480"/>
                      </a:lnTo>
                      <a:lnTo>
                        <a:pt x="550951" y="156210"/>
                      </a:lnTo>
                      <a:lnTo>
                        <a:pt x="549224" y="156210"/>
                      </a:lnTo>
                      <a:lnTo>
                        <a:pt x="548538" y="157480"/>
                      </a:lnTo>
                      <a:lnTo>
                        <a:pt x="547497" y="157480"/>
                      </a:lnTo>
                      <a:lnTo>
                        <a:pt x="547027" y="158750"/>
                      </a:lnTo>
                      <a:lnTo>
                        <a:pt x="544690" y="160020"/>
                      </a:lnTo>
                      <a:lnTo>
                        <a:pt x="543433" y="163830"/>
                      </a:lnTo>
                      <a:lnTo>
                        <a:pt x="541591" y="167640"/>
                      </a:lnTo>
                      <a:lnTo>
                        <a:pt x="541172" y="168910"/>
                      </a:lnTo>
                      <a:lnTo>
                        <a:pt x="540981" y="168910"/>
                      </a:lnTo>
                      <a:lnTo>
                        <a:pt x="541642" y="171450"/>
                      </a:lnTo>
                      <a:lnTo>
                        <a:pt x="542505" y="172720"/>
                      </a:lnTo>
                      <a:lnTo>
                        <a:pt x="543318" y="173990"/>
                      </a:lnTo>
                      <a:lnTo>
                        <a:pt x="544029" y="173990"/>
                      </a:lnTo>
                      <a:lnTo>
                        <a:pt x="545934" y="176530"/>
                      </a:lnTo>
                      <a:lnTo>
                        <a:pt x="546823" y="176530"/>
                      </a:lnTo>
                      <a:lnTo>
                        <a:pt x="547954" y="177800"/>
                      </a:lnTo>
                      <a:lnTo>
                        <a:pt x="548297" y="179070"/>
                      </a:lnTo>
                      <a:lnTo>
                        <a:pt x="548678" y="179070"/>
                      </a:lnTo>
                      <a:lnTo>
                        <a:pt x="548347" y="180340"/>
                      </a:lnTo>
                      <a:lnTo>
                        <a:pt x="544842" y="182880"/>
                      </a:lnTo>
                      <a:lnTo>
                        <a:pt x="540727" y="185420"/>
                      </a:lnTo>
                      <a:lnTo>
                        <a:pt x="538556" y="185420"/>
                      </a:lnTo>
                      <a:lnTo>
                        <a:pt x="536232" y="186690"/>
                      </a:lnTo>
                      <a:lnTo>
                        <a:pt x="534644" y="187960"/>
                      </a:lnTo>
                      <a:lnTo>
                        <a:pt x="532104" y="189230"/>
                      </a:lnTo>
                      <a:lnTo>
                        <a:pt x="530631" y="193040"/>
                      </a:lnTo>
                      <a:lnTo>
                        <a:pt x="528624" y="195580"/>
                      </a:lnTo>
                      <a:lnTo>
                        <a:pt x="527710" y="195580"/>
                      </a:lnTo>
                      <a:lnTo>
                        <a:pt x="526719" y="196850"/>
                      </a:lnTo>
                      <a:lnTo>
                        <a:pt x="523659" y="198120"/>
                      </a:lnTo>
                      <a:lnTo>
                        <a:pt x="519493" y="200660"/>
                      </a:lnTo>
                      <a:lnTo>
                        <a:pt x="515670" y="201930"/>
                      </a:lnTo>
                      <a:lnTo>
                        <a:pt x="514667" y="202196"/>
                      </a:lnTo>
                      <a:lnTo>
                        <a:pt x="514667" y="533400"/>
                      </a:lnTo>
                      <a:lnTo>
                        <a:pt x="514019" y="534670"/>
                      </a:lnTo>
                      <a:lnTo>
                        <a:pt x="513664" y="534670"/>
                      </a:lnTo>
                      <a:lnTo>
                        <a:pt x="514134" y="533400"/>
                      </a:lnTo>
                      <a:lnTo>
                        <a:pt x="514667" y="533400"/>
                      </a:lnTo>
                      <a:lnTo>
                        <a:pt x="514667" y="202196"/>
                      </a:lnTo>
                      <a:lnTo>
                        <a:pt x="510692" y="203200"/>
                      </a:lnTo>
                      <a:lnTo>
                        <a:pt x="495388" y="203200"/>
                      </a:lnTo>
                      <a:lnTo>
                        <a:pt x="483933" y="204470"/>
                      </a:lnTo>
                      <a:lnTo>
                        <a:pt x="478815" y="204470"/>
                      </a:lnTo>
                      <a:lnTo>
                        <a:pt x="473824" y="205740"/>
                      </a:lnTo>
                      <a:lnTo>
                        <a:pt x="473354" y="205740"/>
                      </a:lnTo>
                      <a:lnTo>
                        <a:pt x="469379" y="207010"/>
                      </a:lnTo>
                      <a:lnTo>
                        <a:pt x="466178" y="208280"/>
                      </a:lnTo>
                      <a:lnTo>
                        <a:pt x="460019" y="212090"/>
                      </a:lnTo>
                      <a:lnTo>
                        <a:pt x="456222" y="212090"/>
                      </a:lnTo>
                      <a:lnTo>
                        <a:pt x="453161" y="214630"/>
                      </a:lnTo>
                      <a:lnTo>
                        <a:pt x="451789" y="214630"/>
                      </a:lnTo>
                      <a:lnTo>
                        <a:pt x="450405" y="215900"/>
                      </a:lnTo>
                      <a:lnTo>
                        <a:pt x="449605" y="217170"/>
                      </a:lnTo>
                      <a:lnTo>
                        <a:pt x="443318" y="217170"/>
                      </a:lnTo>
                      <a:lnTo>
                        <a:pt x="443014" y="215900"/>
                      </a:lnTo>
                      <a:lnTo>
                        <a:pt x="441972" y="215900"/>
                      </a:lnTo>
                      <a:lnTo>
                        <a:pt x="441236" y="214630"/>
                      </a:lnTo>
                      <a:lnTo>
                        <a:pt x="440829" y="213360"/>
                      </a:lnTo>
                      <a:lnTo>
                        <a:pt x="440016" y="212090"/>
                      </a:lnTo>
                      <a:lnTo>
                        <a:pt x="435965" y="213360"/>
                      </a:lnTo>
                      <a:lnTo>
                        <a:pt x="432803" y="214630"/>
                      </a:lnTo>
                      <a:lnTo>
                        <a:pt x="431520" y="214630"/>
                      </a:lnTo>
                      <a:lnTo>
                        <a:pt x="429983" y="213360"/>
                      </a:lnTo>
                      <a:lnTo>
                        <a:pt x="426313" y="213360"/>
                      </a:lnTo>
                      <a:lnTo>
                        <a:pt x="423049" y="210820"/>
                      </a:lnTo>
                      <a:lnTo>
                        <a:pt x="417156" y="209550"/>
                      </a:lnTo>
                      <a:lnTo>
                        <a:pt x="414985" y="209550"/>
                      </a:lnTo>
                      <a:lnTo>
                        <a:pt x="405930" y="207010"/>
                      </a:lnTo>
                      <a:lnTo>
                        <a:pt x="405701" y="207010"/>
                      </a:lnTo>
                      <a:lnTo>
                        <a:pt x="405168" y="205740"/>
                      </a:lnTo>
                      <a:lnTo>
                        <a:pt x="404431" y="204470"/>
                      </a:lnTo>
                      <a:lnTo>
                        <a:pt x="403606" y="203200"/>
                      </a:lnTo>
                      <a:lnTo>
                        <a:pt x="403174" y="203200"/>
                      </a:lnTo>
                      <a:lnTo>
                        <a:pt x="401929" y="201930"/>
                      </a:lnTo>
                      <a:lnTo>
                        <a:pt x="399948" y="201930"/>
                      </a:lnTo>
                      <a:lnTo>
                        <a:pt x="389636" y="200660"/>
                      </a:lnTo>
                      <a:lnTo>
                        <a:pt x="379323" y="199390"/>
                      </a:lnTo>
                      <a:lnTo>
                        <a:pt x="377888" y="199390"/>
                      </a:lnTo>
                      <a:lnTo>
                        <a:pt x="375996" y="198120"/>
                      </a:lnTo>
                      <a:lnTo>
                        <a:pt x="373926" y="199390"/>
                      </a:lnTo>
                      <a:lnTo>
                        <a:pt x="372325" y="200660"/>
                      </a:lnTo>
                      <a:lnTo>
                        <a:pt x="371779" y="200660"/>
                      </a:lnTo>
                      <a:lnTo>
                        <a:pt x="359092" y="199390"/>
                      </a:lnTo>
                      <a:lnTo>
                        <a:pt x="352920" y="199390"/>
                      </a:lnTo>
                      <a:lnTo>
                        <a:pt x="348183" y="198120"/>
                      </a:lnTo>
                      <a:lnTo>
                        <a:pt x="343484" y="198120"/>
                      </a:lnTo>
                      <a:lnTo>
                        <a:pt x="340448" y="196850"/>
                      </a:lnTo>
                      <a:lnTo>
                        <a:pt x="332879" y="196850"/>
                      </a:lnTo>
                      <a:lnTo>
                        <a:pt x="326097" y="198120"/>
                      </a:lnTo>
                      <a:lnTo>
                        <a:pt x="325729" y="196850"/>
                      </a:lnTo>
                      <a:lnTo>
                        <a:pt x="325272" y="196850"/>
                      </a:lnTo>
                      <a:lnTo>
                        <a:pt x="325132" y="195580"/>
                      </a:lnTo>
                      <a:lnTo>
                        <a:pt x="324650" y="195580"/>
                      </a:lnTo>
                      <a:lnTo>
                        <a:pt x="324015" y="194310"/>
                      </a:lnTo>
                      <a:lnTo>
                        <a:pt x="323723" y="194310"/>
                      </a:lnTo>
                      <a:lnTo>
                        <a:pt x="321754" y="191770"/>
                      </a:lnTo>
                      <a:lnTo>
                        <a:pt x="319379" y="190500"/>
                      </a:lnTo>
                      <a:lnTo>
                        <a:pt x="317322" y="185420"/>
                      </a:lnTo>
                      <a:lnTo>
                        <a:pt x="316407" y="182880"/>
                      </a:lnTo>
                      <a:lnTo>
                        <a:pt x="315201" y="180340"/>
                      </a:lnTo>
                      <a:lnTo>
                        <a:pt x="314960" y="179070"/>
                      </a:lnTo>
                      <a:lnTo>
                        <a:pt x="314121" y="177800"/>
                      </a:lnTo>
                      <a:lnTo>
                        <a:pt x="313982" y="177800"/>
                      </a:lnTo>
                      <a:lnTo>
                        <a:pt x="313486" y="176530"/>
                      </a:lnTo>
                      <a:lnTo>
                        <a:pt x="312521" y="176530"/>
                      </a:lnTo>
                      <a:lnTo>
                        <a:pt x="310959" y="175260"/>
                      </a:lnTo>
                      <a:lnTo>
                        <a:pt x="310921" y="173990"/>
                      </a:lnTo>
                      <a:lnTo>
                        <a:pt x="310654" y="172720"/>
                      </a:lnTo>
                      <a:lnTo>
                        <a:pt x="311467" y="172720"/>
                      </a:lnTo>
                      <a:lnTo>
                        <a:pt x="311581" y="171450"/>
                      </a:lnTo>
                      <a:lnTo>
                        <a:pt x="311696" y="170180"/>
                      </a:lnTo>
                      <a:lnTo>
                        <a:pt x="309308" y="171450"/>
                      </a:lnTo>
                      <a:lnTo>
                        <a:pt x="307225" y="171450"/>
                      </a:lnTo>
                      <a:lnTo>
                        <a:pt x="301752" y="168910"/>
                      </a:lnTo>
                      <a:lnTo>
                        <a:pt x="298665" y="167640"/>
                      </a:lnTo>
                      <a:lnTo>
                        <a:pt x="288569" y="161290"/>
                      </a:lnTo>
                      <a:lnTo>
                        <a:pt x="284530" y="158750"/>
                      </a:lnTo>
                      <a:lnTo>
                        <a:pt x="280466" y="158750"/>
                      </a:lnTo>
                      <a:lnTo>
                        <a:pt x="262991" y="156210"/>
                      </a:lnTo>
                      <a:lnTo>
                        <a:pt x="252539" y="156210"/>
                      </a:lnTo>
                      <a:lnTo>
                        <a:pt x="250558" y="154940"/>
                      </a:lnTo>
                      <a:lnTo>
                        <a:pt x="247345" y="154940"/>
                      </a:lnTo>
                      <a:lnTo>
                        <a:pt x="246024" y="152400"/>
                      </a:lnTo>
                      <a:lnTo>
                        <a:pt x="245262" y="151130"/>
                      </a:lnTo>
                      <a:lnTo>
                        <a:pt x="244525" y="151130"/>
                      </a:lnTo>
                      <a:lnTo>
                        <a:pt x="243573" y="148590"/>
                      </a:lnTo>
                      <a:lnTo>
                        <a:pt x="245338" y="147320"/>
                      </a:lnTo>
                      <a:lnTo>
                        <a:pt x="246976" y="143510"/>
                      </a:lnTo>
                      <a:lnTo>
                        <a:pt x="247713" y="142240"/>
                      </a:lnTo>
                      <a:lnTo>
                        <a:pt x="248640" y="140970"/>
                      </a:lnTo>
                      <a:lnTo>
                        <a:pt x="248843" y="139700"/>
                      </a:lnTo>
                      <a:lnTo>
                        <a:pt x="248932" y="138430"/>
                      </a:lnTo>
                      <a:lnTo>
                        <a:pt x="248818" y="135890"/>
                      </a:lnTo>
                      <a:lnTo>
                        <a:pt x="248767" y="133350"/>
                      </a:lnTo>
                      <a:lnTo>
                        <a:pt x="249072" y="129540"/>
                      </a:lnTo>
                      <a:lnTo>
                        <a:pt x="249440" y="128270"/>
                      </a:lnTo>
                      <a:lnTo>
                        <a:pt x="248272" y="127000"/>
                      </a:lnTo>
                      <a:lnTo>
                        <a:pt x="246697" y="124460"/>
                      </a:lnTo>
                      <a:lnTo>
                        <a:pt x="242862" y="118110"/>
                      </a:lnTo>
                      <a:lnTo>
                        <a:pt x="241922" y="116840"/>
                      </a:lnTo>
                      <a:lnTo>
                        <a:pt x="241261" y="115570"/>
                      </a:lnTo>
                      <a:lnTo>
                        <a:pt x="240715" y="114300"/>
                      </a:lnTo>
                      <a:lnTo>
                        <a:pt x="240220" y="111760"/>
                      </a:lnTo>
                      <a:lnTo>
                        <a:pt x="237477" y="109220"/>
                      </a:lnTo>
                      <a:lnTo>
                        <a:pt x="236893" y="107950"/>
                      </a:lnTo>
                      <a:lnTo>
                        <a:pt x="236321" y="106680"/>
                      </a:lnTo>
                      <a:lnTo>
                        <a:pt x="231419" y="107950"/>
                      </a:lnTo>
                      <a:lnTo>
                        <a:pt x="230492" y="106680"/>
                      </a:lnTo>
                      <a:lnTo>
                        <a:pt x="228206" y="105410"/>
                      </a:lnTo>
                      <a:lnTo>
                        <a:pt x="227990" y="104140"/>
                      </a:lnTo>
                      <a:lnTo>
                        <a:pt x="226428" y="102870"/>
                      </a:lnTo>
                      <a:lnTo>
                        <a:pt x="224663" y="104140"/>
                      </a:lnTo>
                      <a:lnTo>
                        <a:pt x="220535" y="104140"/>
                      </a:lnTo>
                      <a:lnTo>
                        <a:pt x="219544" y="102870"/>
                      </a:lnTo>
                      <a:lnTo>
                        <a:pt x="217119" y="101600"/>
                      </a:lnTo>
                      <a:lnTo>
                        <a:pt x="215849" y="101600"/>
                      </a:lnTo>
                      <a:lnTo>
                        <a:pt x="213614" y="97790"/>
                      </a:lnTo>
                      <a:lnTo>
                        <a:pt x="212064" y="96520"/>
                      </a:lnTo>
                      <a:lnTo>
                        <a:pt x="210464" y="95250"/>
                      </a:lnTo>
                      <a:lnTo>
                        <a:pt x="207556" y="95250"/>
                      </a:lnTo>
                      <a:lnTo>
                        <a:pt x="206730" y="93980"/>
                      </a:lnTo>
                      <a:lnTo>
                        <a:pt x="205536" y="93980"/>
                      </a:lnTo>
                      <a:lnTo>
                        <a:pt x="205117" y="92710"/>
                      </a:lnTo>
                      <a:lnTo>
                        <a:pt x="206895" y="92710"/>
                      </a:lnTo>
                      <a:lnTo>
                        <a:pt x="206705" y="90170"/>
                      </a:lnTo>
                      <a:lnTo>
                        <a:pt x="204114" y="90170"/>
                      </a:lnTo>
                      <a:lnTo>
                        <a:pt x="203047" y="88900"/>
                      </a:lnTo>
                      <a:lnTo>
                        <a:pt x="202641" y="88900"/>
                      </a:lnTo>
                      <a:lnTo>
                        <a:pt x="201968" y="86360"/>
                      </a:lnTo>
                      <a:lnTo>
                        <a:pt x="204419" y="85090"/>
                      </a:lnTo>
                      <a:lnTo>
                        <a:pt x="203403" y="82550"/>
                      </a:lnTo>
                      <a:lnTo>
                        <a:pt x="202031" y="82550"/>
                      </a:lnTo>
                      <a:lnTo>
                        <a:pt x="200431" y="83820"/>
                      </a:lnTo>
                      <a:lnTo>
                        <a:pt x="189166" y="83820"/>
                      </a:lnTo>
                      <a:lnTo>
                        <a:pt x="188722" y="85090"/>
                      </a:lnTo>
                      <a:lnTo>
                        <a:pt x="188429" y="86360"/>
                      </a:lnTo>
                      <a:lnTo>
                        <a:pt x="188201" y="87630"/>
                      </a:lnTo>
                      <a:lnTo>
                        <a:pt x="188087" y="88900"/>
                      </a:lnTo>
                      <a:lnTo>
                        <a:pt x="188620" y="88900"/>
                      </a:lnTo>
                      <a:lnTo>
                        <a:pt x="188201" y="91440"/>
                      </a:lnTo>
                      <a:lnTo>
                        <a:pt x="187579" y="92710"/>
                      </a:lnTo>
                      <a:lnTo>
                        <a:pt x="186004" y="93980"/>
                      </a:lnTo>
                      <a:lnTo>
                        <a:pt x="182333" y="95250"/>
                      </a:lnTo>
                      <a:lnTo>
                        <a:pt x="180251" y="96520"/>
                      </a:lnTo>
                      <a:lnTo>
                        <a:pt x="175475" y="96520"/>
                      </a:lnTo>
                      <a:lnTo>
                        <a:pt x="173113" y="97790"/>
                      </a:lnTo>
                      <a:lnTo>
                        <a:pt x="170688" y="102870"/>
                      </a:lnTo>
                      <a:lnTo>
                        <a:pt x="170878" y="104140"/>
                      </a:lnTo>
                      <a:lnTo>
                        <a:pt x="171386" y="107950"/>
                      </a:lnTo>
                      <a:lnTo>
                        <a:pt x="172186" y="111760"/>
                      </a:lnTo>
                      <a:lnTo>
                        <a:pt x="173075" y="119380"/>
                      </a:lnTo>
                      <a:lnTo>
                        <a:pt x="169684" y="120650"/>
                      </a:lnTo>
                      <a:lnTo>
                        <a:pt x="163639" y="123190"/>
                      </a:lnTo>
                      <a:lnTo>
                        <a:pt x="162128" y="124460"/>
                      </a:lnTo>
                      <a:lnTo>
                        <a:pt x="157467" y="123190"/>
                      </a:lnTo>
                      <a:lnTo>
                        <a:pt x="152412" y="121920"/>
                      </a:lnTo>
                      <a:lnTo>
                        <a:pt x="148247" y="124460"/>
                      </a:lnTo>
                      <a:lnTo>
                        <a:pt x="142900" y="121920"/>
                      </a:lnTo>
                      <a:lnTo>
                        <a:pt x="139649" y="120650"/>
                      </a:lnTo>
                      <a:lnTo>
                        <a:pt x="137807" y="119380"/>
                      </a:lnTo>
                      <a:lnTo>
                        <a:pt x="134747" y="118110"/>
                      </a:lnTo>
                      <a:lnTo>
                        <a:pt x="134569" y="119380"/>
                      </a:lnTo>
                      <a:lnTo>
                        <a:pt x="134023" y="120650"/>
                      </a:lnTo>
                      <a:lnTo>
                        <a:pt x="128701" y="135890"/>
                      </a:lnTo>
                      <a:lnTo>
                        <a:pt x="123964" y="149860"/>
                      </a:lnTo>
                      <a:lnTo>
                        <a:pt x="127850" y="149860"/>
                      </a:lnTo>
                      <a:lnTo>
                        <a:pt x="129311" y="151130"/>
                      </a:lnTo>
                      <a:lnTo>
                        <a:pt x="128701" y="153670"/>
                      </a:lnTo>
                      <a:lnTo>
                        <a:pt x="128587" y="154940"/>
                      </a:lnTo>
                      <a:lnTo>
                        <a:pt x="118059" y="154940"/>
                      </a:lnTo>
                      <a:lnTo>
                        <a:pt x="117017" y="153670"/>
                      </a:lnTo>
                      <a:lnTo>
                        <a:pt x="116509" y="153670"/>
                      </a:lnTo>
                      <a:lnTo>
                        <a:pt x="117055" y="152400"/>
                      </a:lnTo>
                      <a:lnTo>
                        <a:pt x="114782" y="151130"/>
                      </a:lnTo>
                      <a:lnTo>
                        <a:pt x="112547" y="152400"/>
                      </a:lnTo>
                      <a:lnTo>
                        <a:pt x="97891" y="156210"/>
                      </a:lnTo>
                      <a:lnTo>
                        <a:pt x="92773" y="157480"/>
                      </a:lnTo>
                      <a:lnTo>
                        <a:pt x="90754" y="158750"/>
                      </a:lnTo>
                      <a:lnTo>
                        <a:pt x="89484" y="160020"/>
                      </a:lnTo>
                      <a:lnTo>
                        <a:pt x="89103" y="160020"/>
                      </a:lnTo>
                      <a:lnTo>
                        <a:pt x="90563" y="161290"/>
                      </a:lnTo>
                      <a:lnTo>
                        <a:pt x="91643" y="162560"/>
                      </a:lnTo>
                      <a:lnTo>
                        <a:pt x="92608" y="161290"/>
                      </a:lnTo>
                      <a:lnTo>
                        <a:pt x="95313" y="161290"/>
                      </a:lnTo>
                      <a:lnTo>
                        <a:pt x="97167" y="162560"/>
                      </a:lnTo>
                      <a:lnTo>
                        <a:pt x="98475" y="162560"/>
                      </a:lnTo>
                      <a:lnTo>
                        <a:pt x="97434" y="163830"/>
                      </a:lnTo>
                      <a:lnTo>
                        <a:pt x="96926" y="163830"/>
                      </a:lnTo>
                      <a:lnTo>
                        <a:pt x="95846" y="166370"/>
                      </a:lnTo>
                      <a:lnTo>
                        <a:pt x="96278" y="168910"/>
                      </a:lnTo>
                      <a:lnTo>
                        <a:pt x="96964" y="172720"/>
                      </a:lnTo>
                      <a:lnTo>
                        <a:pt x="97205" y="175260"/>
                      </a:lnTo>
                      <a:lnTo>
                        <a:pt x="99047" y="179070"/>
                      </a:lnTo>
                      <a:lnTo>
                        <a:pt x="99745" y="181610"/>
                      </a:lnTo>
                      <a:lnTo>
                        <a:pt x="101473" y="184150"/>
                      </a:lnTo>
                      <a:lnTo>
                        <a:pt x="101714" y="185420"/>
                      </a:lnTo>
                      <a:lnTo>
                        <a:pt x="102870" y="190500"/>
                      </a:lnTo>
                      <a:lnTo>
                        <a:pt x="102247" y="191770"/>
                      </a:lnTo>
                      <a:lnTo>
                        <a:pt x="97345" y="191770"/>
                      </a:lnTo>
                      <a:lnTo>
                        <a:pt x="95973" y="194310"/>
                      </a:lnTo>
                      <a:lnTo>
                        <a:pt x="102527" y="194310"/>
                      </a:lnTo>
                      <a:lnTo>
                        <a:pt x="95580" y="196850"/>
                      </a:lnTo>
                      <a:lnTo>
                        <a:pt x="95072" y="195580"/>
                      </a:lnTo>
                      <a:lnTo>
                        <a:pt x="94538" y="196850"/>
                      </a:lnTo>
                      <a:lnTo>
                        <a:pt x="93802" y="198120"/>
                      </a:lnTo>
                      <a:lnTo>
                        <a:pt x="93687" y="199390"/>
                      </a:lnTo>
                      <a:lnTo>
                        <a:pt x="94310" y="201930"/>
                      </a:lnTo>
                      <a:lnTo>
                        <a:pt x="94894" y="204470"/>
                      </a:lnTo>
                      <a:lnTo>
                        <a:pt x="94615" y="207010"/>
                      </a:lnTo>
                      <a:lnTo>
                        <a:pt x="94653" y="208280"/>
                      </a:lnTo>
                      <a:lnTo>
                        <a:pt x="94945" y="208280"/>
                      </a:lnTo>
                      <a:lnTo>
                        <a:pt x="94996" y="209550"/>
                      </a:lnTo>
                      <a:lnTo>
                        <a:pt x="94424" y="209550"/>
                      </a:lnTo>
                      <a:lnTo>
                        <a:pt x="89065" y="212090"/>
                      </a:lnTo>
                      <a:lnTo>
                        <a:pt x="85280" y="213360"/>
                      </a:lnTo>
                      <a:lnTo>
                        <a:pt x="79057" y="215900"/>
                      </a:lnTo>
                      <a:lnTo>
                        <a:pt x="75692" y="217170"/>
                      </a:lnTo>
                      <a:lnTo>
                        <a:pt x="73101" y="218440"/>
                      </a:lnTo>
                      <a:lnTo>
                        <a:pt x="71170" y="218440"/>
                      </a:lnTo>
                      <a:lnTo>
                        <a:pt x="69824" y="220980"/>
                      </a:lnTo>
                      <a:lnTo>
                        <a:pt x="68541" y="222250"/>
                      </a:lnTo>
                      <a:lnTo>
                        <a:pt x="68110" y="222250"/>
                      </a:lnTo>
                      <a:lnTo>
                        <a:pt x="67081" y="223520"/>
                      </a:lnTo>
                      <a:lnTo>
                        <a:pt x="66382" y="224790"/>
                      </a:lnTo>
                      <a:lnTo>
                        <a:pt x="65493" y="224790"/>
                      </a:lnTo>
                      <a:lnTo>
                        <a:pt x="59080" y="226060"/>
                      </a:lnTo>
                      <a:lnTo>
                        <a:pt x="49961" y="226060"/>
                      </a:lnTo>
                      <a:lnTo>
                        <a:pt x="46926" y="227330"/>
                      </a:lnTo>
                      <a:lnTo>
                        <a:pt x="45796" y="229870"/>
                      </a:lnTo>
                      <a:lnTo>
                        <a:pt x="44691" y="231140"/>
                      </a:lnTo>
                      <a:lnTo>
                        <a:pt x="43637" y="231140"/>
                      </a:lnTo>
                      <a:lnTo>
                        <a:pt x="43281" y="232410"/>
                      </a:lnTo>
                      <a:lnTo>
                        <a:pt x="42887" y="232410"/>
                      </a:lnTo>
                      <a:lnTo>
                        <a:pt x="43167" y="233680"/>
                      </a:lnTo>
                      <a:lnTo>
                        <a:pt x="42989" y="233680"/>
                      </a:lnTo>
                      <a:lnTo>
                        <a:pt x="42760" y="234950"/>
                      </a:lnTo>
                      <a:lnTo>
                        <a:pt x="42265" y="234950"/>
                      </a:lnTo>
                      <a:lnTo>
                        <a:pt x="41744" y="236220"/>
                      </a:lnTo>
                      <a:lnTo>
                        <a:pt x="41287" y="236220"/>
                      </a:lnTo>
                      <a:lnTo>
                        <a:pt x="40805" y="237490"/>
                      </a:lnTo>
                      <a:lnTo>
                        <a:pt x="40182" y="237490"/>
                      </a:lnTo>
                      <a:lnTo>
                        <a:pt x="39776" y="238760"/>
                      </a:lnTo>
                      <a:lnTo>
                        <a:pt x="38671" y="238760"/>
                      </a:lnTo>
                      <a:lnTo>
                        <a:pt x="38036" y="237490"/>
                      </a:lnTo>
                      <a:lnTo>
                        <a:pt x="35737" y="237490"/>
                      </a:lnTo>
                      <a:lnTo>
                        <a:pt x="35242" y="238760"/>
                      </a:lnTo>
                      <a:lnTo>
                        <a:pt x="33197" y="238760"/>
                      </a:lnTo>
                      <a:lnTo>
                        <a:pt x="32626" y="240030"/>
                      </a:lnTo>
                      <a:lnTo>
                        <a:pt x="30403" y="240030"/>
                      </a:lnTo>
                      <a:lnTo>
                        <a:pt x="29832" y="238760"/>
                      </a:lnTo>
                      <a:lnTo>
                        <a:pt x="29451" y="238760"/>
                      </a:lnTo>
                      <a:lnTo>
                        <a:pt x="29146" y="237490"/>
                      </a:lnTo>
                      <a:lnTo>
                        <a:pt x="29019" y="236220"/>
                      </a:lnTo>
                      <a:lnTo>
                        <a:pt x="28371" y="234950"/>
                      </a:lnTo>
                      <a:lnTo>
                        <a:pt x="28651" y="234950"/>
                      </a:lnTo>
                      <a:lnTo>
                        <a:pt x="28181" y="233680"/>
                      </a:lnTo>
                      <a:lnTo>
                        <a:pt x="26758" y="233680"/>
                      </a:lnTo>
                      <a:lnTo>
                        <a:pt x="25590" y="234950"/>
                      </a:lnTo>
                      <a:lnTo>
                        <a:pt x="22161" y="237490"/>
                      </a:lnTo>
                      <a:lnTo>
                        <a:pt x="20891" y="236220"/>
                      </a:lnTo>
                      <a:lnTo>
                        <a:pt x="17310" y="236220"/>
                      </a:lnTo>
                      <a:lnTo>
                        <a:pt x="18072" y="238760"/>
                      </a:lnTo>
                      <a:lnTo>
                        <a:pt x="17894" y="238760"/>
                      </a:lnTo>
                      <a:lnTo>
                        <a:pt x="17526" y="240030"/>
                      </a:lnTo>
                      <a:lnTo>
                        <a:pt x="16014" y="240030"/>
                      </a:lnTo>
                      <a:lnTo>
                        <a:pt x="11366" y="241300"/>
                      </a:lnTo>
                      <a:lnTo>
                        <a:pt x="6083" y="243840"/>
                      </a:lnTo>
                      <a:lnTo>
                        <a:pt x="5397" y="243840"/>
                      </a:lnTo>
                      <a:lnTo>
                        <a:pt x="5232" y="246380"/>
                      </a:lnTo>
                      <a:lnTo>
                        <a:pt x="4787" y="247650"/>
                      </a:lnTo>
                      <a:lnTo>
                        <a:pt x="4203" y="250190"/>
                      </a:lnTo>
                      <a:lnTo>
                        <a:pt x="4038" y="251460"/>
                      </a:lnTo>
                      <a:lnTo>
                        <a:pt x="3441" y="252730"/>
                      </a:lnTo>
                      <a:lnTo>
                        <a:pt x="1168" y="254000"/>
                      </a:lnTo>
                      <a:lnTo>
                        <a:pt x="609" y="254000"/>
                      </a:lnTo>
                      <a:lnTo>
                        <a:pt x="114" y="256540"/>
                      </a:lnTo>
                      <a:lnTo>
                        <a:pt x="0" y="259080"/>
                      </a:lnTo>
                      <a:lnTo>
                        <a:pt x="1130" y="259080"/>
                      </a:lnTo>
                      <a:lnTo>
                        <a:pt x="1600" y="260350"/>
                      </a:lnTo>
                      <a:lnTo>
                        <a:pt x="2184" y="261620"/>
                      </a:lnTo>
                      <a:lnTo>
                        <a:pt x="2667" y="261620"/>
                      </a:lnTo>
                      <a:lnTo>
                        <a:pt x="2832" y="262890"/>
                      </a:lnTo>
                      <a:lnTo>
                        <a:pt x="1625" y="262890"/>
                      </a:lnTo>
                      <a:lnTo>
                        <a:pt x="838" y="264160"/>
                      </a:lnTo>
                      <a:lnTo>
                        <a:pt x="1625" y="265430"/>
                      </a:lnTo>
                      <a:lnTo>
                        <a:pt x="1778" y="265430"/>
                      </a:lnTo>
                      <a:lnTo>
                        <a:pt x="2006" y="266700"/>
                      </a:lnTo>
                      <a:lnTo>
                        <a:pt x="2349" y="266700"/>
                      </a:lnTo>
                      <a:lnTo>
                        <a:pt x="2501" y="267970"/>
                      </a:lnTo>
                      <a:lnTo>
                        <a:pt x="5003" y="267970"/>
                      </a:lnTo>
                      <a:lnTo>
                        <a:pt x="6070" y="266700"/>
                      </a:lnTo>
                      <a:lnTo>
                        <a:pt x="10261" y="266700"/>
                      </a:lnTo>
                      <a:lnTo>
                        <a:pt x="11049" y="267970"/>
                      </a:lnTo>
                      <a:lnTo>
                        <a:pt x="12979" y="267970"/>
                      </a:lnTo>
                      <a:lnTo>
                        <a:pt x="13995" y="269240"/>
                      </a:lnTo>
                      <a:lnTo>
                        <a:pt x="16878" y="270510"/>
                      </a:lnTo>
                      <a:lnTo>
                        <a:pt x="17513" y="271780"/>
                      </a:lnTo>
                      <a:lnTo>
                        <a:pt x="17856" y="273050"/>
                      </a:lnTo>
                      <a:lnTo>
                        <a:pt x="18503" y="278130"/>
                      </a:lnTo>
                      <a:lnTo>
                        <a:pt x="19202" y="283210"/>
                      </a:lnTo>
                      <a:lnTo>
                        <a:pt x="19342" y="283210"/>
                      </a:lnTo>
                      <a:lnTo>
                        <a:pt x="19697" y="285750"/>
                      </a:lnTo>
                      <a:lnTo>
                        <a:pt x="21158" y="287020"/>
                      </a:lnTo>
                      <a:lnTo>
                        <a:pt x="22085" y="288290"/>
                      </a:lnTo>
                      <a:lnTo>
                        <a:pt x="20688" y="289560"/>
                      </a:lnTo>
                      <a:lnTo>
                        <a:pt x="19367" y="289560"/>
                      </a:lnTo>
                      <a:lnTo>
                        <a:pt x="17907" y="290830"/>
                      </a:lnTo>
                      <a:lnTo>
                        <a:pt x="12484" y="290830"/>
                      </a:lnTo>
                      <a:lnTo>
                        <a:pt x="12077" y="292100"/>
                      </a:lnTo>
                      <a:lnTo>
                        <a:pt x="11137" y="292100"/>
                      </a:lnTo>
                      <a:lnTo>
                        <a:pt x="12217" y="293370"/>
                      </a:lnTo>
                      <a:lnTo>
                        <a:pt x="13335" y="294640"/>
                      </a:lnTo>
                      <a:lnTo>
                        <a:pt x="13690" y="294640"/>
                      </a:lnTo>
                      <a:lnTo>
                        <a:pt x="14122" y="293370"/>
                      </a:lnTo>
                      <a:lnTo>
                        <a:pt x="15163" y="293370"/>
                      </a:lnTo>
                      <a:lnTo>
                        <a:pt x="15697" y="294640"/>
                      </a:lnTo>
                      <a:lnTo>
                        <a:pt x="22098" y="294640"/>
                      </a:lnTo>
                      <a:lnTo>
                        <a:pt x="25641" y="295910"/>
                      </a:lnTo>
                      <a:lnTo>
                        <a:pt x="26911" y="297180"/>
                      </a:lnTo>
                      <a:lnTo>
                        <a:pt x="29006" y="298450"/>
                      </a:lnTo>
                      <a:lnTo>
                        <a:pt x="29794" y="298450"/>
                      </a:lnTo>
                      <a:lnTo>
                        <a:pt x="31153" y="299720"/>
                      </a:lnTo>
                      <a:lnTo>
                        <a:pt x="32359" y="300990"/>
                      </a:lnTo>
                      <a:lnTo>
                        <a:pt x="33667" y="303530"/>
                      </a:lnTo>
                      <a:lnTo>
                        <a:pt x="33959" y="303530"/>
                      </a:lnTo>
                      <a:lnTo>
                        <a:pt x="34150" y="304800"/>
                      </a:lnTo>
                      <a:lnTo>
                        <a:pt x="34213" y="307340"/>
                      </a:lnTo>
                      <a:lnTo>
                        <a:pt x="33997" y="307340"/>
                      </a:lnTo>
                      <a:lnTo>
                        <a:pt x="33782" y="308610"/>
                      </a:lnTo>
                      <a:lnTo>
                        <a:pt x="33324" y="308610"/>
                      </a:lnTo>
                      <a:lnTo>
                        <a:pt x="32639" y="309880"/>
                      </a:lnTo>
                      <a:lnTo>
                        <a:pt x="35026" y="312420"/>
                      </a:lnTo>
                      <a:lnTo>
                        <a:pt x="35852" y="312420"/>
                      </a:lnTo>
                      <a:lnTo>
                        <a:pt x="36017" y="313690"/>
                      </a:lnTo>
                      <a:lnTo>
                        <a:pt x="41160" y="313690"/>
                      </a:lnTo>
                      <a:lnTo>
                        <a:pt x="41795" y="312420"/>
                      </a:lnTo>
                      <a:lnTo>
                        <a:pt x="42252" y="314960"/>
                      </a:lnTo>
                      <a:lnTo>
                        <a:pt x="42913" y="314960"/>
                      </a:lnTo>
                      <a:lnTo>
                        <a:pt x="43383" y="316230"/>
                      </a:lnTo>
                      <a:lnTo>
                        <a:pt x="44030" y="316230"/>
                      </a:lnTo>
                      <a:lnTo>
                        <a:pt x="49060" y="318770"/>
                      </a:lnTo>
                      <a:lnTo>
                        <a:pt x="62280" y="318770"/>
                      </a:lnTo>
                      <a:lnTo>
                        <a:pt x="63461" y="317500"/>
                      </a:lnTo>
                      <a:lnTo>
                        <a:pt x="65405" y="317500"/>
                      </a:lnTo>
                      <a:lnTo>
                        <a:pt x="67881" y="316230"/>
                      </a:lnTo>
                      <a:lnTo>
                        <a:pt x="70256" y="314960"/>
                      </a:lnTo>
                      <a:lnTo>
                        <a:pt x="73126" y="312420"/>
                      </a:lnTo>
                      <a:lnTo>
                        <a:pt x="80137" y="312420"/>
                      </a:lnTo>
                      <a:lnTo>
                        <a:pt x="80632" y="311150"/>
                      </a:lnTo>
                      <a:lnTo>
                        <a:pt x="81368" y="311150"/>
                      </a:lnTo>
                      <a:lnTo>
                        <a:pt x="81800" y="312420"/>
                      </a:lnTo>
                      <a:lnTo>
                        <a:pt x="83312" y="312420"/>
                      </a:lnTo>
                      <a:lnTo>
                        <a:pt x="83896" y="313690"/>
                      </a:lnTo>
                      <a:lnTo>
                        <a:pt x="91592" y="320040"/>
                      </a:lnTo>
                      <a:lnTo>
                        <a:pt x="94234" y="320040"/>
                      </a:lnTo>
                      <a:lnTo>
                        <a:pt x="94919" y="318770"/>
                      </a:lnTo>
                      <a:lnTo>
                        <a:pt x="95618" y="318770"/>
                      </a:lnTo>
                      <a:lnTo>
                        <a:pt x="96456" y="320040"/>
                      </a:lnTo>
                      <a:lnTo>
                        <a:pt x="96608" y="320040"/>
                      </a:lnTo>
                      <a:lnTo>
                        <a:pt x="94538" y="326390"/>
                      </a:lnTo>
                      <a:lnTo>
                        <a:pt x="93751" y="327660"/>
                      </a:lnTo>
                      <a:lnTo>
                        <a:pt x="93103" y="328930"/>
                      </a:lnTo>
                      <a:lnTo>
                        <a:pt x="91909" y="330200"/>
                      </a:lnTo>
                      <a:lnTo>
                        <a:pt x="90678" y="331470"/>
                      </a:lnTo>
                      <a:lnTo>
                        <a:pt x="88747" y="334010"/>
                      </a:lnTo>
                      <a:lnTo>
                        <a:pt x="88099" y="335280"/>
                      </a:lnTo>
                      <a:lnTo>
                        <a:pt x="87388" y="336550"/>
                      </a:lnTo>
                      <a:lnTo>
                        <a:pt x="84670" y="336550"/>
                      </a:lnTo>
                      <a:lnTo>
                        <a:pt x="84632" y="337820"/>
                      </a:lnTo>
                      <a:lnTo>
                        <a:pt x="85204" y="339090"/>
                      </a:lnTo>
                      <a:lnTo>
                        <a:pt x="84480" y="341630"/>
                      </a:lnTo>
                      <a:lnTo>
                        <a:pt x="81699" y="342900"/>
                      </a:lnTo>
                      <a:lnTo>
                        <a:pt x="76098" y="342900"/>
                      </a:lnTo>
                      <a:lnTo>
                        <a:pt x="75844" y="344170"/>
                      </a:lnTo>
                      <a:lnTo>
                        <a:pt x="75653" y="344170"/>
                      </a:lnTo>
                      <a:lnTo>
                        <a:pt x="75806" y="345440"/>
                      </a:lnTo>
                      <a:lnTo>
                        <a:pt x="74129" y="346710"/>
                      </a:lnTo>
                      <a:lnTo>
                        <a:pt x="74396" y="347980"/>
                      </a:lnTo>
                      <a:lnTo>
                        <a:pt x="74549" y="347980"/>
                      </a:lnTo>
                      <a:lnTo>
                        <a:pt x="75336" y="350520"/>
                      </a:lnTo>
                      <a:lnTo>
                        <a:pt x="75679" y="351790"/>
                      </a:lnTo>
                      <a:lnTo>
                        <a:pt x="75831" y="353060"/>
                      </a:lnTo>
                      <a:lnTo>
                        <a:pt x="76136" y="353060"/>
                      </a:lnTo>
                      <a:lnTo>
                        <a:pt x="78181" y="354330"/>
                      </a:lnTo>
                      <a:lnTo>
                        <a:pt x="79324" y="355600"/>
                      </a:lnTo>
                      <a:lnTo>
                        <a:pt x="80695" y="356870"/>
                      </a:lnTo>
                      <a:lnTo>
                        <a:pt x="82562" y="356870"/>
                      </a:lnTo>
                      <a:lnTo>
                        <a:pt x="82664" y="358140"/>
                      </a:lnTo>
                      <a:lnTo>
                        <a:pt x="82829" y="358140"/>
                      </a:lnTo>
                      <a:lnTo>
                        <a:pt x="82981" y="360680"/>
                      </a:lnTo>
                      <a:lnTo>
                        <a:pt x="83235" y="361950"/>
                      </a:lnTo>
                      <a:lnTo>
                        <a:pt x="83578" y="361950"/>
                      </a:lnTo>
                      <a:lnTo>
                        <a:pt x="83769" y="363220"/>
                      </a:lnTo>
                      <a:lnTo>
                        <a:pt x="84277" y="363220"/>
                      </a:lnTo>
                      <a:lnTo>
                        <a:pt x="82969" y="365760"/>
                      </a:lnTo>
                      <a:lnTo>
                        <a:pt x="79311" y="369570"/>
                      </a:lnTo>
                      <a:lnTo>
                        <a:pt x="75349" y="369570"/>
                      </a:lnTo>
                      <a:lnTo>
                        <a:pt x="74142" y="368300"/>
                      </a:lnTo>
                      <a:lnTo>
                        <a:pt x="73367" y="367030"/>
                      </a:lnTo>
                      <a:lnTo>
                        <a:pt x="73494" y="365760"/>
                      </a:lnTo>
                      <a:lnTo>
                        <a:pt x="70675" y="365760"/>
                      </a:lnTo>
                      <a:lnTo>
                        <a:pt x="69164" y="367030"/>
                      </a:lnTo>
                      <a:lnTo>
                        <a:pt x="68008" y="365760"/>
                      </a:lnTo>
                      <a:lnTo>
                        <a:pt x="68389" y="368300"/>
                      </a:lnTo>
                      <a:lnTo>
                        <a:pt x="68961" y="369570"/>
                      </a:lnTo>
                      <a:lnTo>
                        <a:pt x="69545" y="372110"/>
                      </a:lnTo>
                      <a:lnTo>
                        <a:pt x="70561" y="373380"/>
                      </a:lnTo>
                      <a:lnTo>
                        <a:pt x="72136" y="374650"/>
                      </a:lnTo>
                      <a:lnTo>
                        <a:pt x="72961" y="375920"/>
                      </a:lnTo>
                      <a:lnTo>
                        <a:pt x="73152" y="379730"/>
                      </a:lnTo>
                      <a:lnTo>
                        <a:pt x="72948" y="381000"/>
                      </a:lnTo>
                      <a:lnTo>
                        <a:pt x="72771" y="383540"/>
                      </a:lnTo>
                      <a:lnTo>
                        <a:pt x="73075" y="383540"/>
                      </a:lnTo>
                      <a:lnTo>
                        <a:pt x="73723" y="384810"/>
                      </a:lnTo>
                      <a:lnTo>
                        <a:pt x="74180" y="386080"/>
                      </a:lnTo>
                      <a:lnTo>
                        <a:pt x="75984" y="386080"/>
                      </a:lnTo>
                      <a:lnTo>
                        <a:pt x="77381" y="384810"/>
                      </a:lnTo>
                      <a:lnTo>
                        <a:pt x="79400" y="384810"/>
                      </a:lnTo>
                      <a:lnTo>
                        <a:pt x="79667" y="386080"/>
                      </a:lnTo>
                      <a:lnTo>
                        <a:pt x="80022" y="386080"/>
                      </a:lnTo>
                      <a:lnTo>
                        <a:pt x="80886" y="387400"/>
                      </a:lnTo>
                      <a:lnTo>
                        <a:pt x="81902" y="388620"/>
                      </a:lnTo>
                      <a:lnTo>
                        <a:pt x="82435" y="389890"/>
                      </a:lnTo>
                      <a:lnTo>
                        <a:pt x="82816" y="389890"/>
                      </a:lnTo>
                      <a:lnTo>
                        <a:pt x="83299" y="391160"/>
                      </a:lnTo>
                      <a:lnTo>
                        <a:pt x="83858" y="391160"/>
                      </a:lnTo>
                      <a:lnTo>
                        <a:pt x="86575" y="392430"/>
                      </a:lnTo>
                      <a:lnTo>
                        <a:pt x="90373" y="392430"/>
                      </a:lnTo>
                      <a:lnTo>
                        <a:pt x="92646" y="393700"/>
                      </a:lnTo>
                      <a:lnTo>
                        <a:pt x="93624" y="394970"/>
                      </a:lnTo>
                      <a:lnTo>
                        <a:pt x="94551" y="394970"/>
                      </a:lnTo>
                      <a:lnTo>
                        <a:pt x="94843" y="396240"/>
                      </a:lnTo>
                      <a:lnTo>
                        <a:pt x="94272" y="397510"/>
                      </a:lnTo>
                      <a:lnTo>
                        <a:pt x="105803" y="403860"/>
                      </a:lnTo>
                      <a:lnTo>
                        <a:pt x="106337" y="403860"/>
                      </a:lnTo>
                      <a:lnTo>
                        <a:pt x="106591" y="405130"/>
                      </a:lnTo>
                      <a:lnTo>
                        <a:pt x="106997" y="406400"/>
                      </a:lnTo>
                      <a:lnTo>
                        <a:pt x="109385" y="406400"/>
                      </a:lnTo>
                      <a:lnTo>
                        <a:pt x="110375" y="403860"/>
                      </a:lnTo>
                      <a:lnTo>
                        <a:pt x="111099" y="402590"/>
                      </a:lnTo>
                      <a:lnTo>
                        <a:pt x="111556" y="401320"/>
                      </a:lnTo>
                      <a:lnTo>
                        <a:pt x="112128" y="401320"/>
                      </a:lnTo>
                      <a:lnTo>
                        <a:pt x="112801" y="400050"/>
                      </a:lnTo>
                      <a:lnTo>
                        <a:pt x="116992" y="400050"/>
                      </a:lnTo>
                      <a:lnTo>
                        <a:pt x="119367" y="401320"/>
                      </a:lnTo>
                      <a:lnTo>
                        <a:pt x="121285" y="402590"/>
                      </a:lnTo>
                      <a:lnTo>
                        <a:pt x="121335" y="403860"/>
                      </a:lnTo>
                      <a:lnTo>
                        <a:pt x="122174" y="405130"/>
                      </a:lnTo>
                      <a:lnTo>
                        <a:pt x="122910" y="406400"/>
                      </a:lnTo>
                      <a:lnTo>
                        <a:pt x="123647" y="406400"/>
                      </a:lnTo>
                      <a:lnTo>
                        <a:pt x="127520" y="407670"/>
                      </a:lnTo>
                      <a:lnTo>
                        <a:pt x="128079" y="408940"/>
                      </a:lnTo>
                      <a:lnTo>
                        <a:pt x="129501" y="410210"/>
                      </a:lnTo>
                      <a:lnTo>
                        <a:pt x="131114" y="411480"/>
                      </a:lnTo>
                      <a:lnTo>
                        <a:pt x="131940" y="411480"/>
                      </a:lnTo>
                      <a:lnTo>
                        <a:pt x="132842" y="412750"/>
                      </a:lnTo>
                      <a:lnTo>
                        <a:pt x="137045" y="412750"/>
                      </a:lnTo>
                      <a:lnTo>
                        <a:pt x="137655" y="414020"/>
                      </a:lnTo>
                      <a:lnTo>
                        <a:pt x="138722" y="414020"/>
                      </a:lnTo>
                      <a:lnTo>
                        <a:pt x="138925" y="415290"/>
                      </a:lnTo>
                      <a:lnTo>
                        <a:pt x="139814" y="415290"/>
                      </a:lnTo>
                      <a:lnTo>
                        <a:pt x="141122" y="417830"/>
                      </a:lnTo>
                      <a:lnTo>
                        <a:pt x="142709" y="419100"/>
                      </a:lnTo>
                      <a:lnTo>
                        <a:pt x="143040" y="420370"/>
                      </a:lnTo>
                      <a:lnTo>
                        <a:pt x="144513" y="420370"/>
                      </a:lnTo>
                      <a:lnTo>
                        <a:pt x="145859" y="419100"/>
                      </a:lnTo>
                      <a:lnTo>
                        <a:pt x="150888" y="419100"/>
                      </a:lnTo>
                      <a:lnTo>
                        <a:pt x="150863" y="420370"/>
                      </a:lnTo>
                      <a:lnTo>
                        <a:pt x="151498" y="421640"/>
                      </a:lnTo>
                      <a:lnTo>
                        <a:pt x="152006" y="421640"/>
                      </a:lnTo>
                      <a:lnTo>
                        <a:pt x="151752" y="424180"/>
                      </a:lnTo>
                      <a:lnTo>
                        <a:pt x="152539" y="424180"/>
                      </a:lnTo>
                      <a:lnTo>
                        <a:pt x="153784" y="425450"/>
                      </a:lnTo>
                      <a:lnTo>
                        <a:pt x="154381" y="426720"/>
                      </a:lnTo>
                      <a:lnTo>
                        <a:pt x="155587" y="426720"/>
                      </a:lnTo>
                      <a:lnTo>
                        <a:pt x="156667" y="427990"/>
                      </a:lnTo>
                      <a:lnTo>
                        <a:pt x="157721" y="427990"/>
                      </a:lnTo>
                      <a:lnTo>
                        <a:pt x="159512" y="429260"/>
                      </a:lnTo>
                      <a:lnTo>
                        <a:pt x="165138" y="429260"/>
                      </a:lnTo>
                      <a:lnTo>
                        <a:pt x="164833" y="430530"/>
                      </a:lnTo>
                      <a:lnTo>
                        <a:pt x="164020" y="433070"/>
                      </a:lnTo>
                      <a:lnTo>
                        <a:pt x="172643" y="433070"/>
                      </a:lnTo>
                      <a:lnTo>
                        <a:pt x="173456" y="434340"/>
                      </a:lnTo>
                      <a:lnTo>
                        <a:pt x="174028" y="434340"/>
                      </a:lnTo>
                      <a:lnTo>
                        <a:pt x="175983" y="436880"/>
                      </a:lnTo>
                      <a:lnTo>
                        <a:pt x="177825" y="439420"/>
                      </a:lnTo>
                      <a:lnTo>
                        <a:pt x="178409" y="438150"/>
                      </a:lnTo>
                      <a:lnTo>
                        <a:pt x="178866" y="436880"/>
                      </a:lnTo>
                      <a:lnTo>
                        <a:pt x="179832" y="435610"/>
                      </a:lnTo>
                      <a:lnTo>
                        <a:pt x="179705" y="438150"/>
                      </a:lnTo>
                      <a:lnTo>
                        <a:pt x="183451" y="438150"/>
                      </a:lnTo>
                      <a:lnTo>
                        <a:pt x="185572" y="439420"/>
                      </a:lnTo>
                      <a:lnTo>
                        <a:pt x="184848" y="436880"/>
                      </a:lnTo>
                      <a:lnTo>
                        <a:pt x="187934" y="436880"/>
                      </a:lnTo>
                      <a:lnTo>
                        <a:pt x="188696" y="438150"/>
                      </a:lnTo>
                      <a:lnTo>
                        <a:pt x="191516" y="438150"/>
                      </a:lnTo>
                      <a:lnTo>
                        <a:pt x="194373" y="439420"/>
                      </a:lnTo>
                      <a:lnTo>
                        <a:pt x="195846" y="439420"/>
                      </a:lnTo>
                      <a:lnTo>
                        <a:pt x="199072" y="440690"/>
                      </a:lnTo>
                      <a:lnTo>
                        <a:pt x="207530" y="440690"/>
                      </a:lnTo>
                      <a:lnTo>
                        <a:pt x="207733" y="440690"/>
                      </a:lnTo>
                      <a:lnTo>
                        <a:pt x="209562" y="439420"/>
                      </a:lnTo>
                      <a:lnTo>
                        <a:pt x="211442" y="438150"/>
                      </a:lnTo>
                      <a:lnTo>
                        <a:pt x="213512" y="436880"/>
                      </a:lnTo>
                      <a:lnTo>
                        <a:pt x="217055" y="436880"/>
                      </a:lnTo>
                      <a:lnTo>
                        <a:pt x="217690" y="438150"/>
                      </a:lnTo>
                      <a:lnTo>
                        <a:pt x="218008" y="439420"/>
                      </a:lnTo>
                      <a:lnTo>
                        <a:pt x="218198" y="440690"/>
                      </a:lnTo>
                      <a:lnTo>
                        <a:pt x="218046" y="441960"/>
                      </a:lnTo>
                      <a:lnTo>
                        <a:pt x="217881" y="441960"/>
                      </a:lnTo>
                      <a:lnTo>
                        <a:pt x="217449" y="443230"/>
                      </a:lnTo>
                      <a:lnTo>
                        <a:pt x="217093" y="444500"/>
                      </a:lnTo>
                      <a:lnTo>
                        <a:pt x="216903" y="445770"/>
                      </a:lnTo>
                      <a:lnTo>
                        <a:pt x="217170" y="447040"/>
                      </a:lnTo>
                      <a:lnTo>
                        <a:pt x="217525" y="447040"/>
                      </a:lnTo>
                      <a:lnTo>
                        <a:pt x="217995" y="448310"/>
                      </a:lnTo>
                      <a:lnTo>
                        <a:pt x="219100" y="448310"/>
                      </a:lnTo>
                      <a:lnTo>
                        <a:pt x="219544" y="447040"/>
                      </a:lnTo>
                      <a:lnTo>
                        <a:pt x="220179" y="445770"/>
                      </a:lnTo>
                      <a:lnTo>
                        <a:pt x="220865" y="445770"/>
                      </a:lnTo>
                      <a:lnTo>
                        <a:pt x="221399" y="444500"/>
                      </a:lnTo>
                      <a:lnTo>
                        <a:pt x="221970" y="443230"/>
                      </a:lnTo>
                      <a:lnTo>
                        <a:pt x="222567" y="443230"/>
                      </a:lnTo>
                      <a:lnTo>
                        <a:pt x="223570" y="440690"/>
                      </a:lnTo>
                      <a:lnTo>
                        <a:pt x="225793" y="439420"/>
                      </a:lnTo>
                      <a:lnTo>
                        <a:pt x="227977" y="436880"/>
                      </a:lnTo>
                      <a:lnTo>
                        <a:pt x="229069" y="435610"/>
                      </a:lnTo>
                      <a:lnTo>
                        <a:pt x="232117" y="434340"/>
                      </a:lnTo>
                      <a:lnTo>
                        <a:pt x="234670" y="433070"/>
                      </a:lnTo>
                      <a:lnTo>
                        <a:pt x="239166" y="433070"/>
                      </a:lnTo>
                      <a:lnTo>
                        <a:pt x="239687" y="434340"/>
                      </a:lnTo>
                      <a:lnTo>
                        <a:pt x="240233" y="435610"/>
                      </a:lnTo>
                      <a:lnTo>
                        <a:pt x="239814" y="436880"/>
                      </a:lnTo>
                      <a:lnTo>
                        <a:pt x="244881" y="436880"/>
                      </a:lnTo>
                      <a:lnTo>
                        <a:pt x="245884" y="438150"/>
                      </a:lnTo>
                      <a:lnTo>
                        <a:pt x="250088" y="438150"/>
                      </a:lnTo>
                      <a:lnTo>
                        <a:pt x="251320" y="436880"/>
                      </a:lnTo>
                      <a:lnTo>
                        <a:pt x="253961" y="436880"/>
                      </a:lnTo>
                      <a:lnTo>
                        <a:pt x="255231" y="438150"/>
                      </a:lnTo>
                      <a:lnTo>
                        <a:pt x="257098" y="438150"/>
                      </a:lnTo>
                      <a:lnTo>
                        <a:pt x="257797" y="439420"/>
                      </a:lnTo>
                      <a:lnTo>
                        <a:pt x="258178" y="439420"/>
                      </a:lnTo>
                      <a:lnTo>
                        <a:pt x="258432" y="440690"/>
                      </a:lnTo>
                      <a:lnTo>
                        <a:pt x="258254" y="440690"/>
                      </a:lnTo>
                      <a:lnTo>
                        <a:pt x="258000" y="441960"/>
                      </a:lnTo>
                      <a:lnTo>
                        <a:pt x="258406" y="441960"/>
                      </a:lnTo>
                      <a:lnTo>
                        <a:pt x="260553" y="441960"/>
                      </a:lnTo>
                      <a:lnTo>
                        <a:pt x="269468" y="440690"/>
                      </a:lnTo>
                      <a:lnTo>
                        <a:pt x="270344" y="440690"/>
                      </a:lnTo>
                      <a:lnTo>
                        <a:pt x="271297" y="439420"/>
                      </a:lnTo>
                      <a:lnTo>
                        <a:pt x="272300" y="439420"/>
                      </a:lnTo>
                      <a:lnTo>
                        <a:pt x="272986" y="438150"/>
                      </a:lnTo>
                      <a:lnTo>
                        <a:pt x="273151" y="438150"/>
                      </a:lnTo>
                      <a:lnTo>
                        <a:pt x="273024" y="436880"/>
                      </a:lnTo>
                      <a:lnTo>
                        <a:pt x="272897" y="436880"/>
                      </a:lnTo>
                      <a:lnTo>
                        <a:pt x="272910" y="435610"/>
                      </a:lnTo>
                      <a:lnTo>
                        <a:pt x="273939" y="435610"/>
                      </a:lnTo>
                      <a:lnTo>
                        <a:pt x="274434" y="434340"/>
                      </a:lnTo>
                      <a:lnTo>
                        <a:pt x="275043" y="434340"/>
                      </a:lnTo>
                      <a:lnTo>
                        <a:pt x="276809" y="433070"/>
                      </a:lnTo>
                      <a:lnTo>
                        <a:pt x="278206" y="433070"/>
                      </a:lnTo>
                      <a:lnTo>
                        <a:pt x="278650" y="431800"/>
                      </a:lnTo>
                      <a:lnTo>
                        <a:pt x="279158" y="431800"/>
                      </a:lnTo>
                      <a:lnTo>
                        <a:pt x="279717" y="430530"/>
                      </a:lnTo>
                      <a:lnTo>
                        <a:pt x="280301" y="427990"/>
                      </a:lnTo>
                      <a:lnTo>
                        <a:pt x="284708" y="427990"/>
                      </a:lnTo>
                      <a:lnTo>
                        <a:pt x="287997" y="426720"/>
                      </a:lnTo>
                      <a:lnTo>
                        <a:pt x="291490" y="425450"/>
                      </a:lnTo>
                      <a:lnTo>
                        <a:pt x="292684" y="424180"/>
                      </a:lnTo>
                      <a:lnTo>
                        <a:pt x="293992" y="422910"/>
                      </a:lnTo>
                      <a:lnTo>
                        <a:pt x="295617" y="420370"/>
                      </a:lnTo>
                      <a:lnTo>
                        <a:pt x="297459" y="420370"/>
                      </a:lnTo>
                      <a:lnTo>
                        <a:pt x="298627" y="419100"/>
                      </a:lnTo>
                      <a:lnTo>
                        <a:pt x="299796" y="417830"/>
                      </a:lnTo>
                      <a:lnTo>
                        <a:pt x="302069" y="417830"/>
                      </a:lnTo>
                      <a:lnTo>
                        <a:pt x="303072" y="419100"/>
                      </a:lnTo>
                      <a:lnTo>
                        <a:pt x="302717" y="419100"/>
                      </a:lnTo>
                      <a:lnTo>
                        <a:pt x="304444" y="420370"/>
                      </a:lnTo>
                      <a:lnTo>
                        <a:pt x="307606" y="420370"/>
                      </a:lnTo>
                      <a:lnTo>
                        <a:pt x="308787" y="421640"/>
                      </a:lnTo>
                      <a:lnTo>
                        <a:pt x="312216" y="421640"/>
                      </a:lnTo>
                      <a:lnTo>
                        <a:pt x="313982" y="420370"/>
                      </a:lnTo>
                      <a:lnTo>
                        <a:pt x="316890" y="417830"/>
                      </a:lnTo>
                      <a:lnTo>
                        <a:pt x="319798" y="415290"/>
                      </a:lnTo>
                      <a:lnTo>
                        <a:pt x="321881" y="415290"/>
                      </a:lnTo>
                      <a:lnTo>
                        <a:pt x="322249" y="416560"/>
                      </a:lnTo>
                      <a:lnTo>
                        <a:pt x="322872" y="416560"/>
                      </a:lnTo>
                      <a:lnTo>
                        <a:pt x="323253" y="417830"/>
                      </a:lnTo>
                      <a:lnTo>
                        <a:pt x="325488" y="417830"/>
                      </a:lnTo>
                      <a:lnTo>
                        <a:pt x="325526" y="419100"/>
                      </a:lnTo>
                      <a:lnTo>
                        <a:pt x="325272" y="419100"/>
                      </a:lnTo>
                      <a:lnTo>
                        <a:pt x="324662" y="420370"/>
                      </a:lnTo>
                      <a:lnTo>
                        <a:pt x="323608" y="420370"/>
                      </a:lnTo>
                      <a:lnTo>
                        <a:pt x="322326" y="421640"/>
                      </a:lnTo>
                      <a:lnTo>
                        <a:pt x="322719" y="421640"/>
                      </a:lnTo>
                      <a:lnTo>
                        <a:pt x="322846" y="424180"/>
                      </a:lnTo>
                      <a:lnTo>
                        <a:pt x="323913" y="422910"/>
                      </a:lnTo>
                      <a:lnTo>
                        <a:pt x="325094" y="422910"/>
                      </a:lnTo>
                      <a:lnTo>
                        <a:pt x="326694" y="421640"/>
                      </a:lnTo>
                      <a:lnTo>
                        <a:pt x="327177" y="421640"/>
                      </a:lnTo>
                      <a:lnTo>
                        <a:pt x="327037" y="422910"/>
                      </a:lnTo>
                      <a:lnTo>
                        <a:pt x="327228" y="422910"/>
                      </a:lnTo>
                      <a:lnTo>
                        <a:pt x="327494" y="424180"/>
                      </a:lnTo>
                      <a:lnTo>
                        <a:pt x="328015" y="424180"/>
                      </a:lnTo>
                      <a:lnTo>
                        <a:pt x="328891" y="425450"/>
                      </a:lnTo>
                      <a:lnTo>
                        <a:pt x="328955" y="426720"/>
                      </a:lnTo>
                      <a:lnTo>
                        <a:pt x="327444" y="426720"/>
                      </a:lnTo>
                      <a:lnTo>
                        <a:pt x="326961" y="427990"/>
                      </a:lnTo>
                      <a:lnTo>
                        <a:pt x="325805" y="429260"/>
                      </a:lnTo>
                      <a:lnTo>
                        <a:pt x="325475" y="429260"/>
                      </a:lnTo>
                      <a:lnTo>
                        <a:pt x="325183" y="430530"/>
                      </a:lnTo>
                      <a:lnTo>
                        <a:pt x="325335" y="430530"/>
                      </a:lnTo>
                      <a:lnTo>
                        <a:pt x="324815" y="431800"/>
                      </a:lnTo>
                      <a:lnTo>
                        <a:pt x="324688" y="431800"/>
                      </a:lnTo>
                      <a:lnTo>
                        <a:pt x="324904" y="433070"/>
                      </a:lnTo>
                      <a:lnTo>
                        <a:pt x="326224" y="433070"/>
                      </a:lnTo>
                      <a:lnTo>
                        <a:pt x="326504" y="431800"/>
                      </a:lnTo>
                      <a:lnTo>
                        <a:pt x="334911" y="431800"/>
                      </a:lnTo>
                      <a:lnTo>
                        <a:pt x="335407" y="433070"/>
                      </a:lnTo>
                      <a:lnTo>
                        <a:pt x="337566" y="433070"/>
                      </a:lnTo>
                      <a:lnTo>
                        <a:pt x="338137" y="434340"/>
                      </a:lnTo>
                      <a:lnTo>
                        <a:pt x="340004" y="434340"/>
                      </a:lnTo>
                      <a:lnTo>
                        <a:pt x="341210" y="431800"/>
                      </a:lnTo>
                      <a:lnTo>
                        <a:pt x="342011" y="430530"/>
                      </a:lnTo>
                      <a:lnTo>
                        <a:pt x="342646" y="430530"/>
                      </a:lnTo>
                      <a:lnTo>
                        <a:pt x="344093" y="429260"/>
                      </a:lnTo>
                      <a:lnTo>
                        <a:pt x="344360" y="429260"/>
                      </a:lnTo>
                      <a:lnTo>
                        <a:pt x="344512" y="430530"/>
                      </a:lnTo>
                      <a:lnTo>
                        <a:pt x="344944" y="430530"/>
                      </a:lnTo>
                      <a:lnTo>
                        <a:pt x="344995" y="431800"/>
                      </a:lnTo>
                      <a:lnTo>
                        <a:pt x="347040" y="431800"/>
                      </a:lnTo>
                      <a:lnTo>
                        <a:pt x="347751" y="433070"/>
                      </a:lnTo>
                      <a:lnTo>
                        <a:pt x="348500" y="433070"/>
                      </a:lnTo>
                      <a:lnTo>
                        <a:pt x="348996" y="434340"/>
                      </a:lnTo>
                      <a:lnTo>
                        <a:pt x="351726" y="436880"/>
                      </a:lnTo>
                      <a:lnTo>
                        <a:pt x="351218" y="440690"/>
                      </a:lnTo>
                      <a:lnTo>
                        <a:pt x="352577" y="441960"/>
                      </a:lnTo>
                      <a:lnTo>
                        <a:pt x="353072" y="443230"/>
                      </a:lnTo>
                      <a:lnTo>
                        <a:pt x="356831" y="443230"/>
                      </a:lnTo>
                      <a:lnTo>
                        <a:pt x="357416" y="444500"/>
                      </a:lnTo>
                      <a:lnTo>
                        <a:pt x="358902" y="444500"/>
                      </a:lnTo>
                      <a:lnTo>
                        <a:pt x="359079" y="445770"/>
                      </a:lnTo>
                      <a:lnTo>
                        <a:pt x="359752" y="448310"/>
                      </a:lnTo>
                      <a:lnTo>
                        <a:pt x="359689" y="453390"/>
                      </a:lnTo>
                      <a:lnTo>
                        <a:pt x="359918" y="456247"/>
                      </a:lnTo>
                      <a:lnTo>
                        <a:pt x="360045" y="459740"/>
                      </a:lnTo>
                      <a:lnTo>
                        <a:pt x="359562" y="461010"/>
                      </a:lnTo>
                      <a:lnTo>
                        <a:pt x="359435" y="462280"/>
                      </a:lnTo>
                      <a:lnTo>
                        <a:pt x="359054" y="463550"/>
                      </a:lnTo>
                      <a:lnTo>
                        <a:pt x="358571" y="463550"/>
                      </a:lnTo>
                      <a:lnTo>
                        <a:pt x="358063" y="466090"/>
                      </a:lnTo>
                      <a:lnTo>
                        <a:pt x="357657" y="466090"/>
                      </a:lnTo>
                      <a:lnTo>
                        <a:pt x="357543" y="467360"/>
                      </a:lnTo>
                      <a:lnTo>
                        <a:pt x="357416" y="467360"/>
                      </a:lnTo>
                      <a:lnTo>
                        <a:pt x="357682" y="468630"/>
                      </a:lnTo>
                      <a:lnTo>
                        <a:pt x="357974" y="469900"/>
                      </a:lnTo>
                      <a:lnTo>
                        <a:pt x="358254" y="469900"/>
                      </a:lnTo>
                      <a:lnTo>
                        <a:pt x="358521" y="471170"/>
                      </a:lnTo>
                      <a:lnTo>
                        <a:pt x="358267" y="471170"/>
                      </a:lnTo>
                      <a:lnTo>
                        <a:pt x="358076" y="472440"/>
                      </a:lnTo>
                      <a:lnTo>
                        <a:pt x="357327" y="472440"/>
                      </a:lnTo>
                      <a:lnTo>
                        <a:pt x="356374" y="473710"/>
                      </a:lnTo>
                      <a:lnTo>
                        <a:pt x="354952" y="474980"/>
                      </a:lnTo>
                      <a:lnTo>
                        <a:pt x="352183" y="476250"/>
                      </a:lnTo>
                      <a:lnTo>
                        <a:pt x="351294" y="473710"/>
                      </a:lnTo>
                      <a:lnTo>
                        <a:pt x="350685" y="476250"/>
                      </a:lnTo>
                      <a:lnTo>
                        <a:pt x="350494" y="477520"/>
                      </a:lnTo>
                      <a:lnTo>
                        <a:pt x="350329" y="477520"/>
                      </a:lnTo>
                      <a:lnTo>
                        <a:pt x="350139" y="478790"/>
                      </a:lnTo>
                      <a:lnTo>
                        <a:pt x="348665" y="478790"/>
                      </a:lnTo>
                      <a:lnTo>
                        <a:pt x="347611" y="480060"/>
                      </a:lnTo>
                      <a:lnTo>
                        <a:pt x="347294" y="480060"/>
                      </a:lnTo>
                      <a:lnTo>
                        <a:pt x="346329" y="481330"/>
                      </a:lnTo>
                      <a:lnTo>
                        <a:pt x="346202" y="481330"/>
                      </a:lnTo>
                      <a:lnTo>
                        <a:pt x="345694" y="483870"/>
                      </a:lnTo>
                      <a:lnTo>
                        <a:pt x="345795" y="486410"/>
                      </a:lnTo>
                      <a:lnTo>
                        <a:pt x="345274" y="486410"/>
                      </a:lnTo>
                      <a:lnTo>
                        <a:pt x="344436" y="487680"/>
                      </a:lnTo>
                      <a:lnTo>
                        <a:pt x="344195" y="487680"/>
                      </a:lnTo>
                      <a:lnTo>
                        <a:pt x="341858" y="488950"/>
                      </a:lnTo>
                      <a:lnTo>
                        <a:pt x="342239" y="490220"/>
                      </a:lnTo>
                      <a:lnTo>
                        <a:pt x="342239" y="492760"/>
                      </a:lnTo>
                      <a:lnTo>
                        <a:pt x="343877" y="492760"/>
                      </a:lnTo>
                      <a:lnTo>
                        <a:pt x="344068" y="494030"/>
                      </a:lnTo>
                      <a:lnTo>
                        <a:pt x="344208" y="494030"/>
                      </a:lnTo>
                      <a:lnTo>
                        <a:pt x="344741" y="495300"/>
                      </a:lnTo>
                      <a:lnTo>
                        <a:pt x="344830" y="496570"/>
                      </a:lnTo>
                      <a:lnTo>
                        <a:pt x="344220" y="496570"/>
                      </a:lnTo>
                      <a:lnTo>
                        <a:pt x="343636" y="497840"/>
                      </a:lnTo>
                      <a:lnTo>
                        <a:pt x="343090" y="499110"/>
                      </a:lnTo>
                      <a:lnTo>
                        <a:pt x="342849" y="499110"/>
                      </a:lnTo>
                      <a:lnTo>
                        <a:pt x="342519" y="500380"/>
                      </a:lnTo>
                      <a:lnTo>
                        <a:pt x="342150" y="500380"/>
                      </a:lnTo>
                      <a:lnTo>
                        <a:pt x="343369" y="501650"/>
                      </a:lnTo>
                      <a:lnTo>
                        <a:pt x="345224" y="501650"/>
                      </a:lnTo>
                      <a:lnTo>
                        <a:pt x="348742" y="499110"/>
                      </a:lnTo>
                      <a:lnTo>
                        <a:pt x="350710" y="497840"/>
                      </a:lnTo>
                      <a:lnTo>
                        <a:pt x="359473" y="497840"/>
                      </a:lnTo>
                      <a:lnTo>
                        <a:pt x="361518" y="496570"/>
                      </a:lnTo>
                      <a:lnTo>
                        <a:pt x="358851" y="501650"/>
                      </a:lnTo>
                      <a:lnTo>
                        <a:pt x="358863" y="502920"/>
                      </a:lnTo>
                      <a:lnTo>
                        <a:pt x="359092" y="502920"/>
                      </a:lnTo>
                      <a:lnTo>
                        <a:pt x="360616" y="508000"/>
                      </a:lnTo>
                      <a:lnTo>
                        <a:pt x="361543" y="510540"/>
                      </a:lnTo>
                      <a:lnTo>
                        <a:pt x="362140" y="511810"/>
                      </a:lnTo>
                      <a:lnTo>
                        <a:pt x="362940" y="511810"/>
                      </a:lnTo>
                      <a:lnTo>
                        <a:pt x="364515" y="513080"/>
                      </a:lnTo>
                      <a:lnTo>
                        <a:pt x="370382" y="513080"/>
                      </a:lnTo>
                      <a:lnTo>
                        <a:pt x="370624" y="514350"/>
                      </a:lnTo>
                      <a:lnTo>
                        <a:pt x="370878" y="514350"/>
                      </a:lnTo>
                      <a:lnTo>
                        <a:pt x="371182" y="515620"/>
                      </a:lnTo>
                      <a:lnTo>
                        <a:pt x="370687" y="515620"/>
                      </a:lnTo>
                      <a:lnTo>
                        <a:pt x="370103" y="516890"/>
                      </a:lnTo>
                      <a:lnTo>
                        <a:pt x="368871" y="516890"/>
                      </a:lnTo>
                      <a:lnTo>
                        <a:pt x="368655" y="518160"/>
                      </a:lnTo>
                      <a:lnTo>
                        <a:pt x="368223" y="518160"/>
                      </a:lnTo>
                      <a:lnTo>
                        <a:pt x="368020" y="519430"/>
                      </a:lnTo>
                      <a:lnTo>
                        <a:pt x="367601" y="520700"/>
                      </a:lnTo>
                      <a:lnTo>
                        <a:pt x="367398" y="521970"/>
                      </a:lnTo>
                      <a:lnTo>
                        <a:pt x="366598" y="524510"/>
                      </a:lnTo>
                      <a:lnTo>
                        <a:pt x="366102" y="525780"/>
                      </a:lnTo>
                      <a:lnTo>
                        <a:pt x="365480" y="527050"/>
                      </a:lnTo>
                      <a:lnTo>
                        <a:pt x="375348" y="528320"/>
                      </a:lnTo>
                      <a:lnTo>
                        <a:pt x="376631" y="528320"/>
                      </a:lnTo>
                      <a:lnTo>
                        <a:pt x="376859" y="529590"/>
                      </a:lnTo>
                      <a:lnTo>
                        <a:pt x="376961" y="530860"/>
                      </a:lnTo>
                      <a:lnTo>
                        <a:pt x="376923" y="532130"/>
                      </a:lnTo>
                      <a:lnTo>
                        <a:pt x="377075" y="533400"/>
                      </a:lnTo>
                      <a:lnTo>
                        <a:pt x="377520" y="533400"/>
                      </a:lnTo>
                      <a:lnTo>
                        <a:pt x="378587" y="535940"/>
                      </a:lnTo>
                      <a:lnTo>
                        <a:pt x="379056" y="535940"/>
                      </a:lnTo>
                      <a:lnTo>
                        <a:pt x="379691" y="537210"/>
                      </a:lnTo>
                      <a:lnTo>
                        <a:pt x="380250" y="538480"/>
                      </a:lnTo>
                      <a:lnTo>
                        <a:pt x="380530" y="538480"/>
                      </a:lnTo>
                      <a:lnTo>
                        <a:pt x="387045" y="535940"/>
                      </a:lnTo>
                      <a:lnTo>
                        <a:pt x="388200" y="535940"/>
                      </a:lnTo>
                      <a:lnTo>
                        <a:pt x="390067" y="534670"/>
                      </a:lnTo>
                      <a:lnTo>
                        <a:pt x="390715" y="534670"/>
                      </a:lnTo>
                      <a:lnTo>
                        <a:pt x="391960" y="533400"/>
                      </a:lnTo>
                      <a:lnTo>
                        <a:pt x="393446" y="533400"/>
                      </a:lnTo>
                      <a:lnTo>
                        <a:pt x="393814" y="534670"/>
                      </a:lnTo>
                      <a:lnTo>
                        <a:pt x="393674" y="535940"/>
                      </a:lnTo>
                      <a:lnTo>
                        <a:pt x="393839" y="535940"/>
                      </a:lnTo>
                      <a:lnTo>
                        <a:pt x="394182" y="537210"/>
                      </a:lnTo>
                      <a:lnTo>
                        <a:pt x="394944" y="541020"/>
                      </a:lnTo>
                      <a:lnTo>
                        <a:pt x="396062" y="542290"/>
                      </a:lnTo>
                      <a:lnTo>
                        <a:pt x="396481" y="542290"/>
                      </a:lnTo>
                      <a:lnTo>
                        <a:pt x="396646" y="541020"/>
                      </a:lnTo>
                      <a:lnTo>
                        <a:pt x="398843" y="541020"/>
                      </a:lnTo>
                      <a:lnTo>
                        <a:pt x="399834" y="542290"/>
                      </a:lnTo>
                      <a:lnTo>
                        <a:pt x="402082" y="542290"/>
                      </a:lnTo>
                      <a:lnTo>
                        <a:pt x="403847" y="541020"/>
                      </a:lnTo>
                      <a:lnTo>
                        <a:pt x="403085" y="541020"/>
                      </a:lnTo>
                      <a:lnTo>
                        <a:pt x="402767" y="539750"/>
                      </a:lnTo>
                      <a:lnTo>
                        <a:pt x="401891" y="539750"/>
                      </a:lnTo>
                      <a:lnTo>
                        <a:pt x="402488" y="535940"/>
                      </a:lnTo>
                      <a:lnTo>
                        <a:pt x="402717" y="534670"/>
                      </a:lnTo>
                      <a:lnTo>
                        <a:pt x="402869" y="533400"/>
                      </a:lnTo>
                      <a:lnTo>
                        <a:pt x="402742" y="532130"/>
                      </a:lnTo>
                      <a:lnTo>
                        <a:pt x="401548" y="529590"/>
                      </a:lnTo>
                      <a:lnTo>
                        <a:pt x="400088" y="527050"/>
                      </a:lnTo>
                      <a:lnTo>
                        <a:pt x="399503" y="527050"/>
                      </a:lnTo>
                      <a:lnTo>
                        <a:pt x="399834" y="525780"/>
                      </a:lnTo>
                      <a:lnTo>
                        <a:pt x="401383" y="523240"/>
                      </a:lnTo>
                      <a:lnTo>
                        <a:pt x="401662" y="521970"/>
                      </a:lnTo>
                      <a:lnTo>
                        <a:pt x="403237" y="521970"/>
                      </a:lnTo>
                      <a:lnTo>
                        <a:pt x="406095" y="523240"/>
                      </a:lnTo>
                      <a:lnTo>
                        <a:pt x="408647" y="523240"/>
                      </a:lnTo>
                      <a:lnTo>
                        <a:pt x="409879" y="521970"/>
                      </a:lnTo>
                      <a:lnTo>
                        <a:pt x="411111" y="520700"/>
                      </a:lnTo>
                      <a:lnTo>
                        <a:pt x="412496" y="519430"/>
                      </a:lnTo>
                      <a:lnTo>
                        <a:pt x="412838" y="518160"/>
                      </a:lnTo>
                      <a:lnTo>
                        <a:pt x="414629" y="518160"/>
                      </a:lnTo>
                      <a:lnTo>
                        <a:pt x="417652" y="520700"/>
                      </a:lnTo>
                      <a:lnTo>
                        <a:pt x="418592" y="520700"/>
                      </a:lnTo>
                      <a:lnTo>
                        <a:pt x="419290" y="521970"/>
                      </a:lnTo>
                      <a:lnTo>
                        <a:pt x="419811" y="521970"/>
                      </a:lnTo>
                      <a:lnTo>
                        <a:pt x="420585" y="523240"/>
                      </a:lnTo>
                      <a:lnTo>
                        <a:pt x="421424" y="523240"/>
                      </a:lnTo>
                      <a:lnTo>
                        <a:pt x="421335" y="521970"/>
                      </a:lnTo>
                      <a:lnTo>
                        <a:pt x="422389" y="521970"/>
                      </a:lnTo>
                      <a:lnTo>
                        <a:pt x="422325" y="520700"/>
                      </a:lnTo>
                      <a:lnTo>
                        <a:pt x="423125" y="520700"/>
                      </a:lnTo>
                      <a:lnTo>
                        <a:pt x="424637" y="518160"/>
                      </a:lnTo>
                      <a:lnTo>
                        <a:pt x="426554" y="518160"/>
                      </a:lnTo>
                      <a:lnTo>
                        <a:pt x="426872" y="519430"/>
                      </a:lnTo>
                      <a:lnTo>
                        <a:pt x="427748" y="520700"/>
                      </a:lnTo>
                      <a:lnTo>
                        <a:pt x="428726" y="519430"/>
                      </a:lnTo>
                      <a:lnTo>
                        <a:pt x="429107" y="519430"/>
                      </a:lnTo>
                      <a:lnTo>
                        <a:pt x="429768" y="518160"/>
                      </a:lnTo>
                      <a:lnTo>
                        <a:pt x="430377" y="518160"/>
                      </a:lnTo>
                      <a:lnTo>
                        <a:pt x="431190" y="519430"/>
                      </a:lnTo>
                      <a:lnTo>
                        <a:pt x="431927" y="519430"/>
                      </a:lnTo>
                      <a:lnTo>
                        <a:pt x="432968" y="520700"/>
                      </a:lnTo>
                      <a:lnTo>
                        <a:pt x="433692" y="523240"/>
                      </a:lnTo>
                      <a:lnTo>
                        <a:pt x="438480" y="516890"/>
                      </a:lnTo>
                      <a:lnTo>
                        <a:pt x="439470" y="518160"/>
                      </a:lnTo>
                      <a:lnTo>
                        <a:pt x="439953" y="519430"/>
                      </a:lnTo>
                      <a:lnTo>
                        <a:pt x="440753" y="519430"/>
                      </a:lnTo>
                      <a:lnTo>
                        <a:pt x="441591" y="518160"/>
                      </a:lnTo>
                      <a:lnTo>
                        <a:pt x="444169" y="518160"/>
                      </a:lnTo>
                      <a:lnTo>
                        <a:pt x="444754" y="516890"/>
                      </a:lnTo>
                      <a:lnTo>
                        <a:pt x="445731" y="516890"/>
                      </a:lnTo>
                      <a:lnTo>
                        <a:pt x="446392" y="515620"/>
                      </a:lnTo>
                      <a:lnTo>
                        <a:pt x="446747" y="515620"/>
                      </a:lnTo>
                      <a:lnTo>
                        <a:pt x="447675" y="514350"/>
                      </a:lnTo>
                      <a:lnTo>
                        <a:pt x="448195" y="513080"/>
                      </a:lnTo>
                      <a:lnTo>
                        <a:pt x="448970" y="511810"/>
                      </a:lnTo>
                      <a:lnTo>
                        <a:pt x="449999" y="510540"/>
                      </a:lnTo>
                      <a:lnTo>
                        <a:pt x="452589" y="509270"/>
                      </a:lnTo>
                      <a:lnTo>
                        <a:pt x="454367" y="509270"/>
                      </a:lnTo>
                      <a:lnTo>
                        <a:pt x="455168" y="510540"/>
                      </a:lnTo>
                      <a:lnTo>
                        <a:pt x="455561" y="510540"/>
                      </a:lnTo>
                      <a:lnTo>
                        <a:pt x="456209" y="511810"/>
                      </a:lnTo>
                      <a:lnTo>
                        <a:pt x="457136" y="511810"/>
                      </a:lnTo>
                      <a:lnTo>
                        <a:pt x="457987" y="513080"/>
                      </a:lnTo>
                      <a:lnTo>
                        <a:pt x="459397" y="514350"/>
                      </a:lnTo>
                      <a:lnTo>
                        <a:pt x="459841" y="514350"/>
                      </a:lnTo>
                      <a:lnTo>
                        <a:pt x="462165" y="515620"/>
                      </a:lnTo>
                      <a:lnTo>
                        <a:pt x="464096" y="515620"/>
                      </a:lnTo>
                      <a:lnTo>
                        <a:pt x="468833" y="516890"/>
                      </a:lnTo>
                      <a:lnTo>
                        <a:pt x="471119" y="515620"/>
                      </a:lnTo>
                      <a:lnTo>
                        <a:pt x="472973" y="516890"/>
                      </a:lnTo>
                      <a:lnTo>
                        <a:pt x="474218" y="516890"/>
                      </a:lnTo>
                      <a:lnTo>
                        <a:pt x="474294" y="518160"/>
                      </a:lnTo>
                      <a:lnTo>
                        <a:pt x="474548" y="516890"/>
                      </a:lnTo>
                      <a:lnTo>
                        <a:pt x="475094" y="518160"/>
                      </a:lnTo>
                      <a:lnTo>
                        <a:pt x="474332" y="519430"/>
                      </a:lnTo>
                      <a:lnTo>
                        <a:pt x="473443" y="519430"/>
                      </a:lnTo>
                      <a:lnTo>
                        <a:pt x="471512" y="523240"/>
                      </a:lnTo>
                      <a:lnTo>
                        <a:pt x="471297" y="523240"/>
                      </a:lnTo>
                      <a:lnTo>
                        <a:pt x="471690" y="524510"/>
                      </a:lnTo>
                      <a:lnTo>
                        <a:pt x="472097" y="524510"/>
                      </a:lnTo>
                      <a:lnTo>
                        <a:pt x="472554" y="525780"/>
                      </a:lnTo>
                      <a:lnTo>
                        <a:pt x="472859" y="527050"/>
                      </a:lnTo>
                      <a:lnTo>
                        <a:pt x="473075" y="527050"/>
                      </a:lnTo>
                      <a:lnTo>
                        <a:pt x="473252" y="528320"/>
                      </a:lnTo>
                      <a:lnTo>
                        <a:pt x="473024" y="529590"/>
                      </a:lnTo>
                      <a:lnTo>
                        <a:pt x="473646" y="530860"/>
                      </a:lnTo>
                      <a:lnTo>
                        <a:pt x="476681" y="529590"/>
                      </a:lnTo>
                      <a:lnTo>
                        <a:pt x="478332" y="530860"/>
                      </a:lnTo>
                      <a:lnTo>
                        <a:pt x="478891" y="530860"/>
                      </a:lnTo>
                      <a:lnTo>
                        <a:pt x="479501" y="532130"/>
                      </a:lnTo>
                      <a:lnTo>
                        <a:pt x="481393" y="533400"/>
                      </a:lnTo>
                      <a:lnTo>
                        <a:pt x="482244" y="535940"/>
                      </a:lnTo>
                      <a:lnTo>
                        <a:pt x="484212" y="534670"/>
                      </a:lnTo>
                      <a:lnTo>
                        <a:pt x="487540" y="534670"/>
                      </a:lnTo>
                      <a:lnTo>
                        <a:pt x="489610" y="535940"/>
                      </a:lnTo>
                      <a:lnTo>
                        <a:pt x="491401" y="535940"/>
                      </a:lnTo>
                      <a:lnTo>
                        <a:pt x="492163" y="537210"/>
                      </a:lnTo>
                      <a:lnTo>
                        <a:pt x="492594" y="535940"/>
                      </a:lnTo>
                      <a:lnTo>
                        <a:pt x="494360" y="535940"/>
                      </a:lnTo>
                      <a:lnTo>
                        <a:pt x="495274" y="534670"/>
                      </a:lnTo>
                      <a:lnTo>
                        <a:pt x="495388" y="535940"/>
                      </a:lnTo>
                      <a:lnTo>
                        <a:pt x="495046" y="537210"/>
                      </a:lnTo>
                      <a:lnTo>
                        <a:pt x="495617" y="537210"/>
                      </a:lnTo>
                      <a:lnTo>
                        <a:pt x="496087" y="535940"/>
                      </a:lnTo>
                      <a:lnTo>
                        <a:pt x="496366" y="534670"/>
                      </a:lnTo>
                      <a:lnTo>
                        <a:pt x="496735" y="533400"/>
                      </a:lnTo>
                      <a:lnTo>
                        <a:pt x="498665" y="534670"/>
                      </a:lnTo>
                      <a:lnTo>
                        <a:pt x="499275" y="535940"/>
                      </a:lnTo>
                      <a:lnTo>
                        <a:pt x="499630" y="534670"/>
                      </a:lnTo>
                      <a:lnTo>
                        <a:pt x="499173" y="534670"/>
                      </a:lnTo>
                      <a:lnTo>
                        <a:pt x="498932" y="533400"/>
                      </a:lnTo>
                      <a:lnTo>
                        <a:pt x="498589" y="532130"/>
                      </a:lnTo>
                      <a:lnTo>
                        <a:pt x="498360" y="529590"/>
                      </a:lnTo>
                      <a:lnTo>
                        <a:pt x="500049" y="530860"/>
                      </a:lnTo>
                      <a:lnTo>
                        <a:pt x="500976" y="530860"/>
                      </a:lnTo>
                      <a:lnTo>
                        <a:pt x="500672" y="532130"/>
                      </a:lnTo>
                      <a:lnTo>
                        <a:pt x="501789" y="532130"/>
                      </a:lnTo>
                      <a:lnTo>
                        <a:pt x="501091" y="533400"/>
                      </a:lnTo>
                      <a:lnTo>
                        <a:pt x="502208" y="533400"/>
                      </a:lnTo>
                      <a:lnTo>
                        <a:pt x="503262" y="535940"/>
                      </a:lnTo>
                      <a:lnTo>
                        <a:pt x="504228" y="534670"/>
                      </a:lnTo>
                      <a:lnTo>
                        <a:pt x="504723" y="533400"/>
                      </a:lnTo>
                      <a:lnTo>
                        <a:pt x="504990" y="533400"/>
                      </a:lnTo>
                      <a:lnTo>
                        <a:pt x="504913" y="534670"/>
                      </a:lnTo>
                      <a:lnTo>
                        <a:pt x="504761" y="534670"/>
                      </a:lnTo>
                      <a:lnTo>
                        <a:pt x="506107" y="535940"/>
                      </a:lnTo>
                      <a:lnTo>
                        <a:pt x="507149" y="535940"/>
                      </a:lnTo>
                      <a:lnTo>
                        <a:pt x="508228" y="537210"/>
                      </a:lnTo>
                      <a:lnTo>
                        <a:pt x="508304" y="538480"/>
                      </a:lnTo>
                      <a:lnTo>
                        <a:pt x="512038" y="538480"/>
                      </a:lnTo>
                      <a:lnTo>
                        <a:pt x="514743" y="537210"/>
                      </a:lnTo>
                      <a:lnTo>
                        <a:pt x="514553" y="534670"/>
                      </a:lnTo>
                      <a:lnTo>
                        <a:pt x="515556" y="534670"/>
                      </a:lnTo>
                      <a:lnTo>
                        <a:pt x="516255" y="535940"/>
                      </a:lnTo>
                      <a:lnTo>
                        <a:pt x="516445" y="537210"/>
                      </a:lnTo>
                      <a:lnTo>
                        <a:pt x="516826" y="537210"/>
                      </a:lnTo>
                      <a:lnTo>
                        <a:pt x="516864" y="535940"/>
                      </a:lnTo>
                      <a:lnTo>
                        <a:pt x="516953" y="536067"/>
                      </a:lnTo>
                      <a:lnTo>
                        <a:pt x="517829" y="537210"/>
                      </a:lnTo>
                      <a:lnTo>
                        <a:pt x="519684" y="537210"/>
                      </a:lnTo>
                      <a:lnTo>
                        <a:pt x="519099" y="538480"/>
                      </a:lnTo>
                      <a:lnTo>
                        <a:pt x="518096" y="539750"/>
                      </a:lnTo>
                      <a:lnTo>
                        <a:pt x="517207" y="539750"/>
                      </a:lnTo>
                      <a:lnTo>
                        <a:pt x="517410" y="541020"/>
                      </a:lnTo>
                      <a:lnTo>
                        <a:pt x="516788" y="542290"/>
                      </a:lnTo>
                      <a:lnTo>
                        <a:pt x="515556" y="541020"/>
                      </a:lnTo>
                      <a:lnTo>
                        <a:pt x="516102" y="543560"/>
                      </a:lnTo>
                      <a:lnTo>
                        <a:pt x="515937" y="547370"/>
                      </a:lnTo>
                      <a:lnTo>
                        <a:pt x="516483" y="548640"/>
                      </a:lnTo>
                      <a:lnTo>
                        <a:pt x="518528" y="552450"/>
                      </a:lnTo>
                      <a:lnTo>
                        <a:pt x="518795" y="554990"/>
                      </a:lnTo>
                      <a:lnTo>
                        <a:pt x="521030" y="556260"/>
                      </a:lnTo>
                      <a:lnTo>
                        <a:pt x="525272" y="556260"/>
                      </a:lnTo>
                      <a:lnTo>
                        <a:pt x="528320" y="553720"/>
                      </a:lnTo>
                      <a:lnTo>
                        <a:pt x="527735" y="552450"/>
                      </a:lnTo>
                      <a:lnTo>
                        <a:pt x="526351" y="551180"/>
                      </a:lnTo>
                      <a:lnTo>
                        <a:pt x="525767" y="549910"/>
                      </a:lnTo>
                      <a:lnTo>
                        <a:pt x="524840" y="549910"/>
                      </a:lnTo>
                      <a:lnTo>
                        <a:pt x="524954" y="548640"/>
                      </a:lnTo>
                      <a:lnTo>
                        <a:pt x="525081" y="547370"/>
                      </a:lnTo>
                      <a:lnTo>
                        <a:pt x="525310" y="548640"/>
                      </a:lnTo>
                      <a:lnTo>
                        <a:pt x="526008" y="548640"/>
                      </a:lnTo>
                      <a:lnTo>
                        <a:pt x="525995" y="547370"/>
                      </a:lnTo>
                      <a:lnTo>
                        <a:pt x="525970" y="544830"/>
                      </a:lnTo>
                      <a:lnTo>
                        <a:pt x="523265" y="548640"/>
                      </a:lnTo>
                      <a:lnTo>
                        <a:pt x="522300" y="543560"/>
                      </a:lnTo>
                      <a:lnTo>
                        <a:pt x="525767" y="542290"/>
                      </a:lnTo>
                      <a:lnTo>
                        <a:pt x="526084" y="539750"/>
                      </a:lnTo>
                      <a:lnTo>
                        <a:pt x="525386" y="539750"/>
                      </a:lnTo>
                      <a:lnTo>
                        <a:pt x="525614" y="538480"/>
                      </a:lnTo>
                      <a:lnTo>
                        <a:pt x="526542" y="538480"/>
                      </a:lnTo>
                      <a:lnTo>
                        <a:pt x="526237" y="539750"/>
                      </a:lnTo>
                      <a:lnTo>
                        <a:pt x="527278" y="539750"/>
                      </a:lnTo>
                      <a:lnTo>
                        <a:pt x="526897" y="541020"/>
                      </a:lnTo>
                      <a:lnTo>
                        <a:pt x="526580" y="541020"/>
                      </a:lnTo>
                      <a:lnTo>
                        <a:pt x="526580" y="542290"/>
                      </a:lnTo>
                      <a:lnTo>
                        <a:pt x="529818" y="541020"/>
                      </a:lnTo>
                      <a:lnTo>
                        <a:pt x="532866" y="538480"/>
                      </a:lnTo>
                      <a:lnTo>
                        <a:pt x="539534" y="535940"/>
                      </a:lnTo>
                      <a:lnTo>
                        <a:pt x="542632" y="535940"/>
                      </a:lnTo>
                      <a:lnTo>
                        <a:pt x="546049" y="534670"/>
                      </a:lnTo>
                      <a:lnTo>
                        <a:pt x="545744" y="533400"/>
                      </a:lnTo>
                      <a:lnTo>
                        <a:pt x="546595" y="533400"/>
                      </a:lnTo>
                      <a:lnTo>
                        <a:pt x="547370" y="534670"/>
                      </a:lnTo>
                      <a:lnTo>
                        <a:pt x="549059" y="533400"/>
                      </a:lnTo>
                      <a:lnTo>
                        <a:pt x="547903" y="533400"/>
                      </a:lnTo>
                      <a:lnTo>
                        <a:pt x="547560" y="532130"/>
                      </a:lnTo>
                      <a:lnTo>
                        <a:pt x="547751" y="530860"/>
                      </a:lnTo>
                      <a:lnTo>
                        <a:pt x="548170" y="532130"/>
                      </a:lnTo>
                      <a:lnTo>
                        <a:pt x="548944" y="532130"/>
                      </a:lnTo>
                      <a:lnTo>
                        <a:pt x="549757" y="530860"/>
                      </a:lnTo>
                      <a:lnTo>
                        <a:pt x="549567" y="532130"/>
                      </a:lnTo>
                      <a:lnTo>
                        <a:pt x="552183" y="532130"/>
                      </a:lnTo>
                      <a:lnTo>
                        <a:pt x="552958" y="533400"/>
                      </a:lnTo>
                      <a:lnTo>
                        <a:pt x="553300" y="534670"/>
                      </a:lnTo>
                      <a:lnTo>
                        <a:pt x="553758" y="532130"/>
                      </a:lnTo>
                      <a:lnTo>
                        <a:pt x="554355" y="529920"/>
                      </a:lnTo>
                      <a:lnTo>
                        <a:pt x="554723" y="530860"/>
                      </a:lnTo>
                      <a:lnTo>
                        <a:pt x="555040" y="530860"/>
                      </a:lnTo>
                      <a:lnTo>
                        <a:pt x="555929" y="532130"/>
                      </a:lnTo>
                      <a:lnTo>
                        <a:pt x="559930" y="529590"/>
                      </a:lnTo>
                      <a:lnTo>
                        <a:pt x="563016" y="530860"/>
                      </a:lnTo>
                      <a:lnTo>
                        <a:pt x="562711" y="532130"/>
                      </a:lnTo>
                      <a:lnTo>
                        <a:pt x="563676" y="529590"/>
                      </a:lnTo>
                      <a:lnTo>
                        <a:pt x="563549" y="529590"/>
                      </a:lnTo>
                      <a:lnTo>
                        <a:pt x="564578" y="527050"/>
                      </a:lnTo>
                      <a:lnTo>
                        <a:pt x="565632" y="527050"/>
                      </a:lnTo>
                      <a:lnTo>
                        <a:pt x="565912" y="528320"/>
                      </a:lnTo>
                      <a:lnTo>
                        <a:pt x="567169" y="528320"/>
                      </a:lnTo>
                      <a:lnTo>
                        <a:pt x="568528" y="527050"/>
                      </a:lnTo>
                      <a:lnTo>
                        <a:pt x="568807" y="527050"/>
                      </a:lnTo>
                      <a:lnTo>
                        <a:pt x="568693" y="525780"/>
                      </a:lnTo>
                      <a:lnTo>
                        <a:pt x="570852" y="525780"/>
                      </a:lnTo>
                      <a:lnTo>
                        <a:pt x="570623" y="527050"/>
                      </a:lnTo>
                      <a:lnTo>
                        <a:pt x="571055" y="525780"/>
                      </a:lnTo>
                      <a:lnTo>
                        <a:pt x="571322" y="525780"/>
                      </a:lnTo>
                      <a:lnTo>
                        <a:pt x="571233" y="524510"/>
                      </a:lnTo>
                      <a:lnTo>
                        <a:pt x="570903" y="521970"/>
                      </a:lnTo>
                      <a:lnTo>
                        <a:pt x="570306" y="518160"/>
                      </a:lnTo>
                      <a:lnTo>
                        <a:pt x="567817" y="516890"/>
                      </a:lnTo>
                      <a:lnTo>
                        <a:pt x="565759" y="516890"/>
                      </a:lnTo>
                      <a:lnTo>
                        <a:pt x="567715" y="515620"/>
                      </a:lnTo>
                      <a:lnTo>
                        <a:pt x="568325" y="515620"/>
                      </a:lnTo>
                      <a:lnTo>
                        <a:pt x="569277" y="514350"/>
                      </a:lnTo>
                      <a:lnTo>
                        <a:pt x="571296" y="513080"/>
                      </a:lnTo>
                      <a:lnTo>
                        <a:pt x="571500" y="513080"/>
                      </a:lnTo>
                      <a:lnTo>
                        <a:pt x="571119" y="514350"/>
                      </a:lnTo>
                      <a:lnTo>
                        <a:pt x="570966" y="515620"/>
                      </a:lnTo>
                      <a:lnTo>
                        <a:pt x="571741" y="514350"/>
                      </a:lnTo>
                      <a:lnTo>
                        <a:pt x="571779" y="515620"/>
                      </a:lnTo>
                      <a:lnTo>
                        <a:pt x="571969" y="514350"/>
                      </a:lnTo>
                      <a:lnTo>
                        <a:pt x="572008" y="515620"/>
                      </a:lnTo>
                      <a:lnTo>
                        <a:pt x="572046" y="516890"/>
                      </a:lnTo>
                      <a:lnTo>
                        <a:pt x="572617" y="516890"/>
                      </a:lnTo>
                      <a:lnTo>
                        <a:pt x="573125" y="518160"/>
                      </a:lnTo>
                      <a:lnTo>
                        <a:pt x="573976" y="518160"/>
                      </a:lnTo>
                      <a:lnTo>
                        <a:pt x="574738" y="519430"/>
                      </a:lnTo>
                      <a:lnTo>
                        <a:pt x="574941" y="520700"/>
                      </a:lnTo>
                      <a:lnTo>
                        <a:pt x="575919" y="523240"/>
                      </a:lnTo>
                      <a:lnTo>
                        <a:pt x="576021" y="521970"/>
                      </a:lnTo>
                      <a:lnTo>
                        <a:pt x="578154" y="521970"/>
                      </a:lnTo>
                      <a:lnTo>
                        <a:pt x="578878" y="520700"/>
                      </a:lnTo>
                      <a:lnTo>
                        <a:pt x="581545" y="520700"/>
                      </a:lnTo>
                      <a:lnTo>
                        <a:pt x="583133" y="519430"/>
                      </a:lnTo>
                      <a:lnTo>
                        <a:pt x="584111" y="520700"/>
                      </a:lnTo>
                      <a:lnTo>
                        <a:pt x="584809" y="521970"/>
                      </a:lnTo>
                      <a:lnTo>
                        <a:pt x="585038" y="523240"/>
                      </a:lnTo>
                      <a:lnTo>
                        <a:pt x="586422" y="521970"/>
                      </a:lnTo>
                      <a:lnTo>
                        <a:pt x="586625" y="520700"/>
                      </a:lnTo>
                      <a:lnTo>
                        <a:pt x="585266" y="519430"/>
                      </a:lnTo>
                      <a:lnTo>
                        <a:pt x="585698" y="519430"/>
                      </a:lnTo>
                      <a:lnTo>
                        <a:pt x="589318" y="516890"/>
                      </a:lnTo>
                      <a:lnTo>
                        <a:pt x="589356" y="518160"/>
                      </a:lnTo>
                      <a:lnTo>
                        <a:pt x="588200" y="518160"/>
                      </a:lnTo>
                      <a:lnTo>
                        <a:pt x="588086" y="519430"/>
                      </a:lnTo>
                      <a:lnTo>
                        <a:pt x="589813" y="520700"/>
                      </a:lnTo>
                      <a:lnTo>
                        <a:pt x="590778" y="521970"/>
                      </a:lnTo>
                      <a:lnTo>
                        <a:pt x="590588" y="520700"/>
                      </a:lnTo>
                      <a:lnTo>
                        <a:pt x="591324" y="520700"/>
                      </a:lnTo>
                      <a:lnTo>
                        <a:pt x="592251" y="519430"/>
                      </a:lnTo>
                      <a:lnTo>
                        <a:pt x="594207" y="518160"/>
                      </a:lnTo>
                      <a:lnTo>
                        <a:pt x="595337" y="516890"/>
                      </a:lnTo>
                      <a:lnTo>
                        <a:pt x="596607" y="515620"/>
                      </a:lnTo>
                      <a:lnTo>
                        <a:pt x="596798" y="516890"/>
                      </a:lnTo>
                      <a:lnTo>
                        <a:pt x="595604" y="516890"/>
                      </a:lnTo>
                      <a:lnTo>
                        <a:pt x="597877" y="518160"/>
                      </a:lnTo>
                      <a:lnTo>
                        <a:pt x="598182" y="518160"/>
                      </a:lnTo>
                      <a:lnTo>
                        <a:pt x="599224" y="518820"/>
                      </a:lnTo>
                      <a:lnTo>
                        <a:pt x="599414" y="518160"/>
                      </a:lnTo>
                      <a:lnTo>
                        <a:pt x="600189" y="516890"/>
                      </a:lnTo>
                      <a:lnTo>
                        <a:pt x="598716" y="516890"/>
                      </a:lnTo>
                      <a:lnTo>
                        <a:pt x="598614" y="515620"/>
                      </a:lnTo>
                      <a:lnTo>
                        <a:pt x="602653" y="515620"/>
                      </a:lnTo>
                      <a:lnTo>
                        <a:pt x="600811" y="516890"/>
                      </a:lnTo>
                      <a:lnTo>
                        <a:pt x="603161" y="516890"/>
                      </a:lnTo>
                      <a:lnTo>
                        <a:pt x="603732" y="518160"/>
                      </a:lnTo>
                      <a:lnTo>
                        <a:pt x="605015" y="518160"/>
                      </a:lnTo>
                      <a:lnTo>
                        <a:pt x="605853" y="516890"/>
                      </a:lnTo>
                      <a:lnTo>
                        <a:pt x="606082" y="516890"/>
                      </a:lnTo>
                      <a:lnTo>
                        <a:pt x="606628" y="515620"/>
                      </a:lnTo>
                      <a:lnTo>
                        <a:pt x="610171" y="515620"/>
                      </a:lnTo>
                      <a:lnTo>
                        <a:pt x="613257" y="516890"/>
                      </a:lnTo>
                      <a:lnTo>
                        <a:pt x="614032" y="514350"/>
                      </a:lnTo>
                      <a:lnTo>
                        <a:pt x="614426" y="513080"/>
                      </a:lnTo>
                      <a:lnTo>
                        <a:pt x="613524" y="511810"/>
                      </a:lnTo>
                      <a:lnTo>
                        <a:pt x="614921" y="510540"/>
                      </a:lnTo>
                      <a:lnTo>
                        <a:pt x="616686" y="510540"/>
                      </a:lnTo>
                      <a:lnTo>
                        <a:pt x="617651" y="511810"/>
                      </a:lnTo>
                      <a:lnTo>
                        <a:pt x="616966" y="509270"/>
                      </a:lnTo>
                      <a:lnTo>
                        <a:pt x="614680" y="510540"/>
                      </a:lnTo>
                      <a:lnTo>
                        <a:pt x="614387" y="509270"/>
                      </a:lnTo>
                      <a:lnTo>
                        <a:pt x="614108" y="508000"/>
                      </a:lnTo>
                      <a:lnTo>
                        <a:pt x="614768" y="509270"/>
                      </a:lnTo>
                      <a:lnTo>
                        <a:pt x="615721" y="509270"/>
                      </a:lnTo>
                      <a:lnTo>
                        <a:pt x="619163" y="508000"/>
                      </a:lnTo>
                      <a:lnTo>
                        <a:pt x="618426" y="505460"/>
                      </a:lnTo>
                      <a:lnTo>
                        <a:pt x="619734" y="504190"/>
                      </a:lnTo>
                      <a:lnTo>
                        <a:pt x="619620" y="505409"/>
                      </a:lnTo>
                      <a:lnTo>
                        <a:pt x="620814" y="504190"/>
                      </a:lnTo>
                      <a:lnTo>
                        <a:pt x="621665" y="504190"/>
                      </a:lnTo>
                      <a:lnTo>
                        <a:pt x="622249" y="505460"/>
                      </a:lnTo>
                      <a:lnTo>
                        <a:pt x="623671" y="504190"/>
                      </a:lnTo>
                      <a:lnTo>
                        <a:pt x="629196" y="502920"/>
                      </a:lnTo>
                      <a:lnTo>
                        <a:pt x="626910" y="500380"/>
                      </a:lnTo>
                      <a:lnTo>
                        <a:pt x="628764" y="501650"/>
                      </a:lnTo>
                      <a:lnTo>
                        <a:pt x="629539" y="500380"/>
                      </a:lnTo>
                      <a:lnTo>
                        <a:pt x="629196" y="502920"/>
                      </a:lnTo>
                      <a:lnTo>
                        <a:pt x="629031" y="504190"/>
                      </a:lnTo>
                      <a:lnTo>
                        <a:pt x="630923" y="500380"/>
                      </a:lnTo>
                      <a:lnTo>
                        <a:pt x="633615" y="499110"/>
                      </a:lnTo>
                      <a:lnTo>
                        <a:pt x="635939" y="496570"/>
                      </a:lnTo>
                      <a:lnTo>
                        <a:pt x="636905" y="495300"/>
                      </a:lnTo>
                      <a:lnTo>
                        <a:pt x="636625" y="492760"/>
                      </a:lnTo>
                      <a:lnTo>
                        <a:pt x="635355" y="494030"/>
                      </a:lnTo>
                      <a:lnTo>
                        <a:pt x="636473" y="492760"/>
                      </a:lnTo>
                      <a:lnTo>
                        <a:pt x="635127" y="494030"/>
                      </a:lnTo>
                      <a:lnTo>
                        <a:pt x="633818" y="492760"/>
                      </a:lnTo>
                      <a:lnTo>
                        <a:pt x="633577" y="494030"/>
                      </a:lnTo>
                      <a:lnTo>
                        <a:pt x="633044" y="492760"/>
                      </a:lnTo>
                      <a:lnTo>
                        <a:pt x="630847" y="491490"/>
                      </a:lnTo>
                      <a:lnTo>
                        <a:pt x="633882" y="492760"/>
                      </a:lnTo>
                      <a:lnTo>
                        <a:pt x="635165" y="492760"/>
                      </a:lnTo>
                      <a:lnTo>
                        <a:pt x="635774" y="491490"/>
                      </a:lnTo>
                      <a:lnTo>
                        <a:pt x="637006" y="488950"/>
                      </a:lnTo>
                      <a:lnTo>
                        <a:pt x="638403" y="490220"/>
                      </a:lnTo>
                      <a:lnTo>
                        <a:pt x="639864" y="491490"/>
                      </a:lnTo>
                      <a:lnTo>
                        <a:pt x="640410" y="490220"/>
                      </a:lnTo>
                      <a:lnTo>
                        <a:pt x="640943" y="490220"/>
                      </a:lnTo>
                      <a:lnTo>
                        <a:pt x="641108" y="488950"/>
                      </a:lnTo>
                      <a:lnTo>
                        <a:pt x="642683" y="488950"/>
                      </a:lnTo>
                      <a:lnTo>
                        <a:pt x="642569" y="491490"/>
                      </a:lnTo>
                      <a:lnTo>
                        <a:pt x="644766" y="490220"/>
                      </a:lnTo>
                      <a:lnTo>
                        <a:pt x="645299" y="490220"/>
                      </a:lnTo>
                      <a:lnTo>
                        <a:pt x="645528" y="488950"/>
                      </a:lnTo>
                      <a:lnTo>
                        <a:pt x="645960" y="488950"/>
                      </a:lnTo>
                      <a:lnTo>
                        <a:pt x="645414" y="487680"/>
                      </a:lnTo>
                      <a:lnTo>
                        <a:pt x="644029" y="487680"/>
                      </a:lnTo>
                      <a:lnTo>
                        <a:pt x="645579" y="486410"/>
                      </a:lnTo>
                      <a:lnTo>
                        <a:pt x="648665" y="486410"/>
                      </a:lnTo>
                      <a:lnTo>
                        <a:pt x="649655" y="485140"/>
                      </a:lnTo>
                      <a:lnTo>
                        <a:pt x="647814" y="481330"/>
                      </a:lnTo>
                      <a:lnTo>
                        <a:pt x="648004" y="481330"/>
                      </a:lnTo>
                      <a:lnTo>
                        <a:pt x="655408" y="482600"/>
                      </a:lnTo>
                      <a:lnTo>
                        <a:pt x="653478" y="478790"/>
                      </a:lnTo>
                      <a:lnTo>
                        <a:pt x="652703" y="480060"/>
                      </a:lnTo>
                      <a:lnTo>
                        <a:pt x="651586" y="480060"/>
                      </a:lnTo>
                      <a:lnTo>
                        <a:pt x="652970" y="476250"/>
                      </a:lnTo>
                      <a:lnTo>
                        <a:pt x="653440" y="474980"/>
                      </a:lnTo>
                      <a:lnTo>
                        <a:pt x="654329" y="474980"/>
                      </a:lnTo>
                      <a:lnTo>
                        <a:pt x="655408" y="476161"/>
                      </a:lnTo>
                      <a:lnTo>
                        <a:pt x="656132" y="474980"/>
                      </a:lnTo>
                      <a:lnTo>
                        <a:pt x="659180" y="469900"/>
                      </a:lnTo>
                      <a:lnTo>
                        <a:pt x="659447" y="468630"/>
                      </a:lnTo>
                      <a:lnTo>
                        <a:pt x="657212" y="468630"/>
                      </a:lnTo>
                      <a:lnTo>
                        <a:pt x="654977" y="469900"/>
                      </a:lnTo>
                      <a:lnTo>
                        <a:pt x="652741" y="469900"/>
                      </a:lnTo>
                      <a:lnTo>
                        <a:pt x="652665" y="468630"/>
                      </a:lnTo>
                      <a:lnTo>
                        <a:pt x="651878" y="467791"/>
                      </a:lnTo>
                      <a:lnTo>
                        <a:pt x="654088" y="468630"/>
                      </a:lnTo>
                      <a:lnTo>
                        <a:pt x="656412" y="468630"/>
                      </a:lnTo>
                      <a:lnTo>
                        <a:pt x="658914" y="464820"/>
                      </a:lnTo>
                      <a:lnTo>
                        <a:pt x="659803" y="464820"/>
                      </a:lnTo>
                      <a:lnTo>
                        <a:pt x="660057" y="464705"/>
                      </a:lnTo>
                      <a:lnTo>
                        <a:pt x="658876" y="463550"/>
                      </a:lnTo>
                      <a:lnTo>
                        <a:pt x="658063" y="462280"/>
                      </a:lnTo>
                      <a:lnTo>
                        <a:pt x="657644" y="462280"/>
                      </a:lnTo>
                      <a:lnTo>
                        <a:pt x="660222" y="461010"/>
                      </a:lnTo>
                      <a:lnTo>
                        <a:pt x="658482" y="459740"/>
                      </a:lnTo>
                      <a:lnTo>
                        <a:pt x="657644" y="459740"/>
                      </a:lnTo>
                      <a:lnTo>
                        <a:pt x="657339" y="458470"/>
                      </a:lnTo>
                      <a:lnTo>
                        <a:pt x="657098" y="457200"/>
                      </a:lnTo>
                      <a:lnTo>
                        <a:pt x="658101" y="457200"/>
                      </a:lnTo>
                      <a:lnTo>
                        <a:pt x="658876" y="455930"/>
                      </a:lnTo>
                      <a:lnTo>
                        <a:pt x="659688" y="457200"/>
                      </a:lnTo>
                      <a:lnTo>
                        <a:pt x="660692" y="455930"/>
                      </a:lnTo>
                      <a:lnTo>
                        <a:pt x="660539" y="457200"/>
                      </a:lnTo>
                      <a:lnTo>
                        <a:pt x="661339" y="457200"/>
                      </a:lnTo>
                      <a:lnTo>
                        <a:pt x="664946" y="456247"/>
                      </a:lnTo>
                      <a:lnTo>
                        <a:pt x="665022" y="455930"/>
                      </a:lnTo>
                      <a:lnTo>
                        <a:pt x="665353" y="454660"/>
                      </a:lnTo>
                      <a:lnTo>
                        <a:pt x="667054" y="454660"/>
                      </a:lnTo>
                      <a:lnTo>
                        <a:pt x="667169" y="452120"/>
                      </a:lnTo>
                      <a:lnTo>
                        <a:pt x="667778" y="452120"/>
                      </a:lnTo>
                      <a:lnTo>
                        <a:pt x="669594" y="450850"/>
                      </a:lnTo>
                      <a:lnTo>
                        <a:pt x="669137" y="450850"/>
                      </a:lnTo>
                      <a:lnTo>
                        <a:pt x="668820" y="449580"/>
                      </a:lnTo>
                      <a:lnTo>
                        <a:pt x="670052" y="450850"/>
                      </a:lnTo>
                      <a:lnTo>
                        <a:pt x="671080" y="449580"/>
                      </a:lnTo>
                      <a:lnTo>
                        <a:pt x="672109" y="448310"/>
                      </a:lnTo>
                      <a:lnTo>
                        <a:pt x="672719" y="447040"/>
                      </a:lnTo>
                      <a:lnTo>
                        <a:pt x="673455" y="445770"/>
                      </a:lnTo>
                      <a:lnTo>
                        <a:pt x="672871" y="444500"/>
                      </a:lnTo>
                      <a:lnTo>
                        <a:pt x="674141" y="441960"/>
                      </a:lnTo>
                      <a:lnTo>
                        <a:pt x="675919" y="439420"/>
                      </a:lnTo>
                      <a:lnTo>
                        <a:pt x="675563" y="439420"/>
                      </a:lnTo>
                      <a:lnTo>
                        <a:pt x="675487" y="438150"/>
                      </a:lnTo>
                      <a:lnTo>
                        <a:pt x="675716" y="438150"/>
                      </a:lnTo>
                      <a:lnTo>
                        <a:pt x="677722" y="435610"/>
                      </a:lnTo>
                      <a:lnTo>
                        <a:pt x="679157" y="435610"/>
                      </a:lnTo>
                      <a:lnTo>
                        <a:pt x="679488" y="434340"/>
                      </a:lnTo>
                      <a:lnTo>
                        <a:pt x="679780" y="433209"/>
                      </a:lnTo>
                      <a:lnTo>
                        <a:pt x="681863" y="431800"/>
                      </a:lnTo>
                      <a:lnTo>
                        <a:pt x="681659" y="434340"/>
                      </a:lnTo>
                      <a:lnTo>
                        <a:pt x="683018" y="435610"/>
                      </a:lnTo>
                      <a:lnTo>
                        <a:pt x="683247" y="434340"/>
                      </a:lnTo>
                      <a:lnTo>
                        <a:pt x="685253" y="434340"/>
                      </a:lnTo>
                      <a:lnTo>
                        <a:pt x="687247" y="433070"/>
                      </a:lnTo>
                      <a:lnTo>
                        <a:pt x="685673" y="433070"/>
                      </a:lnTo>
                      <a:lnTo>
                        <a:pt x="686066" y="429260"/>
                      </a:lnTo>
                      <a:lnTo>
                        <a:pt x="684479" y="427990"/>
                      </a:lnTo>
                      <a:lnTo>
                        <a:pt x="684250" y="427990"/>
                      </a:lnTo>
                      <a:lnTo>
                        <a:pt x="682434" y="426720"/>
                      </a:lnTo>
                      <a:lnTo>
                        <a:pt x="684288" y="426720"/>
                      </a:lnTo>
                      <a:lnTo>
                        <a:pt x="688492" y="425450"/>
                      </a:lnTo>
                      <a:lnTo>
                        <a:pt x="685863" y="424180"/>
                      </a:lnTo>
                      <a:lnTo>
                        <a:pt x="685165" y="422910"/>
                      </a:lnTo>
                      <a:lnTo>
                        <a:pt x="686130" y="424180"/>
                      </a:lnTo>
                      <a:lnTo>
                        <a:pt x="686904" y="422910"/>
                      </a:lnTo>
                      <a:lnTo>
                        <a:pt x="687984" y="422910"/>
                      </a:lnTo>
                      <a:lnTo>
                        <a:pt x="686866" y="421640"/>
                      </a:lnTo>
                      <a:lnTo>
                        <a:pt x="686981" y="420370"/>
                      </a:lnTo>
                      <a:lnTo>
                        <a:pt x="684593" y="420370"/>
                      </a:lnTo>
                      <a:lnTo>
                        <a:pt x="685711" y="417830"/>
                      </a:lnTo>
                      <a:lnTo>
                        <a:pt x="687565" y="417830"/>
                      </a:lnTo>
                      <a:lnTo>
                        <a:pt x="688022" y="419100"/>
                      </a:lnTo>
                      <a:lnTo>
                        <a:pt x="688721" y="419100"/>
                      </a:lnTo>
                      <a:lnTo>
                        <a:pt x="689102" y="417830"/>
                      </a:lnTo>
                      <a:lnTo>
                        <a:pt x="689381" y="416560"/>
                      </a:lnTo>
                      <a:lnTo>
                        <a:pt x="689140" y="417830"/>
                      </a:lnTo>
                      <a:lnTo>
                        <a:pt x="691070" y="417830"/>
                      </a:lnTo>
                      <a:lnTo>
                        <a:pt x="691413" y="416560"/>
                      </a:lnTo>
                      <a:lnTo>
                        <a:pt x="692162" y="415290"/>
                      </a:lnTo>
                      <a:lnTo>
                        <a:pt x="692924" y="414020"/>
                      </a:lnTo>
                      <a:lnTo>
                        <a:pt x="690537" y="412750"/>
                      </a:lnTo>
                      <a:lnTo>
                        <a:pt x="689952" y="413054"/>
                      </a:lnTo>
                      <a:lnTo>
                        <a:pt x="689952" y="414020"/>
                      </a:lnTo>
                      <a:lnTo>
                        <a:pt x="689267" y="415290"/>
                      </a:lnTo>
                      <a:lnTo>
                        <a:pt x="688721" y="414020"/>
                      </a:lnTo>
                      <a:lnTo>
                        <a:pt x="689952" y="414020"/>
                      </a:lnTo>
                      <a:lnTo>
                        <a:pt x="689952" y="413054"/>
                      </a:lnTo>
                      <a:lnTo>
                        <a:pt x="688213" y="413918"/>
                      </a:lnTo>
                      <a:lnTo>
                        <a:pt x="691184" y="411480"/>
                      </a:lnTo>
                      <a:lnTo>
                        <a:pt x="694042" y="408940"/>
                      </a:lnTo>
                      <a:lnTo>
                        <a:pt x="689610" y="408940"/>
                      </a:lnTo>
                      <a:lnTo>
                        <a:pt x="686435" y="406933"/>
                      </a:lnTo>
                      <a:lnTo>
                        <a:pt x="686435" y="414566"/>
                      </a:lnTo>
                      <a:lnTo>
                        <a:pt x="685749" y="416560"/>
                      </a:lnTo>
                      <a:lnTo>
                        <a:pt x="684288" y="415290"/>
                      </a:lnTo>
                      <a:lnTo>
                        <a:pt x="686435" y="414566"/>
                      </a:lnTo>
                      <a:lnTo>
                        <a:pt x="686435" y="406933"/>
                      </a:lnTo>
                      <a:lnTo>
                        <a:pt x="685596" y="406400"/>
                      </a:lnTo>
                      <a:lnTo>
                        <a:pt x="685038" y="405130"/>
                      </a:lnTo>
                      <a:lnTo>
                        <a:pt x="683399" y="401320"/>
                      </a:lnTo>
                      <a:lnTo>
                        <a:pt x="678929" y="402590"/>
                      </a:lnTo>
                      <a:lnTo>
                        <a:pt x="677887" y="403860"/>
                      </a:lnTo>
                      <a:lnTo>
                        <a:pt x="675462" y="405130"/>
                      </a:lnTo>
                      <a:lnTo>
                        <a:pt x="673176" y="405130"/>
                      </a:lnTo>
                      <a:lnTo>
                        <a:pt x="672325" y="403860"/>
                      </a:lnTo>
                      <a:lnTo>
                        <a:pt x="672058" y="402590"/>
                      </a:lnTo>
                      <a:lnTo>
                        <a:pt x="671334" y="401320"/>
                      </a:lnTo>
                      <a:lnTo>
                        <a:pt x="672795" y="401320"/>
                      </a:lnTo>
                      <a:lnTo>
                        <a:pt x="674954" y="402590"/>
                      </a:lnTo>
                      <a:lnTo>
                        <a:pt x="676249" y="401320"/>
                      </a:lnTo>
                      <a:lnTo>
                        <a:pt x="677545" y="400050"/>
                      </a:lnTo>
                      <a:lnTo>
                        <a:pt x="682739" y="394970"/>
                      </a:lnTo>
                      <a:lnTo>
                        <a:pt x="686282" y="394970"/>
                      </a:lnTo>
                      <a:lnTo>
                        <a:pt x="686828" y="393700"/>
                      </a:lnTo>
                      <a:lnTo>
                        <a:pt x="690448" y="392430"/>
                      </a:lnTo>
                      <a:lnTo>
                        <a:pt x="691172" y="391160"/>
                      </a:lnTo>
                      <a:lnTo>
                        <a:pt x="689800" y="388620"/>
                      </a:lnTo>
                      <a:lnTo>
                        <a:pt x="688454" y="387400"/>
                      </a:lnTo>
                      <a:lnTo>
                        <a:pt x="688454" y="389890"/>
                      </a:lnTo>
                      <a:lnTo>
                        <a:pt x="686714" y="391160"/>
                      </a:lnTo>
                      <a:lnTo>
                        <a:pt x="682396" y="391160"/>
                      </a:lnTo>
                      <a:lnTo>
                        <a:pt x="680656" y="389890"/>
                      </a:lnTo>
                      <a:lnTo>
                        <a:pt x="680656" y="386080"/>
                      </a:lnTo>
                      <a:lnTo>
                        <a:pt x="681990" y="384810"/>
                      </a:lnTo>
                      <a:lnTo>
                        <a:pt x="683729" y="383540"/>
                      </a:lnTo>
                      <a:lnTo>
                        <a:pt x="681951" y="382270"/>
                      </a:lnTo>
                      <a:lnTo>
                        <a:pt x="680402" y="381000"/>
                      </a:lnTo>
                      <a:lnTo>
                        <a:pt x="673760" y="378460"/>
                      </a:lnTo>
                      <a:lnTo>
                        <a:pt x="674179" y="377190"/>
                      </a:lnTo>
                      <a:lnTo>
                        <a:pt x="673874" y="375920"/>
                      </a:lnTo>
                      <a:lnTo>
                        <a:pt x="673455" y="375920"/>
                      </a:lnTo>
                      <a:lnTo>
                        <a:pt x="670445" y="374650"/>
                      </a:lnTo>
                      <a:lnTo>
                        <a:pt x="669747" y="377190"/>
                      </a:lnTo>
                      <a:lnTo>
                        <a:pt x="667626" y="375920"/>
                      </a:lnTo>
                      <a:lnTo>
                        <a:pt x="668362" y="375920"/>
                      </a:lnTo>
                      <a:lnTo>
                        <a:pt x="670598" y="373380"/>
                      </a:lnTo>
                      <a:lnTo>
                        <a:pt x="674103" y="374650"/>
                      </a:lnTo>
                      <a:lnTo>
                        <a:pt x="675919" y="375920"/>
                      </a:lnTo>
                      <a:lnTo>
                        <a:pt x="676884" y="377190"/>
                      </a:lnTo>
                      <a:lnTo>
                        <a:pt x="676998" y="378460"/>
                      </a:lnTo>
                      <a:lnTo>
                        <a:pt x="685203" y="378460"/>
                      </a:lnTo>
                      <a:lnTo>
                        <a:pt x="687755" y="379730"/>
                      </a:lnTo>
                      <a:lnTo>
                        <a:pt x="690841" y="379730"/>
                      </a:lnTo>
                      <a:lnTo>
                        <a:pt x="690410" y="378460"/>
                      </a:lnTo>
                      <a:lnTo>
                        <a:pt x="690029" y="377190"/>
                      </a:lnTo>
                      <a:lnTo>
                        <a:pt x="688911" y="375920"/>
                      </a:lnTo>
                      <a:lnTo>
                        <a:pt x="687527" y="374650"/>
                      </a:lnTo>
                      <a:lnTo>
                        <a:pt x="684707" y="374650"/>
                      </a:lnTo>
                      <a:lnTo>
                        <a:pt x="684123" y="373380"/>
                      </a:lnTo>
                      <a:lnTo>
                        <a:pt x="683552" y="372110"/>
                      </a:lnTo>
                      <a:lnTo>
                        <a:pt x="682739" y="372110"/>
                      </a:lnTo>
                      <a:lnTo>
                        <a:pt x="683399" y="369570"/>
                      </a:lnTo>
                      <a:lnTo>
                        <a:pt x="682510" y="368300"/>
                      </a:lnTo>
                      <a:lnTo>
                        <a:pt x="681977" y="368300"/>
                      </a:lnTo>
                      <a:lnTo>
                        <a:pt x="680580" y="367030"/>
                      </a:lnTo>
                      <a:lnTo>
                        <a:pt x="676529" y="365760"/>
                      </a:lnTo>
                      <a:lnTo>
                        <a:pt x="676275" y="365760"/>
                      </a:lnTo>
                      <a:lnTo>
                        <a:pt x="676338" y="361950"/>
                      </a:lnTo>
                      <a:lnTo>
                        <a:pt x="676414" y="360680"/>
                      </a:lnTo>
                      <a:lnTo>
                        <a:pt x="674992" y="356870"/>
                      </a:lnTo>
                      <a:lnTo>
                        <a:pt x="673379" y="353060"/>
                      </a:lnTo>
                      <a:lnTo>
                        <a:pt x="668972" y="342900"/>
                      </a:lnTo>
                      <a:lnTo>
                        <a:pt x="668401" y="339090"/>
                      </a:lnTo>
                      <a:lnTo>
                        <a:pt x="665810" y="337820"/>
                      </a:lnTo>
                      <a:lnTo>
                        <a:pt x="664959" y="337820"/>
                      </a:lnTo>
                      <a:lnTo>
                        <a:pt x="663346" y="336550"/>
                      </a:lnTo>
                      <a:lnTo>
                        <a:pt x="661263" y="336550"/>
                      </a:lnTo>
                      <a:lnTo>
                        <a:pt x="659688" y="335280"/>
                      </a:lnTo>
                      <a:lnTo>
                        <a:pt x="656818" y="331470"/>
                      </a:lnTo>
                      <a:lnTo>
                        <a:pt x="655866" y="330200"/>
                      </a:lnTo>
                      <a:lnTo>
                        <a:pt x="652576" y="331279"/>
                      </a:lnTo>
                      <a:lnTo>
                        <a:pt x="651624" y="328930"/>
                      </a:lnTo>
                      <a:lnTo>
                        <a:pt x="651979" y="328930"/>
                      </a:lnTo>
                      <a:lnTo>
                        <a:pt x="652208" y="327660"/>
                      </a:lnTo>
                      <a:lnTo>
                        <a:pt x="652513" y="327660"/>
                      </a:lnTo>
                      <a:lnTo>
                        <a:pt x="655485" y="323850"/>
                      </a:lnTo>
                      <a:lnTo>
                        <a:pt x="656374" y="318770"/>
                      </a:lnTo>
                      <a:lnTo>
                        <a:pt x="662266" y="317500"/>
                      </a:lnTo>
                      <a:lnTo>
                        <a:pt x="664083" y="314960"/>
                      </a:lnTo>
                      <a:lnTo>
                        <a:pt x="665429" y="313690"/>
                      </a:lnTo>
                      <a:lnTo>
                        <a:pt x="666432" y="312420"/>
                      </a:lnTo>
                      <a:lnTo>
                        <a:pt x="667931" y="311150"/>
                      </a:lnTo>
                      <a:lnTo>
                        <a:pt x="666737" y="311150"/>
                      </a:lnTo>
                      <a:lnTo>
                        <a:pt x="665886" y="309880"/>
                      </a:lnTo>
                      <a:lnTo>
                        <a:pt x="665086" y="308610"/>
                      </a:lnTo>
                      <a:lnTo>
                        <a:pt x="664121" y="307340"/>
                      </a:lnTo>
                      <a:lnTo>
                        <a:pt x="667512" y="306070"/>
                      </a:lnTo>
                      <a:lnTo>
                        <a:pt x="668705" y="307340"/>
                      </a:lnTo>
                      <a:lnTo>
                        <a:pt x="668743" y="311150"/>
                      </a:lnTo>
                      <a:lnTo>
                        <a:pt x="669137" y="309880"/>
                      </a:lnTo>
                      <a:lnTo>
                        <a:pt x="673379" y="309880"/>
                      </a:lnTo>
                      <a:lnTo>
                        <a:pt x="673531" y="307340"/>
                      </a:lnTo>
                      <a:lnTo>
                        <a:pt x="673176" y="307340"/>
                      </a:lnTo>
                      <a:lnTo>
                        <a:pt x="672922" y="306070"/>
                      </a:lnTo>
                      <a:lnTo>
                        <a:pt x="672680" y="304800"/>
                      </a:lnTo>
                      <a:lnTo>
                        <a:pt x="673950" y="304800"/>
                      </a:lnTo>
                      <a:lnTo>
                        <a:pt x="676414" y="303530"/>
                      </a:lnTo>
                      <a:lnTo>
                        <a:pt x="677456" y="303530"/>
                      </a:lnTo>
                      <a:lnTo>
                        <a:pt x="677418" y="302260"/>
                      </a:lnTo>
                      <a:lnTo>
                        <a:pt x="676414" y="302260"/>
                      </a:lnTo>
                      <a:lnTo>
                        <a:pt x="676033" y="300990"/>
                      </a:lnTo>
                      <a:lnTo>
                        <a:pt x="674446" y="300990"/>
                      </a:lnTo>
                      <a:lnTo>
                        <a:pt x="675652" y="299720"/>
                      </a:lnTo>
                      <a:lnTo>
                        <a:pt x="677608" y="300990"/>
                      </a:lnTo>
                      <a:lnTo>
                        <a:pt x="681050" y="299720"/>
                      </a:lnTo>
                      <a:lnTo>
                        <a:pt x="682866" y="298450"/>
                      </a:lnTo>
                      <a:lnTo>
                        <a:pt x="688022" y="297180"/>
                      </a:lnTo>
                      <a:lnTo>
                        <a:pt x="691451" y="295910"/>
                      </a:lnTo>
                      <a:lnTo>
                        <a:pt x="694778" y="294640"/>
                      </a:lnTo>
                      <a:lnTo>
                        <a:pt x="695121" y="297180"/>
                      </a:lnTo>
                      <a:lnTo>
                        <a:pt x="695502" y="298450"/>
                      </a:lnTo>
                      <a:lnTo>
                        <a:pt x="699947" y="295910"/>
                      </a:lnTo>
                      <a:lnTo>
                        <a:pt x="699706" y="295910"/>
                      </a:lnTo>
                      <a:lnTo>
                        <a:pt x="700011" y="294640"/>
                      </a:lnTo>
                      <a:lnTo>
                        <a:pt x="697395" y="294640"/>
                      </a:lnTo>
                      <a:lnTo>
                        <a:pt x="699363" y="293370"/>
                      </a:lnTo>
                      <a:lnTo>
                        <a:pt x="703681" y="289560"/>
                      </a:lnTo>
                      <a:lnTo>
                        <a:pt x="701941" y="288290"/>
                      </a:lnTo>
                      <a:lnTo>
                        <a:pt x="698284" y="288290"/>
                      </a:lnTo>
                      <a:lnTo>
                        <a:pt x="695960" y="287020"/>
                      </a:lnTo>
                      <a:lnTo>
                        <a:pt x="695045" y="287020"/>
                      </a:lnTo>
                      <a:lnTo>
                        <a:pt x="693305" y="285750"/>
                      </a:lnTo>
                      <a:lnTo>
                        <a:pt x="692696" y="285750"/>
                      </a:lnTo>
                      <a:lnTo>
                        <a:pt x="692073" y="287020"/>
                      </a:lnTo>
                      <a:lnTo>
                        <a:pt x="691692" y="288290"/>
                      </a:lnTo>
                      <a:lnTo>
                        <a:pt x="691222" y="285750"/>
                      </a:lnTo>
                      <a:lnTo>
                        <a:pt x="687565" y="288290"/>
                      </a:lnTo>
                      <a:lnTo>
                        <a:pt x="684212" y="287020"/>
                      </a:lnTo>
                      <a:lnTo>
                        <a:pt x="681621" y="285750"/>
                      </a:lnTo>
                      <a:lnTo>
                        <a:pt x="680008" y="284480"/>
                      </a:lnTo>
                      <a:lnTo>
                        <a:pt x="678383" y="284480"/>
                      </a:lnTo>
                      <a:lnTo>
                        <a:pt x="676808" y="283210"/>
                      </a:lnTo>
                      <a:lnTo>
                        <a:pt x="673836" y="280670"/>
                      </a:lnTo>
                      <a:lnTo>
                        <a:pt x="672414" y="281940"/>
                      </a:lnTo>
                      <a:lnTo>
                        <a:pt x="668782" y="283210"/>
                      </a:lnTo>
                      <a:lnTo>
                        <a:pt x="666699" y="283210"/>
                      </a:lnTo>
                      <a:lnTo>
                        <a:pt x="667118" y="284480"/>
                      </a:lnTo>
                      <a:lnTo>
                        <a:pt x="667359" y="285750"/>
                      </a:lnTo>
                      <a:lnTo>
                        <a:pt x="664311" y="288290"/>
                      </a:lnTo>
                      <a:lnTo>
                        <a:pt x="662038" y="289560"/>
                      </a:lnTo>
                      <a:lnTo>
                        <a:pt x="659295" y="292100"/>
                      </a:lnTo>
                      <a:lnTo>
                        <a:pt x="656018" y="292100"/>
                      </a:lnTo>
                      <a:lnTo>
                        <a:pt x="652945" y="290830"/>
                      </a:lnTo>
                      <a:lnTo>
                        <a:pt x="648690" y="289560"/>
                      </a:lnTo>
                      <a:lnTo>
                        <a:pt x="649274" y="287020"/>
                      </a:lnTo>
                      <a:lnTo>
                        <a:pt x="649744" y="285750"/>
                      </a:lnTo>
                      <a:lnTo>
                        <a:pt x="650621" y="283210"/>
                      </a:lnTo>
                      <a:lnTo>
                        <a:pt x="650697" y="279400"/>
                      </a:lnTo>
                      <a:lnTo>
                        <a:pt x="650214" y="278130"/>
                      </a:lnTo>
                      <a:lnTo>
                        <a:pt x="649274" y="275590"/>
                      </a:lnTo>
                      <a:lnTo>
                        <a:pt x="643572" y="275590"/>
                      </a:lnTo>
                      <a:lnTo>
                        <a:pt x="644575" y="276860"/>
                      </a:lnTo>
                      <a:lnTo>
                        <a:pt x="643724" y="276860"/>
                      </a:lnTo>
                      <a:lnTo>
                        <a:pt x="643534" y="278130"/>
                      </a:lnTo>
                      <a:lnTo>
                        <a:pt x="642378" y="276860"/>
                      </a:lnTo>
                      <a:lnTo>
                        <a:pt x="641832" y="275590"/>
                      </a:lnTo>
                      <a:lnTo>
                        <a:pt x="640143" y="275590"/>
                      </a:lnTo>
                      <a:lnTo>
                        <a:pt x="639635" y="276860"/>
                      </a:lnTo>
                      <a:lnTo>
                        <a:pt x="637006" y="275590"/>
                      </a:lnTo>
                      <a:lnTo>
                        <a:pt x="632307" y="274320"/>
                      </a:lnTo>
                      <a:lnTo>
                        <a:pt x="628103" y="269240"/>
                      </a:lnTo>
                      <a:lnTo>
                        <a:pt x="629373" y="265430"/>
                      </a:lnTo>
                      <a:lnTo>
                        <a:pt x="629881" y="261620"/>
                      </a:lnTo>
                      <a:lnTo>
                        <a:pt x="631850" y="259080"/>
                      </a:lnTo>
                      <a:lnTo>
                        <a:pt x="632383" y="259080"/>
                      </a:lnTo>
                      <a:lnTo>
                        <a:pt x="636397" y="257810"/>
                      </a:lnTo>
                      <a:lnTo>
                        <a:pt x="636854" y="260350"/>
                      </a:lnTo>
                      <a:lnTo>
                        <a:pt x="647509" y="260350"/>
                      </a:lnTo>
                      <a:lnTo>
                        <a:pt x="649427" y="259080"/>
                      </a:lnTo>
                      <a:lnTo>
                        <a:pt x="649782" y="257810"/>
                      </a:lnTo>
                      <a:lnTo>
                        <a:pt x="650163" y="257810"/>
                      </a:lnTo>
                      <a:lnTo>
                        <a:pt x="651281" y="256540"/>
                      </a:lnTo>
                      <a:lnTo>
                        <a:pt x="652970" y="255270"/>
                      </a:lnTo>
                      <a:lnTo>
                        <a:pt x="653478" y="252730"/>
                      </a:lnTo>
                      <a:lnTo>
                        <a:pt x="654253" y="250190"/>
                      </a:lnTo>
                      <a:lnTo>
                        <a:pt x="655561" y="246380"/>
                      </a:lnTo>
                      <a:lnTo>
                        <a:pt x="662686" y="245110"/>
                      </a:lnTo>
                      <a:lnTo>
                        <a:pt x="666165" y="242570"/>
                      </a:lnTo>
                      <a:lnTo>
                        <a:pt x="672909" y="238760"/>
                      </a:lnTo>
                      <a:lnTo>
                        <a:pt x="674598" y="234950"/>
                      </a:lnTo>
                      <a:lnTo>
                        <a:pt x="679348" y="229870"/>
                      </a:lnTo>
                      <a:lnTo>
                        <a:pt x="689648" y="229870"/>
                      </a:lnTo>
                      <a:lnTo>
                        <a:pt x="689178" y="228600"/>
                      </a:lnTo>
                      <a:lnTo>
                        <a:pt x="690257" y="227330"/>
                      </a:lnTo>
                      <a:lnTo>
                        <a:pt x="689991" y="229870"/>
                      </a:lnTo>
                      <a:lnTo>
                        <a:pt x="689762" y="231140"/>
                      </a:lnTo>
                      <a:lnTo>
                        <a:pt x="691730" y="231140"/>
                      </a:lnTo>
                      <a:lnTo>
                        <a:pt x="693648" y="232410"/>
                      </a:lnTo>
                      <a:lnTo>
                        <a:pt x="694994" y="233680"/>
                      </a:lnTo>
                      <a:lnTo>
                        <a:pt x="695845" y="234950"/>
                      </a:lnTo>
                      <a:lnTo>
                        <a:pt x="696544" y="236220"/>
                      </a:lnTo>
                      <a:lnTo>
                        <a:pt x="695350" y="237490"/>
                      </a:lnTo>
                      <a:lnTo>
                        <a:pt x="693508" y="240030"/>
                      </a:lnTo>
                      <a:lnTo>
                        <a:pt x="692264" y="242570"/>
                      </a:lnTo>
                      <a:lnTo>
                        <a:pt x="689648" y="245110"/>
                      </a:lnTo>
                      <a:lnTo>
                        <a:pt x="687451" y="246380"/>
                      </a:lnTo>
                      <a:lnTo>
                        <a:pt x="685406" y="246380"/>
                      </a:lnTo>
                      <a:lnTo>
                        <a:pt x="684250" y="248920"/>
                      </a:lnTo>
                      <a:lnTo>
                        <a:pt x="684898" y="250190"/>
                      </a:lnTo>
                      <a:lnTo>
                        <a:pt x="683933" y="251460"/>
                      </a:lnTo>
                      <a:lnTo>
                        <a:pt x="681812" y="251460"/>
                      </a:lnTo>
                      <a:lnTo>
                        <a:pt x="681240" y="252730"/>
                      </a:lnTo>
                      <a:lnTo>
                        <a:pt x="684707" y="255270"/>
                      </a:lnTo>
                      <a:lnTo>
                        <a:pt x="686866" y="255270"/>
                      </a:lnTo>
                      <a:lnTo>
                        <a:pt x="691349" y="254000"/>
                      </a:lnTo>
                      <a:lnTo>
                        <a:pt x="690499" y="255270"/>
                      </a:lnTo>
                      <a:lnTo>
                        <a:pt x="687285" y="256540"/>
                      </a:lnTo>
                      <a:lnTo>
                        <a:pt x="686523" y="257810"/>
                      </a:lnTo>
                      <a:lnTo>
                        <a:pt x="687527" y="257810"/>
                      </a:lnTo>
                      <a:lnTo>
                        <a:pt x="687603" y="260350"/>
                      </a:lnTo>
                      <a:lnTo>
                        <a:pt x="685012" y="260350"/>
                      </a:lnTo>
                      <a:lnTo>
                        <a:pt x="682866" y="261620"/>
                      </a:lnTo>
                      <a:lnTo>
                        <a:pt x="681774" y="261620"/>
                      </a:lnTo>
                      <a:lnTo>
                        <a:pt x="680808" y="262890"/>
                      </a:lnTo>
                      <a:lnTo>
                        <a:pt x="680008" y="261620"/>
                      </a:lnTo>
                      <a:lnTo>
                        <a:pt x="679780" y="262890"/>
                      </a:lnTo>
                      <a:lnTo>
                        <a:pt x="679081" y="262890"/>
                      </a:lnTo>
                      <a:lnTo>
                        <a:pt x="680466" y="265430"/>
                      </a:lnTo>
                      <a:lnTo>
                        <a:pt x="680745" y="266700"/>
                      </a:lnTo>
                      <a:lnTo>
                        <a:pt x="686015" y="262890"/>
                      </a:lnTo>
                      <a:lnTo>
                        <a:pt x="691413" y="259080"/>
                      </a:lnTo>
                      <a:lnTo>
                        <a:pt x="698779" y="254000"/>
                      </a:lnTo>
                      <a:lnTo>
                        <a:pt x="701179" y="252730"/>
                      </a:lnTo>
                      <a:lnTo>
                        <a:pt x="705421" y="250190"/>
                      </a:lnTo>
                      <a:lnTo>
                        <a:pt x="707377" y="248920"/>
                      </a:lnTo>
                      <a:lnTo>
                        <a:pt x="711314" y="247650"/>
                      </a:lnTo>
                      <a:lnTo>
                        <a:pt x="723226" y="247650"/>
                      </a:lnTo>
                      <a:lnTo>
                        <a:pt x="724141" y="246380"/>
                      </a:lnTo>
                      <a:lnTo>
                        <a:pt x="725233" y="243840"/>
                      </a:lnTo>
                      <a:lnTo>
                        <a:pt x="725792" y="243840"/>
                      </a:lnTo>
                      <a:lnTo>
                        <a:pt x="726224" y="243840"/>
                      </a:lnTo>
                      <a:lnTo>
                        <a:pt x="727125" y="242570"/>
                      </a:lnTo>
                      <a:lnTo>
                        <a:pt x="735914" y="237490"/>
                      </a:lnTo>
                      <a:lnTo>
                        <a:pt x="741692" y="233680"/>
                      </a:lnTo>
                      <a:lnTo>
                        <a:pt x="742848" y="232410"/>
                      </a:lnTo>
                      <a:lnTo>
                        <a:pt x="745744" y="229870"/>
                      </a:lnTo>
                      <a:lnTo>
                        <a:pt x="750176" y="229870"/>
                      </a:lnTo>
                      <a:lnTo>
                        <a:pt x="751179" y="227330"/>
                      </a:lnTo>
                      <a:lnTo>
                        <a:pt x="751967" y="226060"/>
                      </a:lnTo>
                      <a:lnTo>
                        <a:pt x="754621" y="223520"/>
                      </a:lnTo>
                      <a:lnTo>
                        <a:pt x="756742" y="220980"/>
                      </a:lnTo>
                      <a:lnTo>
                        <a:pt x="758837" y="217170"/>
                      </a:lnTo>
                      <a:lnTo>
                        <a:pt x="759536" y="215900"/>
                      </a:lnTo>
                      <a:lnTo>
                        <a:pt x="760323" y="214630"/>
                      </a:lnTo>
                      <a:lnTo>
                        <a:pt x="763219" y="214630"/>
                      </a:lnTo>
                      <a:lnTo>
                        <a:pt x="764794" y="215900"/>
                      </a:lnTo>
                      <a:lnTo>
                        <a:pt x="765695" y="218440"/>
                      </a:lnTo>
                      <a:lnTo>
                        <a:pt x="767321" y="219710"/>
                      </a:lnTo>
                      <a:lnTo>
                        <a:pt x="767626" y="219710"/>
                      </a:lnTo>
                      <a:lnTo>
                        <a:pt x="769302" y="220980"/>
                      </a:lnTo>
                      <a:lnTo>
                        <a:pt x="781024" y="220980"/>
                      </a:lnTo>
                      <a:lnTo>
                        <a:pt x="781570" y="219710"/>
                      </a:lnTo>
                      <a:lnTo>
                        <a:pt x="782002" y="219710"/>
                      </a:lnTo>
                      <a:lnTo>
                        <a:pt x="782548" y="217170"/>
                      </a:lnTo>
                      <a:lnTo>
                        <a:pt x="781939" y="217170"/>
                      </a:lnTo>
                      <a:lnTo>
                        <a:pt x="781024" y="215900"/>
                      </a:lnTo>
                      <a:lnTo>
                        <a:pt x="779792" y="214630"/>
                      </a:lnTo>
                      <a:lnTo>
                        <a:pt x="779183" y="213360"/>
                      </a:lnTo>
                      <a:lnTo>
                        <a:pt x="778903" y="210820"/>
                      </a:lnTo>
                      <a:lnTo>
                        <a:pt x="787742" y="209550"/>
                      </a:lnTo>
                      <a:lnTo>
                        <a:pt x="790981" y="209550"/>
                      </a:lnTo>
                      <a:lnTo>
                        <a:pt x="793445" y="208280"/>
                      </a:lnTo>
                      <a:lnTo>
                        <a:pt x="796112" y="205740"/>
                      </a:lnTo>
                      <a:lnTo>
                        <a:pt x="795286" y="205740"/>
                      </a:lnTo>
                      <a:lnTo>
                        <a:pt x="795959" y="204470"/>
                      </a:lnTo>
                      <a:lnTo>
                        <a:pt x="797090" y="203200"/>
                      </a:lnTo>
                      <a:lnTo>
                        <a:pt x="799033" y="201930"/>
                      </a:lnTo>
                      <a:lnTo>
                        <a:pt x="801611" y="201930"/>
                      </a:lnTo>
                      <a:lnTo>
                        <a:pt x="802614" y="200660"/>
                      </a:lnTo>
                      <a:lnTo>
                        <a:pt x="803300" y="200660"/>
                      </a:lnTo>
                      <a:lnTo>
                        <a:pt x="803452" y="199390"/>
                      </a:lnTo>
                      <a:lnTo>
                        <a:pt x="803744" y="198120"/>
                      </a:lnTo>
                      <a:lnTo>
                        <a:pt x="803770" y="194310"/>
                      </a:lnTo>
                      <a:lnTo>
                        <a:pt x="805319" y="194310"/>
                      </a:lnTo>
                      <a:lnTo>
                        <a:pt x="805154" y="193040"/>
                      </a:lnTo>
                      <a:lnTo>
                        <a:pt x="807199" y="193040"/>
                      </a:lnTo>
                      <a:lnTo>
                        <a:pt x="808291" y="194310"/>
                      </a:lnTo>
                      <a:lnTo>
                        <a:pt x="809498" y="194310"/>
                      </a:lnTo>
                      <a:lnTo>
                        <a:pt x="810564" y="195580"/>
                      </a:lnTo>
                      <a:lnTo>
                        <a:pt x="810336" y="196850"/>
                      </a:lnTo>
                      <a:lnTo>
                        <a:pt x="810983" y="198120"/>
                      </a:lnTo>
                      <a:lnTo>
                        <a:pt x="811695" y="200660"/>
                      </a:lnTo>
                      <a:lnTo>
                        <a:pt x="813104" y="200660"/>
                      </a:lnTo>
                      <a:lnTo>
                        <a:pt x="814349" y="201930"/>
                      </a:lnTo>
                      <a:lnTo>
                        <a:pt x="815111" y="203200"/>
                      </a:lnTo>
                      <a:lnTo>
                        <a:pt x="815911" y="204470"/>
                      </a:lnTo>
                      <a:lnTo>
                        <a:pt x="816597" y="205740"/>
                      </a:lnTo>
                      <a:lnTo>
                        <a:pt x="816965" y="205740"/>
                      </a:lnTo>
                      <a:lnTo>
                        <a:pt x="816025" y="204470"/>
                      </a:lnTo>
                      <a:lnTo>
                        <a:pt x="815581" y="201930"/>
                      </a:lnTo>
                      <a:lnTo>
                        <a:pt x="815479" y="199390"/>
                      </a:lnTo>
                      <a:lnTo>
                        <a:pt x="812647" y="198120"/>
                      </a:lnTo>
                      <a:lnTo>
                        <a:pt x="814959" y="196850"/>
                      </a:lnTo>
                      <a:lnTo>
                        <a:pt x="817422" y="195580"/>
                      </a:lnTo>
                      <a:lnTo>
                        <a:pt x="822286" y="195580"/>
                      </a:lnTo>
                      <a:lnTo>
                        <a:pt x="822909" y="194310"/>
                      </a:lnTo>
                      <a:lnTo>
                        <a:pt x="823264" y="193040"/>
                      </a:lnTo>
                      <a:lnTo>
                        <a:pt x="823633" y="191770"/>
                      </a:lnTo>
                      <a:lnTo>
                        <a:pt x="824445" y="189230"/>
                      </a:lnTo>
                      <a:lnTo>
                        <a:pt x="825373" y="186690"/>
                      </a:lnTo>
                      <a:lnTo>
                        <a:pt x="824903" y="181610"/>
                      </a:lnTo>
                      <a:lnTo>
                        <a:pt x="824407" y="179070"/>
                      </a:lnTo>
                      <a:lnTo>
                        <a:pt x="824560" y="170180"/>
                      </a:lnTo>
                      <a:lnTo>
                        <a:pt x="823023" y="166370"/>
                      </a:lnTo>
                      <a:lnTo>
                        <a:pt x="821448" y="162560"/>
                      </a:lnTo>
                      <a:lnTo>
                        <a:pt x="820928" y="161290"/>
                      </a:lnTo>
                      <a:lnTo>
                        <a:pt x="822985" y="160020"/>
                      </a:lnTo>
                      <a:lnTo>
                        <a:pt x="826719" y="160020"/>
                      </a:lnTo>
                      <a:lnTo>
                        <a:pt x="828827" y="157480"/>
                      </a:lnTo>
                      <a:lnTo>
                        <a:pt x="829970" y="156210"/>
                      </a:lnTo>
                      <a:lnTo>
                        <a:pt x="830973" y="156210"/>
                      </a:lnTo>
                      <a:lnTo>
                        <a:pt x="831837" y="154940"/>
                      </a:lnTo>
                      <a:lnTo>
                        <a:pt x="832027" y="154940"/>
                      </a:lnTo>
                      <a:lnTo>
                        <a:pt x="832205" y="153670"/>
                      </a:lnTo>
                      <a:lnTo>
                        <a:pt x="832459" y="153670"/>
                      </a:lnTo>
                      <a:lnTo>
                        <a:pt x="832878" y="152400"/>
                      </a:lnTo>
                      <a:lnTo>
                        <a:pt x="834199" y="152400"/>
                      </a:lnTo>
                      <a:lnTo>
                        <a:pt x="834605" y="153670"/>
                      </a:lnTo>
                      <a:lnTo>
                        <a:pt x="835240" y="153670"/>
                      </a:lnTo>
                      <a:lnTo>
                        <a:pt x="836358" y="154940"/>
                      </a:lnTo>
                      <a:lnTo>
                        <a:pt x="839990" y="154940"/>
                      </a:lnTo>
                      <a:lnTo>
                        <a:pt x="841883" y="156210"/>
                      </a:lnTo>
                      <a:lnTo>
                        <a:pt x="843153" y="156210"/>
                      </a:lnTo>
                      <a:lnTo>
                        <a:pt x="845997" y="157480"/>
                      </a:lnTo>
                      <a:lnTo>
                        <a:pt x="848563" y="157480"/>
                      </a:lnTo>
                      <a:lnTo>
                        <a:pt x="851547" y="156210"/>
                      </a:lnTo>
                      <a:lnTo>
                        <a:pt x="851344" y="154940"/>
                      </a:lnTo>
                      <a:lnTo>
                        <a:pt x="851293" y="152400"/>
                      </a:lnTo>
                      <a:lnTo>
                        <a:pt x="851446" y="152400"/>
                      </a:lnTo>
                      <a:lnTo>
                        <a:pt x="851674" y="151130"/>
                      </a:lnTo>
                      <a:lnTo>
                        <a:pt x="852195" y="151130"/>
                      </a:lnTo>
                      <a:lnTo>
                        <a:pt x="852982" y="149860"/>
                      </a:lnTo>
                      <a:lnTo>
                        <a:pt x="853998" y="148590"/>
                      </a:lnTo>
                      <a:lnTo>
                        <a:pt x="855268" y="148590"/>
                      </a:lnTo>
                      <a:lnTo>
                        <a:pt x="856335" y="147320"/>
                      </a:lnTo>
                      <a:lnTo>
                        <a:pt x="856589" y="147320"/>
                      </a:lnTo>
                      <a:lnTo>
                        <a:pt x="856602" y="146050"/>
                      </a:lnTo>
                      <a:lnTo>
                        <a:pt x="856767" y="146050"/>
                      </a:lnTo>
                      <a:lnTo>
                        <a:pt x="856970" y="144780"/>
                      </a:lnTo>
                      <a:lnTo>
                        <a:pt x="856932" y="143510"/>
                      </a:lnTo>
                      <a:lnTo>
                        <a:pt x="858913" y="140970"/>
                      </a:lnTo>
                      <a:lnTo>
                        <a:pt x="861491" y="138430"/>
                      </a:lnTo>
                      <a:lnTo>
                        <a:pt x="861733" y="137160"/>
                      </a:lnTo>
                      <a:lnTo>
                        <a:pt x="862457" y="135890"/>
                      </a:lnTo>
                      <a:lnTo>
                        <a:pt x="862380" y="133350"/>
                      </a:lnTo>
                      <a:lnTo>
                        <a:pt x="862545" y="130810"/>
                      </a:lnTo>
                      <a:lnTo>
                        <a:pt x="863180" y="130810"/>
                      </a:lnTo>
                      <a:lnTo>
                        <a:pt x="863219" y="129540"/>
                      </a:lnTo>
                      <a:lnTo>
                        <a:pt x="863981" y="129540"/>
                      </a:lnTo>
                      <a:lnTo>
                        <a:pt x="864425" y="128270"/>
                      </a:lnTo>
                      <a:lnTo>
                        <a:pt x="864679" y="127000"/>
                      </a:lnTo>
                      <a:lnTo>
                        <a:pt x="865733" y="123190"/>
                      </a:lnTo>
                      <a:lnTo>
                        <a:pt x="866355" y="121920"/>
                      </a:lnTo>
                      <a:lnTo>
                        <a:pt x="866648" y="119380"/>
                      </a:lnTo>
                      <a:lnTo>
                        <a:pt x="867156" y="118110"/>
                      </a:lnTo>
                      <a:lnTo>
                        <a:pt x="866902" y="116840"/>
                      </a:lnTo>
                      <a:lnTo>
                        <a:pt x="867562" y="115570"/>
                      </a:lnTo>
                      <a:lnTo>
                        <a:pt x="867791" y="115570"/>
                      </a:lnTo>
                      <a:lnTo>
                        <a:pt x="868768" y="114300"/>
                      </a:lnTo>
                      <a:lnTo>
                        <a:pt x="869632" y="114300"/>
                      </a:lnTo>
                      <a:lnTo>
                        <a:pt x="871842" y="113030"/>
                      </a:lnTo>
                      <a:lnTo>
                        <a:pt x="874979" y="111760"/>
                      </a:lnTo>
                      <a:lnTo>
                        <a:pt x="874966" y="110490"/>
                      </a:lnTo>
                      <a:lnTo>
                        <a:pt x="874966" y="109220"/>
                      </a:lnTo>
                      <a:lnTo>
                        <a:pt x="874166" y="106680"/>
                      </a:lnTo>
                      <a:lnTo>
                        <a:pt x="872553" y="106680"/>
                      </a:lnTo>
                      <a:lnTo>
                        <a:pt x="872223" y="104140"/>
                      </a:lnTo>
                      <a:lnTo>
                        <a:pt x="872134" y="102870"/>
                      </a:lnTo>
                      <a:lnTo>
                        <a:pt x="874445" y="100330"/>
                      </a:lnTo>
                      <a:lnTo>
                        <a:pt x="874877" y="99060"/>
                      </a:lnTo>
                      <a:lnTo>
                        <a:pt x="875906" y="99060"/>
                      </a:lnTo>
                      <a:lnTo>
                        <a:pt x="877620" y="97790"/>
                      </a:lnTo>
                      <a:lnTo>
                        <a:pt x="878382" y="9652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614" name="object 154">
                  <a:extLst>
                    <a:ext uri="{FF2B5EF4-FFF2-40B4-BE49-F238E27FC236}">
                      <a16:creationId xmlns:a16="http://schemas.microsoft.com/office/drawing/2014/main" id="{482D7D22-1735-44AC-CB2A-E5C0EB17FFE5}"/>
                    </a:ext>
                  </a:extLst>
                </p:cNvPr>
                <p:cNvPicPr/>
                <p:nvPr/>
              </p:nvPicPr>
              <p:blipFill>
                <a:blip r:embed="rId22" cstate="print"/>
                <a:stretch>
                  <a:fillRect/>
                </a:stretch>
              </p:blipFill>
              <p:spPr>
                <a:xfrm>
                  <a:off x="4521428" y="2222964"/>
                  <a:ext cx="91020" cy="90220"/>
                </a:xfrm>
                <a:prstGeom prst="rect">
                  <a:avLst/>
                </a:prstGeom>
              </p:spPr>
            </p:pic>
            <p:sp>
              <p:nvSpPr>
                <p:cNvPr id="615" name="object 155">
                  <a:extLst>
                    <a:ext uri="{FF2B5EF4-FFF2-40B4-BE49-F238E27FC236}">
                      <a16:creationId xmlns:a16="http://schemas.microsoft.com/office/drawing/2014/main" id="{576CAF2F-24C6-99E8-0D52-E42104DBD22A}"/>
                    </a:ext>
                  </a:extLst>
                </p:cNvPr>
                <p:cNvSpPr/>
                <p:nvPr/>
              </p:nvSpPr>
              <p:spPr>
                <a:xfrm>
                  <a:off x="3297235" y="2319396"/>
                  <a:ext cx="141605" cy="1320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1604" h="132080">
                      <a:moveTo>
                        <a:pt x="102844" y="64769"/>
                      </a:moveTo>
                      <a:lnTo>
                        <a:pt x="0" y="64769"/>
                      </a:lnTo>
                      <a:lnTo>
                        <a:pt x="3670" y="81279"/>
                      </a:lnTo>
                      <a:lnTo>
                        <a:pt x="4711" y="81279"/>
                      </a:lnTo>
                      <a:lnTo>
                        <a:pt x="5587" y="82549"/>
                      </a:lnTo>
                      <a:lnTo>
                        <a:pt x="7150" y="82549"/>
                      </a:lnTo>
                      <a:lnTo>
                        <a:pt x="6527" y="83819"/>
                      </a:lnTo>
                      <a:lnTo>
                        <a:pt x="5308" y="83819"/>
                      </a:lnTo>
                      <a:lnTo>
                        <a:pt x="24460" y="87629"/>
                      </a:lnTo>
                      <a:lnTo>
                        <a:pt x="26466" y="88899"/>
                      </a:lnTo>
                      <a:lnTo>
                        <a:pt x="27800" y="90169"/>
                      </a:lnTo>
                      <a:lnTo>
                        <a:pt x="32905" y="93979"/>
                      </a:lnTo>
                      <a:lnTo>
                        <a:pt x="38201" y="96519"/>
                      </a:lnTo>
                      <a:lnTo>
                        <a:pt x="46481" y="100329"/>
                      </a:lnTo>
                      <a:lnTo>
                        <a:pt x="46901" y="100329"/>
                      </a:lnTo>
                      <a:lnTo>
                        <a:pt x="52489" y="104139"/>
                      </a:lnTo>
                      <a:lnTo>
                        <a:pt x="57327" y="109219"/>
                      </a:lnTo>
                      <a:lnTo>
                        <a:pt x="64795" y="115569"/>
                      </a:lnTo>
                      <a:lnTo>
                        <a:pt x="67043" y="116839"/>
                      </a:lnTo>
                      <a:lnTo>
                        <a:pt x="72021" y="120649"/>
                      </a:lnTo>
                      <a:lnTo>
                        <a:pt x="74752" y="123189"/>
                      </a:lnTo>
                      <a:lnTo>
                        <a:pt x="77444" y="124459"/>
                      </a:lnTo>
                      <a:lnTo>
                        <a:pt x="79679" y="126999"/>
                      </a:lnTo>
                      <a:lnTo>
                        <a:pt x="85039" y="130809"/>
                      </a:lnTo>
                      <a:lnTo>
                        <a:pt x="95084" y="130809"/>
                      </a:lnTo>
                      <a:lnTo>
                        <a:pt x="96418" y="132079"/>
                      </a:lnTo>
                      <a:lnTo>
                        <a:pt x="111150" y="132079"/>
                      </a:lnTo>
                      <a:lnTo>
                        <a:pt x="117271" y="121919"/>
                      </a:lnTo>
                      <a:lnTo>
                        <a:pt x="118427" y="119379"/>
                      </a:lnTo>
                      <a:lnTo>
                        <a:pt x="120357" y="116839"/>
                      </a:lnTo>
                      <a:lnTo>
                        <a:pt x="123278" y="116839"/>
                      </a:lnTo>
                      <a:lnTo>
                        <a:pt x="125196" y="115569"/>
                      </a:lnTo>
                      <a:lnTo>
                        <a:pt x="137401" y="115569"/>
                      </a:lnTo>
                      <a:lnTo>
                        <a:pt x="137045" y="114299"/>
                      </a:lnTo>
                      <a:lnTo>
                        <a:pt x="136372" y="113029"/>
                      </a:lnTo>
                      <a:lnTo>
                        <a:pt x="135737" y="113029"/>
                      </a:lnTo>
                      <a:lnTo>
                        <a:pt x="134505" y="111759"/>
                      </a:lnTo>
                      <a:lnTo>
                        <a:pt x="133908" y="111759"/>
                      </a:lnTo>
                      <a:lnTo>
                        <a:pt x="132651" y="110489"/>
                      </a:lnTo>
                      <a:lnTo>
                        <a:pt x="132372" y="110489"/>
                      </a:lnTo>
                      <a:lnTo>
                        <a:pt x="132206" y="109219"/>
                      </a:lnTo>
                      <a:lnTo>
                        <a:pt x="132156" y="107949"/>
                      </a:lnTo>
                      <a:lnTo>
                        <a:pt x="132600" y="105409"/>
                      </a:lnTo>
                      <a:lnTo>
                        <a:pt x="132346" y="104139"/>
                      </a:lnTo>
                      <a:lnTo>
                        <a:pt x="132295" y="102869"/>
                      </a:lnTo>
                      <a:lnTo>
                        <a:pt x="127292" y="102869"/>
                      </a:lnTo>
                      <a:lnTo>
                        <a:pt x="127317" y="100329"/>
                      </a:lnTo>
                      <a:lnTo>
                        <a:pt x="127634" y="95249"/>
                      </a:lnTo>
                      <a:lnTo>
                        <a:pt x="127774" y="95249"/>
                      </a:lnTo>
                      <a:lnTo>
                        <a:pt x="127888" y="93979"/>
                      </a:lnTo>
                      <a:lnTo>
                        <a:pt x="128219" y="93979"/>
                      </a:lnTo>
                      <a:lnTo>
                        <a:pt x="129412" y="91439"/>
                      </a:lnTo>
                      <a:lnTo>
                        <a:pt x="129565" y="90169"/>
                      </a:lnTo>
                      <a:lnTo>
                        <a:pt x="129501" y="88899"/>
                      </a:lnTo>
                      <a:lnTo>
                        <a:pt x="126987" y="85089"/>
                      </a:lnTo>
                      <a:lnTo>
                        <a:pt x="125615" y="83819"/>
                      </a:lnTo>
                      <a:lnTo>
                        <a:pt x="124790" y="82549"/>
                      </a:lnTo>
                      <a:lnTo>
                        <a:pt x="124040" y="81279"/>
                      </a:lnTo>
                      <a:lnTo>
                        <a:pt x="122669" y="78739"/>
                      </a:lnTo>
                      <a:lnTo>
                        <a:pt x="118465" y="78739"/>
                      </a:lnTo>
                      <a:lnTo>
                        <a:pt x="111023" y="72389"/>
                      </a:lnTo>
                      <a:lnTo>
                        <a:pt x="110045" y="72389"/>
                      </a:lnTo>
                      <a:lnTo>
                        <a:pt x="107746" y="71119"/>
                      </a:lnTo>
                      <a:lnTo>
                        <a:pt x="104495" y="71119"/>
                      </a:lnTo>
                      <a:lnTo>
                        <a:pt x="104165" y="69849"/>
                      </a:lnTo>
                      <a:lnTo>
                        <a:pt x="103784" y="69849"/>
                      </a:lnTo>
                      <a:lnTo>
                        <a:pt x="103492" y="68579"/>
                      </a:lnTo>
                      <a:lnTo>
                        <a:pt x="102844" y="64769"/>
                      </a:lnTo>
                      <a:close/>
                    </a:path>
                    <a:path w="141604" h="132080">
                      <a:moveTo>
                        <a:pt x="139230" y="116839"/>
                      </a:moveTo>
                      <a:lnTo>
                        <a:pt x="130886" y="116839"/>
                      </a:lnTo>
                      <a:lnTo>
                        <a:pt x="132499" y="118109"/>
                      </a:lnTo>
                      <a:lnTo>
                        <a:pt x="135077" y="119379"/>
                      </a:lnTo>
                      <a:lnTo>
                        <a:pt x="141389" y="119379"/>
                      </a:lnTo>
                      <a:lnTo>
                        <a:pt x="140550" y="118109"/>
                      </a:lnTo>
                      <a:lnTo>
                        <a:pt x="140754" y="118109"/>
                      </a:lnTo>
                      <a:lnTo>
                        <a:pt x="139230" y="116839"/>
                      </a:lnTo>
                      <a:close/>
                    </a:path>
                    <a:path w="141604" h="132080">
                      <a:moveTo>
                        <a:pt x="137998" y="115569"/>
                      </a:moveTo>
                      <a:lnTo>
                        <a:pt x="125196" y="115569"/>
                      </a:lnTo>
                      <a:lnTo>
                        <a:pt x="127457" y="116839"/>
                      </a:lnTo>
                      <a:lnTo>
                        <a:pt x="130225" y="118109"/>
                      </a:lnTo>
                      <a:lnTo>
                        <a:pt x="130886" y="118109"/>
                      </a:lnTo>
                      <a:lnTo>
                        <a:pt x="130886" y="116839"/>
                      </a:lnTo>
                      <a:lnTo>
                        <a:pt x="139230" y="116839"/>
                      </a:lnTo>
                      <a:lnTo>
                        <a:pt x="137998" y="115569"/>
                      </a:lnTo>
                      <a:close/>
                    </a:path>
                    <a:path w="141604" h="132080">
                      <a:moveTo>
                        <a:pt x="131254" y="101599"/>
                      </a:moveTo>
                      <a:lnTo>
                        <a:pt x="127571" y="102869"/>
                      </a:lnTo>
                      <a:lnTo>
                        <a:pt x="131698" y="102869"/>
                      </a:lnTo>
                      <a:lnTo>
                        <a:pt x="131254" y="101599"/>
                      </a:lnTo>
                      <a:close/>
                    </a:path>
                    <a:path w="141604" h="132080">
                      <a:moveTo>
                        <a:pt x="97129" y="49529"/>
                      </a:moveTo>
                      <a:lnTo>
                        <a:pt x="26161" y="49529"/>
                      </a:lnTo>
                      <a:lnTo>
                        <a:pt x="15366" y="55879"/>
                      </a:lnTo>
                      <a:lnTo>
                        <a:pt x="8343" y="59689"/>
                      </a:lnTo>
                      <a:lnTo>
                        <a:pt x="228" y="64769"/>
                      </a:lnTo>
                      <a:lnTo>
                        <a:pt x="102641" y="64769"/>
                      </a:lnTo>
                      <a:lnTo>
                        <a:pt x="102527" y="62229"/>
                      </a:lnTo>
                      <a:lnTo>
                        <a:pt x="102311" y="60959"/>
                      </a:lnTo>
                      <a:lnTo>
                        <a:pt x="99466" y="60959"/>
                      </a:lnTo>
                      <a:lnTo>
                        <a:pt x="98399" y="59689"/>
                      </a:lnTo>
                      <a:lnTo>
                        <a:pt x="96773" y="57149"/>
                      </a:lnTo>
                      <a:lnTo>
                        <a:pt x="96189" y="57149"/>
                      </a:lnTo>
                      <a:lnTo>
                        <a:pt x="96710" y="55879"/>
                      </a:lnTo>
                      <a:lnTo>
                        <a:pt x="95021" y="55879"/>
                      </a:lnTo>
                      <a:lnTo>
                        <a:pt x="94741" y="54609"/>
                      </a:lnTo>
                      <a:lnTo>
                        <a:pt x="95846" y="52069"/>
                      </a:lnTo>
                      <a:lnTo>
                        <a:pt x="96773" y="50799"/>
                      </a:lnTo>
                      <a:lnTo>
                        <a:pt x="97129" y="49529"/>
                      </a:lnTo>
                      <a:close/>
                    </a:path>
                    <a:path w="141604" h="132080">
                      <a:moveTo>
                        <a:pt x="90601" y="13969"/>
                      </a:moveTo>
                      <a:lnTo>
                        <a:pt x="36982" y="13969"/>
                      </a:lnTo>
                      <a:lnTo>
                        <a:pt x="36779" y="15239"/>
                      </a:lnTo>
                      <a:lnTo>
                        <a:pt x="35140" y="19049"/>
                      </a:lnTo>
                      <a:lnTo>
                        <a:pt x="35509" y="21589"/>
                      </a:lnTo>
                      <a:lnTo>
                        <a:pt x="35813" y="25399"/>
                      </a:lnTo>
                      <a:lnTo>
                        <a:pt x="36042" y="26669"/>
                      </a:lnTo>
                      <a:lnTo>
                        <a:pt x="36233" y="27939"/>
                      </a:lnTo>
                      <a:lnTo>
                        <a:pt x="36017" y="30479"/>
                      </a:lnTo>
                      <a:lnTo>
                        <a:pt x="35394" y="31749"/>
                      </a:lnTo>
                      <a:lnTo>
                        <a:pt x="34543" y="35559"/>
                      </a:lnTo>
                      <a:lnTo>
                        <a:pt x="34569" y="36829"/>
                      </a:lnTo>
                      <a:lnTo>
                        <a:pt x="34683" y="39369"/>
                      </a:lnTo>
                      <a:lnTo>
                        <a:pt x="34582" y="41909"/>
                      </a:lnTo>
                      <a:lnTo>
                        <a:pt x="34162" y="43179"/>
                      </a:lnTo>
                      <a:lnTo>
                        <a:pt x="33616" y="44449"/>
                      </a:lnTo>
                      <a:lnTo>
                        <a:pt x="32740" y="45719"/>
                      </a:lnTo>
                      <a:lnTo>
                        <a:pt x="31140" y="48259"/>
                      </a:lnTo>
                      <a:lnTo>
                        <a:pt x="29108" y="48259"/>
                      </a:lnTo>
                      <a:lnTo>
                        <a:pt x="27711" y="49529"/>
                      </a:lnTo>
                      <a:lnTo>
                        <a:pt x="96685" y="49529"/>
                      </a:lnTo>
                      <a:lnTo>
                        <a:pt x="96456" y="48259"/>
                      </a:lnTo>
                      <a:lnTo>
                        <a:pt x="95618" y="46989"/>
                      </a:lnTo>
                      <a:lnTo>
                        <a:pt x="95364" y="46989"/>
                      </a:lnTo>
                      <a:lnTo>
                        <a:pt x="96888" y="44449"/>
                      </a:lnTo>
                      <a:lnTo>
                        <a:pt x="99225" y="44449"/>
                      </a:lnTo>
                      <a:lnTo>
                        <a:pt x="99491" y="41909"/>
                      </a:lnTo>
                      <a:lnTo>
                        <a:pt x="99821" y="40639"/>
                      </a:lnTo>
                      <a:lnTo>
                        <a:pt x="100228" y="39369"/>
                      </a:lnTo>
                      <a:lnTo>
                        <a:pt x="101511" y="38099"/>
                      </a:lnTo>
                      <a:lnTo>
                        <a:pt x="102577" y="36829"/>
                      </a:lnTo>
                      <a:lnTo>
                        <a:pt x="105473" y="36829"/>
                      </a:lnTo>
                      <a:lnTo>
                        <a:pt x="105473" y="35559"/>
                      </a:lnTo>
                      <a:lnTo>
                        <a:pt x="105702" y="35559"/>
                      </a:lnTo>
                      <a:lnTo>
                        <a:pt x="105638" y="34289"/>
                      </a:lnTo>
                      <a:lnTo>
                        <a:pt x="104863" y="33019"/>
                      </a:lnTo>
                      <a:lnTo>
                        <a:pt x="103835" y="31749"/>
                      </a:lnTo>
                      <a:lnTo>
                        <a:pt x="103403" y="30479"/>
                      </a:lnTo>
                      <a:lnTo>
                        <a:pt x="103441" y="27939"/>
                      </a:lnTo>
                      <a:lnTo>
                        <a:pt x="103771" y="27939"/>
                      </a:lnTo>
                      <a:lnTo>
                        <a:pt x="104165" y="26669"/>
                      </a:lnTo>
                      <a:lnTo>
                        <a:pt x="104889" y="26669"/>
                      </a:lnTo>
                      <a:lnTo>
                        <a:pt x="107060" y="25399"/>
                      </a:lnTo>
                      <a:lnTo>
                        <a:pt x="99834" y="25399"/>
                      </a:lnTo>
                      <a:lnTo>
                        <a:pt x="99415" y="24129"/>
                      </a:lnTo>
                      <a:lnTo>
                        <a:pt x="98983" y="24129"/>
                      </a:lnTo>
                      <a:lnTo>
                        <a:pt x="97840" y="22859"/>
                      </a:lnTo>
                      <a:lnTo>
                        <a:pt x="96862" y="21589"/>
                      </a:lnTo>
                      <a:lnTo>
                        <a:pt x="93929" y="21589"/>
                      </a:lnTo>
                      <a:lnTo>
                        <a:pt x="93598" y="20319"/>
                      </a:lnTo>
                      <a:lnTo>
                        <a:pt x="93078" y="17779"/>
                      </a:lnTo>
                      <a:lnTo>
                        <a:pt x="92506" y="16509"/>
                      </a:lnTo>
                      <a:lnTo>
                        <a:pt x="92405" y="15239"/>
                      </a:lnTo>
                      <a:lnTo>
                        <a:pt x="91909" y="15239"/>
                      </a:lnTo>
                      <a:lnTo>
                        <a:pt x="90601" y="13969"/>
                      </a:lnTo>
                      <a:close/>
                    </a:path>
                    <a:path w="141604" h="132080">
                      <a:moveTo>
                        <a:pt x="99059" y="44449"/>
                      </a:moveTo>
                      <a:lnTo>
                        <a:pt x="96888" y="44449"/>
                      </a:lnTo>
                      <a:lnTo>
                        <a:pt x="97180" y="45719"/>
                      </a:lnTo>
                      <a:lnTo>
                        <a:pt x="98818" y="45719"/>
                      </a:lnTo>
                      <a:lnTo>
                        <a:pt x="99059" y="44449"/>
                      </a:lnTo>
                      <a:close/>
                    </a:path>
                    <a:path w="141604" h="132080">
                      <a:moveTo>
                        <a:pt x="105409" y="24129"/>
                      </a:moveTo>
                      <a:lnTo>
                        <a:pt x="102908" y="24129"/>
                      </a:lnTo>
                      <a:lnTo>
                        <a:pt x="101625" y="25399"/>
                      </a:lnTo>
                      <a:lnTo>
                        <a:pt x="106730" y="25399"/>
                      </a:lnTo>
                      <a:lnTo>
                        <a:pt x="105409" y="24129"/>
                      </a:lnTo>
                      <a:close/>
                    </a:path>
                    <a:path w="141604" h="132080">
                      <a:moveTo>
                        <a:pt x="89141" y="12699"/>
                      </a:moveTo>
                      <a:lnTo>
                        <a:pt x="38163" y="12699"/>
                      </a:lnTo>
                      <a:lnTo>
                        <a:pt x="37452" y="13969"/>
                      </a:lnTo>
                      <a:lnTo>
                        <a:pt x="89712" y="13969"/>
                      </a:lnTo>
                      <a:lnTo>
                        <a:pt x="89141" y="12699"/>
                      </a:lnTo>
                      <a:close/>
                    </a:path>
                    <a:path w="141604" h="132080">
                      <a:moveTo>
                        <a:pt x="85991" y="3809"/>
                      </a:moveTo>
                      <a:lnTo>
                        <a:pt x="85724" y="3809"/>
                      </a:lnTo>
                      <a:lnTo>
                        <a:pt x="81622" y="5079"/>
                      </a:lnTo>
                      <a:lnTo>
                        <a:pt x="50990" y="5079"/>
                      </a:lnTo>
                      <a:lnTo>
                        <a:pt x="43205" y="11429"/>
                      </a:lnTo>
                      <a:lnTo>
                        <a:pt x="42684" y="12699"/>
                      </a:lnTo>
                      <a:lnTo>
                        <a:pt x="89433" y="12699"/>
                      </a:lnTo>
                      <a:lnTo>
                        <a:pt x="89585" y="10159"/>
                      </a:lnTo>
                      <a:lnTo>
                        <a:pt x="86652" y="10159"/>
                      </a:lnTo>
                      <a:lnTo>
                        <a:pt x="87299" y="6349"/>
                      </a:lnTo>
                      <a:lnTo>
                        <a:pt x="87007" y="6349"/>
                      </a:lnTo>
                      <a:lnTo>
                        <a:pt x="85991" y="3809"/>
                      </a:lnTo>
                      <a:close/>
                    </a:path>
                    <a:path w="141604" h="132080">
                      <a:moveTo>
                        <a:pt x="87287" y="8889"/>
                      </a:moveTo>
                      <a:lnTo>
                        <a:pt x="86652" y="10159"/>
                      </a:lnTo>
                      <a:lnTo>
                        <a:pt x="88442" y="10159"/>
                      </a:lnTo>
                      <a:lnTo>
                        <a:pt x="87287" y="8889"/>
                      </a:lnTo>
                      <a:close/>
                    </a:path>
                    <a:path w="141604" h="132080">
                      <a:moveTo>
                        <a:pt x="67944" y="0"/>
                      </a:moveTo>
                      <a:lnTo>
                        <a:pt x="55219" y="0"/>
                      </a:lnTo>
                      <a:lnTo>
                        <a:pt x="52984" y="2539"/>
                      </a:lnTo>
                      <a:lnTo>
                        <a:pt x="51168" y="3809"/>
                      </a:lnTo>
                      <a:lnTo>
                        <a:pt x="50749" y="3809"/>
                      </a:lnTo>
                      <a:lnTo>
                        <a:pt x="51295" y="5079"/>
                      </a:lnTo>
                      <a:lnTo>
                        <a:pt x="78866" y="5079"/>
                      </a:lnTo>
                      <a:lnTo>
                        <a:pt x="78079" y="3809"/>
                      </a:lnTo>
                      <a:lnTo>
                        <a:pt x="77812" y="2539"/>
                      </a:lnTo>
                      <a:lnTo>
                        <a:pt x="77190" y="1269"/>
                      </a:lnTo>
                      <a:lnTo>
                        <a:pt x="71437" y="1269"/>
                      </a:lnTo>
                      <a:lnTo>
                        <a:pt x="67944" y="0"/>
                      </a:lnTo>
                      <a:close/>
                    </a:path>
                    <a:path w="141604" h="132080">
                      <a:moveTo>
                        <a:pt x="76453" y="0"/>
                      </a:moveTo>
                      <a:lnTo>
                        <a:pt x="71437" y="1269"/>
                      </a:lnTo>
                      <a:lnTo>
                        <a:pt x="77190" y="1269"/>
                      </a:lnTo>
                      <a:lnTo>
                        <a:pt x="76453" y="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616" name="object 156">
                  <a:extLst>
                    <a:ext uri="{FF2B5EF4-FFF2-40B4-BE49-F238E27FC236}">
                      <a16:creationId xmlns:a16="http://schemas.microsoft.com/office/drawing/2014/main" id="{08A5FDE2-A1F6-CFB3-3748-29F675641067}"/>
                    </a:ext>
                  </a:extLst>
                </p:cNvPr>
                <p:cNvPicPr/>
                <p:nvPr/>
              </p:nvPicPr>
              <p:blipFill>
                <a:blip r:embed="rId23" cstate="print"/>
                <a:stretch>
                  <a:fillRect/>
                </a:stretch>
              </p:blipFill>
              <p:spPr>
                <a:xfrm>
                  <a:off x="4204341" y="2538758"/>
                  <a:ext cx="104559" cy="217170"/>
                </a:xfrm>
                <a:prstGeom prst="rect">
                  <a:avLst/>
                </a:prstGeom>
              </p:spPr>
            </p:pic>
            <p:sp>
              <p:nvSpPr>
                <p:cNvPr id="617" name="object 157">
                  <a:extLst>
                    <a:ext uri="{FF2B5EF4-FFF2-40B4-BE49-F238E27FC236}">
                      <a16:creationId xmlns:a16="http://schemas.microsoft.com/office/drawing/2014/main" id="{A622F3D1-75A1-38EC-7042-308FA9363D89}"/>
                    </a:ext>
                  </a:extLst>
                </p:cNvPr>
                <p:cNvSpPr/>
                <p:nvPr/>
              </p:nvSpPr>
              <p:spPr>
                <a:xfrm>
                  <a:off x="3241512" y="2383175"/>
                  <a:ext cx="62865" cy="666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864" h="66675">
                      <a:moveTo>
                        <a:pt x="19074" y="63753"/>
                      </a:moveTo>
                      <a:lnTo>
                        <a:pt x="2044" y="63753"/>
                      </a:lnTo>
                      <a:lnTo>
                        <a:pt x="2894" y="63919"/>
                      </a:lnTo>
                      <a:lnTo>
                        <a:pt x="12636" y="65570"/>
                      </a:lnTo>
                      <a:lnTo>
                        <a:pt x="16268" y="66636"/>
                      </a:lnTo>
                      <a:lnTo>
                        <a:pt x="16713" y="66154"/>
                      </a:lnTo>
                      <a:lnTo>
                        <a:pt x="17589" y="65798"/>
                      </a:lnTo>
                      <a:lnTo>
                        <a:pt x="19074" y="63753"/>
                      </a:lnTo>
                      <a:close/>
                    </a:path>
                    <a:path w="62864" h="66675">
                      <a:moveTo>
                        <a:pt x="9525" y="16167"/>
                      </a:moveTo>
                      <a:lnTo>
                        <a:pt x="9280" y="18643"/>
                      </a:lnTo>
                      <a:lnTo>
                        <a:pt x="9156" y="21729"/>
                      </a:lnTo>
                      <a:lnTo>
                        <a:pt x="8763" y="26111"/>
                      </a:lnTo>
                      <a:lnTo>
                        <a:pt x="8280" y="29184"/>
                      </a:lnTo>
                      <a:lnTo>
                        <a:pt x="8089" y="29552"/>
                      </a:lnTo>
                      <a:lnTo>
                        <a:pt x="7734" y="31737"/>
                      </a:lnTo>
                      <a:lnTo>
                        <a:pt x="7353" y="34683"/>
                      </a:lnTo>
                      <a:lnTo>
                        <a:pt x="6667" y="37884"/>
                      </a:lnTo>
                      <a:lnTo>
                        <a:pt x="6096" y="40030"/>
                      </a:lnTo>
                      <a:lnTo>
                        <a:pt x="5207" y="42811"/>
                      </a:lnTo>
                      <a:lnTo>
                        <a:pt x="3987" y="48031"/>
                      </a:lnTo>
                      <a:lnTo>
                        <a:pt x="2817" y="52285"/>
                      </a:lnTo>
                      <a:lnTo>
                        <a:pt x="1765" y="56248"/>
                      </a:lnTo>
                      <a:lnTo>
                        <a:pt x="1079" y="60426"/>
                      </a:lnTo>
                      <a:lnTo>
                        <a:pt x="373" y="62966"/>
                      </a:lnTo>
                      <a:lnTo>
                        <a:pt x="0" y="64198"/>
                      </a:lnTo>
                      <a:lnTo>
                        <a:pt x="152" y="64236"/>
                      </a:lnTo>
                      <a:lnTo>
                        <a:pt x="406" y="63919"/>
                      </a:lnTo>
                      <a:lnTo>
                        <a:pt x="1320" y="63779"/>
                      </a:lnTo>
                      <a:lnTo>
                        <a:pt x="2044" y="63753"/>
                      </a:lnTo>
                      <a:lnTo>
                        <a:pt x="19074" y="63753"/>
                      </a:lnTo>
                      <a:lnTo>
                        <a:pt x="19646" y="62966"/>
                      </a:lnTo>
                      <a:lnTo>
                        <a:pt x="23507" y="58737"/>
                      </a:lnTo>
                      <a:lnTo>
                        <a:pt x="25031" y="56248"/>
                      </a:lnTo>
                      <a:lnTo>
                        <a:pt x="28219" y="55232"/>
                      </a:lnTo>
                      <a:lnTo>
                        <a:pt x="30086" y="54889"/>
                      </a:lnTo>
                      <a:lnTo>
                        <a:pt x="30695" y="54813"/>
                      </a:lnTo>
                      <a:lnTo>
                        <a:pt x="31470" y="54648"/>
                      </a:lnTo>
                      <a:lnTo>
                        <a:pt x="33261" y="54317"/>
                      </a:lnTo>
                      <a:lnTo>
                        <a:pt x="35860" y="54317"/>
                      </a:lnTo>
                      <a:lnTo>
                        <a:pt x="37312" y="53365"/>
                      </a:lnTo>
                      <a:lnTo>
                        <a:pt x="37985" y="52285"/>
                      </a:lnTo>
                      <a:lnTo>
                        <a:pt x="39776" y="50761"/>
                      </a:lnTo>
                      <a:lnTo>
                        <a:pt x="44221" y="46824"/>
                      </a:lnTo>
                      <a:lnTo>
                        <a:pt x="44132" y="45275"/>
                      </a:lnTo>
                      <a:lnTo>
                        <a:pt x="43903" y="44932"/>
                      </a:lnTo>
                      <a:lnTo>
                        <a:pt x="43573" y="44551"/>
                      </a:lnTo>
                      <a:lnTo>
                        <a:pt x="42138" y="43027"/>
                      </a:lnTo>
                      <a:lnTo>
                        <a:pt x="41198" y="42227"/>
                      </a:lnTo>
                      <a:lnTo>
                        <a:pt x="37223" y="37782"/>
                      </a:lnTo>
                      <a:lnTo>
                        <a:pt x="33578" y="33820"/>
                      </a:lnTo>
                      <a:lnTo>
                        <a:pt x="29857" y="29921"/>
                      </a:lnTo>
                      <a:lnTo>
                        <a:pt x="36156" y="28117"/>
                      </a:lnTo>
                      <a:lnTo>
                        <a:pt x="42481" y="26492"/>
                      </a:lnTo>
                      <a:lnTo>
                        <a:pt x="52235" y="23037"/>
                      </a:lnTo>
                      <a:lnTo>
                        <a:pt x="56299" y="22136"/>
                      </a:lnTo>
                      <a:lnTo>
                        <a:pt x="59728" y="20358"/>
                      </a:lnTo>
                      <a:lnTo>
                        <a:pt x="61036" y="19951"/>
                      </a:lnTo>
                      <a:lnTo>
                        <a:pt x="62453" y="18643"/>
                      </a:lnTo>
                      <a:lnTo>
                        <a:pt x="28511" y="18643"/>
                      </a:lnTo>
                      <a:lnTo>
                        <a:pt x="23131" y="16370"/>
                      </a:lnTo>
                      <a:lnTo>
                        <a:pt x="9715" y="16370"/>
                      </a:lnTo>
                      <a:lnTo>
                        <a:pt x="9525" y="16167"/>
                      </a:lnTo>
                      <a:close/>
                    </a:path>
                    <a:path w="62864" h="66675">
                      <a:moveTo>
                        <a:pt x="35860" y="54317"/>
                      </a:moveTo>
                      <a:lnTo>
                        <a:pt x="33261" y="54317"/>
                      </a:lnTo>
                      <a:lnTo>
                        <a:pt x="35763" y="54381"/>
                      </a:lnTo>
                      <a:close/>
                    </a:path>
                    <a:path w="62864" h="66675">
                      <a:moveTo>
                        <a:pt x="55956" y="0"/>
                      </a:moveTo>
                      <a:lnTo>
                        <a:pt x="44985" y="6055"/>
                      </a:lnTo>
                      <a:lnTo>
                        <a:pt x="38771" y="9580"/>
                      </a:lnTo>
                      <a:lnTo>
                        <a:pt x="35012" y="11931"/>
                      </a:lnTo>
                      <a:lnTo>
                        <a:pt x="27457" y="17271"/>
                      </a:lnTo>
                      <a:lnTo>
                        <a:pt x="28511" y="18643"/>
                      </a:lnTo>
                      <a:lnTo>
                        <a:pt x="62453" y="18643"/>
                      </a:lnTo>
                      <a:lnTo>
                        <a:pt x="62865" y="18275"/>
                      </a:lnTo>
                      <a:lnTo>
                        <a:pt x="62458" y="18033"/>
                      </a:lnTo>
                      <a:lnTo>
                        <a:pt x="61315" y="17564"/>
                      </a:lnTo>
                      <a:lnTo>
                        <a:pt x="60426" y="17246"/>
                      </a:lnTo>
                      <a:lnTo>
                        <a:pt x="59588" y="16992"/>
                      </a:lnTo>
                      <a:lnTo>
                        <a:pt x="59372" y="16903"/>
                      </a:lnTo>
                      <a:lnTo>
                        <a:pt x="55778" y="736"/>
                      </a:lnTo>
                      <a:lnTo>
                        <a:pt x="55765" y="203"/>
                      </a:lnTo>
                      <a:lnTo>
                        <a:pt x="55956" y="0"/>
                      </a:lnTo>
                      <a:close/>
                    </a:path>
                    <a:path w="62864" h="66675">
                      <a:moveTo>
                        <a:pt x="12153" y="10413"/>
                      </a:moveTo>
                      <a:lnTo>
                        <a:pt x="10109" y="12611"/>
                      </a:lnTo>
                      <a:lnTo>
                        <a:pt x="9944" y="13207"/>
                      </a:lnTo>
                      <a:lnTo>
                        <a:pt x="9791" y="14046"/>
                      </a:lnTo>
                      <a:lnTo>
                        <a:pt x="9525" y="16167"/>
                      </a:lnTo>
                      <a:lnTo>
                        <a:pt x="9677" y="16306"/>
                      </a:lnTo>
                      <a:lnTo>
                        <a:pt x="23131" y="16370"/>
                      </a:lnTo>
                      <a:lnTo>
                        <a:pt x="17030" y="13792"/>
                      </a:lnTo>
                      <a:lnTo>
                        <a:pt x="13931" y="11226"/>
                      </a:lnTo>
                      <a:lnTo>
                        <a:pt x="12153" y="10413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618" name="object 158">
                  <a:extLst>
                    <a:ext uri="{FF2B5EF4-FFF2-40B4-BE49-F238E27FC236}">
                      <a16:creationId xmlns:a16="http://schemas.microsoft.com/office/drawing/2014/main" id="{AD846D47-869E-5500-DD33-146E27A46473}"/>
                    </a:ext>
                  </a:extLst>
                </p:cNvPr>
                <p:cNvPicPr/>
                <p:nvPr/>
              </p:nvPicPr>
              <p:blipFill>
                <a:blip r:embed="rId24" cstate="print"/>
                <a:stretch>
                  <a:fillRect/>
                </a:stretch>
              </p:blipFill>
              <p:spPr>
                <a:xfrm>
                  <a:off x="3351771" y="2603811"/>
                  <a:ext cx="150494" cy="93599"/>
                </a:xfrm>
                <a:prstGeom prst="rect">
                  <a:avLst/>
                </a:prstGeom>
              </p:spPr>
            </p:pic>
            <p:sp>
              <p:nvSpPr>
                <p:cNvPr id="619" name="object 159">
                  <a:extLst>
                    <a:ext uri="{FF2B5EF4-FFF2-40B4-BE49-F238E27FC236}">
                      <a16:creationId xmlns:a16="http://schemas.microsoft.com/office/drawing/2014/main" id="{15A60913-7649-9682-12AA-FA0BF26A1F75}"/>
                    </a:ext>
                  </a:extLst>
                </p:cNvPr>
                <p:cNvSpPr/>
                <p:nvPr/>
              </p:nvSpPr>
              <p:spPr>
                <a:xfrm>
                  <a:off x="3244138" y="2320175"/>
                  <a:ext cx="104775" cy="819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775" h="81914">
                      <a:moveTo>
                        <a:pt x="97802" y="9220"/>
                      </a:moveTo>
                      <a:lnTo>
                        <a:pt x="62255" y="9220"/>
                      </a:lnTo>
                      <a:lnTo>
                        <a:pt x="61810" y="9220"/>
                      </a:lnTo>
                      <a:lnTo>
                        <a:pt x="58115" y="9512"/>
                      </a:lnTo>
                      <a:lnTo>
                        <a:pt x="54851" y="8851"/>
                      </a:lnTo>
                      <a:lnTo>
                        <a:pt x="51155" y="8166"/>
                      </a:lnTo>
                      <a:lnTo>
                        <a:pt x="50634" y="7950"/>
                      </a:lnTo>
                      <a:lnTo>
                        <a:pt x="50203" y="7645"/>
                      </a:lnTo>
                      <a:lnTo>
                        <a:pt x="49961" y="7061"/>
                      </a:lnTo>
                      <a:lnTo>
                        <a:pt x="44119" y="5778"/>
                      </a:lnTo>
                      <a:lnTo>
                        <a:pt x="44056" y="6134"/>
                      </a:lnTo>
                      <a:lnTo>
                        <a:pt x="38862" y="8369"/>
                      </a:lnTo>
                      <a:lnTo>
                        <a:pt x="35306" y="9639"/>
                      </a:lnTo>
                      <a:lnTo>
                        <a:pt x="31750" y="9956"/>
                      </a:lnTo>
                      <a:lnTo>
                        <a:pt x="29933" y="10223"/>
                      </a:lnTo>
                      <a:lnTo>
                        <a:pt x="28473" y="10477"/>
                      </a:lnTo>
                      <a:lnTo>
                        <a:pt x="22440" y="6972"/>
                      </a:lnTo>
                      <a:lnTo>
                        <a:pt x="22059" y="8166"/>
                      </a:lnTo>
                      <a:lnTo>
                        <a:pt x="20967" y="10871"/>
                      </a:lnTo>
                      <a:lnTo>
                        <a:pt x="20942" y="14185"/>
                      </a:lnTo>
                      <a:lnTo>
                        <a:pt x="21310" y="15214"/>
                      </a:lnTo>
                      <a:lnTo>
                        <a:pt x="22466" y="15557"/>
                      </a:lnTo>
                      <a:lnTo>
                        <a:pt x="22123" y="15735"/>
                      </a:lnTo>
                      <a:lnTo>
                        <a:pt x="22123" y="49593"/>
                      </a:lnTo>
                      <a:lnTo>
                        <a:pt x="20637" y="50939"/>
                      </a:lnTo>
                      <a:lnTo>
                        <a:pt x="17881" y="52679"/>
                      </a:lnTo>
                      <a:lnTo>
                        <a:pt x="20637" y="50927"/>
                      </a:lnTo>
                      <a:lnTo>
                        <a:pt x="22110" y="49593"/>
                      </a:lnTo>
                      <a:lnTo>
                        <a:pt x="22123" y="15735"/>
                      </a:lnTo>
                      <a:lnTo>
                        <a:pt x="21323" y="16129"/>
                      </a:lnTo>
                      <a:lnTo>
                        <a:pt x="20510" y="16395"/>
                      </a:lnTo>
                      <a:lnTo>
                        <a:pt x="20510" y="46875"/>
                      </a:lnTo>
                      <a:lnTo>
                        <a:pt x="19939" y="45605"/>
                      </a:lnTo>
                      <a:lnTo>
                        <a:pt x="19685" y="45580"/>
                      </a:lnTo>
                      <a:lnTo>
                        <a:pt x="19939" y="45605"/>
                      </a:lnTo>
                      <a:lnTo>
                        <a:pt x="20510" y="46875"/>
                      </a:lnTo>
                      <a:lnTo>
                        <a:pt x="20510" y="16395"/>
                      </a:lnTo>
                      <a:lnTo>
                        <a:pt x="18491" y="20383"/>
                      </a:lnTo>
                      <a:lnTo>
                        <a:pt x="17627" y="20535"/>
                      </a:lnTo>
                      <a:lnTo>
                        <a:pt x="17437" y="20662"/>
                      </a:lnTo>
                      <a:lnTo>
                        <a:pt x="17437" y="54394"/>
                      </a:lnTo>
                      <a:lnTo>
                        <a:pt x="17437" y="55359"/>
                      </a:lnTo>
                      <a:lnTo>
                        <a:pt x="17373" y="55067"/>
                      </a:lnTo>
                      <a:lnTo>
                        <a:pt x="17322" y="54825"/>
                      </a:lnTo>
                      <a:lnTo>
                        <a:pt x="17437" y="54394"/>
                      </a:lnTo>
                      <a:lnTo>
                        <a:pt x="17437" y="20662"/>
                      </a:lnTo>
                      <a:lnTo>
                        <a:pt x="16535" y="21259"/>
                      </a:lnTo>
                      <a:lnTo>
                        <a:pt x="16243" y="21475"/>
                      </a:lnTo>
                      <a:lnTo>
                        <a:pt x="16243" y="43040"/>
                      </a:lnTo>
                      <a:lnTo>
                        <a:pt x="14681" y="42887"/>
                      </a:lnTo>
                      <a:lnTo>
                        <a:pt x="16243" y="43040"/>
                      </a:lnTo>
                      <a:lnTo>
                        <a:pt x="16243" y="21475"/>
                      </a:lnTo>
                      <a:lnTo>
                        <a:pt x="16116" y="21539"/>
                      </a:lnTo>
                      <a:lnTo>
                        <a:pt x="15582" y="21894"/>
                      </a:lnTo>
                      <a:lnTo>
                        <a:pt x="15455" y="22872"/>
                      </a:lnTo>
                      <a:lnTo>
                        <a:pt x="15392" y="23139"/>
                      </a:lnTo>
                      <a:lnTo>
                        <a:pt x="15227" y="23609"/>
                      </a:lnTo>
                      <a:lnTo>
                        <a:pt x="14427" y="23190"/>
                      </a:lnTo>
                      <a:lnTo>
                        <a:pt x="14427" y="55943"/>
                      </a:lnTo>
                      <a:lnTo>
                        <a:pt x="13309" y="56413"/>
                      </a:lnTo>
                      <a:lnTo>
                        <a:pt x="14414" y="55943"/>
                      </a:lnTo>
                      <a:lnTo>
                        <a:pt x="14427" y="23190"/>
                      </a:lnTo>
                      <a:lnTo>
                        <a:pt x="12026" y="22199"/>
                      </a:lnTo>
                      <a:lnTo>
                        <a:pt x="10756" y="21767"/>
                      </a:lnTo>
                      <a:lnTo>
                        <a:pt x="10325" y="22872"/>
                      </a:lnTo>
                      <a:lnTo>
                        <a:pt x="10642" y="22936"/>
                      </a:lnTo>
                      <a:lnTo>
                        <a:pt x="9982" y="23609"/>
                      </a:lnTo>
                      <a:lnTo>
                        <a:pt x="10121" y="24155"/>
                      </a:lnTo>
                      <a:lnTo>
                        <a:pt x="9829" y="26060"/>
                      </a:lnTo>
                      <a:lnTo>
                        <a:pt x="9766" y="27025"/>
                      </a:lnTo>
                      <a:lnTo>
                        <a:pt x="9144" y="27495"/>
                      </a:lnTo>
                      <a:lnTo>
                        <a:pt x="10109" y="28714"/>
                      </a:lnTo>
                      <a:lnTo>
                        <a:pt x="11823" y="29425"/>
                      </a:lnTo>
                      <a:lnTo>
                        <a:pt x="12001" y="33020"/>
                      </a:lnTo>
                      <a:lnTo>
                        <a:pt x="11315" y="35179"/>
                      </a:lnTo>
                      <a:lnTo>
                        <a:pt x="11849" y="38290"/>
                      </a:lnTo>
                      <a:lnTo>
                        <a:pt x="11823" y="40563"/>
                      </a:lnTo>
                      <a:lnTo>
                        <a:pt x="12496" y="41719"/>
                      </a:lnTo>
                      <a:lnTo>
                        <a:pt x="12268" y="42621"/>
                      </a:lnTo>
                      <a:lnTo>
                        <a:pt x="13017" y="42748"/>
                      </a:lnTo>
                      <a:lnTo>
                        <a:pt x="12865" y="42722"/>
                      </a:lnTo>
                      <a:lnTo>
                        <a:pt x="12865" y="58839"/>
                      </a:lnTo>
                      <a:lnTo>
                        <a:pt x="12750" y="58051"/>
                      </a:lnTo>
                      <a:lnTo>
                        <a:pt x="12801" y="58204"/>
                      </a:lnTo>
                      <a:lnTo>
                        <a:pt x="12865" y="58839"/>
                      </a:lnTo>
                      <a:lnTo>
                        <a:pt x="12865" y="42722"/>
                      </a:lnTo>
                      <a:lnTo>
                        <a:pt x="12255" y="42621"/>
                      </a:lnTo>
                      <a:lnTo>
                        <a:pt x="11976" y="43738"/>
                      </a:lnTo>
                      <a:lnTo>
                        <a:pt x="12458" y="43827"/>
                      </a:lnTo>
                      <a:lnTo>
                        <a:pt x="12344" y="44450"/>
                      </a:lnTo>
                      <a:lnTo>
                        <a:pt x="12141" y="44869"/>
                      </a:lnTo>
                      <a:lnTo>
                        <a:pt x="10604" y="46113"/>
                      </a:lnTo>
                      <a:lnTo>
                        <a:pt x="9486" y="46799"/>
                      </a:lnTo>
                      <a:lnTo>
                        <a:pt x="7683" y="50012"/>
                      </a:lnTo>
                      <a:lnTo>
                        <a:pt x="7912" y="52374"/>
                      </a:lnTo>
                      <a:lnTo>
                        <a:pt x="5918" y="55638"/>
                      </a:lnTo>
                      <a:lnTo>
                        <a:pt x="5626" y="55626"/>
                      </a:lnTo>
                      <a:lnTo>
                        <a:pt x="4699" y="58204"/>
                      </a:lnTo>
                      <a:lnTo>
                        <a:pt x="4419" y="59169"/>
                      </a:lnTo>
                      <a:lnTo>
                        <a:pt x="762" y="66370"/>
                      </a:lnTo>
                      <a:lnTo>
                        <a:pt x="241" y="66332"/>
                      </a:lnTo>
                      <a:lnTo>
                        <a:pt x="0" y="66344"/>
                      </a:lnTo>
                      <a:lnTo>
                        <a:pt x="88" y="67475"/>
                      </a:lnTo>
                      <a:lnTo>
                        <a:pt x="4051" y="67348"/>
                      </a:lnTo>
                      <a:lnTo>
                        <a:pt x="6108" y="67259"/>
                      </a:lnTo>
                      <a:lnTo>
                        <a:pt x="6172" y="66967"/>
                      </a:lnTo>
                      <a:lnTo>
                        <a:pt x="6654" y="66370"/>
                      </a:lnTo>
                      <a:lnTo>
                        <a:pt x="7480" y="65328"/>
                      </a:lnTo>
                      <a:lnTo>
                        <a:pt x="7658" y="65163"/>
                      </a:lnTo>
                      <a:lnTo>
                        <a:pt x="8166" y="64274"/>
                      </a:lnTo>
                      <a:lnTo>
                        <a:pt x="9588" y="63360"/>
                      </a:lnTo>
                      <a:lnTo>
                        <a:pt x="8178" y="64274"/>
                      </a:lnTo>
                      <a:lnTo>
                        <a:pt x="7747" y="65151"/>
                      </a:lnTo>
                      <a:lnTo>
                        <a:pt x="8267" y="65087"/>
                      </a:lnTo>
                      <a:lnTo>
                        <a:pt x="8255" y="66649"/>
                      </a:lnTo>
                      <a:lnTo>
                        <a:pt x="7861" y="68211"/>
                      </a:lnTo>
                      <a:lnTo>
                        <a:pt x="7696" y="70904"/>
                      </a:lnTo>
                      <a:lnTo>
                        <a:pt x="8001" y="71831"/>
                      </a:lnTo>
                      <a:lnTo>
                        <a:pt x="8178" y="72847"/>
                      </a:lnTo>
                      <a:lnTo>
                        <a:pt x="8204" y="73761"/>
                      </a:lnTo>
                      <a:lnTo>
                        <a:pt x="9525" y="73418"/>
                      </a:lnTo>
                      <a:lnTo>
                        <a:pt x="11303" y="74231"/>
                      </a:lnTo>
                      <a:lnTo>
                        <a:pt x="14401" y="76796"/>
                      </a:lnTo>
                      <a:lnTo>
                        <a:pt x="25882" y="81648"/>
                      </a:lnTo>
                      <a:lnTo>
                        <a:pt x="53327" y="63004"/>
                      </a:lnTo>
                      <a:lnTo>
                        <a:pt x="61442" y="58305"/>
                      </a:lnTo>
                      <a:lnTo>
                        <a:pt x="65836" y="55829"/>
                      </a:lnTo>
                      <a:lnTo>
                        <a:pt x="79248" y="48196"/>
                      </a:lnTo>
                      <a:lnTo>
                        <a:pt x="80797" y="47777"/>
                      </a:lnTo>
                      <a:lnTo>
                        <a:pt x="82207" y="47205"/>
                      </a:lnTo>
                      <a:lnTo>
                        <a:pt x="83223" y="46888"/>
                      </a:lnTo>
                      <a:lnTo>
                        <a:pt x="84226" y="46482"/>
                      </a:lnTo>
                      <a:lnTo>
                        <a:pt x="85826" y="44678"/>
                      </a:lnTo>
                      <a:lnTo>
                        <a:pt x="86639" y="43040"/>
                      </a:lnTo>
                      <a:lnTo>
                        <a:pt x="86741" y="42786"/>
                      </a:lnTo>
                      <a:lnTo>
                        <a:pt x="87249" y="41173"/>
                      </a:lnTo>
                      <a:lnTo>
                        <a:pt x="87680" y="40208"/>
                      </a:lnTo>
                      <a:lnTo>
                        <a:pt x="87642" y="34023"/>
                      </a:lnTo>
                      <a:lnTo>
                        <a:pt x="88493" y="30645"/>
                      </a:lnTo>
                      <a:lnTo>
                        <a:pt x="89115" y="28879"/>
                      </a:lnTo>
                      <a:lnTo>
                        <a:pt x="89242" y="27495"/>
                      </a:lnTo>
                      <a:lnTo>
                        <a:pt x="89141" y="25298"/>
                      </a:lnTo>
                      <a:lnTo>
                        <a:pt x="88874" y="23609"/>
                      </a:lnTo>
                      <a:lnTo>
                        <a:pt x="88582" y="20383"/>
                      </a:lnTo>
                      <a:lnTo>
                        <a:pt x="88328" y="18237"/>
                      </a:lnTo>
                      <a:lnTo>
                        <a:pt x="88341" y="17145"/>
                      </a:lnTo>
                      <a:lnTo>
                        <a:pt x="89674" y="13728"/>
                      </a:lnTo>
                      <a:lnTo>
                        <a:pt x="95148" y="11074"/>
                      </a:lnTo>
                      <a:lnTo>
                        <a:pt x="95821" y="10871"/>
                      </a:lnTo>
                      <a:lnTo>
                        <a:pt x="96304" y="10617"/>
                      </a:lnTo>
                      <a:lnTo>
                        <a:pt x="96443" y="10477"/>
                      </a:lnTo>
                      <a:lnTo>
                        <a:pt x="97485" y="9512"/>
                      </a:lnTo>
                      <a:lnTo>
                        <a:pt x="97802" y="9220"/>
                      </a:lnTo>
                      <a:close/>
                    </a:path>
                    <a:path w="104775" h="81914">
                      <a:moveTo>
                        <a:pt x="104254" y="2298"/>
                      </a:moveTo>
                      <a:lnTo>
                        <a:pt x="104013" y="1562"/>
                      </a:lnTo>
                      <a:lnTo>
                        <a:pt x="103530" y="673"/>
                      </a:lnTo>
                      <a:lnTo>
                        <a:pt x="103352" y="0"/>
                      </a:lnTo>
                      <a:lnTo>
                        <a:pt x="101600" y="520"/>
                      </a:lnTo>
                      <a:lnTo>
                        <a:pt x="99898" y="952"/>
                      </a:lnTo>
                      <a:lnTo>
                        <a:pt x="93078" y="2336"/>
                      </a:lnTo>
                      <a:lnTo>
                        <a:pt x="92138" y="2387"/>
                      </a:lnTo>
                      <a:lnTo>
                        <a:pt x="104152" y="2387"/>
                      </a:lnTo>
                      <a:close/>
                    </a:path>
                    <a:path w="104775" h="81914">
                      <a:moveTo>
                        <a:pt x="104381" y="3111"/>
                      </a:moveTo>
                      <a:lnTo>
                        <a:pt x="103835" y="2679"/>
                      </a:lnTo>
                      <a:lnTo>
                        <a:pt x="88188" y="2603"/>
                      </a:lnTo>
                      <a:lnTo>
                        <a:pt x="79476" y="2603"/>
                      </a:lnTo>
                      <a:lnTo>
                        <a:pt x="77292" y="4165"/>
                      </a:lnTo>
                      <a:lnTo>
                        <a:pt x="74231" y="5486"/>
                      </a:lnTo>
                      <a:lnTo>
                        <a:pt x="69405" y="7175"/>
                      </a:lnTo>
                      <a:lnTo>
                        <a:pt x="66040" y="8509"/>
                      </a:lnTo>
                      <a:lnTo>
                        <a:pt x="62255" y="9207"/>
                      </a:lnTo>
                      <a:lnTo>
                        <a:pt x="97815" y="9207"/>
                      </a:lnTo>
                      <a:lnTo>
                        <a:pt x="104076" y="3365"/>
                      </a:lnTo>
                      <a:lnTo>
                        <a:pt x="104381" y="3111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620" name="object 160">
                  <a:extLst>
                    <a:ext uri="{FF2B5EF4-FFF2-40B4-BE49-F238E27FC236}">
                      <a16:creationId xmlns:a16="http://schemas.microsoft.com/office/drawing/2014/main" id="{6E045157-DC8D-15DB-1695-79D3B720E50B}"/>
                    </a:ext>
                  </a:extLst>
                </p:cNvPr>
                <p:cNvSpPr/>
                <p:nvPr/>
              </p:nvSpPr>
              <p:spPr>
                <a:xfrm>
                  <a:off x="3235817" y="2403199"/>
                  <a:ext cx="301625" cy="24002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01625" h="240030">
                      <a:moveTo>
                        <a:pt x="123393" y="229869"/>
                      </a:moveTo>
                      <a:lnTo>
                        <a:pt x="112483" y="229869"/>
                      </a:lnTo>
                      <a:lnTo>
                        <a:pt x="116560" y="231139"/>
                      </a:lnTo>
                      <a:lnTo>
                        <a:pt x="117551" y="234949"/>
                      </a:lnTo>
                      <a:lnTo>
                        <a:pt x="118237" y="238759"/>
                      </a:lnTo>
                      <a:lnTo>
                        <a:pt x="117297" y="240029"/>
                      </a:lnTo>
                      <a:lnTo>
                        <a:pt x="119151" y="240029"/>
                      </a:lnTo>
                      <a:lnTo>
                        <a:pt x="119557" y="238759"/>
                      </a:lnTo>
                      <a:lnTo>
                        <a:pt x="123063" y="237489"/>
                      </a:lnTo>
                      <a:lnTo>
                        <a:pt x="124320" y="236219"/>
                      </a:lnTo>
                      <a:lnTo>
                        <a:pt x="124218" y="234949"/>
                      </a:lnTo>
                      <a:lnTo>
                        <a:pt x="124002" y="233679"/>
                      </a:lnTo>
                      <a:lnTo>
                        <a:pt x="123355" y="232409"/>
                      </a:lnTo>
                      <a:lnTo>
                        <a:pt x="123342" y="231139"/>
                      </a:lnTo>
                      <a:lnTo>
                        <a:pt x="123393" y="229869"/>
                      </a:lnTo>
                      <a:close/>
                    </a:path>
                    <a:path w="301625" h="240030">
                      <a:moveTo>
                        <a:pt x="112449" y="231018"/>
                      </a:moveTo>
                      <a:close/>
                    </a:path>
                    <a:path w="301625" h="240030">
                      <a:moveTo>
                        <a:pt x="189213" y="223519"/>
                      </a:moveTo>
                      <a:lnTo>
                        <a:pt x="129806" y="223519"/>
                      </a:lnTo>
                      <a:lnTo>
                        <a:pt x="130556" y="224789"/>
                      </a:lnTo>
                      <a:lnTo>
                        <a:pt x="157454" y="224789"/>
                      </a:lnTo>
                      <a:lnTo>
                        <a:pt x="165722" y="226059"/>
                      </a:lnTo>
                      <a:lnTo>
                        <a:pt x="174713" y="227329"/>
                      </a:lnTo>
                      <a:lnTo>
                        <a:pt x="175958" y="227329"/>
                      </a:lnTo>
                      <a:lnTo>
                        <a:pt x="177088" y="229869"/>
                      </a:lnTo>
                      <a:lnTo>
                        <a:pt x="178269" y="231139"/>
                      </a:lnTo>
                      <a:lnTo>
                        <a:pt x="183032" y="231139"/>
                      </a:lnTo>
                      <a:lnTo>
                        <a:pt x="184327" y="229869"/>
                      </a:lnTo>
                      <a:lnTo>
                        <a:pt x="185496" y="228599"/>
                      </a:lnTo>
                      <a:lnTo>
                        <a:pt x="189213" y="223519"/>
                      </a:lnTo>
                      <a:close/>
                    </a:path>
                    <a:path w="301625" h="240030">
                      <a:moveTo>
                        <a:pt x="293217" y="186689"/>
                      </a:moveTo>
                      <a:lnTo>
                        <a:pt x="85153" y="186689"/>
                      </a:lnTo>
                      <a:lnTo>
                        <a:pt x="85877" y="187959"/>
                      </a:lnTo>
                      <a:lnTo>
                        <a:pt x="91503" y="198119"/>
                      </a:lnTo>
                      <a:lnTo>
                        <a:pt x="96596" y="205739"/>
                      </a:lnTo>
                      <a:lnTo>
                        <a:pt x="98945" y="210819"/>
                      </a:lnTo>
                      <a:lnTo>
                        <a:pt x="103111" y="217169"/>
                      </a:lnTo>
                      <a:lnTo>
                        <a:pt x="107086" y="219709"/>
                      </a:lnTo>
                      <a:lnTo>
                        <a:pt x="112560" y="224789"/>
                      </a:lnTo>
                      <a:lnTo>
                        <a:pt x="111404" y="227329"/>
                      </a:lnTo>
                      <a:lnTo>
                        <a:pt x="112449" y="231018"/>
                      </a:lnTo>
                      <a:lnTo>
                        <a:pt x="112483" y="229869"/>
                      </a:lnTo>
                      <a:lnTo>
                        <a:pt x="123621" y="229869"/>
                      </a:lnTo>
                      <a:lnTo>
                        <a:pt x="124129" y="228599"/>
                      </a:lnTo>
                      <a:lnTo>
                        <a:pt x="124828" y="226059"/>
                      </a:lnTo>
                      <a:lnTo>
                        <a:pt x="125818" y="223519"/>
                      </a:lnTo>
                      <a:lnTo>
                        <a:pt x="189213" y="223519"/>
                      </a:lnTo>
                      <a:lnTo>
                        <a:pt x="195719" y="214629"/>
                      </a:lnTo>
                      <a:lnTo>
                        <a:pt x="195935" y="213359"/>
                      </a:lnTo>
                      <a:lnTo>
                        <a:pt x="196164" y="213359"/>
                      </a:lnTo>
                      <a:lnTo>
                        <a:pt x="198628" y="212089"/>
                      </a:lnTo>
                      <a:lnTo>
                        <a:pt x="203365" y="209549"/>
                      </a:lnTo>
                      <a:lnTo>
                        <a:pt x="211429" y="205739"/>
                      </a:lnTo>
                      <a:lnTo>
                        <a:pt x="224345" y="205739"/>
                      </a:lnTo>
                      <a:lnTo>
                        <a:pt x="230505" y="204469"/>
                      </a:lnTo>
                      <a:lnTo>
                        <a:pt x="236626" y="204469"/>
                      </a:lnTo>
                      <a:lnTo>
                        <a:pt x="245275" y="201929"/>
                      </a:lnTo>
                      <a:lnTo>
                        <a:pt x="247764" y="201929"/>
                      </a:lnTo>
                      <a:lnTo>
                        <a:pt x="250240" y="200659"/>
                      </a:lnTo>
                      <a:lnTo>
                        <a:pt x="253923" y="200659"/>
                      </a:lnTo>
                      <a:lnTo>
                        <a:pt x="293217" y="186689"/>
                      </a:lnTo>
                      <a:close/>
                    </a:path>
                    <a:path w="301625" h="240030">
                      <a:moveTo>
                        <a:pt x="146621" y="224789"/>
                      </a:moveTo>
                      <a:lnTo>
                        <a:pt x="131889" y="224789"/>
                      </a:lnTo>
                      <a:lnTo>
                        <a:pt x="132715" y="226059"/>
                      </a:lnTo>
                      <a:lnTo>
                        <a:pt x="143548" y="226059"/>
                      </a:lnTo>
                      <a:lnTo>
                        <a:pt x="146621" y="224789"/>
                      </a:lnTo>
                      <a:close/>
                    </a:path>
                    <a:path w="301625" h="240030">
                      <a:moveTo>
                        <a:pt x="294894" y="181609"/>
                      </a:moveTo>
                      <a:lnTo>
                        <a:pt x="77165" y="181609"/>
                      </a:lnTo>
                      <a:lnTo>
                        <a:pt x="78206" y="182879"/>
                      </a:lnTo>
                      <a:lnTo>
                        <a:pt x="81064" y="182879"/>
                      </a:lnTo>
                      <a:lnTo>
                        <a:pt x="82791" y="185419"/>
                      </a:lnTo>
                      <a:lnTo>
                        <a:pt x="83718" y="185419"/>
                      </a:lnTo>
                      <a:lnTo>
                        <a:pt x="84759" y="186689"/>
                      </a:lnTo>
                      <a:lnTo>
                        <a:pt x="293509" y="186689"/>
                      </a:lnTo>
                      <a:lnTo>
                        <a:pt x="293776" y="185419"/>
                      </a:lnTo>
                      <a:lnTo>
                        <a:pt x="294335" y="184149"/>
                      </a:lnTo>
                      <a:lnTo>
                        <a:pt x="294894" y="181609"/>
                      </a:lnTo>
                      <a:close/>
                    </a:path>
                    <a:path w="301625" h="240030">
                      <a:moveTo>
                        <a:pt x="77165" y="182788"/>
                      </a:moveTo>
                      <a:close/>
                    </a:path>
                    <a:path w="301625" h="240030">
                      <a:moveTo>
                        <a:pt x="202214" y="63499"/>
                      </a:moveTo>
                      <a:lnTo>
                        <a:pt x="8153" y="63499"/>
                      </a:lnTo>
                      <a:lnTo>
                        <a:pt x="9245" y="64769"/>
                      </a:lnTo>
                      <a:lnTo>
                        <a:pt x="13754" y="69849"/>
                      </a:lnTo>
                      <a:lnTo>
                        <a:pt x="16243" y="76199"/>
                      </a:lnTo>
                      <a:lnTo>
                        <a:pt x="23545" y="85089"/>
                      </a:lnTo>
                      <a:lnTo>
                        <a:pt x="25742" y="92709"/>
                      </a:lnTo>
                      <a:lnTo>
                        <a:pt x="31724" y="96519"/>
                      </a:lnTo>
                      <a:lnTo>
                        <a:pt x="31445" y="96519"/>
                      </a:lnTo>
                      <a:lnTo>
                        <a:pt x="31432" y="100329"/>
                      </a:lnTo>
                      <a:lnTo>
                        <a:pt x="32346" y="100329"/>
                      </a:lnTo>
                      <a:lnTo>
                        <a:pt x="35547" y="104139"/>
                      </a:lnTo>
                      <a:lnTo>
                        <a:pt x="38442" y="106679"/>
                      </a:lnTo>
                      <a:lnTo>
                        <a:pt x="39789" y="111759"/>
                      </a:lnTo>
                      <a:lnTo>
                        <a:pt x="39903" y="114299"/>
                      </a:lnTo>
                      <a:lnTo>
                        <a:pt x="41008" y="118109"/>
                      </a:lnTo>
                      <a:lnTo>
                        <a:pt x="41706" y="119379"/>
                      </a:lnTo>
                      <a:lnTo>
                        <a:pt x="44399" y="123189"/>
                      </a:lnTo>
                      <a:lnTo>
                        <a:pt x="50253" y="123189"/>
                      </a:lnTo>
                      <a:lnTo>
                        <a:pt x="53086" y="126999"/>
                      </a:lnTo>
                      <a:lnTo>
                        <a:pt x="55880" y="129539"/>
                      </a:lnTo>
                      <a:lnTo>
                        <a:pt x="56095" y="129539"/>
                      </a:lnTo>
                      <a:lnTo>
                        <a:pt x="58635" y="134619"/>
                      </a:lnTo>
                      <a:lnTo>
                        <a:pt x="60198" y="137159"/>
                      </a:lnTo>
                      <a:lnTo>
                        <a:pt x="65328" y="148589"/>
                      </a:lnTo>
                      <a:lnTo>
                        <a:pt x="65722" y="149859"/>
                      </a:lnTo>
                      <a:lnTo>
                        <a:pt x="66294" y="149859"/>
                      </a:lnTo>
                      <a:lnTo>
                        <a:pt x="66179" y="151129"/>
                      </a:lnTo>
                      <a:lnTo>
                        <a:pt x="65481" y="152399"/>
                      </a:lnTo>
                      <a:lnTo>
                        <a:pt x="64592" y="154939"/>
                      </a:lnTo>
                      <a:lnTo>
                        <a:pt x="65252" y="157479"/>
                      </a:lnTo>
                      <a:lnTo>
                        <a:pt x="65557" y="160019"/>
                      </a:lnTo>
                      <a:lnTo>
                        <a:pt x="65976" y="163829"/>
                      </a:lnTo>
                      <a:lnTo>
                        <a:pt x="65633" y="167639"/>
                      </a:lnTo>
                      <a:lnTo>
                        <a:pt x="68262" y="172719"/>
                      </a:lnTo>
                      <a:lnTo>
                        <a:pt x="69418" y="173989"/>
                      </a:lnTo>
                      <a:lnTo>
                        <a:pt x="72161" y="177799"/>
                      </a:lnTo>
                      <a:lnTo>
                        <a:pt x="74117" y="180339"/>
                      </a:lnTo>
                      <a:lnTo>
                        <a:pt x="77165" y="182788"/>
                      </a:lnTo>
                      <a:lnTo>
                        <a:pt x="77165" y="181609"/>
                      </a:lnTo>
                      <a:lnTo>
                        <a:pt x="295097" y="181609"/>
                      </a:lnTo>
                      <a:lnTo>
                        <a:pt x="295351" y="180339"/>
                      </a:lnTo>
                      <a:lnTo>
                        <a:pt x="295935" y="179069"/>
                      </a:lnTo>
                      <a:lnTo>
                        <a:pt x="296214" y="177799"/>
                      </a:lnTo>
                      <a:lnTo>
                        <a:pt x="297484" y="173989"/>
                      </a:lnTo>
                      <a:lnTo>
                        <a:pt x="298716" y="170179"/>
                      </a:lnTo>
                      <a:lnTo>
                        <a:pt x="300456" y="163829"/>
                      </a:lnTo>
                      <a:lnTo>
                        <a:pt x="300964" y="162559"/>
                      </a:lnTo>
                      <a:lnTo>
                        <a:pt x="301256" y="161289"/>
                      </a:lnTo>
                      <a:lnTo>
                        <a:pt x="301371" y="160019"/>
                      </a:lnTo>
                      <a:lnTo>
                        <a:pt x="301409" y="157479"/>
                      </a:lnTo>
                      <a:lnTo>
                        <a:pt x="301231" y="156209"/>
                      </a:lnTo>
                      <a:lnTo>
                        <a:pt x="300837" y="154939"/>
                      </a:lnTo>
                      <a:lnTo>
                        <a:pt x="300355" y="153669"/>
                      </a:lnTo>
                      <a:lnTo>
                        <a:pt x="299935" y="152399"/>
                      </a:lnTo>
                      <a:lnTo>
                        <a:pt x="299466" y="151129"/>
                      </a:lnTo>
                      <a:lnTo>
                        <a:pt x="298577" y="149859"/>
                      </a:lnTo>
                      <a:lnTo>
                        <a:pt x="297548" y="148589"/>
                      </a:lnTo>
                      <a:lnTo>
                        <a:pt x="296672" y="147319"/>
                      </a:lnTo>
                      <a:lnTo>
                        <a:pt x="296113" y="146049"/>
                      </a:lnTo>
                      <a:lnTo>
                        <a:pt x="295224" y="146049"/>
                      </a:lnTo>
                      <a:lnTo>
                        <a:pt x="258927" y="142239"/>
                      </a:lnTo>
                      <a:lnTo>
                        <a:pt x="258483" y="142239"/>
                      </a:lnTo>
                      <a:lnTo>
                        <a:pt x="255892" y="139699"/>
                      </a:lnTo>
                      <a:lnTo>
                        <a:pt x="251104" y="133349"/>
                      </a:lnTo>
                      <a:lnTo>
                        <a:pt x="249567" y="130809"/>
                      </a:lnTo>
                      <a:lnTo>
                        <a:pt x="247561" y="129539"/>
                      </a:lnTo>
                      <a:lnTo>
                        <a:pt x="244881" y="126999"/>
                      </a:lnTo>
                      <a:lnTo>
                        <a:pt x="244551" y="124459"/>
                      </a:lnTo>
                      <a:lnTo>
                        <a:pt x="243967" y="121919"/>
                      </a:lnTo>
                      <a:lnTo>
                        <a:pt x="239877" y="121919"/>
                      </a:lnTo>
                      <a:lnTo>
                        <a:pt x="240423" y="120649"/>
                      </a:lnTo>
                      <a:lnTo>
                        <a:pt x="241109" y="119379"/>
                      </a:lnTo>
                      <a:lnTo>
                        <a:pt x="242023" y="119379"/>
                      </a:lnTo>
                      <a:lnTo>
                        <a:pt x="242404" y="118109"/>
                      </a:lnTo>
                      <a:lnTo>
                        <a:pt x="235572" y="118109"/>
                      </a:lnTo>
                      <a:lnTo>
                        <a:pt x="235483" y="116839"/>
                      </a:lnTo>
                      <a:lnTo>
                        <a:pt x="234048" y="116839"/>
                      </a:lnTo>
                      <a:lnTo>
                        <a:pt x="233667" y="115569"/>
                      </a:lnTo>
                      <a:lnTo>
                        <a:pt x="233222" y="114299"/>
                      </a:lnTo>
                      <a:lnTo>
                        <a:pt x="231013" y="111759"/>
                      </a:lnTo>
                      <a:lnTo>
                        <a:pt x="229146" y="107949"/>
                      </a:lnTo>
                      <a:lnTo>
                        <a:pt x="225501" y="102869"/>
                      </a:lnTo>
                      <a:lnTo>
                        <a:pt x="222605" y="99059"/>
                      </a:lnTo>
                      <a:lnTo>
                        <a:pt x="221602" y="96519"/>
                      </a:lnTo>
                      <a:lnTo>
                        <a:pt x="221411" y="95249"/>
                      </a:lnTo>
                      <a:lnTo>
                        <a:pt x="221259" y="93979"/>
                      </a:lnTo>
                      <a:lnTo>
                        <a:pt x="222567" y="92709"/>
                      </a:lnTo>
                      <a:lnTo>
                        <a:pt x="224548" y="92709"/>
                      </a:lnTo>
                      <a:lnTo>
                        <a:pt x="225031" y="91439"/>
                      </a:lnTo>
                      <a:lnTo>
                        <a:pt x="223761" y="87629"/>
                      </a:lnTo>
                      <a:lnTo>
                        <a:pt x="220522" y="87629"/>
                      </a:lnTo>
                      <a:lnTo>
                        <a:pt x="221640" y="85089"/>
                      </a:lnTo>
                      <a:lnTo>
                        <a:pt x="222643" y="85089"/>
                      </a:lnTo>
                      <a:lnTo>
                        <a:pt x="221945" y="83819"/>
                      </a:lnTo>
                      <a:lnTo>
                        <a:pt x="219989" y="82549"/>
                      </a:lnTo>
                      <a:lnTo>
                        <a:pt x="219138" y="82549"/>
                      </a:lnTo>
                      <a:lnTo>
                        <a:pt x="216979" y="81279"/>
                      </a:lnTo>
                      <a:lnTo>
                        <a:pt x="216666" y="78739"/>
                      </a:lnTo>
                      <a:lnTo>
                        <a:pt x="212547" y="78739"/>
                      </a:lnTo>
                      <a:lnTo>
                        <a:pt x="211582" y="74929"/>
                      </a:lnTo>
                      <a:lnTo>
                        <a:pt x="209181" y="73659"/>
                      </a:lnTo>
                      <a:lnTo>
                        <a:pt x="211620" y="73659"/>
                      </a:lnTo>
                      <a:lnTo>
                        <a:pt x="210693" y="72389"/>
                      </a:lnTo>
                      <a:lnTo>
                        <a:pt x="208114" y="72389"/>
                      </a:lnTo>
                      <a:lnTo>
                        <a:pt x="207645" y="71119"/>
                      </a:lnTo>
                      <a:lnTo>
                        <a:pt x="205333" y="71119"/>
                      </a:lnTo>
                      <a:lnTo>
                        <a:pt x="203669" y="68579"/>
                      </a:lnTo>
                      <a:lnTo>
                        <a:pt x="203365" y="66039"/>
                      </a:lnTo>
                      <a:lnTo>
                        <a:pt x="202214" y="63499"/>
                      </a:lnTo>
                      <a:close/>
                    </a:path>
                    <a:path w="301625" h="240030">
                      <a:moveTo>
                        <a:pt x="239979" y="116839"/>
                      </a:moveTo>
                      <a:lnTo>
                        <a:pt x="237820" y="116839"/>
                      </a:lnTo>
                      <a:lnTo>
                        <a:pt x="237426" y="118109"/>
                      </a:lnTo>
                      <a:lnTo>
                        <a:pt x="240779" y="118109"/>
                      </a:lnTo>
                      <a:lnTo>
                        <a:pt x="239979" y="116839"/>
                      </a:lnTo>
                      <a:close/>
                    </a:path>
                    <a:path w="301625" h="240030">
                      <a:moveTo>
                        <a:pt x="242531" y="116839"/>
                      </a:moveTo>
                      <a:lnTo>
                        <a:pt x="241096" y="116839"/>
                      </a:lnTo>
                      <a:lnTo>
                        <a:pt x="240779" y="118109"/>
                      </a:lnTo>
                      <a:lnTo>
                        <a:pt x="242760" y="118109"/>
                      </a:lnTo>
                      <a:lnTo>
                        <a:pt x="242531" y="116839"/>
                      </a:lnTo>
                      <a:close/>
                    </a:path>
                    <a:path w="301625" h="240030">
                      <a:moveTo>
                        <a:pt x="224548" y="92709"/>
                      </a:moveTo>
                      <a:lnTo>
                        <a:pt x="222567" y="92709"/>
                      </a:lnTo>
                      <a:lnTo>
                        <a:pt x="223266" y="95249"/>
                      </a:lnTo>
                      <a:lnTo>
                        <a:pt x="223685" y="95249"/>
                      </a:lnTo>
                      <a:lnTo>
                        <a:pt x="224066" y="93979"/>
                      </a:lnTo>
                      <a:lnTo>
                        <a:pt x="224548" y="92709"/>
                      </a:lnTo>
                      <a:close/>
                    </a:path>
                    <a:path w="301625" h="240030">
                      <a:moveTo>
                        <a:pt x="222643" y="85089"/>
                      </a:moveTo>
                      <a:lnTo>
                        <a:pt x="221640" y="85089"/>
                      </a:lnTo>
                      <a:lnTo>
                        <a:pt x="221983" y="86359"/>
                      </a:lnTo>
                      <a:lnTo>
                        <a:pt x="223875" y="86359"/>
                      </a:lnTo>
                      <a:lnTo>
                        <a:pt x="222643" y="85089"/>
                      </a:lnTo>
                      <a:close/>
                    </a:path>
                    <a:path w="301625" h="240030">
                      <a:moveTo>
                        <a:pt x="216509" y="77469"/>
                      </a:moveTo>
                      <a:lnTo>
                        <a:pt x="214617" y="77469"/>
                      </a:lnTo>
                      <a:lnTo>
                        <a:pt x="214706" y="78739"/>
                      </a:lnTo>
                      <a:lnTo>
                        <a:pt x="216666" y="78739"/>
                      </a:lnTo>
                      <a:lnTo>
                        <a:pt x="216509" y="77469"/>
                      </a:lnTo>
                      <a:close/>
                    </a:path>
                    <a:path w="301625" h="240030">
                      <a:moveTo>
                        <a:pt x="7962" y="44449"/>
                      </a:moveTo>
                      <a:lnTo>
                        <a:pt x="6286" y="44449"/>
                      </a:lnTo>
                      <a:lnTo>
                        <a:pt x="6153" y="45084"/>
                      </a:lnTo>
                      <a:lnTo>
                        <a:pt x="6057" y="45719"/>
                      </a:lnTo>
                      <a:lnTo>
                        <a:pt x="5219" y="49529"/>
                      </a:lnTo>
                      <a:lnTo>
                        <a:pt x="4000" y="54609"/>
                      </a:lnTo>
                      <a:lnTo>
                        <a:pt x="2374" y="59689"/>
                      </a:lnTo>
                      <a:lnTo>
                        <a:pt x="0" y="64769"/>
                      </a:lnTo>
                      <a:lnTo>
                        <a:pt x="2108" y="64769"/>
                      </a:lnTo>
                      <a:lnTo>
                        <a:pt x="1917" y="63499"/>
                      </a:lnTo>
                      <a:lnTo>
                        <a:pt x="202214" y="63499"/>
                      </a:lnTo>
                      <a:lnTo>
                        <a:pt x="199914" y="58419"/>
                      </a:lnTo>
                      <a:lnTo>
                        <a:pt x="191617" y="58419"/>
                      </a:lnTo>
                      <a:lnTo>
                        <a:pt x="189001" y="57149"/>
                      </a:lnTo>
                      <a:lnTo>
                        <a:pt x="188201" y="55879"/>
                      </a:lnTo>
                      <a:lnTo>
                        <a:pt x="187642" y="55879"/>
                      </a:lnTo>
                      <a:lnTo>
                        <a:pt x="187185" y="54609"/>
                      </a:lnTo>
                      <a:lnTo>
                        <a:pt x="187032" y="54609"/>
                      </a:lnTo>
                      <a:lnTo>
                        <a:pt x="186842" y="53339"/>
                      </a:lnTo>
                      <a:lnTo>
                        <a:pt x="186651" y="52069"/>
                      </a:lnTo>
                      <a:lnTo>
                        <a:pt x="186385" y="52069"/>
                      </a:lnTo>
                      <a:lnTo>
                        <a:pt x="177173" y="49529"/>
                      </a:lnTo>
                      <a:lnTo>
                        <a:pt x="169672" y="49529"/>
                      </a:lnTo>
                      <a:lnTo>
                        <a:pt x="168744" y="48259"/>
                      </a:lnTo>
                      <a:lnTo>
                        <a:pt x="159766" y="48259"/>
                      </a:lnTo>
                      <a:lnTo>
                        <a:pt x="147840" y="46989"/>
                      </a:lnTo>
                      <a:lnTo>
                        <a:pt x="21958" y="46989"/>
                      </a:lnTo>
                      <a:lnTo>
                        <a:pt x="18326" y="45719"/>
                      </a:lnTo>
                      <a:lnTo>
                        <a:pt x="7962" y="44449"/>
                      </a:lnTo>
                      <a:close/>
                    </a:path>
                    <a:path w="301625" h="240030">
                      <a:moveTo>
                        <a:pt x="4445" y="63499"/>
                      </a:moveTo>
                      <a:lnTo>
                        <a:pt x="3048" y="63499"/>
                      </a:lnTo>
                      <a:lnTo>
                        <a:pt x="3670" y="64769"/>
                      </a:lnTo>
                      <a:lnTo>
                        <a:pt x="4445" y="63499"/>
                      </a:lnTo>
                      <a:close/>
                    </a:path>
                    <a:path w="301625" h="240030">
                      <a:moveTo>
                        <a:pt x="5892" y="63499"/>
                      </a:moveTo>
                      <a:lnTo>
                        <a:pt x="4445" y="63499"/>
                      </a:lnTo>
                      <a:lnTo>
                        <a:pt x="5473" y="64769"/>
                      </a:lnTo>
                      <a:lnTo>
                        <a:pt x="5892" y="63499"/>
                      </a:lnTo>
                      <a:close/>
                    </a:path>
                    <a:path w="301625" h="240030">
                      <a:moveTo>
                        <a:pt x="199339" y="57149"/>
                      </a:moveTo>
                      <a:lnTo>
                        <a:pt x="195935" y="57149"/>
                      </a:lnTo>
                      <a:lnTo>
                        <a:pt x="191617" y="58419"/>
                      </a:lnTo>
                      <a:lnTo>
                        <a:pt x="199914" y="58419"/>
                      </a:lnTo>
                      <a:lnTo>
                        <a:pt x="199339" y="57149"/>
                      </a:lnTo>
                      <a:close/>
                    </a:path>
                    <a:path w="301625" h="240030">
                      <a:moveTo>
                        <a:pt x="172567" y="48259"/>
                      </a:moveTo>
                      <a:lnTo>
                        <a:pt x="170942" y="48259"/>
                      </a:lnTo>
                      <a:lnTo>
                        <a:pt x="169672" y="49529"/>
                      </a:lnTo>
                      <a:lnTo>
                        <a:pt x="177173" y="49529"/>
                      </a:lnTo>
                      <a:lnTo>
                        <a:pt x="172567" y="48259"/>
                      </a:lnTo>
                      <a:close/>
                    </a:path>
                    <a:path w="301625" h="240030">
                      <a:moveTo>
                        <a:pt x="66725" y="0"/>
                      </a:moveTo>
                      <a:lnTo>
                        <a:pt x="65430" y="1269"/>
                      </a:lnTo>
                      <a:lnTo>
                        <a:pt x="61988" y="2539"/>
                      </a:lnTo>
                      <a:lnTo>
                        <a:pt x="57924" y="3809"/>
                      </a:lnTo>
                      <a:lnTo>
                        <a:pt x="48171" y="7619"/>
                      </a:lnTo>
                      <a:lnTo>
                        <a:pt x="35560" y="10159"/>
                      </a:lnTo>
                      <a:lnTo>
                        <a:pt x="39281" y="13969"/>
                      </a:lnTo>
                      <a:lnTo>
                        <a:pt x="42926" y="17779"/>
                      </a:lnTo>
                      <a:lnTo>
                        <a:pt x="46888" y="22859"/>
                      </a:lnTo>
                      <a:lnTo>
                        <a:pt x="47828" y="24129"/>
                      </a:lnTo>
                      <a:lnTo>
                        <a:pt x="48831" y="24129"/>
                      </a:lnTo>
                      <a:lnTo>
                        <a:pt x="49593" y="25399"/>
                      </a:lnTo>
                      <a:lnTo>
                        <a:pt x="49822" y="25399"/>
                      </a:lnTo>
                      <a:lnTo>
                        <a:pt x="49923" y="27939"/>
                      </a:lnTo>
                      <a:lnTo>
                        <a:pt x="45466" y="31749"/>
                      </a:lnTo>
                      <a:lnTo>
                        <a:pt x="43675" y="33019"/>
                      </a:lnTo>
                      <a:lnTo>
                        <a:pt x="43014" y="34289"/>
                      </a:lnTo>
                      <a:lnTo>
                        <a:pt x="41452" y="35559"/>
                      </a:lnTo>
                      <a:lnTo>
                        <a:pt x="33921" y="35559"/>
                      </a:lnTo>
                      <a:lnTo>
                        <a:pt x="30721" y="36829"/>
                      </a:lnTo>
                      <a:lnTo>
                        <a:pt x="29197" y="39369"/>
                      </a:lnTo>
                      <a:lnTo>
                        <a:pt x="25336" y="43179"/>
                      </a:lnTo>
                      <a:lnTo>
                        <a:pt x="23279" y="46989"/>
                      </a:lnTo>
                      <a:lnTo>
                        <a:pt x="146456" y="46989"/>
                      </a:lnTo>
                      <a:lnTo>
                        <a:pt x="141097" y="43179"/>
                      </a:lnTo>
                      <a:lnTo>
                        <a:pt x="138861" y="40639"/>
                      </a:lnTo>
                      <a:lnTo>
                        <a:pt x="136169" y="39369"/>
                      </a:lnTo>
                      <a:lnTo>
                        <a:pt x="133438" y="36829"/>
                      </a:lnTo>
                      <a:lnTo>
                        <a:pt x="123939" y="29209"/>
                      </a:lnTo>
                      <a:lnTo>
                        <a:pt x="118745" y="25399"/>
                      </a:lnTo>
                      <a:lnTo>
                        <a:pt x="113906" y="20319"/>
                      </a:lnTo>
                      <a:lnTo>
                        <a:pt x="107899" y="16509"/>
                      </a:lnTo>
                      <a:lnTo>
                        <a:pt x="105473" y="15239"/>
                      </a:lnTo>
                      <a:lnTo>
                        <a:pt x="105181" y="15239"/>
                      </a:lnTo>
                      <a:lnTo>
                        <a:pt x="99618" y="12699"/>
                      </a:lnTo>
                      <a:lnTo>
                        <a:pt x="94322" y="10159"/>
                      </a:lnTo>
                      <a:lnTo>
                        <a:pt x="89217" y="6349"/>
                      </a:lnTo>
                      <a:lnTo>
                        <a:pt x="87884" y="5079"/>
                      </a:lnTo>
                      <a:lnTo>
                        <a:pt x="85864" y="3809"/>
                      </a:lnTo>
                      <a:lnTo>
                        <a:pt x="66725" y="0"/>
                      </a:lnTo>
                      <a:close/>
                    </a:path>
                    <a:path w="301625" h="240030">
                      <a:moveTo>
                        <a:pt x="6050" y="45573"/>
                      </a:moveTo>
                      <a:lnTo>
                        <a:pt x="6019" y="45719"/>
                      </a:lnTo>
                      <a:lnTo>
                        <a:pt x="6050" y="45573"/>
                      </a:lnTo>
                      <a:close/>
                    </a:path>
                    <a:path w="301625" h="240030">
                      <a:moveTo>
                        <a:pt x="6248" y="44449"/>
                      </a:moveTo>
                      <a:lnTo>
                        <a:pt x="5994" y="44449"/>
                      </a:lnTo>
                      <a:lnTo>
                        <a:pt x="6050" y="45573"/>
                      </a:lnTo>
                      <a:lnTo>
                        <a:pt x="6153" y="45084"/>
                      </a:lnTo>
                      <a:lnTo>
                        <a:pt x="6248" y="44449"/>
                      </a:lnTo>
                      <a:close/>
                    </a:path>
                    <a:path w="301625" h="240030">
                      <a:moveTo>
                        <a:pt x="38950" y="34289"/>
                      </a:moveTo>
                      <a:lnTo>
                        <a:pt x="36385" y="35559"/>
                      </a:lnTo>
                      <a:lnTo>
                        <a:pt x="41452" y="35559"/>
                      </a:lnTo>
                      <a:lnTo>
                        <a:pt x="38950" y="34289"/>
                      </a:lnTo>
                      <a:close/>
                    </a:path>
                  </a:pathLst>
                </a:custGeom>
                <a:solidFill>
                  <a:srgbClr val="EB6E62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621" name="object 161">
                  <a:extLst>
                    <a:ext uri="{FF2B5EF4-FFF2-40B4-BE49-F238E27FC236}">
                      <a16:creationId xmlns:a16="http://schemas.microsoft.com/office/drawing/2014/main" id="{BC2143ED-AAF4-166C-8688-AFAD76CED833}"/>
                    </a:ext>
                  </a:extLst>
                </p:cNvPr>
                <p:cNvSpPr/>
                <p:nvPr/>
              </p:nvSpPr>
              <p:spPr>
                <a:xfrm>
                  <a:off x="3408380" y="2434679"/>
                  <a:ext cx="27940" cy="2603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939" h="26035">
                      <a:moveTo>
                        <a:pt x="14046" y="0"/>
                      </a:moveTo>
                      <a:lnTo>
                        <a:pt x="12141" y="419"/>
                      </a:lnTo>
                      <a:lnTo>
                        <a:pt x="11087" y="558"/>
                      </a:lnTo>
                      <a:lnTo>
                        <a:pt x="10083" y="876"/>
                      </a:lnTo>
                      <a:lnTo>
                        <a:pt x="7289" y="2908"/>
                      </a:lnTo>
                      <a:lnTo>
                        <a:pt x="6121" y="5956"/>
                      </a:lnTo>
                      <a:lnTo>
                        <a:pt x="0" y="15887"/>
                      </a:lnTo>
                      <a:lnTo>
                        <a:pt x="13830" y="19557"/>
                      </a:lnTo>
                      <a:lnTo>
                        <a:pt x="14084" y="20218"/>
                      </a:lnTo>
                      <a:lnTo>
                        <a:pt x="14452" y="22161"/>
                      </a:lnTo>
                      <a:lnTo>
                        <a:pt x="14528" y="22301"/>
                      </a:lnTo>
                      <a:lnTo>
                        <a:pt x="16446" y="24485"/>
                      </a:lnTo>
                      <a:lnTo>
                        <a:pt x="19049" y="25755"/>
                      </a:lnTo>
                      <a:lnTo>
                        <a:pt x="23367" y="24866"/>
                      </a:lnTo>
                      <a:lnTo>
                        <a:pt x="26098" y="24777"/>
                      </a:lnTo>
                      <a:lnTo>
                        <a:pt x="27406" y="24777"/>
                      </a:lnTo>
                      <a:lnTo>
                        <a:pt x="27787" y="24396"/>
                      </a:lnTo>
                      <a:lnTo>
                        <a:pt x="27241" y="23850"/>
                      </a:lnTo>
                      <a:lnTo>
                        <a:pt x="26479" y="23672"/>
                      </a:lnTo>
                      <a:lnTo>
                        <a:pt x="25978" y="23621"/>
                      </a:lnTo>
                      <a:lnTo>
                        <a:pt x="23660" y="18338"/>
                      </a:lnTo>
                      <a:lnTo>
                        <a:pt x="22047" y="14744"/>
                      </a:lnTo>
                      <a:lnTo>
                        <a:pt x="21742" y="13741"/>
                      </a:lnTo>
                      <a:lnTo>
                        <a:pt x="20613" y="11899"/>
                      </a:lnTo>
                      <a:lnTo>
                        <a:pt x="18630" y="11899"/>
                      </a:lnTo>
                      <a:lnTo>
                        <a:pt x="17233" y="11734"/>
                      </a:lnTo>
                      <a:lnTo>
                        <a:pt x="17970" y="10756"/>
                      </a:lnTo>
                      <a:lnTo>
                        <a:pt x="19202" y="8026"/>
                      </a:lnTo>
                      <a:lnTo>
                        <a:pt x="20777" y="7797"/>
                      </a:lnTo>
                      <a:lnTo>
                        <a:pt x="22573" y="7797"/>
                      </a:lnTo>
                      <a:lnTo>
                        <a:pt x="22212" y="6934"/>
                      </a:lnTo>
                      <a:lnTo>
                        <a:pt x="21988" y="6616"/>
                      </a:lnTo>
                      <a:lnTo>
                        <a:pt x="21475" y="6108"/>
                      </a:lnTo>
                      <a:lnTo>
                        <a:pt x="21475" y="5856"/>
                      </a:lnTo>
                      <a:lnTo>
                        <a:pt x="20675" y="4470"/>
                      </a:lnTo>
                      <a:lnTo>
                        <a:pt x="20053" y="3251"/>
                      </a:lnTo>
                      <a:lnTo>
                        <a:pt x="20891" y="3251"/>
                      </a:lnTo>
                      <a:lnTo>
                        <a:pt x="20891" y="2374"/>
                      </a:lnTo>
                      <a:lnTo>
                        <a:pt x="22088" y="2374"/>
                      </a:lnTo>
                      <a:lnTo>
                        <a:pt x="21348" y="2044"/>
                      </a:lnTo>
                      <a:lnTo>
                        <a:pt x="21097" y="1866"/>
                      </a:lnTo>
                      <a:lnTo>
                        <a:pt x="19735" y="1866"/>
                      </a:lnTo>
                      <a:lnTo>
                        <a:pt x="18668" y="1422"/>
                      </a:lnTo>
                      <a:lnTo>
                        <a:pt x="16319" y="558"/>
                      </a:lnTo>
                      <a:lnTo>
                        <a:pt x="14046" y="0"/>
                      </a:lnTo>
                      <a:close/>
                    </a:path>
                    <a:path w="27939" h="26035">
                      <a:moveTo>
                        <a:pt x="27406" y="24777"/>
                      </a:moveTo>
                      <a:lnTo>
                        <a:pt x="26098" y="24777"/>
                      </a:lnTo>
                      <a:lnTo>
                        <a:pt x="26669" y="24879"/>
                      </a:lnTo>
                      <a:lnTo>
                        <a:pt x="27101" y="25082"/>
                      </a:lnTo>
                      <a:lnTo>
                        <a:pt x="27406" y="24777"/>
                      </a:lnTo>
                      <a:close/>
                    </a:path>
                    <a:path w="27939" h="26035">
                      <a:moveTo>
                        <a:pt x="26060" y="23621"/>
                      </a:moveTo>
                      <a:close/>
                    </a:path>
                    <a:path w="27939" h="26035">
                      <a:moveTo>
                        <a:pt x="20434" y="11607"/>
                      </a:moveTo>
                      <a:lnTo>
                        <a:pt x="18630" y="11899"/>
                      </a:lnTo>
                      <a:lnTo>
                        <a:pt x="20613" y="11899"/>
                      </a:lnTo>
                      <a:lnTo>
                        <a:pt x="20434" y="11607"/>
                      </a:lnTo>
                      <a:close/>
                    </a:path>
                    <a:path w="27939" h="26035">
                      <a:moveTo>
                        <a:pt x="22573" y="7797"/>
                      </a:moveTo>
                      <a:lnTo>
                        <a:pt x="20777" y="7797"/>
                      </a:lnTo>
                      <a:lnTo>
                        <a:pt x="22123" y="8826"/>
                      </a:lnTo>
                      <a:lnTo>
                        <a:pt x="22936" y="8864"/>
                      </a:lnTo>
                      <a:lnTo>
                        <a:pt x="22669" y="8026"/>
                      </a:lnTo>
                      <a:lnTo>
                        <a:pt x="22573" y="7797"/>
                      </a:lnTo>
                      <a:close/>
                    </a:path>
                    <a:path w="27939" h="26035">
                      <a:moveTo>
                        <a:pt x="22088" y="2374"/>
                      </a:moveTo>
                      <a:lnTo>
                        <a:pt x="20891" y="2374"/>
                      </a:lnTo>
                      <a:lnTo>
                        <a:pt x="22504" y="2793"/>
                      </a:lnTo>
                      <a:lnTo>
                        <a:pt x="21983" y="3441"/>
                      </a:lnTo>
                      <a:lnTo>
                        <a:pt x="21554" y="4470"/>
                      </a:lnTo>
                      <a:lnTo>
                        <a:pt x="21533" y="5956"/>
                      </a:lnTo>
                      <a:lnTo>
                        <a:pt x="21988" y="6616"/>
                      </a:lnTo>
                      <a:lnTo>
                        <a:pt x="22783" y="7404"/>
                      </a:lnTo>
                      <a:lnTo>
                        <a:pt x="23558" y="8420"/>
                      </a:lnTo>
                      <a:lnTo>
                        <a:pt x="25984" y="7124"/>
                      </a:lnTo>
                      <a:lnTo>
                        <a:pt x="25898" y="6032"/>
                      </a:lnTo>
                      <a:lnTo>
                        <a:pt x="24383" y="3949"/>
                      </a:lnTo>
                      <a:lnTo>
                        <a:pt x="23939" y="3200"/>
                      </a:lnTo>
                      <a:lnTo>
                        <a:pt x="22088" y="2374"/>
                      </a:lnTo>
                      <a:close/>
                    </a:path>
                    <a:path w="27939" h="26035">
                      <a:moveTo>
                        <a:pt x="21475" y="5856"/>
                      </a:moveTo>
                      <a:lnTo>
                        <a:pt x="21475" y="6108"/>
                      </a:lnTo>
                      <a:lnTo>
                        <a:pt x="21988" y="6616"/>
                      </a:lnTo>
                      <a:lnTo>
                        <a:pt x="21475" y="5856"/>
                      </a:lnTo>
                      <a:close/>
                    </a:path>
                    <a:path w="27939" h="26035">
                      <a:moveTo>
                        <a:pt x="20891" y="3251"/>
                      </a:moveTo>
                      <a:lnTo>
                        <a:pt x="20053" y="3251"/>
                      </a:lnTo>
                      <a:lnTo>
                        <a:pt x="20891" y="3594"/>
                      </a:lnTo>
                      <a:lnTo>
                        <a:pt x="20891" y="3251"/>
                      </a:lnTo>
                      <a:close/>
                    </a:path>
                    <a:path w="27939" h="26035">
                      <a:moveTo>
                        <a:pt x="19735" y="901"/>
                      </a:moveTo>
                      <a:lnTo>
                        <a:pt x="19735" y="1866"/>
                      </a:lnTo>
                      <a:lnTo>
                        <a:pt x="21097" y="1866"/>
                      </a:lnTo>
                      <a:lnTo>
                        <a:pt x="19735" y="901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622" name="object 162">
                  <a:extLst>
                    <a:ext uri="{FF2B5EF4-FFF2-40B4-BE49-F238E27FC236}">
                      <a16:creationId xmlns:a16="http://schemas.microsoft.com/office/drawing/2014/main" id="{18AFC959-BBC3-6838-A9F8-797F8471AFBD}"/>
                    </a:ext>
                  </a:extLst>
                </p:cNvPr>
                <p:cNvPicPr/>
                <p:nvPr/>
              </p:nvPicPr>
              <p:blipFill>
                <a:blip r:embed="rId25" cstate="print"/>
                <a:stretch>
                  <a:fillRect/>
                </a:stretch>
              </p:blipFill>
              <p:spPr>
                <a:xfrm>
                  <a:off x="3468302" y="2496319"/>
                  <a:ext cx="130009" cy="143010"/>
                </a:xfrm>
                <a:prstGeom prst="rect">
                  <a:avLst/>
                </a:prstGeom>
              </p:spPr>
            </p:pic>
            <p:sp>
              <p:nvSpPr>
                <p:cNvPr id="623" name="object 163">
                  <a:extLst>
                    <a:ext uri="{FF2B5EF4-FFF2-40B4-BE49-F238E27FC236}">
                      <a16:creationId xmlns:a16="http://schemas.microsoft.com/office/drawing/2014/main" id="{D08FBE56-9C68-837E-3953-6934E9633B6C}"/>
                    </a:ext>
                  </a:extLst>
                </p:cNvPr>
                <p:cNvSpPr/>
                <p:nvPr/>
              </p:nvSpPr>
              <p:spPr>
                <a:xfrm>
                  <a:off x="3696475" y="1566138"/>
                  <a:ext cx="762000" cy="8108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62000" h="810894">
                      <a:moveTo>
                        <a:pt x="787" y="439966"/>
                      </a:moveTo>
                      <a:lnTo>
                        <a:pt x="0" y="440131"/>
                      </a:lnTo>
                      <a:lnTo>
                        <a:pt x="317" y="440093"/>
                      </a:lnTo>
                      <a:lnTo>
                        <a:pt x="546" y="440105"/>
                      </a:lnTo>
                      <a:lnTo>
                        <a:pt x="787" y="439966"/>
                      </a:lnTo>
                      <a:close/>
                    </a:path>
                    <a:path w="762000" h="810894">
                      <a:moveTo>
                        <a:pt x="195884" y="783932"/>
                      </a:moveTo>
                      <a:lnTo>
                        <a:pt x="195821" y="783132"/>
                      </a:lnTo>
                      <a:lnTo>
                        <a:pt x="194983" y="782675"/>
                      </a:lnTo>
                      <a:lnTo>
                        <a:pt x="194259" y="782815"/>
                      </a:lnTo>
                      <a:lnTo>
                        <a:pt x="193598" y="783082"/>
                      </a:lnTo>
                      <a:lnTo>
                        <a:pt x="192874" y="783602"/>
                      </a:lnTo>
                      <a:lnTo>
                        <a:pt x="192176" y="784263"/>
                      </a:lnTo>
                      <a:lnTo>
                        <a:pt x="191668" y="784161"/>
                      </a:lnTo>
                      <a:lnTo>
                        <a:pt x="191325" y="783932"/>
                      </a:lnTo>
                      <a:lnTo>
                        <a:pt x="191071" y="783691"/>
                      </a:lnTo>
                      <a:lnTo>
                        <a:pt x="190957" y="783043"/>
                      </a:lnTo>
                      <a:lnTo>
                        <a:pt x="190487" y="782662"/>
                      </a:lnTo>
                      <a:lnTo>
                        <a:pt x="190220" y="782447"/>
                      </a:lnTo>
                      <a:lnTo>
                        <a:pt x="183261" y="776871"/>
                      </a:lnTo>
                      <a:lnTo>
                        <a:pt x="180530" y="775322"/>
                      </a:lnTo>
                      <a:lnTo>
                        <a:pt x="180327" y="775246"/>
                      </a:lnTo>
                      <a:lnTo>
                        <a:pt x="180136" y="775233"/>
                      </a:lnTo>
                      <a:lnTo>
                        <a:pt x="179997" y="775246"/>
                      </a:lnTo>
                      <a:lnTo>
                        <a:pt x="179501" y="775550"/>
                      </a:lnTo>
                      <a:lnTo>
                        <a:pt x="178269" y="775639"/>
                      </a:lnTo>
                      <a:lnTo>
                        <a:pt x="176898" y="775550"/>
                      </a:lnTo>
                      <a:lnTo>
                        <a:pt x="175615" y="775576"/>
                      </a:lnTo>
                      <a:lnTo>
                        <a:pt x="173672" y="775970"/>
                      </a:lnTo>
                      <a:lnTo>
                        <a:pt x="172491" y="776338"/>
                      </a:lnTo>
                      <a:lnTo>
                        <a:pt x="169621" y="778243"/>
                      </a:lnTo>
                      <a:lnTo>
                        <a:pt x="167246" y="779475"/>
                      </a:lnTo>
                      <a:lnTo>
                        <a:pt x="164655" y="780656"/>
                      </a:lnTo>
                      <a:lnTo>
                        <a:pt x="164299" y="780872"/>
                      </a:lnTo>
                      <a:lnTo>
                        <a:pt x="163982" y="781024"/>
                      </a:lnTo>
                      <a:lnTo>
                        <a:pt x="162826" y="781659"/>
                      </a:lnTo>
                      <a:lnTo>
                        <a:pt x="161645" y="782129"/>
                      </a:lnTo>
                      <a:lnTo>
                        <a:pt x="160299" y="782447"/>
                      </a:lnTo>
                      <a:lnTo>
                        <a:pt x="159664" y="782688"/>
                      </a:lnTo>
                      <a:lnTo>
                        <a:pt x="159321" y="782815"/>
                      </a:lnTo>
                      <a:lnTo>
                        <a:pt x="161277" y="782662"/>
                      </a:lnTo>
                      <a:lnTo>
                        <a:pt x="162572" y="782739"/>
                      </a:lnTo>
                      <a:lnTo>
                        <a:pt x="162801" y="782777"/>
                      </a:lnTo>
                      <a:lnTo>
                        <a:pt x="162915" y="783602"/>
                      </a:lnTo>
                      <a:lnTo>
                        <a:pt x="162750" y="784440"/>
                      </a:lnTo>
                      <a:lnTo>
                        <a:pt x="162166" y="785456"/>
                      </a:lnTo>
                      <a:lnTo>
                        <a:pt x="162229" y="786726"/>
                      </a:lnTo>
                      <a:lnTo>
                        <a:pt x="162483" y="787311"/>
                      </a:lnTo>
                      <a:lnTo>
                        <a:pt x="163258" y="788822"/>
                      </a:lnTo>
                      <a:lnTo>
                        <a:pt x="163906" y="789749"/>
                      </a:lnTo>
                      <a:lnTo>
                        <a:pt x="164363" y="791133"/>
                      </a:lnTo>
                      <a:lnTo>
                        <a:pt x="165862" y="795401"/>
                      </a:lnTo>
                      <a:lnTo>
                        <a:pt x="166052" y="795705"/>
                      </a:lnTo>
                      <a:lnTo>
                        <a:pt x="166611" y="796861"/>
                      </a:lnTo>
                      <a:lnTo>
                        <a:pt x="174967" y="801027"/>
                      </a:lnTo>
                      <a:lnTo>
                        <a:pt x="175933" y="801471"/>
                      </a:lnTo>
                      <a:lnTo>
                        <a:pt x="175704" y="801954"/>
                      </a:lnTo>
                      <a:lnTo>
                        <a:pt x="175260" y="803059"/>
                      </a:lnTo>
                      <a:lnTo>
                        <a:pt x="172847" y="805472"/>
                      </a:lnTo>
                      <a:lnTo>
                        <a:pt x="172516" y="805967"/>
                      </a:lnTo>
                      <a:lnTo>
                        <a:pt x="172529" y="807300"/>
                      </a:lnTo>
                      <a:lnTo>
                        <a:pt x="172694" y="807859"/>
                      </a:lnTo>
                      <a:lnTo>
                        <a:pt x="172885" y="808316"/>
                      </a:lnTo>
                      <a:lnTo>
                        <a:pt x="173494" y="810475"/>
                      </a:lnTo>
                      <a:lnTo>
                        <a:pt x="175171" y="808799"/>
                      </a:lnTo>
                      <a:lnTo>
                        <a:pt x="175031" y="808316"/>
                      </a:lnTo>
                      <a:lnTo>
                        <a:pt x="175018" y="807808"/>
                      </a:lnTo>
                      <a:lnTo>
                        <a:pt x="175234" y="807300"/>
                      </a:lnTo>
                      <a:lnTo>
                        <a:pt x="175463" y="806970"/>
                      </a:lnTo>
                      <a:lnTo>
                        <a:pt x="175983" y="806665"/>
                      </a:lnTo>
                      <a:lnTo>
                        <a:pt x="176618" y="806665"/>
                      </a:lnTo>
                      <a:lnTo>
                        <a:pt x="178460" y="806767"/>
                      </a:lnTo>
                      <a:lnTo>
                        <a:pt x="179133" y="806754"/>
                      </a:lnTo>
                      <a:lnTo>
                        <a:pt x="179501" y="806665"/>
                      </a:lnTo>
                      <a:lnTo>
                        <a:pt x="181063" y="806284"/>
                      </a:lnTo>
                      <a:lnTo>
                        <a:pt x="183845" y="805091"/>
                      </a:lnTo>
                      <a:lnTo>
                        <a:pt x="184569" y="802703"/>
                      </a:lnTo>
                      <a:lnTo>
                        <a:pt x="184061" y="801471"/>
                      </a:lnTo>
                      <a:lnTo>
                        <a:pt x="184035" y="800074"/>
                      </a:lnTo>
                      <a:lnTo>
                        <a:pt x="184429" y="800074"/>
                      </a:lnTo>
                      <a:lnTo>
                        <a:pt x="184924" y="800163"/>
                      </a:lnTo>
                      <a:lnTo>
                        <a:pt x="185153" y="800074"/>
                      </a:lnTo>
                      <a:lnTo>
                        <a:pt x="185839" y="799795"/>
                      </a:lnTo>
                      <a:lnTo>
                        <a:pt x="185978" y="800569"/>
                      </a:lnTo>
                      <a:lnTo>
                        <a:pt x="186740" y="799795"/>
                      </a:lnTo>
                      <a:lnTo>
                        <a:pt x="194170" y="788606"/>
                      </a:lnTo>
                      <a:lnTo>
                        <a:pt x="195148" y="785990"/>
                      </a:lnTo>
                      <a:lnTo>
                        <a:pt x="195770" y="784263"/>
                      </a:lnTo>
                      <a:lnTo>
                        <a:pt x="195884" y="783932"/>
                      </a:lnTo>
                      <a:close/>
                    </a:path>
                    <a:path w="762000" h="810894">
                      <a:moveTo>
                        <a:pt x="588162" y="531139"/>
                      </a:moveTo>
                      <a:lnTo>
                        <a:pt x="587971" y="531139"/>
                      </a:lnTo>
                      <a:lnTo>
                        <a:pt x="587908" y="532409"/>
                      </a:lnTo>
                      <a:lnTo>
                        <a:pt x="588162" y="531139"/>
                      </a:lnTo>
                      <a:close/>
                    </a:path>
                    <a:path w="762000" h="810894">
                      <a:moveTo>
                        <a:pt x="633514" y="114"/>
                      </a:moveTo>
                      <a:lnTo>
                        <a:pt x="633361" y="50"/>
                      </a:lnTo>
                      <a:lnTo>
                        <a:pt x="633006" y="0"/>
                      </a:lnTo>
                      <a:lnTo>
                        <a:pt x="633514" y="114"/>
                      </a:lnTo>
                      <a:close/>
                    </a:path>
                    <a:path w="762000" h="810894">
                      <a:moveTo>
                        <a:pt x="633857" y="254"/>
                      </a:moveTo>
                      <a:lnTo>
                        <a:pt x="633704" y="165"/>
                      </a:lnTo>
                      <a:lnTo>
                        <a:pt x="633514" y="114"/>
                      </a:lnTo>
                      <a:lnTo>
                        <a:pt x="633857" y="254"/>
                      </a:lnTo>
                      <a:close/>
                    </a:path>
                    <a:path w="762000" h="810894">
                      <a:moveTo>
                        <a:pt x="761822" y="589559"/>
                      </a:moveTo>
                      <a:lnTo>
                        <a:pt x="761542" y="587019"/>
                      </a:lnTo>
                      <a:lnTo>
                        <a:pt x="759599" y="584479"/>
                      </a:lnTo>
                      <a:lnTo>
                        <a:pt x="758405" y="583209"/>
                      </a:lnTo>
                      <a:lnTo>
                        <a:pt x="756399" y="581939"/>
                      </a:lnTo>
                      <a:lnTo>
                        <a:pt x="753960" y="578129"/>
                      </a:lnTo>
                      <a:lnTo>
                        <a:pt x="752309" y="578129"/>
                      </a:lnTo>
                      <a:lnTo>
                        <a:pt x="750646" y="575589"/>
                      </a:lnTo>
                      <a:lnTo>
                        <a:pt x="750404" y="575589"/>
                      </a:lnTo>
                      <a:lnTo>
                        <a:pt x="749541" y="574319"/>
                      </a:lnTo>
                      <a:lnTo>
                        <a:pt x="748614" y="574319"/>
                      </a:lnTo>
                      <a:lnTo>
                        <a:pt x="747356" y="573049"/>
                      </a:lnTo>
                      <a:lnTo>
                        <a:pt x="745413" y="573049"/>
                      </a:lnTo>
                      <a:lnTo>
                        <a:pt x="744118" y="571779"/>
                      </a:lnTo>
                      <a:lnTo>
                        <a:pt x="743813" y="570509"/>
                      </a:lnTo>
                      <a:lnTo>
                        <a:pt x="743000" y="569239"/>
                      </a:lnTo>
                      <a:lnTo>
                        <a:pt x="734618" y="569239"/>
                      </a:lnTo>
                      <a:lnTo>
                        <a:pt x="732688" y="570509"/>
                      </a:lnTo>
                      <a:lnTo>
                        <a:pt x="729792" y="570509"/>
                      </a:lnTo>
                      <a:lnTo>
                        <a:pt x="728675" y="571779"/>
                      </a:lnTo>
                      <a:lnTo>
                        <a:pt x="726935" y="573049"/>
                      </a:lnTo>
                      <a:lnTo>
                        <a:pt x="726160" y="574319"/>
                      </a:lnTo>
                      <a:lnTo>
                        <a:pt x="724547" y="575589"/>
                      </a:lnTo>
                      <a:lnTo>
                        <a:pt x="723011" y="574319"/>
                      </a:lnTo>
                      <a:lnTo>
                        <a:pt x="721461" y="573049"/>
                      </a:lnTo>
                      <a:lnTo>
                        <a:pt x="719594" y="571779"/>
                      </a:lnTo>
                      <a:lnTo>
                        <a:pt x="710044" y="571779"/>
                      </a:lnTo>
                      <a:lnTo>
                        <a:pt x="708545" y="573049"/>
                      </a:lnTo>
                      <a:lnTo>
                        <a:pt x="706196" y="573049"/>
                      </a:lnTo>
                      <a:lnTo>
                        <a:pt x="705967" y="574319"/>
                      </a:lnTo>
                      <a:lnTo>
                        <a:pt x="704507" y="574319"/>
                      </a:lnTo>
                      <a:lnTo>
                        <a:pt x="702945" y="573049"/>
                      </a:lnTo>
                      <a:lnTo>
                        <a:pt x="701979" y="571779"/>
                      </a:lnTo>
                      <a:lnTo>
                        <a:pt x="701217" y="571779"/>
                      </a:lnTo>
                      <a:lnTo>
                        <a:pt x="699884" y="569239"/>
                      </a:lnTo>
                      <a:lnTo>
                        <a:pt x="699757" y="569239"/>
                      </a:lnTo>
                      <a:lnTo>
                        <a:pt x="699363" y="566699"/>
                      </a:lnTo>
                      <a:lnTo>
                        <a:pt x="699084" y="565429"/>
                      </a:lnTo>
                      <a:lnTo>
                        <a:pt x="701332" y="565429"/>
                      </a:lnTo>
                      <a:lnTo>
                        <a:pt x="702564" y="564159"/>
                      </a:lnTo>
                      <a:lnTo>
                        <a:pt x="703313" y="564159"/>
                      </a:lnTo>
                      <a:lnTo>
                        <a:pt x="703249" y="561619"/>
                      </a:lnTo>
                      <a:lnTo>
                        <a:pt x="703084" y="560349"/>
                      </a:lnTo>
                      <a:lnTo>
                        <a:pt x="702868" y="560349"/>
                      </a:lnTo>
                      <a:lnTo>
                        <a:pt x="712012" y="542569"/>
                      </a:lnTo>
                      <a:lnTo>
                        <a:pt x="715518" y="536219"/>
                      </a:lnTo>
                      <a:lnTo>
                        <a:pt x="715683" y="534949"/>
                      </a:lnTo>
                      <a:lnTo>
                        <a:pt x="715340" y="534949"/>
                      </a:lnTo>
                      <a:lnTo>
                        <a:pt x="713854" y="533679"/>
                      </a:lnTo>
                      <a:lnTo>
                        <a:pt x="710323" y="531139"/>
                      </a:lnTo>
                      <a:lnTo>
                        <a:pt x="709079" y="531139"/>
                      </a:lnTo>
                      <a:lnTo>
                        <a:pt x="699884" y="533679"/>
                      </a:lnTo>
                      <a:lnTo>
                        <a:pt x="698665" y="533679"/>
                      </a:lnTo>
                      <a:lnTo>
                        <a:pt x="688797" y="527329"/>
                      </a:lnTo>
                      <a:lnTo>
                        <a:pt x="677557" y="527329"/>
                      </a:lnTo>
                      <a:lnTo>
                        <a:pt x="674801" y="529869"/>
                      </a:lnTo>
                      <a:lnTo>
                        <a:pt x="671258" y="531139"/>
                      </a:lnTo>
                      <a:lnTo>
                        <a:pt x="668286" y="533679"/>
                      </a:lnTo>
                      <a:lnTo>
                        <a:pt x="661568" y="540029"/>
                      </a:lnTo>
                      <a:lnTo>
                        <a:pt x="660844" y="540029"/>
                      </a:lnTo>
                      <a:lnTo>
                        <a:pt x="650392" y="542569"/>
                      </a:lnTo>
                      <a:lnTo>
                        <a:pt x="632409" y="547649"/>
                      </a:lnTo>
                      <a:lnTo>
                        <a:pt x="631075" y="547649"/>
                      </a:lnTo>
                      <a:lnTo>
                        <a:pt x="625030" y="546379"/>
                      </a:lnTo>
                      <a:lnTo>
                        <a:pt x="611581" y="545109"/>
                      </a:lnTo>
                      <a:lnTo>
                        <a:pt x="611238" y="543839"/>
                      </a:lnTo>
                      <a:lnTo>
                        <a:pt x="598881" y="543839"/>
                      </a:lnTo>
                      <a:lnTo>
                        <a:pt x="592023" y="538759"/>
                      </a:lnTo>
                      <a:lnTo>
                        <a:pt x="591845" y="538759"/>
                      </a:lnTo>
                      <a:lnTo>
                        <a:pt x="591680" y="537489"/>
                      </a:lnTo>
                      <a:lnTo>
                        <a:pt x="591172" y="533679"/>
                      </a:lnTo>
                      <a:lnTo>
                        <a:pt x="590943" y="532409"/>
                      </a:lnTo>
                      <a:lnTo>
                        <a:pt x="587908" y="532409"/>
                      </a:lnTo>
                      <a:lnTo>
                        <a:pt x="584123" y="532409"/>
                      </a:lnTo>
                      <a:lnTo>
                        <a:pt x="579920" y="531139"/>
                      </a:lnTo>
                      <a:lnTo>
                        <a:pt x="578434" y="528599"/>
                      </a:lnTo>
                      <a:lnTo>
                        <a:pt x="577684" y="527329"/>
                      </a:lnTo>
                      <a:lnTo>
                        <a:pt x="572630" y="524789"/>
                      </a:lnTo>
                      <a:lnTo>
                        <a:pt x="570661" y="526059"/>
                      </a:lnTo>
                      <a:lnTo>
                        <a:pt x="564222" y="524789"/>
                      </a:lnTo>
                      <a:lnTo>
                        <a:pt x="563359" y="524789"/>
                      </a:lnTo>
                      <a:lnTo>
                        <a:pt x="562127" y="523519"/>
                      </a:lnTo>
                      <a:lnTo>
                        <a:pt x="556666" y="523519"/>
                      </a:lnTo>
                      <a:lnTo>
                        <a:pt x="554113" y="522249"/>
                      </a:lnTo>
                      <a:lnTo>
                        <a:pt x="552069" y="522249"/>
                      </a:lnTo>
                      <a:lnTo>
                        <a:pt x="549757" y="523519"/>
                      </a:lnTo>
                      <a:lnTo>
                        <a:pt x="547560" y="523519"/>
                      </a:lnTo>
                      <a:lnTo>
                        <a:pt x="542556" y="524789"/>
                      </a:lnTo>
                      <a:lnTo>
                        <a:pt x="539356" y="526059"/>
                      </a:lnTo>
                      <a:lnTo>
                        <a:pt x="539216" y="526059"/>
                      </a:lnTo>
                      <a:lnTo>
                        <a:pt x="538721" y="527329"/>
                      </a:lnTo>
                      <a:lnTo>
                        <a:pt x="537603" y="527329"/>
                      </a:lnTo>
                      <a:lnTo>
                        <a:pt x="536105" y="528599"/>
                      </a:lnTo>
                      <a:lnTo>
                        <a:pt x="534631" y="528599"/>
                      </a:lnTo>
                      <a:lnTo>
                        <a:pt x="515188" y="523519"/>
                      </a:lnTo>
                      <a:lnTo>
                        <a:pt x="513613" y="523519"/>
                      </a:lnTo>
                      <a:lnTo>
                        <a:pt x="512279" y="522249"/>
                      </a:lnTo>
                      <a:lnTo>
                        <a:pt x="511467" y="522249"/>
                      </a:lnTo>
                      <a:lnTo>
                        <a:pt x="510692" y="520979"/>
                      </a:lnTo>
                      <a:lnTo>
                        <a:pt x="510082" y="520979"/>
                      </a:lnTo>
                      <a:lnTo>
                        <a:pt x="509790" y="519709"/>
                      </a:lnTo>
                      <a:lnTo>
                        <a:pt x="509536" y="519709"/>
                      </a:lnTo>
                      <a:lnTo>
                        <a:pt x="509282" y="518439"/>
                      </a:lnTo>
                      <a:lnTo>
                        <a:pt x="508660" y="515899"/>
                      </a:lnTo>
                      <a:lnTo>
                        <a:pt x="508558" y="514629"/>
                      </a:lnTo>
                      <a:lnTo>
                        <a:pt x="508495" y="513359"/>
                      </a:lnTo>
                      <a:lnTo>
                        <a:pt x="508114" y="512089"/>
                      </a:lnTo>
                      <a:lnTo>
                        <a:pt x="508076" y="510819"/>
                      </a:lnTo>
                      <a:lnTo>
                        <a:pt x="507619" y="508279"/>
                      </a:lnTo>
                      <a:lnTo>
                        <a:pt x="508812" y="507009"/>
                      </a:lnTo>
                      <a:lnTo>
                        <a:pt x="508622" y="507009"/>
                      </a:lnTo>
                      <a:lnTo>
                        <a:pt x="508469" y="505739"/>
                      </a:lnTo>
                      <a:lnTo>
                        <a:pt x="504304" y="505739"/>
                      </a:lnTo>
                      <a:lnTo>
                        <a:pt x="492506" y="501929"/>
                      </a:lnTo>
                      <a:lnTo>
                        <a:pt x="489153" y="499389"/>
                      </a:lnTo>
                      <a:lnTo>
                        <a:pt x="483539" y="499389"/>
                      </a:lnTo>
                      <a:lnTo>
                        <a:pt x="478586" y="498119"/>
                      </a:lnTo>
                      <a:lnTo>
                        <a:pt x="475576" y="498119"/>
                      </a:lnTo>
                      <a:lnTo>
                        <a:pt x="471449" y="496849"/>
                      </a:lnTo>
                      <a:lnTo>
                        <a:pt x="468795" y="494309"/>
                      </a:lnTo>
                      <a:lnTo>
                        <a:pt x="461619" y="491769"/>
                      </a:lnTo>
                      <a:lnTo>
                        <a:pt x="457517" y="495579"/>
                      </a:lnTo>
                      <a:lnTo>
                        <a:pt x="456044" y="496849"/>
                      </a:lnTo>
                      <a:lnTo>
                        <a:pt x="453834" y="498119"/>
                      </a:lnTo>
                      <a:lnTo>
                        <a:pt x="453263" y="499389"/>
                      </a:lnTo>
                      <a:lnTo>
                        <a:pt x="452589" y="499389"/>
                      </a:lnTo>
                      <a:lnTo>
                        <a:pt x="452513" y="500659"/>
                      </a:lnTo>
                      <a:lnTo>
                        <a:pt x="451548" y="501929"/>
                      </a:lnTo>
                      <a:lnTo>
                        <a:pt x="452678" y="503199"/>
                      </a:lnTo>
                      <a:lnTo>
                        <a:pt x="449707" y="503199"/>
                      </a:lnTo>
                      <a:lnTo>
                        <a:pt x="449376" y="504469"/>
                      </a:lnTo>
                      <a:lnTo>
                        <a:pt x="448767" y="504469"/>
                      </a:lnTo>
                      <a:lnTo>
                        <a:pt x="448068" y="505739"/>
                      </a:lnTo>
                      <a:lnTo>
                        <a:pt x="447751" y="507009"/>
                      </a:lnTo>
                      <a:lnTo>
                        <a:pt x="447243" y="509549"/>
                      </a:lnTo>
                      <a:lnTo>
                        <a:pt x="447078" y="509549"/>
                      </a:lnTo>
                      <a:lnTo>
                        <a:pt x="446760" y="510819"/>
                      </a:lnTo>
                      <a:lnTo>
                        <a:pt x="446671" y="513359"/>
                      </a:lnTo>
                      <a:lnTo>
                        <a:pt x="446976" y="515899"/>
                      </a:lnTo>
                      <a:lnTo>
                        <a:pt x="448043" y="518439"/>
                      </a:lnTo>
                      <a:lnTo>
                        <a:pt x="448665" y="519709"/>
                      </a:lnTo>
                      <a:lnTo>
                        <a:pt x="451485" y="522249"/>
                      </a:lnTo>
                      <a:lnTo>
                        <a:pt x="453021" y="520979"/>
                      </a:lnTo>
                      <a:lnTo>
                        <a:pt x="451205" y="527329"/>
                      </a:lnTo>
                      <a:lnTo>
                        <a:pt x="450608" y="528599"/>
                      </a:lnTo>
                      <a:lnTo>
                        <a:pt x="450392" y="529869"/>
                      </a:lnTo>
                      <a:lnTo>
                        <a:pt x="449173" y="531139"/>
                      </a:lnTo>
                      <a:lnTo>
                        <a:pt x="446786" y="531139"/>
                      </a:lnTo>
                      <a:lnTo>
                        <a:pt x="443357" y="532409"/>
                      </a:lnTo>
                      <a:lnTo>
                        <a:pt x="442912" y="532409"/>
                      </a:lnTo>
                      <a:lnTo>
                        <a:pt x="442620" y="533679"/>
                      </a:lnTo>
                      <a:lnTo>
                        <a:pt x="442353" y="533679"/>
                      </a:lnTo>
                      <a:lnTo>
                        <a:pt x="441591" y="534949"/>
                      </a:lnTo>
                      <a:lnTo>
                        <a:pt x="441198" y="534949"/>
                      </a:lnTo>
                      <a:lnTo>
                        <a:pt x="437756" y="537489"/>
                      </a:lnTo>
                      <a:lnTo>
                        <a:pt x="435749" y="534949"/>
                      </a:lnTo>
                      <a:lnTo>
                        <a:pt x="431787" y="534949"/>
                      </a:lnTo>
                      <a:lnTo>
                        <a:pt x="428205" y="533679"/>
                      </a:lnTo>
                      <a:lnTo>
                        <a:pt x="427266" y="533679"/>
                      </a:lnTo>
                      <a:lnTo>
                        <a:pt x="424916" y="532409"/>
                      </a:lnTo>
                      <a:lnTo>
                        <a:pt x="422986" y="532409"/>
                      </a:lnTo>
                      <a:lnTo>
                        <a:pt x="420585" y="531139"/>
                      </a:lnTo>
                      <a:lnTo>
                        <a:pt x="416661" y="531139"/>
                      </a:lnTo>
                      <a:lnTo>
                        <a:pt x="415277" y="532409"/>
                      </a:lnTo>
                      <a:lnTo>
                        <a:pt x="412953" y="532409"/>
                      </a:lnTo>
                      <a:lnTo>
                        <a:pt x="412597" y="533679"/>
                      </a:lnTo>
                      <a:lnTo>
                        <a:pt x="410908" y="533679"/>
                      </a:lnTo>
                      <a:lnTo>
                        <a:pt x="399808" y="531139"/>
                      </a:lnTo>
                      <a:lnTo>
                        <a:pt x="399351" y="531139"/>
                      </a:lnTo>
                      <a:lnTo>
                        <a:pt x="398170" y="528599"/>
                      </a:lnTo>
                      <a:lnTo>
                        <a:pt x="397065" y="526059"/>
                      </a:lnTo>
                      <a:lnTo>
                        <a:pt x="396417" y="523519"/>
                      </a:lnTo>
                      <a:lnTo>
                        <a:pt x="395300" y="522249"/>
                      </a:lnTo>
                      <a:lnTo>
                        <a:pt x="395147" y="520979"/>
                      </a:lnTo>
                      <a:lnTo>
                        <a:pt x="391579" y="520979"/>
                      </a:lnTo>
                      <a:lnTo>
                        <a:pt x="385152" y="519709"/>
                      </a:lnTo>
                      <a:lnTo>
                        <a:pt x="381571" y="519709"/>
                      </a:lnTo>
                      <a:lnTo>
                        <a:pt x="379895" y="518439"/>
                      </a:lnTo>
                      <a:lnTo>
                        <a:pt x="378091" y="518439"/>
                      </a:lnTo>
                      <a:lnTo>
                        <a:pt x="377190" y="517169"/>
                      </a:lnTo>
                      <a:lnTo>
                        <a:pt x="372618" y="517169"/>
                      </a:lnTo>
                      <a:lnTo>
                        <a:pt x="370598" y="515899"/>
                      </a:lnTo>
                      <a:lnTo>
                        <a:pt x="367360" y="515899"/>
                      </a:lnTo>
                      <a:lnTo>
                        <a:pt x="366788" y="517169"/>
                      </a:lnTo>
                      <a:lnTo>
                        <a:pt x="366445" y="517169"/>
                      </a:lnTo>
                      <a:lnTo>
                        <a:pt x="365645" y="518439"/>
                      </a:lnTo>
                      <a:lnTo>
                        <a:pt x="358609" y="518439"/>
                      </a:lnTo>
                      <a:lnTo>
                        <a:pt x="355587" y="520979"/>
                      </a:lnTo>
                      <a:lnTo>
                        <a:pt x="353834" y="520979"/>
                      </a:lnTo>
                      <a:lnTo>
                        <a:pt x="352132" y="522249"/>
                      </a:lnTo>
                      <a:lnTo>
                        <a:pt x="349059" y="523519"/>
                      </a:lnTo>
                      <a:lnTo>
                        <a:pt x="345579" y="524789"/>
                      </a:lnTo>
                      <a:lnTo>
                        <a:pt x="342023" y="527329"/>
                      </a:lnTo>
                      <a:lnTo>
                        <a:pt x="338277" y="528599"/>
                      </a:lnTo>
                      <a:lnTo>
                        <a:pt x="337286" y="529869"/>
                      </a:lnTo>
                      <a:lnTo>
                        <a:pt x="335178" y="531139"/>
                      </a:lnTo>
                      <a:lnTo>
                        <a:pt x="334606" y="531139"/>
                      </a:lnTo>
                      <a:lnTo>
                        <a:pt x="335610" y="529869"/>
                      </a:lnTo>
                      <a:lnTo>
                        <a:pt x="334441" y="531139"/>
                      </a:lnTo>
                      <a:lnTo>
                        <a:pt x="333463" y="532409"/>
                      </a:lnTo>
                      <a:lnTo>
                        <a:pt x="330009" y="532409"/>
                      </a:lnTo>
                      <a:lnTo>
                        <a:pt x="329272" y="533679"/>
                      </a:lnTo>
                      <a:lnTo>
                        <a:pt x="328510" y="533679"/>
                      </a:lnTo>
                      <a:lnTo>
                        <a:pt x="328828" y="534949"/>
                      </a:lnTo>
                      <a:lnTo>
                        <a:pt x="329018" y="536219"/>
                      </a:lnTo>
                      <a:lnTo>
                        <a:pt x="329869" y="536219"/>
                      </a:lnTo>
                      <a:lnTo>
                        <a:pt x="324548" y="538759"/>
                      </a:lnTo>
                      <a:lnTo>
                        <a:pt x="321995" y="540029"/>
                      </a:lnTo>
                      <a:lnTo>
                        <a:pt x="318490" y="540029"/>
                      </a:lnTo>
                      <a:lnTo>
                        <a:pt x="315544" y="541299"/>
                      </a:lnTo>
                      <a:lnTo>
                        <a:pt x="308279" y="541299"/>
                      </a:lnTo>
                      <a:lnTo>
                        <a:pt x="308203" y="542569"/>
                      </a:lnTo>
                      <a:lnTo>
                        <a:pt x="307886" y="542569"/>
                      </a:lnTo>
                      <a:lnTo>
                        <a:pt x="307822" y="543839"/>
                      </a:lnTo>
                      <a:lnTo>
                        <a:pt x="307505" y="545109"/>
                      </a:lnTo>
                      <a:lnTo>
                        <a:pt x="306539" y="545109"/>
                      </a:lnTo>
                      <a:lnTo>
                        <a:pt x="302717" y="547649"/>
                      </a:lnTo>
                      <a:lnTo>
                        <a:pt x="303784" y="548919"/>
                      </a:lnTo>
                      <a:lnTo>
                        <a:pt x="301345" y="551459"/>
                      </a:lnTo>
                      <a:lnTo>
                        <a:pt x="302018" y="552729"/>
                      </a:lnTo>
                      <a:lnTo>
                        <a:pt x="302183" y="553999"/>
                      </a:lnTo>
                      <a:lnTo>
                        <a:pt x="302412" y="553999"/>
                      </a:lnTo>
                      <a:lnTo>
                        <a:pt x="303491" y="555269"/>
                      </a:lnTo>
                      <a:lnTo>
                        <a:pt x="306070" y="555269"/>
                      </a:lnTo>
                      <a:lnTo>
                        <a:pt x="306273" y="556539"/>
                      </a:lnTo>
                      <a:lnTo>
                        <a:pt x="304495" y="557809"/>
                      </a:lnTo>
                      <a:lnTo>
                        <a:pt x="304914" y="557809"/>
                      </a:lnTo>
                      <a:lnTo>
                        <a:pt x="305828" y="559079"/>
                      </a:lnTo>
                      <a:lnTo>
                        <a:pt x="308876" y="559079"/>
                      </a:lnTo>
                      <a:lnTo>
                        <a:pt x="309765" y="560349"/>
                      </a:lnTo>
                      <a:lnTo>
                        <a:pt x="311442" y="560349"/>
                      </a:lnTo>
                      <a:lnTo>
                        <a:pt x="312978" y="561619"/>
                      </a:lnTo>
                      <a:lnTo>
                        <a:pt x="315214" y="565429"/>
                      </a:lnTo>
                      <a:lnTo>
                        <a:pt x="316484" y="566699"/>
                      </a:lnTo>
                      <a:lnTo>
                        <a:pt x="319328" y="567969"/>
                      </a:lnTo>
                      <a:lnTo>
                        <a:pt x="320598" y="567969"/>
                      </a:lnTo>
                      <a:lnTo>
                        <a:pt x="320992" y="569239"/>
                      </a:lnTo>
                      <a:lnTo>
                        <a:pt x="324040" y="569239"/>
                      </a:lnTo>
                      <a:lnTo>
                        <a:pt x="325793" y="567969"/>
                      </a:lnTo>
                      <a:lnTo>
                        <a:pt x="327761" y="569239"/>
                      </a:lnTo>
                      <a:lnTo>
                        <a:pt x="327901" y="569239"/>
                      </a:lnTo>
                      <a:lnTo>
                        <a:pt x="329869" y="571779"/>
                      </a:lnTo>
                      <a:lnTo>
                        <a:pt x="335686" y="571779"/>
                      </a:lnTo>
                      <a:lnTo>
                        <a:pt x="336842" y="573049"/>
                      </a:lnTo>
                      <a:lnTo>
                        <a:pt x="339585" y="575589"/>
                      </a:lnTo>
                      <a:lnTo>
                        <a:pt x="340093" y="578129"/>
                      </a:lnTo>
                      <a:lnTo>
                        <a:pt x="340639" y="579399"/>
                      </a:lnTo>
                      <a:lnTo>
                        <a:pt x="341287" y="580669"/>
                      </a:lnTo>
                      <a:lnTo>
                        <a:pt x="342239" y="581939"/>
                      </a:lnTo>
                      <a:lnTo>
                        <a:pt x="343509" y="584479"/>
                      </a:lnTo>
                      <a:lnTo>
                        <a:pt x="347599" y="590829"/>
                      </a:lnTo>
                      <a:lnTo>
                        <a:pt x="348056" y="592099"/>
                      </a:lnTo>
                      <a:lnTo>
                        <a:pt x="348805" y="593369"/>
                      </a:lnTo>
                      <a:lnTo>
                        <a:pt x="348437" y="594639"/>
                      </a:lnTo>
                      <a:lnTo>
                        <a:pt x="348259" y="595909"/>
                      </a:lnTo>
                      <a:lnTo>
                        <a:pt x="348157" y="597179"/>
                      </a:lnTo>
                      <a:lnTo>
                        <a:pt x="348132" y="599719"/>
                      </a:lnTo>
                      <a:lnTo>
                        <a:pt x="348297" y="602259"/>
                      </a:lnTo>
                      <a:lnTo>
                        <a:pt x="348297" y="603529"/>
                      </a:lnTo>
                      <a:lnTo>
                        <a:pt x="348005" y="604799"/>
                      </a:lnTo>
                      <a:lnTo>
                        <a:pt x="347611" y="606069"/>
                      </a:lnTo>
                      <a:lnTo>
                        <a:pt x="347078" y="607339"/>
                      </a:lnTo>
                      <a:lnTo>
                        <a:pt x="346354" y="608609"/>
                      </a:lnTo>
                      <a:lnTo>
                        <a:pt x="344716" y="611149"/>
                      </a:lnTo>
                      <a:lnTo>
                        <a:pt x="342938" y="612419"/>
                      </a:lnTo>
                      <a:lnTo>
                        <a:pt x="343890" y="614959"/>
                      </a:lnTo>
                      <a:lnTo>
                        <a:pt x="345389" y="617499"/>
                      </a:lnTo>
                      <a:lnTo>
                        <a:pt x="346710" y="618769"/>
                      </a:lnTo>
                      <a:lnTo>
                        <a:pt x="347472" y="618769"/>
                      </a:lnTo>
                      <a:lnTo>
                        <a:pt x="349923" y="620039"/>
                      </a:lnTo>
                      <a:lnTo>
                        <a:pt x="353974" y="620039"/>
                      </a:lnTo>
                      <a:lnTo>
                        <a:pt x="362369" y="621309"/>
                      </a:lnTo>
                      <a:lnTo>
                        <a:pt x="370814" y="621309"/>
                      </a:lnTo>
                      <a:lnTo>
                        <a:pt x="379844" y="622579"/>
                      </a:lnTo>
                      <a:lnTo>
                        <a:pt x="383908" y="622579"/>
                      </a:lnTo>
                      <a:lnTo>
                        <a:pt x="398030" y="631469"/>
                      </a:lnTo>
                      <a:lnTo>
                        <a:pt x="401129" y="634009"/>
                      </a:lnTo>
                      <a:lnTo>
                        <a:pt x="406603" y="635279"/>
                      </a:lnTo>
                      <a:lnTo>
                        <a:pt x="411073" y="635279"/>
                      </a:lnTo>
                      <a:lnTo>
                        <a:pt x="410845" y="636549"/>
                      </a:lnTo>
                      <a:lnTo>
                        <a:pt x="410032" y="636549"/>
                      </a:lnTo>
                      <a:lnTo>
                        <a:pt x="410273" y="639089"/>
                      </a:lnTo>
                      <a:lnTo>
                        <a:pt x="410514" y="640359"/>
                      </a:lnTo>
                      <a:lnTo>
                        <a:pt x="410324" y="639089"/>
                      </a:lnTo>
                      <a:lnTo>
                        <a:pt x="411886" y="640359"/>
                      </a:lnTo>
                      <a:lnTo>
                        <a:pt x="412864" y="640359"/>
                      </a:lnTo>
                      <a:lnTo>
                        <a:pt x="414337" y="644169"/>
                      </a:lnTo>
                      <a:lnTo>
                        <a:pt x="414578" y="644169"/>
                      </a:lnTo>
                      <a:lnTo>
                        <a:pt x="415785" y="646709"/>
                      </a:lnTo>
                      <a:lnTo>
                        <a:pt x="416687" y="649249"/>
                      </a:lnTo>
                      <a:lnTo>
                        <a:pt x="418744" y="654329"/>
                      </a:lnTo>
                      <a:lnTo>
                        <a:pt x="421132" y="656869"/>
                      </a:lnTo>
                      <a:lnTo>
                        <a:pt x="423278" y="659409"/>
                      </a:lnTo>
                      <a:lnTo>
                        <a:pt x="424027" y="659409"/>
                      </a:lnTo>
                      <a:lnTo>
                        <a:pt x="424497" y="660679"/>
                      </a:lnTo>
                      <a:lnTo>
                        <a:pt x="424637" y="660679"/>
                      </a:lnTo>
                      <a:lnTo>
                        <a:pt x="425094" y="661949"/>
                      </a:lnTo>
                      <a:lnTo>
                        <a:pt x="432257" y="661949"/>
                      </a:lnTo>
                      <a:lnTo>
                        <a:pt x="436854" y="660679"/>
                      </a:lnTo>
                      <a:lnTo>
                        <a:pt x="439813" y="661949"/>
                      </a:lnTo>
                      <a:lnTo>
                        <a:pt x="446468" y="663219"/>
                      </a:lnTo>
                      <a:lnTo>
                        <a:pt x="452285" y="663219"/>
                      </a:lnTo>
                      <a:lnTo>
                        <a:pt x="458457" y="664489"/>
                      </a:lnTo>
                      <a:lnTo>
                        <a:pt x="473290" y="664489"/>
                      </a:lnTo>
                      <a:lnTo>
                        <a:pt x="475373" y="663219"/>
                      </a:lnTo>
                      <a:lnTo>
                        <a:pt x="478701" y="663219"/>
                      </a:lnTo>
                      <a:lnTo>
                        <a:pt x="498195" y="667029"/>
                      </a:lnTo>
                      <a:lnTo>
                        <a:pt x="502551" y="667029"/>
                      </a:lnTo>
                      <a:lnTo>
                        <a:pt x="502767" y="668299"/>
                      </a:lnTo>
                      <a:lnTo>
                        <a:pt x="503809" y="668299"/>
                      </a:lnTo>
                      <a:lnTo>
                        <a:pt x="504532" y="670839"/>
                      </a:lnTo>
                      <a:lnTo>
                        <a:pt x="505294" y="670839"/>
                      </a:lnTo>
                      <a:lnTo>
                        <a:pt x="514350" y="673379"/>
                      </a:lnTo>
                      <a:lnTo>
                        <a:pt x="516521" y="673379"/>
                      </a:lnTo>
                      <a:lnTo>
                        <a:pt x="522414" y="674649"/>
                      </a:lnTo>
                      <a:lnTo>
                        <a:pt x="525678" y="677189"/>
                      </a:lnTo>
                      <a:lnTo>
                        <a:pt x="529348" y="678459"/>
                      </a:lnTo>
                      <a:lnTo>
                        <a:pt x="535343" y="678459"/>
                      </a:lnTo>
                      <a:lnTo>
                        <a:pt x="539394" y="675919"/>
                      </a:lnTo>
                      <a:lnTo>
                        <a:pt x="540880" y="679729"/>
                      </a:lnTo>
                      <a:lnTo>
                        <a:pt x="541820" y="679729"/>
                      </a:lnTo>
                      <a:lnTo>
                        <a:pt x="541896" y="680999"/>
                      </a:lnTo>
                      <a:lnTo>
                        <a:pt x="548970" y="680999"/>
                      </a:lnTo>
                      <a:lnTo>
                        <a:pt x="549770" y="679729"/>
                      </a:lnTo>
                      <a:lnTo>
                        <a:pt x="551154" y="679729"/>
                      </a:lnTo>
                      <a:lnTo>
                        <a:pt x="552538" y="678459"/>
                      </a:lnTo>
                      <a:lnTo>
                        <a:pt x="555586" y="677189"/>
                      </a:lnTo>
                      <a:lnTo>
                        <a:pt x="559396" y="675919"/>
                      </a:lnTo>
                      <a:lnTo>
                        <a:pt x="565543" y="673379"/>
                      </a:lnTo>
                      <a:lnTo>
                        <a:pt x="568744" y="672109"/>
                      </a:lnTo>
                      <a:lnTo>
                        <a:pt x="572719" y="669569"/>
                      </a:lnTo>
                      <a:lnTo>
                        <a:pt x="573189" y="669569"/>
                      </a:lnTo>
                      <a:lnTo>
                        <a:pt x="578180" y="668299"/>
                      </a:lnTo>
                      <a:lnTo>
                        <a:pt x="583311" y="668299"/>
                      </a:lnTo>
                      <a:lnTo>
                        <a:pt x="594753" y="667029"/>
                      </a:lnTo>
                      <a:lnTo>
                        <a:pt x="605866" y="667029"/>
                      </a:lnTo>
                      <a:lnTo>
                        <a:pt x="610069" y="668299"/>
                      </a:lnTo>
                      <a:lnTo>
                        <a:pt x="615035" y="665759"/>
                      </a:lnTo>
                      <a:lnTo>
                        <a:pt x="616953" y="664489"/>
                      </a:lnTo>
                      <a:lnTo>
                        <a:pt x="618871" y="664489"/>
                      </a:lnTo>
                      <a:lnTo>
                        <a:pt x="623023" y="661949"/>
                      </a:lnTo>
                      <a:lnTo>
                        <a:pt x="626084" y="660679"/>
                      </a:lnTo>
                      <a:lnTo>
                        <a:pt x="627075" y="660679"/>
                      </a:lnTo>
                      <a:lnTo>
                        <a:pt x="628002" y="659409"/>
                      </a:lnTo>
                      <a:lnTo>
                        <a:pt x="629996" y="656869"/>
                      </a:lnTo>
                      <a:lnTo>
                        <a:pt x="631482" y="654329"/>
                      </a:lnTo>
                      <a:lnTo>
                        <a:pt x="634022" y="651789"/>
                      </a:lnTo>
                      <a:lnTo>
                        <a:pt x="635596" y="650519"/>
                      </a:lnTo>
                      <a:lnTo>
                        <a:pt x="637921" y="650519"/>
                      </a:lnTo>
                      <a:lnTo>
                        <a:pt x="640105" y="649249"/>
                      </a:lnTo>
                      <a:lnTo>
                        <a:pt x="644207" y="646709"/>
                      </a:lnTo>
                      <a:lnTo>
                        <a:pt x="647725" y="644169"/>
                      </a:lnTo>
                      <a:lnTo>
                        <a:pt x="648055" y="644169"/>
                      </a:lnTo>
                      <a:lnTo>
                        <a:pt x="647674" y="642899"/>
                      </a:lnTo>
                      <a:lnTo>
                        <a:pt x="647192" y="641629"/>
                      </a:lnTo>
                      <a:lnTo>
                        <a:pt x="646201" y="640359"/>
                      </a:lnTo>
                      <a:lnTo>
                        <a:pt x="645312" y="640359"/>
                      </a:lnTo>
                      <a:lnTo>
                        <a:pt x="643394" y="639089"/>
                      </a:lnTo>
                      <a:lnTo>
                        <a:pt x="643013" y="637819"/>
                      </a:lnTo>
                      <a:lnTo>
                        <a:pt x="642683" y="637819"/>
                      </a:lnTo>
                      <a:lnTo>
                        <a:pt x="641883" y="636549"/>
                      </a:lnTo>
                      <a:lnTo>
                        <a:pt x="641007" y="635279"/>
                      </a:lnTo>
                      <a:lnTo>
                        <a:pt x="640346" y="632739"/>
                      </a:lnTo>
                      <a:lnTo>
                        <a:pt x="640549" y="632739"/>
                      </a:lnTo>
                      <a:lnTo>
                        <a:pt x="640969" y="631469"/>
                      </a:lnTo>
                      <a:lnTo>
                        <a:pt x="642797" y="627659"/>
                      </a:lnTo>
                      <a:lnTo>
                        <a:pt x="644055" y="625119"/>
                      </a:lnTo>
                      <a:lnTo>
                        <a:pt x="646391" y="622579"/>
                      </a:lnTo>
                      <a:lnTo>
                        <a:pt x="646861" y="622579"/>
                      </a:lnTo>
                      <a:lnTo>
                        <a:pt x="647369" y="621309"/>
                      </a:lnTo>
                      <a:lnTo>
                        <a:pt x="647903" y="621309"/>
                      </a:lnTo>
                      <a:lnTo>
                        <a:pt x="648601" y="620039"/>
                      </a:lnTo>
                      <a:lnTo>
                        <a:pt x="650328" y="621309"/>
                      </a:lnTo>
                      <a:lnTo>
                        <a:pt x="655586" y="621309"/>
                      </a:lnTo>
                      <a:lnTo>
                        <a:pt x="661695" y="623849"/>
                      </a:lnTo>
                      <a:lnTo>
                        <a:pt x="664527" y="625119"/>
                      </a:lnTo>
                      <a:lnTo>
                        <a:pt x="665619" y="626389"/>
                      </a:lnTo>
                      <a:lnTo>
                        <a:pt x="672985" y="626389"/>
                      </a:lnTo>
                      <a:lnTo>
                        <a:pt x="674230" y="625119"/>
                      </a:lnTo>
                      <a:lnTo>
                        <a:pt x="674954" y="625119"/>
                      </a:lnTo>
                      <a:lnTo>
                        <a:pt x="675678" y="623849"/>
                      </a:lnTo>
                      <a:lnTo>
                        <a:pt x="679272" y="622579"/>
                      </a:lnTo>
                      <a:lnTo>
                        <a:pt x="681761" y="620039"/>
                      </a:lnTo>
                      <a:lnTo>
                        <a:pt x="685266" y="616229"/>
                      </a:lnTo>
                      <a:lnTo>
                        <a:pt x="685825" y="616229"/>
                      </a:lnTo>
                      <a:lnTo>
                        <a:pt x="686473" y="614959"/>
                      </a:lnTo>
                      <a:lnTo>
                        <a:pt x="700862" y="614959"/>
                      </a:lnTo>
                      <a:lnTo>
                        <a:pt x="701433" y="613689"/>
                      </a:lnTo>
                      <a:lnTo>
                        <a:pt x="702640" y="613689"/>
                      </a:lnTo>
                      <a:lnTo>
                        <a:pt x="703262" y="612419"/>
                      </a:lnTo>
                      <a:lnTo>
                        <a:pt x="704342" y="612419"/>
                      </a:lnTo>
                      <a:lnTo>
                        <a:pt x="705497" y="611149"/>
                      </a:lnTo>
                      <a:lnTo>
                        <a:pt x="706843" y="611149"/>
                      </a:lnTo>
                      <a:lnTo>
                        <a:pt x="707694" y="609879"/>
                      </a:lnTo>
                      <a:lnTo>
                        <a:pt x="709091" y="609879"/>
                      </a:lnTo>
                      <a:lnTo>
                        <a:pt x="709498" y="608609"/>
                      </a:lnTo>
                      <a:lnTo>
                        <a:pt x="709891" y="607339"/>
                      </a:lnTo>
                      <a:lnTo>
                        <a:pt x="709168" y="608609"/>
                      </a:lnTo>
                      <a:lnTo>
                        <a:pt x="709193" y="606069"/>
                      </a:lnTo>
                      <a:lnTo>
                        <a:pt x="709307" y="604799"/>
                      </a:lnTo>
                      <a:lnTo>
                        <a:pt x="711593" y="602259"/>
                      </a:lnTo>
                      <a:lnTo>
                        <a:pt x="713435" y="599719"/>
                      </a:lnTo>
                      <a:lnTo>
                        <a:pt x="716038" y="597179"/>
                      </a:lnTo>
                      <a:lnTo>
                        <a:pt x="721106" y="598449"/>
                      </a:lnTo>
                      <a:lnTo>
                        <a:pt x="725843" y="598449"/>
                      </a:lnTo>
                      <a:lnTo>
                        <a:pt x="728916" y="597179"/>
                      </a:lnTo>
                      <a:lnTo>
                        <a:pt x="744245" y="590829"/>
                      </a:lnTo>
                      <a:lnTo>
                        <a:pt x="749300" y="592099"/>
                      </a:lnTo>
                      <a:lnTo>
                        <a:pt x="761555" y="592099"/>
                      </a:lnTo>
                      <a:lnTo>
                        <a:pt x="761822" y="589559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624" name="object 164">
                  <a:extLst>
                    <a:ext uri="{FF2B5EF4-FFF2-40B4-BE49-F238E27FC236}">
                      <a16:creationId xmlns:a16="http://schemas.microsoft.com/office/drawing/2014/main" id="{D2D5D10E-3358-BCD5-1DC0-08A2A0C4924F}"/>
                    </a:ext>
                  </a:extLst>
                </p:cNvPr>
                <p:cNvPicPr/>
                <p:nvPr/>
              </p:nvPicPr>
              <p:blipFill>
                <a:blip r:embed="rId26" cstate="print"/>
                <a:stretch>
                  <a:fillRect/>
                </a:stretch>
              </p:blipFill>
              <p:spPr>
                <a:xfrm>
                  <a:off x="4616206" y="2884200"/>
                  <a:ext cx="285183" cy="149120"/>
                </a:xfrm>
                <a:prstGeom prst="rect">
                  <a:avLst/>
                </a:prstGeom>
              </p:spPr>
            </p:pic>
            <p:pic>
              <p:nvPicPr>
                <p:cNvPr id="625" name="object 165">
                  <a:extLst>
                    <a:ext uri="{FF2B5EF4-FFF2-40B4-BE49-F238E27FC236}">
                      <a16:creationId xmlns:a16="http://schemas.microsoft.com/office/drawing/2014/main" id="{1B1468A0-2E67-E0CC-14FD-1EF236AE6087}"/>
                    </a:ext>
                  </a:extLst>
                </p:cNvPr>
                <p:cNvPicPr/>
                <p:nvPr/>
              </p:nvPicPr>
              <p:blipFill>
                <a:blip r:embed="rId27" cstate="print"/>
                <a:stretch>
                  <a:fillRect/>
                </a:stretch>
              </p:blipFill>
              <p:spPr>
                <a:xfrm>
                  <a:off x="4135588" y="2583628"/>
                  <a:ext cx="118135" cy="277475"/>
                </a:xfrm>
                <a:prstGeom prst="rect">
                  <a:avLst/>
                </a:prstGeom>
              </p:spPr>
            </p:pic>
            <p:pic>
              <p:nvPicPr>
                <p:cNvPr id="626" name="object 166">
                  <a:extLst>
                    <a:ext uri="{FF2B5EF4-FFF2-40B4-BE49-F238E27FC236}">
                      <a16:creationId xmlns:a16="http://schemas.microsoft.com/office/drawing/2014/main" id="{E6BE1A12-7967-417E-2109-F47CA0A470AF}"/>
                    </a:ext>
                  </a:extLst>
                </p:cNvPr>
                <p:cNvPicPr/>
                <p:nvPr/>
              </p:nvPicPr>
              <p:blipFill>
                <a:blip r:embed="rId28" cstate="print"/>
                <a:stretch>
                  <a:fillRect/>
                </a:stretch>
              </p:blipFill>
              <p:spPr>
                <a:xfrm>
                  <a:off x="4300321" y="2778365"/>
                  <a:ext cx="148969" cy="161165"/>
                </a:xfrm>
                <a:prstGeom prst="rect">
                  <a:avLst/>
                </a:prstGeom>
              </p:spPr>
            </p:pic>
            <p:sp>
              <p:nvSpPr>
                <p:cNvPr id="627" name="object 167">
                  <a:extLst>
                    <a:ext uri="{FF2B5EF4-FFF2-40B4-BE49-F238E27FC236}">
                      <a16:creationId xmlns:a16="http://schemas.microsoft.com/office/drawing/2014/main" id="{AC86027E-7AA0-1430-5052-2B16BE9F27A6}"/>
                    </a:ext>
                  </a:extLst>
                </p:cNvPr>
                <p:cNvSpPr/>
                <p:nvPr/>
              </p:nvSpPr>
              <p:spPr>
                <a:xfrm>
                  <a:off x="1675333" y="2589987"/>
                  <a:ext cx="88900" cy="355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8900" h="35560">
                      <a:moveTo>
                        <a:pt x="40855" y="10896"/>
                      </a:moveTo>
                      <a:close/>
                    </a:path>
                    <a:path w="88900" h="35560">
                      <a:moveTo>
                        <a:pt x="88468" y="19608"/>
                      </a:moveTo>
                      <a:lnTo>
                        <a:pt x="86004" y="17792"/>
                      </a:lnTo>
                      <a:lnTo>
                        <a:pt x="85217" y="17284"/>
                      </a:lnTo>
                      <a:lnTo>
                        <a:pt x="82448" y="14859"/>
                      </a:lnTo>
                      <a:lnTo>
                        <a:pt x="81343" y="14516"/>
                      </a:lnTo>
                      <a:lnTo>
                        <a:pt x="76542" y="14020"/>
                      </a:lnTo>
                      <a:lnTo>
                        <a:pt x="74625" y="13677"/>
                      </a:lnTo>
                      <a:lnTo>
                        <a:pt x="71234" y="13030"/>
                      </a:lnTo>
                      <a:lnTo>
                        <a:pt x="70637" y="12915"/>
                      </a:lnTo>
                      <a:lnTo>
                        <a:pt x="70104" y="13030"/>
                      </a:lnTo>
                      <a:lnTo>
                        <a:pt x="70053" y="10807"/>
                      </a:lnTo>
                      <a:lnTo>
                        <a:pt x="71945" y="11366"/>
                      </a:lnTo>
                      <a:lnTo>
                        <a:pt x="73240" y="10807"/>
                      </a:lnTo>
                      <a:lnTo>
                        <a:pt x="74358" y="10325"/>
                      </a:lnTo>
                      <a:lnTo>
                        <a:pt x="74739" y="10160"/>
                      </a:lnTo>
                      <a:lnTo>
                        <a:pt x="74993" y="10096"/>
                      </a:lnTo>
                      <a:lnTo>
                        <a:pt x="76593" y="9677"/>
                      </a:lnTo>
                      <a:lnTo>
                        <a:pt x="75399" y="7620"/>
                      </a:lnTo>
                      <a:lnTo>
                        <a:pt x="75107" y="9766"/>
                      </a:lnTo>
                      <a:lnTo>
                        <a:pt x="73190" y="10096"/>
                      </a:lnTo>
                      <a:lnTo>
                        <a:pt x="71780" y="9321"/>
                      </a:lnTo>
                      <a:lnTo>
                        <a:pt x="69989" y="9639"/>
                      </a:lnTo>
                      <a:lnTo>
                        <a:pt x="68922" y="10325"/>
                      </a:lnTo>
                      <a:lnTo>
                        <a:pt x="67132" y="9398"/>
                      </a:lnTo>
                      <a:lnTo>
                        <a:pt x="67017" y="6134"/>
                      </a:lnTo>
                      <a:lnTo>
                        <a:pt x="66700" y="5740"/>
                      </a:lnTo>
                      <a:lnTo>
                        <a:pt x="65303" y="4013"/>
                      </a:lnTo>
                      <a:lnTo>
                        <a:pt x="65049" y="3860"/>
                      </a:lnTo>
                      <a:lnTo>
                        <a:pt x="61137" y="5740"/>
                      </a:lnTo>
                      <a:lnTo>
                        <a:pt x="55359" y="1816"/>
                      </a:lnTo>
                      <a:lnTo>
                        <a:pt x="55041" y="1600"/>
                      </a:lnTo>
                      <a:lnTo>
                        <a:pt x="49657" y="304"/>
                      </a:lnTo>
                      <a:lnTo>
                        <a:pt x="49644" y="444"/>
                      </a:lnTo>
                      <a:lnTo>
                        <a:pt x="46799" y="1816"/>
                      </a:lnTo>
                      <a:lnTo>
                        <a:pt x="46494" y="1765"/>
                      </a:lnTo>
                      <a:lnTo>
                        <a:pt x="44805" y="1485"/>
                      </a:lnTo>
                      <a:lnTo>
                        <a:pt x="42811" y="1092"/>
                      </a:lnTo>
                      <a:lnTo>
                        <a:pt x="40805" y="863"/>
                      </a:lnTo>
                      <a:lnTo>
                        <a:pt x="40855" y="1765"/>
                      </a:lnTo>
                      <a:lnTo>
                        <a:pt x="40855" y="10769"/>
                      </a:lnTo>
                      <a:lnTo>
                        <a:pt x="40855" y="10896"/>
                      </a:lnTo>
                      <a:lnTo>
                        <a:pt x="40830" y="10769"/>
                      </a:lnTo>
                      <a:lnTo>
                        <a:pt x="40855" y="1765"/>
                      </a:lnTo>
                      <a:lnTo>
                        <a:pt x="40741" y="10769"/>
                      </a:lnTo>
                      <a:lnTo>
                        <a:pt x="40741" y="1701"/>
                      </a:lnTo>
                      <a:lnTo>
                        <a:pt x="40576" y="1612"/>
                      </a:lnTo>
                      <a:lnTo>
                        <a:pt x="40576" y="10629"/>
                      </a:lnTo>
                      <a:lnTo>
                        <a:pt x="40576" y="1612"/>
                      </a:lnTo>
                      <a:lnTo>
                        <a:pt x="40208" y="1397"/>
                      </a:lnTo>
                      <a:lnTo>
                        <a:pt x="40208" y="11874"/>
                      </a:lnTo>
                      <a:lnTo>
                        <a:pt x="39268" y="12941"/>
                      </a:lnTo>
                      <a:lnTo>
                        <a:pt x="39268" y="24079"/>
                      </a:lnTo>
                      <a:lnTo>
                        <a:pt x="38887" y="23672"/>
                      </a:lnTo>
                      <a:lnTo>
                        <a:pt x="38887" y="27114"/>
                      </a:lnTo>
                      <a:lnTo>
                        <a:pt x="38862" y="27482"/>
                      </a:lnTo>
                      <a:lnTo>
                        <a:pt x="38823" y="27622"/>
                      </a:lnTo>
                      <a:lnTo>
                        <a:pt x="38887" y="27114"/>
                      </a:lnTo>
                      <a:lnTo>
                        <a:pt x="38887" y="23672"/>
                      </a:lnTo>
                      <a:lnTo>
                        <a:pt x="38696" y="23469"/>
                      </a:lnTo>
                      <a:lnTo>
                        <a:pt x="38862" y="23596"/>
                      </a:lnTo>
                      <a:lnTo>
                        <a:pt x="39268" y="24079"/>
                      </a:lnTo>
                      <a:lnTo>
                        <a:pt x="39268" y="12941"/>
                      </a:lnTo>
                      <a:lnTo>
                        <a:pt x="40208" y="11874"/>
                      </a:lnTo>
                      <a:lnTo>
                        <a:pt x="40208" y="1397"/>
                      </a:lnTo>
                      <a:lnTo>
                        <a:pt x="39509" y="2400"/>
                      </a:lnTo>
                      <a:lnTo>
                        <a:pt x="39471" y="3302"/>
                      </a:lnTo>
                      <a:lnTo>
                        <a:pt x="39204" y="3454"/>
                      </a:lnTo>
                      <a:lnTo>
                        <a:pt x="39204" y="4546"/>
                      </a:lnTo>
                      <a:lnTo>
                        <a:pt x="38963" y="3708"/>
                      </a:lnTo>
                      <a:lnTo>
                        <a:pt x="39128" y="4216"/>
                      </a:lnTo>
                      <a:lnTo>
                        <a:pt x="39204" y="4546"/>
                      </a:lnTo>
                      <a:lnTo>
                        <a:pt x="39204" y="3454"/>
                      </a:lnTo>
                      <a:lnTo>
                        <a:pt x="38938" y="3606"/>
                      </a:lnTo>
                      <a:lnTo>
                        <a:pt x="38773" y="3708"/>
                      </a:lnTo>
                      <a:lnTo>
                        <a:pt x="38595" y="3619"/>
                      </a:lnTo>
                      <a:lnTo>
                        <a:pt x="38595" y="13754"/>
                      </a:lnTo>
                      <a:lnTo>
                        <a:pt x="37960" y="14249"/>
                      </a:lnTo>
                      <a:lnTo>
                        <a:pt x="38366" y="13906"/>
                      </a:lnTo>
                      <a:lnTo>
                        <a:pt x="38595" y="13754"/>
                      </a:lnTo>
                      <a:lnTo>
                        <a:pt x="38595" y="3619"/>
                      </a:lnTo>
                      <a:lnTo>
                        <a:pt x="38252" y="3492"/>
                      </a:lnTo>
                      <a:lnTo>
                        <a:pt x="38023" y="3441"/>
                      </a:lnTo>
                      <a:lnTo>
                        <a:pt x="37706" y="3441"/>
                      </a:lnTo>
                      <a:lnTo>
                        <a:pt x="37706" y="14528"/>
                      </a:lnTo>
                      <a:lnTo>
                        <a:pt x="37668" y="14986"/>
                      </a:lnTo>
                      <a:lnTo>
                        <a:pt x="37668" y="14579"/>
                      </a:lnTo>
                      <a:lnTo>
                        <a:pt x="37706" y="3441"/>
                      </a:lnTo>
                      <a:lnTo>
                        <a:pt x="37274" y="3416"/>
                      </a:lnTo>
                      <a:lnTo>
                        <a:pt x="37274" y="19202"/>
                      </a:lnTo>
                      <a:lnTo>
                        <a:pt x="36207" y="19469"/>
                      </a:lnTo>
                      <a:lnTo>
                        <a:pt x="36207" y="19608"/>
                      </a:lnTo>
                      <a:lnTo>
                        <a:pt x="35890" y="19837"/>
                      </a:lnTo>
                      <a:lnTo>
                        <a:pt x="36195" y="19608"/>
                      </a:lnTo>
                      <a:lnTo>
                        <a:pt x="36207" y="19469"/>
                      </a:lnTo>
                      <a:lnTo>
                        <a:pt x="37274" y="19202"/>
                      </a:lnTo>
                      <a:lnTo>
                        <a:pt x="37274" y="3416"/>
                      </a:lnTo>
                      <a:lnTo>
                        <a:pt x="35712" y="3352"/>
                      </a:lnTo>
                      <a:lnTo>
                        <a:pt x="34442" y="3492"/>
                      </a:lnTo>
                      <a:lnTo>
                        <a:pt x="33515" y="3251"/>
                      </a:lnTo>
                      <a:lnTo>
                        <a:pt x="32550" y="2997"/>
                      </a:lnTo>
                      <a:lnTo>
                        <a:pt x="32194" y="3111"/>
                      </a:lnTo>
                      <a:lnTo>
                        <a:pt x="31902" y="3251"/>
                      </a:lnTo>
                      <a:lnTo>
                        <a:pt x="30886" y="3073"/>
                      </a:lnTo>
                      <a:lnTo>
                        <a:pt x="29946" y="1917"/>
                      </a:lnTo>
                      <a:lnTo>
                        <a:pt x="28054" y="1104"/>
                      </a:lnTo>
                      <a:lnTo>
                        <a:pt x="26352" y="546"/>
                      </a:lnTo>
                      <a:lnTo>
                        <a:pt x="25946" y="342"/>
                      </a:lnTo>
                      <a:lnTo>
                        <a:pt x="25514" y="177"/>
                      </a:lnTo>
                      <a:lnTo>
                        <a:pt x="23037" y="0"/>
                      </a:lnTo>
                      <a:lnTo>
                        <a:pt x="20891" y="431"/>
                      </a:lnTo>
                      <a:lnTo>
                        <a:pt x="18923" y="1181"/>
                      </a:lnTo>
                      <a:lnTo>
                        <a:pt x="17335" y="1536"/>
                      </a:lnTo>
                      <a:lnTo>
                        <a:pt x="16611" y="2044"/>
                      </a:lnTo>
                      <a:lnTo>
                        <a:pt x="15201" y="3251"/>
                      </a:lnTo>
                      <a:lnTo>
                        <a:pt x="15189" y="3441"/>
                      </a:lnTo>
                      <a:lnTo>
                        <a:pt x="16764" y="4432"/>
                      </a:lnTo>
                      <a:lnTo>
                        <a:pt x="17310" y="4813"/>
                      </a:lnTo>
                      <a:lnTo>
                        <a:pt x="25755" y="10147"/>
                      </a:lnTo>
                      <a:lnTo>
                        <a:pt x="24714" y="9855"/>
                      </a:lnTo>
                      <a:lnTo>
                        <a:pt x="24612" y="11468"/>
                      </a:lnTo>
                      <a:lnTo>
                        <a:pt x="25450" y="12877"/>
                      </a:lnTo>
                      <a:lnTo>
                        <a:pt x="26390" y="15532"/>
                      </a:lnTo>
                      <a:lnTo>
                        <a:pt x="29413" y="17297"/>
                      </a:lnTo>
                      <a:lnTo>
                        <a:pt x="30683" y="18910"/>
                      </a:lnTo>
                      <a:lnTo>
                        <a:pt x="30810" y="19126"/>
                      </a:lnTo>
                      <a:lnTo>
                        <a:pt x="30924" y="20726"/>
                      </a:lnTo>
                      <a:lnTo>
                        <a:pt x="30746" y="20916"/>
                      </a:lnTo>
                      <a:lnTo>
                        <a:pt x="30302" y="20993"/>
                      </a:lnTo>
                      <a:lnTo>
                        <a:pt x="29489" y="20967"/>
                      </a:lnTo>
                      <a:lnTo>
                        <a:pt x="28689" y="20612"/>
                      </a:lnTo>
                      <a:lnTo>
                        <a:pt x="27914" y="21056"/>
                      </a:lnTo>
                      <a:lnTo>
                        <a:pt x="27520" y="21221"/>
                      </a:lnTo>
                      <a:lnTo>
                        <a:pt x="26733" y="21818"/>
                      </a:lnTo>
                      <a:lnTo>
                        <a:pt x="25908" y="22313"/>
                      </a:lnTo>
                      <a:lnTo>
                        <a:pt x="25285" y="22466"/>
                      </a:lnTo>
                      <a:lnTo>
                        <a:pt x="21170" y="22212"/>
                      </a:lnTo>
                      <a:lnTo>
                        <a:pt x="18783" y="21513"/>
                      </a:lnTo>
                      <a:lnTo>
                        <a:pt x="18097" y="21310"/>
                      </a:lnTo>
                      <a:lnTo>
                        <a:pt x="13627" y="21513"/>
                      </a:lnTo>
                      <a:lnTo>
                        <a:pt x="5143" y="19316"/>
                      </a:lnTo>
                      <a:lnTo>
                        <a:pt x="5003" y="19316"/>
                      </a:lnTo>
                      <a:lnTo>
                        <a:pt x="4762" y="19227"/>
                      </a:lnTo>
                      <a:lnTo>
                        <a:pt x="4254" y="19126"/>
                      </a:lnTo>
                      <a:lnTo>
                        <a:pt x="4102" y="19075"/>
                      </a:lnTo>
                      <a:lnTo>
                        <a:pt x="3073" y="18910"/>
                      </a:lnTo>
                      <a:lnTo>
                        <a:pt x="2184" y="18986"/>
                      </a:lnTo>
                      <a:lnTo>
                        <a:pt x="482" y="20561"/>
                      </a:lnTo>
                      <a:lnTo>
                        <a:pt x="0" y="23583"/>
                      </a:lnTo>
                      <a:lnTo>
                        <a:pt x="1968" y="24003"/>
                      </a:lnTo>
                      <a:lnTo>
                        <a:pt x="2895" y="24257"/>
                      </a:lnTo>
                      <a:lnTo>
                        <a:pt x="5765" y="25273"/>
                      </a:lnTo>
                      <a:lnTo>
                        <a:pt x="7048" y="26568"/>
                      </a:lnTo>
                      <a:lnTo>
                        <a:pt x="9271" y="28600"/>
                      </a:lnTo>
                      <a:lnTo>
                        <a:pt x="8890" y="22491"/>
                      </a:lnTo>
                      <a:lnTo>
                        <a:pt x="21793" y="26225"/>
                      </a:lnTo>
                      <a:lnTo>
                        <a:pt x="26924" y="27114"/>
                      </a:lnTo>
                      <a:lnTo>
                        <a:pt x="30149" y="25603"/>
                      </a:lnTo>
                      <a:lnTo>
                        <a:pt x="32753" y="25692"/>
                      </a:lnTo>
                      <a:lnTo>
                        <a:pt x="33782" y="25755"/>
                      </a:lnTo>
                      <a:lnTo>
                        <a:pt x="35826" y="26022"/>
                      </a:lnTo>
                      <a:lnTo>
                        <a:pt x="36880" y="26390"/>
                      </a:lnTo>
                      <a:lnTo>
                        <a:pt x="37846" y="27114"/>
                      </a:lnTo>
                      <a:lnTo>
                        <a:pt x="37833" y="27749"/>
                      </a:lnTo>
                      <a:lnTo>
                        <a:pt x="37706" y="28549"/>
                      </a:lnTo>
                      <a:lnTo>
                        <a:pt x="38569" y="28702"/>
                      </a:lnTo>
                      <a:lnTo>
                        <a:pt x="39433" y="28841"/>
                      </a:lnTo>
                      <a:lnTo>
                        <a:pt x="39585" y="30048"/>
                      </a:lnTo>
                      <a:lnTo>
                        <a:pt x="40043" y="31610"/>
                      </a:lnTo>
                      <a:lnTo>
                        <a:pt x="40627" y="32537"/>
                      </a:lnTo>
                      <a:lnTo>
                        <a:pt x="40614" y="32004"/>
                      </a:lnTo>
                      <a:lnTo>
                        <a:pt x="41516" y="33515"/>
                      </a:lnTo>
                      <a:lnTo>
                        <a:pt x="43027" y="35191"/>
                      </a:lnTo>
                      <a:lnTo>
                        <a:pt x="44869" y="34429"/>
                      </a:lnTo>
                      <a:lnTo>
                        <a:pt x="44970" y="33235"/>
                      </a:lnTo>
                      <a:lnTo>
                        <a:pt x="45631" y="32004"/>
                      </a:lnTo>
                      <a:lnTo>
                        <a:pt x="46736" y="30035"/>
                      </a:lnTo>
                      <a:lnTo>
                        <a:pt x="47612" y="27876"/>
                      </a:lnTo>
                      <a:lnTo>
                        <a:pt x="48387" y="24828"/>
                      </a:lnTo>
                      <a:lnTo>
                        <a:pt x="49542" y="24307"/>
                      </a:lnTo>
                      <a:lnTo>
                        <a:pt x="50965" y="25336"/>
                      </a:lnTo>
                      <a:lnTo>
                        <a:pt x="51092" y="24904"/>
                      </a:lnTo>
                      <a:lnTo>
                        <a:pt x="52082" y="24307"/>
                      </a:lnTo>
                      <a:lnTo>
                        <a:pt x="52755" y="23901"/>
                      </a:lnTo>
                      <a:lnTo>
                        <a:pt x="54356" y="22517"/>
                      </a:lnTo>
                      <a:lnTo>
                        <a:pt x="55613" y="22656"/>
                      </a:lnTo>
                      <a:lnTo>
                        <a:pt x="55981" y="22745"/>
                      </a:lnTo>
                      <a:lnTo>
                        <a:pt x="56261" y="23088"/>
                      </a:lnTo>
                      <a:lnTo>
                        <a:pt x="56349" y="23749"/>
                      </a:lnTo>
                      <a:lnTo>
                        <a:pt x="56235" y="24244"/>
                      </a:lnTo>
                      <a:lnTo>
                        <a:pt x="56121" y="25273"/>
                      </a:lnTo>
                      <a:lnTo>
                        <a:pt x="57772" y="25095"/>
                      </a:lnTo>
                      <a:lnTo>
                        <a:pt x="61302" y="25463"/>
                      </a:lnTo>
                      <a:lnTo>
                        <a:pt x="61645" y="25857"/>
                      </a:lnTo>
                      <a:lnTo>
                        <a:pt x="62306" y="25095"/>
                      </a:lnTo>
                      <a:lnTo>
                        <a:pt x="64528" y="22517"/>
                      </a:lnTo>
                      <a:lnTo>
                        <a:pt x="66001" y="20802"/>
                      </a:lnTo>
                      <a:lnTo>
                        <a:pt x="70840" y="22948"/>
                      </a:lnTo>
                      <a:lnTo>
                        <a:pt x="75755" y="23088"/>
                      </a:lnTo>
                      <a:lnTo>
                        <a:pt x="78867" y="22593"/>
                      </a:lnTo>
                      <a:lnTo>
                        <a:pt x="81622" y="23495"/>
                      </a:lnTo>
                      <a:lnTo>
                        <a:pt x="82829" y="25006"/>
                      </a:lnTo>
                      <a:lnTo>
                        <a:pt x="84010" y="25793"/>
                      </a:lnTo>
                      <a:lnTo>
                        <a:pt x="83769" y="24422"/>
                      </a:lnTo>
                      <a:lnTo>
                        <a:pt x="85458" y="24396"/>
                      </a:lnTo>
                      <a:lnTo>
                        <a:pt x="86639" y="23749"/>
                      </a:lnTo>
                      <a:lnTo>
                        <a:pt x="87134" y="22593"/>
                      </a:lnTo>
                      <a:lnTo>
                        <a:pt x="87261" y="22288"/>
                      </a:lnTo>
                      <a:lnTo>
                        <a:pt x="88023" y="20802"/>
                      </a:lnTo>
                      <a:lnTo>
                        <a:pt x="88468" y="19926"/>
                      </a:lnTo>
                      <a:lnTo>
                        <a:pt x="88468" y="19608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628" name="object 168">
                  <a:extLst>
                    <a:ext uri="{FF2B5EF4-FFF2-40B4-BE49-F238E27FC236}">
                      <a16:creationId xmlns:a16="http://schemas.microsoft.com/office/drawing/2014/main" id="{D3D17558-2115-9B5B-CEC8-CFB8BC4AECCF}"/>
                    </a:ext>
                  </a:extLst>
                </p:cNvPr>
                <p:cNvPicPr/>
                <p:nvPr/>
              </p:nvPicPr>
              <p:blipFill>
                <a:blip r:embed="rId29" cstate="print"/>
                <a:stretch>
                  <a:fillRect/>
                </a:stretch>
              </p:blipFill>
              <p:spPr>
                <a:xfrm>
                  <a:off x="3095478" y="2385253"/>
                  <a:ext cx="158140" cy="174068"/>
                </a:xfrm>
                <a:prstGeom prst="rect">
                  <a:avLst/>
                </a:prstGeom>
              </p:spPr>
            </p:pic>
            <p:pic>
              <p:nvPicPr>
                <p:cNvPr id="629" name="object 169">
                  <a:extLst>
                    <a:ext uri="{FF2B5EF4-FFF2-40B4-BE49-F238E27FC236}">
                      <a16:creationId xmlns:a16="http://schemas.microsoft.com/office/drawing/2014/main" id="{91B9A4D5-978D-2AB2-2E6A-FC79749543DD}"/>
                    </a:ext>
                  </a:extLst>
                </p:cNvPr>
                <p:cNvPicPr/>
                <p:nvPr/>
              </p:nvPicPr>
              <p:blipFill>
                <a:blip r:embed="rId30" cstate="print"/>
                <a:stretch>
                  <a:fillRect/>
                </a:stretch>
              </p:blipFill>
              <p:spPr>
                <a:xfrm>
                  <a:off x="2592094" y="1993360"/>
                  <a:ext cx="72018" cy="77343"/>
                </a:xfrm>
                <a:prstGeom prst="rect">
                  <a:avLst/>
                </a:prstGeom>
              </p:spPr>
            </p:pic>
            <p:sp>
              <p:nvSpPr>
                <p:cNvPr id="630" name="object 170">
                  <a:extLst>
                    <a:ext uri="{FF2B5EF4-FFF2-40B4-BE49-F238E27FC236}">
                      <a16:creationId xmlns:a16="http://schemas.microsoft.com/office/drawing/2014/main" id="{EFC3D121-213E-14CB-4FAF-80B9D53A94DF}"/>
                    </a:ext>
                  </a:extLst>
                </p:cNvPr>
                <p:cNvSpPr/>
                <p:nvPr/>
              </p:nvSpPr>
              <p:spPr>
                <a:xfrm>
                  <a:off x="1485823" y="2663596"/>
                  <a:ext cx="66040" cy="609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040" h="60960">
                      <a:moveTo>
                        <a:pt x="36372" y="53416"/>
                      </a:moveTo>
                      <a:lnTo>
                        <a:pt x="30480" y="48958"/>
                      </a:lnTo>
                      <a:lnTo>
                        <a:pt x="30543" y="51181"/>
                      </a:lnTo>
                      <a:lnTo>
                        <a:pt x="36372" y="53416"/>
                      </a:lnTo>
                      <a:close/>
                    </a:path>
                    <a:path w="66040" h="60960">
                      <a:moveTo>
                        <a:pt x="65659" y="1219"/>
                      </a:moveTo>
                      <a:lnTo>
                        <a:pt x="65290" y="0"/>
                      </a:lnTo>
                      <a:lnTo>
                        <a:pt x="61010" y="1155"/>
                      </a:lnTo>
                      <a:lnTo>
                        <a:pt x="55587" y="2463"/>
                      </a:lnTo>
                      <a:lnTo>
                        <a:pt x="51955" y="3416"/>
                      </a:lnTo>
                      <a:lnTo>
                        <a:pt x="50990" y="3644"/>
                      </a:lnTo>
                      <a:lnTo>
                        <a:pt x="49834" y="3860"/>
                      </a:lnTo>
                      <a:lnTo>
                        <a:pt x="49326" y="4292"/>
                      </a:lnTo>
                      <a:lnTo>
                        <a:pt x="48399" y="4584"/>
                      </a:lnTo>
                      <a:lnTo>
                        <a:pt x="47764" y="4699"/>
                      </a:lnTo>
                      <a:lnTo>
                        <a:pt x="46253" y="4699"/>
                      </a:lnTo>
                      <a:lnTo>
                        <a:pt x="45923" y="4495"/>
                      </a:lnTo>
                      <a:lnTo>
                        <a:pt x="45923" y="53936"/>
                      </a:lnTo>
                      <a:lnTo>
                        <a:pt x="41579" y="57327"/>
                      </a:lnTo>
                      <a:lnTo>
                        <a:pt x="40944" y="56692"/>
                      </a:lnTo>
                      <a:lnTo>
                        <a:pt x="38252" y="56311"/>
                      </a:lnTo>
                      <a:lnTo>
                        <a:pt x="35090" y="54787"/>
                      </a:lnTo>
                      <a:lnTo>
                        <a:pt x="31369" y="52870"/>
                      </a:lnTo>
                      <a:lnTo>
                        <a:pt x="29641" y="52285"/>
                      </a:lnTo>
                      <a:lnTo>
                        <a:pt x="27355" y="48755"/>
                      </a:lnTo>
                      <a:lnTo>
                        <a:pt x="27051" y="47218"/>
                      </a:lnTo>
                      <a:lnTo>
                        <a:pt x="26327" y="42519"/>
                      </a:lnTo>
                      <a:lnTo>
                        <a:pt x="27432" y="40627"/>
                      </a:lnTo>
                      <a:lnTo>
                        <a:pt x="30378" y="42227"/>
                      </a:lnTo>
                      <a:lnTo>
                        <a:pt x="33388" y="42646"/>
                      </a:lnTo>
                      <a:lnTo>
                        <a:pt x="45923" y="53936"/>
                      </a:lnTo>
                      <a:lnTo>
                        <a:pt x="45923" y="4495"/>
                      </a:lnTo>
                      <a:lnTo>
                        <a:pt x="44246" y="3416"/>
                      </a:lnTo>
                      <a:lnTo>
                        <a:pt x="42633" y="2222"/>
                      </a:lnTo>
                      <a:lnTo>
                        <a:pt x="42100" y="2120"/>
                      </a:lnTo>
                      <a:lnTo>
                        <a:pt x="41998" y="1981"/>
                      </a:lnTo>
                      <a:lnTo>
                        <a:pt x="41706" y="1905"/>
                      </a:lnTo>
                      <a:lnTo>
                        <a:pt x="41414" y="2044"/>
                      </a:lnTo>
                      <a:lnTo>
                        <a:pt x="40182" y="2311"/>
                      </a:lnTo>
                      <a:lnTo>
                        <a:pt x="38874" y="3860"/>
                      </a:lnTo>
                      <a:lnTo>
                        <a:pt x="38900" y="4292"/>
                      </a:lnTo>
                      <a:lnTo>
                        <a:pt x="39103" y="5791"/>
                      </a:lnTo>
                      <a:lnTo>
                        <a:pt x="37160" y="5232"/>
                      </a:lnTo>
                      <a:lnTo>
                        <a:pt x="32880" y="11823"/>
                      </a:lnTo>
                      <a:lnTo>
                        <a:pt x="31153" y="13512"/>
                      </a:lnTo>
                      <a:lnTo>
                        <a:pt x="30746" y="13855"/>
                      </a:lnTo>
                      <a:lnTo>
                        <a:pt x="30378" y="14363"/>
                      </a:lnTo>
                      <a:lnTo>
                        <a:pt x="30111" y="14770"/>
                      </a:lnTo>
                      <a:lnTo>
                        <a:pt x="29362" y="15836"/>
                      </a:lnTo>
                      <a:lnTo>
                        <a:pt x="29070" y="16535"/>
                      </a:lnTo>
                      <a:lnTo>
                        <a:pt x="27355" y="15836"/>
                      </a:lnTo>
                      <a:lnTo>
                        <a:pt x="26377" y="15278"/>
                      </a:lnTo>
                      <a:lnTo>
                        <a:pt x="25311" y="14071"/>
                      </a:lnTo>
                      <a:lnTo>
                        <a:pt x="24650" y="13703"/>
                      </a:lnTo>
                      <a:lnTo>
                        <a:pt x="24765" y="13436"/>
                      </a:lnTo>
                      <a:lnTo>
                        <a:pt x="25095" y="12979"/>
                      </a:lnTo>
                      <a:lnTo>
                        <a:pt x="24853" y="13055"/>
                      </a:lnTo>
                      <a:lnTo>
                        <a:pt x="24726" y="13055"/>
                      </a:lnTo>
                      <a:lnTo>
                        <a:pt x="22758" y="14770"/>
                      </a:lnTo>
                      <a:lnTo>
                        <a:pt x="21475" y="15735"/>
                      </a:lnTo>
                      <a:lnTo>
                        <a:pt x="19494" y="18224"/>
                      </a:lnTo>
                      <a:lnTo>
                        <a:pt x="18427" y="17145"/>
                      </a:lnTo>
                      <a:lnTo>
                        <a:pt x="16789" y="17106"/>
                      </a:lnTo>
                      <a:lnTo>
                        <a:pt x="14300" y="17449"/>
                      </a:lnTo>
                      <a:lnTo>
                        <a:pt x="13855" y="17894"/>
                      </a:lnTo>
                      <a:lnTo>
                        <a:pt x="13906" y="18643"/>
                      </a:lnTo>
                      <a:lnTo>
                        <a:pt x="14224" y="20510"/>
                      </a:lnTo>
                      <a:lnTo>
                        <a:pt x="14605" y="21678"/>
                      </a:lnTo>
                      <a:lnTo>
                        <a:pt x="14859" y="22606"/>
                      </a:lnTo>
                      <a:lnTo>
                        <a:pt x="14922" y="23710"/>
                      </a:lnTo>
                      <a:lnTo>
                        <a:pt x="14719" y="24079"/>
                      </a:lnTo>
                      <a:lnTo>
                        <a:pt x="14262" y="24422"/>
                      </a:lnTo>
                      <a:lnTo>
                        <a:pt x="13512" y="24638"/>
                      </a:lnTo>
                      <a:lnTo>
                        <a:pt x="12382" y="24396"/>
                      </a:lnTo>
                      <a:lnTo>
                        <a:pt x="11976" y="25361"/>
                      </a:lnTo>
                      <a:lnTo>
                        <a:pt x="11874" y="25514"/>
                      </a:lnTo>
                      <a:lnTo>
                        <a:pt x="11785" y="26365"/>
                      </a:lnTo>
                      <a:lnTo>
                        <a:pt x="11531" y="26733"/>
                      </a:lnTo>
                      <a:lnTo>
                        <a:pt x="11214" y="27063"/>
                      </a:lnTo>
                      <a:lnTo>
                        <a:pt x="9639" y="28143"/>
                      </a:lnTo>
                      <a:lnTo>
                        <a:pt x="9067" y="28587"/>
                      </a:lnTo>
                      <a:lnTo>
                        <a:pt x="7264" y="28752"/>
                      </a:lnTo>
                      <a:lnTo>
                        <a:pt x="6324" y="28486"/>
                      </a:lnTo>
                      <a:lnTo>
                        <a:pt x="5270" y="29464"/>
                      </a:lnTo>
                      <a:lnTo>
                        <a:pt x="5334" y="29616"/>
                      </a:lnTo>
                      <a:lnTo>
                        <a:pt x="5575" y="29730"/>
                      </a:lnTo>
                      <a:lnTo>
                        <a:pt x="3810" y="29464"/>
                      </a:lnTo>
                      <a:lnTo>
                        <a:pt x="3924" y="28587"/>
                      </a:lnTo>
                      <a:lnTo>
                        <a:pt x="3873" y="28333"/>
                      </a:lnTo>
                      <a:lnTo>
                        <a:pt x="2311" y="27622"/>
                      </a:lnTo>
                      <a:lnTo>
                        <a:pt x="1816" y="28917"/>
                      </a:lnTo>
                      <a:lnTo>
                        <a:pt x="0" y="29108"/>
                      </a:lnTo>
                      <a:lnTo>
                        <a:pt x="3873" y="32600"/>
                      </a:lnTo>
                      <a:lnTo>
                        <a:pt x="10439" y="37655"/>
                      </a:lnTo>
                      <a:lnTo>
                        <a:pt x="14376" y="40589"/>
                      </a:lnTo>
                      <a:lnTo>
                        <a:pt x="14655" y="41935"/>
                      </a:lnTo>
                      <a:lnTo>
                        <a:pt x="18338" y="48120"/>
                      </a:lnTo>
                      <a:lnTo>
                        <a:pt x="23749" y="51422"/>
                      </a:lnTo>
                      <a:lnTo>
                        <a:pt x="28105" y="55346"/>
                      </a:lnTo>
                      <a:lnTo>
                        <a:pt x="27965" y="55511"/>
                      </a:lnTo>
                      <a:lnTo>
                        <a:pt x="27774" y="55892"/>
                      </a:lnTo>
                      <a:lnTo>
                        <a:pt x="28638" y="56426"/>
                      </a:lnTo>
                      <a:lnTo>
                        <a:pt x="29883" y="55626"/>
                      </a:lnTo>
                      <a:lnTo>
                        <a:pt x="30454" y="54902"/>
                      </a:lnTo>
                      <a:lnTo>
                        <a:pt x="30619" y="54800"/>
                      </a:lnTo>
                      <a:lnTo>
                        <a:pt x="31089" y="54825"/>
                      </a:lnTo>
                      <a:lnTo>
                        <a:pt x="31381" y="54914"/>
                      </a:lnTo>
                      <a:lnTo>
                        <a:pt x="32054" y="55206"/>
                      </a:lnTo>
                      <a:lnTo>
                        <a:pt x="34074" y="55892"/>
                      </a:lnTo>
                      <a:lnTo>
                        <a:pt x="34823" y="56222"/>
                      </a:lnTo>
                      <a:lnTo>
                        <a:pt x="36855" y="56946"/>
                      </a:lnTo>
                      <a:lnTo>
                        <a:pt x="38900" y="57607"/>
                      </a:lnTo>
                      <a:lnTo>
                        <a:pt x="41059" y="58229"/>
                      </a:lnTo>
                      <a:lnTo>
                        <a:pt x="42430" y="58153"/>
                      </a:lnTo>
                      <a:lnTo>
                        <a:pt x="44069" y="57327"/>
                      </a:lnTo>
                      <a:lnTo>
                        <a:pt x="44399" y="57162"/>
                      </a:lnTo>
                      <a:lnTo>
                        <a:pt x="45580" y="57365"/>
                      </a:lnTo>
                      <a:lnTo>
                        <a:pt x="46456" y="57188"/>
                      </a:lnTo>
                      <a:lnTo>
                        <a:pt x="49237" y="59423"/>
                      </a:lnTo>
                      <a:lnTo>
                        <a:pt x="49911" y="59867"/>
                      </a:lnTo>
                      <a:lnTo>
                        <a:pt x="51612" y="60909"/>
                      </a:lnTo>
                      <a:lnTo>
                        <a:pt x="52565" y="60820"/>
                      </a:lnTo>
                      <a:lnTo>
                        <a:pt x="55359" y="60896"/>
                      </a:lnTo>
                      <a:lnTo>
                        <a:pt x="56070" y="60871"/>
                      </a:lnTo>
                      <a:lnTo>
                        <a:pt x="56426" y="60820"/>
                      </a:lnTo>
                      <a:lnTo>
                        <a:pt x="56743" y="60744"/>
                      </a:lnTo>
                      <a:lnTo>
                        <a:pt x="57061" y="60591"/>
                      </a:lnTo>
                      <a:lnTo>
                        <a:pt x="57404" y="60388"/>
                      </a:lnTo>
                      <a:lnTo>
                        <a:pt x="58724" y="58458"/>
                      </a:lnTo>
                      <a:lnTo>
                        <a:pt x="57518" y="57899"/>
                      </a:lnTo>
                      <a:lnTo>
                        <a:pt x="57378" y="57899"/>
                      </a:lnTo>
                      <a:lnTo>
                        <a:pt x="56692" y="57188"/>
                      </a:lnTo>
                      <a:lnTo>
                        <a:pt x="56349" y="56819"/>
                      </a:lnTo>
                      <a:lnTo>
                        <a:pt x="55587" y="55054"/>
                      </a:lnTo>
                      <a:lnTo>
                        <a:pt x="55600" y="51968"/>
                      </a:lnTo>
                      <a:lnTo>
                        <a:pt x="56870" y="49212"/>
                      </a:lnTo>
                      <a:lnTo>
                        <a:pt x="58623" y="48895"/>
                      </a:lnTo>
                      <a:lnTo>
                        <a:pt x="56769" y="45681"/>
                      </a:lnTo>
                      <a:lnTo>
                        <a:pt x="56286" y="44843"/>
                      </a:lnTo>
                      <a:lnTo>
                        <a:pt x="55892" y="45681"/>
                      </a:lnTo>
                      <a:lnTo>
                        <a:pt x="56870" y="40970"/>
                      </a:lnTo>
                      <a:lnTo>
                        <a:pt x="57556" y="41402"/>
                      </a:lnTo>
                      <a:lnTo>
                        <a:pt x="58178" y="43421"/>
                      </a:lnTo>
                      <a:lnTo>
                        <a:pt x="58547" y="40970"/>
                      </a:lnTo>
                      <a:lnTo>
                        <a:pt x="58559" y="40627"/>
                      </a:lnTo>
                      <a:lnTo>
                        <a:pt x="58420" y="38925"/>
                      </a:lnTo>
                      <a:lnTo>
                        <a:pt x="57480" y="36283"/>
                      </a:lnTo>
                      <a:lnTo>
                        <a:pt x="56946" y="36017"/>
                      </a:lnTo>
                      <a:lnTo>
                        <a:pt x="56946" y="34899"/>
                      </a:lnTo>
                      <a:lnTo>
                        <a:pt x="59410" y="34620"/>
                      </a:lnTo>
                      <a:lnTo>
                        <a:pt x="60007" y="32994"/>
                      </a:lnTo>
                      <a:lnTo>
                        <a:pt x="59905" y="34620"/>
                      </a:lnTo>
                      <a:lnTo>
                        <a:pt x="59359" y="36283"/>
                      </a:lnTo>
                      <a:lnTo>
                        <a:pt x="59143" y="37757"/>
                      </a:lnTo>
                      <a:lnTo>
                        <a:pt x="59448" y="37655"/>
                      </a:lnTo>
                      <a:lnTo>
                        <a:pt x="61747" y="38760"/>
                      </a:lnTo>
                      <a:lnTo>
                        <a:pt x="61518" y="37642"/>
                      </a:lnTo>
                      <a:lnTo>
                        <a:pt x="60744" y="33845"/>
                      </a:lnTo>
                      <a:lnTo>
                        <a:pt x="60680" y="32994"/>
                      </a:lnTo>
                      <a:lnTo>
                        <a:pt x="60439" y="29730"/>
                      </a:lnTo>
                      <a:lnTo>
                        <a:pt x="60375" y="28752"/>
                      </a:lnTo>
                      <a:lnTo>
                        <a:pt x="60490" y="27622"/>
                      </a:lnTo>
                      <a:lnTo>
                        <a:pt x="61074" y="24638"/>
                      </a:lnTo>
                      <a:lnTo>
                        <a:pt x="62433" y="18224"/>
                      </a:lnTo>
                      <a:lnTo>
                        <a:pt x="62509" y="17894"/>
                      </a:lnTo>
                      <a:lnTo>
                        <a:pt x="62611" y="17106"/>
                      </a:lnTo>
                      <a:lnTo>
                        <a:pt x="64655" y="10922"/>
                      </a:lnTo>
                      <a:lnTo>
                        <a:pt x="65582" y="8305"/>
                      </a:lnTo>
                      <a:lnTo>
                        <a:pt x="64973" y="5791"/>
                      </a:lnTo>
                      <a:lnTo>
                        <a:pt x="64719" y="4699"/>
                      </a:lnTo>
                      <a:lnTo>
                        <a:pt x="64135" y="2273"/>
                      </a:lnTo>
                      <a:lnTo>
                        <a:pt x="61925" y="2273"/>
                      </a:lnTo>
                      <a:lnTo>
                        <a:pt x="63182" y="1905"/>
                      </a:lnTo>
                      <a:lnTo>
                        <a:pt x="64401" y="1600"/>
                      </a:lnTo>
                      <a:lnTo>
                        <a:pt x="65659" y="1219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631" name="object 171">
                  <a:extLst>
                    <a:ext uri="{FF2B5EF4-FFF2-40B4-BE49-F238E27FC236}">
                      <a16:creationId xmlns:a16="http://schemas.microsoft.com/office/drawing/2014/main" id="{6E96042B-148F-9EFC-44DF-920963FB173D}"/>
                    </a:ext>
                  </a:extLst>
                </p:cNvPr>
                <p:cNvPicPr/>
                <p:nvPr/>
              </p:nvPicPr>
              <p:blipFill>
                <a:blip r:embed="rId31" cstate="print"/>
                <a:stretch>
                  <a:fillRect/>
                </a:stretch>
              </p:blipFill>
              <p:spPr>
                <a:xfrm>
                  <a:off x="2496507" y="2342162"/>
                  <a:ext cx="230268" cy="235887"/>
                </a:xfrm>
                <a:prstGeom prst="rect">
                  <a:avLst/>
                </a:prstGeom>
              </p:spPr>
            </p:pic>
            <p:sp>
              <p:nvSpPr>
                <p:cNvPr id="632" name="object 172">
                  <a:extLst>
                    <a:ext uri="{FF2B5EF4-FFF2-40B4-BE49-F238E27FC236}">
                      <a16:creationId xmlns:a16="http://schemas.microsoft.com/office/drawing/2014/main" id="{65411ABC-1B12-ED22-3CB6-0B4FB2DFF0EA}"/>
                    </a:ext>
                  </a:extLst>
                </p:cNvPr>
                <p:cNvSpPr/>
                <p:nvPr/>
              </p:nvSpPr>
              <p:spPr>
                <a:xfrm>
                  <a:off x="2977680" y="2894749"/>
                  <a:ext cx="349250" cy="5041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49250" h="504189">
                      <a:moveTo>
                        <a:pt x="520" y="404418"/>
                      </a:moveTo>
                      <a:lnTo>
                        <a:pt x="0" y="405130"/>
                      </a:lnTo>
                      <a:lnTo>
                        <a:pt x="482" y="404495"/>
                      </a:lnTo>
                      <a:close/>
                    </a:path>
                    <a:path w="349250" h="504189">
                      <a:moveTo>
                        <a:pt x="28498" y="496176"/>
                      </a:moveTo>
                      <a:close/>
                    </a:path>
                    <a:path w="349250" h="504189">
                      <a:moveTo>
                        <a:pt x="226936" y="404736"/>
                      </a:moveTo>
                      <a:lnTo>
                        <a:pt x="186067" y="404736"/>
                      </a:lnTo>
                      <a:lnTo>
                        <a:pt x="186067" y="417436"/>
                      </a:lnTo>
                      <a:lnTo>
                        <a:pt x="185318" y="417436"/>
                      </a:lnTo>
                      <a:lnTo>
                        <a:pt x="183807" y="419976"/>
                      </a:lnTo>
                      <a:lnTo>
                        <a:pt x="183083" y="421246"/>
                      </a:lnTo>
                      <a:lnTo>
                        <a:pt x="181508" y="423786"/>
                      </a:lnTo>
                      <a:lnTo>
                        <a:pt x="181254" y="423786"/>
                      </a:lnTo>
                      <a:lnTo>
                        <a:pt x="181648" y="426326"/>
                      </a:lnTo>
                      <a:lnTo>
                        <a:pt x="180860" y="426326"/>
                      </a:lnTo>
                      <a:lnTo>
                        <a:pt x="180555" y="427596"/>
                      </a:lnTo>
                      <a:lnTo>
                        <a:pt x="179641" y="427596"/>
                      </a:lnTo>
                      <a:lnTo>
                        <a:pt x="177952" y="428866"/>
                      </a:lnTo>
                      <a:lnTo>
                        <a:pt x="175387" y="428866"/>
                      </a:lnTo>
                      <a:lnTo>
                        <a:pt x="170954" y="430136"/>
                      </a:lnTo>
                      <a:lnTo>
                        <a:pt x="170408" y="430136"/>
                      </a:lnTo>
                      <a:lnTo>
                        <a:pt x="169938" y="431406"/>
                      </a:lnTo>
                      <a:lnTo>
                        <a:pt x="168935" y="432676"/>
                      </a:lnTo>
                      <a:lnTo>
                        <a:pt x="167589" y="437756"/>
                      </a:lnTo>
                      <a:lnTo>
                        <a:pt x="162877" y="437756"/>
                      </a:lnTo>
                      <a:lnTo>
                        <a:pt x="161480" y="436486"/>
                      </a:lnTo>
                      <a:lnTo>
                        <a:pt x="160185" y="435216"/>
                      </a:lnTo>
                      <a:lnTo>
                        <a:pt x="158711" y="433946"/>
                      </a:lnTo>
                      <a:lnTo>
                        <a:pt x="156248" y="432676"/>
                      </a:lnTo>
                      <a:lnTo>
                        <a:pt x="153885" y="427596"/>
                      </a:lnTo>
                      <a:lnTo>
                        <a:pt x="153390" y="426326"/>
                      </a:lnTo>
                      <a:lnTo>
                        <a:pt x="152730" y="425056"/>
                      </a:lnTo>
                      <a:lnTo>
                        <a:pt x="151295" y="423786"/>
                      </a:lnTo>
                      <a:lnTo>
                        <a:pt x="151117" y="422516"/>
                      </a:lnTo>
                      <a:lnTo>
                        <a:pt x="150977" y="422516"/>
                      </a:lnTo>
                      <a:lnTo>
                        <a:pt x="151320" y="421246"/>
                      </a:lnTo>
                      <a:lnTo>
                        <a:pt x="153809" y="421246"/>
                      </a:lnTo>
                      <a:lnTo>
                        <a:pt x="154482" y="419976"/>
                      </a:lnTo>
                      <a:lnTo>
                        <a:pt x="155549" y="419976"/>
                      </a:lnTo>
                      <a:lnTo>
                        <a:pt x="157010" y="417436"/>
                      </a:lnTo>
                      <a:lnTo>
                        <a:pt x="158623" y="413626"/>
                      </a:lnTo>
                      <a:lnTo>
                        <a:pt x="160477" y="412356"/>
                      </a:lnTo>
                      <a:lnTo>
                        <a:pt x="160693" y="412356"/>
                      </a:lnTo>
                      <a:lnTo>
                        <a:pt x="161315" y="411086"/>
                      </a:lnTo>
                      <a:lnTo>
                        <a:pt x="163868" y="409816"/>
                      </a:lnTo>
                      <a:lnTo>
                        <a:pt x="165481" y="408546"/>
                      </a:lnTo>
                      <a:lnTo>
                        <a:pt x="167208" y="408546"/>
                      </a:lnTo>
                      <a:lnTo>
                        <a:pt x="169786" y="407276"/>
                      </a:lnTo>
                      <a:lnTo>
                        <a:pt x="171538" y="406006"/>
                      </a:lnTo>
                      <a:lnTo>
                        <a:pt x="174421" y="406006"/>
                      </a:lnTo>
                      <a:lnTo>
                        <a:pt x="175755" y="407276"/>
                      </a:lnTo>
                      <a:lnTo>
                        <a:pt x="177279" y="408546"/>
                      </a:lnTo>
                      <a:lnTo>
                        <a:pt x="178917" y="409816"/>
                      </a:lnTo>
                      <a:lnTo>
                        <a:pt x="179654" y="409816"/>
                      </a:lnTo>
                      <a:lnTo>
                        <a:pt x="180949" y="411086"/>
                      </a:lnTo>
                      <a:lnTo>
                        <a:pt x="181851" y="412356"/>
                      </a:lnTo>
                      <a:lnTo>
                        <a:pt x="182638" y="412356"/>
                      </a:lnTo>
                      <a:lnTo>
                        <a:pt x="183692" y="413626"/>
                      </a:lnTo>
                      <a:lnTo>
                        <a:pt x="184569" y="413626"/>
                      </a:lnTo>
                      <a:lnTo>
                        <a:pt x="186067" y="417436"/>
                      </a:lnTo>
                      <a:lnTo>
                        <a:pt x="186067" y="404736"/>
                      </a:lnTo>
                      <a:lnTo>
                        <a:pt x="49631" y="404736"/>
                      </a:lnTo>
                      <a:lnTo>
                        <a:pt x="43548" y="404736"/>
                      </a:lnTo>
                      <a:lnTo>
                        <a:pt x="42062" y="406006"/>
                      </a:lnTo>
                      <a:lnTo>
                        <a:pt x="40944" y="407276"/>
                      </a:lnTo>
                      <a:lnTo>
                        <a:pt x="40246" y="408546"/>
                      </a:lnTo>
                      <a:lnTo>
                        <a:pt x="39674" y="408546"/>
                      </a:lnTo>
                      <a:lnTo>
                        <a:pt x="39331" y="409816"/>
                      </a:lnTo>
                      <a:lnTo>
                        <a:pt x="39154" y="409816"/>
                      </a:lnTo>
                      <a:lnTo>
                        <a:pt x="38912" y="411086"/>
                      </a:lnTo>
                      <a:lnTo>
                        <a:pt x="22694" y="411086"/>
                      </a:lnTo>
                      <a:lnTo>
                        <a:pt x="19329" y="409816"/>
                      </a:lnTo>
                      <a:lnTo>
                        <a:pt x="16179" y="408546"/>
                      </a:lnTo>
                      <a:lnTo>
                        <a:pt x="13652" y="408546"/>
                      </a:lnTo>
                      <a:lnTo>
                        <a:pt x="13017" y="407276"/>
                      </a:lnTo>
                      <a:lnTo>
                        <a:pt x="13512" y="406006"/>
                      </a:lnTo>
                      <a:lnTo>
                        <a:pt x="13296" y="406006"/>
                      </a:lnTo>
                      <a:lnTo>
                        <a:pt x="12585" y="404736"/>
                      </a:lnTo>
                      <a:lnTo>
                        <a:pt x="12192" y="404736"/>
                      </a:lnTo>
                      <a:lnTo>
                        <a:pt x="12115" y="403466"/>
                      </a:lnTo>
                      <a:lnTo>
                        <a:pt x="13068" y="403466"/>
                      </a:lnTo>
                      <a:lnTo>
                        <a:pt x="13157" y="402196"/>
                      </a:lnTo>
                      <a:lnTo>
                        <a:pt x="12941" y="402196"/>
                      </a:lnTo>
                      <a:lnTo>
                        <a:pt x="12395" y="400926"/>
                      </a:lnTo>
                      <a:lnTo>
                        <a:pt x="11252" y="400926"/>
                      </a:lnTo>
                      <a:lnTo>
                        <a:pt x="10541" y="399656"/>
                      </a:lnTo>
                      <a:lnTo>
                        <a:pt x="9715" y="399656"/>
                      </a:lnTo>
                      <a:lnTo>
                        <a:pt x="10502" y="398386"/>
                      </a:lnTo>
                      <a:lnTo>
                        <a:pt x="5194" y="398386"/>
                      </a:lnTo>
                      <a:lnTo>
                        <a:pt x="4584" y="399656"/>
                      </a:lnTo>
                      <a:lnTo>
                        <a:pt x="3886" y="400926"/>
                      </a:lnTo>
                      <a:lnTo>
                        <a:pt x="2400" y="403466"/>
                      </a:lnTo>
                      <a:lnTo>
                        <a:pt x="1549" y="404736"/>
                      </a:lnTo>
                      <a:lnTo>
                        <a:pt x="520" y="404736"/>
                      </a:lnTo>
                      <a:lnTo>
                        <a:pt x="12" y="406006"/>
                      </a:lnTo>
                      <a:lnTo>
                        <a:pt x="381" y="406006"/>
                      </a:lnTo>
                      <a:lnTo>
                        <a:pt x="12458" y="432676"/>
                      </a:lnTo>
                      <a:lnTo>
                        <a:pt x="15328" y="440296"/>
                      </a:lnTo>
                      <a:lnTo>
                        <a:pt x="24460" y="456806"/>
                      </a:lnTo>
                      <a:lnTo>
                        <a:pt x="25590" y="458076"/>
                      </a:lnTo>
                      <a:lnTo>
                        <a:pt x="26263" y="461886"/>
                      </a:lnTo>
                      <a:lnTo>
                        <a:pt x="27127" y="463156"/>
                      </a:lnTo>
                      <a:lnTo>
                        <a:pt x="23634" y="472046"/>
                      </a:lnTo>
                      <a:lnTo>
                        <a:pt x="20218" y="470776"/>
                      </a:lnTo>
                      <a:lnTo>
                        <a:pt x="19634" y="472046"/>
                      </a:lnTo>
                      <a:lnTo>
                        <a:pt x="19850" y="474586"/>
                      </a:lnTo>
                      <a:lnTo>
                        <a:pt x="19989" y="475856"/>
                      </a:lnTo>
                      <a:lnTo>
                        <a:pt x="23037" y="475856"/>
                      </a:lnTo>
                      <a:lnTo>
                        <a:pt x="22860" y="478396"/>
                      </a:lnTo>
                      <a:lnTo>
                        <a:pt x="28625" y="488556"/>
                      </a:lnTo>
                      <a:lnTo>
                        <a:pt x="26708" y="489826"/>
                      </a:lnTo>
                      <a:lnTo>
                        <a:pt x="26911" y="493636"/>
                      </a:lnTo>
                      <a:lnTo>
                        <a:pt x="28486" y="496150"/>
                      </a:lnTo>
                      <a:lnTo>
                        <a:pt x="28905" y="494906"/>
                      </a:lnTo>
                      <a:lnTo>
                        <a:pt x="28079" y="494906"/>
                      </a:lnTo>
                      <a:lnTo>
                        <a:pt x="29222" y="492366"/>
                      </a:lnTo>
                      <a:lnTo>
                        <a:pt x="32461" y="492366"/>
                      </a:lnTo>
                      <a:lnTo>
                        <a:pt x="34442" y="493636"/>
                      </a:lnTo>
                      <a:lnTo>
                        <a:pt x="33058" y="496176"/>
                      </a:lnTo>
                      <a:lnTo>
                        <a:pt x="34747" y="497446"/>
                      </a:lnTo>
                      <a:lnTo>
                        <a:pt x="36715" y="496176"/>
                      </a:lnTo>
                      <a:lnTo>
                        <a:pt x="39065" y="498716"/>
                      </a:lnTo>
                      <a:lnTo>
                        <a:pt x="40601" y="501256"/>
                      </a:lnTo>
                      <a:lnTo>
                        <a:pt x="51587" y="503796"/>
                      </a:lnTo>
                      <a:lnTo>
                        <a:pt x="51765" y="503796"/>
                      </a:lnTo>
                      <a:lnTo>
                        <a:pt x="57226" y="499986"/>
                      </a:lnTo>
                      <a:lnTo>
                        <a:pt x="60236" y="497446"/>
                      </a:lnTo>
                      <a:lnTo>
                        <a:pt x="75844" y="497446"/>
                      </a:lnTo>
                      <a:lnTo>
                        <a:pt x="79057" y="496176"/>
                      </a:lnTo>
                      <a:lnTo>
                        <a:pt x="80873" y="493636"/>
                      </a:lnTo>
                      <a:lnTo>
                        <a:pt x="82029" y="492366"/>
                      </a:lnTo>
                      <a:lnTo>
                        <a:pt x="83185" y="491096"/>
                      </a:lnTo>
                      <a:lnTo>
                        <a:pt x="86156" y="492366"/>
                      </a:lnTo>
                      <a:lnTo>
                        <a:pt x="91389" y="491096"/>
                      </a:lnTo>
                      <a:lnTo>
                        <a:pt x="94881" y="492366"/>
                      </a:lnTo>
                      <a:lnTo>
                        <a:pt x="98806" y="492366"/>
                      </a:lnTo>
                      <a:lnTo>
                        <a:pt x="99580" y="491096"/>
                      </a:lnTo>
                      <a:lnTo>
                        <a:pt x="100342" y="489826"/>
                      </a:lnTo>
                      <a:lnTo>
                        <a:pt x="106972" y="492366"/>
                      </a:lnTo>
                      <a:lnTo>
                        <a:pt x="112001" y="492366"/>
                      </a:lnTo>
                      <a:lnTo>
                        <a:pt x="118364" y="494906"/>
                      </a:lnTo>
                      <a:lnTo>
                        <a:pt x="119849" y="493636"/>
                      </a:lnTo>
                      <a:lnTo>
                        <a:pt x="119634" y="493636"/>
                      </a:lnTo>
                      <a:lnTo>
                        <a:pt x="120688" y="492366"/>
                      </a:lnTo>
                      <a:lnTo>
                        <a:pt x="122466" y="491096"/>
                      </a:lnTo>
                      <a:lnTo>
                        <a:pt x="131254" y="491096"/>
                      </a:lnTo>
                      <a:lnTo>
                        <a:pt x="131025" y="489826"/>
                      </a:lnTo>
                      <a:lnTo>
                        <a:pt x="131178" y="489826"/>
                      </a:lnTo>
                      <a:lnTo>
                        <a:pt x="133502" y="487286"/>
                      </a:lnTo>
                      <a:lnTo>
                        <a:pt x="135242" y="486016"/>
                      </a:lnTo>
                      <a:lnTo>
                        <a:pt x="137490" y="487286"/>
                      </a:lnTo>
                      <a:lnTo>
                        <a:pt x="147269" y="486016"/>
                      </a:lnTo>
                      <a:lnTo>
                        <a:pt x="150558" y="484746"/>
                      </a:lnTo>
                      <a:lnTo>
                        <a:pt x="155003" y="480936"/>
                      </a:lnTo>
                      <a:lnTo>
                        <a:pt x="158051" y="479666"/>
                      </a:lnTo>
                      <a:lnTo>
                        <a:pt x="162991" y="475856"/>
                      </a:lnTo>
                      <a:lnTo>
                        <a:pt x="165417" y="473316"/>
                      </a:lnTo>
                      <a:lnTo>
                        <a:pt x="173786" y="468236"/>
                      </a:lnTo>
                      <a:lnTo>
                        <a:pt x="178193" y="461886"/>
                      </a:lnTo>
                      <a:lnTo>
                        <a:pt x="187439" y="452996"/>
                      </a:lnTo>
                      <a:lnTo>
                        <a:pt x="192036" y="449186"/>
                      </a:lnTo>
                      <a:lnTo>
                        <a:pt x="196392" y="444106"/>
                      </a:lnTo>
                      <a:lnTo>
                        <a:pt x="200406" y="439026"/>
                      </a:lnTo>
                      <a:lnTo>
                        <a:pt x="201244" y="437756"/>
                      </a:lnTo>
                      <a:lnTo>
                        <a:pt x="204609" y="432676"/>
                      </a:lnTo>
                      <a:lnTo>
                        <a:pt x="222707" y="409816"/>
                      </a:lnTo>
                      <a:lnTo>
                        <a:pt x="221996" y="408546"/>
                      </a:lnTo>
                      <a:lnTo>
                        <a:pt x="222821" y="408546"/>
                      </a:lnTo>
                      <a:lnTo>
                        <a:pt x="224764" y="406006"/>
                      </a:lnTo>
                      <a:lnTo>
                        <a:pt x="226936" y="404736"/>
                      </a:lnTo>
                      <a:close/>
                    </a:path>
                    <a:path w="349250" h="504189">
                      <a:moveTo>
                        <a:pt x="262928" y="273037"/>
                      </a:moveTo>
                      <a:lnTo>
                        <a:pt x="262763" y="273037"/>
                      </a:lnTo>
                      <a:lnTo>
                        <a:pt x="262928" y="273037"/>
                      </a:lnTo>
                      <a:close/>
                    </a:path>
                    <a:path w="349250" h="504189">
                      <a:moveTo>
                        <a:pt x="296862" y="24523"/>
                      </a:moveTo>
                      <a:lnTo>
                        <a:pt x="279895" y="15049"/>
                      </a:lnTo>
                      <a:lnTo>
                        <a:pt x="291299" y="21437"/>
                      </a:lnTo>
                      <a:lnTo>
                        <a:pt x="296862" y="24523"/>
                      </a:lnTo>
                      <a:close/>
                    </a:path>
                    <a:path w="349250" h="504189">
                      <a:moveTo>
                        <a:pt x="324205" y="50673"/>
                      </a:moveTo>
                      <a:lnTo>
                        <a:pt x="320751" y="48196"/>
                      </a:lnTo>
                      <a:lnTo>
                        <a:pt x="322503" y="49580"/>
                      </a:lnTo>
                      <a:lnTo>
                        <a:pt x="324205" y="50673"/>
                      </a:lnTo>
                      <a:close/>
                    </a:path>
                    <a:path w="349250" h="504189">
                      <a:moveTo>
                        <a:pt x="343065" y="134975"/>
                      </a:moveTo>
                      <a:lnTo>
                        <a:pt x="342874" y="135153"/>
                      </a:lnTo>
                      <a:lnTo>
                        <a:pt x="343065" y="134988"/>
                      </a:lnTo>
                      <a:close/>
                    </a:path>
                    <a:path w="349250" h="504189">
                      <a:moveTo>
                        <a:pt x="349021" y="198107"/>
                      </a:moveTo>
                      <a:lnTo>
                        <a:pt x="348869" y="195567"/>
                      </a:lnTo>
                      <a:lnTo>
                        <a:pt x="348792" y="194297"/>
                      </a:lnTo>
                      <a:lnTo>
                        <a:pt x="348602" y="194297"/>
                      </a:lnTo>
                      <a:lnTo>
                        <a:pt x="347980" y="191757"/>
                      </a:lnTo>
                      <a:lnTo>
                        <a:pt x="346062" y="195567"/>
                      </a:lnTo>
                      <a:lnTo>
                        <a:pt x="346329" y="193027"/>
                      </a:lnTo>
                      <a:lnTo>
                        <a:pt x="347751" y="191757"/>
                      </a:lnTo>
                      <a:lnTo>
                        <a:pt x="347116" y="190487"/>
                      </a:lnTo>
                      <a:lnTo>
                        <a:pt x="346481" y="189217"/>
                      </a:lnTo>
                      <a:lnTo>
                        <a:pt x="346024" y="189217"/>
                      </a:lnTo>
                      <a:lnTo>
                        <a:pt x="345249" y="190487"/>
                      </a:lnTo>
                      <a:lnTo>
                        <a:pt x="345160" y="189217"/>
                      </a:lnTo>
                      <a:lnTo>
                        <a:pt x="346024" y="187947"/>
                      </a:lnTo>
                      <a:lnTo>
                        <a:pt x="345859" y="186677"/>
                      </a:lnTo>
                      <a:lnTo>
                        <a:pt x="345782" y="185407"/>
                      </a:lnTo>
                      <a:lnTo>
                        <a:pt x="345401" y="185407"/>
                      </a:lnTo>
                      <a:lnTo>
                        <a:pt x="345135" y="184137"/>
                      </a:lnTo>
                      <a:lnTo>
                        <a:pt x="344779" y="182867"/>
                      </a:lnTo>
                      <a:lnTo>
                        <a:pt x="344131" y="180327"/>
                      </a:lnTo>
                      <a:lnTo>
                        <a:pt x="344284" y="179057"/>
                      </a:lnTo>
                      <a:lnTo>
                        <a:pt x="344551" y="177787"/>
                      </a:lnTo>
                      <a:lnTo>
                        <a:pt x="344779" y="175247"/>
                      </a:lnTo>
                      <a:lnTo>
                        <a:pt x="345211" y="172707"/>
                      </a:lnTo>
                      <a:lnTo>
                        <a:pt x="344932" y="172707"/>
                      </a:lnTo>
                      <a:lnTo>
                        <a:pt x="343776" y="171437"/>
                      </a:lnTo>
                      <a:lnTo>
                        <a:pt x="343166" y="171437"/>
                      </a:lnTo>
                      <a:lnTo>
                        <a:pt x="343166" y="170167"/>
                      </a:lnTo>
                      <a:lnTo>
                        <a:pt x="344551" y="170167"/>
                      </a:lnTo>
                      <a:lnTo>
                        <a:pt x="344703" y="168897"/>
                      </a:lnTo>
                      <a:lnTo>
                        <a:pt x="345554" y="167855"/>
                      </a:lnTo>
                      <a:lnTo>
                        <a:pt x="345440" y="166357"/>
                      </a:lnTo>
                      <a:lnTo>
                        <a:pt x="345135" y="165087"/>
                      </a:lnTo>
                      <a:lnTo>
                        <a:pt x="344665" y="160007"/>
                      </a:lnTo>
                      <a:lnTo>
                        <a:pt x="344246" y="157467"/>
                      </a:lnTo>
                      <a:lnTo>
                        <a:pt x="344043" y="154927"/>
                      </a:lnTo>
                      <a:lnTo>
                        <a:pt x="343941" y="153657"/>
                      </a:lnTo>
                      <a:lnTo>
                        <a:pt x="343738" y="151117"/>
                      </a:lnTo>
                      <a:lnTo>
                        <a:pt x="343890" y="149847"/>
                      </a:lnTo>
                      <a:lnTo>
                        <a:pt x="342011" y="147307"/>
                      </a:lnTo>
                      <a:lnTo>
                        <a:pt x="343738" y="146037"/>
                      </a:lnTo>
                      <a:lnTo>
                        <a:pt x="343789" y="143497"/>
                      </a:lnTo>
                      <a:lnTo>
                        <a:pt x="343890" y="142227"/>
                      </a:lnTo>
                      <a:lnTo>
                        <a:pt x="346024" y="140957"/>
                      </a:lnTo>
                      <a:lnTo>
                        <a:pt x="343166" y="139687"/>
                      </a:lnTo>
                      <a:lnTo>
                        <a:pt x="345249" y="138417"/>
                      </a:lnTo>
                      <a:lnTo>
                        <a:pt x="344500" y="137147"/>
                      </a:lnTo>
                      <a:lnTo>
                        <a:pt x="343763" y="137147"/>
                      </a:lnTo>
                      <a:lnTo>
                        <a:pt x="343877" y="135877"/>
                      </a:lnTo>
                      <a:lnTo>
                        <a:pt x="343065" y="135877"/>
                      </a:lnTo>
                      <a:lnTo>
                        <a:pt x="341477" y="136880"/>
                      </a:lnTo>
                      <a:lnTo>
                        <a:pt x="342976" y="135890"/>
                      </a:lnTo>
                      <a:lnTo>
                        <a:pt x="342849" y="135890"/>
                      </a:lnTo>
                      <a:lnTo>
                        <a:pt x="342874" y="133350"/>
                      </a:lnTo>
                      <a:lnTo>
                        <a:pt x="341858" y="132080"/>
                      </a:lnTo>
                      <a:lnTo>
                        <a:pt x="339737" y="132080"/>
                      </a:lnTo>
                      <a:lnTo>
                        <a:pt x="337108" y="130810"/>
                      </a:lnTo>
                      <a:lnTo>
                        <a:pt x="336842" y="132080"/>
                      </a:lnTo>
                      <a:lnTo>
                        <a:pt x="334937" y="129540"/>
                      </a:lnTo>
                      <a:lnTo>
                        <a:pt x="333984" y="128270"/>
                      </a:lnTo>
                      <a:lnTo>
                        <a:pt x="332562" y="129540"/>
                      </a:lnTo>
                      <a:lnTo>
                        <a:pt x="333057" y="125730"/>
                      </a:lnTo>
                      <a:lnTo>
                        <a:pt x="330250" y="123190"/>
                      </a:lnTo>
                      <a:lnTo>
                        <a:pt x="330479" y="120650"/>
                      </a:lnTo>
                      <a:lnTo>
                        <a:pt x="330517" y="119380"/>
                      </a:lnTo>
                      <a:lnTo>
                        <a:pt x="331673" y="118110"/>
                      </a:lnTo>
                      <a:lnTo>
                        <a:pt x="331165" y="115570"/>
                      </a:lnTo>
                      <a:lnTo>
                        <a:pt x="329399" y="114300"/>
                      </a:lnTo>
                      <a:lnTo>
                        <a:pt x="327583" y="111760"/>
                      </a:lnTo>
                      <a:lnTo>
                        <a:pt x="327583" y="109220"/>
                      </a:lnTo>
                      <a:lnTo>
                        <a:pt x="326885" y="105410"/>
                      </a:lnTo>
                      <a:lnTo>
                        <a:pt x="326390" y="104140"/>
                      </a:lnTo>
                      <a:lnTo>
                        <a:pt x="329399" y="99060"/>
                      </a:lnTo>
                      <a:lnTo>
                        <a:pt x="328168" y="97790"/>
                      </a:lnTo>
                      <a:lnTo>
                        <a:pt x="327317" y="93980"/>
                      </a:lnTo>
                      <a:lnTo>
                        <a:pt x="326390" y="90170"/>
                      </a:lnTo>
                      <a:lnTo>
                        <a:pt x="328282" y="88900"/>
                      </a:lnTo>
                      <a:lnTo>
                        <a:pt x="330936" y="83820"/>
                      </a:lnTo>
                      <a:lnTo>
                        <a:pt x="321868" y="77470"/>
                      </a:lnTo>
                      <a:lnTo>
                        <a:pt x="320052" y="76200"/>
                      </a:lnTo>
                      <a:lnTo>
                        <a:pt x="319544" y="74256"/>
                      </a:lnTo>
                      <a:lnTo>
                        <a:pt x="319544" y="146113"/>
                      </a:lnTo>
                      <a:lnTo>
                        <a:pt x="316865" y="148539"/>
                      </a:lnTo>
                      <a:lnTo>
                        <a:pt x="317881" y="147320"/>
                      </a:lnTo>
                      <a:lnTo>
                        <a:pt x="319544" y="146113"/>
                      </a:lnTo>
                      <a:lnTo>
                        <a:pt x="319544" y="74256"/>
                      </a:lnTo>
                      <a:lnTo>
                        <a:pt x="319062" y="72390"/>
                      </a:lnTo>
                      <a:lnTo>
                        <a:pt x="319862" y="69850"/>
                      </a:lnTo>
                      <a:lnTo>
                        <a:pt x="320268" y="68580"/>
                      </a:lnTo>
                      <a:lnTo>
                        <a:pt x="324256" y="55880"/>
                      </a:lnTo>
                      <a:lnTo>
                        <a:pt x="324853" y="54610"/>
                      </a:lnTo>
                      <a:lnTo>
                        <a:pt x="325107" y="53340"/>
                      </a:lnTo>
                      <a:lnTo>
                        <a:pt x="326224" y="53340"/>
                      </a:lnTo>
                      <a:lnTo>
                        <a:pt x="325462" y="52070"/>
                      </a:lnTo>
                      <a:lnTo>
                        <a:pt x="325107" y="52070"/>
                      </a:lnTo>
                      <a:lnTo>
                        <a:pt x="324205" y="50800"/>
                      </a:lnTo>
                      <a:lnTo>
                        <a:pt x="322516" y="50800"/>
                      </a:lnTo>
                      <a:lnTo>
                        <a:pt x="320751" y="48260"/>
                      </a:lnTo>
                      <a:lnTo>
                        <a:pt x="318300" y="46990"/>
                      </a:lnTo>
                      <a:lnTo>
                        <a:pt x="316331" y="45720"/>
                      </a:lnTo>
                      <a:lnTo>
                        <a:pt x="315099" y="44450"/>
                      </a:lnTo>
                      <a:lnTo>
                        <a:pt x="307047" y="39370"/>
                      </a:lnTo>
                      <a:lnTo>
                        <a:pt x="303339" y="35560"/>
                      </a:lnTo>
                      <a:lnTo>
                        <a:pt x="302907" y="35560"/>
                      </a:lnTo>
                      <a:lnTo>
                        <a:pt x="302831" y="34290"/>
                      </a:lnTo>
                      <a:lnTo>
                        <a:pt x="303288" y="33020"/>
                      </a:lnTo>
                      <a:lnTo>
                        <a:pt x="303415" y="31750"/>
                      </a:lnTo>
                      <a:lnTo>
                        <a:pt x="303466" y="30480"/>
                      </a:lnTo>
                      <a:lnTo>
                        <a:pt x="303022" y="30480"/>
                      </a:lnTo>
                      <a:lnTo>
                        <a:pt x="302323" y="29210"/>
                      </a:lnTo>
                      <a:lnTo>
                        <a:pt x="299580" y="27940"/>
                      </a:lnTo>
                      <a:lnTo>
                        <a:pt x="298297" y="25400"/>
                      </a:lnTo>
                      <a:lnTo>
                        <a:pt x="289788" y="20815"/>
                      </a:lnTo>
                      <a:lnTo>
                        <a:pt x="289788" y="153670"/>
                      </a:lnTo>
                      <a:lnTo>
                        <a:pt x="286143" y="154927"/>
                      </a:lnTo>
                      <a:lnTo>
                        <a:pt x="283286" y="152425"/>
                      </a:lnTo>
                      <a:lnTo>
                        <a:pt x="286131" y="153670"/>
                      </a:lnTo>
                      <a:lnTo>
                        <a:pt x="289788" y="153670"/>
                      </a:lnTo>
                      <a:lnTo>
                        <a:pt x="289788" y="20815"/>
                      </a:lnTo>
                      <a:lnTo>
                        <a:pt x="277672" y="14274"/>
                      </a:lnTo>
                      <a:lnTo>
                        <a:pt x="277672" y="200647"/>
                      </a:lnTo>
                      <a:lnTo>
                        <a:pt x="277431" y="201917"/>
                      </a:lnTo>
                      <a:lnTo>
                        <a:pt x="277393" y="202222"/>
                      </a:lnTo>
                      <a:lnTo>
                        <a:pt x="277393" y="206997"/>
                      </a:lnTo>
                      <a:lnTo>
                        <a:pt x="277355" y="209067"/>
                      </a:lnTo>
                      <a:lnTo>
                        <a:pt x="277355" y="209537"/>
                      </a:lnTo>
                      <a:lnTo>
                        <a:pt x="276758" y="215887"/>
                      </a:lnTo>
                      <a:lnTo>
                        <a:pt x="276186" y="217157"/>
                      </a:lnTo>
                      <a:lnTo>
                        <a:pt x="275374" y="217157"/>
                      </a:lnTo>
                      <a:lnTo>
                        <a:pt x="274637" y="218427"/>
                      </a:lnTo>
                      <a:lnTo>
                        <a:pt x="270535" y="218427"/>
                      </a:lnTo>
                      <a:lnTo>
                        <a:pt x="270217" y="219697"/>
                      </a:lnTo>
                      <a:lnTo>
                        <a:pt x="269468" y="219697"/>
                      </a:lnTo>
                      <a:lnTo>
                        <a:pt x="269290" y="220814"/>
                      </a:lnTo>
                      <a:lnTo>
                        <a:pt x="269290" y="232397"/>
                      </a:lnTo>
                      <a:lnTo>
                        <a:pt x="266103" y="232397"/>
                      </a:lnTo>
                      <a:lnTo>
                        <a:pt x="265696" y="229857"/>
                      </a:lnTo>
                      <a:lnTo>
                        <a:pt x="265544" y="228587"/>
                      </a:lnTo>
                      <a:lnTo>
                        <a:pt x="265176" y="228587"/>
                      </a:lnTo>
                      <a:lnTo>
                        <a:pt x="265112" y="227330"/>
                      </a:lnTo>
                      <a:lnTo>
                        <a:pt x="265544" y="228104"/>
                      </a:lnTo>
                      <a:lnTo>
                        <a:pt x="265595" y="228955"/>
                      </a:lnTo>
                      <a:lnTo>
                        <a:pt x="265696" y="229793"/>
                      </a:lnTo>
                      <a:lnTo>
                        <a:pt x="266103" y="231355"/>
                      </a:lnTo>
                      <a:lnTo>
                        <a:pt x="266687" y="232016"/>
                      </a:lnTo>
                      <a:lnTo>
                        <a:pt x="269227" y="232206"/>
                      </a:lnTo>
                      <a:lnTo>
                        <a:pt x="269290" y="232397"/>
                      </a:lnTo>
                      <a:lnTo>
                        <a:pt x="269290" y="220814"/>
                      </a:lnTo>
                      <a:lnTo>
                        <a:pt x="269265" y="220967"/>
                      </a:lnTo>
                      <a:lnTo>
                        <a:pt x="268503" y="222237"/>
                      </a:lnTo>
                      <a:lnTo>
                        <a:pt x="267525" y="223507"/>
                      </a:lnTo>
                      <a:lnTo>
                        <a:pt x="267169" y="223507"/>
                      </a:lnTo>
                      <a:lnTo>
                        <a:pt x="267119" y="224459"/>
                      </a:lnTo>
                      <a:lnTo>
                        <a:pt x="266979" y="224142"/>
                      </a:lnTo>
                      <a:lnTo>
                        <a:pt x="267106" y="223558"/>
                      </a:lnTo>
                      <a:lnTo>
                        <a:pt x="267208" y="223418"/>
                      </a:lnTo>
                      <a:lnTo>
                        <a:pt x="267512" y="222719"/>
                      </a:lnTo>
                      <a:lnTo>
                        <a:pt x="268503" y="221030"/>
                      </a:lnTo>
                      <a:lnTo>
                        <a:pt x="269265" y="219798"/>
                      </a:lnTo>
                      <a:lnTo>
                        <a:pt x="269468" y="219265"/>
                      </a:lnTo>
                      <a:lnTo>
                        <a:pt x="269684" y="218922"/>
                      </a:lnTo>
                      <a:lnTo>
                        <a:pt x="270002" y="218681"/>
                      </a:lnTo>
                      <a:lnTo>
                        <a:pt x="270103" y="218528"/>
                      </a:lnTo>
                      <a:lnTo>
                        <a:pt x="270687" y="218300"/>
                      </a:lnTo>
                      <a:lnTo>
                        <a:pt x="271145" y="218122"/>
                      </a:lnTo>
                      <a:lnTo>
                        <a:pt x="273672" y="217322"/>
                      </a:lnTo>
                      <a:lnTo>
                        <a:pt x="274624" y="217170"/>
                      </a:lnTo>
                      <a:lnTo>
                        <a:pt x="275374" y="216827"/>
                      </a:lnTo>
                      <a:lnTo>
                        <a:pt x="276174" y="216319"/>
                      </a:lnTo>
                      <a:lnTo>
                        <a:pt x="276758" y="215607"/>
                      </a:lnTo>
                      <a:lnTo>
                        <a:pt x="277355" y="209067"/>
                      </a:lnTo>
                      <a:lnTo>
                        <a:pt x="277380" y="206997"/>
                      </a:lnTo>
                      <a:lnTo>
                        <a:pt x="277393" y="202222"/>
                      </a:lnTo>
                      <a:lnTo>
                        <a:pt x="277266" y="203187"/>
                      </a:lnTo>
                      <a:lnTo>
                        <a:pt x="277114" y="203187"/>
                      </a:lnTo>
                      <a:lnTo>
                        <a:pt x="277101" y="203619"/>
                      </a:lnTo>
                      <a:lnTo>
                        <a:pt x="277101" y="202933"/>
                      </a:lnTo>
                      <a:lnTo>
                        <a:pt x="277266" y="202336"/>
                      </a:lnTo>
                      <a:lnTo>
                        <a:pt x="277431" y="201053"/>
                      </a:lnTo>
                      <a:lnTo>
                        <a:pt x="277647" y="199923"/>
                      </a:lnTo>
                      <a:lnTo>
                        <a:pt x="277634" y="197802"/>
                      </a:lnTo>
                      <a:lnTo>
                        <a:pt x="277672" y="200647"/>
                      </a:lnTo>
                      <a:lnTo>
                        <a:pt x="277672" y="14274"/>
                      </a:lnTo>
                      <a:lnTo>
                        <a:pt x="274853" y="12750"/>
                      </a:lnTo>
                      <a:lnTo>
                        <a:pt x="274853" y="151130"/>
                      </a:lnTo>
                      <a:lnTo>
                        <a:pt x="274167" y="152387"/>
                      </a:lnTo>
                      <a:lnTo>
                        <a:pt x="274497" y="151130"/>
                      </a:lnTo>
                      <a:lnTo>
                        <a:pt x="274853" y="151130"/>
                      </a:lnTo>
                      <a:lnTo>
                        <a:pt x="274853" y="12750"/>
                      </a:lnTo>
                      <a:lnTo>
                        <a:pt x="272427" y="11430"/>
                      </a:lnTo>
                      <a:lnTo>
                        <a:pt x="269189" y="9690"/>
                      </a:lnTo>
                      <a:lnTo>
                        <a:pt x="269189" y="191046"/>
                      </a:lnTo>
                      <a:lnTo>
                        <a:pt x="267982" y="190512"/>
                      </a:lnTo>
                      <a:lnTo>
                        <a:pt x="267157" y="190068"/>
                      </a:lnTo>
                      <a:lnTo>
                        <a:pt x="265823" y="189344"/>
                      </a:lnTo>
                      <a:lnTo>
                        <a:pt x="265099" y="188582"/>
                      </a:lnTo>
                      <a:lnTo>
                        <a:pt x="265099" y="227304"/>
                      </a:lnTo>
                      <a:lnTo>
                        <a:pt x="264426" y="227317"/>
                      </a:lnTo>
                      <a:lnTo>
                        <a:pt x="262839" y="226047"/>
                      </a:lnTo>
                      <a:lnTo>
                        <a:pt x="260756" y="223507"/>
                      </a:lnTo>
                      <a:lnTo>
                        <a:pt x="259257" y="222237"/>
                      </a:lnTo>
                      <a:lnTo>
                        <a:pt x="257556" y="220967"/>
                      </a:lnTo>
                      <a:lnTo>
                        <a:pt x="257302" y="219697"/>
                      </a:lnTo>
                      <a:lnTo>
                        <a:pt x="256997" y="219697"/>
                      </a:lnTo>
                      <a:lnTo>
                        <a:pt x="255562" y="217157"/>
                      </a:lnTo>
                      <a:lnTo>
                        <a:pt x="253238" y="214617"/>
                      </a:lnTo>
                      <a:lnTo>
                        <a:pt x="253746" y="214274"/>
                      </a:lnTo>
                      <a:lnTo>
                        <a:pt x="255562" y="216674"/>
                      </a:lnTo>
                      <a:lnTo>
                        <a:pt x="256997" y="219049"/>
                      </a:lnTo>
                      <a:lnTo>
                        <a:pt x="257302" y="219379"/>
                      </a:lnTo>
                      <a:lnTo>
                        <a:pt x="257771" y="219989"/>
                      </a:lnTo>
                      <a:lnTo>
                        <a:pt x="259245" y="221551"/>
                      </a:lnTo>
                      <a:lnTo>
                        <a:pt x="260756" y="222897"/>
                      </a:lnTo>
                      <a:lnTo>
                        <a:pt x="262839" y="224917"/>
                      </a:lnTo>
                      <a:lnTo>
                        <a:pt x="264414" y="226098"/>
                      </a:lnTo>
                      <a:lnTo>
                        <a:pt x="264972" y="227050"/>
                      </a:lnTo>
                      <a:lnTo>
                        <a:pt x="265099" y="227304"/>
                      </a:lnTo>
                      <a:lnTo>
                        <a:pt x="265099" y="188582"/>
                      </a:lnTo>
                      <a:lnTo>
                        <a:pt x="264375" y="187820"/>
                      </a:lnTo>
                      <a:lnTo>
                        <a:pt x="264223" y="186702"/>
                      </a:lnTo>
                      <a:lnTo>
                        <a:pt x="263334" y="186270"/>
                      </a:lnTo>
                      <a:lnTo>
                        <a:pt x="262597" y="187540"/>
                      </a:lnTo>
                      <a:lnTo>
                        <a:pt x="262102" y="188798"/>
                      </a:lnTo>
                      <a:lnTo>
                        <a:pt x="261531" y="190068"/>
                      </a:lnTo>
                      <a:lnTo>
                        <a:pt x="260997" y="189534"/>
                      </a:lnTo>
                      <a:lnTo>
                        <a:pt x="259905" y="188760"/>
                      </a:lnTo>
                      <a:lnTo>
                        <a:pt x="259905" y="202209"/>
                      </a:lnTo>
                      <a:lnTo>
                        <a:pt x="259715" y="202590"/>
                      </a:lnTo>
                      <a:lnTo>
                        <a:pt x="259118" y="200647"/>
                      </a:lnTo>
                      <a:lnTo>
                        <a:pt x="258673" y="198107"/>
                      </a:lnTo>
                      <a:lnTo>
                        <a:pt x="257378" y="195567"/>
                      </a:lnTo>
                      <a:lnTo>
                        <a:pt x="257009" y="194297"/>
                      </a:lnTo>
                      <a:lnTo>
                        <a:pt x="256286" y="191757"/>
                      </a:lnTo>
                      <a:lnTo>
                        <a:pt x="253847" y="193027"/>
                      </a:lnTo>
                      <a:lnTo>
                        <a:pt x="251333" y="194297"/>
                      </a:lnTo>
                      <a:lnTo>
                        <a:pt x="245757" y="194297"/>
                      </a:lnTo>
                      <a:lnTo>
                        <a:pt x="244856" y="194297"/>
                      </a:lnTo>
                      <a:lnTo>
                        <a:pt x="242557" y="190487"/>
                      </a:lnTo>
                      <a:lnTo>
                        <a:pt x="240880" y="188010"/>
                      </a:lnTo>
                      <a:lnTo>
                        <a:pt x="242557" y="189890"/>
                      </a:lnTo>
                      <a:lnTo>
                        <a:pt x="244856" y="193344"/>
                      </a:lnTo>
                      <a:lnTo>
                        <a:pt x="245491" y="194170"/>
                      </a:lnTo>
                      <a:lnTo>
                        <a:pt x="245757" y="194297"/>
                      </a:lnTo>
                      <a:lnTo>
                        <a:pt x="251333" y="193167"/>
                      </a:lnTo>
                      <a:lnTo>
                        <a:pt x="253847" y="192392"/>
                      </a:lnTo>
                      <a:lnTo>
                        <a:pt x="256286" y="191668"/>
                      </a:lnTo>
                      <a:lnTo>
                        <a:pt x="257416" y="194906"/>
                      </a:lnTo>
                      <a:lnTo>
                        <a:pt x="258660" y="197370"/>
                      </a:lnTo>
                      <a:lnTo>
                        <a:pt x="259118" y="199923"/>
                      </a:lnTo>
                      <a:lnTo>
                        <a:pt x="259905" y="202209"/>
                      </a:lnTo>
                      <a:lnTo>
                        <a:pt x="259905" y="188760"/>
                      </a:lnTo>
                      <a:lnTo>
                        <a:pt x="258597" y="187820"/>
                      </a:lnTo>
                      <a:lnTo>
                        <a:pt x="258978" y="185839"/>
                      </a:lnTo>
                      <a:lnTo>
                        <a:pt x="259130" y="185051"/>
                      </a:lnTo>
                      <a:lnTo>
                        <a:pt x="260350" y="182575"/>
                      </a:lnTo>
                      <a:lnTo>
                        <a:pt x="257530" y="179641"/>
                      </a:lnTo>
                      <a:lnTo>
                        <a:pt x="240830" y="179641"/>
                      </a:lnTo>
                      <a:lnTo>
                        <a:pt x="240830" y="187947"/>
                      </a:lnTo>
                      <a:lnTo>
                        <a:pt x="240118" y="187947"/>
                      </a:lnTo>
                      <a:lnTo>
                        <a:pt x="239687" y="186677"/>
                      </a:lnTo>
                      <a:lnTo>
                        <a:pt x="239445" y="186766"/>
                      </a:lnTo>
                      <a:lnTo>
                        <a:pt x="239280" y="186207"/>
                      </a:lnTo>
                      <a:lnTo>
                        <a:pt x="237477" y="186207"/>
                      </a:lnTo>
                      <a:lnTo>
                        <a:pt x="237477" y="187401"/>
                      </a:lnTo>
                      <a:lnTo>
                        <a:pt x="237210" y="187477"/>
                      </a:lnTo>
                      <a:lnTo>
                        <a:pt x="237185" y="273037"/>
                      </a:lnTo>
                      <a:lnTo>
                        <a:pt x="236524" y="275577"/>
                      </a:lnTo>
                      <a:lnTo>
                        <a:pt x="235889" y="276847"/>
                      </a:lnTo>
                      <a:lnTo>
                        <a:pt x="235077" y="278117"/>
                      </a:lnTo>
                      <a:lnTo>
                        <a:pt x="234175" y="280657"/>
                      </a:lnTo>
                      <a:lnTo>
                        <a:pt x="233197" y="281927"/>
                      </a:lnTo>
                      <a:lnTo>
                        <a:pt x="232003" y="283197"/>
                      </a:lnTo>
                      <a:lnTo>
                        <a:pt x="230657" y="283197"/>
                      </a:lnTo>
                      <a:lnTo>
                        <a:pt x="229311" y="284467"/>
                      </a:lnTo>
                      <a:lnTo>
                        <a:pt x="228955" y="285737"/>
                      </a:lnTo>
                      <a:lnTo>
                        <a:pt x="228688" y="287007"/>
                      </a:lnTo>
                      <a:lnTo>
                        <a:pt x="228244" y="288277"/>
                      </a:lnTo>
                      <a:lnTo>
                        <a:pt x="227507" y="290817"/>
                      </a:lnTo>
                      <a:lnTo>
                        <a:pt x="227596" y="293357"/>
                      </a:lnTo>
                      <a:lnTo>
                        <a:pt x="228600" y="294627"/>
                      </a:lnTo>
                      <a:lnTo>
                        <a:pt x="229196" y="295897"/>
                      </a:lnTo>
                      <a:lnTo>
                        <a:pt x="228346" y="295897"/>
                      </a:lnTo>
                      <a:lnTo>
                        <a:pt x="227558" y="294627"/>
                      </a:lnTo>
                      <a:lnTo>
                        <a:pt x="225971" y="297167"/>
                      </a:lnTo>
                      <a:lnTo>
                        <a:pt x="223723" y="298437"/>
                      </a:lnTo>
                      <a:lnTo>
                        <a:pt x="222453" y="300316"/>
                      </a:lnTo>
                      <a:lnTo>
                        <a:pt x="222453" y="360667"/>
                      </a:lnTo>
                      <a:lnTo>
                        <a:pt x="222046" y="361937"/>
                      </a:lnTo>
                      <a:lnTo>
                        <a:pt x="221957" y="363207"/>
                      </a:lnTo>
                      <a:lnTo>
                        <a:pt x="221907" y="364477"/>
                      </a:lnTo>
                      <a:lnTo>
                        <a:pt x="221792" y="365366"/>
                      </a:lnTo>
                      <a:lnTo>
                        <a:pt x="221907" y="364096"/>
                      </a:lnTo>
                      <a:lnTo>
                        <a:pt x="221957" y="362826"/>
                      </a:lnTo>
                      <a:lnTo>
                        <a:pt x="222046" y="361556"/>
                      </a:lnTo>
                      <a:lnTo>
                        <a:pt x="222415" y="360387"/>
                      </a:lnTo>
                      <a:lnTo>
                        <a:pt x="222453" y="360667"/>
                      </a:lnTo>
                      <a:lnTo>
                        <a:pt x="222453" y="300316"/>
                      </a:lnTo>
                      <a:lnTo>
                        <a:pt x="222313" y="300520"/>
                      </a:lnTo>
                      <a:lnTo>
                        <a:pt x="222313" y="359016"/>
                      </a:lnTo>
                      <a:lnTo>
                        <a:pt x="222288" y="357797"/>
                      </a:lnTo>
                      <a:lnTo>
                        <a:pt x="222300" y="358127"/>
                      </a:lnTo>
                      <a:lnTo>
                        <a:pt x="222313" y="359016"/>
                      </a:lnTo>
                      <a:lnTo>
                        <a:pt x="222313" y="300520"/>
                      </a:lnTo>
                      <a:lnTo>
                        <a:pt x="222275" y="347967"/>
                      </a:lnTo>
                      <a:lnTo>
                        <a:pt x="222275" y="348919"/>
                      </a:lnTo>
                      <a:lnTo>
                        <a:pt x="221957" y="346316"/>
                      </a:lnTo>
                      <a:lnTo>
                        <a:pt x="221602" y="342506"/>
                      </a:lnTo>
                      <a:lnTo>
                        <a:pt x="221488" y="338696"/>
                      </a:lnTo>
                      <a:lnTo>
                        <a:pt x="221449" y="336537"/>
                      </a:lnTo>
                      <a:lnTo>
                        <a:pt x="221488" y="338696"/>
                      </a:lnTo>
                      <a:lnTo>
                        <a:pt x="221500" y="339077"/>
                      </a:lnTo>
                      <a:lnTo>
                        <a:pt x="221615" y="341617"/>
                      </a:lnTo>
                      <a:lnTo>
                        <a:pt x="221957" y="345427"/>
                      </a:lnTo>
                      <a:lnTo>
                        <a:pt x="222275" y="347967"/>
                      </a:lnTo>
                      <a:lnTo>
                        <a:pt x="222275" y="300570"/>
                      </a:lnTo>
                      <a:lnTo>
                        <a:pt x="221132" y="302247"/>
                      </a:lnTo>
                      <a:lnTo>
                        <a:pt x="215709" y="308241"/>
                      </a:lnTo>
                      <a:lnTo>
                        <a:pt x="215709" y="322567"/>
                      </a:lnTo>
                      <a:lnTo>
                        <a:pt x="215696" y="323443"/>
                      </a:lnTo>
                      <a:lnTo>
                        <a:pt x="215595" y="322567"/>
                      </a:lnTo>
                      <a:lnTo>
                        <a:pt x="215709" y="308241"/>
                      </a:lnTo>
                      <a:lnTo>
                        <a:pt x="215392" y="308597"/>
                      </a:lnTo>
                      <a:lnTo>
                        <a:pt x="215392" y="321424"/>
                      </a:lnTo>
                      <a:lnTo>
                        <a:pt x="215023" y="319646"/>
                      </a:lnTo>
                      <a:lnTo>
                        <a:pt x="213931" y="316979"/>
                      </a:lnTo>
                      <a:lnTo>
                        <a:pt x="215023" y="318757"/>
                      </a:lnTo>
                      <a:lnTo>
                        <a:pt x="215392" y="321424"/>
                      </a:lnTo>
                      <a:lnTo>
                        <a:pt x="215392" y="308597"/>
                      </a:lnTo>
                      <a:lnTo>
                        <a:pt x="214236" y="309867"/>
                      </a:lnTo>
                      <a:lnTo>
                        <a:pt x="212915" y="309867"/>
                      </a:lnTo>
                      <a:lnTo>
                        <a:pt x="212420" y="311137"/>
                      </a:lnTo>
                      <a:lnTo>
                        <a:pt x="212217" y="311137"/>
                      </a:lnTo>
                      <a:lnTo>
                        <a:pt x="213106" y="314744"/>
                      </a:lnTo>
                      <a:lnTo>
                        <a:pt x="212204" y="312026"/>
                      </a:lnTo>
                      <a:lnTo>
                        <a:pt x="212191" y="310756"/>
                      </a:lnTo>
                      <a:lnTo>
                        <a:pt x="210972" y="310756"/>
                      </a:lnTo>
                      <a:lnTo>
                        <a:pt x="209740" y="309486"/>
                      </a:lnTo>
                      <a:lnTo>
                        <a:pt x="205968" y="309486"/>
                      </a:lnTo>
                      <a:lnTo>
                        <a:pt x="200787" y="308216"/>
                      </a:lnTo>
                      <a:lnTo>
                        <a:pt x="180162" y="308216"/>
                      </a:lnTo>
                      <a:lnTo>
                        <a:pt x="179285" y="309486"/>
                      </a:lnTo>
                      <a:lnTo>
                        <a:pt x="178168" y="312026"/>
                      </a:lnTo>
                      <a:lnTo>
                        <a:pt x="176339" y="312026"/>
                      </a:lnTo>
                      <a:lnTo>
                        <a:pt x="175577" y="313296"/>
                      </a:lnTo>
                      <a:lnTo>
                        <a:pt x="170484" y="313296"/>
                      </a:lnTo>
                      <a:lnTo>
                        <a:pt x="168719" y="314566"/>
                      </a:lnTo>
                      <a:lnTo>
                        <a:pt x="167208" y="317106"/>
                      </a:lnTo>
                      <a:lnTo>
                        <a:pt x="164058" y="320916"/>
                      </a:lnTo>
                      <a:lnTo>
                        <a:pt x="162026" y="322186"/>
                      </a:lnTo>
                      <a:lnTo>
                        <a:pt x="156641" y="325996"/>
                      </a:lnTo>
                      <a:lnTo>
                        <a:pt x="150533" y="329806"/>
                      </a:lnTo>
                      <a:lnTo>
                        <a:pt x="149618" y="333616"/>
                      </a:lnTo>
                      <a:lnTo>
                        <a:pt x="149428" y="334886"/>
                      </a:lnTo>
                      <a:lnTo>
                        <a:pt x="149110" y="336156"/>
                      </a:lnTo>
                      <a:lnTo>
                        <a:pt x="148996" y="337426"/>
                      </a:lnTo>
                      <a:lnTo>
                        <a:pt x="148412" y="338696"/>
                      </a:lnTo>
                      <a:lnTo>
                        <a:pt x="147904" y="339966"/>
                      </a:lnTo>
                      <a:lnTo>
                        <a:pt x="147027" y="339966"/>
                      </a:lnTo>
                      <a:lnTo>
                        <a:pt x="146227" y="341236"/>
                      </a:lnTo>
                      <a:lnTo>
                        <a:pt x="146088" y="341236"/>
                      </a:lnTo>
                      <a:lnTo>
                        <a:pt x="144729" y="342506"/>
                      </a:lnTo>
                      <a:lnTo>
                        <a:pt x="142494" y="345046"/>
                      </a:lnTo>
                      <a:lnTo>
                        <a:pt x="138061" y="345046"/>
                      </a:lnTo>
                      <a:lnTo>
                        <a:pt x="135153" y="346316"/>
                      </a:lnTo>
                      <a:lnTo>
                        <a:pt x="134429" y="346316"/>
                      </a:lnTo>
                      <a:lnTo>
                        <a:pt x="134378" y="348221"/>
                      </a:lnTo>
                      <a:lnTo>
                        <a:pt x="134366" y="348856"/>
                      </a:lnTo>
                      <a:lnTo>
                        <a:pt x="133667" y="352666"/>
                      </a:lnTo>
                      <a:lnTo>
                        <a:pt x="132740" y="355206"/>
                      </a:lnTo>
                      <a:lnTo>
                        <a:pt x="131127" y="357746"/>
                      </a:lnTo>
                      <a:lnTo>
                        <a:pt x="130873" y="357746"/>
                      </a:lnTo>
                      <a:lnTo>
                        <a:pt x="130606" y="359016"/>
                      </a:lnTo>
                      <a:lnTo>
                        <a:pt x="129120" y="360286"/>
                      </a:lnTo>
                      <a:lnTo>
                        <a:pt x="128358" y="361556"/>
                      </a:lnTo>
                      <a:lnTo>
                        <a:pt x="126072" y="361556"/>
                      </a:lnTo>
                      <a:lnTo>
                        <a:pt x="123990" y="362826"/>
                      </a:lnTo>
                      <a:lnTo>
                        <a:pt x="115430" y="362826"/>
                      </a:lnTo>
                      <a:lnTo>
                        <a:pt x="107734" y="359016"/>
                      </a:lnTo>
                      <a:lnTo>
                        <a:pt x="105562" y="359016"/>
                      </a:lnTo>
                      <a:lnTo>
                        <a:pt x="102565" y="356476"/>
                      </a:lnTo>
                      <a:lnTo>
                        <a:pt x="99656" y="355206"/>
                      </a:lnTo>
                      <a:lnTo>
                        <a:pt x="97497" y="355206"/>
                      </a:lnTo>
                      <a:lnTo>
                        <a:pt x="95313" y="353936"/>
                      </a:lnTo>
                      <a:lnTo>
                        <a:pt x="93002" y="355206"/>
                      </a:lnTo>
                      <a:lnTo>
                        <a:pt x="91325" y="357746"/>
                      </a:lnTo>
                      <a:lnTo>
                        <a:pt x="90970" y="357746"/>
                      </a:lnTo>
                      <a:lnTo>
                        <a:pt x="90932" y="359016"/>
                      </a:lnTo>
                      <a:lnTo>
                        <a:pt x="90728" y="359016"/>
                      </a:lnTo>
                      <a:lnTo>
                        <a:pt x="90728" y="360286"/>
                      </a:lnTo>
                      <a:lnTo>
                        <a:pt x="90500" y="361556"/>
                      </a:lnTo>
                      <a:lnTo>
                        <a:pt x="89928" y="361556"/>
                      </a:lnTo>
                      <a:lnTo>
                        <a:pt x="89928" y="362826"/>
                      </a:lnTo>
                      <a:lnTo>
                        <a:pt x="89789" y="364096"/>
                      </a:lnTo>
                      <a:lnTo>
                        <a:pt x="89560" y="364096"/>
                      </a:lnTo>
                      <a:lnTo>
                        <a:pt x="89560" y="365366"/>
                      </a:lnTo>
                      <a:lnTo>
                        <a:pt x="88239" y="366636"/>
                      </a:lnTo>
                      <a:lnTo>
                        <a:pt x="87820" y="367906"/>
                      </a:lnTo>
                      <a:lnTo>
                        <a:pt x="87452" y="367906"/>
                      </a:lnTo>
                      <a:lnTo>
                        <a:pt x="79527" y="374256"/>
                      </a:lnTo>
                      <a:lnTo>
                        <a:pt x="79044" y="375526"/>
                      </a:lnTo>
                      <a:lnTo>
                        <a:pt x="78206" y="375526"/>
                      </a:lnTo>
                      <a:lnTo>
                        <a:pt x="76746" y="376796"/>
                      </a:lnTo>
                      <a:lnTo>
                        <a:pt x="75501" y="379336"/>
                      </a:lnTo>
                      <a:lnTo>
                        <a:pt x="71767" y="379336"/>
                      </a:lnTo>
                      <a:lnTo>
                        <a:pt x="70764" y="378066"/>
                      </a:lnTo>
                      <a:lnTo>
                        <a:pt x="68694" y="378066"/>
                      </a:lnTo>
                      <a:lnTo>
                        <a:pt x="66382" y="379336"/>
                      </a:lnTo>
                      <a:lnTo>
                        <a:pt x="65633" y="378066"/>
                      </a:lnTo>
                      <a:lnTo>
                        <a:pt x="62395" y="378066"/>
                      </a:lnTo>
                      <a:lnTo>
                        <a:pt x="61036" y="379336"/>
                      </a:lnTo>
                      <a:lnTo>
                        <a:pt x="60096" y="379336"/>
                      </a:lnTo>
                      <a:lnTo>
                        <a:pt x="59715" y="376796"/>
                      </a:lnTo>
                      <a:lnTo>
                        <a:pt x="59588" y="375526"/>
                      </a:lnTo>
                      <a:lnTo>
                        <a:pt x="59626" y="372986"/>
                      </a:lnTo>
                      <a:lnTo>
                        <a:pt x="59626" y="375691"/>
                      </a:lnTo>
                      <a:lnTo>
                        <a:pt x="59728" y="376656"/>
                      </a:lnTo>
                      <a:lnTo>
                        <a:pt x="60109" y="378282"/>
                      </a:lnTo>
                      <a:lnTo>
                        <a:pt x="60325" y="378891"/>
                      </a:lnTo>
                      <a:lnTo>
                        <a:pt x="60680" y="378637"/>
                      </a:lnTo>
                      <a:lnTo>
                        <a:pt x="61810" y="378002"/>
                      </a:lnTo>
                      <a:lnTo>
                        <a:pt x="62395" y="377710"/>
                      </a:lnTo>
                      <a:lnTo>
                        <a:pt x="63182" y="377482"/>
                      </a:lnTo>
                      <a:lnTo>
                        <a:pt x="65633" y="377863"/>
                      </a:lnTo>
                      <a:lnTo>
                        <a:pt x="66382" y="378333"/>
                      </a:lnTo>
                      <a:lnTo>
                        <a:pt x="68694" y="378002"/>
                      </a:lnTo>
                      <a:lnTo>
                        <a:pt x="69215" y="378015"/>
                      </a:lnTo>
                      <a:lnTo>
                        <a:pt x="69723" y="378053"/>
                      </a:lnTo>
                      <a:lnTo>
                        <a:pt x="70764" y="378002"/>
                      </a:lnTo>
                      <a:lnTo>
                        <a:pt x="71780" y="378256"/>
                      </a:lnTo>
                      <a:lnTo>
                        <a:pt x="72758" y="378371"/>
                      </a:lnTo>
                      <a:lnTo>
                        <a:pt x="73113" y="378383"/>
                      </a:lnTo>
                      <a:lnTo>
                        <a:pt x="73558" y="378383"/>
                      </a:lnTo>
                      <a:lnTo>
                        <a:pt x="75501" y="378256"/>
                      </a:lnTo>
                      <a:lnTo>
                        <a:pt x="75692" y="378002"/>
                      </a:lnTo>
                      <a:lnTo>
                        <a:pt x="76098" y="377482"/>
                      </a:lnTo>
                      <a:lnTo>
                        <a:pt x="76746" y="376656"/>
                      </a:lnTo>
                      <a:lnTo>
                        <a:pt x="78574" y="375081"/>
                      </a:lnTo>
                      <a:lnTo>
                        <a:pt x="78778" y="374942"/>
                      </a:lnTo>
                      <a:lnTo>
                        <a:pt x="79527" y="374256"/>
                      </a:lnTo>
                      <a:lnTo>
                        <a:pt x="79756" y="374040"/>
                      </a:lnTo>
                      <a:lnTo>
                        <a:pt x="87452" y="367385"/>
                      </a:lnTo>
                      <a:lnTo>
                        <a:pt x="87820" y="366953"/>
                      </a:lnTo>
                      <a:lnTo>
                        <a:pt x="88239" y="366560"/>
                      </a:lnTo>
                      <a:lnTo>
                        <a:pt x="89065" y="365366"/>
                      </a:lnTo>
                      <a:lnTo>
                        <a:pt x="89560" y="365366"/>
                      </a:lnTo>
                      <a:lnTo>
                        <a:pt x="89560" y="364096"/>
                      </a:lnTo>
                      <a:lnTo>
                        <a:pt x="89204" y="364096"/>
                      </a:lnTo>
                      <a:lnTo>
                        <a:pt x="89128" y="364540"/>
                      </a:lnTo>
                      <a:lnTo>
                        <a:pt x="89001" y="364490"/>
                      </a:lnTo>
                      <a:lnTo>
                        <a:pt x="89204" y="363359"/>
                      </a:lnTo>
                      <a:lnTo>
                        <a:pt x="89471" y="363131"/>
                      </a:lnTo>
                      <a:lnTo>
                        <a:pt x="89573" y="362927"/>
                      </a:lnTo>
                      <a:lnTo>
                        <a:pt x="89789" y="362864"/>
                      </a:lnTo>
                      <a:lnTo>
                        <a:pt x="89928" y="362826"/>
                      </a:lnTo>
                      <a:lnTo>
                        <a:pt x="89928" y="361556"/>
                      </a:lnTo>
                      <a:lnTo>
                        <a:pt x="89725" y="361556"/>
                      </a:lnTo>
                      <a:lnTo>
                        <a:pt x="89649" y="362102"/>
                      </a:lnTo>
                      <a:lnTo>
                        <a:pt x="89725" y="361505"/>
                      </a:lnTo>
                      <a:lnTo>
                        <a:pt x="90322" y="360819"/>
                      </a:lnTo>
                      <a:lnTo>
                        <a:pt x="90500" y="360591"/>
                      </a:lnTo>
                      <a:lnTo>
                        <a:pt x="90652" y="360235"/>
                      </a:lnTo>
                      <a:lnTo>
                        <a:pt x="90678" y="359664"/>
                      </a:lnTo>
                      <a:lnTo>
                        <a:pt x="90728" y="360286"/>
                      </a:lnTo>
                      <a:lnTo>
                        <a:pt x="90728" y="359016"/>
                      </a:lnTo>
                      <a:lnTo>
                        <a:pt x="90754" y="358394"/>
                      </a:lnTo>
                      <a:lnTo>
                        <a:pt x="90868" y="358076"/>
                      </a:lnTo>
                      <a:lnTo>
                        <a:pt x="90995" y="357555"/>
                      </a:lnTo>
                      <a:lnTo>
                        <a:pt x="91325" y="356641"/>
                      </a:lnTo>
                      <a:lnTo>
                        <a:pt x="93014" y="354888"/>
                      </a:lnTo>
                      <a:lnTo>
                        <a:pt x="95313" y="353631"/>
                      </a:lnTo>
                      <a:lnTo>
                        <a:pt x="97497" y="354152"/>
                      </a:lnTo>
                      <a:lnTo>
                        <a:pt x="99669" y="355015"/>
                      </a:lnTo>
                      <a:lnTo>
                        <a:pt x="102565" y="356019"/>
                      </a:lnTo>
                      <a:lnTo>
                        <a:pt x="105562" y="357797"/>
                      </a:lnTo>
                      <a:lnTo>
                        <a:pt x="115430" y="361784"/>
                      </a:lnTo>
                      <a:lnTo>
                        <a:pt x="117348" y="362343"/>
                      </a:lnTo>
                      <a:lnTo>
                        <a:pt x="119303" y="362585"/>
                      </a:lnTo>
                      <a:lnTo>
                        <a:pt x="122770" y="361746"/>
                      </a:lnTo>
                      <a:lnTo>
                        <a:pt x="123990" y="361657"/>
                      </a:lnTo>
                      <a:lnTo>
                        <a:pt x="129120" y="359549"/>
                      </a:lnTo>
                      <a:lnTo>
                        <a:pt x="130619" y="358076"/>
                      </a:lnTo>
                      <a:lnTo>
                        <a:pt x="134429" y="346214"/>
                      </a:lnTo>
                      <a:lnTo>
                        <a:pt x="134683" y="346011"/>
                      </a:lnTo>
                      <a:lnTo>
                        <a:pt x="135166" y="345401"/>
                      </a:lnTo>
                      <a:lnTo>
                        <a:pt x="138074" y="344893"/>
                      </a:lnTo>
                      <a:lnTo>
                        <a:pt x="141859" y="344347"/>
                      </a:lnTo>
                      <a:lnTo>
                        <a:pt x="142494" y="343928"/>
                      </a:lnTo>
                      <a:lnTo>
                        <a:pt x="146088" y="340766"/>
                      </a:lnTo>
                      <a:lnTo>
                        <a:pt x="146227" y="340601"/>
                      </a:lnTo>
                      <a:lnTo>
                        <a:pt x="146723" y="340182"/>
                      </a:lnTo>
                      <a:lnTo>
                        <a:pt x="149110" y="335203"/>
                      </a:lnTo>
                      <a:lnTo>
                        <a:pt x="150545" y="328701"/>
                      </a:lnTo>
                      <a:lnTo>
                        <a:pt x="168719" y="313690"/>
                      </a:lnTo>
                      <a:lnTo>
                        <a:pt x="170484" y="313067"/>
                      </a:lnTo>
                      <a:lnTo>
                        <a:pt x="171157" y="313245"/>
                      </a:lnTo>
                      <a:lnTo>
                        <a:pt x="172542" y="313067"/>
                      </a:lnTo>
                      <a:lnTo>
                        <a:pt x="172935" y="313016"/>
                      </a:lnTo>
                      <a:lnTo>
                        <a:pt x="179285" y="308267"/>
                      </a:lnTo>
                      <a:lnTo>
                        <a:pt x="180162" y="307657"/>
                      </a:lnTo>
                      <a:lnTo>
                        <a:pt x="181038" y="307555"/>
                      </a:lnTo>
                      <a:lnTo>
                        <a:pt x="181889" y="307505"/>
                      </a:lnTo>
                      <a:lnTo>
                        <a:pt x="182435" y="307428"/>
                      </a:lnTo>
                      <a:lnTo>
                        <a:pt x="183045" y="307403"/>
                      </a:lnTo>
                      <a:lnTo>
                        <a:pt x="183984" y="307428"/>
                      </a:lnTo>
                      <a:lnTo>
                        <a:pt x="184111" y="307428"/>
                      </a:lnTo>
                      <a:lnTo>
                        <a:pt x="184238" y="307403"/>
                      </a:lnTo>
                      <a:lnTo>
                        <a:pt x="184543" y="307340"/>
                      </a:lnTo>
                      <a:lnTo>
                        <a:pt x="182156" y="305396"/>
                      </a:lnTo>
                      <a:lnTo>
                        <a:pt x="180962" y="304393"/>
                      </a:lnTo>
                      <a:lnTo>
                        <a:pt x="180543" y="303885"/>
                      </a:lnTo>
                      <a:lnTo>
                        <a:pt x="179984" y="302996"/>
                      </a:lnTo>
                      <a:lnTo>
                        <a:pt x="179819" y="302590"/>
                      </a:lnTo>
                      <a:lnTo>
                        <a:pt x="180416" y="302094"/>
                      </a:lnTo>
                      <a:lnTo>
                        <a:pt x="180327" y="301929"/>
                      </a:lnTo>
                      <a:lnTo>
                        <a:pt x="180213" y="301612"/>
                      </a:lnTo>
                      <a:lnTo>
                        <a:pt x="179844" y="301485"/>
                      </a:lnTo>
                      <a:lnTo>
                        <a:pt x="178028" y="300164"/>
                      </a:lnTo>
                      <a:lnTo>
                        <a:pt x="172910" y="299808"/>
                      </a:lnTo>
                      <a:lnTo>
                        <a:pt x="169659" y="299046"/>
                      </a:lnTo>
                      <a:lnTo>
                        <a:pt x="166331" y="298932"/>
                      </a:lnTo>
                      <a:lnTo>
                        <a:pt x="163868" y="296976"/>
                      </a:lnTo>
                      <a:lnTo>
                        <a:pt x="163017" y="293433"/>
                      </a:lnTo>
                      <a:lnTo>
                        <a:pt x="161518" y="290220"/>
                      </a:lnTo>
                      <a:lnTo>
                        <a:pt x="160794" y="288798"/>
                      </a:lnTo>
                      <a:lnTo>
                        <a:pt x="160959" y="283705"/>
                      </a:lnTo>
                      <a:lnTo>
                        <a:pt x="161010" y="282841"/>
                      </a:lnTo>
                      <a:lnTo>
                        <a:pt x="160820" y="282524"/>
                      </a:lnTo>
                      <a:lnTo>
                        <a:pt x="160667" y="282257"/>
                      </a:lnTo>
                      <a:lnTo>
                        <a:pt x="160566" y="282079"/>
                      </a:lnTo>
                      <a:lnTo>
                        <a:pt x="158584" y="282257"/>
                      </a:lnTo>
                      <a:lnTo>
                        <a:pt x="155067" y="282041"/>
                      </a:lnTo>
                      <a:lnTo>
                        <a:pt x="154686" y="282524"/>
                      </a:lnTo>
                      <a:lnTo>
                        <a:pt x="154838" y="280289"/>
                      </a:lnTo>
                      <a:lnTo>
                        <a:pt x="152920" y="275717"/>
                      </a:lnTo>
                      <a:lnTo>
                        <a:pt x="151650" y="274789"/>
                      </a:lnTo>
                      <a:lnTo>
                        <a:pt x="136753" y="261683"/>
                      </a:lnTo>
                      <a:lnTo>
                        <a:pt x="135470" y="257835"/>
                      </a:lnTo>
                      <a:lnTo>
                        <a:pt x="132994" y="254419"/>
                      </a:lnTo>
                      <a:lnTo>
                        <a:pt x="131584" y="251993"/>
                      </a:lnTo>
                      <a:lnTo>
                        <a:pt x="126580" y="243433"/>
                      </a:lnTo>
                      <a:lnTo>
                        <a:pt x="142443" y="245897"/>
                      </a:lnTo>
                      <a:lnTo>
                        <a:pt x="149466" y="245897"/>
                      </a:lnTo>
                      <a:lnTo>
                        <a:pt x="150710" y="244627"/>
                      </a:lnTo>
                      <a:lnTo>
                        <a:pt x="151688" y="244627"/>
                      </a:lnTo>
                      <a:lnTo>
                        <a:pt x="152501" y="243357"/>
                      </a:lnTo>
                      <a:lnTo>
                        <a:pt x="153962" y="240817"/>
                      </a:lnTo>
                      <a:lnTo>
                        <a:pt x="155562" y="239547"/>
                      </a:lnTo>
                      <a:lnTo>
                        <a:pt x="157276" y="238277"/>
                      </a:lnTo>
                      <a:lnTo>
                        <a:pt x="157403" y="238277"/>
                      </a:lnTo>
                      <a:lnTo>
                        <a:pt x="157937" y="237007"/>
                      </a:lnTo>
                      <a:lnTo>
                        <a:pt x="158280" y="237007"/>
                      </a:lnTo>
                      <a:lnTo>
                        <a:pt x="158927" y="235737"/>
                      </a:lnTo>
                      <a:lnTo>
                        <a:pt x="159486" y="235737"/>
                      </a:lnTo>
                      <a:lnTo>
                        <a:pt x="159740" y="234467"/>
                      </a:lnTo>
                      <a:lnTo>
                        <a:pt x="160997" y="231927"/>
                      </a:lnTo>
                      <a:lnTo>
                        <a:pt x="161823" y="231927"/>
                      </a:lnTo>
                      <a:lnTo>
                        <a:pt x="162725" y="230657"/>
                      </a:lnTo>
                      <a:lnTo>
                        <a:pt x="163461" y="230657"/>
                      </a:lnTo>
                      <a:lnTo>
                        <a:pt x="164363" y="229387"/>
                      </a:lnTo>
                      <a:lnTo>
                        <a:pt x="165811" y="229387"/>
                      </a:lnTo>
                      <a:lnTo>
                        <a:pt x="166395" y="228117"/>
                      </a:lnTo>
                      <a:lnTo>
                        <a:pt x="167043" y="228117"/>
                      </a:lnTo>
                      <a:lnTo>
                        <a:pt x="170980" y="226847"/>
                      </a:lnTo>
                      <a:lnTo>
                        <a:pt x="176568" y="225577"/>
                      </a:lnTo>
                      <a:lnTo>
                        <a:pt x="177038" y="220497"/>
                      </a:lnTo>
                      <a:lnTo>
                        <a:pt x="177088" y="219227"/>
                      </a:lnTo>
                      <a:lnTo>
                        <a:pt x="177444" y="217957"/>
                      </a:lnTo>
                      <a:lnTo>
                        <a:pt x="177685" y="216687"/>
                      </a:lnTo>
                      <a:lnTo>
                        <a:pt x="178308" y="215417"/>
                      </a:lnTo>
                      <a:lnTo>
                        <a:pt x="178435" y="215417"/>
                      </a:lnTo>
                      <a:lnTo>
                        <a:pt x="182346" y="214147"/>
                      </a:lnTo>
                      <a:lnTo>
                        <a:pt x="186359" y="211607"/>
                      </a:lnTo>
                      <a:lnTo>
                        <a:pt x="193624" y="210337"/>
                      </a:lnTo>
                      <a:lnTo>
                        <a:pt x="196481" y="211607"/>
                      </a:lnTo>
                      <a:lnTo>
                        <a:pt x="199339" y="210337"/>
                      </a:lnTo>
                      <a:lnTo>
                        <a:pt x="198882" y="209067"/>
                      </a:lnTo>
                      <a:lnTo>
                        <a:pt x="197535" y="205778"/>
                      </a:lnTo>
                      <a:lnTo>
                        <a:pt x="198894" y="208267"/>
                      </a:lnTo>
                      <a:lnTo>
                        <a:pt x="199339" y="209537"/>
                      </a:lnTo>
                      <a:lnTo>
                        <a:pt x="199491" y="210807"/>
                      </a:lnTo>
                      <a:lnTo>
                        <a:pt x="199605" y="212077"/>
                      </a:lnTo>
                      <a:lnTo>
                        <a:pt x="199250" y="214617"/>
                      </a:lnTo>
                      <a:lnTo>
                        <a:pt x="200253" y="215887"/>
                      </a:lnTo>
                      <a:lnTo>
                        <a:pt x="200482" y="215887"/>
                      </a:lnTo>
                      <a:lnTo>
                        <a:pt x="200787" y="217157"/>
                      </a:lnTo>
                      <a:lnTo>
                        <a:pt x="208470" y="217157"/>
                      </a:lnTo>
                      <a:lnTo>
                        <a:pt x="223723" y="222237"/>
                      </a:lnTo>
                      <a:lnTo>
                        <a:pt x="227126" y="224777"/>
                      </a:lnTo>
                      <a:lnTo>
                        <a:pt x="231089" y="227317"/>
                      </a:lnTo>
                      <a:lnTo>
                        <a:pt x="235496" y="226047"/>
                      </a:lnTo>
                      <a:lnTo>
                        <a:pt x="235813" y="226047"/>
                      </a:lnTo>
                      <a:lnTo>
                        <a:pt x="235978" y="227317"/>
                      </a:lnTo>
                      <a:lnTo>
                        <a:pt x="235762" y="227317"/>
                      </a:lnTo>
                      <a:lnTo>
                        <a:pt x="235686" y="228587"/>
                      </a:lnTo>
                      <a:lnTo>
                        <a:pt x="235673" y="229857"/>
                      </a:lnTo>
                      <a:lnTo>
                        <a:pt x="235851" y="231127"/>
                      </a:lnTo>
                      <a:lnTo>
                        <a:pt x="236359" y="233667"/>
                      </a:lnTo>
                      <a:lnTo>
                        <a:pt x="237032" y="237477"/>
                      </a:lnTo>
                      <a:lnTo>
                        <a:pt x="236969" y="240017"/>
                      </a:lnTo>
                      <a:lnTo>
                        <a:pt x="236893" y="250177"/>
                      </a:lnTo>
                      <a:lnTo>
                        <a:pt x="236829" y="251447"/>
                      </a:lnTo>
                      <a:lnTo>
                        <a:pt x="236105" y="251447"/>
                      </a:lnTo>
                      <a:lnTo>
                        <a:pt x="235496" y="252717"/>
                      </a:lnTo>
                      <a:lnTo>
                        <a:pt x="235140" y="252717"/>
                      </a:lnTo>
                      <a:lnTo>
                        <a:pt x="234759" y="253987"/>
                      </a:lnTo>
                      <a:lnTo>
                        <a:pt x="234276" y="256527"/>
                      </a:lnTo>
                      <a:lnTo>
                        <a:pt x="232930" y="257797"/>
                      </a:lnTo>
                      <a:lnTo>
                        <a:pt x="232130" y="259067"/>
                      </a:lnTo>
                      <a:lnTo>
                        <a:pt x="232943" y="259067"/>
                      </a:lnTo>
                      <a:lnTo>
                        <a:pt x="233159" y="260337"/>
                      </a:lnTo>
                      <a:lnTo>
                        <a:pt x="233883" y="260337"/>
                      </a:lnTo>
                      <a:lnTo>
                        <a:pt x="234289" y="261607"/>
                      </a:lnTo>
                      <a:lnTo>
                        <a:pt x="235026" y="264147"/>
                      </a:lnTo>
                      <a:lnTo>
                        <a:pt x="233921" y="266687"/>
                      </a:lnTo>
                      <a:lnTo>
                        <a:pt x="234238" y="269227"/>
                      </a:lnTo>
                      <a:lnTo>
                        <a:pt x="234251" y="270497"/>
                      </a:lnTo>
                      <a:lnTo>
                        <a:pt x="236270" y="270497"/>
                      </a:lnTo>
                      <a:lnTo>
                        <a:pt x="236829" y="271767"/>
                      </a:lnTo>
                      <a:lnTo>
                        <a:pt x="237083" y="273037"/>
                      </a:lnTo>
                      <a:lnTo>
                        <a:pt x="237185" y="187477"/>
                      </a:lnTo>
                      <a:lnTo>
                        <a:pt x="236232" y="187477"/>
                      </a:lnTo>
                      <a:lnTo>
                        <a:pt x="235953" y="186207"/>
                      </a:lnTo>
                      <a:lnTo>
                        <a:pt x="235635" y="186207"/>
                      </a:lnTo>
                      <a:lnTo>
                        <a:pt x="235292" y="184937"/>
                      </a:lnTo>
                      <a:lnTo>
                        <a:pt x="234632" y="184937"/>
                      </a:lnTo>
                      <a:lnTo>
                        <a:pt x="233502" y="183667"/>
                      </a:lnTo>
                      <a:lnTo>
                        <a:pt x="233108" y="182397"/>
                      </a:lnTo>
                      <a:lnTo>
                        <a:pt x="232410" y="181127"/>
                      </a:lnTo>
                      <a:lnTo>
                        <a:pt x="232257" y="181127"/>
                      </a:lnTo>
                      <a:lnTo>
                        <a:pt x="232359" y="180911"/>
                      </a:lnTo>
                      <a:lnTo>
                        <a:pt x="233172" y="182105"/>
                      </a:lnTo>
                      <a:lnTo>
                        <a:pt x="234645" y="183857"/>
                      </a:lnTo>
                      <a:lnTo>
                        <a:pt x="235292" y="184708"/>
                      </a:lnTo>
                      <a:lnTo>
                        <a:pt x="235648" y="185381"/>
                      </a:lnTo>
                      <a:lnTo>
                        <a:pt x="235966" y="185915"/>
                      </a:lnTo>
                      <a:lnTo>
                        <a:pt x="236232" y="186220"/>
                      </a:lnTo>
                      <a:lnTo>
                        <a:pt x="237261" y="186842"/>
                      </a:lnTo>
                      <a:lnTo>
                        <a:pt x="237477" y="187401"/>
                      </a:lnTo>
                      <a:lnTo>
                        <a:pt x="237477" y="186207"/>
                      </a:lnTo>
                      <a:lnTo>
                        <a:pt x="237185" y="186207"/>
                      </a:lnTo>
                      <a:lnTo>
                        <a:pt x="237045" y="185839"/>
                      </a:lnTo>
                      <a:lnTo>
                        <a:pt x="240830" y="187947"/>
                      </a:lnTo>
                      <a:lnTo>
                        <a:pt x="240830" y="179641"/>
                      </a:lnTo>
                      <a:lnTo>
                        <a:pt x="234289" y="179641"/>
                      </a:lnTo>
                      <a:lnTo>
                        <a:pt x="257492" y="179603"/>
                      </a:lnTo>
                      <a:lnTo>
                        <a:pt x="257009" y="179108"/>
                      </a:lnTo>
                      <a:lnTo>
                        <a:pt x="255511" y="178308"/>
                      </a:lnTo>
                      <a:lnTo>
                        <a:pt x="255625" y="174231"/>
                      </a:lnTo>
                      <a:lnTo>
                        <a:pt x="255816" y="172681"/>
                      </a:lnTo>
                      <a:lnTo>
                        <a:pt x="255143" y="167411"/>
                      </a:lnTo>
                      <a:lnTo>
                        <a:pt x="253568" y="165887"/>
                      </a:lnTo>
                      <a:lnTo>
                        <a:pt x="251828" y="164211"/>
                      </a:lnTo>
                      <a:lnTo>
                        <a:pt x="250964" y="158330"/>
                      </a:lnTo>
                      <a:lnTo>
                        <a:pt x="254063" y="155054"/>
                      </a:lnTo>
                      <a:lnTo>
                        <a:pt x="256082" y="150495"/>
                      </a:lnTo>
                      <a:lnTo>
                        <a:pt x="254596" y="145567"/>
                      </a:lnTo>
                      <a:lnTo>
                        <a:pt x="254012" y="140779"/>
                      </a:lnTo>
                      <a:lnTo>
                        <a:pt x="253111" y="138277"/>
                      </a:lnTo>
                      <a:lnTo>
                        <a:pt x="253949" y="134391"/>
                      </a:lnTo>
                      <a:lnTo>
                        <a:pt x="254889" y="135102"/>
                      </a:lnTo>
                      <a:lnTo>
                        <a:pt x="254596" y="134391"/>
                      </a:lnTo>
                      <a:lnTo>
                        <a:pt x="252907" y="130416"/>
                      </a:lnTo>
                      <a:lnTo>
                        <a:pt x="251752" y="128270"/>
                      </a:lnTo>
                      <a:lnTo>
                        <a:pt x="250063" y="124739"/>
                      </a:lnTo>
                      <a:lnTo>
                        <a:pt x="249986" y="124599"/>
                      </a:lnTo>
                      <a:lnTo>
                        <a:pt x="249910" y="124256"/>
                      </a:lnTo>
                      <a:lnTo>
                        <a:pt x="250240" y="123190"/>
                      </a:lnTo>
                      <a:lnTo>
                        <a:pt x="249948" y="123190"/>
                      </a:lnTo>
                      <a:lnTo>
                        <a:pt x="250139" y="121920"/>
                      </a:lnTo>
                      <a:lnTo>
                        <a:pt x="252285" y="120650"/>
                      </a:lnTo>
                      <a:lnTo>
                        <a:pt x="255282" y="124460"/>
                      </a:lnTo>
                      <a:lnTo>
                        <a:pt x="256933" y="127000"/>
                      </a:lnTo>
                      <a:lnTo>
                        <a:pt x="258102" y="128270"/>
                      </a:lnTo>
                      <a:lnTo>
                        <a:pt x="258826" y="133350"/>
                      </a:lnTo>
                      <a:lnTo>
                        <a:pt x="259651" y="135890"/>
                      </a:lnTo>
                      <a:lnTo>
                        <a:pt x="259588" y="143510"/>
                      </a:lnTo>
                      <a:lnTo>
                        <a:pt x="262089" y="147320"/>
                      </a:lnTo>
                      <a:lnTo>
                        <a:pt x="264325" y="151117"/>
                      </a:lnTo>
                      <a:lnTo>
                        <a:pt x="263690" y="151117"/>
                      </a:lnTo>
                      <a:lnTo>
                        <a:pt x="263385" y="152387"/>
                      </a:lnTo>
                      <a:lnTo>
                        <a:pt x="262559" y="156197"/>
                      </a:lnTo>
                      <a:lnTo>
                        <a:pt x="259384" y="162547"/>
                      </a:lnTo>
                      <a:lnTo>
                        <a:pt x="260515" y="166357"/>
                      </a:lnTo>
                      <a:lnTo>
                        <a:pt x="260654" y="171437"/>
                      </a:lnTo>
                      <a:lnTo>
                        <a:pt x="261454" y="175247"/>
                      </a:lnTo>
                      <a:lnTo>
                        <a:pt x="261848" y="177787"/>
                      </a:lnTo>
                      <a:lnTo>
                        <a:pt x="262013" y="179057"/>
                      </a:lnTo>
                      <a:lnTo>
                        <a:pt x="262267" y="180327"/>
                      </a:lnTo>
                      <a:lnTo>
                        <a:pt x="262978" y="180327"/>
                      </a:lnTo>
                      <a:lnTo>
                        <a:pt x="263194" y="180492"/>
                      </a:lnTo>
                      <a:lnTo>
                        <a:pt x="264515" y="181775"/>
                      </a:lnTo>
                      <a:lnTo>
                        <a:pt x="264617" y="181914"/>
                      </a:lnTo>
                      <a:lnTo>
                        <a:pt x="264680" y="182105"/>
                      </a:lnTo>
                      <a:lnTo>
                        <a:pt x="264871" y="182283"/>
                      </a:lnTo>
                      <a:lnTo>
                        <a:pt x="265099" y="182308"/>
                      </a:lnTo>
                      <a:lnTo>
                        <a:pt x="266776" y="184378"/>
                      </a:lnTo>
                      <a:lnTo>
                        <a:pt x="266941" y="185381"/>
                      </a:lnTo>
                      <a:lnTo>
                        <a:pt x="267766" y="187947"/>
                      </a:lnTo>
                      <a:lnTo>
                        <a:pt x="268249" y="189344"/>
                      </a:lnTo>
                      <a:lnTo>
                        <a:pt x="269189" y="191046"/>
                      </a:lnTo>
                      <a:lnTo>
                        <a:pt x="269189" y="9690"/>
                      </a:lnTo>
                      <a:lnTo>
                        <a:pt x="266230" y="8102"/>
                      </a:lnTo>
                      <a:lnTo>
                        <a:pt x="266230" y="181902"/>
                      </a:lnTo>
                      <a:lnTo>
                        <a:pt x="265988" y="181597"/>
                      </a:lnTo>
                      <a:lnTo>
                        <a:pt x="266230" y="181902"/>
                      </a:lnTo>
                      <a:lnTo>
                        <a:pt x="266230" y="8102"/>
                      </a:lnTo>
                      <a:lnTo>
                        <a:pt x="260629" y="5080"/>
                      </a:lnTo>
                      <a:lnTo>
                        <a:pt x="251193" y="0"/>
                      </a:lnTo>
                      <a:lnTo>
                        <a:pt x="250621" y="1270"/>
                      </a:lnTo>
                      <a:lnTo>
                        <a:pt x="251320" y="1270"/>
                      </a:lnTo>
                      <a:lnTo>
                        <a:pt x="250190" y="3810"/>
                      </a:lnTo>
                      <a:lnTo>
                        <a:pt x="250685" y="5080"/>
                      </a:lnTo>
                      <a:lnTo>
                        <a:pt x="249796" y="3810"/>
                      </a:lnTo>
                      <a:lnTo>
                        <a:pt x="248107" y="3810"/>
                      </a:lnTo>
                      <a:lnTo>
                        <a:pt x="248551" y="6350"/>
                      </a:lnTo>
                      <a:lnTo>
                        <a:pt x="246329" y="6350"/>
                      </a:lnTo>
                      <a:lnTo>
                        <a:pt x="246354" y="8890"/>
                      </a:lnTo>
                      <a:lnTo>
                        <a:pt x="246938" y="8890"/>
                      </a:lnTo>
                      <a:lnTo>
                        <a:pt x="244627" y="11430"/>
                      </a:lnTo>
                      <a:lnTo>
                        <a:pt x="240804" y="10160"/>
                      </a:lnTo>
                      <a:lnTo>
                        <a:pt x="240766" y="12700"/>
                      </a:lnTo>
                      <a:lnTo>
                        <a:pt x="242900" y="12700"/>
                      </a:lnTo>
                      <a:lnTo>
                        <a:pt x="241935" y="13970"/>
                      </a:lnTo>
                      <a:lnTo>
                        <a:pt x="242062" y="13970"/>
                      </a:lnTo>
                      <a:lnTo>
                        <a:pt x="241642" y="15240"/>
                      </a:lnTo>
                      <a:lnTo>
                        <a:pt x="240182" y="15240"/>
                      </a:lnTo>
                      <a:lnTo>
                        <a:pt x="239610" y="13970"/>
                      </a:lnTo>
                      <a:lnTo>
                        <a:pt x="238658" y="16510"/>
                      </a:lnTo>
                      <a:lnTo>
                        <a:pt x="246862" y="15240"/>
                      </a:lnTo>
                      <a:lnTo>
                        <a:pt x="248297" y="15240"/>
                      </a:lnTo>
                      <a:lnTo>
                        <a:pt x="247015" y="16510"/>
                      </a:lnTo>
                      <a:lnTo>
                        <a:pt x="246557" y="17348"/>
                      </a:lnTo>
                      <a:lnTo>
                        <a:pt x="246557" y="136296"/>
                      </a:lnTo>
                      <a:lnTo>
                        <a:pt x="246341" y="136448"/>
                      </a:lnTo>
                      <a:lnTo>
                        <a:pt x="244398" y="134137"/>
                      </a:lnTo>
                      <a:lnTo>
                        <a:pt x="244068" y="133870"/>
                      </a:lnTo>
                      <a:lnTo>
                        <a:pt x="244068" y="162636"/>
                      </a:lnTo>
                      <a:lnTo>
                        <a:pt x="243547" y="162991"/>
                      </a:lnTo>
                      <a:lnTo>
                        <a:pt x="242265" y="162077"/>
                      </a:lnTo>
                      <a:lnTo>
                        <a:pt x="240601" y="160807"/>
                      </a:lnTo>
                      <a:lnTo>
                        <a:pt x="240588" y="159905"/>
                      </a:lnTo>
                      <a:lnTo>
                        <a:pt x="242265" y="160832"/>
                      </a:lnTo>
                      <a:lnTo>
                        <a:pt x="244068" y="162636"/>
                      </a:lnTo>
                      <a:lnTo>
                        <a:pt x="244068" y="133870"/>
                      </a:lnTo>
                      <a:lnTo>
                        <a:pt x="241350" y="131648"/>
                      </a:lnTo>
                      <a:lnTo>
                        <a:pt x="241350" y="144767"/>
                      </a:lnTo>
                      <a:lnTo>
                        <a:pt x="241249" y="145034"/>
                      </a:lnTo>
                      <a:lnTo>
                        <a:pt x="240919" y="143027"/>
                      </a:lnTo>
                      <a:lnTo>
                        <a:pt x="240919" y="142608"/>
                      </a:lnTo>
                      <a:lnTo>
                        <a:pt x="241350" y="144767"/>
                      </a:lnTo>
                      <a:lnTo>
                        <a:pt x="241350" y="131648"/>
                      </a:lnTo>
                      <a:lnTo>
                        <a:pt x="241300" y="130746"/>
                      </a:lnTo>
                      <a:lnTo>
                        <a:pt x="244398" y="133426"/>
                      </a:lnTo>
                      <a:lnTo>
                        <a:pt x="246557" y="136296"/>
                      </a:lnTo>
                      <a:lnTo>
                        <a:pt x="246557" y="17348"/>
                      </a:lnTo>
                      <a:lnTo>
                        <a:pt x="244208" y="21590"/>
                      </a:lnTo>
                      <a:lnTo>
                        <a:pt x="241312" y="21590"/>
                      </a:lnTo>
                      <a:lnTo>
                        <a:pt x="241312" y="125653"/>
                      </a:lnTo>
                      <a:lnTo>
                        <a:pt x="241300" y="126517"/>
                      </a:lnTo>
                      <a:lnTo>
                        <a:pt x="240919" y="125247"/>
                      </a:lnTo>
                      <a:lnTo>
                        <a:pt x="240576" y="124599"/>
                      </a:lnTo>
                      <a:lnTo>
                        <a:pt x="240576" y="157086"/>
                      </a:lnTo>
                      <a:lnTo>
                        <a:pt x="240576" y="159385"/>
                      </a:lnTo>
                      <a:lnTo>
                        <a:pt x="240550" y="156997"/>
                      </a:lnTo>
                      <a:lnTo>
                        <a:pt x="240334" y="154457"/>
                      </a:lnTo>
                      <a:lnTo>
                        <a:pt x="239877" y="153187"/>
                      </a:lnTo>
                      <a:lnTo>
                        <a:pt x="239928" y="152323"/>
                      </a:lnTo>
                      <a:lnTo>
                        <a:pt x="240334" y="154127"/>
                      </a:lnTo>
                      <a:lnTo>
                        <a:pt x="240576" y="157086"/>
                      </a:lnTo>
                      <a:lnTo>
                        <a:pt x="240576" y="124599"/>
                      </a:lnTo>
                      <a:lnTo>
                        <a:pt x="239598" y="122707"/>
                      </a:lnTo>
                      <a:lnTo>
                        <a:pt x="237629" y="121437"/>
                      </a:lnTo>
                      <a:lnTo>
                        <a:pt x="237223" y="121158"/>
                      </a:lnTo>
                      <a:lnTo>
                        <a:pt x="237223" y="167157"/>
                      </a:lnTo>
                      <a:lnTo>
                        <a:pt x="237172" y="167398"/>
                      </a:lnTo>
                      <a:lnTo>
                        <a:pt x="237210" y="167157"/>
                      </a:lnTo>
                      <a:lnTo>
                        <a:pt x="237223" y="121158"/>
                      </a:lnTo>
                      <a:lnTo>
                        <a:pt x="235851" y="120167"/>
                      </a:lnTo>
                      <a:lnTo>
                        <a:pt x="235305" y="119380"/>
                      </a:lnTo>
                      <a:lnTo>
                        <a:pt x="235851" y="119380"/>
                      </a:lnTo>
                      <a:lnTo>
                        <a:pt x="237578" y="120650"/>
                      </a:lnTo>
                      <a:lnTo>
                        <a:pt x="237718" y="120764"/>
                      </a:lnTo>
                      <a:lnTo>
                        <a:pt x="239598" y="122605"/>
                      </a:lnTo>
                      <a:lnTo>
                        <a:pt x="240423" y="123901"/>
                      </a:lnTo>
                      <a:lnTo>
                        <a:pt x="240919" y="124599"/>
                      </a:lnTo>
                      <a:lnTo>
                        <a:pt x="241312" y="125653"/>
                      </a:lnTo>
                      <a:lnTo>
                        <a:pt x="241312" y="21590"/>
                      </a:lnTo>
                      <a:lnTo>
                        <a:pt x="239674" y="21590"/>
                      </a:lnTo>
                      <a:lnTo>
                        <a:pt x="238620" y="20320"/>
                      </a:lnTo>
                      <a:lnTo>
                        <a:pt x="235318" y="20320"/>
                      </a:lnTo>
                      <a:lnTo>
                        <a:pt x="234823" y="21590"/>
                      </a:lnTo>
                      <a:lnTo>
                        <a:pt x="234556" y="22860"/>
                      </a:lnTo>
                      <a:lnTo>
                        <a:pt x="234937" y="24130"/>
                      </a:lnTo>
                      <a:lnTo>
                        <a:pt x="234937" y="25400"/>
                      </a:lnTo>
                      <a:lnTo>
                        <a:pt x="233997" y="26670"/>
                      </a:lnTo>
                      <a:lnTo>
                        <a:pt x="233108" y="27787"/>
                      </a:lnTo>
                      <a:lnTo>
                        <a:pt x="233540" y="26670"/>
                      </a:lnTo>
                      <a:lnTo>
                        <a:pt x="232524" y="26670"/>
                      </a:lnTo>
                      <a:lnTo>
                        <a:pt x="234911" y="25400"/>
                      </a:lnTo>
                      <a:lnTo>
                        <a:pt x="234111" y="25400"/>
                      </a:lnTo>
                      <a:lnTo>
                        <a:pt x="234213" y="24130"/>
                      </a:lnTo>
                      <a:lnTo>
                        <a:pt x="233553" y="22860"/>
                      </a:lnTo>
                      <a:lnTo>
                        <a:pt x="233845" y="21590"/>
                      </a:lnTo>
                      <a:lnTo>
                        <a:pt x="231838" y="21590"/>
                      </a:lnTo>
                      <a:lnTo>
                        <a:pt x="232283" y="20320"/>
                      </a:lnTo>
                      <a:lnTo>
                        <a:pt x="232016" y="20320"/>
                      </a:lnTo>
                      <a:lnTo>
                        <a:pt x="231482" y="19050"/>
                      </a:lnTo>
                      <a:lnTo>
                        <a:pt x="231063" y="20320"/>
                      </a:lnTo>
                      <a:lnTo>
                        <a:pt x="230314" y="21590"/>
                      </a:lnTo>
                      <a:lnTo>
                        <a:pt x="229552" y="21590"/>
                      </a:lnTo>
                      <a:lnTo>
                        <a:pt x="230187" y="20320"/>
                      </a:lnTo>
                      <a:lnTo>
                        <a:pt x="229450" y="20320"/>
                      </a:lnTo>
                      <a:lnTo>
                        <a:pt x="228854" y="20027"/>
                      </a:lnTo>
                      <a:lnTo>
                        <a:pt x="228854" y="117627"/>
                      </a:lnTo>
                      <a:lnTo>
                        <a:pt x="225374" y="117627"/>
                      </a:lnTo>
                      <a:lnTo>
                        <a:pt x="222643" y="115265"/>
                      </a:lnTo>
                      <a:lnTo>
                        <a:pt x="225374" y="116840"/>
                      </a:lnTo>
                      <a:lnTo>
                        <a:pt x="228854" y="117627"/>
                      </a:lnTo>
                      <a:lnTo>
                        <a:pt x="228854" y="20027"/>
                      </a:lnTo>
                      <a:lnTo>
                        <a:pt x="226923" y="19050"/>
                      </a:lnTo>
                      <a:lnTo>
                        <a:pt x="227025" y="17780"/>
                      </a:lnTo>
                      <a:lnTo>
                        <a:pt x="225285" y="17780"/>
                      </a:lnTo>
                      <a:lnTo>
                        <a:pt x="225590" y="19050"/>
                      </a:lnTo>
                      <a:lnTo>
                        <a:pt x="223380" y="19050"/>
                      </a:lnTo>
                      <a:lnTo>
                        <a:pt x="223012" y="20320"/>
                      </a:lnTo>
                      <a:lnTo>
                        <a:pt x="224066" y="20320"/>
                      </a:lnTo>
                      <a:lnTo>
                        <a:pt x="224116" y="21590"/>
                      </a:lnTo>
                      <a:lnTo>
                        <a:pt x="223177" y="21590"/>
                      </a:lnTo>
                      <a:lnTo>
                        <a:pt x="222643" y="20320"/>
                      </a:lnTo>
                      <a:lnTo>
                        <a:pt x="221805" y="21590"/>
                      </a:lnTo>
                      <a:lnTo>
                        <a:pt x="222034" y="21590"/>
                      </a:lnTo>
                      <a:lnTo>
                        <a:pt x="221183" y="22860"/>
                      </a:lnTo>
                      <a:lnTo>
                        <a:pt x="221691" y="22860"/>
                      </a:lnTo>
                      <a:lnTo>
                        <a:pt x="222275" y="24130"/>
                      </a:lnTo>
                      <a:lnTo>
                        <a:pt x="221957" y="25400"/>
                      </a:lnTo>
                      <a:lnTo>
                        <a:pt x="221145" y="22860"/>
                      </a:lnTo>
                      <a:lnTo>
                        <a:pt x="220687" y="22860"/>
                      </a:lnTo>
                      <a:lnTo>
                        <a:pt x="219849" y="24130"/>
                      </a:lnTo>
                      <a:lnTo>
                        <a:pt x="219367" y="24130"/>
                      </a:lnTo>
                      <a:lnTo>
                        <a:pt x="219710" y="25400"/>
                      </a:lnTo>
                      <a:lnTo>
                        <a:pt x="217563" y="17780"/>
                      </a:lnTo>
                      <a:lnTo>
                        <a:pt x="217474" y="17589"/>
                      </a:lnTo>
                      <a:lnTo>
                        <a:pt x="217474" y="112547"/>
                      </a:lnTo>
                      <a:lnTo>
                        <a:pt x="216230" y="112547"/>
                      </a:lnTo>
                      <a:lnTo>
                        <a:pt x="215023" y="111277"/>
                      </a:lnTo>
                      <a:lnTo>
                        <a:pt x="214718" y="110972"/>
                      </a:lnTo>
                      <a:lnTo>
                        <a:pt x="216242" y="111760"/>
                      </a:lnTo>
                      <a:lnTo>
                        <a:pt x="217474" y="112547"/>
                      </a:lnTo>
                      <a:lnTo>
                        <a:pt x="217474" y="17589"/>
                      </a:lnTo>
                      <a:lnTo>
                        <a:pt x="216433" y="15240"/>
                      </a:lnTo>
                      <a:lnTo>
                        <a:pt x="216789" y="12700"/>
                      </a:lnTo>
                      <a:lnTo>
                        <a:pt x="217385" y="12700"/>
                      </a:lnTo>
                      <a:lnTo>
                        <a:pt x="218998" y="8890"/>
                      </a:lnTo>
                      <a:lnTo>
                        <a:pt x="219202" y="3810"/>
                      </a:lnTo>
                      <a:lnTo>
                        <a:pt x="219760" y="0"/>
                      </a:lnTo>
                      <a:lnTo>
                        <a:pt x="207937" y="0"/>
                      </a:lnTo>
                      <a:lnTo>
                        <a:pt x="207937" y="30480"/>
                      </a:lnTo>
                      <a:lnTo>
                        <a:pt x="207365" y="31750"/>
                      </a:lnTo>
                      <a:lnTo>
                        <a:pt x="206095" y="33007"/>
                      </a:lnTo>
                      <a:lnTo>
                        <a:pt x="206095" y="34290"/>
                      </a:lnTo>
                      <a:lnTo>
                        <a:pt x="205600" y="35560"/>
                      </a:lnTo>
                      <a:lnTo>
                        <a:pt x="204711" y="35560"/>
                      </a:lnTo>
                      <a:lnTo>
                        <a:pt x="202666" y="37744"/>
                      </a:lnTo>
                      <a:lnTo>
                        <a:pt x="202336" y="37084"/>
                      </a:lnTo>
                      <a:lnTo>
                        <a:pt x="204711" y="35090"/>
                      </a:lnTo>
                      <a:lnTo>
                        <a:pt x="205409" y="35013"/>
                      </a:lnTo>
                      <a:lnTo>
                        <a:pt x="205600" y="34899"/>
                      </a:lnTo>
                      <a:lnTo>
                        <a:pt x="205905" y="34442"/>
                      </a:lnTo>
                      <a:lnTo>
                        <a:pt x="205994" y="34290"/>
                      </a:lnTo>
                      <a:lnTo>
                        <a:pt x="206095" y="33007"/>
                      </a:lnTo>
                      <a:lnTo>
                        <a:pt x="205651" y="33604"/>
                      </a:lnTo>
                      <a:lnTo>
                        <a:pt x="205155" y="33350"/>
                      </a:lnTo>
                      <a:lnTo>
                        <a:pt x="206070" y="32956"/>
                      </a:lnTo>
                      <a:lnTo>
                        <a:pt x="206641" y="32334"/>
                      </a:lnTo>
                      <a:lnTo>
                        <a:pt x="207365" y="31546"/>
                      </a:lnTo>
                      <a:lnTo>
                        <a:pt x="207924" y="30467"/>
                      </a:lnTo>
                      <a:lnTo>
                        <a:pt x="207937" y="0"/>
                      </a:lnTo>
                      <a:lnTo>
                        <a:pt x="200482" y="0"/>
                      </a:lnTo>
                      <a:lnTo>
                        <a:pt x="204863" y="7620"/>
                      </a:lnTo>
                      <a:lnTo>
                        <a:pt x="205143" y="8890"/>
                      </a:lnTo>
                      <a:lnTo>
                        <a:pt x="205384" y="10160"/>
                      </a:lnTo>
                      <a:lnTo>
                        <a:pt x="205409" y="13970"/>
                      </a:lnTo>
                      <a:lnTo>
                        <a:pt x="206260" y="13970"/>
                      </a:lnTo>
                      <a:lnTo>
                        <a:pt x="206438" y="15240"/>
                      </a:lnTo>
                      <a:lnTo>
                        <a:pt x="206222" y="16510"/>
                      </a:lnTo>
                      <a:lnTo>
                        <a:pt x="206108" y="16865"/>
                      </a:lnTo>
                      <a:lnTo>
                        <a:pt x="206108" y="24130"/>
                      </a:lnTo>
                      <a:lnTo>
                        <a:pt x="205193" y="25273"/>
                      </a:lnTo>
                      <a:lnTo>
                        <a:pt x="205308" y="24955"/>
                      </a:lnTo>
                      <a:lnTo>
                        <a:pt x="205879" y="24130"/>
                      </a:lnTo>
                      <a:lnTo>
                        <a:pt x="206108" y="24130"/>
                      </a:lnTo>
                      <a:lnTo>
                        <a:pt x="206108" y="16865"/>
                      </a:lnTo>
                      <a:lnTo>
                        <a:pt x="205803" y="17780"/>
                      </a:lnTo>
                      <a:lnTo>
                        <a:pt x="205511" y="17780"/>
                      </a:lnTo>
                      <a:lnTo>
                        <a:pt x="205181" y="19050"/>
                      </a:lnTo>
                      <a:lnTo>
                        <a:pt x="204800" y="19050"/>
                      </a:lnTo>
                      <a:lnTo>
                        <a:pt x="204800" y="21590"/>
                      </a:lnTo>
                      <a:lnTo>
                        <a:pt x="204495" y="23660"/>
                      </a:lnTo>
                      <a:lnTo>
                        <a:pt x="204609" y="22606"/>
                      </a:lnTo>
                      <a:lnTo>
                        <a:pt x="204762" y="21628"/>
                      </a:lnTo>
                      <a:lnTo>
                        <a:pt x="204800" y="19050"/>
                      </a:lnTo>
                      <a:lnTo>
                        <a:pt x="203847" y="19050"/>
                      </a:lnTo>
                      <a:lnTo>
                        <a:pt x="203847" y="21590"/>
                      </a:lnTo>
                      <a:lnTo>
                        <a:pt x="203555" y="22529"/>
                      </a:lnTo>
                      <a:lnTo>
                        <a:pt x="203708" y="21043"/>
                      </a:lnTo>
                      <a:lnTo>
                        <a:pt x="203847" y="21590"/>
                      </a:lnTo>
                      <a:lnTo>
                        <a:pt x="203847" y="19050"/>
                      </a:lnTo>
                      <a:lnTo>
                        <a:pt x="203415" y="19050"/>
                      </a:lnTo>
                      <a:lnTo>
                        <a:pt x="203377" y="18923"/>
                      </a:lnTo>
                      <a:lnTo>
                        <a:pt x="203263" y="18605"/>
                      </a:lnTo>
                      <a:lnTo>
                        <a:pt x="203085" y="18618"/>
                      </a:lnTo>
                      <a:lnTo>
                        <a:pt x="202425" y="18808"/>
                      </a:lnTo>
                      <a:lnTo>
                        <a:pt x="201828" y="18923"/>
                      </a:lnTo>
                      <a:lnTo>
                        <a:pt x="200977" y="18669"/>
                      </a:lnTo>
                      <a:lnTo>
                        <a:pt x="199821" y="18110"/>
                      </a:lnTo>
                      <a:lnTo>
                        <a:pt x="198983" y="18072"/>
                      </a:lnTo>
                      <a:lnTo>
                        <a:pt x="198780" y="18046"/>
                      </a:lnTo>
                      <a:lnTo>
                        <a:pt x="198589" y="18046"/>
                      </a:lnTo>
                      <a:lnTo>
                        <a:pt x="195808" y="19342"/>
                      </a:lnTo>
                      <a:lnTo>
                        <a:pt x="192887" y="17627"/>
                      </a:lnTo>
                      <a:lnTo>
                        <a:pt x="192722" y="19431"/>
                      </a:lnTo>
                      <a:lnTo>
                        <a:pt x="193255" y="22174"/>
                      </a:lnTo>
                      <a:lnTo>
                        <a:pt x="191046" y="23190"/>
                      </a:lnTo>
                      <a:lnTo>
                        <a:pt x="189801" y="23863"/>
                      </a:lnTo>
                      <a:lnTo>
                        <a:pt x="188214" y="24485"/>
                      </a:lnTo>
                      <a:lnTo>
                        <a:pt x="187845" y="24650"/>
                      </a:lnTo>
                      <a:lnTo>
                        <a:pt x="187058" y="24803"/>
                      </a:lnTo>
                      <a:lnTo>
                        <a:pt x="185280" y="24955"/>
                      </a:lnTo>
                      <a:lnTo>
                        <a:pt x="184772" y="23799"/>
                      </a:lnTo>
                      <a:lnTo>
                        <a:pt x="184492" y="23152"/>
                      </a:lnTo>
                      <a:lnTo>
                        <a:pt x="182714" y="22148"/>
                      </a:lnTo>
                      <a:lnTo>
                        <a:pt x="182118" y="21869"/>
                      </a:lnTo>
                      <a:lnTo>
                        <a:pt x="181660" y="21793"/>
                      </a:lnTo>
                      <a:lnTo>
                        <a:pt x="181229" y="21907"/>
                      </a:lnTo>
                      <a:lnTo>
                        <a:pt x="180822" y="21958"/>
                      </a:lnTo>
                      <a:lnTo>
                        <a:pt x="180390" y="22098"/>
                      </a:lnTo>
                      <a:lnTo>
                        <a:pt x="179717" y="22567"/>
                      </a:lnTo>
                      <a:lnTo>
                        <a:pt x="179489" y="22923"/>
                      </a:lnTo>
                      <a:lnTo>
                        <a:pt x="179476" y="23647"/>
                      </a:lnTo>
                      <a:lnTo>
                        <a:pt x="179603" y="23863"/>
                      </a:lnTo>
                      <a:lnTo>
                        <a:pt x="179730" y="24066"/>
                      </a:lnTo>
                      <a:lnTo>
                        <a:pt x="180886" y="25806"/>
                      </a:lnTo>
                      <a:lnTo>
                        <a:pt x="181508" y="26873"/>
                      </a:lnTo>
                      <a:lnTo>
                        <a:pt x="182460" y="28359"/>
                      </a:lnTo>
                      <a:lnTo>
                        <a:pt x="182524" y="31546"/>
                      </a:lnTo>
                      <a:lnTo>
                        <a:pt x="182410" y="32131"/>
                      </a:lnTo>
                      <a:lnTo>
                        <a:pt x="182321" y="32346"/>
                      </a:lnTo>
                      <a:lnTo>
                        <a:pt x="182397" y="32956"/>
                      </a:lnTo>
                      <a:lnTo>
                        <a:pt x="182270" y="34493"/>
                      </a:lnTo>
                      <a:lnTo>
                        <a:pt x="182473" y="34442"/>
                      </a:lnTo>
                      <a:lnTo>
                        <a:pt x="183540" y="35560"/>
                      </a:lnTo>
                      <a:lnTo>
                        <a:pt x="183946" y="37782"/>
                      </a:lnTo>
                      <a:lnTo>
                        <a:pt x="185534" y="41592"/>
                      </a:lnTo>
                      <a:lnTo>
                        <a:pt x="187083" y="45186"/>
                      </a:lnTo>
                      <a:lnTo>
                        <a:pt x="188328" y="47777"/>
                      </a:lnTo>
                      <a:lnTo>
                        <a:pt x="188391" y="48628"/>
                      </a:lnTo>
                      <a:lnTo>
                        <a:pt x="188747" y="48653"/>
                      </a:lnTo>
                      <a:lnTo>
                        <a:pt x="189191" y="49555"/>
                      </a:lnTo>
                      <a:lnTo>
                        <a:pt x="189420" y="49390"/>
                      </a:lnTo>
                      <a:lnTo>
                        <a:pt x="191122" y="48590"/>
                      </a:lnTo>
                      <a:lnTo>
                        <a:pt x="191300" y="48475"/>
                      </a:lnTo>
                      <a:lnTo>
                        <a:pt x="197827" y="47777"/>
                      </a:lnTo>
                      <a:lnTo>
                        <a:pt x="200380" y="45872"/>
                      </a:lnTo>
                      <a:lnTo>
                        <a:pt x="200621" y="45097"/>
                      </a:lnTo>
                      <a:lnTo>
                        <a:pt x="203542" y="40259"/>
                      </a:lnTo>
                      <a:lnTo>
                        <a:pt x="203771" y="40640"/>
                      </a:lnTo>
                      <a:lnTo>
                        <a:pt x="200621" y="45720"/>
                      </a:lnTo>
                      <a:lnTo>
                        <a:pt x="200380" y="46990"/>
                      </a:lnTo>
                      <a:lnTo>
                        <a:pt x="197827" y="48260"/>
                      </a:lnTo>
                      <a:lnTo>
                        <a:pt x="191338" y="49530"/>
                      </a:lnTo>
                      <a:lnTo>
                        <a:pt x="189420" y="49530"/>
                      </a:lnTo>
                      <a:lnTo>
                        <a:pt x="189191" y="50800"/>
                      </a:lnTo>
                      <a:lnTo>
                        <a:pt x="188747" y="49530"/>
                      </a:lnTo>
                      <a:lnTo>
                        <a:pt x="187718" y="49530"/>
                      </a:lnTo>
                      <a:lnTo>
                        <a:pt x="188201" y="50800"/>
                      </a:lnTo>
                      <a:lnTo>
                        <a:pt x="187680" y="52070"/>
                      </a:lnTo>
                      <a:lnTo>
                        <a:pt x="187566" y="54610"/>
                      </a:lnTo>
                      <a:lnTo>
                        <a:pt x="188061" y="55880"/>
                      </a:lnTo>
                      <a:lnTo>
                        <a:pt x="189280" y="55880"/>
                      </a:lnTo>
                      <a:lnTo>
                        <a:pt x="190360" y="58420"/>
                      </a:lnTo>
                      <a:lnTo>
                        <a:pt x="190830" y="58420"/>
                      </a:lnTo>
                      <a:lnTo>
                        <a:pt x="190919" y="60960"/>
                      </a:lnTo>
                      <a:lnTo>
                        <a:pt x="189776" y="62230"/>
                      </a:lnTo>
                      <a:lnTo>
                        <a:pt x="190246" y="64770"/>
                      </a:lnTo>
                      <a:lnTo>
                        <a:pt x="191389" y="66040"/>
                      </a:lnTo>
                      <a:lnTo>
                        <a:pt x="192557" y="69113"/>
                      </a:lnTo>
                      <a:lnTo>
                        <a:pt x="191490" y="71120"/>
                      </a:lnTo>
                      <a:lnTo>
                        <a:pt x="190855" y="71120"/>
                      </a:lnTo>
                      <a:lnTo>
                        <a:pt x="189801" y="73660"/>
                      </a:lnTo>
                      <a:lnTo>
                        <a:pt x="189458" y="73660"/>
                      </a:lnTo>
                      <a:lnTo>
                        <a:pt x="192278" y="78740"/>
                      </a:lnTo>
                      <a:lnTo>
                        <a:pt x="193484" y="78740"/>
                      </a:lnTo>
                      <a:lnTo>
                        <a:pt x="194056" y="77470"/>
                      </a:lnTo>
                      <a:lnTo>
                        <a:pt x="196977" y="77470"/>
                      </a:lnTo>
                      <a:lnTo>
                        <a:pt x="199377" y="82550"/>
                      </a:lnTo>
                      <a:lnTo>
                        <a:pt x="201980" y="85090"/>
                      </a:lnTo>
                      <a:lnTo>
                        <a:pt x="202247" y="87630"/>
                      </a:lnTo>
                      <a:lnTo>
                        <a:pt x="209105" y="105410"/>
                      </a:lnTo>
                      <a:lnTo>
                        <a:pt x="209283" y="105410"/>
                      </a:lnTo>
                      <a:lnTo>
                        <a:pt x="209550" y="106680"/>
                      </a:lnTo>
                      <a:lnTo>
                        <a:pt x="209473" y="107950"/>
                      </a:lnTo>
                      <a:lnTo>
                        <a:pt x="209016" y="107950"/>
                      </a:lnTo>
                      <a:lnTo>
                        <a:pt x="209321" y="109220"/>
                      </a:lnTo>
                      <a:lnTo>
                        <a:pt x="212623" y="109220"/>
                      </a:lnTo>
                      <a:lnTo>
                        <a:pt x="213360" y="110007"/>
                      </a:lnTo>
                      <a:lnTo>
                        <a:pt x="210159" y="110007"/>
                      </a:lnTo>
                      <a:lnTo>
                        <a:pt x="209943" y="111277"/>
                      </a:lnTo>
                      <a:lnTo>
                        <a:pt x="206743" y="111277"/>
                      </a:lnTo>
                      <a:lnTo>
                        <a:pt x="204838" y="108737"/>
                      </a:lnTo>
                      <a:lnTo>
                        <a:pt x="202692" y="107467"/>
                      </a:lnTo>
                      <a:lnTo>
                        <a:pt x="202336" y="108737"/>
                      </a:lnTo>
                      <a:lnTo>
                        <a:pt x="199364" y="107467"/>
                      </a:lnTo>
                      <a:lnTo>
                        <a:pt x="200177" y="106197"/>
                      </a:lnTo>
                      <a:lnTo>
                        <a:pt x="201041" y="104927"/>
                      </a:lnTo>
                      <a:lnTo>
                        <a:pt x="202133" y="103657"/>
                      </a:lnTo>
                      <a:lnTo>
                        <a:pt x="196875" y="103657"/>
                      </a:lnTo>
                      <a:lnTo>
                        <a:pt x="196875" y="201917"/>
                      </a:lnTo>
                      <a:lnTo>
                        <a:pt x="196850" y="202704"/>
                      </a:lnTo>
                      <a:lnTo>
                        <a:pt x="196850" y="202882"/>
                      </a:lnTo>
                      <a:lnTo>
                        <a:pt x="196824" y="204050"/>
                      </a:lnTo>
                      <a:lnTo>
                        <a:pt x="196850" y="202882"/>
                      </a:lnTo>
                      <a:lnTo>
                        <a:pt x="196850" y="202704"/>
                      </a:lnTo>
                      <a:lnTo>
                        <a:pt x="196684" y="201917"/>
                      </a:lnTo>
                      <a:lnTo>
                        <a:pt x="196875" y="201917"/>
                      </a:lnTo>
                      <a:lnTo>
                        <a:pt x="196875" y="103657"/>
                      </a:lnTo>
                      <a:lnTo>
                        <a:pt x="196570" y="103657"/>
                      </a:lnTo>
                      <a:lnTo>
                        <a:pt x="196570" y="201434"/>
                      </a:lnTo>
                      <a:lnTo>
                        <a:pt x="196570" y="103657"/>
                      </a:lnTo>
                      <a:lnTo>
                        <a:pt x="194017" y="103657"/>
                      </a:lnTo>
                      <a:lnTo>
                        <a:pt x="185712" y="104927"/>
                      </a:lnTo>
                      <a:lnTo>
                        <a:pt x="177838" y="107467"/>
                      </a:lnTo>
                      <a:lnTo>
                        <a:pt x="178460" y="107467"/>
                      </a:lnTo>
                      <a:lnTo>
                        <a:pt x="178536" y="108737"/>
                      </a:lnTo>
                      <a:lnTo>
                        <a:pt x="178396" y="110007"/>
                      </a:lnTo>
                      <a:lnTo>
                        <a:pt x="177380" y="111277"/>
                      </a:lnTo>
                      <a:lnTo>
                        <a:pt x="175475" y="112547"/>
                      </a:lnTo>
                      <a:lnTo>
                        <a:pt x="172224" y="115087"/>
                      </a:lnTo>
                      <a:lnTo>
                        <a:pt x="170573" y="117627"/>
                      </a:lnTo>
                      <a:lnTo>
                        <a:pt x="170370" y="118897"/>
                      </a:lnTo>
                      <a:lnTo>
                        <a:pt x="171958" y="118897"/>
                      </a:lnTo>
                      <a:lnTo>
                        <a:pt x="172377" y="120167"/>
                      </a:lnTo>
                      <a:lnTo>
                        <a:pt x="172796" y="121437"/>
                      </a:lnTo>
                      <a:lnTo>
                        <a:pt x="172961" y="121437"/>
                      </a:lnTo>
                      <a:lnTo>
                        <a:pt x="173355" y="122707"/>
                      </a:lnTo>
                      <a:lnTo>
                        <a:pt x="173990" y="123977"/>
                      </a:lnTo>
                      <a:lnTo>
                        <a:pt x="174434" y="125247"/>
                      </a:lnTo>
                      <a:lnTo>
                        <a:pt x="174307" y="126517"/>
                      </a:lnTo>
                      <a:lnTo>
                        <a:pt x="173761" y="127787"/>
                      </a:lnTo>
                      <a:lnTo>
                        <a:pt x="174028" y="129057"/>
                      </a:lnTo>
                      <a:lnTo>
                        <a:pt x="173367" y="131597"/>
                      </a:lnTo>
                      <a:lnTo>
                        <a:pt x="173634" y="131597"/>
                      </a:lnTo>
                      <a:lnTo>
                        <a:pt x="173812" y="132867"/>
                      </a:lnTo>
                      <a:lnTo>
                        <a:pt x="174269" y="135407"/>
                      </a:lnTo>
                      <a:lnTo>
                        <a:pt x="171780" y="144297"/>
                      </a:lnTo>
                      <a:lnTo>
                        <a:pt x="169151" y="149377"/>
                      </a:lnTo>
                      <a:lnTo>
                        <a:pt x="171792" y="154457"/>
                      </a:lnTo>
                      <a:lnTo>
                        <a:pt x="172046" y="155727"/>
                      </a:lnTo>
                      <a:lnTo>
                        <a:pt x="176796" y="158267"/>
                      </a:lnTo>
                      <a:lnTo>
                        <a:pt x="178689" y="160807"/>
                      </a:lnTo>
                      <a:lnTo>
                        <a:pt x="178904" y="162077"/>
                      </a:lnTo>
                      <a:lnTo>
                        <a:pt x="180047" y="163347"/>
                      </a:lnTo>
                      <a:lnTo>
                        <a:pt x="184492" y="163347"/>
                      </a:lnTo>
                      <a:lnTo>
                        <a:pt x="184950" y="164617"/>
                      </a:lnTo>
                      <a:lnTo>
                        <a:pt x="185445" y="163347"/>
                      </a:lnTo>
                      <a:lnTo>
                        <a:pt x="186118" y="163347"/>
                      </a:lnTo>
                      <a:lnTo>
                        <a:pt x="185585" y="162077"/>
                      </a:lnTo>
                      <a:lnTo>
                        <a:pt x="186270" y="160807"/>
                      </a:lnTo>
                      <a:lnTo>
                        <a:pt x="189357" y="160807"/>
                      </a:lnTo>
                      <a:lnTo>
                        <a:pt x="190779" y="159537"/>
                      </a:lnTo>
                      <a:lnTo>
                        <a:pt x="190931" y="178587"/>
                      </a:lnTo>
                      <a:lnTo>
                        <a:pt x="189382" y="178587"/>
                      </a:lnTo>
                      <a:lnTo>
                        <a:pt x="187604" y="177317"/>
                      </a:lnTo>
                      <a:lnTo>
                        <a:pt x="189547" y="177317"/>
                      </a:lnTo>
                      <a:lnTo>
                        <a:pt x="189014" y="176047"/>
                      </a:lnTo>
                      <a:lnTo>
                        <a:pt x="186651" y="176047"/>
                      </a:lnTo>
                      <a:lnTo>
                        <a:pt x="185178" y="177317"/>
                      </a:lnTo>
                      <a:lnTo>
                        <a:pt x="182651" y="178587"/>
                      </a:lnTo>
                      <a:lnTo>
                        <a:pt x="181267" y="179857"/>
                      </a:lnTo>
                      <a:lnTo>
                        <a:pt x="169875" y="164617"/>
                      </a:lnTo>
                      <a:lnTo>
                        <a:pt x="168897" y="163347"/>
                      </a:lnTo>
                      <a:lnTo>
                        <a:pt x="166306" y="163347"/>
                      </a:lnTo>
                      <a:lnTo>
                        <a:pt x="164617" y="162077"/>
                      </a:lnTo>
                      <a:lnTo>
                        <a:pt x="162204" y="160807"/>
                      </a:lnTo>
                      <a:lnTo>
                        <a:pt x="160680" y="162077"/>
                      </a:lnTo>
                      <a:lnTo>
                        <a:pt x="158343" y="160807"/>
                      </a:lnTo>
                      <a:lnTo>
                        <a:pt x="157391" y="158267"/>
                      </a:lnTo>
                      <a:lnTo>
                        <a:pt x="156514" y="156997"/>
                      </a:lnTo>
                      <a:lnTo>
                        <a:pt x="155625" y="155727"/>
                      </a:lnTo>
                      <a:lnTo>
                        <a:pt x="154368" y="151917"/>
                      </a:lnTo>
                      <a:lnTo>
                        <a:pt x="151511" y="151917"/>
                      </a:lnTo>
                      <a:lnTo>
                        <a:pt x="151104" y="153187"/>
                      </a:lnTo>
                      <a:lnTo>
                        <a:pt x="150609" y="154457"/>
                      </a:lnTo>
                      <a:lnTo>
                        <a:pt x="150418" y="154457"/>
                      </a:lnTo>
                      <a:lnTo>
                        <a:pt x="150368" y="156997"/>
                      </a:lnTo>
                      <a:lnTo>
                        <a:pt x="141643" y="155727"/>
                      </a:lnTo>
                      <a:lnTo>
                        <a:pt x="132918" y="154457"/>
                      </a:lnTo>
                      <a:lnTo>
                        <a:pt x="130429" y="155727"/>
                      </a:lnTo>
                      <a:lnTo>
                        <a:pt x="128955" y="154457"/>
                      </a:lnTo>
                      <a:lnTo>
                        <a:pt x="129197" y="154457"/>
                      </a:lnTo>
                      <a:lnTo>
                        <a:pt x="128333" y="153187"/>
                      </a:lnTo>
                      <a:lnTo>
                        <a:pt x="127749" y="153187"/>
                      </a:lnTo>
                      <a:lnTo>
                        <a:pt x="126542" y="150647"/>
                      </a:lnTo>
                      <a:lnTo>
                        <a:pt x="126568" y="145567"/>
                      </a:lnTo>
                      <a:lnTo>
                        <a:pt x="126047" y="146837"/>
                      </a:lnTo>
                      <a:lnTo>
                        <a:pt x="121945" y="146837"/>
                      </a:lnTo>
                      <a:lnTo>
                        <a:pt x="120078" y="148107"/>
                      </a:lnTo>
                      <a:lnTo>
                        <a:pt x="117817" y="148107"/>
                      </a:lnTo>
                      <a:lnTo>
                        <a:pt x="116319" y="149377"/>
                      </a:lnTo>
                      <a:lnTo>
                        <a:pt x="114033" y="150647"/>
                      </a:lnTo>
                      <a:lnTo>
                        <a:pt x="112395" y="149377"/>
                      </a:lnTo>
                      <a:lnTo>
                        <a:pt x="112026" y="149377"/>
                      </a:lnTo>
                      <a:lnTo>
                        <a:pt x="113131" y="148107"/>
                      </a:lnTo>
                      <a:lnTo>
                        <a:pt x="113665" y="146837"/>
                      </a:lnTo>
                      <a:lnTo>
                        <a:pt x="112623" y="144297"/>
                      </a:lnTo>
                      <a:lnTo>
                        <a:pt x="109080" y="143027"/>
                      </a:lnTo>
                      <a:lnTo>
                        <a:pt x="107480" y="141757"/>
                      </a:lnTo>
                      <a:lnTo>
                        <a:pt x="108127" y="156997"/>
                      </a:lnTo>
                      <a:lnTo>
                        <a:pt x="109080" y="160807"/>
                      </a:lnTo>
                      <a:lnTo>
                        <a:pt x="108254" y="163347"/>
                      </a:lnTo>
                      <a:lnTo>
                        <a:pt x="107988" y="164617"/>
                      </a:lnTo>
                      <a:lnTo>
                        <a:pt x="107505" y="165887"/>
                      </a:lnTo>
                      <a:lnTo>
                        <a:pt x="106807" y="167157"/>
                      </a:lnTo>
                      <a:lnTo>
                        <a:pt x="106438" y="168427"/>
                      </a:lnTo>
                      <a:lnTo>
                        <a:pt x="105752" y="169697"/>
                      </a:lnTo>
                      <a:lnTo>
                        <a:pt x="107149" y="170967"/>
                      </a:lnTo>
                      <a:lnTo>
                        <a:pt x="107632" y="172237"/>
                      </a:lnTo>
                      <a:lnTo>
                        <a:pt x="78930" y="172237"/>
                      </a:lnTo>
                      <a:lnTo>
                        <a:pt x="78917" y="173507"/>
                      </a:lnTo>
                      <a:lnTo>
                        <a:pt x="78943" y="215417"/>
                      </a:lnTo>
                      <a:lnTo>
                        <a:pt x="79336" y="219227"/>
                      </a:lnTo>
                      <a:lnTo>
                        <a:pt x="79743" y="220497"/>
                      </a:lnTo>
                      <a:lnTo>
                        <a:pt x="80543" y="223037"/>
                      </a:lnTo>
                      <a:lnTo>
                        <a:pt x="97434" y="238277"/>
                      </a:lnTo>
                      <a:lnTo>
                        <a:pt x="97828" y="238277"/>
                      </a:lnTo>
                      <a:lnTo>
                        <a:pt x="99364" y="239547"/>
                      </a:lnTo>
                      <a:lnTo>
                        <a:pt x="104038" y="239547"/>
                      </a:lnTo>
                      <a:lnTo>
                        <a:pt x="108178" y="238277"/>
                      </a:lnTo>
                      <a:lnTo>
                        <a:pt x="117830" y="238277"/>
                      </a:lnTo>
                      <a:lnTo>
                        <a:pt x="120523" y="239547"/>
                      </a:lnTo>
                      <a:lnTo>
                        <a:pt x="122821" y="239547"/>
                      </a:lnTo>
                      <a:lnTo>
                        <a:pt x="123723" y="240817"/>
                      </a:lnTo>
                      <a:lnTo>
                        <a:pt x="124548" y="242087"/>
                      </a:lnTo>
                      <a:lnTo>
                        <a:pt x="125806" y="242087"/>
                      </a:lnTo>
                      <a:lnTo>
                        <a:pt x="125895" y="242443"/>
                      </a:lnTo>
                      <a:lnTo>
                        <a:pt x="124968" y="242290"/>
                      </a:lnTo>
                      <a:lnTo>
                        <a:pt x="118452" y="242227"/>
                      </a:lnTo>
                      <a:lnTo>
                        <a:pt x="113258" y="244043"/>
                      </a:lnTo>
                      <a:lnTo>
                        <a:pt x="107607" y="247853"/>
                      </a:lnTo>
                      <a:lnTo>
                        <a:pt x="106641" y="248602"/>
                      </a:lnTo>
                      <a:lnTo>
                        <a:pt x="103771" y="251891"/>
                      </a:lnTo>
                      <a:lnTo>
                        <a:pt x="102171" y="251993"/>
                      </a:lnTo>
                      <a:lnTo>
                        <a:pt x="99415" y="248094"/>
                      </a:lnTo>
                      <a:lnTo>
                        <a:pt x="98653" y="246773"/>
                      </a:lnTo>
                      <a:lnTo>
                        <a:pt x="98450" y="246291"/>
                      </a:lnTo>
                      <a:lnTo>
                        <a:pt x="98221" y="245884"/>
                      </a:lnTo>
                      <a:lnTo>
                        <a:pt x="97751" y="245287"/>
                      </a:lnTo>
                      <a:lnTo>
                        <a:pt x="97142" y="245033"/>
                      </a:lnTo>
                      <a:lnTo>
                        <a:pt x="65519" y="249555"/>
                      </a:lnTo>
                      <a:lnTo>
                        <a:pt x="64693" y="266446"/>
                      </a:lnTo>
                      <a:lnTo>
                        <a:pt x="64808" y="301485"/>
                      </a:lnTo>
                      <a:lnTo>
                        <a:pt x="64858" y="302094"/>
                      </a:lnTo>
                      <a:lnTo>
                        <a:pt x="64731" y="302666"/>
                      </a:lnTo>
                      <a:lnTo>
                        <a:pt x="64617" y="303923"/>
                      </a:lnTo>
                      <a:lnTo>
                        <a:pt x="63830" y="304190"/>
                      </a:lnTo>
                      <a:lnTo>
                        <a:pt x="63030" y="304304"/>
                      </a:lnTo>
                      <a:lnTo>
                        <a:pt x="63030" y="365379"/>
                      </a:lnTo>
                      <a:lnTo>
                        <a:pt x="62852" y="366191"/>
                      </a:lnTo>
                      <a:lnTo>
                        <a:pt x="61722" y="362826"/>
                      </a:lnTo>
                      <a:lnTo>
                        <a:pt x="60172" y="357746"/>
                      </a:lnTo>
                      <a:lnTo>
                        <a:pt x="59651" y="356476"/>
                      </a:lnTo>
                      <a:lnTo>
                        <a:pt x="59474" y="356476"/>
                      </a:lnTo>
                      <a:lnTo>
                        <a:pt x="58547" y="353936"/>
                      </a:lnTo>
                      <a:lnTo>
                        <a:pt x="56984" y="351434"/>
                      </a:lnTo>
                      <a:lnTo>
                        <a:pt x="58547" y="353936"/>
                      </a:lnTo>
                      <a:lnTo>
                        <a:pt x="59486" y="355828"/>
                      </a:lnTo>
                      <a:lnTo>
                        <a:pt x="63030" y="365379"/>
                      </a:lnTo>
                      <a:lnTo>
                        <a:pt x="63030" y="304304"/>
                      </a:lnTo>
                      <a:lnTo>
                        <a:pt x="62814" y="304330"/>
                      </a:lnTo>
                      <a:lnTo>
                        <a:pt x="59436" y="305396"/>
                      </a:lnTo>
                      <a:lnTo>
                        <a:pt x="54597" y="304584"/>
                      </a:lnTo>
                      <a:lnTo>
                        <a:pt x="51079" y="304558"/>
                      </a:lnTo>
                      <a:lnTo>
                        <a:pt x="50800" y="304584"/>
                      </a:lnTo>
                      <a:lnTo>
                        <a:pt x="50660" y="304660"/>
                      </a:lnTo>
                      <a:lnTo>
                        <a:pt x="50571" y="304787"/>
                      </a:lnTo>
                      <a:lnTo>
                        <a:pt x="50507" y="305181"/>
                      </a:lnTo>
                      <a:lnTo>
                        <a:pt x="50431" y="307238"/>
                      </a:lnTo>
                      <a:lnTo>
                        <a:pt x="50304" y="346214"/>
                      </a:lnTo>
                      <a:lnTo>
                        <a:pt x="50165" y="346163"/>
                      </a:lnTo>
                      <a:lnTo>
                        <a:pt x="50292" y="346252"/>
                      </a:lnTo>
                      <a:lnTo>
                        <a:pt x="50431" y="346341"/>
                      </a:lnTo>
                      <a:lnTo>
                        <a:pt x="50673" y="346519"/>
                      </a:lnTo>
                      <a:lnTo>
                        <a:pt x="50838" y="346633"/>
                      </a:lnTo>
                      <a:lnTo>
                        <a:pt x="52705" y="348043"/>
                      </a:lnTo>
                      <a:lnTo>
                        <a:pt x="54305" y="349161"/>
                      </a:lnTo>
                      <a:lnTo>
                        <a:pt x="56921" y="351383"/>
                      </a:lnTo>
                      <a:lnTo>
                        <a:pt x="54292" y="350126"/>
                      </a:lnTo>
                      <a:lnTo>
                        <a:pt x="51130" y="347586"/>
                      </a:lnTo>
                      <a:lnTo>
                        <a:pt x="50419" y="347586"/>
                      </a:lnTo>
                      <a:lnTo>
                        <a:pt x="50165" y="346354"/>
                      </a:lnTo>
                      <a:lnTo>
                        <a:pt x="50165" y="346176"/>
                      </a:lnTo>
                      <a:lnTo>
                        <a:pt x="50139" y="348462"/>
                      </a:lnTo>
                      <a:lnTo>
                        <a:pt x="50266" y="349745"/>
                      </a:lnTo>
                      <a:lnTo>
                        <a:pt x="50292" y="350126"/>
                      </a:lnTo>
                      <a:lnTo>
                        <a:pt x="50380" y="398386"/>
                      </a:lnTo>
                      <a:lnTo>
                        <a:pt x="50952" y="402196"/>
                      </a:lnTo>
                      <a:lnTo>
                        <a:pt x="50292" y="403466"/>
                      </a:lnTo>
                      <a:lnTo>
                        <a:pt x="227711" y="403466"/>
                      </a:lnTo>
                      <a:lnTo>
                        <a:pt x="230022" y="399656"/>
                      </a:lnTo>
                      <a:lnTo>
                        <a:pt x="230797" y="394576"/>
                      </a:lnTo>
                      <a:lnTo>
                        <a:pt x="232410" y="386956"/>
                      </a:lnTo>
                      <a:lnTo>
                        <a:pt x="233629" y="383146"/>
                      </a:lnTo>
                      <a:lnTo>
                        <a:pt x="234607" y="380606"/>
                      </a:lnTo>
                      <a:lnTo>
                        <a:pt x="235204" y="380606"/>
                      </a:lnTo>
                      <a:lnTo>
                        <a:pt x="235216" y="379336"/>
                      </a:lnTo>
                      <a:lnTo>
                        <a:pt x="225171" y="379336"/>
                      </a:lnTo>
                      <a:lnTo>
                        <a:pt x="224421" y="378447"/>
                      </a:lnTo>
                      <a:lnTo>
                        <a:pt x="235216" y="378447"/>
                      </a:lnTo>
                      <a:lnTo>
                        <a:pt x="235229" y="377177"/>
                      </a:lnTo>
                      <a:lnTo>
                        <a:pt x="235089" y="377177"/>
                      </a:lnTo>
                      <a:lnTo>
                        <a:pt x="235369" y="374637"/>
                      </a:lnTo>
                      <a:lnTo>
                        <a:pt x="235521" y="370827"/>
                      </a:lnTo>
                      <a:lnTo>
                        <a:pt x="235673" y="367017"/>
                      </a:lnTo>
                      <a:lnTo>
                        <a:pt x="234556" y="368287"/>
                      </a:lnTo>
                      <a:lnTo>
                        <a:pt x="234886" y="369557"/>
                      </a:lnTo>
                      <a:lnTo>
                        <a:pt x="234175" y="370827"/>
                      </a:lnTo>
                      <a:lnTo>
                        <a:pt x="232638" y="368287"/>
                      </a:lnTo>
                      <a:lnTo>
                        <a:pt x="231343" y="367017"/>
                      </a:lnTo>
                      <a:lnTo>
                        <a:pt x="230466" y="367017"/>
                      </a:lnTo>
                      <a:lnTo>
                        <a:pt x="229019" y="365747"/>
                      </a:lnTo>
                      <a:lnTo>
                        <a:pt x="229920" y="364477"/>
                      </a:lnTo>
                      <a:lnTo>
                        <a:pt x="230352" y="365747"/>
                      </a:lnTo>
                      <a:lnTo>
                        <a:pt x="232219" y="364477"/>
                      </a:lnTo>
                      <a:lnTo>
                        <a:pt x="232524" y="363207"/>
                      </a:lnTo>
                      <a:lnTo>
                        <a:pt x="234340" y="359397"/>
                      </a:lnTo>
                      <a:lnTo>
                        <a:pt x="241554" y="354317"/>
                      </a:lnTo>
                      <a:lnTo>
                        <a:pt x="259842" y="347967"/>
                      </a:lnTo>
                      <a:lnTo>
                        <a:pt x="265557" y="345427"/>
                      </a:lnTo>
                      <a:lnTo>
                        <a:pt x="269532" y="340347"/>
                      </a:lnTo>
                      <a:lnTo>
                        <a:pt x="270992" y="339077"/>
                      </a:lnTo>
                      <a:lnTo>
                        <a:pt x="272389" y="336537"/>
                      </a:lnTo>
                      <a:lnTo>
                        <a:pt x="272389" y="335267"/>
                      </a:lnTo>
                      <a:lnTo>
                        <a:pt x="272402" y="333997"/>
                      </a:lnTo>
                      <a:lnTo>
                        <a:pt x="272694" y="332727"/>
                      </a:lnTo>
                      <a:lnTo>
                        <a:pt x="271653" y="332727"/>
                      </a:lnTo>
                      <a:lnTo>
                        <a:pt x="270637" y="335267"/>
                      </a:lnTo>
                      <a:lnTo>
                        <a:pt x="269951" y="333997"/>
                      </a:lnTo>
                      <a:lnTo>
                        <a:pt x="270256" y="332727"/>
                      </a:lnTo>
                      <a:lnTo>
                        <a:pt x="270027" y="331457"/>
                      </a:lnTo>
                      <a:lnTo>
                        <a:pt x="270179" y="328917"/>
                      </a:lnTo>
                      <a:lnTo>
                        <a:pt x="270802" y="331457"/>
                      </a:lnTo>
                      <a:lnTo>
                        <a:pt x="271170" y="330187"/>
                      </a:lnTo>
                      <a:lnTo>
                        <a:pt x="271195" y="328917"/>
                      </a:lnTo>
                      <a:lnTo>
                        <a:pt x="271233" y="327647"/>
                      </a:lnTo>
                      <a:lnTo>
                        <a:pt x="271932" y="320027"/>
                      </a:lnTo>
                      <a:lnTo>
                        <a:pt x="272872" y="313677"/>
                      </a:lnTo>
                      <a:lnTo>
                        <a:pt x="273011" y="307327"/>
                      </a:lnTo>
                      <a:lnTo>
                        <a:pt x="272732" y="308597"/>
                      </a:lnTo>
                      <a:lnTo>
                        <a:pt x="272694" y="309867"/>
                      </a:lnTo>
                      <a:lnTo>
                        <a:pt x="272186" y="307327"/>
                      </a:lnTo>
                      <a:lnTo>
                        <a:pt x="271513" y="306057"/>
                      </a:lnTo>
                      <a:lnTo>
                        <a:pt x="271411" y="308597"/>
                      </a:lnTo>
                      <a:lnTo>
                        <a:pt x="270852" y="308597"/>
                      </a:lnTo>
                      <a:lnTo>
                        <a:pt x="270916" y="309867"/>
                      </a:lnTo>
                      <a:lnTo>
                        <a:pt x="270192" y="306057"/>
                      </a:lnTo>
                      <a:lnTo>
                        <a:pt x="270103" y="302247"/>
                      </a:lnTo>
                      <a:lnTo>
                        <a:pt x="268312" y="298437"/>
                      </a:lnTo>
                      <a:lnTo>
                        <a:pt x="267449" y="297167"/>
                      </a:lnTo>
                      <a:lnTo>
                        <a:pt x="266877" y="295897"/>
                      </a:lnTo>
                      <a:lnTo>
                        <a:pt x="266306" y="294627"/>
                      </a:lnTo>
                      <a:lnTo>
                        <a:pt x="265010" y="292087"/>
                      </a:lnTo>
                      <a:lnTo>
                        <a:pt x="266344" y="289547"/>
                      </a:lnTo>
                      <a:lnTo>
                        <a:pt x="266865" y="289547"/>
                      </a:lnTo>
                      <a:lnTo>
                        <a:pt x="260540" y="283197"/>
                      </a:lnTo>
                      <a:lnTo>
                        <a:pt x="260057" y="280657"/>
                      </a:lnTo>
                      <a:lnTo>
                        <a:pt x="261200" y="280657"/>
                      </a:lnTo>
                      <a:lnTo>
                        <a:pt x="260362" y="278117"/>
                      </a:lnTo>
                      <a:lnTo>
                        <a:pt x="262013" y="278117"/>
                      </a:lnTo>
                      <a:lnTo>
                        <a:pt x="261912" y="276847"/>
                      </a:lnTo>
                      <a:lnTo>
                        <a:pt x="261835" y="274307"/>
                      </a:lnTo>
                      <a:lnTo>
                        <a:pt x="262128" y="273037"/>
                      </a:lnTo>
                      <a:lnTo>
                        <a:pt x="261302" y="271767"/>
                      </a:lnTo>
                      <a:lnTo>
                        <a:pt x="257695" y="269227"/>
                      </a:lnTo>
                      <a:lnTo>
                        <a:pt x="259435" y="269227"/>
                      </a:lnTo>
                      <a:lnTo>
                        <a:pt x="262877" y="272973"/>
                      </a:lnTo>
                      <a:lnTo>
                        <a:pt x="265239" y="271767"/>
                      </a:lnTo>
                      <a:lnTo>
                        <a:pt x="266357" y="271767"/>
                      </a:lnTo>
                      <a:lnTo>
                        <a:pt x="269252" y="269227"/>
                      </a:lnTo>
                      <a:lnTo>
                        <a:pt x="271310" y="266687"/>
                      </a:lnTo>
                      <a:lnTo>
                        <a:pt x="274066" y="262877"/>
                      </a:lnTo>
                      <a:lnTo>
                        <a:pt x="274891" y="262877"/>
                      </a:lnTo>
                      <a:lnTo>
                        <a:pt x="276555" y="260337"/>
                      </a:lnTo>
                      <a:lnTo>
                        <a:pt x="278003" y="260337"/>
                      </a:lnTo>
                      <a:lnTo>
                        <a:pt x="278447" y="259067"/>
                      </a:lnTo>
                      <a:lnTo>
                        <a:pt x="278765" y="259067"/>
                      </a:lnTo>
                      <a:lnTo>
                        <a:pt x="281127" y="257797"/>
                      </a:lnTo>
                      <a:lnTo>
                        <a:pt x="281393" y="257797"/>
                      </a:lnTo>
                      <a:lnTo>
                        <a:pt x="283286" y="259067"/>
                      </a:lnTo>
                      <a:lnTo>
                        <a:pt x="283044" y="257797"/>
                      </a:lnTo>
                      <a:lnTo>
                        <a:pt x="282803" y="256527"/>
                      </a:lnTo>
                      <a:lnTo>
                        <a:pt x="285343" y="256527"/>
                      </a:lnTo>
                      <a:lnTo>
                        <a:pt x="285102" y="255257"/>
                      </a:lnTo>
                      <a:lnTo>
                        <a:pt x="288937" y="252717"/>
                      </a:lnTo>
                      <a:lnTo>
                        <a:pt x="290715" y="250177"/>
                      </a:lnTo>
                      <a:lnTo>
                        <a:pt x="293319" y="247637"/>
                      </a:lnTo>
                      <a:lnTo>
                        <a:pt x="293230" y="246367"/>
                      </a:lnTo>
                      <a:lnTo>
                        <a:pt x="292493" y="246367"/>
                      </a:lnTo>
                      <a:lnTo>
                        <a:pt x="291287" y="243827"/>
                      </a:lnTo>
                      <a:lnTo>
                        <a:pt x="292176" y="243827"/>
                      </a:lnTo>
                      <a:lnTo>
                        <a:pt x="292506" y="245097"/>
                      </a:lnTo>
                      <a:lnTo>
                        <a:pt x="295960" y="243827"/>
                      </a:lnTo>
                      <a:lnTo>
                        <a:pt x="298653" y="240017"/>
                      </a:lnTo>
                      <a:lnTo>
                        <a:pt x="304088" y="237477"/>
                      </a:lnTo>
                      <a:lnTo>
                        <a:pt x="306311" y="237477"/>
                      </a:lnTo>
                      <a:lnTo>
                        <a:pt x="309867" y="234937"/>
                      </a:lnTo>
                      <a:lnTo>
                        <a:pt x="309245" y="234937"/>
                      </a:lnTo>
                      <a:lnTo>
                        <a:pt x="310908" y="232397"/>
                      </a:lnTo>
                      <a:lnTo>
                        <a:pt x="314452" y="232397"/>
                      </a:lnTo>
                      <a:lnTo>
                        <a:pt x="326580" y="228587"/>
                      </a:lnTo>
                      <a:lnTo>
                        <a:pt x="329857" y="226047"/>
                      </a:lnTo>
                      <a:lnTo>
                        <a:pt x="336257" y="220967"/>
                      </a:lnTo>
                      <a:lnTo>
                        <a:pt x="338226" y="215887"/>
                      </a:lnTo>
                      <a:lnTo>
                        <a:pt x="343204" y="209537"/>
                      </a:lnTo>
                      <a:lnTo>
                        <a:pt x="346024" y="206997"/>
                      </a:lnTo>
                      <a:lnTo>
                        <a:pt x="347827" y="200647"/>
                      </a:lnTo>
                      <a:lnTo>
                        <a:pt x="346824" y="200647"/>
                      </a:lnTo>
                      <a:lnTo>
                        <a:pt x="346976" y="199377"/>
                      </a:lnTo>
                      <a:lnTo>
                        <a:pt x="348107" y="199377"/>
                      </a:lnTo>
                      <a:lnTo>
                        <a:pt x="349021" y="198107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633" name="object 173">
                  <a:extLst>
                    <a:ext uri="{FF2B5EF4-FFF2-40B4-BE49-F238E27FC236}">
                      <a16:creationId xmlns:a16="http://schemas.microsoft.com/office/drawing/2014/main" id="{570450F7-C5F5-A32B-9F70-7BC05A93843F}"/>
                    </a:ext>
                  </a:extLst>
                </p:cNvPr>
                <p:cNvPicPr/>
                <p:nvPr/>
              </p:nvPicPr>
              <p:blipFill>
                <a:blip r:embed="rId32" cstate="print"/>
                <a:stretch>
                  <a:fillRect/>
                </a:stretch>
              </p:blipFill>
              <p:spPr>
                <a:xfrm>
                  <a:off x="2825823" y="1959643"/>
                  <a:ext cx="131394" cy="187683"/>
                </a:xfrm>
                <a:prstGeom prst="rect">
                  <a:avLst/>
                </a:prstGeom>
              </p:spPr>
            </p:pic>
            <p:sp>
              <p:nvSpPr>
                <p:cNvPr id="634" name="object 174">
                  <a:extLst>
                    <a:ext uri="{FF2B5EF4-FFF2-40B4-BE49-F238E27FC236}">
                      <a16:creationId xmlns:a16="http://schemas.microsoft.com/office/drawing/2014/main" id="{FBD94CC0-5359-B1B3-C469-B77D3010348A}"/>
                    </a:ext>
                  </a:extLst>
                </p:cNvPr>
                <p:cNvSpPr/>
                <p:nvPr/>
              </p:nvSpPr>
              <p:spPr>
                <a:xfrm>
                  <a:off x="3133737" y="1449120"/>
                  <a:ext cx="2266315" cy="18307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266315" h="1830704">
                      <a:moveTo>
                        <a:pt x="44691" y="1445399"/>
                      </a:moveTo>
                      <a:lnTo>
                        <a:pt x="44564" y="1445399"/>
                      </a:lnTo>
                      <a:lnTo>
                        <a:pt x="44691" y="1445399"/>
                      </a:lnTo>
                      <a:close/>
                    </a:path>
                    <a:path w="2266315" h="1830704">
                      <a:moveTo>
                        <a:pt x="68021" y="1823339"/>
                      </a:moveTo>
                      <a:lnTo>
                        <a:pt x="67995" y="1822970"/>
                      </a:lnTo>
                      <a:lnTo>
                        <a:pt x="67386" y="1810651"/>
                      </a:lnTo>
                      <a:lnTo>
                        <a:pt x="67360" y="1810105"/>
                      </a:lnTo>
                      <a:lnTo>
                        <a:pt x="66128" y="1810651"/>
                      </a:lnTo>
                      <a:lnTo>
                        <a:pt x="65659" y="1809889"/>
                      </a:lnTo>
                      <a:lnTo>
                        <a:pt x="64236" y="1809623"/>
                      </a:lnTo>
                      <a:lnTo>
                        <a:pt x="62763" y="1809419"/>
                      </a:lnTo>
                      <a:lnTo>
                        <a:pt x="61226" y="1808861"/>
                      </a:lnTo>
                      <a:lnTo>
                        <a:pt x="59905" y="1807832"/>
                      </a:lnTo>
                      <a:lnTo>
                        <a:pt x="58661" y="1806943"/>
                      </a:lnTo>
                      <a:lnTo>
                        <a:pt x="57962" y="1806613"/>
                      </a:lnTo>
                      <a:lnTo>
                        <a:pt x="57531" y="1806702"/>
                      </a:lnTo>
                      <a:lnTo>
                        <a:pt x="48920" y="1818500"/>
                      </a:lnTo>
                      <a:lnTo>
                        <a:pt x="48983" y="1821459"/>
                      </a:lnTo>
                      <a:lnTo>
                        <a:pt x="49072" y="1821738"/>
                      </a:lnTo>
                      <a:lnTo>
                        <a:pt x="49225" y="1821916"/>
                      </a:lnTo>
                      <a:lnTo>
                        <a:pt x="49707" y="1822145"/>
                      </a:lnTo>
                      <a:lnTo>
                        <a:pt x="50165" y="1822234"/>
                      </a:lnTo>
                      <a:lnTo>
                        <a:pt x="50431" y="1822615"/>
                      </a:lnTo>
                      <a:lnTo>
                        <a:pt x="51181" y="1823148"/>
                      </a:lnTo>
                      <a:lnTo>
                        <a:pt x="51803" y="1824202"/>
                      </a:lnTo>
                      <a:lnTo>
                        <a:pt x="52387" y="1825383"/>
                      </a:lnTo>
                      <a:lnTo>
                        <a:pt x="54927" y="1828977"/>
                      </a:lnTo>
                      <a:lnTo>
                        <a:pt x="55486" y="1829295"/>
                      </a:lnTo>
                      <a:lnTo>
                        <a:pt x="56108" y="1829562"/>
                      </a:lnTo>
                      <a:lnTo>
                        <a:pt x="65900" y="1830425"/>
                      </a:lnTo>
                      <a:lnTo>
                        <a:pt x="65481" y="1827961"/>
                      </a:lnTo>
                      <a:lnTo>
                        <a:pt x="65697" y="1825371"/>
                      </a:lnTo>
                      <a:lnTo>
                        <a:pt x="66408" y="1822970"/>
                      </a:lnTo>
                      <a:lnTo>
                        <a:pt x="66916" y="1823161"/>
                      </a:lnTo>
                      <a:lnTo>
                        <a:pt x="67487" y="1823224"/>
                      </a:lnTo>
                      <a:lnTo>
                        <a:pt x="68021" y="1823339"/>
                      </a:lnTo>
                      <a:close/>
                    </a:path>
                    <a:path w="2266315" h="1830704">
                      <a:moveTo>
                        <a:pt x="73291" y="290830"/>
                      </a:moveTo>
                      <a:lnTo>
                        <a:pt x="73190" y="289560"/>
                      </a:lnTo>
                      <a:lnTo>
                        <a:pt x="72771" y="290322"/>
                      </a:lnTo>
                      <a:lnTo>
                        <a:pt x="73291" y="290830"/>
                      </a:lnTo>
                      <a:close/>
                    </a:path>
                    <a:path w="2266315" h="1830704">
                      <a:moveTo>
                        <a:pt x="101892" y="302260"/>
                      </a:moveTo>
                      <a:lnTo>
                        <a:pt x="101879" y="302120"/>
                      </a:lnTo>
                      <a:lnTo>
                        <a:pt x="101485" y="302260"/>
                      </a:lnTo>
                      <a:lnTo>
                        <a:pt x="101892" y="302260"/>
                      </a:lnTo>
                      <a:close/>
                    </a:path>
                    <a:path w="2266315" h="1830704">
                      <a:moveTo>
                        <a:pt x="109435" y="1403718"/>
                      </a:moveTo>
                      <a:lnTo>
                        <a:pt x="107823" y="1397266"/>
                      </a:lnTo>
                      <a:lnTo>
                        <a:pt x="107911" y="1396530"/>
                      </a:lnTo>
                      <a:lnTo>
                        <a:pt x="108280" y="1393202"/>
                      </a:lnTo>
                      <a:lnTo>
                        <a:pt x="105714" y="1390383"/>
                      </a:lnTo>
                      <a:lnTo>
                        <a:pt x="104000" y="1387652"/>
                      </a:lnTo>
                      <a:lnTo>
                        <a:pt x="103009" y="1386281"/>
                      </a:lnTo>
                      <a:lnTo>
                        <a:pt x="102501" y="1384477"/>
                      </a:lnTo>
                      <a:lnTo>
                        <a:pt x="102209" y="1382356"/>
                      </a:lnTo>
                      <a:lnTo>
                        <a:pt x="101942" y="1380109"/>
                      </a:lnTo>
                      <a:lnTo>
                        <a:pt x="101815" y="1379499"/>
                      </a:lnTo>
                      <a:lnTo>
                        <a:pt x="101346" y="1378115"/>
                      </a:lnTo>
                      <a:lnTo>
                        <a:pt x="101219" y="1377810"/>
                      </a:lnTo>
                      <a:lnTo>
                        <a:pt x="101117" y="1377632"/>
                      </a:lnTo>
                      <a:lnTo>
                        <a:pt x="100647" y="1377480"/>
                      </a:lnTo>
                      <a:lnTo>
                        <a:pt x="100063" y="1377162"/>
                      </a:lnTo>
                      <a:lnTo>
                        <a:pt x="95656" y="1372057"/>
                      </a:lnTo>
                      <a:lnTo>
                        <a:pt x="95148" y="1370812"/>
                      </a:lnTo>
                      <a:lnTo>
                        <a:pt x="94907" y="1370152"/>
                      </a:lnTo>
                      <a:lnTo>
                        <a:pt x="94754" y="1369656"/>
                      </a:lnTo>
                      <a:lnTo>
                        <a:pt x="88138" y="1376172"/>
                      </a:lnTo>
                      <a:lnTo>
                        <a:pt x="81356" y="1374813"/>
                      </a:lnTo>
                      <a:lnTo>
                        <a:pt x="80987" y="1374711"/>
                      </a:lnTo>
                      <a:lnTo>
                        <a:pt x="79654" y="1374419"/>
                      </a:lnTo>
                      <a:lnTo>
                        <a:pt x="77114" y="1374902"/>
                      </a:lnTo>
                      <a:lnTo>
                        <a:pt x="74891" y="1375625"/>
                      </a:lnTo>
                      <a:lnTo>
                        <a:pt x="73571" y="1375930"/>
                      </a:lnTo>
                      <a:lnTo>
                        <a:pt x="72364" y="1376387"/>
                      </a:lnTo>
                      <a:lnTo>
                        <a:pt x="70561" y="1377721"/>
                      </a:lnTo>
                      <a:lnTo>
                        <a:pt x="69837" y="1378699"/>
                      </a:lnTo>
                      <a:lnTo>
                        <a:pt x="68414" y="1380109"/>
                      </a:lnTo>
                      <a:lnTo>
                        <a:pt x="68110" y="1379499"/>
                      </a:lnTo>
                      <a:lnTo>
                        <a:pt x="67513" y="1379118"/>
                      </a:lnTo>
                      <a:lnTo>
                        <a:pt x="67144" y="1378826"/>
                      </a:lnTo>
                      <a:lnTo>
                        <a:pt x="66192" y="1378369"/>
                      </a:lnTo>
                      <a:lnTo>
                        <a:pt x="65684" y="1379105"/>
                      </a:lnTo>
                      <a:lnTo>
                        <a:pt x="64808" y="1377734"/>
                      </a:lnTo>
                      <a:lnTo>
                        <a:pt x="63334" y="1375435"/>
                      </a:lnTo>
                      <a:lnTo>
                        <a:pt x="60566" y="1377226"/>
                      </a:lnTo>
                      <a:lnTo>
                        <a:pt x="59817" y="1377569"/>
                      </a:lnTo>
                      <a:lnTo>
                        <a:pt x="59105" y="1377734"/>
                      </a:lnTo>
                      <a:lnTo>
                        <a:pt x="56642" y="1377048"/>
                      </a:lnTo>
                      <a:lnTo>
                        <a:pt x="55803" y="1376705"/>
                      </a:lnTo>
                      <a:lnTo>
                        <a:pt x="55041" y="1376578"/>
                      </a:lnTo>
                      <a:lnTo>
                        <a:pt x="54216" y="1376299"/>
                      </a:lnTo>
                      <a:lnTo>
                        <a:pt x="53733" y="1376172"/>
                      </a:lnTo>
                      <a:lnTo>
                        <a:pt x="52857" y="1377073"/>
                      </a:lnTo>
                      <a:lnTo>
                        <a:pt x="52578" y="1377403"/>
                      </a:lnTo>
                      <a:lnTo>
                        <a:pt x="52133" y="1377810"/>
                      </a:lnTo>
                      <a:lnTo>
                        <a:pt x="51574" y="1378369"/>
                      </a:lnTo>
                      <a:lnTo>
                        <a:pt x="50304" y="1379296"/>
                      </a:lnTo>
                      <a:lnTo>
                        <a:pt x="49987" y="1380045"/>
                      </a:lnTo>
                      <a:lnTo>
                        <a:pt x="49796" y="1380172"/>
                      </a:lnTo>
                      <a:lnTo>
                        <a:pt x="49834" y="1382356"/>
                      </a:lnTo>
                      <a:lnTo>
                        <a:pt x="48768" y="1385239"/>
                      </a:lnTo>
                      <a:lnTo>
                        <a:pt x="48209" y="1386382"/>
                      </a:lnTo>
                      <a:lnTo>
                        <a:pt x="48628" y="1388706"/>
                      </a:lnTo>
                      <a:lnTo>
                        <a:pt x="48653" y="1391221"/>
                      </a:lnTo>
                      <a:lnTo>
                        <a:pt x="48387" y="1392351"/>
                      </a:lnTo>
                      <a:lnTo>
                        <a:pt x="48183" y="1394790"/>
                      </a:lnTo>
                      <a:lnTo>
                        <a:pt x="48526" y="1395361"/>
                      </a:lnTo>
                      <a:lnTo>
                        <a:pt x="48793" y="1395907"/>
                      </a:lnTo>
                      <a:lnTo>
                        <a:pt x="49263" y="1396377"/>
                      </a:lnTo>
                      <a:lnTo>
                        <a:pt x="50368" y="1396822"/>
                      </a:lnTo>
                      <a:lnTo>
                        <a:pt x="50609" y="1396606"/>
                      </a:lnTo>
                      <a:lnTo>
                        <a:pt x="50812" y="1396631"/>
                      </a:lnTo>
                      <a:lnTo>
                        <a:pt x="51003" y="1396631"/>
                      </a:lnTo>
                      <a:lnTo>
                        <a:pt x="51257" y="1396530"/>
                      </a:lnTo>
                      <a:lnTo>
                        <a:pt x="51904" y="1396822"/>
                      </a:lnTo>
                      <a:lnTo>
                        <a:pt x="53860" y="1397901"/>
                      </a:lnTo>
                      <a:lnTo>
                        <a:pt x="56019" y="1399171"/>
                      </a:lnTo>
                      <a:lnTo>
                        <a:pt x="55168" y="1400594"/>
                      </a:lnTo>
                      <a:lnTo>
                        <a:pt x="42710" y="1413535"/>
                      </a:lnTo>
                      <a:lnTo>
                        <a:pt x="42710" y="1446352"/>
                      </a:lnTo>
                      <a:lnTo>
                        <a:pt x="41706" y="1447419"/>
                      </a:lnTo>
                      <a:lnTo>
                        <a:pt x="40335" y="1448714"/>
                      </a:lnTo>
                      <a:lnTo>
                        <a:pt x="40195" y="1448854"/>
                      </a:lnTo>
                      <a:lnTo>
                        <a:pt x="40322" y="1448714"/>
                      </a:lnTo>
                      <a:lnTo>
                        <a:pt x="41694" y="1447406"/>
                      </a:lnTo>
                      <a:lnTo>
                        <a:pt x="42710" y="1446352"/>
                      </a:lnTo>
                      <a:lnTo>
                        <a:pt x="42710" y="1413535"/>
                      </a:lnTo>
                      <a:lnTo>
                        <a:pt x="39941" y="1415872"/>
                      </a:lnTo>
                      <a:lnTo>
                        <a:pt x="39941" y="1449120"/>
                      </a:lnTo>
                      <a:lnTo>
                        <a:pt x="39433" y="1449654"/>
                      </a:lnTo>
                      <a:lnTo>
                        <a:pt x="38950" y="1449984"/>
                      </a:lnTo>
                      <a:lnTo>
                        <a:pt x="39420" y="1449654"/>
                      </a:lnTo>
                      <a:lnTo>
                        <a:pt x="39941" y="1449120"/>
                      </a:lnTo>
                      <a:lnTo>
                        <a:pt x="39941" y="1415872"/>
                      </a:lnTo>
                      <a:lnTo>
                        <a:pt x="38874" y="1416761"/>
                      </a:lnTo>
                      <a:lnTo>
                        <a:pt x="37833" y="1417662"/>
                      </a:lnTo>
                      <a:lnTo>
                        <a:pt x="37490" y="1418094"/>
                      </a:lnTo>
                      <a:lnTo>
                        <a:pt x="37490" y="1450809"/>
                      </a:lnTo>
                      <a:lnTo>
                        <a:pt x="37109" y="1450911"/>
                      </a:lnTo>
                      <a:lnTo>
                        <a:pt x="37477" y="1450809"/>
                      </a:lnTo>
                      <a:lnTo>
                        <a:pt x="37490" y="1418094"/>
                      </a:lnTo>
                      <a:lnTo>
                        <a:pt x="37134" y="1419352"/>
                      </a:lnTo>
                      <a:lnTo>
                        <a:pt x="36868" y="1420152"/>
                      </a:lnTo>
                      <a:lnTo>
                        <a:pt x="36842" y="1420329"/>
                      </a:lnTo>
                      <a:lnTo>
                        <a:pt x="36842" y="1450809"/>
                      </a:lnTo>
                      <a:lnTo>
                        <a:pt x="36715" y="1450721"/>
                      </a:lnTo>
                      <a:lnTo>
                        <a:pt x="36842" y="1450809"/>
                      </a:lnTo>
                      <a:lnTo>
                        <a:pt x="36842" y="1420329"/>
                      </a:lnTo>
                      <a:lnTo>
                        <a:pt x="36550" y="1422222"/>
                      </a:lnTo>
                      <a:lnTo>
                        <a:pt x="36334" y="1423339"/>
                      </a:lnTo>
                      <a:lnTo>
                        <a:pt x="36055" y="1424520"/>
                      </a:lnTo>
                      <a:lnTo>
                        <a:pt x="34734" y="1427797"/>
                      </a:lnTo>
                      <a:lnTo>
                        <a:pt x="34734" y="1448904"/>
                      </a:lnTo>
                      <a:lnTo>
                        <a:pt x="34277" y="1449120"/>
                      </a:lnTo>
                      <a:lnTo>
                        <a:pt x="34734" y="1448904"/>
                      </a:lnTo>
                      <a:lnTo>
                        <a:pt x="34734" y="1427797"/>
                      </a:lnTo>
                      <a:lnTo>
                        <a:pt x="33997" y="1429613"/>
                      </a:lnTo>
                      <a:lnTo>
                        <a:pt x="33020" y="1431963"/>
                      </a:lnTo>
                      <a:lnTo>
                        <a:pt x="32499" y="1437106"/>
                      </a:lnTo>
                      <a:lnTo>
                        <a:pt x="32499" y="1449882"/>
                      </a:lnTo>
                      <a:lnTo>
                        <a:pt x="31927" y="1450213"/>
                      </a:lnTo>
                      <a:lnTo>
                        <a:pt x="32499" y="1449882"/>
                      </a:lnTo>
                      <a:lnTo>
                        <a:pt x="32499" y="1437106"/>
                      </a:lnTo>
                      <a:lnTo>
                        <a:pt x="32270" y="1439354"/>
                      </a:lnTo>
                      <a:lnTo>
                        <a:pt x="31216" y="1443113"/>
                      </a:lnTo>
                      <a:lnTo>
                        <a:pt x="31470" y="1446352"/>
                      </a:lnTo>
                      <a:lnTo>
                        <a:pt x="31584" y="1449425"/>
                      </a:lnTo>
                      <a:lnTo>
                        <a:pt x="31178" y="1450352"/>
                      </a:lnTo>
                      <a:lnTo>
                        <a:pt x="30594" y="1450911"/>
                      </a:lnTo>
                      <a:lnTo>
                        <a:pt x="29616" y="1451749"/>
                      </a:lnTo>
                      <a:lnTo>
                        <a:pt x="30086" y="1451648"/>
                      </a:lnTo>
                      <a:lnTo>
                        <a:pt x="30441" y="1451330"/>
                      </a:lnTo>
                      <a:lnTo>
                        <a:pt x="30975" y="1450911"/>
                      </a:lnTo>
                      <a:lnTo>
                        <a:pt x="31203" y="1450721"/>
                      </a:lnTo>
                      <a:lnTo>
                        <a:pt x="31788" y="1450314"/>
                      </a:lnTo>
                      <a:lnTo>
                        <a:pt x="30975" y="1450911"/>
                      </a:lnTo>
                      <a:lnTo>
                        <a:pt x="30099" y="1451648"/>
                      </a:lnTo>
                      <a:lnTo>
                        <a:pt x="29616" y="1451749"/>
                      </a:lnTo>
                      <a:lnTo>
                        <a:pt x="28943" y="1452295"/>
                      </a:lnTo>
                      <a:lnTo>
                        <a:pt x="25374" y="1455470"/>
                      </a:lnTo>
                      <a:lnTo>
                        <a:pt x="25717" y="1458429"/>
                      </a:lnTo>
                      <a:lnTo>
                        <a:pt x="25742" y="1458988"/>
                      </a:lnTo>
                      <a:lnTo>
                        <a:pt x="22123" y="1464716"/>
                      </a:lnTo>
                      <a:lnTo>
                        <a:pt x="21958" y="1465605"/>
                      </a:lnTo>
                      <a:lnTo>
                        <a:pt x="21666" y="1466532"/>
                      </a:lnTo>
                      <a:lnTo>
                        <a:pt x="23152" y="1468818"/>
                      </a:lnTo>
                      <a:lnTo>
                        <a:pt x="23317" y="1469097"/>
                      </a:lnTo>
                      <a:lnTo>
                        <a:pt x="23495" y="1469021"/>
                      </a:lnTo>
                      <a:lnTo>
                        <a:pt x="23444" y="1468539"/>
                      </a:lnTo>
                      <a:lnTo>
                        <a:pt x="23672" y="1468196"/>
                      </a:lnTo>
                      <a:lnTo>
                        <a:pt x="24345" y="1467713"/>
                      </a:lnTo>
                      <a:lnTo>
                        <a:pt x="24765" y="1467586"/>
                      </a:lnTo>
                      <a:lnTo>
                        <a:pt x="25171" y="1467535"/>
                      </a:lnTo>
                      <a:lnTo>
                        <a:pt x="25615" y="1467421"/>
                      </a:lnTo>
                      <a:lnTo>
                        <a:pt x="26073" y="1467497"/>
                      </a:lnTo>
                      <a:lnTo>
                        <a:pt x="26949" y="1467942"/>
                      </a:lnTo>
                      <a:lnTo>
                        <a:pt x="28448" y="1468780"/>
                      </a:lnTo>
                      <a:lnTo>
                        <a:pt x="29222" y="1470583"/>
                      </a:lnTo>
                      <a:lnTo>
                        <a:pt x="31191" y="1470393"/>
                      </a:lnTo>
                      <a:lnTo>
                        <a:pt x="31800" y="1470279"/>
                      </a:lnTo>
                      <a:lnTo>
                        <a:pt x="33820" y="1469466"/>
                      </a:lnTo>
                      <a:lnTo>
                        <a:pt x="35064" y="1468780"/>
                      </a:lnTo>
                      <a:lnTo>
                        <a:pt x="37211" y="1467802"/>
                      </a:lnTo>
                      <a:lnTo>
                        <a:pt x="37134" y="1467421"/>
                      </a:lnTo>
                      <a:lnTo>
                        <a:pt x="36779" y="1465605"/>
                      </a:lnTo>
                      <a:lnTo>
                        <a:pt x="36830" y="1463255"/>
                      </a:lnTo>
                      <a:lnTo>
                        <a:pt x="39751" y="1464970"/>
                      </a:lnTo>
                      <a:lnTo>
                        <a:pt x="42532" y="1463675"/>
                      </a:lnTo>
                      <a:lnTo>
                        <a:pt x="43776" y="1463738"/>
                      </a:lnTo>
                      <a:lnTo>
                        <a:pt x="44932" y="1464297"/>
                      </a:lnTo>
                      <a:lnTo>
                        <a:pt x="45783" y="1464538"/>
                      </a:lnTo>
                      <a:lnTo>
                        <a:pt x="46596" y="1464386"/>
                      </a:lnTo>
                      <a:lnTo>
                        <a:pt x="47205" y="1464183"/>
                      </a:lnTo>
                      <a:lnTo>
                        <a:pt x="47459" y="1464183"/>
                      </a:lnTo>
                      <a:lnTo>
                        <a:pt x="48196" y="1464068"/>
                      </a:lnTo>
                      <a:lnTo>
                        <a:pt x="48768" y="1463840"/>
                      </a:lnTo>
                      <a:lnTo>
                        <a:pt x="49022" y="1463675"/>
                      </a:lnTo>
                      <a:lnTo>
                        <a:pt x="49466" y="1463255"/>
                      </a:lnTo>
                      <a:lnTo>
                        <a:pt x="49784" y="1462443"/>
                      </a:lnTo>
                      <a:lnTo>
                        <a:pt x="50177" y="1461744"/>
                      </a:lnTo>
                      <a:lnTo>
                        <a:pt x="50380" y="1460817"/>
                      </a:lnTo>
                      <a:lnTo>
                        <a:pt x="50215" y="1458988"/>
                      </a:lnTo>
                      <a:lnTo>
                        <a:pt x="49352" y="1458429"/>
                      </a:lnTo>
                      <a:lnTo>
                        <a:pt x="49326" y="1455356"/>
                      </a:lnTo>
                      <a:lnTo>
                        <a:pt x="49085" y="1453680"/>
                      </a:lnTo>
                      <a:lnTo>
                        <a:pt x="48806" y="1452867"/>
                      </a:lnTo>
                      <a:lnTo>
                        <a:pt x="47650" y="1450911"/>
                      </a:lnTo>
                      <a:lnTo>
                        <a:pt x="44437" y="1445450"/>
                      </a:lnTo>
                      <a:lnTo>
                        <a:pt x="44602" y="1445374"/>
                      </a:lnTo>
                      <a:lnTo>
                        <a:pt x="44856" y="1445374"/>
                      </a:lnTo>
                      <a:lnTo>
                        <a:pt x="50850" y="1444891"/>
                      </a:lnTo>
                      <a:lnTo>
                        <a:pt x="56870" y="1444510"/>
                      </a:lnTo>
                      <a:lnTo>
                        <a:pt x="63233" y="1444510"/>
                      </a:lnTo>
                      <a:lnTo>
                        <a:pt x="63982" y="1444396"/>
                      </a:lnTo>
                      <a:lnTo>
                        <a:pt x="64147" y="1444396"/>
                      </a:lnTo>
                      <a:lnTo>
                        <a:pt x="64147" y="1443329"/>
                      </a:lnTo>
                      <a:lnTo>
                        <a:pt x="63220" y="1443329"/>
                      </a:lnTo>
                      <a:lnTo>
                        <a:pt x="62153" y="1440980"/>
                      </a:lnTo>
                      <a:lnTo>
                        <a:pt x="66802" y="1434477"/>
                      </a:lnTo>
                      <a:lnTo>
                        <a:pt x="66344" y="1434172"/>
                      </a:lnTo>
                      <a:lnTo>
                        <a:pt x="64401" y="1430045"/>
                      </a:lnTo>
                      <a:lnTo>
                        <a:pt x="74955" y="1429461"/>
                      </a:lnTo>
                      <a:lnTo>
                        <a:pt x="74637" y="1427937"/>
                      </a:lnTo>
                      <a:lnTo>
                        <a:pt x="74726" y="1427530"/>
                      </a:lnTo>
                      <a:lnTo>
                        <a:pt x="75463" y="1426019"/>
                      </a:lnTo>
                      <a:lnTo>
                        <a:pt x="75501" y="1427124"/>
                      </a:lnTo>
                      <a:lnTo>
                        <a:pt x="75628" y="1428724"/>
                      </a:lnTo>
                      <a:lnTo>
                        <a:pt x="75984" y="1429613"/>
                      </a:lnTo>
                      <a:lnTo>
                        <a:pt x="80098" y="1428889"/>
                      </a:lnTo>
                      <a:lnTo>
                        <a:pt x="80276" y="1428724"/>
                      </a:lnTo>
                      <a:lnTo>
                        <a:pt x="82169" y="1427530"/>
                      </a:lnTo>
                      <a:lnTo>
                        <a:pt x="83832" y="1426019"/>
                      </a:lnTo>
                      <a:lnTo>
                        <a:pt x="85064" y="1424889"/>
                      </a:lnTo>
                      <a:lnTo>
                        <a:pt x="83172" y="1424076"/>
                      </a:lnTo>
                      <a:lnTo>
                        <a:pt x="84810" y="1423873"/>
                      </a:lnTo>
                      <a:lnTo>
                        <a:pt x="85737" y="1423111"/>
                      </a:lnTo>
                      <a:lnTo>
                        <a:pt x="86956" y="1426019"/>
                      </a:lnTo>
                      <a:lnTo>
                        <a:pt x="87274" y="1427708"/>
                      </a:lnTo>
                      <a:lnTo>
                        <a:pt x="88976" y="1427645"/>
                      </a:lnTo>
                      <a:lnTo>
                        <a:pt x="90119" y="1425778"/>
                      </a:lnTo>
                      <a:lnTo>
                        <a:pt x="90424" y="1425473"/>
                      </a:lnTo>
                      <a:lnTo>
                        <a:pt x="90525" y="1427124"/>
                      </a:lnTo>
                      <a:lnTo>
                        <a:pt x="90830" y="1427937"/>
                      </a:lnTo>
                      <a:lnTo>
                        <a:pt x="92748" y="1427835"/>
                      </a:lnTo>
                      <a:lnTo>
                        <a:pt x="93357" y="1427708"/>
                      </a:lnTo>
                      <a:lnTo>
                        <a:pt x="93764" y="1427594"/>
                      </a:lnTo>
                      <a:lnTo>
                        <a:pt x="94526" y="1427645"/>
                      </a:lnTo>
                      <a:lnTo>
                        <a:pt x="94767" y="1427124"/>
                      </a:lnTo>
                      <a:lnTo>
                        <a:pt x="94869" y="1426222"/>
                      </a:lnTo>
                      <a:lnTo>
                        <a:pt x="95377" y="1425473"/>
                      </a:lnTo>
                      <a:lnTo>
                        <a:pt x="95694" y="1424825"/>
                      </a:lnTo>
                      <a:lnTo>
                        <a:pt x="96151" y="1423784"/>
                      </a:lnTo>
                      <a:lnTo>
                        <a:pt x="96545" y="1423111"/>
                      </a:lnTo>
                      <a:lnTo>
                        <a:pt x="97066" y="1422222"/>
                      </a:lnTo>
                      <a:lnTo>
                        <a:pt x="98501" y="1420368"/>
                      </a:lnTo>
                      <a:lnTo>
                        <a:pt x="98971" y="1419860"/>
                      </a:lnTo>
                      <a:lnTo>
                        <a:pt x="99656" y="1418717"/>
                      </a:lnTo>
                      <a:lnTo>
                        <a:pt x="100926" y="1416291"/>
                      </a:lnTo>
                      <a:lnTo>
                        <a:pt x="101511" y="1415415"/>
                      </a:lnTo>
                      <a:lnTo>
                        <a:pt x="102095" y="1414767"/>
                      </a:lnTo>
                      <a:lnTo>
                        <a:pt x="102387" y="1414589"/>
                      </a:lnTo>
                      <a:lnTo>
                        <a:pt x="102679" y="1414449"/>
                      </a:lnTo>
                      <a:lnTo>
                        <a:pt x="102844" y="1414449"/>
                      </a:lnTo>
                      <a:lnTo>
                        <a:pt x="102997" y="1414551"/>
                      </a:lnTo>
                      <a:lnTo>
                        <a:pt x="103111" y="1414170"/>
                      </a:lnTo>
                      <a:lnTo>
                        <a:pt x="103327" y="1413941"/>
                      </a:lnTo>
                      <a:lnTo>
                        <a:pt x="104482" y="1413268"/>
                      </a:lnTo>
                      <a:lnTo>
                        <a:pt x="105879" y="1413421"/>
                      </a:lnTo>
                      <a:lnTo>
                        <a:pt x="105981" y="1413268"/>
                      </a:lnTo>
                      <a:lnTo>
                        <a:pt x="106718" y="1412087"/>
                      </a:lnTo>
                      <a:lnTo>
                        <a:pt x="106172" y="1411046"/>
                      </a:lnTo>
                      <a:lnTo>
                        <a:pt x="106299" y="1409966"/>
                      </a:lnTo>
                      <a:lnTo>
                        <a:pt x="106934" y="1408328"/>
                      </a:lnTo>
                      <a:lnTo>
                        <a:pt x="108051" y="1405978"/>
                      </a:lnTo>
                      <a:lnTo>
                        <a:pt x="109435" y="1403718"/>
                      </a:lnTo>
                      <a:close/>
                    </a:path>
                    <a:path w="2266315" h="1830704">
                      <a:moveTo>
                        <a:pt x="135369" y="731520"/>
                      </a:moveTo>
                      <a:lnTo>
                        <a:pt x="135077" y="731520"/>
                      </a:lnTo>
                      <a:lnTo>
                        <a:pt x="132892" y="734060"/>
                      </a:lnTo>
                      <a:lnTo>
                        <a:pt x="135369" y="731520"/>
                      </a:lnTo>
                      <a:close/>
                    </a:path>
                    <a:path w="2266315" h="1830704">
                      <a:moveTo>
                        <a:pt x="146964" y="730123"/>
                      </a:moveTo>
                      <a:lnTo>
                        <a:pt x="146545" y="727710"/>
                      </a:lnTo>
                      <a:lnTo>
                        <a:pt x="145821" y="728980"/>
                      </a:lnTo>
                      <a:lnTo>
                        <a:pt x="146964" y="730123"/>
                      </a:lnTo>
                      <a:close/>
                    </a:path>
                    <a:path w="2266315" h="1830704">
                      <a:moveTo>
                        <a:pt x="276656" y="267970"/>
                      </a:moveTo>
                      <a:lnTo>
                        <a:pt x="275513" y="266700"/>
                      </a:lnTo>
                      <a:lnTo>
                        <a:pt x="273900" y="264160"/>
                      </a:lnTo>
                      <a:lnTo>
                        <a:pt x="274548" y="262890"/>
                      </a:lnTo>
                      <a:lnTo>
                        <a:pt x="270510" y="260350"/>
                      </a:lnTo>
                      <a:lnTo>
                        <a:pt x="267957" y="259080"/>
                      </a:lnTo>
                      <a:lnTo>
                        <a:pt x="265988" y="256540"/>
                      </a:lnTo>
                      <a:lnTo>
                        <a:pt x="265061" y="255270"/>
                      </a:lnTo>
                      <a:lnTo>
                        <a:pt x="266915" y="255270"/>
                      </a:lnTo>
                      <a:lnTo>
                        <a:pt x="227317" y="250190"/>
                      </a:lnTo>
                      <a:lnTo>
                        <a:pt x="230098" y="252730"/>
                      </a:lnTo>
                      <a:lnTo>
                        <a:pt x="232752" y="254000"/>
                      </a:lnTo>
                      <a:lnTo>
                        <a:pt x="237769" y="256540"/>
                      </a:lnTo>
                      <a:lnTo>
                        <a:pt x="239471" y="257810"/>
                      </a:lnTo>
                      <a:lnTo>
                        <a:pt x="240499" y="257810"/>
                      </a:lnTo>
                      <a:lnTo>
                        <a:pt x="241350" y="259080"/>
                      </a:lnTo>
                      <a:lnTo>
                        <a:pt x="242011" y="261620"/>
                      </a:lnTo>
                      <a:lnTo>
                        <a:pt x="243128" y="264160"/>
                      </a:lnTo>
                      <a:lnTo>
                        <a:pt x="242900" y="265430"/>
                      </a:lnTo>
                      <a:lnTo>
                        <a:pt x="243090" y="264160"/>
                      </a:lnTo>
                      <a:lnTo>
                        <a:pt x="241744" y="265430"/>
                      </a:lnTo>
                      <a:lnTo>
                        <a:pt x="240284" y="265430"/>
                      </a:lnTo>
                      <a:lnTo>
                        <a:pt x="240004" y="266700"/>
                      </a:lnTo>
                      <a:lnTo>
                        <a:pt x="239280" y="267970"/>
                      </a:lnTo>
                      <a:lnTo>
                        <a:pt x="239852" y="267970"/>
                      </a:lnTo>
                      <a:lnTo>
                        <a:pt x="241007" y="267970"/>
                      </a:lnTo>
                      <a:lnTo>
                        <a:pt x="276656" y="267970"/>
                      </a:lnTo>
                      <a:close/>
                    </a:path>
                    <a:path w="2266315" h="1830704">
                      <a:moveTo>
                        <a:pt x="306476" y="725170"/>
                      </a:moveTo>
                      <a:lnTo>
                        <a:pt x="305828" y="723900"/>
                      </a:lnTo>
                      <a:lnTo>
                        <a:pt x="305701" y="723823"/>
                      </a:lnTo>
                      <a:lnTo>
                        <a:pt x="306476" y="725170"/>
                      </a:lnTo>
                      <a:close/>
                    </a:path>
                    <a:path w="2266315" h="1830704">
                      <a:moveTo>
                        <a:pt x="313804" y="717550"/>
                      </a:moveTo>
                      <a:lnTo>
                        <a:pt x="313461" y="716280"/>
                      </a:lnTo>
                      <a:lnTo>
                        <a:pt x="312610" y="716280"/>
                      </a:lnTo>
                      <a:lnTo>
                        <a:pt x="313245" y="717550"/>
                      </a:lnTo>
                      <a:lnTo>
                        <a:pt x="313804" y="717550"/>
                      </a:lnTo>
                      <a:close/>
                    </a:path>
                    <a:path w="2266315" h="1830704">
                      <a:moveTo>
                        <a:pt x="417068" y="1044625"/>
                      </a:moveTo>
                      <a:lnTo>
                        <a:pt x="413905" y="1043317"/>
                      </a:lnTo>
                      <a:lnTo>
                        <a:pt x="412584" y="1045413"/>
                      </a:lnTo>
                      <a:lnTo>
                        <a:pt x="411429" y="1047470"/>
                      </a:lnTo>
                      <a:lnTo>
                        <a:pt x="411429" y="1056055"/>
                      </a:lnTo>
                      <a:lnTo>
                        <a:pt x="411327" y="1052144"/>
                      </a:lnTo>
                      <a:lnTo>
                        <a:pt x="411429" y="1056055"/>
                      </a:lnTo>
                      <a:lnTo>
                        <a:pt x="411429" y="1047470"/>
                      </a:lnTo>
                      <a:lnTo>
                        <a:pt x="411137" y="1047978"/>
                      </a:lnTo>
                      <a:lnTo>
                        <a:pt x="411124" y="1049147"/>
                      </a:lnTo>
                      <a:lnTo>
                        <a:pt x="411073" y="1048004"/>
                      </a:lnTo>
                      <a:lnTo>
                        <a:pt x="409435" y="1048296"/>
                      </a:lnTo>
                      <a:lnTo>
                        <a:pt x="409689" y="1049375"/>
                      </a:lnTo>
                      <a:lnTo>
                        <a:pt x="409752" y="1049934"/>
                      </a:lnTo>
                      <a:lnTo>
                        <a:pt x="408597" y="1051458"/>
                      </a:lnTo>
                      <a:lnTo>
                        <a:pt x="407416" y="1052969"/>
                      </a:lnTo>
                      <a:lnTo>
                        <a:pt x="406273" y="1054481"/>
                      </a:lnTo>
                      <a:lnTo>
                        <a:pt x="405218" y="1055827"/>
                      </a:lnTo>
                      <a:lnTo>
                        <a:pt x="403339" y="1056881"/>
                      </a:lnTo>
                      <a:lnTo>
                        <a:pt x="402183" y="1058087"/>
                      </a:lnTo>
                      <a:lnTo>
                        <a:pt x="398983" y="1061351"/>
                      </a:lnTo>
                      <a:lnTo>
                        <a:pt x="396163" y="1064717"/>
                      </a:lnTo>
                      <a:lnTo>
                        <a:pt x="390690" y="1068501"/>
                      </a:lnTo>
                      <a:lnTo>
                        <a:pt x="390347" y="1069225"/>
                      </a:lnTo>
                      <a:lnTo>
                        <a:pt x="389420" y="1071054"/>
                      </a:lnTo>
                      <a:lnTo>
                        <a:pt x="388721" y="1072489"/>
                      </a:lnTo>
                      <a:lnTo>
                        <a:pt x="387908" y="1075131"/>
                      </a:lnTo>
                      <a:lnTo>
                        <a:pt x="384975" y="1077264"/>
                      </a:lnTo>
                      <a:lnTo>
                        <a:pt x="383743" y="1075893"/>
                      </a:lnTo>
                      <a:lnTo>
                        <a:pt x="382168" y="1075715"/>
                      </a:lnTo>
                      <a:lnTo>
                        <a:pt x="384136" y="1077404"/>
                      </a:lnTo>
                      <a:lnTo>
                        <a:pt x="379082" y="1078992"/>
                      </a:lnTo>
                      <a:lnTo>
                        <a:pt x="376148" y="1079385"/>
                      </a:lnTo>
                      <a:lnTo>
                        <a:pt x="375386" y="1078979"/>
                      </a:lnTo>
                      <a:lnTo>
                        <a:pt x="370636" y="1077950"/>
                      </a:lnTo>
                      <a:lnTo>
                        <a:pt x="366598" y="1077950"/>
                      </a:lnTo>
                      <a:lnTo>
                        <a:pt x="360730" y="1079284"/>
                      </a:lnTo>
                      <a:lnTo>
                        <a:pt x="352171" y="1082433"/>
                      </a:lnTo>
                      <a:lnTo>
                        <a:pt x="349288" y="1079550"/>
                      </a:lnTo>
                      <a:lnTo>
                        <a:pt x="349326" y="1078953"/>
                      </a:lnTo>
                      <a:lnTo>
                        <a:pt x="349631" y="1078268"/>
                      </a:lnTo>
                      <a:lnTo>
                        <a:pt x="348945" y="1077137"/>
                      </a:lnTo>
                      <a:lnTo>
                        <a:pt x="348665" y="1076667"/>
                      </a:lnTo>
                      <a:lnTo>
                        <a:pt x="348183" y="1077137"/>
                      </a:lnTo>
                      <a:lnTo>
                        <a:pt x="347548" y="1076845"/>
                      </a:lnTo>
                      <a:lnTo>
                        <a:pt x="347129" y="1075499"/>
                      </a:lnTo>
                      <a:lnTo>
                        <a:pt x="346760" y="1075499"/>
                      </a:lnTo>
                      <a:lnTo>
                        <a:pt x="346595" y="1074915"/>
                      </a:lnTo>
                      <a:lnTo>
                        <a:pt x="346417" y="1074750"/>
                      </a:lnTo>
                      <a:lnTo>
                        <a:pt x="346417" y="1075601"/>
                      </a:lnTo>
                      <a:lnTo>
                        <a:pt x="346075" y="1075715"/>
                      </a:lnTo>
                      <a:lnTo>
                        <a:pt x="346087" y="1075893"/>
                      </a:lnTo>
                      <a:lnTo>
                        <a:pt x="346621" y="1077722"/>
                      </a:lnTo>
                      <a:lnTo>
                        <a:pt x="346951" y="1079868"/>
                      </a:lnTo>
                      <a:lnTo>
                        <a:pt x="357962" y="1092631"/>
                      </a:lnTo>
                      <a:lnTo>
                        <a:pt x="360553" y="1095781"/>
                      </a:lnTo>
                      <a:lnTo>
                        <a:pt x="360768" y="1095921"/>
                      </a:lnTo>
                      <a:lnTo>
                        <a:pt x="360997" y="1096035"/>
                      </a:lnTo>
                      <a:lnTo>
                        <a:pt x="397306" y="1099451"/>
                      </a:lnTo>
                      <a:lnTo>
                        <a:pt x="397459" y="1099553"/>
                      </a:lnTo>
                      <a:lnTo>
                        <a:pt x="397624" y="1099604"/>
                      </a:lnTo>
                      <a:lnTo>
                        <a:pt x="397852" y="1099629"/>
                      </a:lnTo>
                      <a:lnTo>
                        <a:pt x="398081" y="1099604"/>
                      </a:lnTo>
                      <a:lnTo>
                        <a:pt x="398068" y="1099451"/>
                      </a:lnTo>
                      <a:lnTo>
                        <a:pt x="398183" y="1099591"/>
                      </a:lnTo>
                      <a:lnTo>
                        <a:pt x="398360" y="1099553"/>
                      </a:lnTo>
                      <a:lnTo>
                        <a:pt x="398322" y="1099121"/>
                      </a:lnTo>
                      <a:lnTo>
                        <a:pt x="398284" y="1098753"/>
                      </a:lnTo>
                      <a:lnTo>
                        <a:pt x="398983" y="1096454"/>
                      </a:lnTo>
                      <a:lnTo>
                        <a:pt x="401345" y="1085126"/>
                      </a:lnTo>
                      <a:lnTo>
                        <a:pt x="401421" y="1084224"/>
                      </a:lnTo>
                      <a:lnTo>
                        <a:pt x="401548" y="1083373"/>
                      </a:lnTo>
                      <a:lnTo>
                        <a:pt x="401726" y="1082433"/>
                      </a:lnTo>
                      <a:lnTo>
                        <a:pt x="401840" y="1081811"/>
                      </a:lnTo>
                      <a:lnTo>
                        <a:pt x="402361" y="1080579"/>
                      </a:lnTo>
                      <a:lnTo>
                        <a:pt x="404101" y="1079766"/>
                      </a:lnTo>
                      <a:lnTo>
                        <a:pt x="404329" y="1079677"/>
                      </a:lnTo>
                      <a:lnTo>
                        <a:pt x="404558" y="1079677"/>
                      </a:lnTo>
                      <a:lnTo>
                        <a:pt x="404774" y="1079639"/>
                      </a:lnTo>
                      <a:lnTo>
                        <a:pt x="405041" y="1079627"/>
                      </a:lnTo>
                      <a:lnTo>
                        <a:pt x="405282" y="1079576"/>
                      </a:lnTo>
                      <a:lnTo>
                        <a:pt x="406057" y="1079601"/>
                      </a:lnTo>
                      <a:lnTo>
                        <a:pt x="406742" y="1079576"/>
                      </a:lnTo>
                      <a:lnTo>
                        <a:pt x="407416" y="1079550"/>
                      </a:lnTo>
                      <a:lnTo>
                        <a:pt x="407987" y="1079385"/>
                      </a:lnTo>
                      <a:lnTo>
                        <a:pt x="408508" y="1079233"/>
                      </a:lnTo>
                      <a:lnTo>
                        <a:pt x="409892" y="1078953"/>
                      </a:lnTo>
                      <a:lnTo>
                        <a:pt x="409536" y="1078420"/>
                      </a:lnTo>
                      <a:lnTo>
                        <a:pt x="407898" y="1077264"/>
                      </a:lnTo>
                      <a:lnTo>
                        <a:pt x="406615" y="1076363"/>
                      </a:lnTo>
                      <a:lnTo>
                        <a:pt x="406704" y="1072489"/>
                      </a:lnTo>
                      <a:lnTo>
                        <a:pt x="406984" y="1070876"/>
                      </a:lnTo>
                      <a:lnTo>
                        <a:pt x="407860" y="1068476"/>
                      </a:lnTo>
                      <a:lnTo>
                        <a:pt x="410692" y="1068476"/>
                      </a:lnTo>
                      <a:lnTo>
                        <a:pt x="410781" y="1068832"/>
                      </a:lnTo>
                      <a:lnTo>
                        <a:pt x="411213" y="1068476"/>
                      </a:lnTo>
                      <a:lnTo>
                        <a:pt x="413169" y="1067092"/>
                      </a:lnTo>
                      <a:lnTo>
                        <a:pt x="414032" y="1067092"/>
                      </a:lnTo>
                      <a:lnTo>
                        <a:pt x="414858" y="1065403"/>
                      </a:lnTo>
                      <a:lnTo>
                        <a:pt x="415163" y="1064717"/>
                      </a:lnTo>
                      <a:lnTo>
                        <a:pt x="414883" y="1064552"/>
                      </a:lnTo>
                      <a:lnTo>
                        <a:pt x="415010" y="1063218"/>
                      </a:lnTo>
                      <a:lnTo>
                        <a:pt x="415188" y="1060132"/>
                      </a:lnTo>
                      <a:lnTo>
                        <a:pt x="414870" y="1058570"/>
                      </a:lnTo>
                      <a:lnTo>
                        <a:pt x="414083" y="1056513"/>
                      </a:lnTo>
                      <a:lnTo>
                        <a:pt x="414350" y="1056436"/>
                      </a:lnTo>
                      <a:lnTo>
                        <a:pt x="414604" y="1056335"/>
                      </a:lnTo>
                      <a:lnTo>
                        <a:pt x="414820" y="1056132"/>
                      </a:lnTo>
                      <a:lnTo>
                        <a:pt x="413931" y="1054849"/>
                      </a:lnTo>
                      <a:lnTo>
                        <a:pt x="414896" y="1053579"/>
                      </a:lnTo>
                      <a:lnTo>
                        <a:pt x="416293" y="1048156"/>
                      </a:lnTo>
                      <a:lnTo>
                        <a:pt x="415480" y="1048105"/>
                      </a:lnTo>
                      <a:lnTo>
                        <a:pt x="414858" y="1047584"/>
                      </a:lnTo>
                      <a:lnTo>
                        <a:pt x="414401" y="1046911"/>
                      </a:lnTo>
                      <a:lnTo>
                        <a:pt x="415251" y="1046149"/>
                      </a:lnTo>
                      <a:lnTo>
                        <a:pt x="417068" y="1044625"/>
                      </a:lnTo>
                      <a:close/>
                    </a:path>
                    <a:path w="2266315" h="1830704">
                      <a:moveTo>
                        <a:pt x="722985" y="274320"/>
                      </a:moveTo>
                      <a:lnTo>
                        <a:pt x="722820" y="274002"/>
                      </a:lnTo>
                      <a:lnTo>
                        <a:pt x="722376" y="274320"/>
                      </a:lnTo>
                      <a:lnTo>
                        <a:pt x="722985" y="274320"/>
                      </a:lnTo>
                      <a:close/>
                    </a:path>
                    <a:path w="2266315" h="1830704">
                      <a:moveTo>
                        <a:pt x="728345" y="187159"/>
                      </a:moveTo>
                      <a:lnTo>
                        <a:pt x="727938" y="186690"/>
                      </a:lnTo>
                      <a:lnTo>
                        <a:pt x="728141" y="187960"/>
                      </a:lnTo>
                      <a:lnTo>
                        <a:pt x="728345" y="187159"/>
                      </a:lnTo>
                      <a:close/>
                    </a:path>
                    <a:path w="2266315" h="1830704">
                      <a:moveTo>
                        <a:pt x="1122489" y="17780"/>
                      </a:moveTo>
                      <a:lnTo>
                        <a:pt x="1122172" y="17780"/>
                      </a:lnTo>
                      <a:lnTo>
                        <a:pt x="1122019" y="19050"/>
                      </a:lnTo>
                      <a:lnTo>
                        <a:pt x="1122451" y="19050"/>
                      </a:lnTo>
                      <a:lnTo>
                        <a:pt x="1122489" y="17780"/>
                      </a:lnTo>
                      <a:close/>
                    </a:path>
                    <a:path w="2266315" h="1830704">
                      <a:moveTo>
                        <a:pt x="1167828" y="580237"/>
                      </a:moveTo>
                      <a:lnTo>
                        <a:pt x="1167536" y="580110"/>
                      </a:lnTo>
                      <a:lnTo>
                        <a:pt x="1167282" y="580390"/>
                      </a:lnTo>
                      <a:lnTo>
                        <a:pt x="1167828" y="580237"/>
                      </a:lnTo>
                      <a:close/>
                    </a:path>
                    <a:path w="2266315" h="1830704">
                      <a:moveTo>
                        <a:pt x="1169530" y="577850"/>
                      </a:moveTo>
                      <a:lnTo>
                        <a:pt x="1168946" y="576580"/>
                      </a:lnTo>
                      <a:lnTo>
                        <a:pt x="1166634" y="574040"/>
                      </a:lnTo>
                      <a:lnTo>
                        <a:pt x="1161694" y="581660"/>
                      </a:lnTo>
                      <a:lnTo>
                        <a:pt x="1163205" y="581660"/>
                      </a:lnTo>
                      <a:lnTo>
                        <a:pt x="1165364" y="579120"/>
                      </a:lnTo>
                      <a:lnTo>
                        <a:pt x="1167536" y="580110"/>
                      </a:lnTo>
                      <a:lnTo>
                        <a:pt x="1168412" y="579120"/>
                      </a:lnTo>
                      <a:lnTo>
                        <a:pt x="1169530" y="577850"/>
                      </a:lnTo>
                      <a:close/>
                    </a:path>
                    <a:path w="2266315" h="1830704">
                      <a:moveTo>
                        <a:pt x="1232230" y="48260"/>
                      </a:moveTo>
                      <a:lnTo>
                        <a:pt x="1232039" y="46990"/>
                      </a:lnTo>
                      <a:lnTo>
                        <a:pt x="1232065" y="48018"/>
                      </a:lnTo>
                      <a:lnTo>
                        <a:pt x="1232230" y="48260"/>
                      </a:lnTo>
                      <a:close/>
                    </a:path>
                    <a:path w="2266315" h="1830704">
                      <a:moveTo>
                        <a:pt x="1430121" y="1550809"/>
                      </a:moveTo>
                      <a:lnTo>
                        <a:pt x="1428940" y="1549793"/>
                      </a:lnTo>
                      <a:lnTo>
                        <a:pt x="1406004" y="1552892"/>
                      </a:lnTo>
                      <a:lnTo>
                        <a:pt x="1403718" y="1553044"/>
                      </a:lnTo>
                      <a:lnTo>
                        <a:pt x="1399159" y="1554175"/>
                      </a:lnTo>
                      <a:lnTo>
                        <a:pt x="1399159" y="1559242"/>
                      </a:lnTo>
                      <a:lnTo>
                        <a:pt x="1398828" y="1559090"/>
                      </a:lnTo>
                      <a:lnTo>
                        <a:pt x="1399159" y="1559242"/>
                      </a:lnTo>
                      <a:lnTo>
                        <a:pt x="1399159" y="1554175"/>
                      </a:lnTo>
                      <a:lnTo>
                        <a:pt x="1398752" y="1554264"/>
                      </a:lnTo>
                      <a:lnTo>
                        <a:pt x="1398155" y="1556054"/>
                      </a:lnTo>
                      <a:lnTo>
                        <a:pt x="1396707" y="1558480"/>
                      </a:lnTo>
                      <a:lnTo>
                        <a:pt x="1396606" y="1558683"/>
                      </a:lnTo>
                      <a:lnTo>
                        <a:pt x="1394866" y="1559458"/>
                      </a:lnTo>
                      <a:lnTo>
                        <a:pt x="1393164" y="1560296"/>
                      </a:lnTo>
                      <a:lnTo>
                        <a:pt x="1390396" y="1561757"/>
                      </a:lnTo>
                      <a:lnTo>
                        <a:pt x="1390396" y="1562227"/>
                      </a:lnTo>
                      <a:lnTo>
                        <a:pt x="1389494" y="1563966"/>
                      </a:lnTo>
                      <a:lnTo>
                        <a:pt x="1389126" y="1564233"/>
                      </a:lnTo>
                      <a:lnTo>
                        <a:pt x="1389583" y="1563535"/>
                      </a:lnTo>
                      <a:lnTo>
                        <a:pt x="1389913" y="1562989"/>
                      </a:lnTo>
                      <a:lnTo>
                        <a:pt x="1389913" y="1562176"/>
                      </a:lnTo>
                      <a:lnTo>
                        <a:pt x="1390396" y="1562227"/>
                      </a:lnTo>
                      <a:lnTo>
                        <a:pt x="1390396" y="1561757"/>
                      </a:lnTo>
                      <a:lnTo>
                        <a:pt x="1390015" y="1561947"/>
                      </a:lnTo>
                      <a:lnTo>
                        <a:pt x="1390116" y="1561719"/>
                      </a:lnTo>
                      <a:lnTo>
                        <a:pt x="1382814" y="1564373"/>
                      </a:lnTo>
                      <a:lnTo>
                        <a:pt x="1381544" y="1564830"/>
                      </a:lnTo>
                      <a:lnTo>
                        <a:pt x="1378864" y="1567688"/>
                      </a:lnTo>
                      <a:lnTo>
                        <a:pt x="1378026" y="1569339"/>
                      </a:lnTo>
                      <a:lnTo>
                        <a:pt x="1378292" y="1570875"/>
                      </a:lnTo>
                      <a:lnTo>
                        <a:pt x="1378292" y="1573098"/>
                      </a:lnTo>
                      <a:lnTo>
                        <a:pt x="1378826" y="1573822"/>
                      </a:lnTo>
                      <a:lnTo>
                        <a:pt x="1378940" y="1574380"/>
                      </a:lnTo>
                      <a:lnTo>
                        <a:pt x="1379054" y="1574812"/>
                      </a:lnTo>
                      <a:lnTo>
                        <a:pt x="1380096" y="1574304"/>
                      </a:lnTo>
                      <a:lnTo>
                        <a:pt x="1378153" y="1576514"/>
                      </a:lnTo>
                      <a:lnTo>
                        <a:pt x="1376819" y="1577759"/>
                      </a:lnTo>
                      <a:lnTo>
                        <a:pt x="1375473" y="1579105"/>
                      </a:lnTo>
                      <a:lnTo>
                        <a:pt x="1385531" y="1576514"/>
                      </a:lnTo>
                      <a:lnTo>
                        <a:pt x="1388465" y="1576844"/>
                      </a:lnTo>
                      <a:lnTo>
                        <a:pt x="1388821" y="1576514"/>
                      </a:lnTo>
                      <a:lnTo>
                        <a:pt x="1391196" y="1574304"/>
                      </a:lnTo>
                      <a:lnTo>
                        <a:pt x="1392135" y="1573441"/>
                      </a:lnTo>
                      <a:lnTo>
                        <a:pt x="1397977" y="1569008"/>
                      </a:lnTo>
                      <a:lnTo>
                        <a:pt x="1398676" y="1565008"/>
                      </a:lnTo>
                      <a:lnTo>
                        <a:pt x="1398765" y="1564754"/>
                      </a:lnTo>
                      <a:lnTo>
                        <a:pt x="1398600" y="1566151"/>
                      </a:lnTo>
                      <a:lnTo>
                        <a:pt x="1402016" y="1564754"/>
                      </a:lnTo>
                      <a:lnTo>
                        <a:pt x="1404962" y="1563535"/>
                      </a:lnTo>
                      <a:lnTo>
                        <a:pt x="1411008" y="1560410"/>
                      </a:lnTo>
                      <a:lnTo>
                        <a:pt x="1420266" y="1557997"/>
                      </a:lnTo>
                      <a:lnTo>
                        <a:pt x="1422806" y="1556245"/>
                      </a:lnTo>
                      <a:lnTo>
                        <a:pt x="1426705" y="1554492"/>
                      </a:lnTo>
                      <a:lnTo>
                        <a:pt x="1429143" y="1552892"/>
                      </a:lnTo>
                      <a:lnTo>
                        <a:pt x="1430083" y="1550924"/>
                      </a:lnTo>
                      <a:close/>
                    </a:path>
                    <a:path w="2266315" h="1830704">
                      <a:moveTo>
                        <a:pt x="1582445" y="184150"/>
                      </a:moveTo>
                      <a:lnTo>
                        <a:pt x="1580743" y="184150"/>
                      </a:lnTo>
                      <a:lnTo>
                        <a:pt x="1580908" y="185420"/>
                      </a:lnTo>
                      <a:lnTo>
                        <a:pt x="1581289" y="185420"/>
                      </a:lnTo>
                      <a:lnTo>
                        <a:pt x="1582445" y="184150"/>
                      </a:lnTo>
                      <a:close/>
                    </a:path>
                    <a:path w="2266315" h="1830704">
                      <a:moveTo>
                        <a:pt x="1679549" y="153606"/>
                      </a:moveTo>
                      <a:lnTo>
                        <a:pt x="1679422" y="153670"/>
                      </a:lnTo>
                      <a:lnTo>
                        <a:pt x="1679549" y="153606"/>
                      </a:lnTo>
                      <a:close/>
                    </a:path>
                    <a:path w="2266315" h="1830704">
                      <a:moveTo>
                        <a:pt x="1712188" y="154940"/>
                      </a:moveTo>
                      <a:lnTo>
                        <a:pt x="1708137" y="156210"/>
                      </a:lnTo>
                      <a:lnTo>
                        <a:pt x="1706943" y="154940"/>
                      </a:lnTo>
                      <a:lnTo>
                        <a:pt x="1705749" y="154940"/>
                      </a:lnTo>
                      <a:lnTo>
                        <a:pt x="1697304" y="156210"/>
                      </a:lnTo>
                      <a:lnTo>
                        <a:pt x="1696313" y="156210"/>
                      </a:lnTo>
                      <a:lnTo>
                        <a:pt x="1696885" y="160020"/>
                      </a:lnTo>
                      <a:lnTo>
                        <a:pt x="1697494" y="161290"/>
                      </a:lnTo>
                      <a:lnTo>
                        <a:pt x="1697812" y="161290"/>
                      </a:lnTo>
                      <a:lnTo>
                        <a:pt x="1698345" y="160020"/>
                      </a:lnTo>
                      <a:lnTo>
                        <a:pt x="1701279" y="158750"/>
                      </a:lnTo>
                      <a:lnTo>
                        <a:pt x="1702739" y="160020"/>
                      </a:lnTo>
                      <a:lnTo>
                        <a:pt x="1701584" y="161290"/>
                      </a:lnTo>
                      <a:lnTo>
                        <a:pt x="1700784" y="162560"/>
                      </a:lnTo>
                      <a:lnTo>
                        <a:pt x="1698231" y="162560"/>
                      </a:lnTo>
                      <a:lnTo>
                        <a:pt x="1697850" y="165100"/>
                      </a:lnTo>
                      <a:lnTo>
                        <a:pt x="1697189" y="166370"/>
                      </a:lnTo>
                      <a:lnTo>
                        <a:pt x="1698002" y="167640"/>
                      </a:lnTo>
                      <a:lnTo>
                        <a:pt x="1698193" y="167640"/>
                      </a:lnTo>
                      <a:lnTo>
                        <a:pt x="1700047" y="165100"/>
                      </a:lnTo>
                      <a:lnTo>
                        <a:pt x="1701050" y="165100"/>
                      </a:lnTo>
                      <a:lnTo>
                        <a:pt x="1704555" y="162560"/>
                      </a:lnTo>
                      <a:lnTo>
                        <a:pt x="1706676" y="160020"/>
                      </a:lnTo>
                      <a:lnTo>
                        <a:pt x="1708124" y="158750"/>
                      </a:lnTo>
                      <a:lnTo>
                        <a:pt x="1709572" y="157480"/>
                      </a:lnTo>
                      <a:lnTo>
                        <a:pt x="1712188" y="154940"/>
                      </a:lnTo>
                      <a:close/>
                    </a:path>
                    <a:path w="2266315" h="1830704">
                      <a:moveTo>
                        <a:pt x="1957692" y="449580"/>
                      </a:moveTo>
                      <a:lnTo>
                        <a:pt x="1956181" y="449580"/>
                      </a:lnTo>
                      <a:lnTo>
                        <a:pt x="1957120" y="451078"/>
                      </a:lnTo>
                      <a:lnTo>
                        <a:pt x="1957654" y="450850"/>
                      </a:lnTo>
                      <a:lnTo>
                        <a:pt x="1957692" y="449580"/>
                      </a:lnTo>
                      <a:close/>
                    </a:path>
                    <a:path w="2266315" h="1830704">
                      <a:moveTo>
                        <a:pt x="1957768" y="452120"/>
                      </a:moveTo>
                      <a:lnTo>
                        <a:pt x="1957120" y="451078"/>
                      </a:lnTo>
                      <a:lnTo>
                        <a:pt x="1954758" y="452120"/>
                      </a:lnTo>
                      <a:lnTo>
                        <a:pt x="1957768" y="452120"/>
                      </a:lnTo>
                      <a:close/>
                    </a:path>
                    <a:path w="2266315" h="1830704">
                      <a:moveTo>
                        <a:pt x="2077021" y="425450"/>
                      </a:moveTo>
                      <a:lnTo>
                        <a:pt x="2075891" y="426275"/>
                      </a:lnTo>
                      <a:lnTo>
                        <a:pt x="2076145" y="426720"/>
                      </a:lnTo>
                      <a:lnTo>
                        <a:pt x="2077021" y="425450"/>
                      </a:lnTo>
                      <a:close/>
                    </a:path>
                    <a:path w="2266315" h="1830704">
                      <a:moveTo>
                        <a:pt x="2145233" y="392430"/>
                      </a:moveTo>
                      <a:lnTo>
                        <a:pt x="2143810" y="392430"/>
                      </a:lnTo>
                      <a:lnTo>
                        <a:pt x="2141461" y="393700"/>
                      </a:lnTo>
                      <a:lnTo>
                        <a:pt x="2142312" y="393700"/>
                      </a:lnTo>
                      <a:lnTo>
                        <a:pt x="2145233" y="392430"/>
                      </a:lnTo>
                      <a:close/>
                    </a:path>
                    <a:path w="2266315" h="1830704">
                      <a:moveTo>
                        <a:pt x="2147862" y="344170"/>
                      </a:moveTo>
                      <a:lnTo>
                        <a:pt x="2147747" y="342900"/>
                      </a:lnTo>
                      <a:lnTo>
                        <a:pt x="2146046" y="342900"/>
                      </a:lnTo>
                      <a:lnTo>
                        <a:pt x="2142464" y="344170"/>
                      </a:lnTo>
                      <a:lnTo>
                        <a:pt x="2147862" y="344170"/>
                      </a:lnTo>
                      <a:close/>
                    </a:path>
                    <a:path w="2266315" h="1830704">
                      <a:moveTo>
                        <a:pt x="2168995" y="374865"/>
                      </a:moveTo>
                      <a:lnTo>
                        <a:pt x="2168880" y="374650"/>
                      </a:lnTo>
                      <a:lnTo>
                        <a:pt x="2168639" y="374408"/>
                      </a:lnTo>
                      <a:lnTo>
                        <a:pt x="2168715" y="374650"/>
                      </a:lnTo>
                      <a:lnTo>
                        <a:pt x="2168995" y="374865"/>
                      </a:lnTo>
                      <a:close/>
                    </a:path>
                    <a:path w="2266315" h="1830704">
                      <a:moveTo>
                        <a:pt x="2170303" y="375920"/>
                      </a:moveTo>
                      <a:lnTo>
                        <a:pt x="2168995" y="374865"/>
                      </a:lnTo>
                      <a:lnTo>
                        <a:pt x="2169528" y="375920"/>
                      </a:lnTo>
                      <a:lnTo>
                        <a:pt x="2170303" y="375920"/>
                      </a:lnTo>
                      <a:close/>
                    </a:path>
                    <a:path w="2266315" h="1830704">
                      <a:moveTo>
                        <a:pt x="2215223" y="255943"/>
                      </a:moveTo>
                      <a:lnTo>
                        <a:pt x="2214448" y="255270"/>
                      </a:lnTo>
                      <a:lnTo>
                        <a:pt x="2211095" y="254000"/>
                      </a:lnTo>
                      <a:lnTo>
                        <a:pt x="2208123" y="252730"/>
                      </a:lnTo>
                      <a:lnTo>
                        <a:pt x="2210485" y="254000"/>
                      </a:lnTo>
                      <a:lnTo>
                        <a:pt x="2215223" y="255943"/>
                      </a:lnTo>
                      <a:close/>
                    </a:path>
                    <a:path w="2266315" h="1830704">
                      <a:moveTo>
                        <a:pt x="2263991" y="289267"/>
                      </a:moveTo>
                      <a:lnTo>
                        <a:pt x="2263457" y="289560"/>
                      </a:lnTo>
                      <a:lnTo>
                        <a:pt x="2263838" y="289560"/>
                      </a:lnTo>
                      <a:lnTo>
                        <a:pt x="2263991" y="289267"/>
                      </a:lnTo>
                      <a:close/>
                    </a:path>
                    <a:path w="2266315" h="1830704">
                      <a:moveTo>
                        <a:pt x="2266251" y="306070"/>
                      </a:moveTo>
                      <a:lnTo>
                        <a:pt x="2264956" y="306070"/>
                      </a:lnTo>
                      <a:lnTo>
                        <a:pt x="2263648" y="307340"/>
                      </a:lnTo>
                      <a:lnTo>
                        <a:pt x="2263952" y="306070"/>
                      </a:lnTo>
                      <a:lnTo>
                        <a:pt x="2263686" y="304800"/>
                      </a:lnTo>
                      <a:lnTo>
                        <a:pt x="2263419" y="303530"/>
                      </a:lnTo>
                      <a:lnTo>
                        <a:pt x="2263114" y="299720"/>
                      </a:lnTo>
                      <a:lnTo>
                        <a:pt x="2257831" y="299720"/>
                      </a:lnTo>
                      <a:lnTo>
                        <a:pt x="2256205" y="298450"/>
                      </a:lnTo>
                      <a:lnTo>
                        <a:pt x="2257094" y="298450"/>
                      </a:lnTo>
                      <a:lnTo>
                        <a:pt x="2257755" y="297180"/>
                      </a:lnTo>
                      <a:lnTo>
                        <a:pt x="2258987" y="297180"/>
                      </a:lnTo>
                      <a:lnTo>
                        <a:pt x="2260917" y="294640"/>
                      </a:lnTo>
                      <a:lnTo>
                        <a:pt x="2257552" y="290830"/>
                      </a:lnTo>
                      <a:lnTo>
                        <a:pt x="2256828" y="285750"/>
                      </a:lnTo>
                      <a:lnTo>
                        <a:pt x="2258872" y="283210"/>
                      </a:lnTo>
                      <a:lnTo>
                        <a:pt x="2258098" y="280670"/>
                      </a:lnTo>
                      <a:lnTo>
                        <a:pt x="2256282" y="279400"/>
                      </a:lnTo>
                      <a:lnTo>
                        <a:pt x="2255202" y="279400"/>
                      </a:lnTo>
                      <a:lnTo>
                        <a:pt x="2256561" y="281940"/>
                      </a:lnTo>
                      <a:lnTo>
                        <a:pt x="2252700" y="283210"/>
                      </a:lnTo>
                      <a:lnTo>
                        <a:pt x="2250884" y="281940"/>
                      </a:lnTo>
                      <a:lnTo>
                        <a:pt x="2252268" y="280670"/>
                      </a:lnTo>
                      <a:lnTo>
                        <a:pt x="2253196" y="276860"/>
                      </a:lnTo>
                      <a:lnTo>
                        <a:pt x="2250960" y="273050"/>
                      </a:lnTo>
                      <a:lnTo>
                        <a:pt x="2248344" y="273050"/>
                      </a:lnTo>
                      <a:lnTo>
                        <a:pt x="2243912" y="270510"/>
                      </a:lnTo>
                      <a:lnTo>
                        <a:pt x="2240788" y="269240"/>
                      </a:lnTo>
                      <a:lnTo>
                        <a:pt x="2234844" y="266700"/>
                      </a:lnTo>
                      <a:lnTo>
                        <a:pt x="2232037" y="265430"/>
                      </a:lnTo>
                      <a:lnTo>
                        <a:pt x="2226018" y="261607"/>
                      </a:lnTo>
                      <a:lnTo>
                        <a:pt x="2222589" y="260350"/>
                      </a:lnTo>
                      <a:lnTo>
                        <a:pt x="2216721" y="260350"/>
                      </a:lnTo>
                      <a:lnTo>
                        <a:pt x="2217991" y="259080"/>
                      </a:lnTo>
                      <a:lnTo>
                        <a:pt x="2218537" y="259080"/>
                      </a:lnTo>
                      <a:lnTo>
                        <a:pt x="2217610" y="257810"/>
                      </a:lnTo>
                      <a:lnTo>
                        <a:pt x="2216683" y="256540"/>
                      </a:lnTo>
                      <a:lnTo>
                        <a:pt x="2215223" y="255943"/>
                      </a:lnTo>
                      <a:lnTo>
                        <a:pt x="2217382" y="257810"/>
                      </a:lnTo>
                      <a:lnTo>
                        <a:pt x="2202726" y="252730"/>
                      </a:lnTo>
                      <a:lnTo>
                        <a:pt x="2201151" y="250190"/>
                      </a:lnTo>
                      <a:lnTo>
                        <a:pt x="2200986" y="250190"/>
                      </a:lnTo>
                      <a:lnTo>
                        <a:pt x="2198751" y="247650"/>
                      </a:lnTo>
                      <a:lnTo>
                        <a:pt x="2196642" y="246380"/>
                      </a:lnTo>
                      <a:lnTo>
                        <a:pt x="2191118" y="242570"/>
                      </a:lnTo>
                      <a:lnTo>
                        <a:pt x="2187498" y="242570"/>
                      </a:lnTo>
                      <a:lnTo>
                        <a:pt x="2184247" y="241300"/>
                      </a:lnTo>
                      <a:lnTo>
                        <a:pt x="2157653" y="227330"/>
                      </a:lnTo>
                      <a:lnTo>
                        <a:pt x="2153412" y="227330"/>
                      </a:lnTo>
                      <a:lnTo>
                        <a:pt x="2147074" y="226060"/>
                      </a:lnTo>
                      <a:lnTo>
                        <a:pt x="2140724" y="224790"/>
                      </a:lnTo>
                      <a:lnTo>
                        <a:pt x="2138883" y="224790"/>
                      </a:lnTo>
                      <a:lnTo>
                        <a:pt x="2134946" y="222250"/>
                      </a:lnTo>
                      <a:lnTo>
                        <a:pt x="2130856" y="218440"/>
                      </a:lnTo>
                      <a:lnTo>
                        <a:pt x="2120061" y="218440"/>
                      </a:lnTo>
                      <a:lnTo>
                        <a:pt x="2119211" y="219710"/>
                      </a:lnTo>
                      <a:lnTo>
                        <a:pt x="2110384" y="219710"/>
                      </a:lnTo>
                      <a:lnTo>
                        <a:pt x="2090293" y="217170"/>
                      </a:lnTo>
                      <a:lnTo>
                        <a:pt x="2088515" y="217170"/>
                      </a:lnTo>
                      <a:lnTo>
                        <a:pt x="2087397" y="218440"/>
                      </a:lnTo>
                      <a:lnTo>
                        <a:pt x="2089480" y="218440"/>
                      </a:lnTo>
                      <a:lnTo>
                        <a:pt x="2089797" y="219710"/>
                      </a:lnTo>
                      <a:lnTo>
                        <a:pt x="2088908" y="219710"/>
                      </a:lnTo>
                      <a:lnTo>
                        <a:pt x="2088591" y="220980"/>
                      </a:lnTo>
                      <a:lnTo>
                        <a:pt x="2087549" y="220980"/>
                      </a:lnTo>
                      <a:lnTo>
                        <a:pt x="2087753" y="222250"/>
                      </a:lnTo>
                      <a:lnTo>
                        <a:pt x="2084895" y="219710"/>
                      </a:lnTo>
                      <a:lnTo>
                        <a:pt x="2083244" y="218440"/>
                      </a:lnTo>
                      <a:lnTo>
                        <a:pt x="2081542" y="217170"/>
                      </a:lnTo>
                      <a:lnTo>
                        <a:pt x="2079840" y="215900"/>
                      </a:lnTo>
                      <a:lnTo>
                        <a:pt x="2079917" y="217170"/>
                      </a:lnTo>
                      <a:lnTo>
                        <a:pt x="2072322" y="216217"/>
                      </a:lnTo>
                      <a:lnTo>
                        <a:pt x="2072322" y="426720"/>
                      </a:lnTo>
                      <a:lnTo>
                        <a:pt x="2071243" y="426720"/>
                      </a:lnTo>
                      <a:lnTo>
                        <a:pt x="2070544" y="425450"/>
                      </a:lnTo>
                      <a:lnTo>
                        <a:pt x="2072322" y="426720"/>
                      </a:lnTo>
                      <a:lnTo>
                        <a:pt x="2072322" y="216217"/>
                      </a:lnTo>
                      <a:lnTo>
                        <a:pt x="2049691" y="213360"/>
                      </a:lnTo>
                      <a:lnTo>
                        <a:pt x="2047417" y="212090"/>
                      </a:lnTo>
                      <a:lnTo>
                        <a:pt x="2047252" y="213360"/>
                      </a:lnTo>
                      <a:lnTo>
                        <a:pt x="2049106" y="213360"/>
                      </a:lnTo>
                      <a:lnTo>
                        <a:pt x="2049805" y="214630"/>
                      </a:lnTo>
                      <a:lnTo>
                        <a:pt x="2048878" y="215900"/>
                      </a:lnTo>
                      <a:lnTo>
                        <a:pt x="2049030" y="218440"/>
                      </a:lnTo>
                      <a:lnTo>
                        <a:pt x="2049614" y="218440"/>
                      </a:lnTo>
                      <a:lnTo>
                        <a:pt x="2049183" y="220980"/>
                      </a:lnTo>
                      <a:lnTo>
                        <a:pt x="2047189" y="222250"/>
                      </a:lnTo>
                      <a:lnTo>
                        <a:pt x="2045106" y="223520"/>
                      </a:lnTo>
                      <a:lnTo>
                        <a:pt x="2042325" y="224790"/>
                      </a:lnTo>
                      <a:lnTo>
                        <a:pt x="2045144" y="227330"/>
                      </a:lnTo>
                      <a:lnTo>
                        <a:pt x="2047722" y="226060"/>
                      </a:lnTo>
                      <a:lnTo>
                        <a:pt x="2050770" y="226060"/>
                      </a:lnTo>
                      <a:lnTo>
                        <a:pt x="2050732" y="227330"/>
                      </a:lnTo>
                      <a:lnTo>
                        <a:pt x="2051697" y="229870"/>
                      </a:lnTo>
                      <a:lnTo>
                        <a:pt x="2052345" y="231140"/>
                      </a:lnTo>
                      <a:lnTo>
                        <a:pt x="2053894" y="233680"/>
                      </a:lnTo>
                      <a:lnTo>
                        <a:pt x="2054821" y="233680"/>
                      </a:lnTo>
                      <a:lnTo>
                        <a:pt x="2054783" y="236220"/>
                      </a:lnTo>
                      <a:lnTo>
                        <a:pt x="2054275" y="236220"/>
                      </a:lnTo>
                      <a:lnTo>
                        <a:pt x="2054440" y="237490"/>
                      </a:lnTo>
                      <a:lnTo>
                        <a:pt x="2055469" y="237490"/>
                      </a:lnTo>
                      <a:lnTo>
                        <a:pt x="2056206" y="240030"/>
                      </a:lnTo>
                      <a:lnTo>
                        <a:pt x="2055088" y="240030"/>
                      </a:lnTo>
                      <a:lnTo>
                        <a:pt x="2051151" y="242570"/>
                      </a:lnTo>
                      <a:lnTo>
                        <a:pt x="2051392" y="243840"/>
                      </a:lnTo>
                      <a:lnTo>
                        <a:pt x="2051621" y="246380"/>
                      </a:lnTo>
                      <a:lnTo>
                        <a:pt x="2050999" y="245110"/>
                      </a:lnTo>
                      <a:lnTo>
                        <a:pt x="2048344" y="245110"/>
                      </a:lnTo>
                      <a:lnTo>
                        <a:pt x="2049576" y="246380"/>
                      </a:lnTo>
                      <a:lnTo>
                        <a:pt x="2049843" y="247650"/>
                      </a:lnTo>
                      <a:lnTo>
                        <a:pt x="2047646" y="246380"/>
                      </a:lnTo>
                      <a:lnTo>
                        <a:pt x="2041245" y="246380"/>
                      </a:lnTo>
                      <a:lnTo>
                        <a:pt x="2037664" y="247650"/>
                      </a:lnTo>
                      <a:lnTo>
                        <a:pt x="2031758" y="245110"/>
                      </a:lnTo>
                      <a:lnTo>
                        <a:pt x="2034882" y="240030"/>
                      </a:lnTo>
                      <a:lnTo>
                        <a:pt x="2030107" y="238760"/>
                      </a:lnTo>
                      <a:lnTo>
                        <a:pt x="2028482" y="238760"/>
                      </a:lnTo>
                      <a:lnTo>
                        <a:pt x="2025332" y="236220"/>
                      </a:lnTo>
                      <a:lnTo>
                        <a:pt x="2015566" y="236220"/>
                      </a:lnTo>
                      <a:lnTo>
                        <a:pt x="2015617" y="234950"/>
                      </a:lnTo>
                      <a:lnTo>
                        <a:pt x="2015832" y="229870"/>
                      </a:lnTo>
                      <a:lnTo>
                        <a:pt x="2017001" y="228600"/>
                      </a:lnTo>
                      <a:lnTo>
                        <a:pt x="2016213" y="227330"/>
                      </a:lnTo>
                      <a:lnTo>
                        <a:pt x="2015413" y="226060"/>
                      </a:lnTo>
                      <a:lnTo>
                        <a:pt x="2012594" y="226060"/>
                      </a:lnTo>
                      <a:lnTo>
                        <a:pt x="2011629" y="224790"/>
                      </a:lnTo>
                      <a:lnTo>
                        <a:pt x="2012251" y="224790"/>
                      </a:lnTo>
                      <a:lnTo>
                        <a:pt x="2009368" y="217170"/>
                      </a:lnTo>
                      <a:lnTo>
                        <a:pt x="2003806" y="227330"/>
                      </a:lnTo>
                      <a:lnTo>
                        <a:pt x="1981098" y="226060"/>
                      </a:lnTo>
                      <a:lnTo>
                        <a:pt x="1979053" y="226758"/>
                      </a:lnTo>
                      <a:lnTo>
                        <a:pt x="1979053" y="396240"/>
                      </a:lnTo>
                      <a:lnTo>
                        <a:pt x="1976628" y="396240"/>
                      </a:lnTo>
                      <a:lnTo>
                        <a:pt x="1974151" y="394970"/>
                      </a:lnTo>
                      <a:lnTo>
                        <a:pt x="1976120" y="394970"/>
                      </a:lnTo>
                      <a:lnTo>
                        <a:pt x="1979053" y="396240"/>
                      </a:lnTo>
                      <a:lnTo>
                        <a:pt x="1979053" y="226758"/>
                      </a:lnTo>
                      <a:lnTo>
                        <a:pt x="1977326" y="227330"/>
                      </a:lnTo>
                      <a:lnTo>
                        <a:pt x="1957349" y="222250"/>
                      </a:lnTo>
                      <a:lnTo>
                        <a:pt x="1953907" y="222250"/>
                      </a:lnTo>
                      <a:lnTo>
                        <a:pt x="1934972" y="224790"/>
                      </a:lnTo>
                      <a:lnTo>
                        <a:pt x="1933625" y="224790"/>
                      </a:lnTo>
                      <a:lnTo>
                        <a:pt x="1925726" y="226060"/>
                      </a:lnTo>
                      <a:lnTo>
                        <a:pt x="1919287" y="226060"/>
                      </a:lnTo>
                      <a:lnTo>
                        <a:pt x="1910537" y="227330"/>
                      </a:lnTo>
                      <a:lnTo>
                        <a:pt x="1906866" y="224790"/>
                      </a:lnTo>
                      <a:lnTo>
                        <a:pt x="1894878" y="222250"/>
                      </a:lnTo>
                      <a:lnTo>
                        <a:pt x="1896262" y="220980"/>
                      </a:lnTo>
                      <a:lnTo>
                        <a:pt x="1893684" y="219710"/>
                      </a:lnTo>
                      <a:lnTo>
                        <a:pt x="1894027" y="218440"/>
                      </a:lnTo>
                      <a:lnTo>
                        <a:pt x="1894230" y="217170"/>
                      </a:lnTo>
                      <a:lnTo>
                        <a:pt x="1895297" y="217170"/>
                      </a:lnTo>
                      <a:lnTo>
                        <a:pt x="1896351" y="214630"/>
                      </a:lnTo>
                      <a:lnTo>
                        <a:pt x="1894535" y="214630"/>
                      </a:lnTo>
                      <a:lnTo>
                        <a:pt x="1894725" y="212090"/>
                      </a:lnTo>
                      <a:lnTo>
                        <a:pt x="1897773" y="212090"/>
                      </a:lnTo>
                      <a:lnTo>
                        <a:pt x="1897341" y="213360"/>
                      </a:lnTo>
                      <a:lnTo>
                        <a:pt x="1898510" y="212090"/>
                      </a:lnTo>
                      <a:lnTo>
                        <a:pt x="1899666" y="210820"/>
                      </a:lnTo>
                      <a:lnTo>
                        <a:pt x="1898548" y="208280"/>
                      </a:lnTo>
                      <a:lnTo>
                        <a:pt x="1897773" y="205740"/>
                      </a:lnTo>
                      <a:lnTo>
                        <a:pt x="1896694" y="203200"/>
                      </a:lnTo>
                      <a:lnTo>
                        <a:pt x="1895767" y="199390"/>
                      </a:lnTo>
                      <a:lnTo>
                        <a:pt x="1892223" y="196850"/>
                      </a:lnTo>
                      <a:lnTo>
                        <a:pt x="1887664" y="194310"/>
                      </a:lnTo>
                      <a:lnTo>
                        <a:pt x="1885556" y="194310"/>
                      </a:lnTo>
                      <a:lnTo>
                        <a:pt x="1875828" y="190500"/>
                      </a:lnTo>
                      <a:lnTo>
                        <a:pt x="1869084" y="189230"/>
                      </a:lnTo>
                      <a:lnTo>
                        <a:pt x="1856663" y="187960"/>
                      </a:lnTo>
                      <a:lnTo>
                        <a:pt x="1835073" y="187960"/>
                      </a:lnTo>
                      <a:lnTo>
                        <a:pt x="1827479" y="189230"/>
                      </a:lnTo>
                      <a:lnTo>
                        <a:pt x="1822538" y="190500"/>
                      </a:lnTo>
                      <a:lnTo>
                        <a:pt x="1815566" y="191770"/>
                      </a:lnTo>
                      <a:lnTo>
                        <a:pt x="1813560" y="191770"/>
                      </a:lnTo>
                      <a:lnTo>
                        <a:pt x="1808861" y="193040"/>
                      </a:lnTo>
                      <a:lnTo>
                        <a:pt x="1801837" y="193040"/>
                      </a:lnTo>
                      <a:lnTo>
                        <a:pt x="1799259" y="194310"/>
                      </a:lnTo>
                      <a:lnTo>
                        <a:pt x="1794281" y="194310"/>
                      </a:lnTo>
                      <a:lnTo>
                        <a:pt x="1792427" y="195580"/>
                      </a:lnTo>
                      <a:lnTo>
                        <a:pt x="1786153" y="193040"/>
                      </a:lnTo>
                      <a:lnTo>
                        <a:pt x="1779016" y="190500"/>
                      </a:lnTo>
                      <a:lnTo>
                        <a:pt x="1782711" y="190500"/>
                      </a:lnTo>
                      <a:lnTo>
                        <a:pt x="1781606" y="187960"/>
                      </a:lnTo>
                      <a:lnTo>
                        <a:pt x="1780578" y="186690"/>
                      </a:lnTo>
                      <a:lnTo>
                        <a:pt x="1779549" y="185420"/>
                      </a:lnTo>
                      <a:lnTo>
                        <a:pt x="1776006" y="181610"/>
                      </a:lnTo>
                      <a:lnTo>
                        <a:pt x="1775269" y="181610"/>
                      </a:lnTo>
                      <a:lnTo>
                        <a:pt x="1768182" y="179070"/>
                      </a:lnTo>
                      <a:lnTo>
                        <a:pt x="1767789" y="181610"/>
                      </a:lnTo>
                      <a:lnTo>
                        <a:pt x="1763941" y="182880"/>
                      </a:lnTo>
                      <a:lnTo>
                        <a:pt x="1765477" y="180340"/>
                      </a:lnTo>
                      <a:lnTo>
                        <a:pt x="1763636" y="180340"/>
                      </a:lnTo>
                      <a:lnTo>
                        <a:pt x="1762925" y="181610"/>
                      </a:lnTo>
                      <a:lnTo>
                        <a:pt x="1760778" y="182880"/>
                      </a:lnTo>
                      <a:lnTo>
                        <a:pt x="1758149" y="182880"/>
                      </a:lnTo>
                      <a:lnTo>
                        <a:pt x="1755571" y="184150"/>
                      </a:lnTo>
                      <a:lnTo>
                        <a:pt x="1755838" y="182880"/>
                      </a:lnTo>
                      <a:lnTo>
                        <a:pt x="1759038" y="181610"/>
                      </a:lnTo>
                      <a:lnTo>
                        <a:pt x="1761794" y="179070"/>
                      </a:lnTo>
                      <a:lnTo>
                        <a:pt x="1763166" y="177800"/>
                      </a:lnTo>
                      <a:lnTo>
                        <a:pt x="1764398" y="176530"/>
                      </a:lnTo>
                      <a:lnTo>
                        <a:pt x="1756765" y="176530"/>
                      </a:lnTo>
                      <a:lnTo>
                        <a:pt x="1754098" y="177800"/>
                      </a:lnTo>
                      <a:lnTo>
                        <a:pt x="1752790" y="176530"/>
                      </a:lnTo>
                      <a:lnTo>
                        <a:pt x="1754987" y="173990"/>
                      </a:lnTo>
                      <a:lnTo>
                        <a:pt x="1756257" y="173990"/>
                      </a:lnTo>
                      <a:lnTo>
                        <a:pt x="1755622" y="172720"/>
                      </a:lnTo>
                      <a:lnTo>
                        <a:pt x="1754987" y="171450"/>
                      </a:lnTo>
                      <a:lnTo>
                        <a:pt x="1750517" y="172720"/>
                      </a:lnTo>
                      <a:lnTo>
                        <a:pt x="1745729" y="172720"/>
                      </a:lnTo>
                      <a:lnTo>
                        <a:pt x="1742541" y="171450"/>
                      </a:lnTo>
                      <a:lnTo>
                        <a:pt x="1740496" y="172720"/>
                      </a:lnTo>
                      <a:lnTo>
                        <a:pt x="1738528" y="172720"/>
                      </a:lnTo>
                      <a:lnTo>
                        <a:pt x="1739950" y="171450"/>
                      </a:lnTo>
                      <a:lnTo>
                        <a:pt x="1738833" y="170180"/>
                      </a:lnTo>
                      <a:lnTo>
                        <a:pt x="1738604" y="168910"/>
                      </a:lnTo>
                      <a:lnTo>
                        <a:pt x="1740877" y="168910"/>
                      </a:lnTo>
                      <a:lnTo>
                        <a:pt x="1743583" y="170180"/>
                      </a:lnTo>
                      <a:lnTo>
                        <a:pt x="1744154" y="167640"/>
                      </a:lnTo>
                      <a:lnTo>
                        <a:pt x="1747977" y="165100"/>
                      </a:lnTo>
                      <a:lnTo>
                        <a:pt x="1748853" y="171450"/>
                      </a:lnTo>
                      <a:lnTo>
                        <a:pt x="1753374" y="168910"/>
                      </a:lnTo>
                      <a:lnTo>
                        <a:pt x="1756181" y="167640"/>
                      </a:lnTo>
                      <a:lnTo>
                        <a:pt x="1755800" y="165100"/>
                      </a:lnTo>
                      <a:lnTo>
                        <a:pt x="1755609" y="163830"/>
                      </a:lnTo>
                      <a:lnTo>
                        <a:pt x="1754060" y="163830"/>
                      </a:lnTo>
                      <a:lnTo>
                        <a:pt x="1751520" y="161290"/>
                      </a:lnTo>
                      <a:lnTo>
                        <a:pt x="1749933" y="160020"/>
                      </a:lnTo>
                      <a:lnTo>
                        <a:pt x="1744040" y="157480"/>
                      </a:lnTo>
                      <a:lnTo>
                        <a:pt x="1740992" y="157480"/>
                      </a:lnTo>
                      <a:lnTo>
                        <a:pt x="1734439" y="156210"/>
                      </a:lnTo>
                      <a:lnTo>
                        <a:pt x="1731518" y="154940"/>
                      </a:lnTo>
                      <a:lnTo>
                        <a:pt x="1715693" y="154940"/>
                      </a:lnTo>
                      <a:lnTo>
                        <a:pt x="1711464" y="157480"/>
                      </a:lnTo>
                      <a:lnTo>
                        <a:pt x="1709991" y="160020"/>
                      </a:lnTo>
                      <a:lnTo>
                        <a:pt x="1705711" y="162560"/>
                      </a:lnTo>
                      <a:lnTo>
                        <a:pt x="1704632" y="165100"/>
                      </a:lnTo>
                      <a:lnTo>
                        <a:pt x="1702739" y="166370"/>
                      </a:lnTo>
                      <a:lnTo>
                        <a:pt x="1701622" y="167640"/>
                      </a:lnTo>
                      <a:lnTo>
                        <a:pt x="1700822" y="167640"/>
                      </a:lnTo>
                      <a:lnTo>
                        <a:pt x="1698650" y="168910"/>
                      </a:lnTo>
                      <a:lnTo>
                        <a:pt x="1697659" y="168910"/>
                      </a:lnTo>
                      <a:lnTo>
                        <a:pt x="1694726" y="170180"/>
                      </a:lnTo>
                      <a:lnTo>
                        <a:pt x="1693760" y="170180"/>
                      </a:lnTo>
                      <a:lnTo>
                        <a:pt x="1688668" y="171450"/>
                      </a:lnTo>
                      <a:lnTo>
                        <a:pt x="1685544" y="172720"/>
                      </a:lnTo>
                      <a:lnTo>
                        <a:pt x="1682305" y="171450"/>
                      </a:lnTo>
                      <a:lnTo>
                        <a:pt x="1682381" y="170180"/>
                      </a:lnTo>
                      <a:lnTo>
                        <a:pt x="1684464" y="170180"/>
                      </a:lnTo>
                      <a:lnTo>
                        <a:pt x="1685048" y="168910"/>
                      </a:lnTo>
                      <a:lnTo>
                        <a:pt x="1687131" y="168910"/>
                      </a:lnTo>
                      <a:lnTo>
                        <a:pt x="1685201" y="167640"/>
                      </a:lnTo>
                      <a:lnTo>
                        <a:pt x="1682153" y="165100"/>
                      </a:lnTo>
                      <a:lnTo>
                        <a:pt x="1683118" y="165100"/>
                      </a:lnTo>
                      <a:lnTo>
                        <a:pt x="1687982" y="166370"/>
                      </a:lnTo>
                      <a:lnTo>
                        <a:pt x="1688477" y="167640"/>
                      </a:lnTo>
                      <a:lnTo>
                        <a:pt x="1692021" y="166370"/>
                      </a:lnTo>
                      <a:lnTo>
                        <a:pt x="1693456" y="166370"/>
                      </a:lnTo>
                      <a:lnTo>
                        <a:pt x="1697075" y="165100"/>
                      </a:lnTo>
                      <a:lnTo>
                        <a:pt x="1693291" y="162560"/>
                      </a:lnTo>
                      <a:lnTo>
                        <a:pt x="1692910" y="162560"/>
                      </a:lnTo>
                      <a:lnTo>
                        <a:pt x="1692605" y="161290"/>
                      </a:lnTo>
                      <a:lnTo>
                        <a:pt x="1693722" y="157480"/>
                      </a:lnTo>
                      <a:lnTo>
                        <a:pt x="1696313" y="156210"/>
                      </a:lnTo>
                      <a:lnTo>
                        <a:pt x="1688871" y="156210"/>
                      </a:lnTo>
                      <a:lnTo>
                        <a:pt x="1680464" y="157480"/>
                      </a:lnTo>
                      <a:lnTo>
                        <a:pt x="1672056" y="157480"/>
                      </a:lnTo>
                      <a:lnTo>
                        <a:pt x="1674825" y="156210"/>
                      </a:lnTo>
                      <a:lnTo>
                        <a:pt x="1675218" y="156210"/>
                      </a:lnTo>
                      <a:lnTo>
                        <a:pt x="1676260" y="154940"/>
                      </a:lnTo>
                      <a:lnTo>
                        <a:pt x="1678152" y="154940"/>
                      </a:lnTo>
                      <a:lnTo>
                        <a:pt x="1679092" y="153606"/>
                      </a:lnTo>
                      <a:lnTo>
                        <a:pt x="1679879" y="152400"/>
                      </a:lnTo>
                      <a:lnTo>
                        <a:pt x="1679549" y="153606"/>
                      </a:lnTo>
                      <a:lnTo>
                        <a:pt x="1681695" y="152400"/>
                      </a:lnTo>
                      <a:lnTo>
                        <a:pt x="1686318" y="152400"/>
                      </a:lnTo>
                      <a:lnTo>
                        <a:pt x="1687322" y="153670"/>
                      </a:lnTo>
                      <a:lnTo>
                        <a:pt x="1709877" y="153670"/>
                      </a:lnTo>
                      <a:lnTo>
                        <a:pt x="1703260" y="152400"/>
                      </a:lnTo>
                      <a:lnTo>
                        <a:pt x="1696643" y="151130"/>
                      </a:lnTo>
                      <a:lnTo>
                        <a:pt x="1689976" y="148590"/>
                      </a:lnTo>
                      <a:lnTo>
                        <a:pt x="1682838" y="148590"/>
                      </a:lnTo>
                      <a:lnTo>
                        <a:pt x="1682610" y="147320"/>
                      </a:lnTo>
                      <a:lnTo>
                        <a:pt x="1679270" y="147320"/>
                      </a:lnTo>
                      <a:lnTo>
                        <a:pt x="1676565" y="146050"/>
                      </a:lnTo>
                      <a:lnTo>
                        <a:pt x="1668462" y="146050"/>
                      </a:lnTo>
                      <a:lnTo>
                        <a:pt x="1663382" y="144780"/>
                      </a:lnTo>
                      <a:lnTo>
                        <a:pt x="1646059" y="144780"/>
                      </a:lnTo>
                      <a:lnTo>
                        <a:pt x="1639976" y="143510"/>
                      </a:lnTo>
                      <a:lnTo>
                        <a:pt x="1636496" y="142240"/>
                      </a:lnTo>
                      <a:lnTo>
                        <a:pt x="1629067" y="139700"/>
                      </a:lnTo>
                      <a:lnTo>
                        <a:pt x="1620304" y="139700"/>
                      </a:lnTo>
                      <a:lnTo>
                        <a:pt x="1622615" y="142240"/>
                      </a:lnTo>
                      <a:lnTo>
                        <a:pt x="1625701" y="144780"/>
                      </a:lnTo>
                      <a:lnTo>
                        <a:pt x="1627251" y="148590"/>
                      </a:lnTo>
                      <a:lnTo>
                        <a:pt x="1625320" y="148590"/>
                      </a:lnTo>
                      <a:lnTo>
                        <a:pt x="1623428" y="149860"/>
                      </a:lnTo>
                      <a:lnTo>
                        <a:pt x="1620113" y="151130"/>
                      </a:lnTo>
                      <a:lnTo>
                        <a:pt x="1610207" y="151130"/>
                      </a:lnTo>
                      <a:lnTo>
                        <a:pt x="1608201" y="152400"/>
                      </a:lnTo>
                      <a:lnTo>
                        <a:pt x="1606473" y="153670"/>
                      </a:lnTo>
                      <a:lnTo>
                        <a:pt x="1603997" y="154940"/>
                      </a:lnTo>
                      <a:lnTo>
                        <a:pt x="1601381" y="156210"/>
                      </a:lnTo>
                      <a:lnTo>
                        <a:pt x="1599184" y="157480"/>
                      </a:lnTo>
                      <a:lnTo>
                        <a:pt x="1600530" y="160020"/>
                      </a:lnTo>
                      <a:lnTo>
                        <a:pt x="1602841" y="160020"/>
                      </a:lnTo>
                      <a:lnTo>
                        <a:pt x="1606346" y="157480"/>
                      </a:lnTo>
                      <a:lnTo>
                        <a:pt x="1612976" y="157480"/>
                      </a:lnTo>
                      <a:lnTo>
                        <a:pt x="1615452" y="160020"/>
                      </a:lnTo>
                      <a:lnTo>
                        <a:pt x="1611591" y="160020"/>
                      </a:lnTo>
                      <a:lnTo>
                        <a:pt x="1609471" y="161290"/>
                      </a:lnTo>
                      <a:lnTo>
                        <a:pt x="1608543" y="162560"/>
                      </a:lnTo>
                      <a:lnTo>
                        <a:pt x="1606384" y="165100"/>
                      </a:lnTo>
                      <a:lnTo>
                        <a:pt x="1602879" y="165100"/>
                      </a:lnTo>
                      <a:lnTo>
                        <a:pt x="1606537" y="166370"/>
                      </a:lnTo>
                      <a:lnTo>
                        <a:pt x="1607502" y="165100"/>
                      </a:lnTo>
                      <a:lnTo>
                        <a:pt x="1607883" y="171450"/>
                      </a:lnTo>
                      <a:lnTo>
                        <a:pt x="1608201" y="172720"/>
                      </a:lnTo>
                      <a:lnTo>
                        <a:pt x="1610055" y="175260"/>
                      </a:lnTo>
                      <a:lnTo>
                        <a:pt x="1611668" y="176530"/>
                      </a:lnTo>
                      <a:lnTo>
                        <a:pt x="1612138" y="177800"/>
                      </a:lnTo>
                      <a:lnTo>
                        <a:pt x="1610626" y="176530"/>
                      </a:lnTo>
                      <a:lnTo>
                        <a:pt x="1608810" y="179070"/>
                      </a:lnTo>
                      <a:lnTo>
                        <a:pt x="1605648" y="176530"/>
                      </a:lnTo>
                      <a:lnTo>
                        <a:pt x="1604695" y="177800"/>
                      </a:lnTo>
                      <a:lnTo>
                        <a:pt x="1599907" y="181610"/>
                      </a:lnTo>
                      <a:lnTo>
                        <a:pt x="1599768" y="180340"/>
                      </a:lnTo>
                      <a:lnTo>
                        <a:pt x="1599336" y="176530"/>
                      </a:lnTo>
                      <a:lnTo>
                        <a:pt x="1597825" y="175260"/>
                      </a:lnTo>
                      <a:lnTo>
                        <a:pt x="1597672" y="175260"/>
                      </a:lnTo>
                      <a:lnTo>
                        <a:pt x="1595056" y="173990"/>
                      </a:lnTo>
                      <a:lnTo>
                        <a:pt x="1593773" y="173990"/>
                      </a:lnTo>
                      <a:lnTo>
                        <a:pt x="1590814" y="176530"/>
                      </a:lnTo>
                      <a:lnTo>
                        <a:pt x="1589697" y="175260"/>
                      </a:lnTo>
                      <a:lnTo>
                        <a:pt x="1589074" y="175260"/>
                      </a:lnTo>
                      <a:lnTo>
                        <a:pt x="1591195" y="173990"/>
                      </a:lnTo>
                      <a:lnTo>
                        <a:pt x="1588033" y="173990"/>
                      </a:lnTo>
                      <a:lnTo>
                        <a:pt x="1585264" y="175260"/>
                      </a:lnTo>
                      <a:lnTo>
                        <a:pt x="1583639" y="175260"/>
                      </a:lnTo>
                      <a:lnTo>
                        <a:pt x="1583143" y="176530"/>
                      </a:lnTo>
                      <a:lnTo>
                        <a:pt x="1582178" y="177800"/>
                      </a:lnTo>
                      <a:lnTo>
                        <a:pt x="1581594" y="179070"/>
                      </a:lnTo>
                      <a:lnTo>
                        <a:pt x="1580553" y="181610"/>
                      </a:lnTo>
                      <a:lnTo>
                        <a:pt x="1582483" y="180340"/>
                      </a:lnTo>
                      <a:lnTo>
                        <a:pt x="1582788" y="181610"/>
                      </a:lnTo>
                      <a:lnTo>
                        <a:pt x="1584909" y="181610"/>
                      </a:lnTo>
                      <a:lnTo>
                        <a:pt x="1583410" y="182880"/>
                      </a:lnTo>
                      <a:lnTo>
                        <a:pt x="1587106" y="182880"/>
                      </a:lnTo>
                      <a:lnTo>
                        <a:pt x="1583486" y="184150"/>
                      </a:lnTo>
                      <a:lnTo>
                        <a:pt x="1582445" y="184150"/>
                      </a:lnTo>
                      <a:lnTo>
                        <a:pt x="1582864" y="185420"/>
                      </a:lnTo>
                      <a:lnTo>
                        <a:pt x="1582978" y="186690"/>
                      </a:lnTo>
                      <a:lnTo>
                        <a:pt x="1580438" y="186690"/>
                      </a:lnTo>
                      <a:lnTo>
                        <a:pt x="1579397" y="185420"/>
                      </a:lnTo>
                      <a:lnTo>
                        <a:pt x="1577975" y="185420"/>
                      </a:lnTo>
                      <a:lnTo>
                        <a:pt x="1578622" y="184150"/>
                      </a:lnTo>
                      <a:lnTo>
                        <a:pt x="1579549" y="184150"/>
                      </a:lnTo>
                      <a:lnTo>
                        <a:pt x="1577784" y="182880"/>
                      </a:lnTo>
                      <a:lnTo>
                        <a:pt x="1574228" y="184150"/>
                      </a:lnTo>
                      <a:lnTo>
                        <a:pt x="1575142" y="182880"/>
                      </a:lnTo>
                      <a:lnTo>
                        <a:pt x="1576044" y="181610"/>
                      </a:lnTo>
                      <a:lnTo>
                        <a:pt x="1574888" y="181610"/>
                      </a:lnTo>
                      <a:lnTo>
                        <a:pt x="1573771" y="180340"/>
                      </a:lnTo>
                      <a:lnTo>
                        <a:pt x="1572653" y="180340"/>
                      </a:lnTo>
                      <a:lnTo>
                        <a:pt x="1573428" y="179070"/>
                      </a:lnTo>
                      <a:lnTo>
                        <a:pt x="1568678" y="179070"/>
                      </a:lnTo>
                      <a:lnTo>
                        <a:pt x="1567992" y="177800"/>
                      </a:lnTo>
                      <a:lnTo>
                        <a:pt x="1565706" y="176530"/>
                      </a:lnTo>
                      <a:lnTo>
                        <a:pt x="1564436" y="177800"/>
                      </a:lnTo>
                      <a:lnTo>
                        <a:pt x="1562709" y="177800"/>
                      </a:lnTo>
                      <a:lnTo>
                        <a:pt x="1562125" y="175260"/>
                      </a:lnTo>
                      <a:lnTo>
                        <a:pt x="1561769" y="175260"/>
                      </a:lnTo>
                      <a:lnTo>
                        <a:pt x="1557655" y="173990"/>
                      </a:lnTo>
                      <a:lnTo>
                        <a:pt x="1551012" y="173990"/>
                      </a:lnTo>
                      <a:lnTo>
                        <a:pt x="1537258" y="177800"/>
                      </a:lnTo>
                      <a:lnTo>
                        <a:pt x="1536750" y="178727"/>
                      </a:lnTo>
                      <a:lnTo>
                        <a:pt x="1536750" y="180340"/>
                      </a:lnTo>
                      <a:lnTo>
                        <a:pt x="1536598" y="181610"/>
                      </a:lnTo>
                      <a:lnTo>
                        <a:pt x="1535823" y="182880"/>
                      </a:lnTo>
                      <a:lnTo>
                        <a:pt x="1535595" y="182880"/>
                      </a:lnTo>
                      <a:lnTo>
                        <a:pt x="1535404" y="181610"/>
                      </a:lnTo>
                      <a:lnTo>
                        <a:pt x="1536598" y="181610"/>
                      </a:lnTo>
                      <a:lnTo>
                        <a:pt x="1536395" y="180340"/>
                      </a:lnTo>
                      <a:lnTo>
                        <a:pt x="1536750" y="180340"/>
                      </a:lnTo>
                      <a:lnTo>
                        <a:pt x="1536750" y="178727"/>
                      </a:lnTo>
                      <a:lnTo>
                        <a:pt x="1536560" y="179070"/>
                      </a:lnTo>
                      <a:lnTo>
                        <a:pt x="1536331" y="180009"/>
                      </a:lnTo>
                      <a:lnTo>
                        <a:pt x="1536179" y="179070"/>
                      </a:lnTo>
                      <a:lnTo>
                        <a:pt x="1533944" y="180340"/>
                      </a:lnTo>
                      <a:lnTo>
                        <a:pt x="1526616" y="180340"/>
                      </a:lnTo>
                      <a:lnTo>
                        <a:pt x="1524444" y="179070"/>
                      </a:lnTo>
                      <a:lnTo>
                        <a:pt x="1519440" y="177800"/>
                      </a:lnTo>
                      <a:lnTo>
                        <a:pt x="1516938" y="176530"/>
                      </a:lnTo>
                      <a:lnTo>
                        <a:pt x="1512303" y="173990"/>
                      </a:lnTo>
                      <a:lnTo>
                        <a:pt x="1511388" y="171450"/>
                      </a:lnTo>
                      <a:lnTo>
                        <a:pt x="1506982" y="170180"/>
                      </a:lnTo>
                      <a:lnTo>
                        <a:pt x="1508531" y="167640"/>
                      </a:lnTo>
                      <a:lnTo>
                        <a:pt x="1507794" y="167640"/>
                      </a:lnTo>
                      <a:lnTo>
                        <a:pt x="1506639" y="165100"/>
                      </a:lnTo>
                      <a:lnTo>
                        <a:pt x="1505864" y="166370"/>
                      </a:lnTo>
                      <a:lnTo>
                        <a:pt x="1504797" y="167640"/>
                      </a:lnTo>
                      <a:lnTo>
                        <a:pt x="1503248" y="168910"/>
                      </a:lnTo>
                      <a:lnTo>
                        <a:pt x="1501775" y="171450"/>
                      </a:lnTo>
                      <a:lnTo>
                        <a:pt x="1499666" y="175260"/>
                      </a:lnTo>
                      <a:lnTo>
                        <a:pt x="1498892" y="177800"/>
                      </a:lnTo>
                      <a:lnTo>
                        <a:pt x="1497774" y="180340"/>
                      </a:lnTo>
                      <a:lnTo>
                        <a:pt x="1497190" y="181610"/>
                      </a:lnTo>
                      <a:lnTo>
                        <a:pt x="1495501" y="186690"/>
                      </a:lnTo>
                      <a:lnTo>
                        <a:pt x="1486827" y="195580"/>
                      </a:lnTo>
                      <a:lnTo>
                        <a:pt x="1485900" y="195580"/>
                      </a:lnTo>
                      <a:lnTo>
                        <a:pt x="1484617" y="196850"/>
                      </a:lnTo>
                      <a:lnTo>
                        <a:pt x="1481607" y="196850"/>
                      </a:lnTo>
                      <a:lnTo>
                        <a:pt x="1481543" y="195580"/>
                      </a:lnTo>
                      <a:lnTo>
                        <a:pt x="1481772" y="195580"/>
                      </a:lnTo>
                      <a:lnTo>
                        <a:pt x="1481772" y="194310"/>
                      </a:lnTo>
                      <a:lnTo>
                        <a:pt x="1480959" y="194310"/>
                      </a:lnTo>
                      <a:lnTo>
                        <a:pt x="1480261" y="193040"/>
                      </a:lnTo>
                      <a:lnTo>
                        <a:pt x="1475905" y="193040"/>
                      </a:lnTo>
                      <a:lnTo>
                        <a:pt x="1474876" y="191770"/>
                      </a:lnTo>
                      <a:lnTo>
                        <a:pt x="1473796" y="193040"/>
                      </a:lnTo>
                      <a:lnTo>
                        <a:pt x="1471663" y="191770"/>
                      </a:lnTo>
                      <a:lnTo>
                        <a:pt x="1471549" y="190500"/>
                      </a:lnTo>
                      <a:lnTo>
                        <a:pt x="1471168" y="190500"/>
                      </a:lnTo>
                      <a:lnTo>
                        <a:pt x="1469707" y="189230"/>
                      </a:lnTo>
                      <a:lnTo>
                        <a:pt x="1465846" y="187960"/>
                      </a:lnTo>
                      <a:lnTo>
                        <a:pt x="1463878" y="187960"/>
                      </a:lnTo>
                      <a:lnTo>
                        <a:pt x="1464843" y="186690"/>
                      </a:lnTo>
                      <a:lnTo>
                        <a:pt x="1465427" y="186690"/>
                      </a:lnTo>
                      <a:lnTo>
                        <a:pt x="1464995" y="185420"/>
                      </a:lnTo>
                      <a:lnTo>
                        <a:pt x="1464805" y="185420"/>
                      </a:lnTo>
                      <a:lnTo>
                        <a:pt x="1464805" y="184150"/>
                      </a:lnTo>
                      <a:lnTo>
                        <a:pt x="1463840" y="184150"/>
                      </a:lnTo>
                      <a:lnTo>
                        <a:pt x="1461871" y="182880"/>
                      </a:lnTo>
                      <a:lnTo>
                        <a:pt x="1461058" y="181610"/>
                      </a:lnTo>
                      <a:lnTo>
                        <a:pt x="1459865" y="181610"/>
                      </a:lnTo>
                      <a:lnTo>
                        <a:pt x="1460119" y="180340"/>
                      </a:lnTo>
                      <a:lnTo>
                        <a:pt x="1459712" y="180340"/>
                      </a:lnTo>
                      <a:lnTo>
                        <a:pt x="1459712" y="179070"/>
                      </a:lnTo>
                      <a:lnTo>
                        <a:pt x="1458874" y="177800"/>
                      </a:lnTo>
                      <a:lnTo>
                        <a:pt x="1459077" y="177800"/>
                      </a:lnTo>
                      <a:lnTo>
                        <a:pt x="1456550" y="176530"/>
                      </a:lnTo>
                      <a:lnTo>
                        <a:pt x="1453896" y="175260"/>
                      </a:lnTo>
                      <a:lnTo>
                        <a:pt x="1452892" y="173990"/>
                      </a:lnTo>
                      <a:lnTo>
                        <a:pt x="1452270" y="173990"/>
                      </a:lnTo>
                      <a:lnTo>
                        <a:pt x="1451737" y="172720"/>
                      </a:lnTo>
                      <a:lnTo>
                        <a:pt x="1452384" y="172720"/>
                      </a:lnTo>
                      <a:lnTo>
                        <a:pt x="1452841" y="171450"/>
                      </a:lnTo>
                      <a:lnTo>
                        <a:pt x="1455851" y="171450"/>
                      </a:lnTo>
                      <a:lnTo>
                        <a:pt x="1458709" y="170599"/>
                      </a:lnTo>
                      <a:lnTo>
                        <a:pt x="1461643" y="171450"/>
                      </a:lnTo>
                      <a:lnTo>
                        <a:pt x="1461909" y="171450"/>
                      </a:lnTo>
                      <a:lnTo>
                        <a:pt x="1461173" y="170180"/>
                      </a:lnTo>
                      <a:lnTo>
                        <a:pt x="1460487" y="170180"/>
                      </a:lnTo>
                      <a:lnTo>
                        <a:pt x="1459598" y="168910"/>
                      </a:lnTo>
                      <a:lnTo>
                        <a:pt x="1458937" y="168910"/>
                      </a:lnTo>
                      <a:lnTo>
                        <a:pt x="1458150" y="167640"/>
                      </a:lnTo>
                      <a:lnTo>
                        <a:pt x="1457299" y="166370"/>
                      </a:lnTo>
                      <a:lnTo>
                        <a:pt x="1456245" y="165100"/>
                      </a:lnTo>
                      <a:lnTo>
                        <a:pt x="1455508" y="163830"/>
                      </a:lnTo>
                      <a:lnTo>
                        <a:pt x="1455293" y="163830"/>
                      </a:lnTo>
                      <a:lnTo>
                        <a:pt x="1455585" y="165100"/>
                      </a:lnTo>
                      <a:lnTo>
                        <a:pt x="1455737" y="165100"/>
                      </a:lnTo>
                      <a:lnTo>
                        <a:pt x="1455813" y="166370"/>
                      </a:lnTo>
                      <a:lnTo>
                        <a:pt x="1456359" y="166370"/>
                      </a:lnTo>
                      <a:lnTo>
                        <a:pt x="1457134" y="167640"/>
                      </a:lnTo>
                      <a:lnTo>
                        <a:pt x="1457248" y="168910"/>
                      </a:lnTo>
                      <a:lnTo>
                        <a:pt x="1449539" y="168910"/>
                      </a:lnTo>
                      <a:lnTo>
                        <a:pt x="1449844" y="167640"/>
                      </a:lnTo>
                      <a:lnTo>
                        <a:pt x="1449184" y="167640"/>
                      </a:lnTo>
                      <a:lnTo>
                        <a:pt x="1448879" y="166370"/>
                      </a:lnTo>
                      <a:lnTo>
                        <a:pt x="1447317" y="165506"/>
                      </a:lnTo>
                      <a:lnTo>
                        <a:pt x="1447012" y="165100"/>
                      </a:lnTo>
                      <a:lnTo>
                        <a:pt x="1446098" y="163830"/>
                      </a:lnTo>
                      <a:lnTo>
                        <a:pt x="1443863" y="160020"/>
                      </a:lnTo>
                      <a:lnTo>
                        <a:pt x="1443139" y="157480"/>
                      </a:lnTo>
                      <a:lnTo>
                        <a:pt x="1445412" y="157480"/>
                      </a:lnTo>
                      <a:lnTo>
                        <a:pt x="1446263" y="158750"/>
                      </a:lnTo>
                      <a:lnTo>
                        <a:pt x="1448104" y="158750"/>
                      </a:lnTo>
                      <a:lnTo>
                        <a:pt x="1448181" y="160020"/>
                      </a:lnTo>
                      <a:lnTo>
                        <a:pt x="1448422" y="160020"/>
                      </a:lnTo>
                      <a:lnTo>
                        <a:pt x="1448689" y="161290"/>
                      </a:lnTo>
                      <a:lnTo>
                        <a:pt x="1460550" y="161290"/>
                      </a:lnTo>
                      <a:lnTo>
                        <a:pt x="1460792" y="160020"/>
                      </a:lnTo>
                      <a:lnTo>
                        <a:pt x="1461719" y="160020"/>
                      </a:lnTo>
                      <a:lnTo>
                        <a:pt x="1462227" y="158750"/>
                      </a:lnTo>
                      <a:lnTo>
                        <a:pt x="1462366" y="157480"/>
                      </a:lnTo>
                      <a:lnTo>
                        <a:pt x="1462303" y="156210"/>
                      </a:lnTo>
                      <a:lnTo>
                        <a:pt x="1461795" y="154940"/>
                      </a:lnTo>
                      <a:lnTo>
                        <a:pt x="1461452" y="154940"/>
                      </a:lnTo>
                      <a:lnTo>
                        <a:pt x="1461173" y="153670"/>
                      </a:lnTo>
                      <a:lnTo>
                        <a:pt x="1460334" y="153670"/>
                      </a:lnTo>
                      <a:lnTo>
                        <a:pt x="1458899" y="152400"/>
                      </a:lnTo>
                      <a:lnTo>
                        <a:pt x="1458518" y="152400"/>
                      </a:lnTo>
                      <a:lnTo>
                        <a:pt x="1458556" y="151130"/>
                      </a:lnTo>
                      <a:lnTo>
                        <a:pt x="1456245" y="151130"/>
                      </a:lnTo>
                      <a:lnTo>
                        <a:pt x="1445564" y="149860"/>
                      </a:lnTo>
                      <a:lnTo>
                        <a:pt x="1445717" y="148590"/>
                      </a:lnTo>
                      <a:lnTo>
                        <a:pt x="1448904" y="148590"/>
                      </a:lnTo>
                      <a:lnTo>
                        <a:pt x="1448816" y="149860"/>
                      </a:lnTo>
                      <a:lnTo>
                        <a:pt x="1450187" y="149860"/>
                      </a:lnTo>
                      <a:lnTo>
                        <a:pt x="1451622" y="148590"/>
                      </a:lnTo>
                      <a:lnTo>
                        <a:pt x="1452537" y="148590"/>
                      </a:lnTo>
                      <a:lnTo>
                        <a:pt x="1453083" y="147320"/>
                      </a:lnTo>
                      <a:lnTo>
                        <a:pt x="1454810" y="147320"/>
                      </a:lnTo>
                      <a:lnTo>
                        <a:pt x="1453794" y="144780"/>
                      </a:lnTo>
                      <a:lnTo>
                        <a:pt x="1455737" y="146050"/>
                      </a:lnTo>
                      <a:lnTo>
                        <a:pt x="1457312" y="146050"/>
                      </a:lnTo>
                      <a:lnTo>
                        <a:pt x="1458442" y="144780"/>
                      </a:lnTo>
                      <a:lnTo>
                        <a:pt x="1459280" y="144780"/>
                      </a:lnTo>
                      <a:lnTo>
                        <a:pt x="1457439" y="143510"/>
                      </a:lnTo>
                      <a:lnTo>
                        <a:pt x="1446796" y="139700"/>
                      </a:lnTo>
                      <a:lnTo>
                        <a:pt x="1446872" y="138430"/>
                      </a:lnTo>
                      <a:lnTo>
                        <a:pt x="1450454" y="138430"/>
                      </a:lnTo>
                      <a:lnTo>
                        <a:pt x="1451800" y="137160"/>
                      </a:lnTo>
                      <a:lnTo>
                        <a:pt x="1453413" y="137160"/>
                      </a:lnTo>
                      <a:lnTo>
                        <a:pt x="1454772" y="135890"/>
                      </a:lnTo>
                      <a:lnTo>
                        <a:pt x="1455788" y="135890"/>
                      </a:lnTo>
                      <a:lnTo>
                        <a:pt x="1455851" y="134620"/>
                      </a:lnTo>
                      <a:lnTo>
                        <a:pt x="1456283" y="134620"/>
                      </a:lnTo>
                      <a:lnTo>
                        <a:pt x="1456283" y="133350"/>
                      </a:lnTo>
                      <a:lnTo>
                        <a:pt x="1455547" y="133350"/>
                      </a:lnTo>
                      <a:lnTo>
                        <a:pt x="1454658" y="132080"/>
                      </a:lnTo>
                      <a:lnTo>
                        <a:pt x="1453807" y="132080"/>
                      </a:lnTo>
                      <a:lnTo>
                        <a:pt x="1452626" y="130810"/>
                      </a:lnTo>
                      <a:lnTo>
                        <a:pt x="1451152" y="129540"/>
                      </a:lnTo>
                      <a:lnTo>
                        <a:pt x="1447457" y="128270"/>
                      </a:lnTo>
                      <a:lnTo>
                        <a:pt x="1445641" y="127000"/>
                      </a:lnTo>
                      <a:lnTo>
                        <a:pt x="1441399" y="124460"/>
                      </a:lnTo>
                      <a:lnTo>
                        <a:pt x="1439697" y="123190"/>
                      </a:lnTo>
                      <a:lnTo>
                        <a:pt x="1430655" y="121920"/>
                      </a:lnTo>
                      <a:lnTo>
                        <a:pt x="1425079" y="121920"/>
                      </a:lnTo>
                      <a:lnTo>
                        <a:pt x="1424774" y="123190"/>
                      </a:lnTo>
                      <a:lnTo>
                        <a:pt x="1424584" y="124460"/>
                      </a:lnTo>
                      <a:lnTo>
                        <a:pt x="1423047" y="125730"/>
                      </a:lnTo>
                      <a:lnTo>
                        <a:pt x="1419694" y="125730"/>
                      </a:lnTo>
                      <a:lnTo>
                        <a:pt x="1417370" y="127000"/>
                      </a:lnTo>
                      <a:lnTo>
                        <a:pt x="1414449" y="124460"/>
                      </a:lnTo>
                      <a:lnTo>
                        <a:pt x="1414945" y="124460"/>
                      </a:lnTo>
                      <a:lnTo>
                        <a:pt x="1416291" y="123190"/>
                      </a:lnTo>
                      <a:lnTo>
                        <a:pt x="1417294" y="123190"/>
                      </a:lnTo>
                      <a:lnTo>
                        <a:pt x="1417142" y="121920"/>
                      </a:lnTo>
                      <a:lnTo>
                        <a:pt x="1416532" y="121920"/>
                      </a:lnTo>
                      <a:lnTo>
                        <a:pt x="1415986" y="120650"/>
                      </a:lnTo>
                      <a:lnTo>
                        <a:pt x="1414970" y="121920"/>
                      </a:lnTo>
                      <a:lnTo>
                        <a:pt x="1404150" y="121920"/>
                      </a:lnTo>
                      <a:lnTo>
                        <a:pt x="1404073" y="120650"/>
                      </a:lnTo>
                      <a:lnTo>
                        <a:pt x="1400060" y="120650"/>
                      </a:lnTo>
                      <a:lnTo>
                        <a:pt x="1400378" y="119380"/>
                      </a:lnTo>
                      <a:lnTo>
                        <a:pt x="1399832" y="119380"/>
                      </a:lnTo>
                      <a:lnTo>
                        <a:pt x="1399641" y="118110"/>
                      </a:lnTo>
                      <a:lnTo>
                        <a:pt x="1399336" y="118110"/>
                      </a:lnTo>
                      <a:lnTo>
                        <a:pt x="1398181" y="116840"/>
                      </a:lnTo>
                      <a:lnTo>
                        <a:pt x="1396809" y="118110"/>
                      </a:lnTo>
                      <a:lnTo>
                        <a:pt x="1395285" y="118110"/>
                      </a:lnTo>
                      <a:lnTo>
                        <a:pt x="1395133" y="116840"/>
                      </a:lnTo>
                      <a:lnTo>
                        <a:pt x="1392047" y="116840"/>
                      </a:lnTo>
                      <a:lnTo>
                        <a:pt x="1394066" y="115570"/>
                      </a:lnTo>
                      <a:lnTo>
                        <a:pt x="1391615" y="116840"/>
                      </a:lnTo>
                      <a:lnTo>
                        <a:pt x="1390891" y="115570"/>
                      </a:lnTo>
                      <a:lnTo>
                        <a:pt x="1388529" y="115570"/>
                      </a:lnTo>
                      <a:lnTo>
                        <a:pt x="1388529" y="114300"/>
                      </a:lnTo>
                      <a:lnTo>
                        <a:pt x="1387995" y="114300"/>
                      </a:lnTo>
                      <a:lnTo>
                        <a:pt x="1386916" y="115570"/>
                      </a:lnTo>
                      <a:lnTo>
                        <a:pt x="1383525" y="116840"/>
                      </a:lnTo>
                      <a:lnTo>
                        <a:pt x="1383030" y="118110"/>
                      </a:lnTo>
                      <a:lnTo>
                        <a:pt x="1383042" y="116840"/>
                      </a:lnTo>
                      <a:lnTo>
                        <a:pt x="1383372" y="116840"/>
                      </a:lnTo>
                      <a:lnTo>
                        <a:pt x="1383055" y="115570"/>
                      </a:lnTo>
                      <a:lnTo>
                        <a:pt x="1381594" y="115570"/>
                      </a:lnTo>
                      <a:lnTo>
                        <a:pt x="1381594" y="116840"/>
                      </a:lnTo>
                      <a:lnTo>
                        <a:pt x="1381899" y="118110"/>
                      </a:lnTo>
                      <a:lnTo>
                        <a:pt x="1382560" y="118110"/>
                      </a:lnTo>
                      <a:lnTo>
                        <a:pt x="1382788" y="119380"/>
                      </a:lnTo>
                      <a:lnTo>
                        <a:pt x="1379093" y="119380"/>
                      </a:lnTo>
                      <a:lnTo>
                        <a:pt x="1378813" y="120650"/>
                      </a:lnTo>
                      <a:lnTo>
                        <a:pt x="1378546" y="120650"/>
                      </a:lnTo>
                      <a:lnTo>
                        <a:pt x="1377657" y="119380"/>
                      </a:lnTo>
                      <a:lnTo>
                        <a:pt x="1376781" y="119380"/>
                      </a:lnTo>
                      <a:lnTo>
                        <a:pt x="1376934" y="118110"/>
                      </a:lnTo>
                      <a:lnTo>
                        <a:pt x="1377162" y="118110"/>
                      </a:lnTo>
                      <a:lnTo>
                        <a:pt x="1377276" y="116840"/>
                      </a:lnTo>
                      <a:lnTo>
                        <a:pt x="1376464" y="116840"/>
                      </a:lnTo>
                      <a:lnTo>
                        <a:pt x="1375918" y="118110"/>
                      </a:lnTo>
                      <a:lnTo>
                        <a:pt x="1374228" y="118110"/>
                      </a:lnTo>
                      <a:lnTo>
                        <a:pt x="1373733" y="119380"/>
                      </a:lnTo>
                      <a:lnTo>
                        <a:pt x="1373035" y="120650"/>
                      </a:lnTo>
                      <a:lnTo>
                        <a:pt x="1372997" y="121920"/>
                      </a:lnTo>
                      <a:lnTo>
                        <a:pt x="1373809" y="123190"/>
                      </a:lnTo>
                      <a:lnTo>
                        <a:pt x="1374228" y="123190"/>
                      </a:lnTo>
                      <a:lnTo>
                        <a:pt x="1374381" y="124460"/>
                      </a:lnTo>
                      <a:lnTo>
                        <a:pt x="1372222" y="124460"/>
                      </a:lnTo>
                      <a:lnTo>
                        <a:pt x="1372222" y="125730"/>
                      </a:lnTo>
                      <a:lnTo>
                        <a:pt x="1374457" y="125730"/>
                      </a:lnTo>
                      <a:lnTo>
                        <a:pt x="1374889" y="127000"/>
                      </a:lnTo>
                      <a:lnTo>
                        <a:pt x="1375575" y="128270"/>
                      </a:lnTo>
                      <a:lnTo>
                        <a:pt x="1376349" y="130810"/>
                      </a:lnTo>
                      <a:lnTo>
                        <a:pt x="1377505" y="130810"/>
                      </a:lnTo>
                      <a:lnTo>
                        <a:pt x="1374076" y="132080"/>
                      </a:lnTo>
                      <a:lnTo>
                        <a:pt x="1374648" y="134620"/>
                      </a:lnTo>
                      <a:lnTo>
                        <a:pt x="1374000" y="135890"/>
                      </a:lnTo>
                      <a:lnTo>
                        <a:pt x="1371396" y="139700"/>
                      </a:lnTo>
                      <a:lnTo>
                        <a:pt x="1369796" y="138430"/>
                      </a:lnTo>
                      <a:lnTo>
                        <a:pt x="1369453" y="138430"/>
                      </a:lnTo>
                      <a:lnTo>
                        <a:pt x="1366672" y="137160"/>
                      </a:lnTo>
                      <a:lnTo>
                        <a:pt x="1360614" y="137160"/>
                      </a:lnTo>
                      <a:lnTo>
                        <a:pt x="1353870" y="138430"/>
                      </a:lnTo>
                      <a:lnTo>
                        <a:pt x="1325803" y="135890"/>
                      </a:lnTo>
                      <a:lnTo>
                        <a:pt x="1322298" y="135890"/>
                      </a:lnTo>
                      <a:lnTo>
                        <a:pt x="1321054" y="137160"/>
                      </a:lnTo>
                      <a:lnTo>
                        <a:pt x="1303985" y="130810"/>
                      </a:lnTo>
                      <a:lnTo>
                        <a:pt x="1303477" y="130810"/>
                      </a:lnTo>
                      <a:lnTo>
                        <a:pt x="1303121" y="129540"/>
                      </a:lnTo>
                      <a:lnTo>
                        <a:pt x="1302397" y="127000"/>
                      </a:lnTo>
                      <a:lnTo>
                        <a:pt x="1303820" y="124460"/>
                      </a:lnTo>
                      <a:lnTo>
                        <a:pt x="1304709" y="123190"/>
                      </a:lnTo>
                      <a:lnTo>
                        <a:pt x="1310767" y="123190"/>
                      </a:lnTo>
                      <a:lnTo>
                        <a:pt x="1310220" y="121920"/>
                      </a:lnTo>
                      <a:lnTo>
                        <a:pt x="1308100" y="121920"/>
                      </a:lnTo>
                      <a:lnTo>
                        <a:pt x="1307058" y="120650"/>
                      </a:lnTo>
                      <a:lnTo>
                        <a:pt x="1286014" y="120650"/>
                      </a:lnTo>
                      <a:lnTo>
                        <a:pt x="1284478" y="119380"/>
                      </a:lnTo>
                      <a:lnTo>
                        <a:pt x="1281544" y="119380"/>
                      </a:lnTo>
                      <a:lnTo>
                        <a:pt x="1276718" y="118110"/>
                      </a:lnTo>
                      <a:lnTo>
                        <a:pt x="1260322" y="116840"/>
                      </a:lnTo>
                      <a:lnTo>
                        <a:pt x="1259205" y="116840"/>
                      </a:lnTo>
                      <a:lnTo>
                        <a:pt x="1258023" y="118110"/>
                      </a:lnTo>
                      <a:lnTo>
                        <a:pt x="1253871" y="118110"/>
                      </a:lnTo>
                      <a:lnTo>
                        <a:pt x="1253083" y="119380"/>
                      </a:lnTo>
                      <a:lnTo>
                        <a:pt x="1252385" y="119380"/>
                      </a:lnTo>
                      <a:lnTo>
                        <a:pt x="1248816" y="120650"/>
                      </a:lnTo>
                      <a:lnTo>
                        <a:pt x="1239507" y="120650"/>
                      </a:lnTo>
                      <a:lnTo>
                        <a:pt x="1239126" y="121920"/>
                      </a:lnTo>
                      <a:lnTo>
                        <a:pt x="1233932" y="121920"/>
                      </a:lnTo>
                      <a:lnTo>
                        <a:pt x="1232344" y="123190"/>
                      </a:lnTo>
                      <a:lnTo>
                        <a:pt x="1232547" y="123190"/>
                      </a:lnTo>
                      <a:lnTo>
                        <a:pt x="1232598" y="124460"/>
                      </a:lnTo>
                      <a:lnTo>
                        <a:pt x="1233411" y="124460"/>
                      </a:lnTo>
                      <a:lnTo>
                        <a:pt x="1234020" y="125730"/>
                      </a:lnTo>
                      <a:lnTo>
                        <a:pt x="1235544" y="125730"/>
                      </a:lnTo>
                      <a:lnTo>
                        <a:pt x="1235722" y="127000"/>
                      </a:lnTo>
                      <a:lnTo>
                        <a:pt x="1235887" y="127000"/>
                      </a:lnTo>
                      <a:lnTo>
                        <a:pt x="1233411" y="129540"/>
                      </a:lnTo>
                      <a:lnTo>
                        <a:pt x="1232649" y="129540"/>
                      </a:lnTo>
                      <a:lnTo>
                        <a:pt x="1229182" y="124460"/>
                      </a:lnTo>
                      <a:lnTo>
                        <a:pt x="1228636" y="123190"/>
                      </a:lnTo>
                      <a:lnTo>
                        <a:pt x="1228864" y="123190"/>
                      </a:lnTo>
                      <a:lnTo>
                        <a:pt x="1229067" y="121920"/>
                      </a:lnTo>
                      <a:lnTo>
                        <a:pt x="1229360" y="121920"/>
                      </a:lnTo>
                      <a:lnTo>
                        <a:pt x="1229944" y="120650"/>
                      </a:lnTo>
                      <a:lnTo>
                        <a:pt x="1231099" y="120650"/>
                      </a:lnTo>
                      <a:lnTo>
                        <a:pt x="1231760" y="119380"/>
                      </a:lnTo>
                      <a:lnTo>
                        <a:pt x="1231633" y="118110"/>
                      </a:lnTo>
                      <a:lnTo>
                        <a:pt x="1231493" y="118110"/>
                      </a:lnTo>
                      <a:lnTo>
                        <a:pt x="1230757" y="116840"/>
                      </a:lnTo>
                      <a:lnTo>
                        <a:pt x="1230363" y="116840"/>
                      </a:lnTo>
                      <a:lnTo>
                        <a:pt x="1230020" y="115570"/>
                      </a:lnTo>
                      <a:lnTo>
                        <a:pt x="1229487" y="115570"/>
                      </a:lnTo>
                      <a:lnTo>
                        <a:pt x="1228090" y="113030"/>
                      </a:lnTo>
                      <a:lnTo>
                        <a:pt x="1228420" y="113030"/>
                      </a:lnTo>
                      <a:lnTo>
                        <a:pt x="1226121" y="111760"/>
                      </a:lnTo>
                      <a:lnTo>
                        <a:pt x="1224280" y="109220"/>
                      </a:lnTo>
                      <a:lnTo>
                        <a:pt x="1222921" y="109220"/>
                      </a:lnTo>
                      <a:lnTo>
                        <a:pt x="1222832" y="110490"/>
                      </a:lnTo>
                      <a:lnTo>
                        <a:pt x="1224076" y="113030"/>
                      </a:lnTo>
                      <a:lnTo>
                        <a:pt x="1224813" y="114300"/>
                      </a:lnTo>
                      <a:lnTo>
                        <a:pt x="1224813" y="115570"/>
                      </a:lnTo>
                      <a:lnTo>
                        <a:pt x="1224127" y="115570"/>
                      </a:lnTo>
                      <a:lnTo>
                        <a:pt x="1223886" y="116840"/>
                      </a:lnTo>
                      <a:lnTo>
                        <a:pt x="1215986" y="116840"/>
                      </a:lnTo>
                      <a:lnTo>
                        <a:pt x="1215110" y="118110"/>
                      </a:lnTo>
                      <a:lnTo>
                        <a:pt x="1208049" y="115570"/>
                      </a:lnTo>
                      <a:lnTo>
                        <a:pt x="1200988" y="113030"/>
                      </a:lnTo>
                      <a:lnTo>
                        <a:pt x="1201724" y="111760"/>
                      </a:lnTo>
                      <a:lnTo>
                        <a:pt x="1203960" y="109220"/>
                      </a:lnTo>
                      <a:lnTo>
                        <a:pt x="1203299" y="107950"/>
                      </a:lnTo>
                      <a:lnTo>
                        <a:pt x="1202880" y="106680"/>
                      </a:lnTo>
                      <a:lnTo>
                        <a:pt x="1201445" y="107950"/>
                      </a:lnTo>
                      <a:lnTo>
                        <a:pt x="1198981" y="107950"/>
                      </a:lnTo>
                      <a:lnTo>
                        <a:pt x="1198638" y="109220"/>
                      </a:lnTo>
                      <a:lnTo>
                        <a:pt x="1181366" y="109220"/>
                      </a:lnTo>
                      <a:lnTo>
                        <a:pt x="1175575" y="113030"/>
                      </a:lnTo>
                      <a:lnTo>
                        <a:pt x="1175194" y="115570"/>
                      </a:lnTo>
                      <a:lnTo>
                        <a:pt x="1177163" y="118110"/>
                      </a:lnTo>
                      <a:lnTo>
                        <a:pt x="1178814" y="118110"/>
                      </a:lnTo>
                      <a:lnTo>
                        <a:pt x="1178966" y="116840"/>
                      </a:lnTo>
                      <a:lnTo>
                        <a:pt x="1181976" y="116840"/>
                      </a:lnTo>
                      <a:lnTo>
                        <a:pt x="1191882" y="115570"/>
                      </a:lnTo>
                      <a:lnTo>
                        <a:pt x="1195120" y="115570"/>
                      </a:lnTo>
                      <a:lnTo>
                        <a:pt x="1195400" y="118110"/>
                      </a:lnTo>
                      <a:lnTo>
                        <a:pt x="1182217" y="123190"/>
                      </a:lnTo>
                      <a:lnTo>
                        <a:pt x="1181976" y="123164"/>
                      </a:lnTo>
                      <a:lnTo>
                        <a:pt x="1181976" y="539750"/>
                      </a:lnTo>
                      <a:lnTo>
                        <a:pt x="1181201" y="539750"/>
                      </a:lnTo>
                      <a:lnTo>
                        <a:pt x="1180973" y="541020"/>
                      </a:lnTo>
                      <a:lnTo>
                        <a:pt x="1180706" y="542290"/>
                      </a:lnTo>
                      <a:lnTo>
                        <a:pt x="1181201" y="542290"/>
                      </a:lnTo>
                      <a:lnTo>
                        <a:pt x="1181125" y="543560"/>
                      </a:lnTo>
                      <a:lnTo>
                        <a:pt x="1180477" y="543560"/>
                      </a:lnTo>
                      <a:lnTo>
                        <a:pt x="1180287" y="544830"/>
                      </a:lnTo>
                      <a:lnTo>
                        <a:pt x="1180122" y="544830"/>
                      </a:lnTo>
                      <a:lnTo>
                        <a:pt x="1179703" y="546100"/>
                      </a:lnTo>
                      <a:lnTo>
                        <a:pt x="1180007" y="546100"/>
                      </a:lnTo>
                      <a:lnTo>
                        <a:pt x="1179779" y="547370"/>
                      </a:lnTo>
                      <a:lnTo>
                        <a:pt x="1179664" y="548640"/>
                      </a:lnTo>
                      <a:lnTo>
                        <a:pt x="1179055" y="548640"/>
                      </a:lnTo>
                      <a:lnTo>
                        <a:pt x="1178814" y="549910"/>
                      </a:lnTo>
                      <a:lnTo>
                        <a:pt x="1179512" y="551180"/>
                      </a:lnTo>
                      <a:lnTo>
                        <a:pt x="1179322" y="552450"/>
                      </a:lnTo>
                      <a:lnTo>
                        <a:pt x="1178852" y="552450"/>
                      </a:lnTo>
                      <a:lnTo>
                        <a:pt x="1178433" y="554990"/>
                      </a:lnTo>
                      <a:lnTo>
                        <a:pt x="1177620" y="554990"/>
                      </a:lnTo>
                      <a:lnTo>
                        <a:pt x="1177505" y="556260"/>
                      </a:lnTo>
                      <a:lnTo>
                        <a:pt x="1177315" y="557530"/>
                      </a:lnTo>
                      <a:lnTo>
                        <a:pt x="1177467" y="557530"/>
                      </a:lnTo>
                      <a:lnTo>
                        <a:pt x="1176807" y="558800"/>
                      </a:lnTo>
                      <a:lnTo>
                        <a:pt x="1176197" y="560070"/>
                      </a:lnTo>
                      <a:lnTo>
                        <a:pt x="1176007" y="560070"/>
                      </a:lnTo>
                      <a:lnTo>
                        <a:pt x="1175778" y="561340"/>
                      </a:lnTo>
                      <a:lnTo>
                        <a:pt x="1175651" y="567690"/>
                      </a:lnTo>
                      <a:lnTo>
                        <a:pt x="1176007" y="568960"/>
                      </a:lnTo>
                      <a:lnTo>
                        <a:pt x="1173810" y="574040"/>
                      </a:lnTo>
                      <a:lnTo>
                        <a:pt x="1171879" y="579120"/>
                      </a:lnTo>
                      <a:lnTo>
                        <a:pt x="1167828" y="580237"/>
                      </a:lnTo>
                      <a:lnTo>
                        <a:pt x="1168146" y="580390"/>
                      </a:lnTo>
                      <a:lnTo>
                        <a:pt x="1168298" y="584200"/>
                      </a:lnTo>
                      <a:lnTo>
                        <a:pt x="1167282" y="585470"/>
                      </a:lnTo>
                      <a:lnTo>
                        <a:pt x="1165440" y="585470"/>
                      </a:lnTo>
                      <a:lnTo>
                        <a:pt x="1163243" y="586740"/>
                      </a:lnTo>
                      <a:lnTo>
                        <a:pt x="1161656" y="586740"/>
                      </a:lnTo>
                      <a:lnTo>
                        <a:pt x="1160500" y="588010"/>
                      </a:lnTo>
                      <a:lnTo>
                        <a:pt x="1158608" y="589280"/>
                      </a:lnTo>
                      <a:lnTo>
                        <a:pt x="1157071" y="591820"/>
                      </a:lnTo>
                      <a:lnTo>
                        <a:pt x="1153363" y="595630"/>
                      </a:lnTo>
                      <a:lnTo>
                        <a:pt x="1151674" y="596900"/>
                      </a:lnTo>
                      <a:lnTo>
                        <a:pt x="1144765" y="598170"/>
                      </a:lnTo>
                      <a:lnTo>
                        <a:pt x="1141145" y="601980"/>
                      </a:lnTo>
                      <a:lnTo>
                        <a:pt x="1135824" y="605790"/>
                      </a:lnTo>
                      <a:lnTo>
                        <a:pt x="1134173" y="604520"/>
                      </a:lnTo>
                      <a:lnTo>
                        <a:pt x="1129157" y="604520"/>
                      </a:lnTo>
                      <a:lnTo>
                        <a:pt x="1129042" y="608330"/>
                      </a:lnTo>
                      <a:lnTo>
                        <a:pt x="1129614" y="608330"/>
                      </a:lnTo>
                      <a:lnTo>
                        <a:pt x="1128115" y="610870"/>
                      </a:lnTo>
                      <a:lnTo>
                        <a:pt x="1127379" y="610870"/>
                      </a:lnTo>
                      <a:lnTo>
                        <a:pt x="1124953" y="614680"/>
                      </a:lnTo>
                      <a:lnTo>
                        <a:pt x="1124445" y="615950"/>
                      </a:lnTo>
                      <a:lnTo>
                        <a:pt x="1115047" y="618490"/>
                      </a:lnTo>
                      <a:lnTo>
                        <a:pt x="1107795" y="622300"/>
                      </a:lnTo>
                      <a:lnTo>
                        <a:pt x="1099007" y="619760"/>
                      </a:lnTo>
                      <a:lnTo>
                        <a:pt x="1097419" y="619760"/>
                      </a:lnTo>
                      <a:lnTo>
                        <a:pt x="1095070" y="618490"/>
                      </a:lnTo>
                      <a:lnTo>
                        <a:pt x="1093749" y="618490"/>
                      </a:lnTo>
                      <a:lnTo>
                        <a:pt x="1091679" y="615950"/>
                      </a:lnTo>
                      <a:lnTo>
                        <a:pt x="1096772" y="615950"/>
                      </a:lnTo>
                      <a:lnTo>
                        <a:pt x="1115275" y="613410"/>
                      </a:lnTo>
                      <a:lnTo>
                        <a:pt x="1119403" y="608330"/>
                      </a:lnTo>
                      <a:lnTo>
                        <a:pt x="1123530" y="603250"/>
                      </a:lnTo>
                      <a:lnTo>
                        <a:pt x="1125372" y="600710"/>
                      </a:lnTo>
                      <a:lnTo>
                        <a:pt x="1131811" y="598170"/>
                      </a:lnTo>
                      <a:lnTo>
                        <a:pt x="1133055" y="596900"/>
                      </a:lnTo>
                      <a:lnTo>
                        <a:pt x="1134135" y="596900"/>
                      </a:lnTo>
                      <a:lnTo>
                        <a:pt x="1138415" y="593090"/>
                      </a:lnTo>
                      <a:lnTo>
                        <a:pt x="1136129" y="591820"/>
                      </a:lnTo>
                      <a:lnTo>
                        <a:pt x="1141907" y="586740"/>
                      </a:lnTo>
                      <a:lnTo>
                        <a:pt x="1147940" y="581660"/>
                      </a:lnTo>
                      <a:lnTo>
                        <a:pt x="1153541" y="577850"/>
                      </a:lnTo>
                      <a:lnTo>
                        <a:pt x="1157998" y="571500"/>
                      </a:lnTo>
                      <a:lnTo>
                        <a:pt x="1170800" y="542290"/>
                      </a:lnTo>
                      <a:lnTo>
                        <a:pt x="1174813" y="538480"/>
                      </a:lnTo>
                      <a:lnTo>
                        <a:pt x="1175613" y="537210"/>
                      </a:lnTo>
                      <a:lnTo>
                        <a:pt x="1177315" y="537210"/>
                      </a:lnTo>
                      <a:lnTo>
                        <a:pt x="1179283" y="535940"/>
                      </a:lnTo>
                      <a:lnTo>
                        <a:pt x="1181252" y="537210"/>
                      </a:lnTo>
                      <a:lnTo>
                        <a:pt x="1181976" y="539750"/>
                      </a:lnTo>
                      <a:lnTo>
                        <a:pt x="1181976" y="123164"/>
                      </a:lnTo>
                      <a:lnTo>
                        <a:pt x="1172413" y="121920"/>
                      </a:lnTo>
                      <a:lnTo>
                        <a:pt x="1170254" y="121920"/>
                      </a:lnTo>
                      <a:lnTo>
                        <a:pt x="1170406" y="123190"/>
                      </a:lnTo>
                      <a:lnTo>
                        <a:pt x="1171333" y="125730"/>
                      </a:lnTo>
                      <a:lnTo>
                        <a:pt x="1170724" y="125730"/>
                      </a:lnTo>
                      <a:lnTo>
                        <a:pt x="1153210" y="130810"/>
                      </a:lnTo>
                      <a:lnTo>
                        <a:pt x="1152055" y="130810"/>
                      </a:lnTo>
                      <a:lnTo>
                        <a:pt x="1126566" y="134620"/>
                      </a:lnTo>
                      <a:lnTo>
                        <a:pt x="1126718" y="135890"/>
                      </a:lnTo>
                      <a:lnTo>
                        <a:pt x="1127848" y="137160"/>
                      </a:lnTo>
                      <a:lnTo>
                        <a:pt x="1127645" y="138430"/>
                      </a:lnTo>
                      <a:lnTo>
                        <a:pt x="1110640" y="143510"/>
                      </a:lnTo>
                      <a:lnTo>
                        <a:pt x="1110297" y="143510"/>
                      </a:lnTo>
                      <a:lnTo>
                        <a:pt x="1110221" y="142240"/>
                      </a:lnTo>
                      <a:lnTo>
                        <a:pt x="1117549" y="139700"/>
                      </a:lnTo>
                      <a:lnTo>
                        <a:pt x="1119771" y="138430"/>
                      </a:lnTo>
                      <a:lnTo>
                        <a:pt x="1121638" y="137160"/>
                      </a:lnTo>
                      <a:lnTo>
                        <a:pt x="1121714" y="135890"/>
                      </a:lnTo>
                      <a:lnTo>
                        <a:pt x="1122057" y="134620"/>
                      </a:lnTo>
                      <a:lnTo>
                        <a:pt x="1124292" y="130810"/>
                      </a:lnTo>
                      <a:lnTo>
                        <a:pt x="1124991" y="129540"/>
                      </a:lnTo>
                      <a:lnTo>
                        <a:pt x="1125499" y="129540"/>
                      </a:lnTo>
                      <a:lnTo>
                        <a:pt x="1126490" y="128270"/>
                      </a:lnTo>
                      <a:lnTo>
                        <a:pt x="1130935" y="128270"/>
                      </a:lnTo>
                      <a:lnTo>
                        <a:pt x="1134046" y="127000"/>
                      </a:lnTo>
                      <a:lnTo>
                        <a:pt x="1136129" y="127000"/>
                      </a:lnTo>
                      <a:lnTo>
                        <a:pt x="1136637" y="125730"/>
                      </a:lnTo>
                      <a:lnTo>
                        <a:pt x="1140650" y="120650"/>
                      </a:lnTo>
                      <a:lnTo>
                        <a:pt x="1141336" y="119380"/>
                      </a:lnTo>
                      <a:lnTo>
                        <a:pt x="1147051" y="119380"/>
                      </a:lnTo>
                      <a:lnTo>
                        <a:pt x="1179969" y="104140"/>
                      </a:lnTo>
                      <a:lnTo>
                        <a:pt x="1180693" y="104140"/>
                      </a:lnTo>
                      <a:lnTo>
                        <a:pt x="1181252" y="102870"/>
                      </a:lnTo>
                      <a:lnTo>
                        <a:pt x="1181481" y="102870"/>
                      </a:lnTo>
                      <a:lnTo>
                        <a:pt x="1181595" y="101600"/>
                      </a:lnTo>
                      <a:lnTo>
                        <a:pt x="1181773" y="101600"/>
                      </a:lnTo>
                      <a:lnTo>
                        <a:pt x="1181823" y="100330"/>
                      </a:lnTo>
                      <a:lnTo>
                        <a:pt x="1177544" y="100330"/>
                      </a:lnTo>
                      <a:lnTo>
                        <a:pt x="1178623" y="99060"/>
                      </a:lnTo>
                      <a:lnTo>
                        <a:pt x="1180287" y="99060"/>
                      </a:lnTo>
                      <a:lnTo>
                        <a:pt x="1184300" y="96520"/>
                      </a:lnTo>
                      <a:lnTo>
                        <a:pt x="1185913" y="95250"/>
                      </a:lnTo>
                      <a:lnTo>
                        <a:pt x="1189723" y="95250"/>
                      </a:lnTo>
                      <a:lnTo>
                        <a:pt x="1231099" y="74930"/>
                      </a:lnTo>
                      <a:lnTo>
                        <a:pt x="1232027" y="74930"/>
                      </a:lnTo>
                      <a:lnTo>
                        <a:pt x="1233728" y="72390"/>
                      </a:lnTo>
                      <a:lnTo>
                        <a:pt x="1234287" y="72390"/>
                      </a:lnTo>
                      <a:lnTo>
                        <a:pt x="1234960" y="71120"/>
                      </a:lnTo>
                      <a:lnTo>
                        <a:pt x="1234998" y="69850"/>
                      </a:lnTo>
                      <a:lnTo>
                        <a:pt x="1235748" y="69850"/>
                      </a:lnTo>
                      <a:lnTo>
                        <a:pt x="1235722" y="68580"/>
                      </a:lnTo>
                      <a:lnTo>
                        <a:pt x="1235544" y="67310"/>
                      </a:lnTo>
                      <a:lnTo>
                        <a:pt x="1235265" y="67310"/>
                      </a:lnTo>
                      <a:lnTo>
                        <a:pt x="1235189" y="66040"/>
                      </a:lnTo>
                      <a:lnTo>
                        <a:pt x="1230312" y="66040"/>
                      </a:lnTo>
                      <a:lnTo>
                        <a:pt x="1229487" y="64770"/>
                      </a:lnTo>
                      <a:lnTo>
                        <a:pt x="1229182" y="64770"/>
                      </a:lnTo>
                      <a:lnTo>
                        <a:pt x="1229220" y="63500"/>
                      </a:lnTo>
                      <a:lnTo>
                        <a:pt x="1229702" y="63500"/>
                      </a:lnTo>
                      <a:lnTo>
                        <a:pt x="1229702" y="62230"/>
                      </a:lnTo>
                      <a:lnTo>
                        <a:pt x="1228483" y="62230"/>
                      </a:lnTo>
                      <a:lnTo>
                        <a:pt x="1226743" y="64770"/>
                      </a:lnTo>
                      <a:lnTo>
                        <a:pt x="1222463" y="64770"/>
                      </a:lnTo>
                      <a:lnTo>
                        <a:pt x="1222540" y="63500"/>
                      </a:lnTo>
                      <a:lnTo>
                        <a:pt x="1223276" y="63500"/>
                      </a:lnTo>
                      <a:lnTo>
                        <a:pt x="1223543" y="62230"/>
                      </a:lnTo>
                      <a:lnTo>
                        <a:pt x="1222883" y="60960"/>
                      </a:lnTo>
                      <a:lnTo>
                        <a:pt x="1223429" y="60960"/>
                      </a:lnTo>
                      <a:lnTo>
                        <a:pt x="1222959" y="59690"/>
                      </a:lnTo>
                      <a:lnTo>
                        <a:pt x="1221892" y="59690"/>
                      </a:lnTo>
                      <a:lnTo>
                        <a:pt x="1220851" y="58420"/>
                      </a:lnTo>
                      <a:lnTo>
                        <a:pt x="1218844" y="58420"/>
                      </a:lnTo>
                      <a:lnTo>
                        <a:pt x="1217447" y="57150"/>
                      </a:lnTo>
                      <a:lnTo>
                        <a:pt x="1216571" y="57150"/>
                      </a:lnTo>
                      <a:lnTo>
                        <a:pt x="1216418" y="55880"/>
                      </a:lnTo>
                      <a:lnTo>
                        <a:pt x="1219885" y="55880"/>
                      </a:lnTo>
                      <a:lnTo>
                        <a:pt x="1220393" y="57150"/>
                      </a:lnTo>
                      <a:lnTo>
                        <a:pt x="1222540" y="57150"/>
                      </a:lnTo>
                      <a:lnTo>
                        <a:pt x="1223010" y="58420"/>
                      </a:lnTo>
                      <a:lnTo>
                        <a:pt x="1224216" y="58420"/>
                      </a:lnTo>
                      <a:lnTo>
                        <a:pt x="1225550" y="59690"/>
                      </a:lnTo>
                      <a:lnTo>
                        <a:pt x="1227048" y="59690"/>
                      </a:lnTo>
                      <a:lnTo>
                        <a:pt x="1226934" y="60960"/>
                      </a:lnTo>
                      <a:lnTo>
                        <a:pt x="1232954" y="60960"/>
                      </a:lnTo>
                      <a:lnTo>
                        <a:pt x="1233728" y="62230"/>
                      </a:lnTo>
                      <a:lnTo>
                        <a:pt x="1233995" y="63500"/>
                      </a:lnTo>
                      <a:lnTo>
                        <a:pt x="1235684" y="63500"/>
                      </a:lnTo>
                      <a:lnTo>
                        <a:pt x="1235811" y="62230"/>
                      </a:lnTo>
                      <a:lnTo>
                        <a:pt x="1236395" y="59690"/>
                      </a:lnTo>
                      <a:lnTo>
                        <a:pt x="1237538" y="58420"/>
                      </a:lnTo>
                      <a:lnTo>
                        <a:pt x="1238161" y="55880"/>
                      </a:lnTo>
                      <a:lnTo>
                        <a:pt x="1237780" y="55880"/>
                      </a:lnTo>
                      <a:lnTo>
                        <a:pt x="1237665" y="54610"/>
                      </a:lnTo>
                      <a:lnTo>
                        <a:pt x="1237157" y="53340"/>
                      </a:lnTo>
                      <a:lnTo>
                        <a:pt x="1236510" y="53340"/>
                      </a:lnTo>
                      <a:lnTo>
                        <a:pt x="1236306" y="54610"/>
                      </a:lnTo>
                      <a:lnTo>
                        <a:pt x="1234795" y="54610"/>
                      </a:lnTo>
                      <a:lnTo>
                        <a:pt x="1234617" y="55880"/>
                      </a:lnTo>
                      <a:lnTo>
                        <a:pt x="1233449" y="55880"/>
                      </a:lnTo>
                      <a:lnTo>
                        <a:pt x="1233411" y="54610"/>
                      </a:lnTo>
                      <a:lnTo>
                        <a:pt x="1233220" y="54610"/>
                      </a:lnTo>
                      <a:lnTo>
                        <a:pt x="1233297" y="53340"/>
                      </a:lnTo>
                      <a:lnTo>
                        <a:pt x="1233182" y="52070"/>
                      </a:lnTo>
                      <a:lnTo>
                        <a:pt x="1233601" y="50800"/>
                      </a:lnTo>
                      <a:lnTo>
                        <a:pt x="1231950" y="50800"/>
                      </a:lnTo>
                      <a:lnTo>
                        <a:pt x="1231912" y="49530"/>
                      </a:lnTo>
                      <a:lnTo>
                        <a:pt x="1232065" y="48260"/>
                      </a:lnTo>
                      <a:lnTo>
                        <a:pt x="1232065" y="48018"/>
                      </a:lnTo>
                      <a:lnTo>
                        <a:pt x="1231328" y="46990"/>
                      </a:lnTo>
                      <a:lnTo>
                        <a:pt x="1231036" y="45720"/>
                      </a:lnTo>
                      <a:lnTo>
                        <a:pt x="1229398" y="45720"/>
                      </a:lnTo>
                      <a:lnTo>
                        <a:pt x="1229398" y="48260"/>
                      </a:lnTo>
                      <a:lnTo>
                        <a:pt x="1228826" y="48260"/>
                      </a:lnTo>
                      <a:lnTo>
                        <a:pt x="1228534" y="47028"/>
                      </a:lnTo>
                      <a:lnTo>
                        <a:pt x="1229398" y="48260"/>
                      </a:lnTo>
                      <a:lnTo>
                        <a:pt x="1229398" y="45720"/>
                      </a:lnTo>
                      <a:lnTo>
                        <a:pt x="1229093" y="45720"/>
                      </a:lnTo>
                      <a:lnTo>
                        <a:pt x="1230960" y="43180"/>
                      </a:lnTo>
                      <a:lnTo>
                        <a:pt x="1225321" y="44450"/>
                      </a:lnTo>
                      <a:lnTo>
                        <a:pt x="1224661" y="44450"/>
                      </a:lnTo>
                      <a:lnTo>
                        <a:pt x="1225435" y="46990"/>
                      </a:lnTo>
                      <a:lnTo>
                        <a:pt x="1226705" y="44450"/>
                      </a:lnTo>
                      <a:lnTo>
                        <a:pt x="1228496" y="46990"/>
                      </a:lnTo>
                      <a:lnTo>
                        <a:pt x="1227086" y="46990"/>
                      </a:lnTo>
                      <a:lnTo>
                        <a:pt x="1226439" y="48260"/>
                      </a:lnTo>
                      <a:lnTo>
                        <a:pt x="1226083" y="48260"/>
                      </a:lnTo>
                      <a:lnTo>
                        <a:pt x="1225892" y="49530"/>
                      </a:lnTo>
                      <a:lnTo>
                        <a:pt x="1223200" y="49530"/>
                      </a:lnTo>
                      <a:lnTo>
                        <a:pt x="1223162" y="48260"/>
                      </a:lnTo>
                      <a:lnTo>
                        <a:pt x="1223048" y="46990"/>
                      </a:lnTo>
                      <a:lnTo>
                        <a:pt x="1222540" y="46990"/>
                      </a:lnTo>
                      <a:lnTo>
                        <a:pt x="1222425" y="45720"/>
                      </a:lnTo>
                      <a:lnTo>
                        <a:pt x="1221740" y="45720"/>
                      </a:lnTo>
                      <a:lnTo>
                        <a:pt x="1221778" y="43180"/>
                      </a:lnTo>
                      <a:lnTo>
                        <a:pt x="1221905" y="41910"/>
                      </a:lnTo>
                      <a:lnTo>
                        <a:pt x="1221613" y="41910"/>
                      </a:lnTo>
                      <a:lnTo>
                        <a:pt x="1219301" y="40640"/>
                      </a:lnTo>
                      <a:lnTo>
                        <a:pt x="1217739" y="39370"/>
                      </a:lnTo>
                      <a:lnTo>
                        <a:pt x="1215466" y="38100"/>
                      </a:lnTo>
                      <a:lnTo>
                        <a:pt x="1213408" y="38100"/>
                      </a:lnTo>
                      <a:lnTo>
                        <a:pt x="1212253" y="36830"/>
                      </a:lnTo>
                      <a:lnTo>
                        <a:pt x="1211084" y="36830"/>
                      </a:lnTo>
                      <a:lnTo>
                        <a:pt x="1209802" y="35560"/>
                      </a:lnTo>
                      <a:lnTo>
                        <a:pt x="1210043" y="35560"/>
                      </a:lnTo>
                      <a:lnTo>
                        <a:pt x="1209167" y="34290"/>
                      </a:lnTo>
                      <a:lnTo>
                        <a:pt x="1206855" y="34290"/>
                      </a:lnTo>
                      <a:lnTo>
                        <a:pt x="1206461" y="33020"/>
                      </a:lnTo>
                      <a:lnTo>
                        <a:pt x="1204696" y="33020"/>
                      </a:lnTo>
                      <a:lnTo>
                        <a:pt x="1204417" y="31750"/>
                      </a:lnTo>
                      <a:lnTo>
                        <a:pt x="1201991" y="31750"/>
                      </a:lnTo>
                      <a:lnTo>
                        <a:pt x="1201140" y="30480"/>
                      </a:lnTo>
                      <a:lnTo>
                        <a:pt x="1199248" y="30480"/>
                      </a:lnTo>
                      <a:lnTo>
                        <a:pt x="1198981" y="31750"/>
                      </a:lnTo>
                      <a:lnTo>
                        <a:pt x="1198638" y="31750"/>
                      </a:lnTo>
                      <a:lnTo>
                        <a:pt x="1198524" y="30480"/>
                      </a:lnTo>
                      <a:lnTo>
                        <a:pt x="1198359" y="29210"/>
                      </a:lnTo>
                      <a:lnTo>
                        <a:pt x="1196695" y="29210"/>
                      </a:lnTo>
                      <a:lnTo>
                        <a:pt x="1195476" y="30480"/>
                      </a:lnTo>
                      <a:lnTo>
                        <a:pt x="1191653" y="30480"/>
                      </a:lnTo>
                      <a:lnTo>
                        <a:pt x="1191196" y="29210"/>
                      </a:lnTo>
                      <a:lnTo>
                        <a:pt x="1186789" y="29210"/>
                      </a:lnTo>
                      <a:lnTo>
                        <a:pt x="1185913" y="30480"/>
                      </a:lnTo>
                      <a:lnTo>
                        <a:pt x="1184402" y="30480"/>
                      </a:lnTo>
                      <a:lnTo>
                        <a:pt x="1183627" y="31750"/>
                      </a:lnTo>
                      <a:lnTo>
                        <a:pt x="1182217" y="31750"/>
                      </a:lnTo>
                      <a:lnTo>
                        <a:pt x="1181900" y="30480"/>
                      </a:lnTo>
                      <a:lnTo>
                        <a:pt x="1181557" y="30480"/>
                      </a:lnTo>
                      <a:lnTo>
                        <a:pt x="1179449" y="31750"/>
                      </a:lnTo>
                      <a:lnTo>
                        <a:pt x="1181138" y="30480"/>
                      </a:lnTo>
                      <a:lnTo>
                        <a:pt x="1173924" y="30480"/>
                      </a:lnTo>
                      <a:lnTo>
                        <a:pt x="1173683" y="29210"/>
                      </a:lnTo>
                      <a:lnTo>
                        <a:pt x="1172006" y="29210"/>
                      </a:lnTo>
                      <a:lnTo>
                        <a:pt x="1171016" y="30480"/>
                      </a:lnTo>
                      <a:lnTo>
                        <a:pt x="1169492" y="30480"/>
                      </a:lnTo>
                      <a:lnTo>
                        <a:pt x="1168336" y="29210"/>
                      </a:lnTo>
                      <a:lnTo>
                        <a:pt x="1168044" y="30480"/>
                      </a:lnTo>
                      <a:lnTo>
                        <a:pt x="1158849" y="30480"/>
                      </a:lnTo>
                      <a:lnTo>
                        <a:pt x="1157249" y="31750"/>
                      </a:lnTo>
                      <a:lnTo>
                        <a:pt x="1158570" y="29210"/>
                      </a:lnTo>
                      <a:lnTo>
                        <a:pt x="1155382" y="30480"/>
                      </a:lnTo>
                      <a:lnTo>
                        <a:pt x="1152283" y="30480"/>
                      </a:lnTo>
                      <a:lnTo>
                        <a:pt x="1152359" y="31750"/>
                      </a:lnTo>
                      <a:lnTo>
                        <a:pt x="1153058" y="33020"/>
                      </a:lnTo>
                      <a:lnTo>
                        <a:pt x="1151724" y="35560"/>
                      </a:lnTo>
                      <a:lnTo>
                        <a:pt x="1150353" y="35560"/>
                      </a:lnTo>
                      <a:lnTo>
                        <a:pt x="1149134" y="36830"/>
                      </a:lnTo>
                      <a:lnTo>
                        <a:pt x="1148816" y="36830"/>
                      </a:lnTo>
                      <a:lnTo>
                        <a:pt x="1144536" y="38100"/>
                      </a:lnTo>
                      <a:lnTo>
                        <a:pt x="1146162" y="35560"/>
                      </a:lnTo>
                      <a:lnTo>
                        <a:pt x="1139380" y="36830"/>
                      </a:lnTo>
                      <a:lnTo>
                        <a:pt x="1137462" y="36830"/>
                      </a:lnTo>
                      <a:lnTo>
                        <a:pt x="1136561" y="38100"/>
                      </a:lnTo>
                      <a:lnTo>
                        <a:pt x="1134325" y="38100"/>
                      </a:lnTo>
                      <a:lnTo>
                        <a:pt x="1135430" y="36830"/>
                      </a:lnTo>
                      <a:lnTo>
                        <a:pt x="1130973" y="36830"/>
                      </a:lnTo>
                      <a:lnTo>
                        <a:pt x="1129614" y="35560"/>
                      </a:lnTo>
                      <a:lnTo>
                        <a:pt x="1145768" y="25400"/>
                      </a:lnTo>
                      <a:lnTo>
                        <a:pt x="1145882" y="24130"/>
                      </a:lnTo>
                      <a:lnTo>
                        <a:pt x="1144003" y="24130"/>
                      </a:lnTo>
                      <a:lnTo>
                        <a:pt x="1143533" y="22860"/>
                      </a:lnTo>
                      <a:lnTo>
                        <a:pt x="1142263" y="21590"/>
                      </a:lnTo>
                      <a:lnTo>
                        <a:pt x="1138085" y="21590"/>
                      </a:lnTo>
                      <a:lnTo>
                        <a:pt x="1137450" y="20320"/>
                      </a:lnTo>
                      <a:lnTo>
                        <a:pt x="1134808" y="20320"/>
                      </a:lnTo>
                      <a:lnTo>
                        <a:pt x="1135684" y="21590"/>
                      </a:lnTo>
                      <a:lnTo>
                        <a:pt x="1131138" y="21590"/>
                      </a:lnTo>
                      <a:lnTo>
                        <a:pt x="1129652" y="20320"/>
                      </a:lnTo>
                      <a:lnTo>
                        <a:pt x="1126223" y="20320"/>
                      </a:lnTo>
                      <a:lnTo>
                        <a:pt x="1125562" y="21590"/>
                      </a:lnTo>
                      <a:lnTo>
                        <a:pt x="1123264" y="21590"/>
                      </a:lnTo>
                      <a:lnTo>
                        <a:pt x="1123022" y="22860"/>
                      </a:lnTo>
                      <a:lnTo>
                        <a:pt x="1115656" y="22860"/>
                      </a:lnTo>
                      <a:lnTo>
                        <a:pt x="1115656" y="21590"/>
                      </a:lnTo>
                      <a:lnTo>
                        <a:pt x="1120851" y="21590"/>
                      </a:lnTo>
                      <a:lnTo>
                        <a:pt x="1119466" y="20320"/>
                      </a:lnTo>
                      <a:lnTo>
                        <a:pt x="1121295" y="20320"/>
                      </a:lnTo>
                      <a:lnTo>
                        <a:pt x="1121791" y="19050"/>
                      </a:lnTo>
                      <a:lnTo>
                        <a:pt x="1115745" y="19050"/>
                      </a:lnTo>
                      <a:lnTo>
                        <a:pt x="1114221" y="20320"/>
                      </a:lnTo>
                      <a:lnTo>
                        <a:pt x="1112266" y="19050"/>
                      </a:lnTo>
                      <a:lnTo>
                        <a:pt x="1102664" y="19050"/>
                      </a:lnTo>
                      <a:lnTo>
                        <a:pt x="1098105" y="19050"/>
                      </a:lnTo>
                      <a:lnTo>
                        <a:pt x="1098931" y="17780"/>
                      </a:lnTo>
                      <a:lnTo>
                        <a:pt x="1100239" y="17780"/>
                      </a:lnTo>
                      <a:lnTo>
                        <a:pt x="1102664" y="19050"/>
                      </a:lnTo>
                      <a:lnTo>
                        <a:pt x="1102220" y="17780"/>
                      </a:lnTo>
                      <a:lnTo>
                        <a:pt x="1106030" y="16510"/>
                      </a:lnTo>
                      <a:lnTo>
                        <a:pt x="1106614" y="17780"/>
                      </a:lnTo>
                      <a:lnTo>
                        <a:pt x="1107871" y="16510"/>
                      </a:lnTo>
                      <a:lnTo>
                        <a:pt x="1112380" y="16510"/>
                      </a:lnTo>
                      <a:lnTo>
                        <a:pt x="1113891" y="15240"/>
                      </a:lnTo>
                      <a:lnTo>
                        <a:pt x="1115390" y="15240"/>
                      </a:lnTo>
                      <a:lnTo>
                        <a:pt x="1115898" y="12700"/>
                      </a:lnTo>
                      <a:lnTo>
                        <a:pt x="1116926" y="13970"/>
                      </a:lnTo>
                      <a:lnTo>
                        <a:pt x="1118209" y="12700"/>
                      </a:lnTo>
                      <a:lnTo>
                        <a:pt x="1119162" y="12700"/>
                      </a:lnTo>
                      <a:lnTo>
                        <a:pt x="1120470" y="11430"/>
                      </a:lnTo>
                      <a:lnTo>
                        <a:pt x="1126299" y="11430"/>
                      </a:lnTo>
                      <a:lnTo>
                        <a:pt x="1127887" y="10160"/>
                      </a:lnTo>
                      <a:lnTo>
                        <a:pt x="1122057" y="5080"/>
                      </a:lnTo>
                      <a:lnTo>
                        <a:pt x="1105408" y="1270"/>
                      </a:lnTo>
                      <a:lnTo>
                        <a:pt x="1103249" y="1270"/>
                      </a:lnTo>
                      <a:lnTo>
                        <a:pt x="1100315" y="0"/>
                      </a:lnTo>
                      <a:lnTo>
                        <a:pt x="1094130" y="0"/>
                      </a:lnTo>
                      <a:lnTo>
                        <a:pt x="1093685" y="1270"/>
                      </a:lnTo>
                      <a:lnTo>
                        <a:pt x="1090447" y="1270"/>
                      </a:lnTo>
                      <a:lnTo>
                        <a:pt x="1088364" y="2540"/>
                      </a:lnTo>
                      <a:lnTo>
                        <a:pt x="1082878" y="2540"/>
                      </a:lnTo>
                      <a:lnTo>
                        <a:pt x="1080566" y="3810"/>
                      </a:lnTo>
                      <a:lnTo>
                        <a:pt x="1078572" y="3810"/>
                      </a:lnTo>
                      <a:lnTo>
                        <a:pt x="1077607" y="5080"/>
                      </a:lnTo>
                      <a:lnTo>
                        <a:pt x="1076375" y="5080"/>
                      </a:lnTo>
                      <a:lnTo>
                        <a:pt x="1072134" y="7620"/>
                      </a:lnTo>
                      <a:lnTo>
                        <a:pt x="1070546" y="8763"/>
                      </a:lnTo>
                      <a:lnTo>
                        <a:pt x="1070546" y="40640"/>
                      </a:lnTo>
                      <a:lnTo>
                        <a:pt x="1066533" y="40640"/>
                      </a:lnTo>
                      <a:lnTo>
                        <a:pt x="1065885" y="39370"/>
                      </a:lnTo>
                      <a:lnTo>
                        <a:pt x="1064641" y="39370"/>
                      </a:lnTo>
                      <a:lnTo>
                        <a:pt x="1064463" y="38100"/>
                      </a:lnTo>
                      <a:lnTo>
                        <a:pt x="1066609" y="38100"/>
                      </a:lnTo>
                      <a:lnTo>
                        <a:pt x="1067587" y="39370"/>
                      </a:lnTo>
                      <a:lnTo>
                        <a:pt x="1068463" y="39370"/>
                      </a:lnTo>
                      <a:lnTo>
                        <a:pt x="1070546" y="40640"/>
                      </a:lnTo>
                      <a:lnTo>
                        <a:pt x="1070546" y="8763"/>
                      </a:lnTo>
                      <a:lnTo>
                        <a:pt x="1070356" y="8890"/>
                      </a:lnTo>
                      <a:lnTo>
                        <a:pt x="1066838" y="10160"/>
                      </a:lnTo>
                      <a:lnTo>
                        <a:pt x="1065453" y="10160"/>
                      </a:lnTo>
                      <a:lnTo>
                        <a:pt x="1064602" y="11430"/>
                      </a:lnTo>
                      <a:lnTo>
                        <a:pt x="1067308" y="11430"/>
                      </a:lnTo>
                      <a:lnTo>
                        <a:pt x="1067498" y="12700"/>
                      </a:lnTo>
                      <a:lnTo>
                        <a:pt x="1067079" y="12700"/>
                      </a:lnTo>
                      <a:lnTo>
                        <a:pt x="1065174" y="13970"/>
                      </a:lnTo>
                      <a:lnTo>
                        <a:pt x="1062939" y="13970"/>
                      </a:lnTo>
                      <a:lnTo>
                        <a:pt x="1061440" y="15519"/>
                      </a:lnTo>
                      <a:lnTo>
                        <a:pt x="1061440" y="38100"/>
                      </a:lnTo>
                      <a:lnTo>
                        <a:pt x="1054188" y="38100"/>
                      </a:lnTo>
                      <a:lnTo>
                        <a:pt x="1054900" y="36830"/>
                      </a:lnTo>
                      <a:lnTo>
                        <a:pt x="1061326" y="36830"/>
                      </a:lnTo>
                      <a:lnTo>
                        <a:pt x="1061440" y="38100"/>
                      </a:lnTo>
                      <a:lnTo>
                        <a:pt x="1061440" y="15519"/>
                      </a:lnTo>
                      <a:lnTo>
                        <a:pt x="1060475" y="16510"/>
                      </a:lnTo>
                      <a:lnTo>
                        <a:pt x="1060208" y="17780"/>
                      </a:lnTo>
                      <a:lnTo>
                        <a:pt x="1057973" y="17780"/>
                      </a:lnTo>
                      <a:lnTo>
                        <a:pt x="1057478" y="19050"/>
                      </a:lnTo>
                      <a:lnTo>
                        <a:pt x="1056525" y="19050"/>
                      </a:lnTo>
                      <a:lnTo>
                        <a:pt x="1056246" y="20320"/>
                      </a:lnTo>
                      <a:lnTo>
                        <a:pt x="1056474" y="20320"/>
                      </a:lnTo>
                      <a:lnTo>
                        <a:pt x="1055966" y="21590"/>
                      </a:lnTo>
                      <a:lnTo>
                        <a:pt x="1053198" y="22860"/>
                      </a:lnTo>
                      <a:lnTo>
                        <a:pt x="1052741" y="22860"/>
                      </a:lnTo>
                      <a:lnTo>
                        <a:pt x="1052741" y="24130"/>
                      </a:lnTo>
                      <a:lnTo>
                        <a:pt x="1052118" y="24130"/>
                      </a:lnTo>
                      <a:lnTo>
                        <a:pt x="1051890" y="25400"/>
                      </a:lnTo>
                      <a:lnTo>
                        <a:pt x="1052156" y="26670"/>
                      </a:lnTo>
                      <a:lnTo>
                        <a:pt x="1053160" y="27940"/>
                      </a:lnTo>
                      <a:lnTo>
                        <a:pt x="1053541" y="27940"/>
                      </a:lnTo>
                      <a:lnTo>
                        <a:pt x="1053769" y="29210"/>
                      </a:lnTo>
                      <a:lnTo>
                        <a:pt x="1056703" y="29210"/>
                      </a:lnTo>
                      <a:lnTo>
                        <a:pt x="1056043" y="30480"/>
                      </a:lnTo>
                      <a:lnTo>
                        <a:pt x="1055738" y="30480"/>
                      </a:lnTo>
                      <a:lnTo>
                        <a:pt x="1055509" y="31750"/>
                      </a:lnTo>
                      <a:lnTo>
                        <a:pt x="1055471" y="33020"/>
                      </a:lnTo>
                      <a:lnTo>
                        <a:pt x="1054925" y="33020"/>
                      </a:lnTo>
                      <a:lnTo>
                        <a:pt x="1054430" y="34290"/>
                      </a:lnTo>
                      <a:lnTo>
                        <a:pt x="1053045" y="35560"/>
                      </a:lnTo>
                      <a:lnTo>
                        <a:pt x="1053922" y="35560"/>
                      </a:lnTo>
                      <a:lnTo>
                        <a:pt x="1054125" y="36830"/>
                      </a:lnTo>
                      <a:lnTo>
                        <a:pt x="1050823" y="36830"/>
                      </a:lnTo>
                      <a:lnTo>
                        <a:pt x="1046099" y="38100"/>
                      </a:lnTo>
                      <a:lnTo>
                        <a:pt x="1043165" y="38100"/>
                      </a:lnTo>
                      <a:lnTo>
                        <a:pt x="1039964" y="36830"/>
                      </a:lnTo>
                      <a:lnTo>
                        <a:pt x="1036777" y="38100"/>
                      </a:lnTo>
                      <a:lnTo>
                        <a:pt x="1031405" y="38100"/>
                      </a:lnTo>
                      <a:lnTo>
                        <a:pt x="1025169" y="36830"/>
                      </a:lnTo>
                      <a:lnTo>
                        <a:pt x="1022540" y="36830"/>
                      </a:lnTo>
                      <a:lnTo>
                        <a:pt x="1022540" y="38100"/>
                      </a:lnTo>
                      <a:lnTo>
                        <a:pt x="1022769" y="38100"/>
                      </a:lnTo>
                      <a:lnTo>
                        <a:pt x="1024458" y="39370"/>
                      </a:lnTo>
                      <a:lnTo>
                        <a:pt x="1023835" y="38100"/>
                      </a:lnTo>
                      <a:lnTo>
                        <a:pt x="1025004" y="39370"/>
                      </a:lnTo>
                      <a:lnTo>
                        <a:pt x="1025245" y="39370"/>
                      </a:lnTo>
                      <a:lnTo>
                        <a:pt x="1025398" y="40640"/>
                      </a:lnTo>
                      <a:lnTo>
                        <a:pt x="1025512" y="41910"/>
                      </a:lnTo>
                      <a:lnTo>
                        <a:pt x="1030084" y="41910"/>
                      </a:lnTo>
                      <a:lnTo>
                        <a:pt x="1030528" y="43180"/>
                      </a:lnTo>
                      <a:lnTo>
                        <a:pt x="1033487" y="43180"/>
                      </a:lnTo>
                      <a:lnTo>
                        <a:pt x="1033767" y="44450"/>
                      </a:lnTo>
                      <a:lnTo>
                        <a:pt x="1033995" y="44450"/>
                      </a:lnTo>
                      <a:lnTo>
                        <a:pt x="1034072" y="45720"/>
                      </a:lnTo>
                      <a:lnTo>
                        <a:pt x="1034453" y="45720"/>
                      </a:lnTo>
                      <a:lnTo>
                        <a:pt x="1034961" y="46990"/>
                      </a:lnTo>
                      <a:lnTo>
                        <a:pt x="1036726" y="46990"/>
                      </a:lnTo>
                      <a:lnTo>
                        <a:pt x="1036815" y="48260"/>
                      </a:lnTo>
                      <a:lnTo>
                        <a:pt x="1037221" y="50800"/>
                      </a:lnTo>
                      <a:lnTo>
                        <a:pt x="1036078" y="50800"/>
                      </a:lnTo>
                      <a:lnTo>
                        <a:pt x="1024470" y="44450"/>
                      </a:lnTo>
                      <a:lnTo>
                        <a:pt x="1018730" y="44450"/>
                      </a:lnTo>
                      <a:lnTo>
                        <a:pt x="1018298" y="45720"/>
                      </a:lnTo>
                      <a:lnTo>
                        <a:pt x="1017498" y="45720"/>
                      </a:lnTo>
                      <a:lnTo>
                        <a:pt x="1015619" y="46990"/>
                      </a:lnTo>
                      <a:lnTo>
                        <a:pt x="1010831" y="46990"/>
                      </a:lnTo>
                      <a:lnTo>
                        <a:pt x="1010666" y="48260"/>
                      </a:lnTo>
                      <a:lnTo>
                        <a:pt x="1009396" y="48260"/>
                      </a:lnTo>
                      <a:lnTo>
                        <a:pt x="1006652" y="49530"/>
                      </a:lnTo>
                      <a:lnTo>
                        <a:pt x="1004481" y="49530"/>
                      </a:lnTo>
                      <a:lnTo>
                        <a:pt x="1003909" y="50800"/>
                      </a:lnTo>
                      <a:lnTo>
                        <a:pt x="1000607" y="53340"/>
                      </a:lnTo>
                      <a:lnTo>
                        <a:pt x="999947" y="53340"/>
                      </a:lnTo>
                      <a:lnTo>
                        <a:pt x="1001026" y="50800"/>
                      </a:lnTo>
                      <a:lnTo>
                        <a:pt x="999096" y="50800"/>
                      </a:lnTo>
                      <a:lnTo>
                        <a:pt x="996086" y="52070"/>
                      </a:lnTo>
                      <a:lnTo>
                        <a:pt x="991311" y="54610"/>
                      </a:lnTo>
                      <a:lnTo>
                        <a:pt x="989533" y="54610"/>
                      </a:lnTo>
                      <a:lnTo>
                        <a:pt x="988987" y="55448"/>
                      </a:lnTo>
                      <a:lnTo>
                        <a:pt x="989190" y="54610"/>
                      </a:lnTo>
                      <a:lnTo>
                        <a:pt x="989533" y="54610"/>
                      </a:lnTo>
                      <a:lnTo>
                        <a:pt x="989609" y="53340"/>
                      </a:lnTo>
                      <a:lnTo>
                        <a:pt x="989457" y="52070"/>
                      </a:lnTo>
                      <a:lnTo>
                        <a:pt x="985443" y="52070"/>
                      </a:lnTo>
                      <a:lnTo>
                        <a:pt x="984173" y="53340"/>
                      </a:lnTo>
                      <a:lnTo>
                        <a:pt x="980478" y="54610"/>
                      </a:lnTo>
                      <a:lnTo>
                        <a:pt x="978890" y="55880"/>
                      </a:lnTo>
                      <a:lnTo>
                        <a:pt x="976845" y="55880"/>
                      </a:lnTo>
                      <a:lnTo>
                        <a:pt x="976388" y="54610"/>
                      </a:lnTo>
                      <a:lnTo>
                        <a:pt x="978331" y="54610"/>
                      </a:lnTo>
                      <a:lnTo>
                        <a:pt x="980363" y="52070"/>
                      </a:lnTo>
                      <a:lnTo>
                        <a:pt x="941870" y="48260"/>
                      </a:lnTo>
                      <a:lnTo>
                        <a:pt x="941489" y="49530"/>
                      </a:lnTo>
                      <a:lnTo>
                        <a:pt x="938403" y="49530"/>
                      </a:lnTo>
                      <a:lnTo>
                        <a:pt x="938212" y="50800"/>
                      </a:lnTo>
                      <a:lnTo>
                        <a:pt x="938136" y="52070"/>
                      </a:lnTo>
                      <a:lnTo>
                        <a:pt x="937094" y="52070"/>
                      </a:lnTo>
                      <a:lnTo>
                        <a:pt x="936980" y="53340"/>
                      </a:lnTo>
                      <a:lnTo>
                        <a:pt x="938834" y="53340"/>
                      </a:lnTo>
                      <a:lnTo>
                        <a:pt x="941641" y="52070"/>
                      </a:lnTo>
                      <a:lnTo>
                        <a:pt x="943724" y="52070"/>
                      </a:lnTo>
                      <a:lnTo>
                        <a:pt x="943610" y="53340"/>
                      </a:lnTo>
                      <a:lnTo>
                        <a:pt x="955294" y="53340"/>
                      </a:lnTo>
                      <a:lnTo>
                        <a:pt x="953008" y="54610"/>
                      </a:lnTo>
                      <a:lnTo>
                        <a:pt x="950595" y="54610"/>
                      </a:lnTo>
                      <a:lnTo>
                        <a:pt x="948194" y="55880"/>
                      </a:lnTo>
                      <a:lnTo>
                        <a:pt x="921169" y="59690"/>
                      </a:lnTo>
                      <a:lnTo>
                        <a:pt x="915543" y="60960"/>
                      </a:lnTo>
                      <a:lnTo>
                        <a:pt x="910780" y="60960"/>
                      </a:lnTo>
                      <a:lnTo>
                        <a:pt x="905675" y="62230"/>
                      </a:lnTo>
                      <a:lnTo>
                        <a:pt x="904125" y="62230"/>
                      </a:lnTo>
                      <a:lnTo>
                        <a:pt x="900239" y="63500"/>
                      </a:lnTo>
                      <a:lnTo>
                        <a:pt x="897229" y="63500"/>
                      </a:lnTo>
                      <a:lnTo>
                        <a:pt x="895299" y="64770"/>
                      </a:lnTo>
                      <a:lnTo>
                        <a:pt x="892683" y="64770"/>
                      </a:lnTo>
                      <a:lnTo>
                        <a:pt x="888085" y="66040"/>
                      </a:lnTo>
                      <a:lnTo>
                        <a:pt x="885240" y="66040"/>
                      </a:lnTo>
                      <a:lnTo>
                        <a:pt x="885075" y="67310"/>
                      </a:lnTo>
                      <a:lnTo>
                        <a:pt x="882764" y="67310"/>
                      </a:lnTo>
                      <a:lnTo>
                        <a:pt x="882269" y="68580"/>
                      </a:lnTo>
                      <a:lnTo>
                        <a:pt x="880376" y="68580"/>
                      </a:lnTo>
                      <a:lnTo>
                        <a:pt x="878992" y="69850"/>
                      </a:lnTo>
                      <a:lnTo>
                        <a:pt x="877608" y="71120"/>
                      </a:lnTo>
                      <a:lnTo>
                        <a:pt x="875753" y="71120"/>
                      </a:lnTo>
                      <a:lnTo>
                        <a:pt x="875715" y="72390"/>
                      </a:lnTo>
                      <a:lnTo>
                        <a:pt x="874369" y="72390"/>
                      </a:lnTo>
                      <a:lnTo>
                        <a:pt x="874128" y="73660"/>
                      </a:lnTo>
                      <a:lnTo>
                        <a:pt x="872667" y="73660"/>
                      </a:lnTo>
                      <a:lnTo>
                        <a:pt x="871004" y="74930"/>
                      </a:lnTo>
                      <a:lnTo>
                        <a:pt x="868426" y="77470"/>
                      </a:lnTo>
                      <a:lnTo>
                        <a:pt x="862444" y="77470"/>
                      </a:lnTo>
                      <a:lnTo>
                        <a:pt x="856551" y="76200"/>
                      </a:lnTo>
                      <a:lnTo>
                        <a:pt x="852881" y="76200"/>
                      </a:lnTo>
                      <a:lnTo>
                        <a:pt x="852258" y="77470"/>
                      </a:lnTo>
                      <a:lnTo>
                        <a:pt x="852081" y="78740"/>
                      </a:lnTo>
                      <a:lnTo>
                        <a:pt x="857859" y="78740"/>
                      </a:lnTo>
                      <a:lnTo>
                        <a:pt x="858520" y="80010"/>
                      </a:lnTo>
                      <a:lnTo>
                        <a:pt x="857478" y="80010"/>
                      </a:lnTo>
                      <a:lnTo>
                        <a:pt x="856094" y="81280"/>
                      </a:lnTo>
                      <a:lnTo>
                        <a:pt x="856246" y="81280"/>
                      </a:lnTo>
                      <a:lnTo>
                        <a:pt x="857364" y="82550"/>
                      </a:lnTo>
                      <a:lnTo>
                        <a:pt x="857618" y="82550"/>
                      </a:lnTo>
                      <a:lnTo>
                        <a:pt x="856259" y="83820"/>
                      </a:lnTo>
                      <a:lnTo>
                        <a:pt x="855548" y="83820"/>
                      </a:lnTo>
                      <a:lnTo>
                        <a:pt x="855192" y="85090"/>
                      </a:lnTo>
                      <a:lnTo>
                        <a:pt x="854430" y="85090"/>
                      </a:lnTo>
                      <a:lnTo>
                        <a:pt x="854036" y="86360"/>
                      </a:lnTo>
                      <a:lnTo>
                        <a:pt x="854125" y="87630"/>
                      </a:lnTo>
                      <a:lnTo>
                        <a:pt x="851941" y="87630"/>
                      </a:lnTo>
                      <a:lnTo>
                        <a:pt x="850150" y="88900"/>
                      </a:lnTo>
                      <a:lnTo>
                        <a:pt x="850379" y="90170"/>
                      </a:lnTo>
                      <a:lnTo>
                        <a:pt x="850836" y="90170"/>
                      </a:lnTo>
                      <a:lnTo>
                        <a:pt x="852081" y="91440"/>
                      </a:lnTo>
                      <a:lnTo>
                        <a:pt x="848728" y="91440"/>
                      </a:lnTo>
                      <a:lnTo>
                        <a:pt x="848728" y="90170"/>
                      </a:lnTo>
                      <a:lnTo>
                        <a:pt x="846810" y="90170"/>
                      </a:lnTo>
                      <a:lnTo>
                        <a:pt x="849350" y="88900"/>
                      </a:lnTo>
                      <a:lnTo>
                        <a:pt x="845286" y="88900"/>
                      </a:lnTo>
                      <a:lnTo>
                        <a:pt x="840587" y="86360"/>
                      </a:lnTo>
                      <a:lnTo>
                        <a:pt x="840701" y="87630"/>
                      </a:lnTo>
                      <a:lnTo>
                        <a:pt x="840003" y="87630"/>
                      </a:lnTo>
                      <a:lnTo>
                        <a:pt x="837234" y="88900"/>
                      </a:lnTo>
                      <a:lnTo>
                        <a:pt x="836764" y="88900"/>
                      </a:lnTo>
                      <a:lnTo>
                        <a:pt x="836726" y="90170"/>
                      </a:lnTo>
                      <a:lnTo>
                        <a:pt x="835850" y="90170"/>
                      </a:lnTo>
                      <a:lnTo>
                        <a:pt x="835647" y="91440"/>
                      </a:lnTo>
                      <a:lnTo>
                        <a:pt x="843216" y="91440"/>
                      </a:lnTo>
                      <a:lnTo>
                        <a:pt x="844410" y="92710"/>
                      </a:lnTo>
                      <a:lnTo>
                        <a:pt x="845667" y="92710"/>
                      </a:lnTo>
                      <a:lnTo>
                        <a:pt x="846416" y="93980"/>
                      </a:lnTo>
                      <a:lnTo>
                        <a:pt x="847471" y="92710"/>
                      </a:lnTo>
                      <a:lnTo>
                        <a:pt x="849376" y="92710"/>
                      </a:lnTo>
                      <a:lnTo>
                        <a:pt x="849261" y="93980"/>
                      </a:lnTo>
                      <a:lnTo>
                        <a:pt x="847026" y="93980"/>
                      </a:lnTo>
                      <a:lnTo>
                        <a:pt x="846950" y="95250"/>
                      </a:lnTo>
                      <a:lnTo>
                        <a:pt x="849033" y="95250"/>
                      </a:lnTo>
                      <a:lnTo>
                        <a:pt x="849185" y="96520"/>
                      </a:lnTo>
                      <a:lnTo>
                        <a:pt x="854697" y="96520"/>
                      </a:lnTo>
                      <a:lnTo>
                        <a:pt x="854392" y="97790"/>
                      </a:lnTo>
                      <a:lnTo>
                        <a:pt x="854354" y="99060"/>
                      </a:lnTo>
                      <a:lnTo>
                        <a:pt x="853770" y="100330"/>
                      </a:lnTo>
                      <a:lnTo>
                        <a:pt x="853465" y="101600"/>
                      </a:lnTo>
                      <a:lnTo>
                        <a:pt x="853122" y="101600"/>
                      </a:lnTo>
                      <a:lnTo>
                        <a:pt x="853274" y="100330"/>
                      </a:lnTo>
                      <a:lnTo>
                        <a:pt x="850646" y="100330"/>
                      </a:lnTo>
                      <a:lnTo>
                        <a:pt x="850836" y="99060"/>
                      </a:lnTo>
                      <a:lnTo>
                        <a:pt x="852652" y="99060"/>
                      </a:lnTo>
                      <a:lnTo>
                        <a:pt x="852424" y="97790"/>
                      </a:lnTo>
                      <a:lnTo>
                        <a:pt x="839965" y="97790"/>
                      </a:lnTo>
                      <a:lnTo>
                        <a:pt x="838695" y="99060"/>
                      </a:lnTo>
                      <a:lnTo>
                        <a:pt x="837895" y="99060"/>
                      </a:lnTo>
                      <a:lnTo>
                        <a:pt x="838034" y="100330"/>
                      </a:lnTo>
                      <a:lnTo>
                        <a:pt x="838314" y="100330"/>
                      </a:lnTo>
                      <a:lnTo>
                        <a:pt x="838428" y="101600"/>
                      </a:lnTo>
                      <a:lnTo>
                        <a:pt x="846429" y="101600"/>
                      </a:lnTo>
                      <a:lnTo>
                        <a:pt x="848880" y="102870"/>
                      </a:lnTo>
                      <a:lnTo>
                        <a:pt x="849960" y="102870"/>
                      </a:lnTo>
                      <a:lnTo>
                        <a:pt x="850188" y="104140"/>
                      </a:lnTo>
                      <a:lnTo>
                        <a:pt x="849998" y="104140"/>
                      </a:lnTo>
                      <a:lnTo>
                        <a:pt x="849795" y="105410"/>
                      </a:lnTo>
                      <a:lnTo>
                        <a:pt x="851192" y="105410"/>
                      </a:lnTo>
                      <a:lnTo>
                        <a:pt x="851382" y="106680"/>
                      </a:lnTo>
                      <a:lnTo>
                        <a:pt x="854659" y="106680"/>
                      </a:lnTo>
                      <a:lnTo>
                        <a:pt x="856284" y="107950"/>
                      </a:lnTo>
                      <a:lnTo>
                        <a:pt x="852652" y="107950"/>
                      </a:lnTo>
                      <a:lnTo>
                        <a:pt x="853008" y="109220"/>
                      </a:lnTo>
                      <a:lnTo>
                        <a:pt x="853757" y="109220"/>
                      </a:lnTo>
                      <a:lnTo>
                        <a:pt x="854354" y="110490"/>
                      </a:lnTo>
                      <a:lnTo>
                        <a:pt x="855814" y="111760"/>
                      </a:lnTo>
                      <a:lnTo>
                        <a:pt x="854125" y="113030"/>
                      </a:lnTo>
                      <a:lnTo>
                        <a:pt x="760501" y="120650"/>
                      </a:lnTo>
                      <a:lnTo>
                        <a:pt x="760615" y="121920"/>
                      </a:lnTo>
                      <a:lnTo>
                        <a:pt x="760501" y="123190"/>
                      </a:lnTo>
                      <a:lnTo>
                        <a:pt x="762152" y="123190"/>
                      </a:lnTo>
                      <a:lnTo>
                        <a:pt x="761746" y="124460"/>
                      </a:lnTo>
                      <a:lnTo>
                        <a:pt x="760463" y="124460"/>
                      </a:lnTo>
                      <a:lnTo>
                        <a:pt x="759853" y="125730"/>
                      </a:lnTo>
                      <a:lnTo>
                        <a:pt x="757872" y="127000"/>
                      </a:lnTo>
                      <a:lnTo>
                        <a:pt x="757059" y="127000"/>
                      </a:lnTo>
                      <a:lnTo>
                        <a:pt x="756920" y="128270"/>
                      </a:lnTo>
                      <a:lnTo>
                        <a:pt x="759333" y="128270"/>
                      </a:lnTo>
                      <a:lnTo>
                        <a:pt x="760501" y="129540"/>
                      </a:lnTo>
                      <a:lnTo>
                        <a:pt x="759955" y="129540"/>
                      </a:lnTo>
                      <a:lnTo>
                        <a:pt x="756754" y="132080"/>
                      </a:lnTo>
                      <a:lnTo>
                        <a:pt x="760882" y="132080"/>
                      </a:lnTo>
                      <a:lnTo>
                        <a:pt x="760920" y="133350"/>
                      </a:lnTo>
                      <a:lnTo>
                        <a:pt x="759726" y="133350"/>
                      </a:lnTo>
                      <a:lnTo>
                        <a:pt x="759650" y="134620"/>
                      </a:lnTo>
                      <a:lnTo>
                        <a:pt x="763231" y="134620"/>
                      </a:lnTo>
                      <a:lnTo>
                        <a:pt x="763625" y="135890"/>
                      </a:lnTo>
                      <a:lnTo>
                        <a:pt x="764514" y="137160"/>
                      </a:lnTo>
                      <a:lnTo>
                        <a:pt x="764743" y="137160"/>
                      </a:lnTo>
                      <a:lnTo>
                        <a:pt x="765492" y="139700"/>
                      </a:lnTo>
                      <a:lnTo>
                        <a:pt x="765009" y="139700"/>
                      </a:lnTo>
                      <a:lnTo>
                        <a:pt x="764044" y="142240"/>
                      </a:lnTo>
                      <a:lnTo>
                        <a:pt x="763663" y="142240"/>
                      </a:lnTo>
                      <a:lnTo>
                        <a:pt x="763054" y="143510"/>
                      </a:lnTo>
                      <a:lnTo>
                        <a:pt x="762088" y="143510"/>
                      </a:lnTo>
                      <a:lnTo>
                        <a:pt x="762190" y="144780"/>
                      </a:lnTo>
                      <a:lnTo>
                        <a:pt x="762863" y="146050"/>
                      </a:lnTo>
                      <a:lnTo>
                        <a:pt x="764628" y="146050"/>
                      </a:lnTo>
                      <a:lnTo>
                        <a:pt x="764857" y="147320"/>
                      </a:lnTo>
                      <a:lnTo>
                        <a:pt x="764514" y="147320"/>
                      </a:lnTo>
                      <a:lnTo>
                        <a:pt x="764235" y="148590"/>
                      </a:lnTo>
                      <a:lnTo>
                        <a:pt x="763397" y="148590"/>
                      </a:lnTo>
                      <a:lnTo>
                        <a:pt x="763244" y="149860"/>
                      </a:lnTo>
                      <a:lnTo>
                        <a:pt x="764819" y="149860"/>
                      </a:lnTo>
                      <a:lnTo>
                        <a:pt x="765429" y="151130"/>
                      </a:lnTo>
                      <a:lnTo>
                        <a:pt x="767524" y="152400"/>
                      </a:lnTo>
                      <a:lnTo>
                        <a:pt x="784453" y="156210"/>
                      </a:lnTo>
                      <a:lnTo>
                        <a:pt x="784872" y="160020"/>
                      </a:lnTo>
                      <a:lnTo>
                        <a:pt x="785291" y="161290"/>
                      </a:lnTo>
                      <a:lnTo>
                        <a:pt x="785723" y="162560"/>
                      </a:lnTo>
                      <a:lnTo>
                        <a:pt x="791464" y="167640"/>
                      </a:lnTo>
                      <a:lnTo>
                        <a:pt x="791768" y="170180"/>
                      </a:lnTo>
                      <a:lnTo>
                        <a:pt x="786561" y="171450"/>
                      </a:lnTo>
                      <a:lnTo>
                        <a:pt x="777887" y="171450"/>
                      </a:lnTo>
                      <a:lnTo>
                        <a:pt x="776427" y="170180"/>
                      </a:lnTo>
                      <a:lnTo>
                        <a:pt x="774065" y="168910"/>
                      </a:lnTo>
                      <a:lnTo>
                        <a:pt x="768057" y="163830"/>
                      </a:lnTo>
                      <a:lnTo>
                        <a:pt x="766127" y="162560"/>
                      </a:lnTo>
                      <a:lnTo>
                        <a:pt x="765200" y="161290"/>
                      </a:lnTo>
                      <a:lnTo>
                        <a:pt x="763270" y="161290"/>
                      </a:lnTo>
                      <a:lnTo>
                        <a:pt x="759917" y="160020"/>
                      </a:lnTo>
                      <a:lnTo>
                        <a:pt x="753211" y="157480"/>
                      </a:lnTo>
                      <a:lnTo>
                        <a:pt x="740219" y="155181"/>
                      </a:lnTo>
                      <a:lnTo>
                        <a:pt x="740219" y="190500"/>
                      </a:lnTo>
                      <a:lnTo>
                        <a:pt x="738911" y="191731"/>
                      </a:lnTo>
                      <a:lnTo>
                        <a:pt x="738911" y="276860"/>
                      </a:lnTo>
                      <a:lnTo>
                        <a:pt x="737374" y="276860"/>
                      </a:lnTo>
                      <a:lnTo>
                        <a:pt x="736180" y="275590"/>
                      </a:lnTo>
                      <a:lnTo>
                        <a:pt x="737946" y="275590"/>
                      </a:lnTo>
                      <a:lnTo>
                        <a:pt x="738911" y="276860"/>
                      </a:lnTo>
                      <a:lnTo>
                        <a:pt x="738911" y="191731"/>
                      </a:lnTo>
                      <a:lnTo>
                        <a:pt x="736206" y="191770"/>
                      </a:lnTo>
                      <a:lnTo>
                        <a:pt x="736282" y="190500"/>
                      </a:lnTo>
                      <a:lnTo>
                        <a:pt x="736434" y="190500"/>
                      </a:lnTo>
                      <a:lnTo>
                        <a:pt x="736676" y="189230"/>
                      </a:lnTo>
                      <a:lnTo>
                        <a:pt x="737679" y="190500"/>
                      </a:lnTo>
                      <a:lnTo>
                        <a:pt x="740219" y="190500"/>
                      </a:lnTo>
                      <a:lnTo>
                        <a:pt x="740219" y="155181"/>
                      </a:lnTo>
                      <a:lnTo>
                        <a:pt x="731774" y="153670"/>
                      </a:lnTo>
                      <a:lnTo>
                        <a:pt x="716699" y="157480"/>
                      </a:lnTo>
                      <a:lnTo>
                        <a:pt x="715886" y="160020"/>
                      </a:lnTo>
                      <a:lnTo>
                        <a:pt x="715581" y="161290"/>
                      </a:lnTo>
                      <a:lnTo>
                        <a:pt x="716661" y="161290"/>
                      </a:lnTo>
                      <a:lnTo>
                        <a:pt x="717283" y="162560"/>
                      </a:lnTo>
                      <a:lnTo>
                        <a:pt x="717816" y="162560"/>
                      </a:lnTo>
                      <a:lnTo>
                        <a:pt x="718832" y="161290"/>
                      </a:lnTo>
                      <a:lnTo>
                        <a:pt x="721321" y="161290"/>
                      </a:lnTo>
                      <a:lnTo>
                        <a:pt x="723150" y="160020"/>
                      </a:lnTo>
                      <a:lnTo>
                        <a:pt x="724446" y="161290"/>
                      </a:lnTo>
                      <a:lnTo>
                        <a:pt x="725068" y="161290"/>
                      </a:lnTo>
                      <a:lnTo>
                        <a:pt x="726071" y="162560"/>
                      </a:lnTo>
                      <a:lnTo>
                        <a:pt x="726198" y="165506"/>
                      </a:lnTo>
                      <a:lnTo>
                        <a:pt x="726071" y="166370"/>
                      </a:lnTo>
                      <a:lnTo>
                        <a:pt x="725843" y="167640"/>
                      </a:lnTo>
                      <a:lnTo>
                        <a:pt x="724230" y="167640"/>
                      </a:lnTo>
                      <a:lnTo>
                        <a:pt x="721461" y="168910"/>
                      </a:lnTo>
                      <a:lnTo>
                        <a:pt x="719175" y="168910"/>
                      </a:lnTo>
                      <a:lnTo>
                        <a:pt x="718312" y="167640"/>
                      </a:lnTo>
                      <a:lnTo>
                        <a:pt x="716584" y="167640"/>
                      </a:lnTo>
                      <a:lnTo>
                        <a:pt x="716470" y="166370"/>
                      </a:lnTo>
                      <a:lnTo>
                        <a:pt x="715340" y="165100"/>
                      </a:lnTo>
                      <a:lnTo>
                        <a:pt x="715835" y="166370"/>
                      </a:lnTo>
                      <a:lnTo>
                        <a:pt x="713955" y="165100"/>
                      </a:lnTo>
                      <a:lnTo>
                        <a:pt x="713613" y="165100"/>
                      </a:lnTo>
                      <a:lnTo>
                        <a:pt x="711339" y="163830"/>
                      </a:lnTo>
                      <a:lnTo>
                        <a:pt x="695985" y="166370"/>
                      </a:lnTo>
                      <a:lnTo>
                        <a:pt x="696798" y="166370"/>
                      </a:lnTo>
                      <a:lnTo>
                        <a:pt x="696950" y="167640"/>
                      </a:lnTo>
                      <a:lnTo>
                        <a:pt x="697369" y="167640"/>
                      </a:lnTo>
                      <a:lnTo>
                        <a:pt x="697725" y="168910"/>
                      </a:lnTo>
                      <a:lnTo>
                        <a:pt x="698144" y="170180"/>
                      </a:lnTo>
                      <a:lnTo>
                        <a:pt x="698423" y="171450"/>
                      </a:lnTo>
                      <a:lnTo>
                        <a:pt x="699604" y="172720"/>
                      </a:lnTo>
                      <a:lnTo>
                        <a:pt x="699071" y="173990"/>
                      </a:lnTo>
                      <a:lnTo>
                        <a:pt x="700151" y="175260"/>
                      </a:lnTo>
                      <a:lnTo>
                        <a:pt x="701586" y="175260"/>
                      </a:lnTo>
                      <a:lnTo>
                        <a:pt x="705231" y="176530"/>
                      </a:lnTo>
                      <a:lnTo>
                        <a:pt x="704265" y="177800"/>
                      </a:lnTo>
                      <a:lnTo>
                        <a:pt x="709333" y="179070"/>
                      </a:lnTo>
                      <a:lnTo>
                        <a:pt x="711606" y="179070"/>
                      </a:lnTo>
                      <a:lnTo>
                        <a:pt x="712495" y="180340"/>
                      </a:lnTo>
                      <a:lnTo>
                        <a:pt x="713854" y="180340"/>
                      </a:lnTo>
                      <a:lnTo>
                        <a:pt x="714641" y="181610"/>
                      </a:lnTo>
                      <a:lnTo>
                        <a:pt x="718464" y="181610"/>
                      </a:lnTo>
                      <a:lnTo>
                        <a:pt x="719162" y="182880"/>
                      </a:lnTo>
                      <a:lnTo>
                        <a:pt x="720864" y="182880"/>
                      </a:lnTo>
                      <a:lnTo>
                        <a:pt x="720509" y="181610"/>
                      </a:lnTo>
                      <a:lnTo>
                        <a:pt x="722833" y="181610"/>
                      </a:lnTo>
                      <a:lnTo>
                        <a:pt x="723176" y="180340"/>
                      </a:lnTo>
                      <a:lnTo>
                        <a:pt x="724649" y="180340"/>
                      </a:lnTo>
                      <a:lnTo>
                        <a:pt x="724484" y="181610"/>
                      </a:lnTo>
                      <a:lnTo>
                        <a:pt x="724293" y="181610"/>
                      </a:lnTo>
                      <a:lnTo>
                        <a:pt x="723950" y="182880"/>
                      </a:lnTo>
                      <a:lnTo>
                        <a:pt x="728002" y="182880"/>
                      </a:lnTo>
                      <a:lnTo>
                        <a:pt x="728649" y="184150"/>
                      </a:lnTo>
                      <a:lnTo>
                        <a:pt x="729081" y="184150"/>
                      </a:lnTo>
                      <a:lnTo>
                        <a:pt x="728345" y="187159"/>
                      </a:lnTo>
                      <a:lnTo>
                        <a:pt x="730123" y="189230"/>
                      </a:lnTo>
                      <a:lnTo>
                        <a:pt x="730504" y="189230"/>
                      </a:lnTo>
                      <a:lnTo>
                        <a:pt x="730465" y="187960"/>
                      </a:lnTo>
                      <a:lnTo>
                        <a:pt x="732358" y="187960"/>
                      </a:lnTo>
                      <a:lnTo>
                        <a:pt x="732421" y="189230"/>
                      </a:lnTo>
                      <a:lnTo>
                        <a:pt x="731494" y="189230"/>
                      </a:lnTo>
                      <a:lnTo>
                        <a:pt x="731431" y="190500"/>
                      </a:lnTo>
                      <a:lnTo>
                        <a:pt x="731151" y="191770"/>
                      </a:lnTo>
                      <a:lnTo>
                        <a:pt x="731545" y="191770"/>
                      </a:lnTo>
                      <a:lnTo>
                        <a:pt x="733298" y="190500"/>
                      </a:lnTo>
                      <a:lnTo>
                        <a:pt x="733844" y="191770"/>
                      </a:lnTo>
                      <a:lnTo>
                        <a:pt x="732536" y="191770"/>
                      </a:lnTo>
                      <a:lnTo>
                        <a:pt x="731177" y="194310"/>
                      </a:lnTo>
                      <a:lnTo>
                        <a:pt x="728954" y="191770"/>
                      </a:lnTo>
                      <a:lnTo>
                        <a:pt x="724827" y="191770"/>
                      </a:lnTo>
                      <a:lnTo>
                        <a:pt x="723417" y="190500"/>
                      </a:lnTo>
                      <a:lnTo>
                        <a:pt x="723138" y="190500"/>
                      </a:lnTo>
                      <a:lnTo>
                        <a:pt x="723023" y="189230"/>
                      </a:lnTo>
                      <a:lnTo>
                        <a:pt x="723023" y="187960"/>
                      </a:lnTo>
                      <a:lnTo>
                        <a:pt x="722833" y="187960"/>
                      </a:lnTo>
                      <a:lnTo>
                        <a:pt x="722604" y="186690"/>
                      </a:lnTo>
                      <a:lnTo>
                        <a:pt x="720610" y="186690"/>
                      </a:lnTo>
                      <a:lnTo>
                        <a:pt x="719594" y="185420"/>
                      </a:lnTo>
                      <a:lnTo>
                        <a:pt x="711187" y="185420"/>
                      </a:lnTo>
                      <a:lnTo>
                        <a:pt x="710641" y="186690"/>
                      </a:lnTo>
                      <a:lnTo>
                        <a:pt x="709688" y="187960"/>
                      </a:lnTo>
                      <a:lnTo>
                        <a:pt x="709028" y="187960"/>
                      </a:lnTo>
                      <a:lnTo>
                        <a:pt x="709460" y="186690"/>
                      </a:lnTo>
                      <a:lnTo>
                        <a:pt x="707885" y="186690"/>
                      </a:lnTo>
                      <a:lnTo>
                        <a:pt x="708863" y="185420"/>
                      </a:lnTo>
                      <a:lnTo>
                        <a:pt x="708291" y="185420"/>
                      </a:lnTo>
                      <a:lnTo>
                        <a:pt x="704342" y="184150"/>
                      </a:lnTo>
                      <a:lnTo>
                        <a:pt x="704278" y="185420"/>
                      </a:lnTo>
                      <a:lnTo>
                        <a:pt x="700811" y="184150"/>
                      </a:lnTo>
                      <a:lnTo>
                        <a:pt x="698804" y="184150"/>
                      </a:lnTo>
                      <a:lnTo>
                        <a:pt x="698004" y="185420"/>
                      </a:lnTo>
                      <a:lnTo>
                        <a:pt x="697572" y="185420"/>
                      </a:lnTo>
                      <a:lnTo>
                        <a:pt x="697306" y="184150"/>
                      </a:lnTo>
                      <a:lnTo>
                        <a:pt x="693762" y="184150"/>
                      </a:lnTo>
                      <a:lnTo>
                        <a:pt x="692404" y="182880"/>
                      </a:lnTo>
                      <a:lnTo>
                        <a:pt x="690943" y="182880"/>
                      </a:lnTo>
                      <a:lnTo>
                        <a:pt x="688911" y="181610"/>
                      </a:lnTo>
                      <a:lnTo>
                        <a:pt x="688670" y="182880"/>
                      </a:lnTo>
                      <a:lnTo>
                        <a:pt x="686193" y="180340"/>
                      </a:lnTo>
                      <a:lnTo>
                        <a:pt x="684695" y="180340"/>
                      </a:lnTo>
                      <a:lnTo>
                        <a:pt x="685152" y="179070"/>
                      </a:lnTo>
                      <a:lnTo>
                        <a:pt x="685038" y="177800"/>
                      </a:lnTo>
                      <a:lnTo>
                        <a:pt x="687705" y="177800"/>
                      </a:lnTo>
                      <a:lnTo>
                        <a:pt x="687920" y="176530"/>
                      </a:lnTo>
                      <a:lnTo>
                        <a:pt x="690359" y="176530"/>
                      </a:lnTo>
                      <a:lnTo>
                        <a:pt x="688555" y="175260"/>
                      </a:lnTo>
                      <a:lnTo>
                        <a:pt x="687425" y="173990"/>
                      </a:lnTo>
                      <a:lnTo>
                        <a:pt x="688428" y="173990"/>
                      </a:lnTo>
                      <a:lnTo>
                        <a:pt x="688632" y="172720"/>
                      </a:lnTo>
                      <a:lnTo>
                        <a:pt x="687971" y="172720"/>
                      </a:lnTo>
                      <a:lnTo>
                        <a:pt x="685850" y="171450"/>
                      </a:lnTo>
                      <a:lnTo>
                        <a:pt x="685469" y="170180"/>
                      </a:lnTo>
                      <a:lnTo>
                        <a:pt x="684999" y="170180"/>
                      </a:lnTo>
                      <a:lnTo>
                        <a:pt x="684847" y="168910"/>
                      </a:lnTo>
                      <a:lnTo>
                        <a:pt x="684580" y="167640"/>
                      </a:lnTo>
                      <a:lnTo>
                        <a:pt x="685888" y="166370"/>
                      </a:lnTo>
                      <a:lnTo>
                        <a:pt x="685507" y="166370"/>
                      </a:lnTo>
                      <a:lnTo>
                        <a:pt x="685355" y="165100"/>
                      </a:lnTo>
                      <a:lnTo>
                        <a:pt x="687362" y="165100"/>
                      </a:lnTo>
                      <a:lnTo>
                        <a:pt x="687628" y="163830"/>
                      </a:lnTo>
                      <a:lnTo>
                        <a:pt x="687628" y="162560"/>
                      </a:lnTo>
                      <a:lnTo>
                        <a:pt x="688454" y="162560"/>
                      </a:lnTo>
                      <a:lnTo>
                        <a:pt x="688936" y="161290"/>
                      </a:lnTo>
                      <a:lnTo>
                        <a:pt x="688975" y="160020"/>
                      </a:lnTo>
                      <a:lnTo>
                        <a:pt x="689267" y="158750"/>
                      </a:lnTo>
                      <a:lnTo>
                        <a:pt x="689978" y="158750"/>
                      </a:lnTo>
                      <a:lnTo>
                        <a:pt x="690092" y="157480"/>
                      </a:lnTo>
                      <a:lnTo>
                        <a:pt x="691946" y="157480"/>
                      </a:lnTo>
                      <a:lnTo>
                        <a:pt x="692099" y="156210"/>
                      </a:lnTo>
                      <a:lnTo>
                        <a:pt x="691591" y="154940"/>
                      </a:lnTo>
                      <a:lnTo>
                        <a:pt x="691375" y="154940"/>
                      </a:lnTo>
                      <a:lnTo>
                        <a:pt x="691057" y="153670"/>
                      </a:lnTo>
                      <a:lnTo>
                        <a:pt x="690638" y="153670"/>
                      </a:lnTo>
                      <a:lnTo>
                        <a:pt x="690587" y="152400"/>
                      </a:lnTo>
                      <a:lnTo>
                        <a:pt x="690206" y="152400"/>
                      </a:lnTo>
                      <a:lnTo>
                        <a:pt x="689978" y="151130"/>
                      </a:lnTo>
                      <a:lnTo>
                        <a:pt x="689559" y="151130"/>
                      </a:lnTo>
                      <a:lnTo>
                        <a:pt x="689635" y="149860"/>
                      </a:lnTo>
                      <a:lnTo>
                        <a:pt x="688898" y="148590"/>
                      </a:lnTo>
                      <a:lnTo>
                        <a:pt x="687476" y="147320"/>
                      </a:lnTo>
                      <a:lnTo>
                        <a:pt x="683539" y="142240"/>
                      </a:lnTo>
                      <a:lnTo>
                        <a:pt x="681913" y="140970"/>
                      </a:lnTo>
                      <a:lnTo>
                        <a:pt x="680872" y="139700"/>
                      </a:lnTo>
                      <a:lnTo>
                        <a:pt x="679805" y="140970"/>
                      </a:lnTo>
                      <a:lnTo>
                        <a:pt x="677024" y="140970"/>
                      </a:lnTo>
                      <a:lnTo>
                        <a:pt x="678522" y="142240"/>
                      </a:lnTo>
                      <a:lnTo>
                        <a:pt x="678954" y="142240"/>
                      </a:lnTo>
                      <a:lnTo>
                        <a:pt x="679526" y="143510"/>
                      </a:lnTo>
                      <a:lnTo>
                        <a:pt x="679983" y="143510"/>
                      </a:lnTo>
                      <a:lnTo>
                        <a:pt x="680491" y="144780"/>
                      </a:lnTo>
                      <a:lnTo>
                        <a:pt x="680999" y="144780"/>
                      </a:lnTo>
                      <a:lnTo>
                        <a:pt x="681418" y="146050"/>
                      </a:lnTo>
                      <a:lnTo>
                        <a:pt x="682078" y="146050"/>
                      </a:lnTo>
                      <a:lnTo>
                        <a:pt x="682231" y="147320"/>
                      </a:lnTo>
                      <a:lnTo>
                        <a:pt x="682586" y="147320"/>
                      </a:lnTo>
                      <a:lnTo>
                        <a:pt x="682459" y="148590"/>
                      </a:lnTo>
                      <a:lnTo>
                        <a:pt x="682790" y="151130"/>
                      </a:lnTo>
                      <a:lnTo>
                        <a:pt x="683094" y="152400"/>
                      </a:lnTo>
                      <a:lnTo>
                        <a:pt x="683234" y="153670"/>
                      </a:lnTo>
                      <a:lnTo>
                        <a:pt x="683247" y="154940"/>
                      </a:lnTo>
                      <a:lnTo>
                        <a:pt x="683120" y="154940"/>
                      </a:lnTo>
                      <a:lnTo>
                        <a:pt x="683120" y="156210"/>
                      </a:lnTo>
                      <a:lnTo>
                        <a:pt x="683006" y="157480"/>
                      </a:lnTo>
                      <a:lnTo>
                        <a:pt x="682879" y="157480"/>
                      </a:lnTo>
                      <a:lnTo>
                        <a:pt x="682345" y="158750"/>
                      </a:lnTo>
                      <a:lnTo>
                        <a:pt x="680847" y="161290"/>
                      </a:lnTo>
                      <a:lnTo>
                        <a:pt x="681101" y="161290"/>
                      </a:lnTo>
                      <a:lnTo>
                        <a:pt x="678180" y="162560"/>
                      </a:lnTo>
                      <a:lnTo>
                        <a:pt x="675754" y="162560"/>
                      </a:lnTo>
                      <a:lnTo>
                        <a:pt x="674827" y="163830"/>
                      </a:lnTo>
                      <a:lnTo>
                        <a:pt x="670877" y="165100"/>
                      </a:lnTo>
                      <a:lnTo>
                        <a:pt x="667677" y="165100"/>
                      </a:lnTo>
                      <a:lnTo>
                        <a:pt x="664832" y="166370"/>
                      </a:lnTo>
                      <a:lnTo>
                        <a:pt x="663257" y="167640"/>
                      </a:lnTo>
                      <a:lnTo>
                        <a:pt x="661339" y="167640"/>
                      </a:lnTo>
                      <a:lnTo>
                        <a:pt x="660666" y="168910"/>
                      </a:lnTo>
                      <a:lnTo>
                        <a:pt x="660476" y="168910"/>
                      </a:lnTo>
                      <a:lnTo>
                        <a:pt x="659701" y="170180"/>
                      </a:lnTo>
                      <a:lnTo>
                        <a:pt x="660247" y="170180"/>
                      </a:lnTo>
                      <a:lnTo>
                        <a:pt x="660400" y="171450"/>
                      </a:lnTo>
                      <a:lnTo>
                        <a:pt x="660692" y="171450"/>
                      </a:lnTo>
                      <a:lnTo>
                        <a:pt x="660387" y="172720"/>
                      </a:lnTo>
                      <a:lnTo>
                        <a:pt x="659752" y="172720"/>
                      </a:lnTo>
                      <a:lnTo>
                        <a:pt x="658698" y="173990"/>
                      </a:lnTo>
                      <a:lnTo>
                        <a:pt x="658837" y="173990"/>
                      </a:lnTo>
                      <a:lnTo>
                        <a:pt x="658088" y="175260"/>
                      </a:lnTo>
                      <a:lnTo>
                        <a:pt x="657517" y="175260"/>
                      </a:lnTo>
                      <a:lnTo>
                        <a:pt x="656590" y="176530"/>
                      </a:lnTo>
                      <a:lnTo>
                        <a:pt x="654469" y="177800"/>
                      </a:lnTo>
                      <a:lnTo>
                        <a:pt x="653732" y="179070"/>
                      </a:lnTo>
                      <a:lnTo>
                        <a:pt x="654227" y="180340"/>
                      </a:lnTo>
                      <a:lnTo>
                        <a:pt x="654545" y="180340"/>
                      </a:lnTo>
                      <a:lnTo>
                        <a:pt x="660196" y="182880"/>
                      </a:lnTo>
                      <a:lnTo>
                        <a:pt x="661250" y="182880"/>
                      </a:lnTo>
                      <a:lnTo>
                        <a:pt x="663067" y="187960"/>
                      </a:lnTo>
                      <a:lnTo>
                        <a:pt x="663257" y="187960"/>
                      </a:lnTo>
                      <a:lnTo>
                        <a:pt x="663333" y="189230"/>
                      </a:lnTo>
                      <a:lnTo>
                        <a:pt x="664413" y="190500"/>
                      </a:lnTo>
                      <a:lnTo>
                        <a:pt x="666191" y="190500"/>
                      </a:lnTo>
                      <a:lnTo>
                        <a:pt x="666102" y="193040"/>
                      </a:lnTo>
                      <a:lnTo>
                        <a:pt x="665949" y="193040"/>
                      </a:lnTo>
                      <a:lnTo>
                        <a:pt x="666330" y="194310"/>
                      </a:lnTo>
                      <a:lnTo>
                        <a:pt x="667194" y="194310"/>
                      </a:lnTo>
                      <a:lnTo>
                        <a:pt x="670509" y="196850"/>
                      </a:lnTo>
                      <a:lnTo>
                        <a:pt x="671080" y="198120"/>
                      </a:lnTo>
                      <a:lnTo>
                        <a:pt x="671830" y="198120"/>
                      </a:lnTo>
                      <a:lnTo>
                        <a:pt x="671931" y="199390"/>
                      </a:lnTo>
                      <a:lnTo>
                        <a:pt x="672160" y="200660"/>
                      </a:lnTo>
                      <a:lnTo>
                        <a:pt x="672160" y="201930"/>
                      </a:lnTo>
                      <a:lnTo>
                        <a:pt x="671322" y="201930"/>
                      </a:lnTo>
                      <a:lnTo>
                        <a:pt x="669772" y="204470"/>
                      </a:lnTo>
                      <a:lnTo>
                        <a:pt x="663994" y="210820"/>
                      </a:lnTo>
                      <a:lnTo>
                        <a:pt x="663067" y="212090"/>
                      </a:lnTo>
                      <a:lnTo>
                        <a:pt x="662305" y="213360"/>
                      </a:lnTo>
                      <a:lnTo>
                        <a:pt x="663905" y="212090"/>
                      </a:lnTo>
                      <a:lnTo>
                        <a:pt x="663879" y="214630"/>
                      </a:lnTo>
                      <a:lnTo>
                        <a:pt x="663117" y="214630"/>
                      </a:lnTo>
                      <a:lnTo>
                        <a:pt x="663067" y="215900"/>
                      </a:lnTo>
                      <a:lnTo>
                        <a:pt x="662406" y="218440"/>
                      </a:lnTo>
                      <a:lnTo>
                        <a:pt x="661136" y="220980"/>
                      </a:lnTo>
                      <a:lnTo>
                        <a:pt x="660717" y="222250"/>
                      </a:lnTo>
                      <a:lnTo>
                        <a:pt x="660514" y="223520"/>
                      </a:lnTo>
                      <a:lnTo>
                        <a:pt x="661022" y="223520"/>
                      </a:lnTo>
                      <a:lnTo>
                        <a:pt x="661365" y="224790"/>
                      </a:lnTo>
                      <a:lnTo>
                        <a:pt x="661517" y="224790"/>
                      </a:lnTo>
                      <a:lnTo>
                        <a:pt x="662355" y="226060"/>
                      </a:lnTo>
                      <a:lnTo>
                        <a:pt x="663409" y="226060"/>
                      </a:lnTo>
                      <a:lnTo>
                        <a:pt x="664286" y="227330"/>
                      </a:lnTo>
                      <a:lnTo>
                        <a:pt x="664502" y="228600"/>
                      </a:lnTo>
                      <a:lnTo>
                        <a:pt x="665264" y="228600"/>
                      </a:lnTo>
                      <a:lnTo>
                        <a:pt x="665378" y="229870"/>
                      </a:lnTo>
                      <a:lnTo>
                        <a:pt x="665645" y="229870"/>
                      </a:lnTo>
                      <a:lnTo>
                        <a:pt x="665492" y="231140"/>
                      </a:lnTo>
                      <a:lnTo>
                        <a:pt x="665187" y="232410"/>
                      </a:lnTo>
                      <a:lnTo>
                        <a:pt x="664260" y="234950"/>
                      </a:lnTo>
                      <a:lnTo>
                        <a:pt x="663956" y="236220"/>
                      </a:lnTo>
                      <a:lnTo>
                        <a:pt x="663867" y="237490"/>
                      </a:lnTo>
                      <a:lnTo>
                        <a:pt x="664337" y="237490"/>
                      </a:lnTo>
                      <a:lnTo>
                        <a:pt x="664794" y="238760"/>
                      </a:lnTo>
                      <a:lnTo>
                        <a:pt x="666178" y="238760"/>
                      </a:lnTo>
                      <a:lnTo>
                        <a:pt x="666267" y="240030"/>
                      </a:lnTo>
                      <a:lnTo>
                        <a:pt x="667956" y="238760"/>
                      </a:lnTo>
                      <a:lnTo>
                        <a:pt x="669188" y="238760"/>
                      </a:lnTo>
                      <a:lnTo>
                        <a:pt x="669607" y="237490"/>
                      </a:lnTo>
                      <a:lnTo>
                        <a:pt x="673785" y="237490"/>
                      </a:lnTo>
                      <a:lnTo>
                        <a:pt x="675576" y="238760"/>
                      </a:lnTo>
                      <a:lnTo>
                        <a:pt x="683856" y="238760"/>
                      </a:lnTo>
                      <a:lnTo>
                        <a:pt x="681939" y="237490"/>
                      </a:lnTo>
                      <a:lnTo>
                        <a:pt x="684187" y="237490"/>
                      </a:lnTo>
                      <a:lnTo>
                        <a:pt x="684657" y="236220"/>
                      </a:lnTo>
                      <a:lnTo>
                        <a:pt x="686092" y="236220"/>
                      </a:lnTo>
                      <a:lnTo>
                        <a:pt x="687666" y="234950"/>
                      </a:lnTo>
                      <a:lnTo>
                        <a:pt x="692721" y="234950"/>
                      </a:lnTo>
                      <a:lnTo>
                        <a:pt x="696696" y="236220"/>
                      </a:lnTo>
                      <a:lnTo>
                        <a:pt x="694969" y="234950"/>
                      </a:lnTo>
                      <a:lnTo>
                        <a:pt x="699033" y="236220"/>
                      </a:lnTo>
                      <a:lnTo>
                        <a:pt x="699541" y="236220"/>
                      </a:lnTo>
                      <a:lnTo>
                        <a:pt x="699808" y="237490"/>
                      </a:lnTo>
                      <a:lnTo>
                        <a:pt x="703160" y="237490"/>
                      </a:lnTo>
                      <a:lnTo>
                        <a:pt x="704824" y="238760"/>
                      </a:lnTo>
                      <a:lnTo>
                        <a:pt x="703859" y="237490"/>
                      </a:lnTo>
                      <a:lnTo>
                        <a:pt x="706488" y="237490"/>
                      </a:lnTo>
                      <a:lnTo>
                        <a:pt x="707174" y="238760"/>
                      </a:lnTo>
                      <a:lnTo>
                        <a:pt x="707974" y="238760"/>
                      </a:lnTo>
                      <a:lnTo>
                        <a:pt x="707682" y="240030"/>
                      </a:lnTo>
                      <a:lnTo>
                        <a:pt x="708482" y="240030"/>
                      </a:lnTo>
                      <a:lnTo>
                        <a:pt x="708723" y="241300"/>
                      </a:lnTo>
                      <a:lnTo>
                        <a:pt x="715314" y="241300"/>
                      </a:lnTo>
                      <a:lnTo>
                        <a:pt x="714578" y="242570"/>
                      </a:lnTo>
                      <a:lnTo>
                        <a:pt x="717397" y="243840"/>
                      </a:lnTo>
                      <a:lnTo>
                        <a:pt x="718972" y="243840"/>
                      </a:lnTo>
                      <a:lnTo>
                        <a:pt x="719391" y="245110"/>
                      </a:lnTo>
                      <a:lnTo>
                        <a:pt x="720090" y="248920"/>
                      </a:lnTo>
                      <a:lnTo>
                        <a:pt x="720598" y="251460"/>
                      </a:lnTo>
                      <a:lnTo>
                        <a:pt x="720826" y="251460"/>
                      </a:lnTo>
                      <a:lnTo>
                        <a:pt x="721283" y="252730"/>
                      </a:lnTo>
                      <a:lnTo>
                        <a:pt x="721525" y="252730"/>
                      </a:lnTo>
                      <a:lnTo>
                        <a:pt x="721753" y="254000"/>
                      </a:lnTo>
                      <a:lnTo>
                        <a:pt x="722020" y="254000"/>
                      </a:lnTo>
                      <a:lnTo>
                        <a:pt x="722249" y="252730"/>
                      </a:lnTo>
                      <a:lnTo>
                        <a:pt x="722515" y="254000"/>
                      </a:lnTo>
                      <a:lnTo>
                        <a:pt x="723138" y="254000"/>
                      </a:lnTo>
                      <a:lnTo>
                        <a:pt x="723519" y="255270"/>
                      </a:lnTo>
                      <a:lnTo>
                        <a:pt x="723684" y="255270"/>
                      </a:lnTo>
                      <a:lnTo>
                        <a:pt x="723836" y="256540"/>
                      </a:lnTo>
                      <a:lnTo>
                        <a:pt x="725106" y="256540"/>
                      </a:lnTo>
                      <a:lnTo>
                        <a:pt x="725525" y="257810"/>
                      </a:lnTo>
                      <a:lnTo>
                        <a:pt x="726490" y="259080"/>
                      </a:lnTo>
                      <a:lnTo>
                        <a:pt x="726719" y="259080"/>
                      </a:lnTo>
                      <a:lnTo>
                        <a:pt x="726719" y="260350"/>
                      </a:lnTo>
                      <a:lnTo>
                        <a:pt x="718616" y="260350"/>
                      </a:lnTo>
                      <a:lnTo>
                        <a:pt x="717270" y="264160"/>
                      </a:lnTo>
                      <a:lnTo>
                        <a:pt x="717194" y="266700"/>
                      </a:lnTo>
                      <a:lnTo>
                        <a:pt x="717511" y="266700"/>
                      </a:lnTo>
                      <a:lnTo>
                        <a:pt x="718210" y="267970"/>
                      </a:lnTo>
                      <a:lnTo>
                        <a:pt x="717931" y="269240"/>
                      </a:lnTo>
                      <a:lnTo>
                        <a:pt x="717194" y="270510"/>
                      </a:lnTo>
                      <a:lnTo>
                        <a:pt x="716965" y="271780"/>
                      </a:lnTo>
                      <a:lnTo>
                        <a:pt x="717194" y="271780"/>
                      </a:lnTo>
                      <a:lnTo>
                        <a:pt x="717905" y="273050"/>
                      </a:lnTo>
                      <a:lnTo>
                        <a:pt x="720979" y="273050"/>
                      </a:lnTo>
                      <a:lnTo>
                        <a:pt x="721131" y="271780"/>
                      </a:lnTo>
                      <a:lnTo>
                        <a:pt x="721601" y="271780"/>
                      </a:lnTo>
                      <a:lnTo>
                        <a:pt x="722820" y="274002"/>
                      </a:lnTo>
                      <a:lnTo>
                        <a:pt x="724179" y="273050"/>
                      </a:lnTo>
                      <a:lnTo>
                        <a:pt x="724725" y="273050"/>
                      </a:lnTo>
                      <a:lnTo>
                        <a:pt x="725297" y="274320"/>
                      </a:lnTo>
                      <a:lnTo>
                        <a:pt x="729957" y="274320"/>
                      </a:lnTo>
                      <a:lnTo>
                        <a:pt x="730123" y="275590"/>
                      </a:lnTo>
                      <a:lnTo>
                        <a:pt x="730275" y="275590"/>
                      </a:lnTo>
                      <a:lnTo>
                        <a:pt x="730389" y="274320"/>
                      </a:lnTo>
                      <a:lnTo>
                        <a:pt x="730656" y="274320"/>
                      </a:lnTo>
                      <a:lnTo>
                        <a:pt x="730656" y="273050"/>
                      </a:lnTo>
                      <a:lnTo>
                        <a:pt x="730923" y="273050"/>
                      </a:lnTo>
                      <a:lnTo>
                        <a:pt x="731151" y="274320"/>
                      </a:lnTo>
                      <a:lnTo>
                        <a:pt x="733209" y="274320"/>
                      </a:lnTo>
                      <a:lnTo>
                        <a:pt x="733247" y="275590"/>
                      </a:lnTo>
                      <a:lnTo>
                        <a:pt x="734517" y="275590"/>
                      </a:lnTo>
                      <a:lnTo>
                        <a:pt x="734669" y="274320"/>
                      </a:lnTo>
                      <a:lnTo>
                        <a:pt x="735787" y="274320"/>
                      </a:lnTo>
                      <a:lnTo>
                        <a:pt x="736053" y="275590"/>
                      </a:lnTo>
                      <a:lnTo>
                        <a:pt x="734822" y="275590"/>
                      </a:lnTo>
                      <a:lnTo>
                        <a:pt x="734352" y="276860"/>
                      </a:lnTo>
                      <a:lnTo>
                        <a:pt x="720128" y="276860"/>
                      </a:lnTo>
                      <a:lnTo>
                        <a:pt x="715391" y="273050"/>
                      </a:lnTo>
                      <a:lnTo>
                        <a:pt x="711987" y="271780"/>
                      </a:lnTo>
                      <a:lnTo>
                        <a:pt x="711301" y="270510"/>
                      </a:lnTo>
                      <a:lnTo>
                        <a:pt x="713028" y="270510"/>
                      </a:lnTo>
                      <a:lnTo>
                        <a:pt x="714197" y="269240"/>
                      </a:lnTo>
                      <a:lnTo>
                        <a:pt x="713498" y="264160"/>
                      </a:lnTo>
                      <a:lnTo>
                        <a:pt x="713651" y="264160"/>
                      </a:lnTo>
                      <a:lnTo>
                        <a:pt x="713955" y="262890"/>
                      </a:lnTo>
                      <a:lnTo>
                        <a:pt x="714844" y="261607"/>
                      </a:lnTo>
                      <a:lnTo>
                        <a:pt x="715010" y="260350"/>
                      </a:lnTo>
                      <a:lnTo>
                        <a:pt x="714082" y="260350"/>
                      </a:lnTo>
                      <a:lnTo>
                        <a:pt x="713155" y="259080"/>
                      </a:lnTo>
                      <a:lnTo>
                        <a:pt x="712685" y="259080"/>
                      </a:lnTo>
                      <a:lnTo>
                        <a:pt x="712800" y="257810"/>
                      </a:lnTo>
                      <a:lnTo>
                        <a:pt x="713079" y="257810"/>
                      </a:lnTo>
                      <a:lnTo>
                        <a:pt x="713460" y="256540"/>
                      </a:lnTo>
                      <a:lnTo>
                        <a:pt x="714273" y="254000"/>
                      </a:lnTo>
                      <a:lnTo>
                        <a:pt x="714463" y="254000"/>
                      </a:lnTo>
                      <a:lnTo>
                        <a:pt x="714502" y="252730"/>
                      </a:lnTo>
                      <a:lnTo>
                        <a:pt x="713765" y="252730"/>
                      </a:lnTo>
                      <a:lnTo>
                        <a:pt x="713117" y="251460"/>
                      </a:lnTo>
                      <a:lnTo>
                        <a:pt x="711098" y="251460"/>
                      </a:lnTo>
                      <a:lnTo>
                        <a:pt x="710755" y="250190"/>
                      </a:lnTo>
                      <a:lnTo>
                        <a:pt x="709409" y="250190"/>
                      </a:lnTo>
                      <a:lnTo>
                        <a:pt x="708787" y="248920"/>
                      </a:lnTo>
                      <a:lnTo>
                        <a:pt x="707872" y="247650"/>
                      </a:lnTo>
                      <a:lnTo>
                        <a:pt x="705713" y="243840"/>
                      </a:lnTo>
                      <a:lnTo>
                        <a:pt x="704786" y="242570"/>
                      </a:lnTo>
                      <a:lnTo>
                        <a:pt x="704164" y="242570"/>
                      </a:lnTo>
                      <a:lnTo>
                        <a:pt x="703668" y="241300"/>
                      </a:lnTo>
                      <a:lnTo>
                        <a:pt x="698233" y="241300"/>
                      </a:lnTo>
                      <a:lnTo>
                        <a:pt x="695883" y="242570"/>
                      </a:lnTo>
                      <a:lnTo>
                        <a:pt x="692988" y="242570"/>
                      </a:lnTo>
                      <a:lnTo>
                        <a:pt x="674014" y="248920"/>
                      </a:lnTo>
                      <a:lnTo>
                        <a:pt x="673620" y="248920"/>
                      </a:lnTo>
                      <a:lnTo>
                        <a:pt x="673646" y="250190"/>
                      </a:lnTo>
                      <a:lnTo>
                        <a:pt x="673112" y="250190"/>
                      </a:lnTo>
                      <a:lnTo>
                        <a:pt x="673315" y="251460"/>
                      </a:lnTo>
                      <a:lnTo>
                        <a:pt x="673481" y="251460"/>
                      </a:lnTo>
                      <a:lnTo>
                        <a:pt x="675170" y="254000"/>
                      </a:lnTo>
                      <a:lnTo>
                        <a:pt x="671728" y="255270"/>
                      </a:lnTo>
                      <a:lnTo>
                        <a:pt x="672160" y="256540"/>
                      </a:lnTo>
                      <a:lnTo>
                        <a:pt x="672325" y="257810"/>
                      </a:lnTo>
                      <a:lnTo>
                        <a:pt x="673011" y="257810"/>
                      </a:lnTo>
                      <a:lnTo>
                        <a:pt x="674204" y="259080"/>
                      </a:lnTo>
                      <a:lnTo>
                        <a:pt x="675868" y="259080"/>
                      </a:lnTo>
                      <a:lnTo>
                        <a:pt x="676681" y="260350"/>
                      </a:lnTo>
                      <a:lnTo>
                        <a:pt x="678395" y="262890"/>
                      </a:lnTo>
                      <a:lnTo>
                        <a:pt x="677519" y="262890"/>
                      </a:lnTo>
                      <a:lnTo>
                        <a:pt x="678180" y="264160"/>
                      </a:lnTo>
                      <a:lnTo>
                        <a:pt x="678256" y="265430"/>
                      </a:lnTo>
                      <a:lnTo>
                        <a:pt x="678713" y="265430"/>
                      </a:lnTo>
                      <a:lnTo>
                        <a:pt x="678751" y="266700"/>
                      </a:lnTo>
                      <a:lnTo>
                        <a:pt x="679030" y="266700"/>
                      </a:lnTo>
                      <a:lnTo>
                        <a:pt x="678713" y="269240"/>
                      </a:lnTo>
                      <a:lnTo>
                        <a:pt x="678180" y="271780"/>
                      </a:lnTo>
                      <a:lnTo>
                        <a:pt x="677608" y="274320"/>
                      </a:lnTo>
                      <a:lnTo>
                        <a:pt x="675233" y="275590"/>
                      </a:lnTo>
                      <a:lnTo>
                        <a:pt x="673150" y="276860"/>
                      </a:lnTo>
                      <a:lnTo>
                        <a:pt x="671474" y="278130"/>
                      </a:lnTo>
                      <a:lnTo>
                        <a:pt x="670318" y="279400"/>
                      </a:lnTo>
                      <a:lnTo>
                        <a:pt x="667499" y="281940"/>
                      </a:lnTo>
                      <a:lnTo>
                        <a:pt x="666534" y="283210"/>
                      </a:lnTo>
                      <a:lnTo>
                        <a:pt x="666038" y="283210"/>
                      </a:lnTo>
                      <a:lnTo>
                        <a:pt x="666267" y="284480"/>
                      </a:lnTo>
                      <a:lnTo>
                        <a:pt x="666838" y="284480"/>
                      </a:lnTo>
                      <a:lnTo>
                        <a:pt x="666292" y="285750"/>
                      </a:lnTo>
                      <a:lnTo>
                        <a:pt x="666267" y="287020"/>
                      </a:lnTo>
                      <a:lnTo>
                        <a:pt x="665607" y="289560"/>
                      </a:lnTo>
                      <a:lnTo>
                        <a:pt x="665226" y="290830"/>
                      </a:lnTo>
                      <a:lnTo>
                        <a:pt x="664730" y="290830"/>
                      </a:lnTo>
                      <a:lnTo>
                        <a:pt x="663638" y="292100"/>
                      </a:lnTo>
                      <a:lnTo>
                        <a:pt x="661758" y="292100"/>
                      </a:lnTo>
                      <a:lnTo>
                        <a:pt x="660895" y="294640"/>
                      </a:lnTo>
                      <a:lnTo>
                        <a:pt x="658622" y="294640"/>
                      </a:lnTo>
                      <a:lnTo>
                        <a:pt x="657517" y="295910"/>
                      </a:lnTo>
                      <a:lnTo>
                        <a:pt x="654977" y="295910"/>
                      </a:lnTo>
                      <a:lnTo>
                        <a:pt x="653821" y="297180"/>
                      </a:lnTo>
                      <a:lnTo>
                        <a:pt x="652348" y="298450"/>
                      </a:lnTo>
                      <a:lnTo>
                        <a:pt x="650824" y="298450"/>
                      </a:lnTo>
                      <a:lnTo>
                        <a:pt x="650227" y="299720"/>
                      </a:lnTo>
                      <a:lnTo>
                        <a:pt x="646823" y="299720"/>
                      </a:lnTo>
                      <a:lnTo>
                        <a:pt x="644283" y="302260"/>
                      </a:lnTo>
                      <a:lnTo>
                        <a:pt x="643940" y="303530"/>
                      </a:lnTo>
                      <a:lnTo>
                        <a:pt x="643826" y="304800"/>
                      </a:lnTo>
                      <a:lnTo>
                        <a:pt x="643547" y="306070"/>
                      </a:lnTo>
                      <a:lnTo>
                        <a:pt x="643318" y="307340"/>
                      </a:lnTo>
                      <a:lnTo>
                        <a:pt x="642315" y="307340"/>
                      </a:lnTo>
                      <a:lnTo>
                        <a:pt x="641083" y="308610"/>
                      </a:lnTo>
                      <a:lnTo>
                        <a:pt x="635431" y="308610"/>
                      </a:lnTo>
                      <a:lnTo>
                        <a:pt x="635279" y="307340"/>
                      </a:lnTo>
                      <a:lnTo>
                        <a:pt x="633641" y="307340"/>
                      </a:lnTo>
                      <a:lnTo>
                        <a:pt x="631609" y="306070"/>
                      </a:lnTo>
                      <a:lnTo>
                        <a:pt x="615962" y="306070"/>
                      </a:lnTo>
                      <a:lnTo>
                        <a:pt x="616940" y="307340"/>
                      </a:lnTo>
                      <a:lnTo>
                        <a:pt x="610743" y="304800"/>
                      </a:lnTo>
                      <a:lnTo>
                        <a:pt x="607466" y="304800"/>
                      </a:lnTo>
                      <a:lnTo>
                        <a:pt x="608164" y="303530"/>
                      </a:lnTo>
                      <a:lnTo>
                        <a:pt x="605421" y="302260"/>
                      </a:lnTo>
                      <a:lnTo>
                        <a:pt x="601827" y="302260"/>
                      </a:lnTo>
                      <a:lnTo>
                        <a:pt x="599757" y="300990"/>
                      </a:lnTo>
                      <a:lnTo>
                        <a:pt x="597433" y="299720"/>
                      </a:lnTo>
                      <a:lnTo>
                        <a:pt x="595871" y="295910"/>
                      </a:lnTo>
                      <a:lnTo>
                        <a:pt x="595350" y="294640"/>
                      </a:lnTo>
                      <a:lnTo>
                        <a:pt x="599909" y="294640"/>
                      </a:lnTo>
                      <a:lnTo>
                        <a:pt x="607390" y="293370"/>
                      </a:lnTo>
                      <a:lnTo>
                        <a:pt x="609206" y="293370"/>
                      </a:lnTo>
                      <a:lnTo>
                        <a:pt x="609434" y="294640"/>
                      </a:lnTo>
                      <a:lnTo>
                        <a:pt x="611009" y="295910"/>
                      </a:lnTo>
                      <a:lnTo>
                        <a:pt x="613600" y="297180"/>
                      </a:lnTo>
                      <a:lnTo>
                        <a:pt x="614680" y="298450"/>
                      </a:lnTo>
                      <a:lnTo>
                        <a:pt x="617105" y="298450"/>
                      </a:lnTo>
                      <a:lnTo>
                        <a:pt x="617753" y="297180"/>
                      </a:lnTo>
                      <a:lnTo>
                        <a:pt x="617918" y="297180"/>
                      </a:lnTo>
                      <a:lnTo>
                        <a:pt x="618109" y="295910"/>
                      </a:lnTo>
                      <a:lnTo>
                        <a:pt x="620915" y="295910"/>
                      </a:lnTo>
                      <a:lnTo>
                        <a:pt x="635228" y="292100"/>
                      </a:lnTo>
                      <a:lnTo>
                        <a:pt x="635533" y="292100"/>
                      </a:lnTo>
                      <a:lnTo>
                        <a:pt x="636600" y="290830"/>
                      </a:lnTo>
                      <a:lnTo>
                        <a:pt x="637146" y="290830"/>
                      </a:lnTo>
                      <a:lnTo>
                        <a:pt x="637908" y="289560"/>
                      </a:lnTo>
                      <a:lnTo>
                        <a:pt x="638987" y="288290"/>
                      </a:lnTo>
                      <a:lnTo>
                        <a:pt x="639699" y="288290"/>
                      </a:lnTo>
                      <a:lnTo>
                        <a:pt x="641121" y="287020"/>
                      </a:lnTo>
                      <a:lnTo>
                        <a:pt x="642010" y="287020"/>
                      </a:lnTo>
                      <a:lnTo>
                        <a:pt x="642010" y="285750"/>
                      </a:lnTo>
                      <a:lnTo>
                        <a:pt x="641743" y="285750"/>
                      </a:lnTo>
                      <a:lnTo>
                        <a:pt x="641667" y="284480"/>
                      </a:lnTo>
                      <a:lnTo>
                        <a:pt x="642239" y="284480"/>
                      </a:lnTo>
                      <a:lnTo>
                        <a:pt x="643547" y="283210"/>
                      </a:lnTo>
                      <a:lnTo>
                        <a:pt x="644169" y="283210"/>
                      </a:lnTo>
                      <a:lnTo>
                        <a:pt x="644550" y="281940"/>
                      </a:lnTo>
                      <a:lnTo>
                        <a:pt x="644944" y="281940"/>
                      </a:lnTo>
                      <a:lnTo>
                        <a:pt x="644982" y="280670"/>
                      </a:lnTo>
                      <a:lnTo>
                        <a:pt x="645833" y="279400"/>
                      </a:lnTo>
                      <a:lnTo>
                        <a:pt x="647446" y="278130"/>
                      </a:lnTo>
                      <a:lnTo>
                        <a:pt x="652119" y="275590"/>
                      </a:lnTo>
                      <a:lnTo>
                        <a:pt x="653923" y="274320"/>
                      </a:lnTo>
                      <a:lnTo>
                        <a:pt x="654964" y="273050"/>
                      </a:lnTo>
                      <a:lnTo>
                        <a:pt x="655205" y="273050"/>
                      </a:lnTo>
                      <a:lnTo>
                        <a:pt x="654964" y="271780"/>
                      </a:lnTo>
                      <a:lnTo>
                        <a:pt x="654227" y="271780"/>
                      </a:lnTo>
                      <a:lnTo>
                        <a:pt x="654507" y="270510"/>
                      </a:lnTo>
                      <a:lnTo>
                        <a:pt x="655662" y="270510"/>
                      </a:lnTo>
                      <a:lnTo>
                        <a:pt x="656170" y="269240"/>
                      </a:lnTo>
                      <a:lnTo>
                        <a:pt x="655891" y="269240"/>
                      </a:lnTo>
                      <a:lnTo>
                        <a:pt x="655878" y="267970"/>
                      </a:lnTo>
                      <a:lnTo>
                        <a:pt x="655929" y="266700"/>
                      </a:lnTo>
                      <a:lnTo>
                        <a:pt x="655586" y="266700"/>
                      </a:lnTo>
                      <a:lnTo>
                        <a:pt x="655548" y="265430"/>
                      </a:lnTo>
                      <a:lnTo>
                        <a:pt x="655078" y="265430"/>
                      </a:lnTo>
                      <a:lnTo>
                        <a:pt x="654748" y="264160"/>
                      </a:lnTo>
                      <a:lnTo>
                        <a:pt x="653440" y="264160"/>
                      </a:lnTo>
                      <a:lnTo>
                        <a:pt x="654392" y="262890"/>
                      </a:lnTo>
                      <a:lnTo>
                        <a:pt x="655396" y="261620"/>
                      </a:lnTo>
                      <a:lnTo>
                        <a:pt x="656742" y="260350"/>
                      </a:lnTo>
                      <a:lnTo>
                        <a:pt x="660247" y="256540"/>
                      </a:lnTo>
                      <a:lnTo>
                        <a:pt x="661568" y="255270"/>
                      </a:lnTo>
                      <a:lnTo>
                        <a:pt x="662292" y="255270"/>
                      </a:lnTo>
                      <a:lnTo>
                        <a:pt x="662559" y="254000"/>
                      </a:lnTo>
                      <a:lnTo>
                        <a:pt x="661949" y="252730"/>
                      </a:lnTo>
                      <a:lnTo>
                        <a:pt x="661212" y="252730"/>
                      </a:lnTo>
                      <a:lnTo>
                        <a:pt x="659650" y="251460"/>
                      </a:lnTo>
                      <a:lnTo>
                        <a:pt x="659371" y="251460"/>
                      </a:lnTo>
                      <a:lnTo>
                        <a:pt x="657669" y="250190"/>
                      </a:lnTo>
                      <a:lnTo>
                        <a:pt x="657199" y="250190"/>
                      </a:lnTo>
                      <a:lnTo>
                        <a:pt x="653783" y="247650"/>
                      </a:lnTo>
                      <a:lnTo>
                        <a:pt x="653059" y="247650"/>
                      </a:lnTo>
                      <a:lnTo>
                        <a:pt x="649452" y="245110"/>
                      </a:lnTo>
                      <a:lnTo>
                        <a:pt x="648131" y="245110"/>
                      </a:lnTo>
                      <a:lnTo>
                        <a:pt x="647039" y="242570"/>
                      </a:lnTo>
                      <a:lnTo>
                        <a:pt x="646823" y="242570"/>
                      </a:lnTo>
                      <a:lnTo>
                        <a:pt x="646557" y="241300"/>
                      </a:lnTo>
                      <a:lnTo>
                        <a:pt x="646442" y="240030"/>
                      </a:lnTo>
                      <a:lnTo>
                        <a:pt x="646290" y="240030"/>
                      </a:lnTo>
                      <a:lnTo>
                        <a:pt x="646671" y="237490"/>
                      </a:lnTo>
                      <a:lnTo>
                        <a:pt x="647649" y="236220"/>
                      </a:lnTo>
                      <a:lnTo>
                        <a:pt x="647915" y="233680"/>
                      </a:lnTo>
                      <a:lnTo>
                        <a:pt x="647750" y="233680"/>
                      </a:lnTo>
                      <a:lnTo>
                        <a:pt x="647725" y="232410"/>
                      </a:lnTo>
                      <a:lnTo>
                        <a:pt x="647407" y="232410"/>
                      </a:lnTo>
                      <a:lnTo>
                        <a:pt x="647407" y="231140"/>
                      </a:lnTo>
                      <a:lnTo>
                        <a:pt x="647750" y="231140"/>
                      </a:lnTo>
                      <a:lnTo>
                        <a:pt x="647941" y="228600"/>
                      </a:lnTo>
                      <a:lnTo>
                        <a:pt x="647522" y="228600"/>
                      </a:lnTo>
                      <a:lnTo>
                        <a:pt x="647484" y="227330"/>
                      </a:lnTo>
                      <a:lnTo>
                        <a:pt x="647026" y="227330"/>
                      </a:lnTo>
                      <a:lnTo>
                        <a:pt x="646912" y="226060"/>
                      </a:lnTo>
                      <a:lnTo>
                        <a:pt x="647179" y="224790"/>
                      </a:lnTo>
                      <a:lnTo>
                        <a:pt x="647788" y="223520"/>
                      </a:lnTo>
                      <a:lnTo>
                        <a:pt x="648398" y="220980"/>
                      </a:lnTo>
                      <a:lnTo>
                        <a:pt x="648538" y="219710"/>
                      </a:lnTo>
                      <a:lnTo>
                        <a:pt x="647598" y="218440"/>
                      </a:lnTo>
                      <a:lnTo>
                        <a:pt x="647293" y="217170"/>
                      </a:lnTo>
                      <a:lnTo>
                        <a:pt x="646290" y="217170"/>
                      </a:lnTo>
                      <a:lnTo>
                        <a:pt x="646366" y="215900"/>
                      </a:lnTo>
                      <a:lnTo>
                        <a:pt x="646595" y="214630"/>
                      </a:lnTo>
                      <a:lnTo>
                        <a:pt x="647217" y="213360"/>
                      </a:lnTo>
                      <a:lnTo>
                        <a:pt x="647280" y="212090"/>
                      </a:lnTo>
                      <a:lnTo>
                        <a:pt x="647750" y="212090"/>
                      </a:lnTo>
                      <a:lnTo>
                        <a:pt x="647369" y="210820"/>
                      </a:lnTo>
                      <a:lnTo>
                        <a:pt x="646290" y="210820"/>
                      </a:lnTo>
                      <a:lnTo>
                        <a:pt x="645909" y="209550"/>
                      </a:lnTo>
                      <a:lnTo>
                        <a:pt x="645325" y="209550"/>
                      </a:lnTo>
                      <a:lnTo>
                        <a:pt x="645210" y="208280"/>
                      </a:lnTo>
                      <a:lnTo>
                        <a:pt x="645693" y="208280"/>
                      </a:lnTo>
                      <a:lnTo>
                        <a:pt x="646099" y="207010"/>
                      </a:lnTo>
                      <a:lnTo>
                        <a:pt x="646671" y="207010"/>
                      </a:lnTo>
                      <a:lnTo>
                        <a:pt x="647750" y="205740"/>
                      </a:lnTo>
                      <a:lnTo>
                        <a:pt x="649566" y="205740"/>
                      </a:lnTo>
                      <a:lnTo>
                        <a:pt x="649795" y="204470"/>
                      </a:lnTo>
                      <a:lnTo>
                        <a:pt x="649566" y="204470"/>
                      </a:lnTo>
                      <a:lnTo>
                        <a:pt x="649516" y="203200"/>
                      </a:lnTo>
                      <a:lnTo>
                        <a:pt x="650049" y="203200"/>
                      </a:lnTo>
                      <a:lnTo>
                        <a:pt x="649681" y="201930"/>
                      </a:lnTo>
                      <a:lnTo>
                        <a:pt x="649147" y="201930"/>
                      </a:lnTo>
                      <a:lnTo>
                        <a:pt x="649097" y="200660"/>
                      </a:lnTo>
                      <a:lnTo>
                        <a:pt x="649566" y="199390"/>
                      </a:lnTo>
                      <a:lnTo>
                        <a:pt x="649681" y="198120"/>
                      </a:lnTo>
                      <a:lnTo>
                        <a:pt x="649846" y="196850"/>
                      </a:lnTo>
                      <a:lnTo>
                        <a:pt x="650189" y="195580"/>
                      </a:lnTo>
                      <a:lnTo>
                        <a:pt x="650455" y="194310"/>
                      </a:lnTo>
                      <a:lnTo>
                        <a:pt x="650989" y="194310"/>
                      </a:lnTo>
                      <a:lnTo>
                        <a:pt x="650341" y="193040"/>
                      </a:lnTo>
                      <a:lnTo>
                        <a:pt x="649084" y="191770"/>
                      </a:lnTo>
                      <a:lnTo>
                        <a:pt x="648716" y="190500"/>
                      </a:lnTo>
                      <a:lnTo>
                        <a:pt x="647954" y="190500"/>
                      </a:lnTo>
                      <a:lnTo>
                        <a:pt x="647776" y="187960"/>
                      </a:lnTo>
                      <a:lnTo>
                        <a:pt x="649097" y="187960"/>
                      </a:lnTo>
                      <a:lnTo>
                        <a:pt x="647560" y="186690"/>
                      </a:lnTo>
                      <a:lnTo>
                        <a:pt x="647293" y="186690"/>
                      </a:lnTo>
                      <a:lnTo>
                        <a:pt x="646455" y="185420"/>
                      </a:lnTo>
                      <a:lnTo>
                        <a:pt x="644207" y="185420"/>
                      </a:lnTo>
                      <a:lnTo>
                        <a:pt x="643636" y="184150"/>
                      </a:lnTo>
                      <a:lnTo>
                        <a:pt x="640969" y="182880"/>
                      </a:lnTo>
                      <a:lnTo>
                        <a:pt x="640067" y="182880"/>
                      </a:lnTo>
                      <a:lnTo>
                        <a:pt x="638314" y="180340"/>
                      </a:lnTo>
                      <a:lnTo>
                        <a:pt x="637387" y="180340"/>
                      </a:lnTo>
                      <a:lnTo>
                        <a:pt x="637273" y="179070"/>
                      </a:lnTo>
                      <a:lnTo>
                        <a:pt x="636219" y="177800"/>
                      </a:lnTo>
                      <a:lnTo>
                        <a:pt x="635203" y="176530"/>
                      </a:lnTo>
                      <a:lnTo>
                        <a:pt x="637311" y="175260"/>
                      </a:lnTo>
                      <a:lnTo>
                        <a:pt x="637806" y="175260"/>
                      </a:lnTo>
                      <a:lnTo>
                        <a:pt x="638606" y="173990"/>
                      </a:lnTo>
                      <a:lnTo>
                        <a:pt x="638187" y="175260"/>
                      </a:lnTo>
                      <a:lnTo>
                        <a:pt x="640384" y="173990"/>
                      </a:lnTo>
                      <a:lnTo>
                        <a:pt x="640930" y="173990"/>
                      </a:lnTo>
                      <a:lnTo>
                        <a:pt x="641553" y="172720"/>
                      </a:lnTo>
                      <a:lnTo>
                        <a:pt x="642899" y="171450"/>
                      </a:lnTo>
                      <a:lnTo>
                        <a:pt x="643166" y="168910"/>
                      </a:lnTo>
                      <a:lnTo>
                        <a:pt x="643394" y="167640"/>
                      </a:lnTo>
                      <a:lnTo>
                        <a:pt x="643826" y="167640"/>
                      </a:lnTo>
                      <a:lnTo>
                        <a:pt x="644283" y="166370"/>
                      </a:lnTo>
                      <a:lnTo>
                        <a:pt x="645210" y="166370"/>
                      </a:lnTo>
                      <a:lnTo>
                        <a:pt x="645668" y="165100"/>
                      </a:lnTo>
                      <a:lnTo>
                        <a:pt x="646518" y="163830"/>
                      </a:lnTo>
                      <a:lnTo>
                        <a:pt x="647179" y="162560"/>
                      </a:lnTo>
                      <a:lnTo>
                        <a:pt x="647687" y="161290"/>
                      </a:lnTo>
                      <a:lnTo>
                        <a:pt x="650303" y="157480"/>
                      </a:lnTo>
                      <a:lnTo>
                        <a:pt x="650951" y="156210"/>
                      </a:lnTo>
                      <a:lnTo>
                        <a:pt x="651268" y="156210"/>
                      </a:lnTo>
                      <a:lnTo>
                        <a:pt x="651192" y="154940"/>
                      </a:lnTo>
                      <a:lnTo>
                        <a:pt x="650684" y="154940"/>
                      </a:lnTo>
                      <a:lnTo>
                        <a:pt x="650494" y="153670"/>
                      </a:lnTo>
                      <a:lnTo>
                        <a:pt x="650151" y="153670"/>
                      </a:lnTo>
                      <a:lnTo>
                        <a:pt x="650113" y="152400"/>
                      </a:lnTo>
                      <a:lnTo>
                        <a:pt x="650684" y="149860"/>
                      </a:lnTo>
                      <a:lnTo>
                        <a:pt x="650608" y="146050"/>
                      </a:lnTo>
                      <a:lnTo>
                        <a:pt x="650341" y="144780"/>
                      </a:lnTo>
                      <a:lnTo>
                        <a:pt x="650024" y="144780"/>
                      </a:lnTo>
                      <a:lnTo>
                        <a:pt x="648716" y="143510"/>
                      </a:lnTo>
                      <a:lnTo>
                        <a:pt x="646518" y="143510"/>
                      </a:lnTo>
                      <a:lnTo>
                        <a:pt x="645248" y="142240"/>
                      </a:lnTo>
                      <a:lnTo>
                        <a:pt x="641743" y="142240"/>
                      </a:lnTo>
                      <a:lnTo>
                        <a:pt x="641083" y="140970"/>
                      </a:lnTo>
                      <a:lnTo>
                        <a:pt x="640092" y="140970"/>
                      </a:lnTo>
                      <a:lnTo>
                        <a:pt x="638149" y="142240"/>
                      </a:lnTo>
                      <a:lnTo>
                        <a:pt x="636460" y="142240"/>
                      </a:lnTo>
                      <a:lnTo>
                        <a:pt x="636727" y="140970"/>
                      </a:lnTo>
                      <a:lnTo>
                        <a:pt x="637844" y="140970"/>
                      </a:lnTo>
                      <a:lnTo>
                        <a:pt x="633463" y="139700"/>
                      </a:lnTo>
                      <a:lnTo>
                        <a:pt x="633818" y="138430"/>
                      </a:lnTo>
                      <a:lnTo>
                        <a:pt x="629754" y="139700"/>
                      </a:lnTo>
                      <a:lnTo>
                        <a:pt x="627126" y="139700"/>
                      </a:lnTo>
                      <a:lnTo>
                        <a:pt x="627087" y="138430"/>
                      </a:lnTo>
                      <a:lnTo>
                        <a:pt x="625627" y="139700"/>
                      </a:lnTo>
                      <a:lnTo>
                        <a:pt x="625005" y="139700"/>
                      </a:lnTo>
                      <a:lnTo>
                        <a:pt x="623671" y="138430"/>
                      </a:lnTo>
                      <a:lnTo>
                        <a:pt x="623354" y="139700"/>
                      </a:lnTo>
                      <a:lnTo>
                        <a:pt x="603719" y="139700"/>
                      </a:lnTo>
                      <a:lnTo>
                        <a:pt x="603872" y="138430"/>
                      </a:lnTo>
                      <a:lnTo>
                        <a:pt x="606615" y="138430"/>
                      </a:lnTo>
                      <a:lnTo>
                        <a:pt x="606806" y="137160"/>
                      </a:lnTo>
                      <a:lnTo>
                        <a:pt x="600075" y="137160"/>
                      </a:lnTo>
                      <a:lnTo>
                        <a:pt x="600138" y="139700"/>
                      </a:lnTo>
                      <a:lnTo>
                        <a:pt x="599986" y="140970"/>
                      </a:lnTo>
                      <a:lnTo>
                        <a:pt x="599440" y="140970"/>
                      </a:lnTo>
                      <a:lnTo>
                        <a:pt x="599173" y="142240"/>
                      </a:lnTo>
                      <a:lnTo>
                        <a:pt x="598779" y="142240"/>
                      </a:lnTo>
                      <a:lnTo>
                        <a:pt x="597941" y="143510"/>
                      </a:lnTo>
                      <a:lnTo>
                        <a:pt x="596671" y="143510"/>
                      </a:lnTo>
                      <a:lnTo>
                        <a:pt x="596480" y="144780"/>
                      </a:lnTo>
                      <a:lnTo>
                        <a:pt x="596315" y="144780"/>
                      </a:lnTo>
                      <a:lnTo>
                        <a:pt x="596392" y="146050"/>
                      </a:lnTo>
                      <a:lnTo>
                        <a:pt x="595274" y="146050"/>
                      </a:lnTo>
                      <a:lnTo>
                        <a:pt x="595147" y="147320"/>
                      </a:lnTo>
                      <a:lnTo>
                        <a:pt x="594893" y="147320"/>
                      </a:lnTo>
                      <a:lnTo>
                        <a:pt x="594741" y="148590"/>
                      </a:lnTo>
                      <a:lnTo>
                        <a:pt x="594385" y="148590"/>
                      </a:lnTo>
                      <a:lnTo>
                        <a:pt x="594423" y="151130"/>
                      </a:lnTo>
                      <a:lnTo>
                        <a:pt x="593547" y="151130"/>
                      </a:lnTo>
                      <a:lnTo>
                        <a:pt x="593547" y="152400"/>
                      </a:lnTo>
                      <a:lnTo>
                        <a:pt x="593356" y="152400"/>
                      </a:lnTo>
                      <a:lnTo>
                        <a:pt x="593280" y="153670"/>
                      </a:lnTo>
                      <a:lnTo>
                        <a:pt x="593153" y="153670"/>
                      </a:lnTo>
                      <a:lnTo>
                        <a:pt x="593115" y="154940"/>
                      </a:lnTo>
                      <a:lnTo>
                        <a:pt x="592670" y="154940"/>
                      </a:lnTo>
                      <a:lnTo>
                        <a:pt x="592467" y="156210"/>
                      </a:lnTo>
                      <a:lnTo>
                        <a:pt x="592061" y="157480"/>
                      </a:lnTo>
                      <a:lnTo>
                        <a:pt x="591934" y="157480"/>
                      </a:lnTo>
                      <a:lnTo>
                        <a:pt x="591807" y="158750"/>
                      </a:lnTo>
                      <a:lnTo>
                        <a:pt x="591604" y="158750"/>
                      </a:lnTo>
                      <a:lnTo>
                        <a:pt x="591261" y="160020"/>
                      </a:lnTo>
                      <a:lnTo>
                        <a:pt x="590791" y="161290"/>
                      </a:lnTo>
                      <a:lnTo>
                        <a:pt x="590842" y="162560"/>
                      </a:lnTo>
                      <a:lnTo>
                        <a:pt x="590346" y="162560"/>
                      </a:lnTo>
                      <a:lnTo>
                        <a:pt x="589991" y="163830"/>
                      </a:lnTo>
                      <a:lnTo>
                        <a:pt x="589495" y="163830"/>
                      </a:lnTo>
                      <a:lnTo>
                        <a:pt x="589495" y="165100"/>
                      </a:lnTo>
                      <a:lnTo>
                        <a:pt x="589788" y="165100"/>
                      </a:lnTo>
                      <a:lnTo>
                        <a:pt x="588987" y="166370"/>
                      </a:lnTo>
                      <a:lnTo>
                        <a:pt x="588606" y="166370"/>
                      </a:lnTo>
                      <a:lnTo>
                        <a:pt x="587959" y="168910"/>
                      </a:lnTo>
                      <a:lnTo>
                        <a:pt x="586371" y="170180"/>
                      </a:lnTo>
                      <a:lnTo>
                        <a:pt x="586257" y="171450"/>
                      </a:lnTo>
                      <a:lnTo>
                        <a:pt x="586333" y="172720"/>
                      </a:lnTo>
                      <a:lnTo>
                        <a:pt x="586105" y="172720"/>
                      </a:lnTo>
                      <a:lnTo>
                        <a:pt x="585876" y="171450"/>
                      </a:lnTo>
                      <a:lnTo>
                        <a:pt x="585292" y="171450"/>
                      </a:lnTo>
                      <a:lnTo>
                        <a:pt x="584466" y="172720"/>
                      </a:lnTo>
                      <a:lnTo>
                        <a:pt x="583463" y="173990"/>
                      </a:lnTo>
                      <a:lnTo>
                        <a:pt x="582637" y="173990"/>
                      </a:lnTo>
                      <a:lnTo>
                        <a:pt x="581977" y="175260"/>
                      </a:lnTo>
                      <a:lnTo>
                        <a:pt x="581012" y="175260"/>
                      </a:lnTo>
                      <a:lnTo>
                        <a:pt x="580783" y="176530"/>
                      </a:lnTo>
                      <a:lnTo>
                        <a:pt x="579196" y="176530"/>
                      </a:lnTo>
                      <a:lnTo>
                        <a:pt x="578078" y="177800"/>
                      </a:lnTo>
                      <a:lnTo>
                        <a:pt x="576402" y="177800"/>
                      </a:lnTo>
                      <a:lnTo>
                        <a:pt x="576033" y="179070"/>
                      </a:lnTo>
                      <a:lnTo>
                        <a:pt x="574421" y="179070"/>
                      </a:lnTo>
                      <a:lnTo>
                        <a:pt x="573570" y="180340"/>
                      </a:lnTo>
                      <a:lnTo>
                        <a:pt x="571639" y="180340"/>
                      </a:lnTo>
                      <a:lnTo>
                        <a:pt x="570331" y="181610"/>
                      </a:lnTo>
                      <a:lnTo>
                        <a:pt x="568579" y="181610"/>
                      </a:lnTo>
                      <a:lnTo>
                        <a:pt x="566978" y="182880"/>
                      </a:lnTo>
                      <a:lnTo>
                        <a:pt x="566750" y="182880"/>
                      </a:lnTo>
                      <a:lnTo>
                        <a:pt x="565442" y="181610"/>
                      </a:lnTo>
                      <a:lnTo>
                        <a:pt x="565619" y="182880"/>
                      </a:lnTo>
                      <a:lnTo>
                        <a:pt x="564896" y="184150"/>
                      </a:lnTo>
                      <a:lnTo>
                        <a:pt x="564629" y="185420"/>
                      </a:lnTo>
                      <a:lnTo>
                        <a:pt x="564273" y="185420"/>
                      </a:lnTo>
                      <a:lnTo>
                        <a:pt x="564159" y="186690"/>
                      </a:lnTo>
                      <a:lnTo>
                        <a:pt x="563054" y="186690"/>
                      </a:lnTo>
                      <a:lnTo>
                        <a:pt x="562584" y="187960"/>
                      </a:lnTo>
                      <a:lnTo>
                        <a:pt x="562000" y="189230"/>
                      </a:lnTo>
                      <a:lnTo>
                        <a:pt x="562292" y="190500"/>
                      </a:lnTo>
                      <a:lnTo>
                        <a:pt x="563359" y="190500"/>
                      </a:lnTo>
                      <a:lnTo>
                        <a:pt x="563473" y="189230"/>
                      </a:lnTo>
                      <a:lnTo>
                        <a:pt x="563778" y="187960"/>
                      </a:lnTo>
                      <a:lnTo>
                        <a:pt x="565238" y="187960"/>
                      </a:lnTo>
                      <a:lnTo>
                        <a:pt x="564857" y="189230"/>
                      </a:lnTo>
                      <a:lnTo>
                        <a:pt x="564578" y="190500"/>
                      </a:lnTo>
                      <a:lnTo>
                        <a:pt x="564311" y="190500"/>
                      </a:lnTo>
                      <a:lnTo>
                        <a:pt x="563460" y="191770"/>
                      </a:lnTo>
                      <a:lnTo>
                        <a:pt x="563181" y="191770"/>
                      </a:lnTo>
                      <a:lnTo>
                        <a:pt x="561962" y="193040"/>
                      </a:lnTo>
                      <a:lnTo>
                        <a:pt x="561733" y="193040"/>
                      </a:lnTo>
                      <a:lnTo>
                        <a:pt x="561695" y="194310"/>
                      </a:lnTo>
                      <a:lnTo>
                        <a:pt x="562241" y="194310"/>
                      </a:lnTo>
                      <a:lnTo>
                        <a:pt x="562394" y="195580"/>
                      </a:lnTo>
                      <a:lnTo>
                        <a:pt x="562622" y="195580"/>
                      </a:lnTo>
                      <a:lnTo>
                        <a:pt x="562737" y="196850"/>
                      </a:lnTo>
                      <a:lnTo>
                        <a:pt x="562927" y="195580"/>
                      </a:lnTo>
                      <a:lnTo>
                        <a:pt x="566940" y="195580"/>
                      </a:lnTo>
                      <a:lnTo>
                        <a:pt x="568185" y="194310"/>
                      </a:lnTo>
                      <a:lnTo>
                        <a:pt x="570255" y="194310"/>
                      </a:lnTo>
                      <a:lnTo>
                        <a:pt x="571271" y="195580"/>
                      </a:lnTo>
                      <a:lnTo>
                        <a:pt x="572477" y="195580"/>
                      </a:lnTo>
                      <a:lnTo>
                        <a:pt x="571842" y="198120"/>
                      </a:lnTo>
                      <a:lnTo>
                        <a:pt x="571411" y="198120"/>
                      </a:lnTo>
                      <a:lnTo>
                        <a:pt x="571004" y="199390"/>
                      </a:lnTo>
                      <a:lnTo>
                        <a:pt x="571169" y="199390"/>
                      </a:lnTo>
                      <a:lnTo>
                        <a:pt x="570750" y="200660"/>
                      </a:lnTo>
                      <a:lnTo>
                        <a:pt x="570598" y="200660"/>
                      </a:lnTo>
                      <a:lnTo>
                        <a:pt x="570280" y="201930"/>
                      </a:lnTo>
                      <a:lnTo>
                        <a:pt x="570636" y="201930"/>
                      </a:lnTo>
                      <a:lnTo>
                        <a:pt x="571017" y="203200"/>
                      </a:lnTo>
                      <a:lnTo>
                        <a:pt x="571144" y="203200"/>
                      </a:lnTo>
                      <a:lnTo>
                        <a:pt x="571068" y="204470"/>
                      </a:lnTo>
                      <a:lnTo>
                        <a:pt x="570750" y="204470"/>
                      </a:lnTo>
                      <a:lnTo>
                        <a:pt x="571080" y="205740"/>
                      </a:lnTo>
                      <a:lnTo>
                        <a:pt x="570280" y="204470"/>
                      </a:lnTo>
                      <a:lnTo>
                        <a:pt x="569823" y="207010"/>
                      </a:lnTo>
                      <a:lnTo>
                        <a:pt x="569455" y="207010"/>
                      </a:lnTo>
                      <a:lnTo>
                        <a:pt x="569506" y="208280"/>
                      </a:lnTo>
                      <a:lnTo>
                        <a:pt x="568744" y="209550"/>
                      </a:lnTo>
                      <a:lnTo>
                        <a:pt x="568642" y="210820"/>
                      </a:lnTo>
                      <a:lnTo>
                        <a:pt x="568947" y="210820"/>
                      </a:lnTo>
                      <a:lnTo>
                        <a:pt x="570788" y="212090"/>
                      </a:lnTo>
                      <a:lnTo>
                        <a:pt x="571258" y="212090"/>
                      </a:lnTo>
                      <a:lnTo>
                        <a:pt x="571639" y="213360"/>
                      </a:lnTo>
                      <a:lnTo>
                        <a:pt x="571131" y="214630"/>
                      </a:lnTo>
                      <a:lnTo>
                        <a:pt x="570890" y="215900"/>
                      </a:lnTo>
                      <a:lnTo>
                        <a:pt x="569645" y="215900"/>
                      </a:lnTo>
                      <a:lnTo>
                        <a:pt x="567817" y="217170"/>
                      </a:lnTo>
                      <a:lnTo>
                        <a:pt x="567918" y="215900"/>
                      </a:lnTo>
                      <a:lnTo>
                        <a:pt x="566661" y="214630"/>
                      </a:lnTo>
                      <a:lnTo>
                        <a:pt x="566013" y="214630"/>
                      </a:lnTo>
                      <a:lnTo>
                        <a:pt x="565696" y="215900"/>
                      </a:lnTo>
                      <a:lnTo>
                        <a:pt x="565200" y="215900"/>
                      </a:lnTo>
                      <a:lnTo>
                        <a:pt x="564743" y="219710"/>
                      </a:lnTo>
                      <a:lnTo>
                        <a:pt x="563295" y="220980"/>
                      </a:lnTo>
                      <a:lnTo>
                        <a:pt x="564083" y="226060"/>
                      </a:lnTo>
                      <a:lnTo>
                        <a:pt x="564273" y="227330"/>
                      </a:lnTo>
                      <a:lnTo>
                        <a:pt x="564972" y="227330"/>
                      </a:lnTo>
                      <a:lnTo>
                        <a:pt x="565124" y="224790"/>
                      </a:lnTo>
                      <a:lnTo>
                        <a:pt x="566597" y="224790"/>
                      </a:lnTo>
                      <a:lnTo>
                        <a:pt x="566788" y="223520"/>
                      </a:lnTo>
                      <a:lnTo>
                        <a:pt x="568718" y="223520"/>
                      </a:lnTo>
                      <a:lnTo>
                        <a:pt x="569417" y="224790"/>
                      </a:lnTo>
                      <a:lnTo>
                        <a:pt x="571334" y="224790"/>
                      </a:lnTo>
                      <a:lnTo>
                        <a:pt x="572350" y="226060"/>
                      </a:lnTo>
                      <a:lnTo>
                        <a:pt x="576351" y="226060"/>
                      </a:lnTo>
                      <a:lnTo>
                        <a:pt x="576503" y="227330"/>
                      </a:lnTo>
                      <a:lnTo>
                        <a:pt x="578078" y="227330"/>
                      </a:lnTo>
                      <a:lnTo>
                        <a:pt x="578243" y="228600"/>
                      </a:lnTo>
                      <a:lnTo>
                        <a:pt x="581901" y="228600"/>
                      </a:lnTo>
                      <a:lnTo>
                        <a:pt x="582549" y="227330"/>
                      </a:lnTo>
                      <a:lnTo>
                        <a:pt x="582752" y="227330"/>
                      </a:lnTo>
                      <a:lnTo>
                        <a:pt x="582866" y="228600"/>
                      </a:lnTo>
                      <a:lnTo>
                        <a:pt x="582904" y="229870"/>
                      </a:lnTo>
                      <a:lnTo>
                        <a:pt x="582828" y="231140"/>
                      </a:lnTo>
                      <a:lnTo>
                        <a:pt x="582676" y="232410"/>
                      </a:lnTo>
                      <a:lnTo>
                        <a:pt x="581939" y="232410"/>
                      </a:lnTo>
                      <a:lnTo>
                        <a:pt x="581863" y="233680"/>
                      </a:lnTo>
                      <a:lnTo>
                        <a:pt x="582129" y="233680"/>
                      </a:lnTo>
                      <a:lnTo>
                        <a:pt x="582282" y="234950"/>
                      </a:lnTo>
                      <a:lnTo>
                        <a:pt x="582879" y="234950"/>
                      </a:lnTo>
                      <a:lnTo>
                        <a:pt x="583946" y="236220"/>
                      </a:lnTo>
                      <a:lnTo>
                        <a:pt x="584746" y="237490"/>
                      </a:lnTo>
                      <a:lnTo>
                        <a:pt x="586041" y="238760"/>
                      </a:lnTo>
                      <a:lnTo>
                        <a:pt x="586625" y="238760"/>
                      </a:lnTo>
                      <a:lnTo>
                        <a:pt x="587603" y="241300"/>
                      </a:lnTo>
                      <a:lnTo>
                        <a:pt x="588073" y="241300"/>
                      </a:lnTo>
                      <a:lnTo>
                        <a:pt x="588949" y="242570"/>
                      </a:lnTo>
                      <a:lnTo>
                        <a:pt x="590003" y="242570"/>
                      </a:lnTo>
                      <a:lnTo>
                        <a:pt x="590753" y="243840"/>
                      </a:lnTo>
                      <a:lnTo>
                        <a:pt x="593610" y="243840"/>
                      </a:lnTo>
                      <a:lnTo>
                        <a:pt x="593712" y="242570"/>
                      </a:lnTo>
                      <a:lnTo>
                        <a:pt x="598601" y="242570"/>
                      </a:lnTo>
                      <a:lnTo>
                        <a:pt x="597852" y="243027"/>
                      </a:lnTo>
                      <a:lnTo>
                        <a:pt x="595426" y="243840"/>
                      </a:lnTo>
                      <a:lnTo>
                        <a:pt x="596900" y="245110"/>
                      </a:lnTo>
                      <a:lnTo>
                        <a:pt x="596163" y="246380"/>
                      </a:lnTo>
                      <a:lnTo>
                        <a:pt x="595858" y="246380"/>
                      </a:lnTo>
                      <a:lnTo>
                        <a:pt x="595896" y="247650"/>
                      </a:lnTo>
                      <a:lnTo>
                        <a:pt x="595591" y="247650"/>
                      </a:lnTo>
                      <a:lnTo>
                        <a:pt x="595325" y="248920"/>
                      </a:lnTo>
                      <a:lnTo>
                        <a:pt x="594601" y="250190"/>
                      </a:lnTo>
                      <a:lnTo>
                        <a:pt x="594042" y="251460"/>
                      </a:lnTo>
                      <a:lnTo>
                        <a:pt x="593890" y="251460"/>
                      </a:lnTo>
                      <a:lnTo>
                        <a:pt x="592620" y="254000"/>
                      </a:lnTo>
                      <a:lnTo>
                        <a:pt x="592366" y="254000"/>
                      </a:lnTo>
                      <a:lnTo>
                        <a:pt x="591007" y="255270"/>
                      </a:lnTo>
                      <a:lnTo>
                        <a:pt x="590537" y="255270"/>
                      </a:lnTo>
                      <a:lnTo>
                        <a:pt x="590384" y="256540"/>
                      </a:lnTo>
                      <a:lnTo>
                        <a:pt x="590499" y="257810"/>
                      </a:lnTo>
                      <a:lnTo>
                        <a:pt x="589762" y="257810"/>
                      </a:lnTo>
                      <a:lnTo>
                        <a:pt x="589102" y="259080"/>
                      </a:lnTo>
                      <a:lnTo>
                        <a:pt x="588454" y="259080"/>
                      </a:lnTo>
                      <a:lnTo>
                        <a:pt x="588111" y="260350"/>
                      </a:lnTo>
                      <a:lnTo>
                        <a:pt x="586752" y="260350"/>
                      </a:lnTo>
                      <a:lnTo>
                        <a:pt x="568794" y="245110"/>
                      </a:lnTo>
                      <a:lnTo>
                        <a:pt x="567270" y="245110"/>
                      </a:lnTo>
                      <a:lnTo>
                        <a:pt x="566089" y="243840"/>
                      </a:lnTo>
                      <a:lnTo>
                        <a:pt x="561657" y="243840"/>
                      </a:lnTo>
                      <a:lnTo>
                        <a:pt x="559803" y="242570"/>
                      </a:lnTo>
                      <a:lnTo>
                        <a:pt x="557225" y="242570"/>
                      </a:lnTo>
                      <a:lnTo>
                        <a:pt x="551751" y="240030"/>
                      </a:lnTo>
                      <a:lnTo>
                        <a:pt x="550087" y="238760"/>
                      </a:lnTo>
                      <a:lnTo>
                        <a:pt x="550392" y="237490"/>
                      </a:lnTo>
                      <a:lnTo>
                        <a:pt x="548347" y="237490"/>
                      </a:lnTo>
                      <a:lnTo>
                        <a:pt x="539064" y="234950"/>
                      </a:lnTo>
                      <a:lnTo>
                        <a:pt x="538911" y="234950"/>
                      </a:lnTo>
                      <a:lnTo>
                        <a:pt x="537286" y="236220"/>
                      </a:lnTo>
                      <a:lnTo>
                        <a:pt x="537095" y="236220"/>
                      </a:lnTo>
                      <a:lnTo>
                        <a:pt x="536244" y="237490"/>
                      </a:lnTo>
                      <a:lnTo>
                        <a:pt x="536092" y="237490"/>
                      </a:lnTo>
                      <a:lnTo>
                        <a:pt x="535762" y="236220"/>
                      </a:lnTo>
                      <a:lnTo>
                        <a:pt x="535432" y="234950"/>
                      </a:lnTo>
                      <a:lnTo>
                        <a:pt x="536638" y="233680"/>
                      </a:lnTo>
                      <a:lnTo>
                        <a:pt x="538441" y="234950"/>
                      </a:lnTo>
                      <a:lnTo>
                        <a:pt x="538518" y="233680"/>
                      </a:lnTo>
                      <a:lnTo>
                        <a:pt x="535749" y="232410"/>
                      </a:lnTo>
                      <a:lnTo>
                        <a:pt x="532739" y="231140"/>
                      </a:lnTo>
                      <a:lnTo>
                        <a:pt x="530504" y="229870"/>
                      </a:lnTo>
                      <a:lnTo>
                        <a:pt x="520052" y="224790"/>
                      </a:lnTo>
                      <a:lnTo>
                        <a:pt x="512000" y="223520"/>
                      </a:lnTo>
                      <a:lnTo>
                        <a:pt x="486156" y="220980"/>
                      </a:lnTo>
                      <a:lnTo>
                        <a:pt x="483463" y="219710"/>
                      </a:lnTo>
                      <a:lnTo>
                        <a:pt x="479247" y="220980"/>
                      </a:lnTo>
                      <a:lnTo>
                        <a:pt x="476364" y="223520"/>
                      </a:lnTo>
                      <a:lnTo>
                        <a:pt x="471741" y="224790"/>
                      </a:lnTo>
                      <a:lnTo>
                        <a:pt x="468693" y="223520"/>
                      </a:lnTo>
                      <a:lnTo>
                        <a:pt x="470585" y="228600"/>
                      </a:lnTo>
                      <a:lnTo>
                        <a:pt x="471424" y="229870"/>
                      </a:lnTo>
                      <a:lnTo>
                        <a:pt x="473824" y="232410"/>
                      </a:lnTo>
                      <a:lnTo>
                        <a:pt x="475170" y="233680"/>
                      </a:lnTo>
                      <a:lnTo>
                        <a:pt x="475513" y="234950"/>
                      </a:lnTo>
                      <a:lnTo>
                        <a:pt x="475869" y="241300"/>
                      </a:lnTo>
                      <a:lnTo>
                        <a:pt x="477558" y="238760"/>
                      </a:lnTo>
                      <a:lnTo>
                        <a:pt x="478904" y="236220"/>
                      </a:lnTo>
                      <a:lnTo>
                        <a:pt x="479945" y="238760"/>
                      </a:lnTo>
                      <a:lnTo>
                        <a:pt x="480212" y="240030"/>
                      </a:lnTo>
                      <a:lnTo>
                        <a:pt x="480568" y="241300"/>
                      </a:lnTo>
                      <a:lnTo>
                        <a:pt x="480606" y="242570"/>
                      </a:lnTo>
                      <a:lnTo>
                        <a:pt x="475983" y="246380"/>
                      </a:lnTo>
                      <a:lnTo>
                        <a:pt x="470890" y="247650"/>
                      </a:lnTo>
                      <a:lnTo>
                        <a:pt x="467055" y="248920"/>
                      </a:lnTo>
                      <a:lnTo>
                        <a:pt x="466915" y="248920"/>
                      </a:lnTo>
                      <a:lnTo>
                        <a:pt x="466344" y="250190"/>
                      </a:lnTo>
                      <a:lnTo>
                        <a:pt x="465226" y="251460"/>
                      </a:lnTo>
                      <a:lnTo>
                        <a:pt x="465378" y="252730"/>
                      </a:lnTo>
                      <a:lnTo>
                        <a:pt x="466115" y="252730"/>
                      </a:lnTo>
                      <a:lnTo>
                        <a:pt x="466229" y="254000"/>
                      </a:lnTo>
                      <a:lnTo>
                        <a:pt x="466458" y="255270"/>
                      </a:lnTo>
                      <a:lnTo>
                        <a:pt x="465683" y="256540"/>
                      </a:lnTo>
                      <a:lnTo>
                        <a:pt x="462102" y="259080"/>
                      </a:lnTo>
                      <a:lnTo>
                        <a:pt x="458470" y="256540"/>
                      </a:lnTo>
                      <a:lnTo>
                        <a:pt x="452501" y="255270"/>
                      </a:lnTo>
                      <a:lnTo>
                        <a:pt x="454431" y="255270"/>
                      </a:lnTo>
                      <a:lnTo>
                        <a:pt x="454266" y="252730"/>
                      </a:lnTo>
                      <a:lnTo>
                        <a:pt x="453428" y="251460"/>
                      </a:lnTo>
                      <a:lnTo>
                        <a:pt x="454507" y="248920"/>
                      </a:lnTo>
                      <a:lnTo>
                        <a:pt x="459054" y="248920"/>
                      </a:lnTo>
                      <a:lnTo>
                        <a:pt x="458431" y="247650"/>
                      </a:lnTo>
                      <a:lnTo>
                        <a:pt x="458203" y="246380"/>
                      </a:lnTo>
                      <a:lnTo>
                        <a:pt x="455625" y="245110"/>
                      </a:lnTo>
                      <a:lnTo>
                        <a:pt x="453618" y="243840"/>
                      </a:lnTo>
                      <a:lnTo>
                        <a:pt x="452653" y="243840"/>
                      </a:lnTo>
                      <a:lnTo>
                        <a:pt x="451180" y="242570"/>
                      </a:lnTo>
                      <a:lnTo>
                        <a:pt x="454152" y="242570"/>
                      </a:lnTo>
                      <a:lnTo>
                        <a:pt x="455549" y="241300"/>
                      </a:lnTo>
                      <a:lnTo>
                        <a:pt x="450608" y="241300"/>
                      </a:lnTo>
                      <a:lnTo>
                        <a:pt x="446214" y="242570"/>
                      </a:lnTo>
                      <a:lnTo>
                        <a:pt x="442582" y="246380"/>
                      </a:lnTo>
                      <a:lnTo>
                        <a:pt x="444360" y="246380"/>
                      </a:lnTo>
                      <a:lnTo>
                        <a:pt x="444474" y="247650"/>
                      </a:lnTo>
                      <a:lnTo>
                        <a:pt x="443433" y="247650"/>
                      </a:lnTo>
                      <a:lnTo>
                        <a:pt x="441782" y="246380"/>
                      </a:lnTo>
                      <a:lnTo>
                        <a:pt x="441198" y="245110"/>
                      </a:lnTo>
                      <a:lnTo>
                        <a:pt x="440740" y="245110"/>
                      </a:lnTo>
                      <a:lnTo>
                        <a:pt x="442937" y="243840"/>
                      </a:lnTo>
                      <a:lnTo>
                        <a:pt x="437108" y="246380"/>
                      </a:lnTo>
                      <a:lnTo>
                        <a:pt x="432638" y="247650"/>
                      </a:lnTo>
                      <a:lnTo>
                        <a:pt x="429285" y="251460"/>
                      </a:lnTo>
                      <a:lnTo>
                        <a:pt x="430212" y="251460"/>
                      </a:lnTo>
                      <a:lnTo>
                        <a:pt x="426542" y="252730"/>
                      </a:lnTo>
                      <a:lnTo>
                        <a:pt x="424230" y="251460"/>
                      </a:lnTo>
                      <a:lnTo>
                        <a:pt x="419569" y="251460"/>
                      </a:lnTo>
                      <a:lnTo>
                        <a:pt x="418211" y="250190"/>
                      </a:lnTo>
                      <a:lnTo>
                        <a:pt x="413016" y="251460"/>
                      </a:lnTo>
                      <a:lnTo>
                        <a:pt x="412127" y="250190"/>
                      </a:lnTo>
                      <a:lnTo>
                        <a:pt x="407847" y="248920"/>
                      </a:lnTo>
                      <a:lnTo>
                        <a:pt x="403301" y="254000"/>
                      </a:lnTo>
                      <a:lnTo>
                        <a:pt x="397205" y="257810"/>
                      </a:lnTo>
                      <a:lnTo>
                        <a:pt x="395084" y="259080"/>
                      </a:lnTo>
                      <a:lnTo>
                        <a:pt x="394042" y="259080"/>
                      </a:lnTo>
                      <a:lnTo>
                        <a:pt x="394741" y="260350"/>
                      </a:lnTo>
                      <a:lnTo>
                        <a:pt x="392950" y="261607"/>
                      </a:lnTo>
                      <a:lnTo>
                        <a:pt x="391337" y="260350"/>
                      </a:lnTo>
                      <a:lnTo>
                        <a:pt x="389851" y="259080"/>
                      </a:lnTo>
                      <a:lnTo>
                        <a:pt x="388886" y="257810"/>
                      </a:lnTo>
                      <a:lnTo>
                        <a:pt x="384898" y="260350"/>
                      </a:lnTo>
                      <a:lnTo>
                        <a:pt x="383755" y="261620"/>
                      </a:lnTo>
                      <a:lnTo>
                        <a:pt x="383832" y="259080"/>
                      </a:lnTo>
                      <a:lnTo>
                        <a:pt x="381431" y="260350"/>
                      </a:lnTo>
                      <a:lnTo>
                        <a:pt x="381698" y="261620"/>
                      </a:lnTo>
                      <a:lnTo>
                        <a:pt x="376809" y="259080"/>
                      </a:lnTo>
                      <a:lnTo>
                        <a:pt x="373799" y="259080"/>
                      </a:lnTo>
                      <a:lnTo>
                        <a:pt x="372071" y="257810"/>
                      </a:lnTo>
                      <a:lnTo>
                        <a:pt x="373303" y="256540"/>
                      </a:lnTo>
                      <a:lnTo>
                        <a:pt x="374688" y="257810"/>
                      </a:lnTo>
                      <a:lnTo>
                        <a:pt x="375920" y="256540"/>
                      </a:lnTo>
                      <a:lnTo>
                        <a:pt x="375069" y="256540"/>
                      </a:lnTo>
                      <a:lnTo>
                        <a:pt x="376466" y="255270"/>
                      </a:lnTo>
                      <a:lnTo>
                        <a:pt x="378536" y="256540"/>
                      </a:lnTo>
                      <a:lnTo>
                        <a:pt x="380161" y="256540"/>
                      </a:lnTo>
                      <a:lnTo>
                        <a:pt x="379920" y="255270"/>
                      </a:lnTo>
                      <a:lnTo>
                        <a:pt x="379666" y="254000"/>
                      </a:lnTo>
                      <a:lnTo>
                        <a:pt x="376466" y="250190"/>
                      </a:lnTo>
                      <a:lnTo>
                        <a:pt x="377812" y="250190"/>
                      </a:lnTo>
                      <a:lnTo>
                        <a:pt x="379272" y="246380"/>
                      </a:lnTo>
                      <a:lnTo>
                        <a:pt x="380047" y="246380"/>
                      </a:lnTo>
                      <a:lnTo>
                        <a:pt x="380936" y="245110"/>
                      </a:lnTo>
                      <a:lnTo>
                        <a:pt x="381863" y="245110"/>
                      </a:lnTo>
                      <a:lnTo>
                        <a:pt x="379272" y="243840"/>
                      </a:lnTo>
                      <a:lnTo>
                        <a:pt x="375386" y="243840"/>
                      </a:lnTo>
                      <a:lnTo>
                        <a:pt x="377228" y="242570"/>
                      </a:lnTo>
                      <a:lnTo>
                        <a:pt x="372376" y="243840"/>
                      </a:lnTo>
                      <a:lnTo>
                        <a:pt x="368515" y="245110"/>
                      </a:lnTo>
                      <a:lnTo>
                        <a:pt x="364045" y="247650"/>
                      </a:lnTo>
                      <a:lnTo>
                        <a:pt x="362470" y="247650"/>
                      </a:lnTo>
                      <a:lnTo>
                        <a:pt x="360959" y="248920"/>
                      </a:lnTo>
                      <a:lnTo>
                        <a:pt x="358025" y="250190"/>
                      </a:lnTo>
                      <a:lnTo>
                        <a:pt x="355333" y="250190"/>
                      </a:lnTo>
                      <a:lnTo>
                        <a:pt x="358381" y="251460"/>
                      </a:lnTo>
                      <a:lnTo>
                        <a:pt x="359194" y="251460"/>
                      </a:lnTo>
                      <a:lnTo>
                        <a:pt x="360299" y="252730"/>
                      </a:lnTo>
                      <a:lnTo>
                        <a:pt x="361162" y="252730"/>
                      </a:lnTo>
                      <a:lnTo>
                        <a:pt x="362661" y="254000"/>
                      </a:lnTo>
                      <a:lnTo>
                        <a:pt x="363575" y="254000"/>
                      </a:lnTo>
                      <a:lnTo>
                        <a:pt x="360845" y="256540"/>
                      </a:lnTo>
                      <a:lnTo>
                        <a:pt x="358457" y="257810"/>
                      </a:lnTo>
                      <a:lnTo>
                        <a:pt x="356184" y="257810"/>
                      </a:lnTo>
                      <a:lnTo>
                        <a:pt x="356527" y="256540"/>
                      </a:lnTo>
                      <a:lnTo>
                        <a:pt x="356717" y="255270"/>
                      </a:lnTo>
                      <a:lnTo>
                        <a:pt x="356374" y="254000"/>
                      </a:lnTo>
                      <a:lnTo>
                        <a:pt x="353707" y="254000"/>
                      </a:lnTo>
                      <a:lnTo>
                        <a:pt x="354520" y="252730"/>
                      </a:lnTo>
                      <a:lnTo>
                        <a:pt x="355142" y="252730"/>
                      </a:lnTo>
                      <a:lnTo>
                        <a:pt x="355447" y="251460"/>
                      </a:lnTo>
                      <a:lnTo>
                        <a:pt x="352793" y="252730"/>
                      </a:lnTo>
                      <a:lnTo>
                        <a:pt x="347738" y="252730"/>
                      </a:lnTo>
                      <a:lnTo>
                        <a:pt x="345579" y="255270"/>
                      </a:lnTo>
                      <a:lnTo>
                        <a:pt x="345389" y="255270"/>
                      </a:lnTo>
                      <a:lnTo>
                        <a:pt x="344119" y="256540"/>
                      </a:lnTo>
                      <a:lnTo>
                        <a:pt x="342798" y="256540"/>
                      </a:lnTo>
                      <a:lnTo>
                        <a:pt x="338632" y="257810"/>
                      </a:lnTo>
                      <a:lnTo>
                        <a:pt x="334276" y="257810"/>
                      </a:lnTo>
                      <a:lnTo>
                        <a:pt x="333463" y="259080"/>
                      </a:lnTo>
                      <a:lnTo>
                        <a:pt x="329692" y="260350"/>
                      </a:lnTo>
                      <a:lnTo>
                        <a:pt x="327914" y="261620"/>
                      </a:lnTo>
                      <a:lnTo>
                        <a:pt x="326339" y="262890"/>
                      </a:lnTo>
                      <a:lnTo>
                        <a:pt x="324827" y="262890"/>
                      </a:lnTo>
                      <a:lnTo>
                        <a:pt x="324294" y="264160"/>
                      </a:lnTo>
                      <a:lnTo>
                        <a:pt x="321208" y="266700"/>
                      </a:lnTo>
                      <a:lnTo>
                        <a:pt x="319544" y="266700"/>
                      </a:lnTo>
                      <a:lnTo>
                        <a:pt x="316433" y="267970"/>
                      </a:lnTo>
                      <a:lnTo>
                        <a:pt x="314883" y="267970"/>
                      </a:lnTo>
                      <a:lnTo>
                        <a:pt x="312102" y="269240"/>
                      </a:lnTo>
                      <a:lnTo>
                        <a:pt x="309105" y="269240"/>
                      </a:lnTo>
                      <a:lnTo>
                        <a:pt x="307860" y="270510"/>
                      </a:lnTo>
                      <a:lnTo>
                        <a:pt x="307098" y="270510"/>
                      </a:lnTo>
                      <a:lnTo>
                        <a:pt x="305866" y="273050"/>
                      </a:lnTo>
                      <a:lnTo>
                        <a:pt x="309372" y="273050"/>
                      </a:lnTo>
                      <a:lnTo>
                        <a:pt x="310184" y="274320"/>
                      </a:lnTo>
                      <a:lnTo>
                        <a:pt x="310870" y="275590"/>
                      </a:lnTo>
                      <a:lnTo>
                        <a:pt x="307136" y="275590"/>
                      </a:lnTo>
                      <a:lnTo>
                        <a:pt x="303314" y="274320"/>
                      </a:lnTo>
                      <a:lnTo>
                        <a:pt x="298030" y="274320"/>
                      </a:lnTo>
                      <a:lnTo>
                        <a:pt x="298157" y="275590"/>
                      </a:lnTo>
                      <a:lnTo>
                        <a:pt x="292976" y="275590"/>
                      </a:lnTo>
                      <a:lnTo>
                        <a:pt x="292646" y="276860"/>
                      </a:lnTo>
                      <a:lnTo>
                        <a:pt x="292023" y="276860"/>
                      </a:lnTo>
                      <a:lnTo>
                        <a:pt x="294259" y="278130"/>
                      </a:lnTo>
                      <a:lnTo>
                        <a:pt x="294563" y="280670"/>
                      </a:lnTo>
                      <a:lnTo>
                        <a:pt x="292366" y="281940"/>
                      </a:lnTo>
                      <a:lnTo>
                        <a:pt x="291782" y="283210"/>
                      </a:lnTo>
                      <a:lnTo>
                        <a:pt x="291985" y="284480"/>
                      </a:lnTo>
                      <a:lnTo>
                        <a:pt x="291592" y="285750"/>
                      </a:lnTo>
                      <a:lnTo>
                        <a:pt x="291134" y="285750"/>
                      </a:lnTo>
                      <a:lnTo>
                        <a:pt x="291249" y="288290"/>
                      </a:lnTo>
                      <a:lnTo>
                        <a:pt x="291934" y="289560"/>
                      </a:lnTo>
                      <a:lnTo>
                        <a:pt x="291096" y="290830"/>
                      </a:lnTo>
                      <a:lnTo>
                        <a:pt x="290664" y="290830"/>
                      </a:lnTo>
                      <a:lnTo>
                        <a:pt x="289826" y="292100"/>
                      </a:lnTo>
                      <a:lnTo>
                        <a:pt x="289318" y="292100"/>
                      </a:lnTo>
                      <a:lnTo>
                        <a:pt x="288594" y="293370"/>
                      </a:lnTo>
                      <a:lnTo>
                        <a:pt x="282765" y="293370"/>
                      </a:lnTo>
                      <a:lnTo>
                        <a:pt x="278790" y="294640"/>
                      </a:lnTo>
                      <a:lnTo>
                        <a:pt x="274510" y="294640"/>
                      </a:lnTo>
                      <a:lnTo>
                        <a:pt x="273862" y="295910"/>
                      </a:lnTo>
                      <a:lnTo>
                        <a:pt x="272427" y="295910"/>
                      </a:lnTo>
                      <a:lnTo>
                        <a:pt x="274129" y="294640"/>
                      </a:lnTo>
                      <a:lnTo>
                        <a:pt x="276517" y="293370"/>
                      </a:lnTo>
                      <a:lnTo>
                        <a:pt x="271119" y="294640"/>
                      </a:lnTo>
                      <a:lnTo>
                        <a:pt x="264883" y="294640"/>
                      </a:lnTo>
                      <a:lnTo>
                        <a:pt x="263334" y="292100"/>
                      </a:lnTo>
                      <a:lnTo>
                        <a:pt x="260172" y="287020"/>
                      </a:lnTo>
                      <a:lnTo>
                        <a:pt x="257695" y="285750"/>
                      </a:lnTo>
                      <a:lnTo>
                        <a:pt x="252349" y="283210"/>
                      </a:lnTo>
                      <a:lnTo>
                        <a:pt x="250456" y="281940"/>
                      </a:lnTo>
                      <a:lnTo>
                        <a:pt x="251536" y="279400"/>
                      </a:lnTo>
                      <a:lnTo>
                        <a:pt x="252107" y="278130"/>
                      </a:lnTo>
                      <a:lnTo>
                        <a:pt x="253771" y="276860"/>
                      </a:lnTo>
                      <a:lnTo>
                        <a:pt x="256540" y="275590"/>
                      </a:lnTo>
                      <a:lnTo>
                        <a:pt x="257937" y="275590"/>
                      </a:lnTo>
                      <a:lnTo>
                        <a:pt x="256540" y="271780"/>
                      </a:lnTo>
                      <a:lnTo>
                        <a:pt x="267220" y="271780"/>
                      </a:lnTo>
                      <a:lnTo>
                        <a:pt x="271424" y="270510"/>
                      </a:lnTo>
                      <a:lnTo>
                        <a:pt x="274358" y="270510"/>
                      </a:lnTo>
                      <a:lnTo>
                        <a:pt x="276136" y="271780"/>
                      </a:lnTo>
                      <a:lnTo>
                        <a:pt x="276961" y="270510"/>
                      </a:lnTo>
                      <a:lnTo>
                        <a:pt x="277787" y="269240"/>
                      </a:lnTo>
                      <a:lnTo>
                        <a:pt x="241046" y="269240"/>
                      </a:lnTo>
                      <a:lnTo>
                        <a:pt x="239229" y="269240"/>
                      </a:lnTo>
                      <a:lnTo>
                        <a:pt x="238506" y="270510"/>
                      </a:lnTo>
                      <a:lnTo>
                        <a:pt x="238887" y="273050"/>
                      </a:lnTo>
                      <a:lnTo>
                        <a:pt x="237578" y="276860"/>
                      </a:lnTo>
                      <a:lnTo>
                        <a:pt x="234149" y="280670"/>
                      </a:lnTo>
                      <a:lnTo>
                        <a:pt x="234683" y="284480"/>
                      </a:lnTo>
                      <a:lnTo>
                        <a:pt x="237426" y="285750"/>
                      </a:lnTo>
                      <a:lnTo>
                        <a:pt x="239001" y="285750"/>
                      </a:lnTo>
                      <a:lnTo>
                        <a:pt x="240284" y="287020"/>
                      </a:lnTo>
                      <a:lnTo>
                        <a:pt x="240817" y="287020"/>
                      </a:lnTo>
                      <a:lnTo>
                        <a:pt x="242785" y="288290"/>
                      </a:lnTo>
                      <a:lnTo>
                        <a:pt x="243090" y="287020"/>
                      </a:lnTo>
                      <a:lnTo>
                        <a:pt x="244132" y="290830"/>
                      </a:lnTo>
                      <a:lnTo>
                        <a:pt x="244792" y="290830"/>
                      </a:lnTo>
                      <a:lnTo>
                        <a:pt x="245630" y="294640"/>
                      </a:lnTo>
                      <a:lnTo>
                        <a:pt x="246329" y="298450"/>
                      </a:lnTo>
                      <a:lnTo>
                        <a:pt x="242697" y="302260"/>
                      </a:lnTo>
                      <a:lnTo>
                        <a:pt x="237921" y="307340"/>
                      </a:lnTo>
                      <a:lnTo>
                        <a:pt x="239306" y="311150"/>
                      </a:lnTo>
                      <a:lnTo>
                        <a:pt x="239471" y="312420"/>
                      </a:lnTo>
                      <a:lnTo>
                        <a:pt x="240080" y="312420"/>
                      </a:lnTo>
                      <a:lnTo>
                        <a:pt x="240245" y="313690"/>
                      </a:lnTo>
                      <a:lnTo>
                        <a:pt x="239509" y="313690"/>
                      </a:lnTo>
                      <a:lnTo>
                        <a:pt x="239699" y="314960"/>
                      </a:lnTo>
                      <a:lnTo>
                        <a:pt x="240779" y="316230"/>
                      </a:lnTo>
                      <a:lnTo>
                        <a:pt x="240538" y="317500"/>
                      </a:lnTo>
                      <a:lnTo>
                        <a:pt x="239890" y="316230"/>
                      </a:lnTo>
                      <a:lnTo>
                        <a:pt x="238582" y="314960"/>
                      </a:lnTo>
                      <a:lnTo>
                        <a:pt x="238074" y="313690"/>
                      </a:lnTo>
                      <a:lnTo>
                        <a:pt x="238658" y="313690"/>
                      </a:lnTo>
                      <a:lnTo>
                        <a:pt x="237998" y="312420"/>
                      </a:lnTo>
                      <a:lnTo>
                        <a:pt x="236156" y="308610"/>
                      </a:lnTo>
                      <a:lnTo>
                        <a:pt x="232486" y="311150"/>
                      </a:lnTo>
                      <a:lnTo>
                        <a:pt x="230327" y="313690"/>
                      </a:lnTo>
                      <a:lnTo>
                        <a:pt x="231254" y="313690"/>
                      </a:lnTo>
                      <a:lnTo>
                        <a:pt x="231025" y="314960"/>
                      </a:lnTo>
                      <a:lnTo>
                        <a:pt x="230479" y="314960"/>
                      </a:lnTo>
                      <a:lnTo>
                        <a:pt x="227787" y="312420"/>
                      </a:lnTo>
                      <a:lnTo>
                        <a:pt x="229285" y="311150"/>
                      </a:lnTo>
                      <a:lnTo>
                        <a:pt x="230289" y="311150"/>
                      </a:lnTo>
                      <a:lnTo>
                        <a:pt x="233413" y="309880"/>
                      </a:lnTo>
                      <a:lnTo>
                        <a:pt x="233794" y="307340"/>
                      </a:lnTo>
                      <a:lnTo>
                        <a:pt x="230860" y="307340"/>
                      </a:lnTo>
                      <a:lnTo>
                        <a:pt x="230022" y="306070"/>
                      </a:lnTo>
                      <a:lnTo>
                        <a:pt x="228511" y="306070"/>
                      </a:lnTo>
                      <a:lnTo>
                        <a:pt x="228676" y="304800"/>
                      </a:lnTo>
                      <a:lnTo>
                        <a:pt x="227279" y="303530"/>
                      </a:lnTo>
                      <a:lnTo>
                        <a:pt x="226428" y="304800"/>
                      </a:lnTo>
                      <a:lnTo>
                        <a:pt x="224853" y="303530"/>
                      </a:lnTo>
                      <a:lnTo>
                        <a:pt x="219303" y="303530"/>
                      </a:lnTo>
                      <a:lnTo>
                        <a:pt x="215366" y="302260"/>
                      </a:lnTo>
                      <a:lnTo>
                        <a:pt x="213398" y="300990"/>
                      </a:lnTo>
                      <a:lnTo>
                        <a:pt x="209854" y="303530"/>
                      </a:lnTo>
                      <a:lnTo>
                        <a:pt x="207695" y="307340"/>
                      </a:lnTo>
                      <a:lnTo>
                        <a:pt x="203377" y="311150"/>
                      </a:lnTo>
                      <a:lnTo>
                        <a:pt x="201447" y="311150"/>
                      </a:lnTo>
                      <a:lnTo>
                        <a:pt x="194538" y="313690"/>
                      </a:lnTo>
                      <a:lnTo>
                        <a:pt x="190881" y="314960"/>
                      </a:lnTo>
                      <a:lnTo>
                        <a:pt x="184518" y="320040"/>
                      </a:lnTo>
                      <a:lnTo>
                        <a:pt x="181089" y="321310"/>
                      </a:lnTo>
                      <a:lnTo>
                        <a:pt x="173342" y="327660"/>
                      </a:lnTo>
                      <a:lnTo>
                        <a:pt x="180352" y="332740"/>
                      </a:lnTo>
                      <a:lnTo>
                        <a:pt x="185216" y="337820"/>
                      </a:lnTo>
                      <a:lnTo>
                        <a:pt x="186105" y="340360"/>
                      </a:lnTo>
                      <a:lnTo>
                        <a:pt x="186944" y="342900"/>
                      </a:lnTo>
                      <a:lnTo>
                        <a:pt x="187058" y="344170"/>
                      </a:lnTo>
                      <a:lnTo>
                        <a:pt x="188455" y="347980"/>
                      </a:lnTo>
                      <a:lnTo>
                        <a:pt x="177038" y="346710"/>
                      </a:lnTo>
                      <a:lnTo>
                        <a:pt x="154190" y="344170"/>
                      </a:lnTo>
                      <a:lnTo>
                        <a:pt x="154736" y="345440"/>
                      </a:lnTo>
                      <a:lnTo>
                        <a:pt x="152971" y="346710"/>
                      </a:lnTo>
                      <a:lnTo>
                        <a:pt x="151815" y="345440"/>
                      </a:lnTo>
                      <a:lnTo>
                        <a:pt x="153047" y="342900"/>
                      </a:lnTo>
                      <a:lnTo>
                        <a:pt x="156578" y="341630"/>
                      </a:lnTo>
                      <a:lnTo>
                        <a:pt x="157505" y="342900"/>
                      </a:lnTo>
                      <a:lnTo>
                        <a:pt x="157480" y="341630"/>
                      </a:lnTo>
                      <a:lnTo>
                        <a:pt x="157797" y="341630"/>
                      </a:lnTo>
                      <a:lnTo>
                        <a:pt x="156184" y="340360"/>
                      </a:lnTo>
                      <a:lnTo>
                        <a:pt x="154571" y="339090"/>
                      </a:lnTo>
                      <a:lnTo>
                        <a:pt x="150723" y="337820"/>
                      </a:lnTo>
                      <a:lnTo>
                        <a:pt x="145275" y="335280"/>
                      </a:lnTo>
                      <a:lnTo>
                        <a:pt x="143370" y="334010"/>
                      </a:lnTo>
                      <a:lnTo>
                        <a:pt x="140042" y="334010"/>
                      </a:lnTo>
                      <a:lnTo>
                        <a:pt x="139242" y="332740"/>
                      </a:lnTo>
                      <a:lnTo>
                        <a:pt x="135229" y="332740"/>
                      </a:lnTo>
                      <a:lnTo>
                        <a:pt x="135343" y="337820"/>
                      </a:lnTo>
                      <a:lnTo>
                        <a:pt x="133489" y="339090"/>
                      </a:lnTo>
                      <a:lnTo>
                        <a:pt x="131483" y="340360"/>
                      </a:lnTo>
                      <a:lnTo>
                        <a:pt x="130835" y="339090"/>
                      </a:lnTo>
                      <a:lnTo>
                        <a:pt x="129730" y="339090"/>
                      </a:lnTo>
                      <a:lnTo>
                        <a:pt x="131699" y="342900"/>
                      </a:lnTo>
                      <a:lnTo>
                        <a:pt x="135597" y="346710"/>
                      </a:lnTo>
                      <a:lnTo>
                        <a:pt x="139636" y="351790"/>
                      </a:lnTo>
                      <a:lnTo>
                        <a:pt x="141058" y="353060"/>
                      </a:lnTo>
                      <a:lnTo>
                        <a:pt x="143471" y="353060"/>
                      </a:lnTo>
                      <a:lnTo>
                        <a:pt x="144043" y="351790"/>
                      </a:lnTo>
                      <a:lnTo>
                        <a:pt x="145719" y="351790"/>
                      </a:lnTo>
                      <a:lnTo>
                        <a:pt x="146354" y="353060"/>
                      </a:lnTo>
                      <a:lnTo>
                        <a:pt x="147675" y="351790"/>
                      </a:lnTo>
                      <a:lnTo>
                        <a:pt x="147396" y="350520"/>
                      </a:lnTo>
                      <a:lnTo>
                        <a:pt x="149377" y="350520"/>
                      </a:lnTo>
                      <a:lnTo>
                        <a:pt x="149148" y="351790"/>
                      </a:lnTo>
                      <a:lnTo>
                        <a:pt x="150317" y="353060"/>
                      </a:lnTo>
                      <a:lnTo>
                        <a:pt x="151079" y="353060"/>
                      </a:lnTo>
                      <a:lnTo>
                        <a:pt x="152400" y="354330"/>
                      </a:lnTo>
                      <a:lnTo>
                        <a:pt x="151688" y="355600"/>
                      </a:lnTo>
                      <a:lnTo>
                        <a:pt x="152209" y="358140"/>
                      </a:lnTo>
                      <a:lnTo>
                        <a:pt x="153619" y="358140"/>
                      </a:lnTo>
                      <a:lnTo>
                        <a:pt x="152488" y="361950"/>
                      </a:lnTo>
                      <a:lnTo>
                        <a:pt x="150495" y="363220"/>
                      </a:lnTo>
                      <a:lnTo>
                        <a:pt x="146469" y="363220"/>
                      </a:lnTo>
                      <a:lnTo>
                        <a:pt x="144881" y="364490"/>
                      </a:lnTo>
                      <a:lnTo>
                        <a:pt x="144703" y="365760"/>
                      </a:lnTo>
                      <a:lnTo>
                        <a:pt x="140081" y="364490"/>
                      </a:lnTo>
                      <a:lnTo>
                        <a:pt x="137401" y="363220"/>
                      </a:lnTo>
                      <a:lnTo>
                        <a:pt x="131216" y="361950"/>
                      </a:lnTo>
                      <a:lnTo>
                        <a:pt x="130327" y="360680"/>
                      </a:lnTo>
                      <a:lnTo>
                        <a:pt x="130314" y="420370"/>
                      </a:lnTo>
                      <a:lnTo>
                        <a:pt x="128155" y="420370"/>
                      </a:lnTo>
                      <a:lnTo>
                        <a:pt x="129070" y="424180"/>
                      </a:lnTo>
                      <a:lnTo>
                        <a:pt x="129806" y="424180"/>
                      </a:lnTo>
                      <a:lnTo>
                        <a:pt x="127254" y="426720"/>
                      </a:lnTo>
                      <a:lnTo>
                        <a:pt x="124358" y="427990"/>
                      </a:lnTo>
                      <a:lnTo>
                        <a:pt x="121742" y="430530"/>
                      </a:lnTo>
                      <a:lnTo>
                        <a:pt x="116497" y="430530"/>
                      </a:lnTo>
                      <a:lnTo>
                        <a:pt x="116497" y="427990"/>
                      </a:lnTo>
                      <a:lnTo>
                        <a:pt x="116992" y="427990"/>
                      </a:lnTo>
                      <a:lnTo>
                        <a:pt x="118668" y="425450"/>
                      </a:lnTo>
                      <a:lnTo>
                        <a:pt x="118694" y="424180"/>
                      </a:lnTo>
                      <a:lnTo>
                        <a:pt x="117094" y="422910"/>
                      </a:lnTo>
                      <a:lnTo>
                        <a:pt x="115785" y="421881"/>
                      </a:lnTo>
                      <a:lnTo>
                        <a:pt x="115785" y="427990"/>
                      </a:lnTo>
                      <a:lnTo>
                        <a:pt x="115443" y="427990"/>
                      </a:lnTo>
                      <a:lnTo>
                        <a:pt x="115087" y="426720"/>
                      </a:lnTo>
                      <a:lnTo>
                        <a:pt x="115455" y="426720"/>
                      </a:lnTo>
                      <a:lnTo>
                        <a:pt x="115785" y="427990"/>
                      </a:lnTo>
                      <a:lnTo>
                        <a:pt x="115785" y="421881"/>
                      </a:lnTo>
                      <a:lnTo>
                        <a:pt x="114706" y="421017"/>
                      </a:lnTo>
                      <a:lnTo>
                        <a:pt x="114706" y="426720"/>
                      </a:lnTo>
                      <a:lnTo>
                        <a:pt x="114084" y="426720"/>
                      </a:lnTo>
                      <a:lnTo>
                        <a:pt x="112750" y="427990"/>
                      </a:lnTo>
                      <a:lnTo>
                        <a:pt x="111455" y="427990"/>
                      </a:lnTo>
                      <a:lnTo>
                        <a:pt x="109016" y="426720"/>
                      </a:lnTo>
                      <a:lnTo>
                        <a:pt x="106591" y="426720"/>
                      </a:lnTo>
                      <a:lnTo>
                        <a:pt x="105803" y="425450"/>
                      </a:lnTo>
                      <a:lnTo>
                        <a:pt x="106019" y="425450"/>
                      </a:lnTo>
                      <a:lnTo>
                        <a:pt x="106768" y="422910"/>
                      </a:lnTo>
                      <a:lnTo>
                        <a:pt x="107251" y="422910"/>
                      </a:lnTo>
                      <a:lnTo>
                        <a:pt x="114706" y="426720"/>
                      </a:lnTo>
                      <a:lnTo>
                        <a:pt x="114706" y="421017"/>
                      </a:lnTo>
                      <a:lnTo>
                        <a:pt x="109105" y="416560"/>
                      </a:lnTo>
                      <a:lnTo>
                        <a:pt x="107124" y="416560"/>
                      </a:lnTo>
                      <a:lnTo>
                        <a:pt x="103301" y="414020"/>
                      </a:lnTo>
                      <a:lnTo>
                        <a:pt x="102184" y="411480"/>
                      </a:lnTo>
                      <a:lnTo>
                        <a:pt x="99796" y="410210"/>
                      </a:lnTo>
                      <a:lnTo>
                        <a:pt x="102031" y="410210"/>
                      </a:lnTo>
                      <a:lnTo>
                        <a:pt x="102666" y="411480"/>
                      </a:lnTo>
                      <a:lnTo>
                        <a:pt x="102793" y="410210"/>
                      </a:lnTo>
                      <a:lnTo>
                        <a:pt x="102920" y="408940"/>
                      </a:lnTo>
                      <a:lnTo>
                        <a:pt x="102247" y="407670"/>
                      </a:lnTo>
                      <a:lnTo>
                        <a:pt x="101752" y="405130"/>
                      </a:lnTo>
                      <a:lnTo>
                        <a:pt x="100304" y="405130"/>
                      </a:lnTo>
                      <a:lnTo>
                        <a:pt x="98107" y="402590"/>
                      </a:lnTo>
                      <a:lnTo>
                        <a:pt x="99148" y="401320"/>
                      </a:lnTo>
                      <a:lnTo>
                        <a:pt x="98412" y="400050"/>
                      </a:lnTo>
                      <a:lnTo>
                        <a:pt x="96215" y="397510"/>
                      </a:lnTo>
                      <a:lnTo>
                        <a:pt x="95008" y="396240"/>
                      </a:lnTo>
                      <a:lnTo>
                        <a:pt x="95008" y="397510"/>
                      </a:lnTo>
                      <a:lnTo>
                        <a:pt x="93916" y="397510"/>
                      </a:lnTo>
                      <a:lnTo>
                        <a:pt x="93764" y="396240"/>
                      </a:lnTo>
                      <a:lnTo>
                        <a:pt x="93751" y="394970"/>
                      </a:lnTo>
                      <a:lnTo>
                        <a:pt x="95618" y="396240"/>
                      </a:lnTo>
                      <a:lnTo>
                        <a:pt x="96888" y="397510"/>
                      </a:lnTo>
                      <a:lnTo>
                        <a:pt x="98831" y="400050"/>
                      </a:lnTo>
                      <a:lnTo>
                        <a:pt x="98958" y="400050"/>
                      </a:lnTo>
                      <a:lnTo>
                        <a:pt x="99796" y="400050"/>
                      </a:lnTo>
                      <a:lnTo>
                        <a:pt x="100076" y="401320"/>
                      </a:lnTo>
                      <a:lnTo>
                        <a:pt x="98958" y="400050"/>
                      </a:lnTo>
                      <a:lnTo>
                        <a:pt x="99580" y="403860"/>
                      </a:lnTo>
                      <a:lnTo>
                        <a:pt x="103098" y="403860"/>
                      </a:lnTo>
                      <a:lnTo>
                        <a:pt x="104813" y="405130"/>
                      </a:lnTo>
                      <a:lnTo>
                        <a:pt x="104470" y="403860"/>
                      </a:lnTo>
                      <a:lnTo>
                        <a:pt x="103886" y="402590"/>
                      </a:lnTo>
                      <a:lnTo>
                        <a:pt x="102971" y="401320"/>
                      </a:lnTo>
                      <a:lnTo>
                        <a:pt x="103695" y="401320"/>
                      </a:lnTo>
                      <a:lnTo>
                        <a:pt x="104965" y="402590"/>
                      </a:lnTo>
                      <a:lnTo>
                        <a:pt x="104597" y="401320"/>
                      </a:lnTo>
                      <a:lnTo>
                        <a:pt x="102730" y="397510"/>
                      </a:lnTo>
                      <a:lnTo>
                        <a:pt x="101231" y="396240"/>
                      </a:lnTo>
                      <a:lnTo>
                        <a:pt x="102844" y="397510"/>
                      </a:lnTo>
                      <a:lnTo>
                        <a:pt x="104038" y="398780"/>
                      </a:lnTo>
                      <a:lnTo>
                        <a:pt x="105854" y="400050"/>
                      </a:lnTo>
                      <a:lnTo>
                        <a:pt x="105143" y="397510"/>
                      </a:lnTo>
                      <a:lnTo>
                        <a:pt x="102108" y="396240"/>
                      </a:lnTo>
                      <a:lnTo>
                        <a:pt x="101815" y="394970"/>
                      </a:lnTo>
                      <a:lnTo>
                        <a:pt x="101511" y="393700"/>
                      </a:lnTo>
                      <a:lnTo>
                        <a:pt x="103924" y="394970"/>
                      </a:lnTo>
                      <a:lnTo>
                        <a:pt x="105879" y="397510"/>
                      </a:lnTo>
                      <a:lnTo>
                        <a:pt x="107111" y="400050"/>
                      </a:lnTo>
                      <a:lnTo>
                        <a:pt x="107188" y="401320"/>
                      </a:lnTo>
                      <a:lnTo>
                        <a:pt x="108483" y="403860"/>
                      </a:lnTo>
                      <a:lnTo>
                        <a:pt x="110401" y="406400"/>
                      </a:lnTo>
                      <a:lnTo>
                        <a:pt x="112483" y="403860"/>
                      </a:lnTo>
                      <a:lnTo>
                        <a:pt x="109308" y="401320"/>
                      </a:lnTo>
                      <a:lnTo>
                        <a:pt x="110502" y="401320"/>
                      </a:lnTo>
                      <a:lnTo>
                        <a:pt x="111036" y="402590"/>
                      </a:lnTo>
                      <a:lnTo>
                        <a:pt x="113601" y="402590"/>
                      </a:lnTo>
                      <a:lnTo>
                        <a:pt x="113944" y="403860"/>
                      </a:lnTo>
                      <a:lnTo>
                        <a:pt x="115379" y="401320"/>
                      </a:lnTo>
                      <a:lnTo>
                        <a:pt x="116852" y="397510"/>
                      </a:lnTo>
                      <a:lnTo>
                        <a:pt x="116128" y="396240"/>
                      </a:lnTo>
                      <a:lnTo>
                        <a:pt x="115404" y="394970"/>
                      </a:lnTo>
                      <a:lnTo>
                        <a:pt x="114503" y="394970"/>
                      </a:lnTo>
                      <a:lnTo>
                        <a:pt x="113919" y="393700"/>
                      </a:lnTo>
                      <a:lnTo>
                        <a:pt x="110286" y="393700"/>
                      </a:lnTo>
                      <a:lnTo>
                        <a:pt x="109702" y="391160"/>
                      </a:lnTo>
                      <a:lnTo>
                        <a:pt x="107086" y="391160"/>
                      </a:lnTo>
                      <a:lnTo>
                        <a:pt x="107429" y="392430"/>
                      </a:lnTo>
                      <a:lnTo>
                        <a:pt x="108038" y="393700"/>
                      </a:lnTo>
                      <a:lnTo>
                        <a:pt x="108635" y="394970"/>
                      </a:lnTo>
                      <a:lnTo>
                        <a:pt x="108775" y="395414"/>
                      </a:lnTo>
                      <a:lnTo>
                        <a:pt x="108534" y="394970"/>
                      </a:lnTo>
                      <a:lnTo>
                        <a:pt x="108038" y="393700"/>
                      </a:lnTo>
                      <a:lnTo>
                        <a:pt x="106946" y="393700"/>
                      </a:lnTo>
                      <a:lnTo>
                        <a:pt x="105498" y="392430"/>
                      </a:lnTo>
                      <a:lnTo>
                        <a:pt x="104965" y="391160"/>
                      </a:lnTo>
                      <a:lnTo>
                        <a:pt x="103022" y="389890"/>
                      </a:lnTo>
                      <a:lnTo>
                        <a:pt x="103073" y="388620"/>
                      </a:lnTo>
                      <a:lnTo>
                        <a:pt x="102285" y="387350"/>
                      </a:lnTo>
                      <a:lnTo>
                        <a:pt x="100799" y="387350"/>
                      </a:lnTo>
                      <a:lnTo>
                        <a:pt x="101866" y="384810"/>
                      </a:lnTo>
                      <a:lnTo>
                        <a:pt x="104178" y="387350"/>
                      </a:lnTo>
                      <a:lnTo>
                        <a:pt x="120764" y="394970"/>
                      </a:lnTo>
                      <a:lnTo>
                        <a:pt x="120929" y="400050"/>
                      </a:lnTo>
                      <a:lnTo>
                        <a:pt x="119710" y="403860"/>
                      </a:lnTo>
                      <a:lnTo>
                        <a:pt x="117792" y="403860"/>
                      </a:lnTo>
                      <a:lnTo>
                        <a:pt x="130314" y="420370"/>
                      </a:lnTo>
                      <a:lnTo>
                        <a:pt x="130314" y="360667"/>
                      </a:lnTo>
                      <a:lnTo>
                        <a:pt x="126834" y="356870"/>
                      </a:lnTo>
                      <a:lnTo>
                        <a:pt x="125857" y="355600"/>
                      </a:lnTo>
                      <a:lnTo>
                        <a:pt x="122047" y="353060"/>
                      </a:lnTo>
                      <a:lnTo>
                        <a:pt x="120129" y="351790"/>
                      </a:lnTo>
                      <a:lnTo>
                        <a:pt x="114071" y="353060"/>
                      </a:lnTo>
                      <a:lnTo>
                        <a:pt x="108394" y="350520"/>
                      </a:lnTo>
                      <a:lnTo>
                        <a:pt x="106413" y="349250"/>
                      </a:lnTo>
                      <a:lnTo>
                        <a:pt x="105689" y="347980"/>
                      </a:lnTo>
                      <a:lnTo>
                        <a:pt x="106095" y="347980"/>
                      </a:lnTo>
                      <a:lnTo>
                        <a:pt x="106349" y="345440"/>
                      </a:lnTo>
                      <a:lnTo>
                        <a:pt x="106324" y="344170"/>
                      </a:lnTo>
                      <a:lnTo>
                        <a:pt x="108508" y="344170"/>
                      </a:lnTo>
                      <a:lnTo>
                        <a:pt x="109042" y="342900"/>
                      </a:lnTo>
                      <a:lnTo>
                        <a:pt x="106667" y="342900"/>
                      </a:lnTo>
                      <a:lnTo>
                        <a:pt x="107530" y="341630"/>
                      </a:lnTo>
                      <a:lnTo>
                        <a:pt x="108216" y="341630"/>
                      </a:lnTo>
                      <a:lnTo>
                        <a:pt x="105854" y="339090"/>
                      </a:lnTo>
                      <a:lnTo>
                        <a:pt x="104978" y="337820"/>
                      </a:lnTo>
                      <a:lnTo>
                        <a:pt x="104673" y="336550"/>
                      </a:lnTo>
                      <a:lnTo>
                        <a:pt x="103466" y="331470"/>
                      </a:lnTo>
                      <a:lnTo>
                        <a:pt x="100876" y="330200"/>
                      </a:lnTo>
                      <a:lnTo>
                        <a:pt x="99301" y="328930"/>
                      </a:lnTo>
                      <a:lnTo>
                        <a:pt x="100253" y="328930"/>
                      </a:lnTo>
                      <a:lnTo>
                        <a:pt x="101053" y="327660"/>
                      </a:lnTo>
                      <a:lnTo>
                        <a:pt x="102997" y="327660"/>
                      </a:lnTo>
                      <a:lnTo>
                        <a:pt x="104216" y="326390"/>
                      </a:lnTo>
                      <a:lnTo>
                        <a:pt x="104343" y="321310"/>
                      </a:lnTo>
                      <a:lnTo>
                        <a:pt x="104635" y="318770"/>
                      </a:lnTo>
                      <a:lnTo>
                        <a:pt x="105143" y="320040"/>
                      </a:lnTo>
                      <a:lnTo>
                        <a:pt x="106387" y="320040"/>
                      </a:lnTo>
                      <a:lnTo>
                        <a:pt x="108813" y="322580"/>
                      </a:lnTo>
                      <a:lnTo>
                        <a:pt x="107784" y="318770"/>
                      </a:lnTo>
                      <a:lnTo>
                        <a:pt x="107099" y="316230"/>
                      </a:lnTo>
                      <a:lnTo>
                        <a:pt x="105067" y="314960"/>
                      </a:lnTo>
                      <a:lnTo>
                        <a:pt x="101346" y="311150"/>
                      </a:lnTo>
                      <a:lnTo>
                        <a:pt x="96253" y="309880"/>
                      </a:lnTo>
                      <a:lnTo>
                        <a:pt x="84924" y="307340"/>
                      </a:lnTo>
                      <a:lnTo>
                        <a:pt x="86093" y="306070"/>
                      </a:lnTo>
                      <a:lnTo>
                        <a:pt x="91427" y="306070"/>
                      </a:lnTo>
                      <a:lnTo>
                        <a:pt x="89001" y="302260"/>
                      </a:lnTo>
                      <a:lnTo>
                        <a:pt x="80289" y="302260"/>
                      </a:lnTo>
                      <a:lnTo>
                        <a:pt x="83045" y="300990"/>
                      </a:lnTo>
                      <a:lnTo>
                        <a:pt x="79248" y="300990"/>
                      </a:lnTo>
                      <a:lnTo>
                        <a:pt x="79248" y="435610"/>
                      </a:lnTo>
                      <a:lnTo>
                        <a:pt x="77851" y="438150"/>
                      </a:lnTo>
                      <a:lnTo>
                        <a:pt x="77533" y="439420"/>
                      </a:lnTo>
                      <a:lnTo>
                        <a:pt x="74777" y="436880"/>
                      </a:lnTo>
                      <a:lnTo>
                        <a:pt x="75920" y="440690"/>
                      </a:lnTo>
                      <a:lnTo>
                        <a:pt x="75603" y="440690"/>
                      </a:lnTo>
                      <a:lnTo>
                        <a:pt x="75361" y="441960"/>
                      </a:lnTo>
                      <a:lnTo>
                        <a:pt x="74891" y="443230"/>
                      </a:lnTo>
                      <a:lnTo>
                        <a:pt x="75222" y="443230"/>
                      </a:lnTo>
                      <a:lnTo>
                        <a:pt x="74574" y="445770"/>
                      </a:lnTo>
                      <a:lnTo>
                        <a:pt x="70180" y="445770"/>
                      </a:lnTo>
                      <a:lnTo>
                        <a:pt x="67652" y="444500"/>
                      </a:lnTo>
                      <a:lnTo>
                        <a:pt x="61239" y="444500"/>
                      </a:lnTo>
                      <a:lnTo>
                        <a:pt x="60464" y="448310"/>
                      </a:lnTo>
                      <a:lnTo>
                        <a:pt x="59931" y="449580"/>
                      </a:lnTo>
                      <a:lnTo>
                        <a:pt x="59309" y="450850"/>
                      </a:lnTo>
                      <a:lnTo>
                        <a:pt x="56718" y="452120"/>
                      </a:lnTo>
                      <a:lnTo>
                        <a:pt x="54419" y="450850"/>
                      </a:lnTo>
                      <a:lnTo>
                        <a:pt x="53009" y="450850"/>
                      </a:lnTo>
                      <a:lnTo>
                        <a:pt x="53352" y="449580"/>
                      </a:lnTo>
                      <a:lnTo>
                        <a:pt x="53835" y="449580"/>
                      </a:lnTo>
                      <a:lnTo>
                        <a:pt x="49085" y="440690"/>
                      </a:lnTo>
                      <a:lnTo>
                        <a:pt x="47726" y="438150"/>
                      </a:lnTo>
                      <a:lnTo>
                        <a:pt x="47142" y="436880"/>
                      </a:lnTo>
                      <a:lnTo>
                        <a:pt x="46558" y="435610"/>
                      </a:lnTo>
                      <a:lnTo>
                        <a:pt x="45643" y="433070"/>
                      </a:lnTo>
                      <a:lnTo>
                        <a:pt x="42392" y="427990"/>
                      </a:lnTo>
                      <a:lnTo>
                        <a:pt x="35331" y="425450"/>
                      </a:lnTo>
                      <a:lnTo>
                        <a:pt x="36347" y="420370"/>
                      </a:lnTo>
                      <a:lnTo>
                        <a:pt x="36639" y="422910"/>
                      </a:lnTo>
                      <a:lnTo>
                        <a:pt x="38912" y="422910"/>
                      </a:lnTo>
                      <a:lnTo>
                        <a:pt x="40068" y="420370"/>
                      </a:lnTo>
                      <a:lnTo>
                        <a:pt x="40640" y="419100"/>
                      </a:lnTo>
                      <a:lnTo>
                        <a:pt x="40868" y="417830"/>
                      </a:lnTo>
                      <a:lnTo>
                        <a:pt x="40703" y="416560"/>
                      </a:lnTo>
                      <a:lnTo>
                        <a:pt x="46672" y="416560"/>
                      </a:lnTo>
                      <a:lnTo>
                        <a:pt x="48602" y="412750"/>
                      </a:lnTo>
                      <a:lnTo>
                        <a:pt x="49618" y="410210"/>
                      </a:lnTo>
                      <a:lnTo>
                        <a:pt x="51142" y="412750"/>
                      </a:lnTo>
                      <a:lnTo>
                        <a:pt x="69888" y="422910"/>
                      </a:lnTo>
                      <a:lnTo>
                        <a:pt x="71310" y="425450"/>
                      </a:lnTo>
                      <a:lnTo>
                        <a:pt x="79248" y="435610"/>
                      </a:lnTo>
                      <a:lnTo>
                        <a:pt x="79248" y="300990"/>
                      </a:lnTo>
                      <a:lnTo>
                        <a:pt x="78486" y="300990"/>
                      </a:lnTo>
                      <a:lnTo>
                        <a:pt x="80441" y="299720"/>
                      </a:lnTo>
                      <a:lnTo>
                        <a:pt x="82753" y="299720"/>
                      </a:lnTo>
                      <a:lnTo>
                        <a:pt x="84518" y="298450"/>
                      </a:lnTo>
                      <a:lnTo>
                        <a:pt x="83121" y="297180"/>
                      </a:lnTo>
                      <a:lnTo>
                        <a:pt x="81622" y="298450"/>
                      </a:lnTo>
                      <a:lnTo>
                        <a:pt x="79336" y="298450"/>
                      </a:lnTo>
                      <a:lnTo>
                        <a:pt x="78092" y="297180"/>
                      </a:lnTo>
                      <a:lnTo>
                        <a:pt x="77012" y="297180"/>
                      </a:lnTo>
                      <a:lnTo>
                        <a:pt x="78689" y="295910"/>
                      </a:lnTo>
                      <a:lnTo>
                        <a:pt x="76822" y="295910"/>
                      </a:lnTo>
                      <a:lnTo>
                        <a:pt x="71107" y="293370"/>
                      </a:lnTo>
                      <a:lnTo>
                        <a:pt x="72771" y="290322"/>
                      </a:lnTo>
                      <a:lnTo>
                        <a:pt x="70688" y="288290"/>
                      </a:lnTo>
                      <a:lnTo>
                        <a:pt x="69380" y="287020"/>
                      </a:lnTo>
                      <a:lnTo>
                        <a:pt x="67233" y="288290"/>
                      </a:lnTo>
                      <a:lnTo>
                        <a:pt x="64452" y="287020"/>
                      </a:lnTo>
                      <a:lnTo>
                        <a:pt x="69380" y="287020"/>
                      </a:lnTo>
                      <a:lnTo>
                        <a:pt x="74333" y="287020"/>
                      </a:lnTo>
                      <a:lnTo>
                        <a:pt x="76657" y="288290"/>
                      </a:lnTo>
                      <a:lnTo>
                        <a:pt x="79692" y="288290"/>
                      </a:lnTo>
                      <a:lnTo>
                        <a:pt x="77571" y="289560"/>
                      </a:lnTo>
                      <a:lnTo>
                        <a:pt x="77177" y="289560"/>
                      </a:lnTo>
                      <a:lnTo>
                        <a:pt x="79400" y="292100"/>
                      </a:lnTo>
                      <a:lnTo>
                        <a:pt x="80835" y="293370"/>
                      </a:lnTo>
                      <a:lnTo>
                        <a:pt x="83654" y="294640"/>
                      </a:lnTo>
                      <a:lnTo>
                        <a:pt x="85725" y="297180"/>
                      </a:lnTo>
                      <a:lnTo>
                        <a:pt x="91249" y="297180"/>
                      </a:lnTo>
                      <a:lnTo>
                        <a:pt x="95123" y="298450"/>
                      </a:lnTo>
                      <a:lnTo>
                        <a:pt x="94500" y="297180"/>
                      </a:lnTo>
                      <a:lnTo>
                        <a:pt x="97637" y="295910"/>
                      </a:lnTo>
                      <a:lnTo>
                        <a:pt x="99415" y="297180"/>
                      </a:lnTo>
                      <a:lnTo>
                        <a:pt x="102628" y="298450"/>
                      </a:lnTo>
                      <a:lnTo>
                        <a:pt x="101612" y="298450"/>
                      </a:lnTo>
                      <a:lnTo>
                        <a:pt x="101879" y="302120"/>
                      </a:lnTo>
                      <a:lnTo>
                        <a:pt x="105117" y="300990"/>
                      </a:lnTo>
                      <a:lnTo>
                        <a:pt x="107505" y="300990"/>
                      </a:lnTo>
                      <a:lnTo>
                        <a:pt x="157289" y="312420"/>
                      </a:lnTo>
                      <a:lnTo>
                        <a:pt x="159854" y="313690"/>
                      </a:lnTo>
                      <a:lnTo>
                        <a:pt x="166357" y="312420"/>
                      </a:lnTo>
                      <a:lnTo>
                        <a:pt x="168135" y="312420"/>
                      </a:lnTo>
                      <a:lnTo>
                        <a:pt x="171488" y="311150"/>
                      </a:lnTo>
                      <a:lnTo>
                        <a:pt x="172796" y="309880"/>
                      </a:lnTo>
                      <a:lnTo>
                        <a:pt x="178549" y="308610"/>
                      </a:lnTo>
                      <a:lnTo>
                        <a:pt x="182981" y="307340"/>
                      </a:lnTo>
                      <a:lnTo>
                        <a:pt x="189915" y="302260"/>
                      </a:lnTo>
                      <a:lnTo>
                        <a:pt x="190893" y="300990"/>
                      </a:lnTo>
                      <a:lnTo>
                        <a:pt x="194830" y="295910"/>
                      </a:lnTo>
                      <a:lnTo>
                        <a:pt x="195821" y="294640"/>
                      </a:lnTo>
                      <a:lnTo>
                        <a:pt x="197904" y="292100"/>
                      </a:lnTo>
                      <a:lnTo>
                        <a:pt x="200710" y="290830"/>
                      </a:lnTo>
                      <a:lnTo>
                        <a:pt x="200431" y="287020"/>
                      </a:lnTo>
                      <a:lnTo>
                        <a:pt x="200329" y="285750"/>
                      </a:lnTo>
                      <a:lnTo>
                        <a:pt x="199986" y="285750"/>
                      </a:lnTo>
                      <a:lnTo>
                        <a:pt x="197091" y="284480"/>
                      </a:lnTo>
                      <a:lnTo>
                        <a:pt x="196507" y="285750"/>
                      </a:lnTo>
                      <a:lnTo>
                        <a:pt x="197053" y="281940"/>
                      </a:lnTo>
                      <a:lnTo>
                        <a:pt x="197281" y="280670"/>
                      </a:lnTo>
                      <a:lnTo>
                        <a:pt x="195199" y="278130"/>
                      </a:lnTo>
                      <a:lnTo>
                        <a:pt x="195046" y="280670"/>
                      </a:lnTo>
                      <a:lnTo>
                        <a:pt x="194970" y="276860"/>
                      </a:lnTo>
                      <a:lnTo>
                        <a:pt x="195084" y="273050"/>
                      </a:lnTo>
                      <a:lnTo>
                        <a:pt x="190957" y="273050"/>
                      </a:lnTo>
                      <a:lnTo>
                        <a:pt x="187223" y="271780"/>
                      </a:lnTo>
                      <a:lnTo>
                        <a:pt x="186563" y="271780"/>
                      </a:lnTo>
                      <a:lnTo>
                        <a:pt x="183362" y="267970"/>
                      </a:lnTo>
                      <a:lnTo>
                        <a:pt x="181356" y="265430"/>
                      </a:lnTo>
                      <a:lnTo>
                        <a:pt x="178930" y="264160"/>
                      </a:lnTo>
                      <a:lnTo>
                        <a:pt x="176618" y="261620"/>
                      </a:lnTo>
                      <a:lnTo>
                        <a:pt x="176580" y="262890"/>
                      </a:lnTo>
                      <a:lnTo>
                        <a:pt x="177698" y="262890"/>
                      </a:lnTo>
                      <a:lnTo>
                        <a:pt x="177850" y="264160"/>
                      </a:lnTo>
                      <a:lnTo>
                        <a:pt x="157187" y="257810"/>
                      </a:lnTo>
                      <a:lnTo>
                        <a:pt x="156375" y="256540"/>
                      </a:lnTo>
                      <a:lnTo>
                        <a:pt x="152946" y="252730"/>
                      </a:lnTo>
                      <a:lnTo>
                        <a:pt x="151384" y="251460"/>
                      </a:lnTo>
                      <a:lnTo>
                        <a:pt x="115582" y="234950"/>
                      </a:lnTo>
                      <a:lnTo>
                        <a:pt x="105638" y="234950"/>
                      </a:lnTo>
                      <a:lnTo>
                        <a:pt x="98844" y="232410"/>
                      </a:lnTo>
                      <a:lnTo>
                        <a:pt x="89039" y="232410"/>
                      </a:lnTo>
                      <a:lnTo>
                        <a:pt x="88125" y="236220"/>
                      </a:lnTo>
                      <a:lnTo>
                        <a:pt x="88722" y="236220"/>
                      </a:lnTo>
                      <a:lnTo>
                        <a:pt x="86448" y="238760"/>
                      </a:lnTo>
                      <a:lnTo>
                        <a:pt x="84696" y="238760"/>
                      </a:lnTo>
                      <a:lnTo>
                        <a:pt x="85801" y="237490"/>
                      </a:lnTo>
                      <a:lnTo>
                        <a:pt x="87515" y="237490"/>
                      </a:lnTo>
                      <a:lnTo>
                        <a:pt x="86779" y="236220"/>
                      </a:lnTo>
                      <a:lnTo>
                        <a:pt x="84124" y="235077"/>
                      </a:lnTo>
                      <a:lnTo>
                        <a:pt x="84124" y="238760"/>
                      </a:lnTo>
                      <a:lnTo>
                        <a:pt x="81330" y="240030"/>
                      </a:lnTo>
                      <a:lnTo>
                        <a:pt x="81762" y="240030"/>
                      </a:lnTo>
                      <a:lnTo>
                        <a:pt x="80606" y="242570"/>
                      </a:lnTo>
                      <a:lnTo>
                        <a:pt x="80657" y="240030"/>
                      </a:lnTo>
                      <a:lnTo>
                        <a:pt x="80784" y="238760"/>
                      </a:lnTo>
                      <a:lnTo>
                        <a:pt x="84124" y="238760"/>
                      </a:lnTo>
                      <a:lnTo>
                        <a:pt x="84124" y="235077"/>
                      </a:lnTo>
                      <a:lnTo>
                        <a:pt x="83845" y="234950"/>
                      </a:lnTo>
                      <a:lnTo>
                        <a:pt x="84467" y="233680"/>
                      </a:lnTo>
                      <a:lnTo>
                        <a:pt x="85496" y="233680"/>
                      </a:lnTo>
                      <a:lnTo>
                        <a:pt x="86410" y="232410"/>
                      </a:lnTo>
                      <a:lnTo>
                        <a:pt x="86093" y="231140"/>
                      </a:lnTo>
                      <a:lnTo>
                        <a:pt x="86080" y="229870"/>
                      </a:lnTo>
                      <a:lnTo>
                        <a:pt x="83388" y="231140"/>
                      </a:lnTo>
                      <a:lnTo>
                        <a:pt x="80632" y="232410"/>
                      </a:lnTo>
                      <a:lnTo>
                        <a:pt x="77749" y="233680"/>
                      </a:lnTo>
                      <a:lnTo>
                        <a:pt x="78828" y="232410"/>
                      </a:lnTo>
                      <a:lnTo>
                        <a:pt x="76720" y="232410"/>
                      </a:lnTo>
                      <a:lnTo>
                        <a:pt x="73520" y="231140"/>
                      </a:lnTo>
                      <a:lnTo>
                        <a:pt x="71272" y="231140"/>
                      </a:lnTo>
                      <a:lnTo>
                        <a:pt x="69138" y="229870"/>
                      </a:lnTo>
                      <a:lnTo>
                        <a:pt x="69735" y="228600"/>
                      </a:lnTo>
                      <a:lnTo>
                        <a:pt x="66700" y="228600"/>
                      </a:lnTo>
                      <a:lnTo>
                        <a:pt x="66040" y="226060"/>
                      </a:lnTo>
                      <a:lnTo>
                        <a:pt x="66751" y="224790"/>
                      </a:lnTo>
                      <a:lnTo>
                        <a:pt x="67449" y="223520"/>
                      </a:lnTo>
                      <a:lnTo>
                        <a:pt x="68186" y="222250"/>
                      </a:lnTo>
                      <a:lnTo>
                        <a:pt x="68745" y="222250"/>
                      </a:lnTo>
                      <a:lnTo>
                        <a:pt x="68414" y="223520"/>
                      </a:lnTo>
                      <a:lnTo>
                        <a:pt x="69684" y="224790"/>
                      </a:lnTo>
                      <a:lnTo>
                        <a:pt x="73837" y="226060"/>
                      </a:lnTo>
                      <a:lnTo>
                        <a:pt x="76377" y="226060"/>
                      </a:lnTo>
                      <a:lnTo>
                        <a:pt x="78536" y="227330"/>
                      </a:lnTo>
                      <a:lnTo>
                        <a:pt x="80454" y="226060"/>
                      </a:lnTo>
                      <a:lnTo>
                        <a:pt x="82334" y="223520"/>
                      </a:lnTo>
                      <a:lnTo>
                        <a:pt x="81724" y="222250"/>
                      </a:lnTo>
                      <a:lnTo>
                        <a:pt x="78574" y="220980"/>
                      </a:lnTo>
                      <a:lnTo>
                        <a:pt x="76441" y="220980"/>
                      </a:lnTo>
                      <a:lnTo>
                        <a:pt x="75158" y="222250"/>
                      </a:lnTo>
                      <a:lnTo>
                        <a:pt x="73520" y="220980"/>
                      </a:lnTo>
                      <a:lnTo>
                        <a:pt x="73164" y="219710"/>
                      </a:lnTo>
                      <a:lnTo>
                        <a:pt x="71996" y="219710"/>
                      </a:lnTo>
                      <a:lnTo>
                        <a:pt x="71247" y="218440"/>
                      </a:lnTo>
                      <a:lnTo>
                        <a:pt x="68795" y="219710"/>
                      </a:lnTo>
                      <a:lnTo>
                        <a:pt x="67729" y="215900"/>
                      </a:lnTo>
                      <a:lnTo>
                        <a:pt x="63817" y="217170"/>
                      </a:lnTo>
                      <a:lnTo>
                        <a:pt x="66014" y="218440"/>
                      </a:lnTo>
                      <a:lnTo>
                        <a:pt x="66954" y="220980"/>
                      </a:lnTo>
                      <a:lnTo>
                        <a:pt x="67691" y="220980"/>
                      </a:lnTo>
                      <a:lnTo>
                        <a:pt x="67195" y="222250"/>
                      </a:lnTo>
                      <a:lnTo>
                        <a:pt x="66484" y="220980"/>
                      </a:lnTo>
                      <a:lnTo>
                        <a:pt x="65214" y="220980"/>
                      </a:lnTo>
                      <a:lnTo>
                        <a:pt x="64312" y="219710"/>
                      </a:lnTo>
                      <a:lnTo>
                        <a:pt x="61353" y="219710"/>
                      </a:lnTo>
                      <a:lnTo>
                        <a:pt x="62623" y="220980"/>
                      </a:lnTo>
                      <a:lnTo>
                        <a:pt x="60845" y="224790"/>
                      </a:lnTo>
                      <a:lnTo>
                        <a:pt x="52184" y="222250"/>
                      </a:lnTo>
                      <a:lnTo>
                        <a:pt x="49758" y="220980"/>
                      </a:lnTo>
                      <a:lnTo>
                        <a:pt x="49580" y="222250"/>
                      </a:lnTo>
                      <a:lnTo>
                        <a:pt x="49949" y="224790"/>
                      </a:lnTo>
                      <a:lnTo>
                        <a:pt x="50482" y="226060"/>
                      </a:lnTo>
                      <a:lnTo>
                        <a:pt x="44754" y="226060"/>
                      </a:lnTo>
                      <a:lnTo>
                        <a:pt x="43370" y="224790"/>
                      </a:lnTo>
                      <a:lnTo>
                        <a:pt x="40932" y="224790"/>
                      </a:lnTo>
                      <a:lnTo>
                        <a:pt x="40208" y="223520"/>
                      </a:lnTo>
                      <a:lnTo>
                        <a:pt x="39700" y="223520"/>
                      </a:lnTo>
                      <a:lnTo>
                        <a:pt x="39217" y="224790"/>
                      </a:lnTo>
                      <a:lnTo>
                        <a:pt x="39700" y="224790"/>
                      </a:lnTo>
                      <a:lnTo>
                        <a:pt x="39522" y="226060"/>
                      </a:lnTo>
                      <a:lnTo>
                        <a:pt x="39217" y="226060"/>
                      </a:lnTo>
                      <a:lnTo>
                        <a:pt x="38646" y="227330"/>
                      </a:lnTo>
                      <a:lnTo>
                        <a:pt x="37249" y="229870"/>
                      </a:lnTo>
                      <a:lnTo>
                        <a:pt x="36461" y="231140"/>
                      </a:lnTo>
                      <a:lnTo>
                        <a:pt x="30962" y="231140"/>
                      </a:lnTo>
                      <a:lnTo>
                        <a:pt x="29616" y="232410"/>
                      </a:lnTo>
                      <a:lnTo>
                        <a:pt x="28905" y="232410"/>
                      </a:lnTo>
                      <a:lnTo>
                        <a:pt x="26860" y="233680"/>
                      </a:lnTo>
                      <a:lnTo>
                        <a:pt x="24993" y="236220"/>
                      </a:lnTo>
                      <a:lnTo>
                        <a:pt x="23253" y="238760"/>
                      </a:lnTo>
                      <a:lnTo>
                        <a:pt x="23063" y="240030"/>
                      </a:lnTo>
                      <a:lnTo>
                        <a:pt x="23228" y="240030"/>
                      </a:lnTo>
                      <a:lnTo>
                        <a:pt x="23368" y="241300"/>
                      </a:lnTo>
                      <a:lnTo>
                        <a:pt x="22326" y="241300"/>
                      </a:lnTo>
                      <a:lnTo>
                        <a:pt x="19951" y="242570"/>
                      </a:lnTo>
                      <a:lnTo>
                        <a:pt x="18961" y="242570"/>
                      </a:lnTo>
                      <a:lnTo>
                        <a:pt x="16370" y="243840"/>
                      </a:lnTo>
                      <a:lnTo>
                        <a:pt x="15100" y="243840"/>
                      </a:lnTo>
                      <a:lnTo>
                        <a:pt x="16217" y="245110"/>
                      </a:lnTo>
                      <a:lnTo>
                        <a:pt x="17945" y="243840"/>
                      </a:lnTo>
                      <a:lnTo>
                        <a:pt x="19202" y="243840"/>
                      </a:lnTo>
                      <a:lnTo>
                        <a:pt x="18973" y="246380"/>
                      </a:lnTo>
                      <a:lnTo>
                        <a:pt x="18351" y="247650"/>
                      </a:lnTo>
                      <a:lnTo>
                        <a:pt x="17221" y="251460"/>
                      </a:lnTo>
                      <a:lnTo>
                        <a:pt x="15722" y="254000"/>
                      </a:lnTo>
                      <a:lnTo>
                        <a:pt x="17094" y="256540"/>
                      </a:lnTo>
                      <a:lnTo>
                        <a:pt x="17780" y="260350"/>
                      </a:lnTo>
                      <a:lnTo>
                        <a:pt x="20167" y="262890"/>
                      </a:lnTo>
                      <a:lnTo>
                        <a:pt x="25895" y="262890"/>
                      </a:lnTo>
                      <a:lnTo>
                        <a:pt x="30048" y="264160"/>
                      </a:lnTo>
                      <a:lnTo>
                        <a:pt x="30556" y="267970"/>
                      </a:lnTo>
                      <a:lnTo>
                        <a:pt x="34163" y="271780"/>
                      </a:lnTo>
                      <a:lnTo>
                        <a:pt x="37604" y="274320"/>
                      </a:lnTo>
                      <a:lnTo>
                        <a:pt x="24231" y="292100"/>
                      </a:lnTo>
                      <a:lnTo>
                        <a:pt x="24269" y="293370"/>
                      </a:lnTo>
                      <a:lnTo>
                        <a:pt x="24409" y="293370"/>
                      </a:lnTo>
                      <a:lnTo>
                        <a:pt x="25006" y="294640"/>
                      </a:lnTo>
                      <a:lnTo>
                        <a:pt x="27343" y="297180"/>
                      </a:lnTo>
                      <a:lnTo>
                        <a:pt x="27774" y="297180"/>
                      </a:lnTo>
                      <a:lnTo>
                        <a:pt x="29400" y="299720"/>
                      </a:lnTo>
                      <a:lnTo>
                        <a:pt x="39281" y="322580"/>
                      </a:lnTo>
                      <a:lnTo>
                        <a:pt x="33591" y="322580"/>
                      </a:lnTo>
                      <a:lnTo>
                        <a:pt x="33959" y="323850"/>
                      </a:lnTo>
                      <a:lnTo>
                        <a:pt x="34112" y="323850"/>
                      </a:lnTo>
                      <a:lnTo>
                        <a:pt x="34137" y="326390"/>
                      </a:lnTo>
                      <a:lnTo>
                        <a:pt x="33274" y="327660"/>
                      </a:lnTo>
                      <a:lnTo>
                        <a:pt x="32448" y="330200"/>
                      </a:lnTo>
                      <a:lnTo>
                        <a:pt x="31457" y="332740"/>
                      </a:lnTo>
                      <a:lnTo>
                        <a:pt x="32359" y="331470"/>
                      </a:lnTo>
                      <a:lnTo>
                        <a:pt x="37566" y="336550"/>
                      </a:lnTo>
                      <a:lnTo>
                        <a:pt x="31496" y="335280"/>
                      </a:lnTo>
                      <a:lnTo>
                        <a:pt x="32524" y="340360"/>
                      </a:lnTo>
                      <a:lnTo>
                        <a:pt x="34086" y="342900"/>
                      </a:lnTo>
                      <a:lnTo>
                        <a:pt x="38328" y="342900"/>
                      </a:lnTo>
                      <a:lnTo>
                        <a:pt x="39979" y="345440"/>
                      </a:lnTo>
                      <a:lnTo>
                        <a:pt x="41338" y="346710"/>
                      </a:lnTo>
                      <a:lnTo>
                        <a:pt x="38392" y="346710"/>
                      </a:lnTo>
                      <a:lnTo>
                        <a:pt x="37401" y="347980"/>
                      </a:lnTo>
                      <a:lnTo>
                        <a:pt x="38087" y="349250"/>
                      </a:lnTo>
                      <a:lnTo>
                        <a:pt x="38912" y="351790"/>
                      </a:lnTo>
                      <a:lnTo>
                        <a:pt x="41783" y="353060"/>
                      </a:lnTo>
                      <a:lnTo>
                        <a:pt x="44907" y="354330"/>
                      </a:lnTo>
                      <a:lnTo>
                        <a:pt x="46926" y="358140"/>
                      </a:lnTo>
                      <a:lnTo>
                        <a:pt x="46126" y="359410"/>
                      </a:lnTo>
                      <a:lnTo>
                        <a:pt x="42227" y="363220"/>
                      </a:lnTo>
                      <a:lnTo>
                        <a:pt x="40652" y="365760"/>
                      </a:lnTo>
                      <a:lnTo>
                        <a:pt x="37426" y="367030"/>
                      </a:lnTo>
                      <a:lnTo>
                        <a:pt x="44170" y="370840"/>
                      </a:lnTo>
                      <a:lnTo>
                        <a:pt x="52730" y="375920"/>
                      </a:lnTo>
                      <a:lnTo>
                        <a:pt x="59461" y="384810"/>
                      </a:lnTo>
                      <a:lnTo>
                        <a:pt x="60363" y="384810"/>
                      </a:lnTo>
                      <a:lnTo>
                        <a:pt x="57670" y="389890"/>
                      </a:lnTo>
                      <a:lnTo>
                        <a:pt x="57124" y="392430"/>
                      </a:lnTo>
                      <a:lnTo>
                        <a:pt x="54495" y="396240"/>
                      </a:lnTo>
                      <a:lnTo>
                        <a:pt x="51981" y="397510"/>
                      </a:lnTo>
                      <a:lnTo>
                        <a:pt x="47294" y="401320"/>
                      </a:lnTo>
                      <a:lnTo>
                        <a:pt x="44640" y="403860"/>
                      </a:lnTo>
                      <a:lnTo>
                        <a:pt x="36296" y="412750"/>
                      </a:lnTo>
                      <a:lnTo>
                        <a:pt x="31115" y="419100"/>
                      </a:lnTo>
                      <a:lnTo>
                        <a:pt x="20116" y="425780"/>
                      </a:lnTo>
                      <a:lnTo>
                        <a:pt x="20116" y="436880"/>
                      </a:lnTo>
                      <a:lnTo>
                        <a:pt x="17653" y="435610"/>
                      </a:lnTo>
                      <a:lnTo>
                        <a:pt x="17233" y="435394"/>
                      </a:lnTo>
                      <a:lnTo>
                        <a:pt x="17754" y="434340"/>
                      </a:lnTo>
                      <a:lnTo>
                        <a:pt x="18389" y="433070"/>
                      </a:lnTo>
                      <a:lnTo>
                        <a:pt x="20116" y="436880"/>
                      </a:lnTo>
                      <a:lnTo>
                        <a:pt x="20116" y="425780"/>
                      </a:lnTo>
                      <a:lnTo>
                        <a:pt x="18554" y="426720"/>
                      </a:lnTo>
                      <a:lnTo>
                        <a:pt x="12344" y="431800"/>
                      </a:lnTo>
                      <a:lnTo>
                        <a:pt x="7162" y="436880"/>
                      </a:lnTo>
                      <a:lnTo>
                        <a:pt x="5181" y="438150"/>
                      </a:lnTo>
                      <a:lnTo>
                        <a:pt x="2667" y="439420"/>
                      </a:lnTo>
                      <a:lnTo>
                        <a:pt x="5537" y="439420"/>
                      </a:lnTo>
                      <a:lnTo>
                        <a:pt x="8001" y="436880"/>
                      </a:lnTo>
                      <a:lnTo>
                        <a:pt x="13728" y="436880"/>
                      </a:lnTo>
                      <a:lnTo>
                        <a:pt x="13970" y="434340"/>
                      </a:lnTo>
                      <a:lnTo>
                        <a:pt x="15849" y="435089"/>
                      </a:lnTo>
                      <a:lnTo>
                        <a:pt x="20777" y="440690"/>
                      </a:lnTo>
                      <a:lnTo>
                        <a:pt x="16421" y="438150"/>
                      </a:lnTo>
                      <a:lnTo>
                        <a:pt x="15265" y="436880"/>
                      </a:lnTo>
                      <a:lnTo>
                        <a:pt x="17373" y="441960"/>
                      </a:lnTo>
                      <a:lnTo>
                        <a:pt x="23939" y="443230"/>
                      </a:lnTo>
                      <a:lnTo>
                        <a:pt x="30365" y="445770"/>
                      </a:lnTo>
                      <a:lnTo>
                        <a:pt x="34925" y="447040"/>
                      </a:lnTo>
                      <a:lnTo>
                        <a:pt x="36753" y="448310"/>
                      </a:lnTo>
                      <a:lnTo>
                        <a:pt x="38379" y="449580"/>
                      </a:lnTo>
                      <a:lnTo>
                        <a:pt x="39801" y="452120"/>
                      </a:lnTo>
                      <a:lnTo>
                        <a:pt x="37414" y="452120"/>
                      </a:lnTo>
                      <a:lnTo>
                        <a:pt x="35953" y="450850"/>
                      </a:lnTo>
                      <a:lnTo>
                        <a:pt x="30962" y="449580"/>
                      </a:lnTo>
                      <a:lnTo>
                        <a:pt x="27622" y="448310"/>
                      </a:lnTo>
                      <a:lnTo>
                        <a:pt x="23837" y="450850"/>
                      </a:lnTo>
                      <a:lnTo>
                        <a:pt x="22186" y="452120"/>
                      </a:lnTo>
                      <a:lnTo>
                        <a:pt x="20231" y="454660"/>
                      </a:lnTo>
                      <a:lnTo>
                        <a:pt x="17868" y="453390"/>
                      </a:lnTo>
                      <a:lnTo>
                        <a:pt x="14808" y="452120"/>
                      </a:lnTo>
                      <a:lnTo>
                        <a:pt x="12484" y="455930"/>
                      </a:lnTo>
                      <a:lnTo>
                        <a:pt x="10236" y="453390"/>
                      </a:lnTo>
                      <a:lnTo>
                        <a:pt x="9359" y="455930"/>
                      </a:lnTo>
                      <a:lnTo>
                        <a:pt x="9271" y="458470"/>
                      </a:lnTo>
                      <a:lnTo>
                        <a:pt x="9169" y="459740"/>
                      </a:lnTo>
                      <a:lnTo>
                        <a:pt x="8737" y="459740"/>
                      </a:lnTo>
                      <a:lnTo>
                        <a:pt x="10782" y="462280"/>
                      </a:lnTo>
                      <a:lnTo>
                        <a:pt x="10236" y="462280"/>
                      </a:lnTo>
                      <a:lnTo>
                        <a:pt x="9156" y="463550"/>
                      </a:lnTo>
                      <a:lnTo>
                        <a:pt x="10121" y="463550"/>
                      </a:lnTo>
                      <a:lnTo>
                        <a:pt x="7162" y="464820"/>
                      </a:lnTo>
                      <a:lnTo>
                        <a:pt x="5232" y="471170"/>
                      </a:lnTo>
                      <a:lnTo>
                        <a:pt x="2768" y="473710"/>
                      </a:lnTo>
                      <a:lnTo>
                        <a:pt x="1193" y="473710"/>
                      </a:lnTo>
                      <a:lnTo>
                        <a:pt x="723" y="476250"/>
                      </a:lnTo>
                      <a:lnTo>
                        <a:pt x="1562" y="480060"/>
                      </a:lnTo>
                      <a:lnTo>
                        <a:pt x="1143" y="482600"/>
                      </a:lnTo>
                      <a:lnTo>
                        <a:pt x="1016" y="485140"/>
                      </a:lnTo>
                      <a:lnTo>
                        <a:pt x="1193" y="487680"/>
                      </a:lnTo>
                      <a:lnTo>
                        <a:pt x="5664" y="491490"/>
                      </a:lnTo>
                      <a:lnTo>
                        <a:pt x="6261" y="494030"/>
                      </a:lnTo>
                      <a:lnTo>
                        <a:pt x="4279" y="494030"/>
                      </a:lnTo>
                      <a:lnTo>
                        <a:pt x="673" y="495300"/>
                      </a:lnTo>
                      <a:lnTo>
                        <a:pt x="12" y="500380"/>
                      </a:lnTo>
                      <a:lnTo>
                        <a:pt x="0" y="501650"/>
                      </a:lnTo>
                      <a:lnTo>
                        <a:pt x="1257" y="502920"/>
                      </a:lnTo>
                      <a:lnTo>
                        <a:pt x="5232" y="505460"/>
                      </a:lnTo>
                      <a:lnTo>
                        <a:pt x="7048" y="505460"/>
                      </a:lnTo>
                      <a:lnTo>
                        <a:pt x="6197" y="508000"/>
                      </a:lnTo>
                      <a:lnTo>
                        <a:pt x="4394" y="510540"/>
                      </a:lnTo>
                      <a:lnTo>
                        <a:pt x="5664" y="510540"/>
                      </a:lnTo>
                      <a:lnTo>
                        <a:pt x="4457" y="513080"/>
                      </a:lnTo>
                      <a:lnTo>
                        <a:pt x="3797" y="515620"/>
                      </a:lnTo>
                      <a:lnTo>
                        <a:pt x="5422" y="514350"/>
                      </a:lnTo>
                      <a:lnTo>
                        <a:pt x="8064" y="514350"/>
                      </a:lnTo>
                      <a:lnTo>
                        <a:pt x="10236" y="521970"/>
                      </a:lnTo>
                      <a:lnTo>
                        <a:pt x="11506" y="524510"/>
                      </a:lnTo>
                      <a:lnTo>
                        <a:pt x="11734" y="528320"/>
                      </a:lnTo>
                      <a:lnTo>
                        <a:pt x="11480" y="529590"/>
                      </a:lnTo>
                      <a:lnTo>
                        <a:pt x="12776" y="529590"/>
                      </a:lnTo>
                      <a:lnTo>
                        <a:pt x="17030" y="532130"/>
                      </a:lnTo>
                      <a:lnTo>
                        <a:pt x="18313" y="533400"/>
                      </a:lnTo>
                      <a:lnTo>
                        <a:pt x="21450" y="533400"/>
                      </a:lnTo>
                      <a:lnTo>
                        <a:pt x="27228" y="532130"/>
                      </a:lnTo>
                      <a:lnTo>
                        <a:pt x="29514" y="534670"/>
                      </a:lnTo>
                      <a:lnTo>
                        <a:pt x="28194" y="537210"/>
                      </a:lnTo>
                      <a:lnTo>
                        <a:pt x="29946" y="538480"/>
                      </a:lnTo>
                      <a:lnTo>
                        <a:pt x="32346" y="537210"/>
                      </a:lnTo>
                      <a:lnTo>
                        <a:pt x="33312" y="537210"/>
                      </a:lnTo>
                      <a:lnTo>
                        <a:pt x="35839" y="534670"/>
                      </a:lnTo>
                      <a:lnTo>
                        <a:pt x="39281" y="534670"/>
                      </a:lnTo>
                      <a:lnTo>
                        <a:pt x="49403" y="538480"/>
                      </a:lnTo>
                      <a:lnTo>
                        <a:pt x="50660" y="539750"/>
                      </a:lnTo>
                      <a:lnTo>
                        <a:pt x="50901" y="544830"/>
                      </a:lnTo>
                      <a:lnTo>
                        <a:pt x="49212" y="546100"/>
                      </a:lnTo>
                      <a:lnTo>
                        <a:pt x="49758" y="547370"/>
                      </a:lnTo>
                      <a:lnTo>
                        <a:pt x="51206" y="548640"/>
                      </a:lnTo>
                      <a:lnTo>
                        <a:pt x="52463" y="551180"/>
                      </a:lnTo>
                      <a:lnTo>
                        <a:pt x="52235" y="551180"/>
                      </a:lnTo>
                      <a:lnTo>
                        <a:pt x="48920" y="554990"/>
                      </a:lnTo>
                      <a:lnTo>
                        <a:pt x="48666" y="556260"/>
                      </a:lnTo>
                      <a:lnTo>
                        <a:pt x="51142" y="557530"/>
                      </a:lnTo>
                      <a:lnTo>
                        <a:pt x="54635" y="558800"/>
                      </a:lnTo>
                      <a:lnTo>
                        <a:pt x="54521" y="562610"/>
                      </a:lnTo>
                      <a:lnTo>
                        <a:pt x="56146" y="566420"/>
                      </a:lnTo>
                      <a:lnTo>
                        <a:pt x="64947" y="570230"/>
                      </a:lnTo>
                      <a:lnTo>
                        <a:pt x="63919" y="574040"/>
                      </a:lnTo>
                      <a:lnTo>
                        <a:pt x="62776" y="575310"/>
                      </a:lnTo>
                      <a:lnTo>
                        <a:pt x="63309" y="576580"/>
                      </a:lnTo>
                      <a:lnTo>
                        <a:pt x="66929" y="577850"/>
                      </a:lnTo>
                      <a:lnTo>
                        <a:pt x="73075" y="577850"/>
                      </a:lnTo>
                      <a:lnTo>
                        <a:pt x="71208" y="579120"/>
                      </a:lnTo>
                      <a:lnTo>
                        <a:pt x="72834" y="580390"/>
                      </a:lnTo>
                      <a:lnTo>
                        <a:pt x="78066" y="584200"/>
                      </a:lnTo>
                      <a:lnTo>
                        <a:pt x="76212" y="585470"/>
                      </a:lnTo>
                      <a:lnTo>
                        <a:pt x="74041" y="586740"/>
                      </a:lnTo>
                      <a:lnTo>
                        <a:pt x="69938" y="590550"/>
                      </a:lnTo>
                      <a:lnTo>
                        <a:pt x="60540" y="589280"/>
                      </a:lnTo>
                      <a:lnTo>
                        <a:pt x="56146" y="588010"/>
                      </a:lnTo>
                      <a:lnTo>
                        <a:pt x="55727" y="591820"/>
                      </a:lnTo>
                      <a:lnTo>
                        <a:pt x="56324" y="591820"/>
                      </a:lnTo>
                      <a:lnTo>
                        <a:pt x="57886" y="594360"/>
                      </a:lnTo>
                      <a:lnTo>
                        <a:pt x="59702" y="595630"/>
                      </a:lnTo>
                      <a:lnTo>
                        <a:pt x="60731" y="596900"/>
                      </a:lnTo>
                      <a:lnTo>
                        <a:pt x="60236" y="601980"/>
                      </a:lnTo>
                      <a:lnTo>
                        <a:pt x="59880" y="604520"/>
                      </a:lnTo>
                      <a:lnTo>
                        <a:pt x="61264" y="605790"/>
                      </a:lnTo>
                      <a:lnTo>
                        <a:pt x="62191" y="607060"/>
                      </a:lnTo>
                      <a:lnTo>
                        <a:pt x="62547" y="607060"/>
                      </a:lnTo>
                      <a:lnTo>
                        <a:pt x="62801" y="608330"/>
                      </a:lnTo>
                      <a:lnTo>
                        <a:pt x="63131" y="608330"/>
                      </a:lnTo>
                      <a:lnTo>
                        <a:pt x="63068" y="609600"/>
                      </a:lnTo>
                      <a:lnTo>
                        <a:pt x="64820" y="609600"/>
                      </a:lnTo>
                      <a:lnTo>
                        <a:pt x="68795" y="610870"/>
                      </a:lnTo>
                      <a:lnTo>
                        <a:pt x="71450" y="607060"/>
                      </a:lnTo>
                      <a:lnTo>
                        <a:pt x="72885" y="604520"/>
                      </a:lnTo>
                      <a:lnTo>
                        <a:pt x="78562" y="605790"/>
                      </a:lnTo>
                      <a:lnTo>
                        <a:pt x="81457" y="605790"/>
                      </a:lnTo>
                      <a:lnTo>
                        <a:pt x="85547" y="604520"/>
                      </a:lnTo>
                      <a:lnTo>
                        <a:pt x="89636" y="603250"/>
                      </a:lnTo>
                      <a:lnTo>
                        <a:pt x="91503" y="603250"/>
                      </a:lnTo>
                      <a:lnTo>
                        <a:pt x="92595" y="604520"/>
                      </a:lnTo>
                      <a:lnTo>
                        <a:pt x="96570" y="608330"/>
                      </a:lnTo>
                      <a:lnTo>
                        <a:pt x="95846" y="610870"/>
                      </a:lnTo>
                      <a:lnTo>
                        <a:pt x="96570" y="612140"/>
                      </a:lnTo>
                      <a:lnTo>
                        <a:pt x="99339" y="613410"/>
                      </a:lnTo>
                      <a:lnTo>
                        <a:pt x="100914" y="614680"/>
                      </a:lnTo>
                      <a:lnTo>
                        <a:pt x="100965" y="615950"/>
                      </a:lnTo>
                      <a:lnTo>
                        <a:pt x="96456" y="615950"/>
                      </a:lnTo>
                      <a:lnTo>
                        <a:pt x="96088" y="617220"/>
                      </a:lnTo>
                      <a:lnTo>
                        <a:pt x="97231" y="618490"/>
                      </a:lnTo>
                      <a:lnTo>
                        <a:pt x="98374" y="621030"/>
                      </a:lnTo>
                      <a:lnTo>
                        <a:pt x="97650" y="623570"/>
                      </a:lnTo>
                      <a:lnTo>
                        <a:pt x="97294" y="626110"/>
                      </a:lnTo>
                      <a:lnTo>
                        <a:pt x="100672" y="624840"/>
                      </a:lnTo>
                      <a:lnTo>
                        <a:pt x="101866" y="624840"/>
                      </a:lnTo>
                      <a:lnTo>
                        <a:pt x="104521" y="627380"/>
                      </a:lnTo>
                      <a:lnTo>
                        <a:pt x="106387" y="627380"/>
                      </a:lnTo>
                      <a:lnTo>
                        <a:pt x="108204" y="626110"/>
                      </a:lnTo>
                      <a:lnTo>
                        <a:pt x="109524" y="626110"/>
                      </a:lnTo>
                      <a:lnTo>
                        <a:pt x="112776" y="628650"/>
                      </a:lnTo>
                      <a:lnTo>
                        <a:pt x="114350" y="629920"/>
                      </a:lnTo>
                      <a:lnTo>
                        <a:pt x="112839" y="631190"/>
                      </a:lnTo>
                      <a:lnTo>
                        <a:pt x="115252" y="635000"/>
                      </a:lnTo>
                      <a:lnTo>
                        <a:pt x="115785" y="637540"/>
                      </a:lnTo>
                      <a:lnTo>
                        <a:pt x="115430" y="638810"/>
                      </a:lnTo>
                      <a:lnTo>
                        <a:pt x="116395" y="640080"/>
                      </a:lnTo>
                      <a:lnTo>
                        <a:pt x="117830" y="641350"/>
                      </a:lnTo>
                      <a:lnTo>
                        <a:pt x="119341" y="642620"/>
                      </a:lnTo>
                      <a:lnTo>
                        <a:pt x="123685" y="640080"/>
                      </a:lnTo>
                      <a:lnTo>
                        <a:pt x="126034" y="641350"/>
                      </a:lnTo>
                      <a:lnTo>
                        <a:pt x="129527" y="643890"/>
                      </a:lnTo>
                      <a:lnTo>
                        <a:pt x="133616" y="643890"/>
                      </a:lnTo>
                      <a:lnTo>
                        <a:pt x="139890" y="641350"/>
                      </a:lnTo>
                      <a:lnTo>
                        <a:pt x="143802" y="640080"/>
                      </a:lnTo>
                      <a:lnTo>
                        <a:pt x="145008" y="640080"/>
                      </a:lnTo>
                      <a:lnTo>
                        <a:pt x="148615" y="645160"/>
                      </a:lnTo>
                      <a:lnTo>
                        <a:pt x="152298" y="650240"/>
                      </a:lnTo>
                      <a:lnTo>
                        <a:pt x="155003" y="647700"/>
                      </a:lnTo>
                      <a:lnTo>
                        <a:pt x="158140" y="647700"/>
                      </a:lnTo>
                      <a:lnTo>
                        <a:pt x="161632" y="648970"/>
                      </a:lnTo>
                      <a:lnTo>
                        <a:pt x="162902" y="650240"/>
                      </a:lnTo>
                      <a:lnTo>
                        <a:pt x="164236" y="651510"/>
                      </a:lnTo>
                      <a:lnTo>
                        <a:pt x="165430" y="652780"/>
                      </a:lnTo>
                      <a:lnTo>
                        <a:pt x="168567" y="650240"/>
                      </a:lnTo>
                      <a:lnTo>
                        <a:pt x="170370" y="650240"/>
                      </a:lnTo>
                      <a:lnTo>
                        <a:pt x="174713" y="655320"/>
                      </a:lnTo>
                      <a:lnTo>
                        <a:pt x="176822" y="659130"/>
                      </a:lnTo>
                      <a:lnTo>
                        <a:pt x="182422" y="656590"/>
                      </a:lnTo>
                      <a:lnTo>
                        <a:pt x="183451" y="659130"/>
                      </a:lnTo>
                      <a:lnTo>
                        <a:pt x="182549" y="661670"/>
                      </a:lnTo>
                      <a:lnTo>
                        <a:pt x="181940" y="662940"/>
                      </a:lnTo>
                      <a:lnTo>
                        <a:pt x="178384" y="666750"/>
                      </a:lnTo>
                      <a:lnTo>
                        <a:pt x="176225" y="668020"/>
                      </a:lnTo>
                      <a:lnTo>
                        <a:pt x="176949" y="668020"/>
                      </a:lnTo>
                      <a:lnTo>
                        <a:pt x="177126" y="669290"/>
                      </a:lnTo>
                      <a:lnTo>
                        <a:pt x="178689" y="669290"/>
                      </a:lnTo>
                      <a:lnTo>
                        <a:pt x="181521" y="670560"/>
                      </a:lnTo>
                      <a:lnTo>
                        <a:pt x="177787" y="670560"/>
                      </a:lnTo>
                      <a:lnTo>
                        <a:pt x="174294" y="673100"/>
                      </a:lnTo>
                      <a:lnTo>
                        <a:pt x="176034" y="675640"/>
                      </a:lnTo>
                      <a:lnTo>
                        <a:pt x="178562" y="675640"/>
                      </a:lnTo>
                      <a:lnTo>
                        <a:pt x="180619" y="680720"/>
                      </a:lnTo>
                      <a:lnTo>
                        <a:pt x="179057" y="683260"/>
                      </a:lnTo>
                      <a:lnTo>
                        <a:pt x="177304" y="687070"/>
                      </a:lnTo>
                      <a:lnTo>
                        <a:pt x="177546" y="689610"/>
                      </a:lnTo>
                      <a:lnTo>
                        <a:pt x="170078" y="688340"/>
                      </a:lnTo>
                      <a:lnTo>
                        <a:pt x="166878" y="687070"/>
                      </a:lnTo>
                      <a:lnTo>
                        <a:pt x="164833" y="689610"/>
                      </a:lnTo>
                      <a:lnTo>
                        <a:pt x="162788" y="690880"/>
                      </a:lnTo>
                      <a:lnTo>
                        <a:pt x="158800" y="692150"/>
                      </a:lnTo>
                      <a:lnTo>
                        <a:pt x="155917" y="693420"/>
                      </a:lnTo>
                      <a:lnTo>
                        <a:pt x="155460" y="699770"/>
                      </a:lnTo>
                      <a:lnTo>
                        <a:pt x="155625" y="701040"/>
                      </a:lnTo>
                      <a:lnTo>
                        <a:pt x="155206" y="702310"/>
                      </a:lnTo>
                      <a:lnTo>
                        <a:pt x="156425" y="702310"/>
                      </a:lnTo>
                      <a:lnTo>
                        <a:pt x="156527" y="701040"/>
                      </a:lnTo>
                      <a:lnTo>
                        <a:pt x="159931" y="699770"/>
                      </a:lnTo>
                      <a:lnTo>
                        <a:pt x="159512" y="701040"/>
                      </a:lnTo>
                      <a:lnTo>
                        <a:pt x="163156" y="701040"/>
                      </a:lnTo>
                      <a:lnTo>
                        <a:pt x="165277" y="699770"/>
                      </a:lnTo>
                      <a:lnTo>
                        <a:pt x="170256" y="699770"/>
                      </a:lnTo>
                      <a:lnTo>
                        <a:pt x="170053" y="701040"/>
                      </a:lnTo>
                      <a:lnTo>
                        <a:pt x="169519" y="702310"/>
                      </a:lnTo>
                      <a:lnTo>
                        <a:pt x="171716" y="701040"/>
                      </a:lnTo>
                      <a:lnTo>
                        <a:pt x="169176" y="703580"/>
                      </a:lnTo>
                      <a:lnTo>
                        <a:pt x="164058" y="706120"/>
                      </a:lnTo>
                      <a:lnTo>
                        <a:pt x="158826" y="706120"/>
                      </a:lnTo>
                      <a:lnTo>
                        <a:pt x="158013" y="707390"/>
                      </a:lnTo>
                      <a:lnTo>
                        <a:pt x="158254" y="707390"/>
                      </a:lnTo>
                      <a:lnTo>
                        <a:pt x="160553" y="708660"/>
                      </a:lnTo>
                      <a:lnTo>
                        <a:pt x="160159" y="709930"/>
                      </a:lnTo>
                      <a:lnTo>
                        <a:pt x="153098" y="709930"/>
                      </a:lnTo>
                      <a:lnTo>
                        <a:pt x="151053" y="711200"/>
                      </a:lnTo>
                      <a:lnTo>
                        <a:pt x="149021" y="709930"/>
                      </a:lnTo>
                      <a:lnTo>
                        <a:pt x="148234" y="709930"/>
                      </a:lnTo>
                      <a:lnTo>
                        <a:pt x="148691" y="711200"/>
                      </a:lnTo>
                      <a:lnTo>
                        <a:pt x="149771" y="713740"/>
                      </a:lnTo>
                      <a:lnTo>
                        <a:pt x="153492" y="716280"/>
                      </a:lnTo>
                      <a:lnTo>
                        <a:pt x="160464" y="718820"/>
                      </a:lnTo>
                      <a:lnTo>
                        <a:pt x="159981" y="721360"/>
                      </a:lnTo>
                      <a:lnTo>
                        <a:pt x="157822" y="720090"/>
                      </a:lnTo>
                      <a:lnTo>
                        <a:pt x="156184" y="720090"/>
                      </a:lnTo>
                      <a:lnTo>
                        <a:pt x="154025" y="718820"/>
                      </a:lnTo>
                      <a:lnTo>
                        <a:pt x="153035" y="722630"/>
                      </a:lnTo>
                      <a:lnTo>
                        <a:pt x="152819" y="725170"/>
                      </a:lnTo>
                      <a:lnTo>
                        <a:pt x="152895" y="723823"/>
                      </a:lnTo>
                      <a:lnTo>
                        <a:pt x="153174" y="721360"/>
                      </a:lnTo>
                      <a:lnTo>
                        <a:pt x="152374" y="720090"/>
                      </a:lnTo>
                      <a:lnTo>
                        <a:pt x="151803" y="721360"/>
                      </a:lnTo>
                      <a:lnTo>
                        <a:pt x="150964" y="721360"/>
                      </a:lnTo>
                      <a:lnTo>
                        <a:pt x="147053" y="730123"/>
                      </a:lnTo>
                      <a:lnTo>
                        <a:pt x="147091" y="730250"/>
                      </a:lnTo>
                      <a:lnTo>
                        <a:pt x="150914" y="734060"/>
                      </a:lnTo>
                      <a:lnTo>
                        <a:pt x="141147" y="734060"/>
                      </a:lnTo>
                      <a:lnTo>
                        <a:pt x="135648" y="731520"/>
                      </a:lnTo>
                      <a:lnTo>
                        <a:pt x="135369" y="731520"/>
                      </a:lnTo>
                      <a:lnTo>
                        <a:pt x="134912" y="734060"/>
                      </a:lnTo>
                      <a:lnTo>
                        <a:pt x="137071" y="734060"/>
                      </a:lnTo>
                      <a:lnTo>
                        <a:pt x="135470" y="735330"/>
                      </a:lnTo>
                      <a:lnTo>
                        <a:pt x="133858" y="735330"/>
                      </a:lnTo>
                      <a:lnTo>
                        <a:pt x="131711" y="736600"/>
                      </a:lnTo>
                      <a:lnTo>
                        <a:pt x="133604" y="737870"/>
                      </a:lnTo>
                      <a:lnTo>
                        <a:pt x="135877" y="737870"/>
                      </a:lnTo>
                      <a:lnTo>
                        <a:pt x="140220" y="739140"/>
                      </a:lnTo>
                      <a:lnTo>
                        <a:pt x="142570" y="742950"/>
                      </a:lnTo>
                      <a:lnTo>
                        <a:pt x="144792" y="745490"/>
                      </a:lnTo>
                      <a:lnTo>
                        <a:pt x="150444" y="745490"/>
                      </a:lnTo>
                      <a:lnTo>
                        <a:pt x="153466" y="749300"/>
                      </a:lnTo>
                      <a:lnTo>
                        <a:pt x="155790" y="750570"/>
                      </a:lnTo>
                      <a:lnTo>
                        <a:pt x="158407" y="750570"/>
                      </a:lnTo>
                      <a:lnTo>
                        <a:pt x="162852" y="751840"/>
                      </a:lnTo>
                      <a:lnTo>
                        <a:pt x="165430" y="754380"/>
                      </a:lnTo>
                      <a:lnTo>
                        <a:pt x="171970" y="759460"/>
                      </a:lnTo>
                      <a:lnTo>
                        <a:pt x="175679" y="763270"/>
                      </a:lnTo>
                      <a:lnTo>
                        <a:pt x="179755" y="767080"/>
                      </a:lnTo>
                      <a:lnTo>
                        <a:pt x="179565" y="768350"/>
                      </a:lnTo>
                      <a:lnTo>
                        <a:pt x="180657" y="768350"/>
                      </a:lnTo>
                      <a:lnTo>
                        <a:pt x="180949" y="767080"/>
                      </a:lnTo>
                      <a:lnTo>
                        <a:pt x="181800" y="764540"/>
                      </a:lnTo>
                      <a:lnTo>
                        <a:pt x="187363" y="765810"/>
                      </a:lnTo>
                      <a:lnTo>
                        <a:pt x="190093" y="764540"/>
                      </a:lnTo>
                      <a:lnTo>
                        <a:pt x="192671" y="765810"/>
                      </a:lnTo>
                      <a:lnTo>
                        <a:pt x="195719" y="768350"/>
                      </a:lnTo>
                      <a:lnTo>
                        <a:pt x="208495" y="772160"/>
                      </a:lnTo>
                      <a:lnTo>
                        <a:pt x="217004" y="769620"/>
                      </a:lnTo>
                      <a:lnTo>
                        <a:pt x="221754" y="772160"/>
                      </a:lnTo>
                      <a:lnTo>
                        <a:pt x="224320" y="774700"/>
                      </a:lnTo>
                      <a:lnTo>
                        <a:pt x="231470" y="778510"/>
                      </a:lnTo>
                      <a:lnTo>
                        <a:pt x="235000" y="778510"/>
                      </a:lnTo>
                      <a:lnTo>
                        <a:pt x="234365" y="779780"/>
                      </a:lnTo>
                      <a:lnTo>
                        <a:pt x="234035" y="781050"/>
                      </a:lnTo>
                      <a:lnTo>
                        <a:pt x="235648" y="781050"/>
                      </a:lnTo>
                      <a:lnTo>
                        <a:pt x="237566" y="782320"/>
                      </a:lnTo>
                      <a:lnTo>
                        <a:pt x="239014" y="782320"/>
                      </a:lnTo>
                      <a:lnTo>
                        <a:pt x="244475" y="778510"/>
                      </a:lnTo>
                      <a:lnTo>
                        <a:pt x="247611" y="778510"/>
                      </a:lnTo>
                      <a:lnTo>
                        <a:pt x="249466" y="781050"/>
                      </a:lnTo>
                      <a:lnTo>
                        <a:pt x="250024" y="779780"/>
                      </a:lnTo>
                      <a:lnTo>
                        <a:pt x="250913" y="778510"/>
                      </a:lnTo>
                      <a:lnTo>
                        <a:pt x="254914" y="781050"/>
                      </a:lnTo>
                      <a:lnTo>
                        <a:pt x="261353" y="783590"/>
                      </a:lnTo>
                      <a:lnTo>
                        <a:pt x="262953" y="783590"/>
                      </a:lnTo>
                      <a:lnTo>
                        <a:pt x="261518" y="786130"/>
                      </a:lnTo>
                      <a:lnTo>
                        <a:pt x="261277" y="788670"/>
                      </a:lnTo>
                      <a:lnTo>
                        <a:pt x="263359" y="789940"/>
                      </a:lnTo>
                      <a:lnTo>
                        <a:pt x="268503" y="792480"/>
                      </a:lnTo>
                      <a:lnTo>
                        <a:pt x="269786" y="792480"/>
                      </a:lnTo>
                      <a:lnTo>
                        <a:pt x="272732" y="793750"/>
                      </a:lnTo>
                      <a:lnTo>
                        <a:pt x="277558" y="793750"/>
                      </a:lnTo>
                      <a:lnTo>
                        <a:pt x="279057" y="795020"/>
                      </a:lnTo>
                      <a:lnTo>
                        <a:pt x="280504" y="798830"/>
                      </a:lnTo>
                      <a:lnTo>
                        <a:pt x="281825" y="800100"/>
                      </a:lnTo>
                      <a:lnTo>
                        <a:pt x="283032" y="800100"/>
                      </a:lnTo>
                      <a:lnTo>
                        <a:pt x="283933" y="801370"/>
                      </a:lnTo>
                      <a:lnTo>
                        <a:pt x="284784" y="802640"/>
                      </a:lnTo>
                      <a:lnTo>
                        <a:pt x="285750" y="803910"/>
                      </a:lnTo>
                      <a:lnTo>
                        <a:pt x="292366" y="805180"/>
                      </a:lnTo>
                      <a:lnTo>
                        <a:pt x="293763" y="805180"/>
                      </a:lnTo>
                      <a:lnTo>
                        <a:pt x="296049" y="800100"/>
                      </a:lnTo>
                      <a:lnTo>
                        <a:pt x="297129" y="801370"/>
                      </a:lnTo>
                      <a:lnTo>
                        <a:pt x="299262" y="798830"/>
                      </a:lnTo>
                      <a:lnTo>
                        <a:pt x="303276" y="796290"/>
                      </a:lnTo>
                      <a:lnTo>
                        <a:pt x="303542" y="793750"/>
                      </a:lnTo>
                      <a:lnTo>
                        <a:pt x="302412" y="793750"/>
                      </a:lnTo>
                      <a:lnTo>
                        <a:pt x="298767" y="791210"/>
                      </a:lnTo>
                      <a:lnTo>
                        <a:pt x="297535" y="787400"/>
                      </a:lnTo>
                      <a:lnTo>
                        <a:pt x="292290" y="781050"/>
                      </a:lnTo>
                      <a:lnTo>
                        <a:pt x="291058" y="778510"/>
                      </a:lnTo>
                      <a:lnTo>
                        <a:pt x="290753" y="777240"/>
                      </a:lnTo>
                      <a:lnTo>
                        <a:pt x="289826" y="775970"/>
                      </a:lnTo>
                      <a:lnTo>
                        <a:pt x="288391" y="775970"/>
                      </a:lnTo>
                      <a:lnTo>
                        <a:pt x="288518" y="774700"/>
                      </a:lnTo>
                      <a:lnTo>
                        <a:pt x="289013" y="770890"/>
                      </a:lnTo>
                      <a:lnTo>
                        <a:pt x="289153" y="769620"/>
                      </a:lnTo>
                      <a:lnTo>
                        <a:pt x="289585" y="765810"/>
                      </a:lnTo>
                      <a:lnTo>
                        <a:pt x="290080" y="761542"/>
                      </a:lnTo>
                      <a:lnTo>
                        <a:pt x="290093" y="760730"/>
                      </a:lnTo>
                      <a:lnTo>
                        <a:pt x="290677" y="759460"/>
                      </a:lnTo>
                      <a:lnTo>
                        <a:pt x="287820" y="758190"/>
                      </a:lnTo>
                      <a:lnTo>
                        <a:pt x="287756" y="760476"/>
                      </a:lnTo>
                      <a:lnTo>
                        <a:pt x="287756" y="760653"/>
                      </a:lnTo>
                      <a:lnTo>
                        <a:pt x="287693" y="763270"/>
                      </a:lnTo>
                      <a:lnTo>
                        <a:pt x="287464" y="765810"/>
                      </a:lnTo>
                      <a:lnTo>
                        <a:pt x="286969" y="764540"/>
                      </a:lnTo>
                      <a:lnTo>
                        <a:pt x="286042" y="764540"/>
                      </a:lnTo>
                      <a:lnTo>
                        <a:pt x="286588" y="763270"/>
                      </a:lnTo>
                      <a:lnTo>
                        <a:pt x="287667" y="762000"/>
                      </a:lnTo>
                      <a:lnTo>
                        <a:pt x="287756" y="760653"/>
                      </a:lnTo>
                      <a:lnTo>
                        <a:pt x="287756" y="760476"/>
                      </a:lnTo>
                      <a:lnTo>
                        <a:pt x="287350" y="759460"/>
                      </a:lnTo>
                      <a:lnTo>
                        <a:pt x="286740" y="758190"/>
                      </a:lnTo>
                      <a:lnTo>
                        <a:pt x="285305" y="755650"/>
                      </a:lnTo>
                      <a:lnTo>
                        <a:pt x="284226" y="753110"/>
                      </a:lnTo>
                      <a:lnTo>
                        <a:pt x="280111" y="750570"/>
                      </a:lnTo>
                      <a:lnTo>
                        <a:pt x="277291" y="750570"/>
                      </a:lnTo>
                      <a:lnTo>
                        <a:pt x="274866" y="748030"/>
                      </a:lnTo>
                      <a:lnTo>
                        <a:pt x="278371" y="744220"/>
                      </a:lnTo>
                      <a:lnTo>
                        <a:pt x="279869" y="742950"/>
                      </a:lnTo>
                      <a:lnTo>
                        <a:pt x="282727" y="740410"/>
                      </a:lnTo>
                      <a:lnTo>
                        <a:pt x="283997" y="739140"/>
                      </a:lnTo>
                      <a:lnTo>
                        <a:pt x="285394" y="735330"/>
                      </a:lnTo>
                      <a:lnTo>
                        <a:pt x="286854" y="731520"/>
                      </a:lnTo>
                      <a:lnTo>
                        <a:pt x="287629" y="730250"/>
                      </a:lnTo>
                      <a:lnTo>
                        <a:pt x="287667" y="728980"/>
                      </a:lnTo>
                      <a:lnTo>
                        <a:pt x="287959" y="727710"/>
                      </a:lnTo>
                      <a:lnTo>
                        <a:pt x="288696" y="728980"/>
                      </a:lnTo>
                      <a:lnTo>
                        <a:pt x="290283" y="728980"/>
                      </a:lnTo>
                      <a:lnTo>
                        <a:pt x="289788" y="727710"/>
                      </a:lnTo>
                      <a:lnTo>
                        <a:pt x="289483" y="726440"/>
                      </a:lnTo>
                      <a:lnTo>
                        <a:pt x="290512" y="726440"/>
                      </a:lnTo>
                      <a:lnTo>
                        <a:pt x="291515" y="727710"/>
                      </a:lnTo>
                      <a:lnTo>
                        <a:pt x="292747" y="728980"/>
                      </a:lnTo>
                      <a:lnTo>
                        <a:pt x="293916" y="726440"/>
                      </a:lnTo>
                      <a:lnTo>
                        <a:pt x="298386" y="726440"/>
                      </a:lnTo>
                      <a:lnTo>
                        <a:pt x="300431" y="725170"/>
                      </a:lnTo>
                      <a:lnTo>
                        <a:pt x="302056" y="723823"/>
                      </a:lnTo>
                      <a:lnTo>
                        <a:pt x="303352" y="722630"/>
                      </a:lnTo>
                      <a:lnTo>
                        <a:pt x="303593" y="722630"/>
                      </a:lnTo>
                      <a:lnTo>
                        <a:pt x="305701" y="723823"/>
                      </a:lnTo>
                      <a:lnTo>
                        <a:pt x="305587" y="722630"/>
                      </a:lnTo>
                      <a:lnTo>
                        <a:pt x="305473" y="721360"/>
                      </a:lnTo>
                      <a:lnTo>
                        <a:pt x="305244" y="718820"/>
                      </a:lnTo>
                      <a:lnTo>
                        <a:pt x="309333" y="720090"/>
                      </a:lnTo>
                      <a:lnTo>
                        <a:pt x="311416" y="718820"/>
                      </a:lnTo>
                      <a:lnTo>
                        <a:pt x="311251" y="717550"/>
                      </a:lnTo>
                      <a:lnTo>
                        <a:pt x="311543" y="716280"/>
                      </a:lnTo>
                      <a:lnTo>
                        <a:pt x="312559" y="716280"/>
                      </a:lnTo>
                      <a:lnTo>
                        <a:pt x="312686" y="715010"/>
                      </a:lnTo>
                      <a:lnTo>
                        <a:pt x="311365" y="715010"/>
                      </a:lnTo>
                      <a:lnTo>
                        <a:pt x="309981" y="713740"/>
                      </a:lnTo>
                      <a:lnTo>
                        <a:pt x="305968" y="712470"/>
                      </a:lnTo>
                      <a:lnTo>
                        <a:pt x="305054" y="712470"/>
                      </a:lnTo>
                      <a:lnTo>
                        <a:pt x="304622" y="711200"/>
                      </a:lnTo>
                      <a:lnTo>
                        <a:pt x="302907" y="711200"/>
                      </a:lnTo>
                      <a:lnTo>
                        <a:pt x="302780" y="709930"/>
                      </a:lnTo>
                      <a:lnTo>
                        <a:pt x="302336" y="709930"/>
                      </a:lnTo>
                      <a:lnTo>
                        <a:pt x="302539" y="708660"/>
                      </a:lnTo>
                      <a:lnTo>
                        <a:pt x="303288" y="708660"/>
                      </a:lnTo>
                      <a:lnTo>
                        <a:pt x="304241" y="707390"/>
                      </a:lnTo>
                      <a:lnTo>
                        <a:pt x="305181" y="708660"/>
                      </a:lnTo>
                      <a:lnTo>
                        <a:pt x="306298" y="708660"/>
                      </a:lnTo>
                      <a:lnTo>
                        <a:pt x="306959" y="709930"/>
                      </a:lnTo>
                      <a:lnTo>
                        <a:pt x="307682" y="709930"/>
                      </a:lnTo>
                      <a:lnTo>
                        <a:pt x="308813" y="708660"/>
                      </a:lnTo>
                      <a:lnTo>
                        <a:pt x="309422" y="708660"/>
                      </a:lnTo>
                      <a:lnTo>
                        <a:pt x="309537" y="707390"/>
                      </a:lnTo>
                      <a:lnTo>
                        <a:pt x="309448" y="706120"/>
                      </a:lnTo>
                      <a:lnTo>
                        <a:pt x="306857" y="703580"/>
                      </a:lnTo>
                      <a:lnTo>
                        <a:pt x="305231" y="701040"/>
                      </a:lnTo>
                      <a:lnTo>
                        <a:pt x="304406" y="699770"/>
                      </a:lnTo>
                      <a:lnTo>
                        <a:pt x="302945" y="698500"/>
                      </a:lnTo>
                      <a:lnTo>
                        <a:pt x="300761" y="694690"/>
                      </a:lnTo>
                      <a:lnTo>
                        <a:pt x="300088" y="693420"/>
                      </a:lnTo>
                      <a:lnTo>
                        <a:pt x="299377" y="693420"/>
                      </a:lnTo>
                      <a:lnTo>
                        <a:pt x="298221" y="690880"/>
                      </a:lnTo>
                      <a:lnTo>
                        <a:pt x="297307" y="690880"/>
                      </a:lnTo>
                      <a:lnTo>
                        <a:pt x="297065" y="689610"/>
                      </a:lnTo>
                      <a:lnTo>
                        <a:pt x="292087" y="689610"/>
                      </a:lnTo>
                      <a:lnTo>
                        <a:pt x="290436" y="690880"/>
                      </a:lnTo>
                      <a:lnTo>
                        <a:pt x="286067" y="690880"/>
                      </a:lnTo>
                      <a:lnTo>
                        <a:pt x="284467" y="689610"/>
                      </a:lnTo>
                      <a:lnTo>
                        <a:pt x="282981" y="689610"/>
                      </a:lnTo>
                      <a:lnTo>
                        <a:pt x="282879" y="684530"/>
                      </a:lnTo>
                      <a:lnTo>
                        <a:pt x="283489" y="681990"/>
                      </a:lnTo>
                      <a:lnTo>
                        <a:pt x="281876" y="680720"/>
                      </a:lnTo>
                      <a:lnTo>
                        <a:pt x="278993" y="679450"/>
                      </a:lnTo>
                      <a:lnTo>
                        <a:pt x="276466" y="679450"/>
                      </a:lnTo>
                      <a:lnTo>
                        <a:pt x="275551" y="678180"/>
                      </a:lnTo>
                      <a:lnTo>
                        <a:pt x="274116" y="678180"/>
                      </a:lnTo>
                      <a:lnTo>
                        <a:pt x="274053" y="676910"/>
                      </a:lnTo>
                      <a:lnTo>
                        <a:pt x="274269" y="675640"/>
                      </a:lnTo>
                      <a:lnTo>
                        <a:pt x="275056" y="674370"/>
                      </a:lnTo>
                      <a:lnTo>
                        <a:pt x="278447" y="669290"/>
                      </a:lnTo>
                      <a:lnTo>
                        <a:pt x="280352" y="666750"/>
                      </a:lnTo>
                      <a:lnTo>
                        <a:pt x="280619" y="666750"/>
                      </a:lnTo>
                      <a:lnTo>
                        <a:pt x="281609" y="665480"/>
                      </a:lnTo>
                      <a:lnTo>
                        <a:pt x="282028" y="664210"/>
                      </a:lnTo>
                      <a:lnTo>
                        <a:pt x="279996" y="661670"/>
                      </a:lnTo>
                      <a:lnTo>
                        <a:pt x="279463" y="661670"/>
                      </a:lnTo>
                      <a:lnTo>
                        <a:pt x="278155" y="660450"/>
                      </a:lnTo>
                      <a:lnTo>
                        <a:pt x="278853" y="656590"/>
                      </a:lnTo>
                      <a:lnTo>
                        <a:pt x="279298" y="654050"/>
                      </a:lnTo>
                      <a:lnTo>
                        <a:pt x="279476" y="652780"/>
                      </a:lnTo>
                      <a:lnTo>
                        <a:pt x="279717" y="652780"/>
                      </a:lnTo>
                      <a:lnTo>
                        <a:pt x="279730" y="651510"/>
                      </a:lnTo>
                      <a:lnTo>
                        <a:pt x="280581" y="650240"/>
                      </a:lnTo>
                      <a:lnTo>
                        <a:pt x="282524" y="650240"/>
                      </a:lnTo>
                      <a:lnTo>
                        <a:pt x="284010" y="648970"/>
                      </a:lnTo>
                      <a:lnTo>
                        <a:pt x="284721" y="648970"/>
                      </a:lnTo>
                      <a:lnTo>
                        <a:pt x="284988" y="647700"/>
                      </a:lnTo>
                      <a:lnTo>
                        <a:pt x="285229" y="647700"/>
                      </a:lnTo>
                      <a:lnTo>
                        <a:pt x="285991" y="646430"/>
                      </a:lnTo>
                      <a:lnTo>
                        <a:pt x="286321" y="643890"/>
                      </a:lnTo>
                      <a:lnTo>
                        <a:pt x="286854" y="642620"/>
                      </a:lnTo>
                      <a:lnTo>
                        <a:pt x="287045" y="642620"/>
                      </a:lnTo>
                      <a:lnTo>
                        <a:pt x="287439" y="641350"/>
                      </a:lnTo>
                      <a:lnTo>
                        <a:pt x="290436" y="641350"/>
                      </a:lnTo>
                      <a:lnTo>
                        <a:pt x="292569" y="642620"/>
                      </a:lnTo>
                      <a:lnTo>
                        <a:pt x="294919" y="645160"/>
                      </a:lnTo>
                      <a:lnTo>
                        <a:pt x="297040" y="647700"/>
                      </a:lnTo>
                      <a:lnTo>
                        <a:pt x="298627" y="650240"/>
                      </a:lnTo>
                      <a:lnTo>
                        <a:pt x="300139" y="651510"/>
                      </a:lnTo>
                      <a:lnTo>
                        <a:pt x="303847" y="651510"/>
                      </a:lnTo>
                      <a:lnTo>
                        <a:pt x="305079" y="650240"/>
                      </a:lnTo>
                      <a:lnTo>
                        <a:pt x="306476" y="650240"/>
                      </a:lnTo>
                      <a:lnTo>
                        <a:pt x="307251" y="648970"/>
                      </a:lnTo>
                      <a:lnTo>
                        <a:pt x="308216" y="648970"/>
                      </a:lnTo>
                      <a:lnTo>
                        <a:pt x="308292" y="647700"/>
                      </a:lnTo>
                      <a:lnTo>
                        <a:pt x="307924" y="647700"/>
                      </a:lnTo>
                      <a:lnTo>
                        <a:pt x="307708" y="646430"/>
                      </a:lnTo>
                      <a:lnTo>
                        <a:pt x="306539" y="646430"/>
                      </a:lnTo>
                      <a:lnTo>
                        <a:pt x="306933" y="645160"/>
                      </a:lnTo>
                      <a:lnTo>
                        <a:pt x="306425" y="645160"/>
                      </a:lnTo>
                      <a:lnTo>
                        <a:pt x="306082" y="643890"/>
                      </a:lnTo>
                      <a:lnTo>
                        <a:pt x="305930" y="643890"/>
                      </a:lnTo>
                      <a:lnTo>
                        <a:pt x="305600" y="642620"/>
                      </a:lnTo>
                      <a:lnTo>
                        <a:pt x="305447" y="641350"/>
                      </a:lnTo>
                      <a:lnTo>
                        <a:pt x="305028" y="640080"/>
                      </a:lnTo>
                      <a:lnTo>
                        <a:pt x="304596" y="638810"/>
                      </a:lnTo>
                      <a:lnTo>
                        <a:pt x="304012" y="637540"/>
                      </a:lnTo>
                      <a:lnTo>
                        <a:pt x="303974" y="636270"/>
                      </a:lnTo>
                      <a:lnTo>
                        <a:pt x="306285" y="637540"/>
                      </a:lnTo>
                      <a:lnTo>
                        <a:pt x="307822" y="636270"/>
                      </a:lnTo>
                      <a:lnTo>
                        <a:pt x="310349" y="635000"/>
                      </a:lnTo>
                      <a:lnTo>
                        <a:pt x="310807" y="635000"/>
                      </a:lnTo>
                      <a:lnTo>
                        <a:pt x="312254" y="633730"/>
                      </a:lnTo>
                      <a:lnTo>
                        <a:pt x="314972" y="633730"/>
                      </a:lnTo>
                      <a:lnTo>
                        <a:pt x="315468" y="632460"/>
                      </a:lnTo>
                      <a:lnTo>
                        <a:pt x="316128" y="631190"/>
                      </a:lnTo>
                      <a:lnTo>
                        <a:pt x="315290" y="631190"/>
                      </a:lnTo>
                      <a:lnTo>
                        <a:pt x="314845" y="629920"/>
                      </a:lnTo>
                      <a:lnTo>
                        <a:pt x="323380" y="626110"/>
                      </a:lnTo>
                      <a:lnTo>
                        <a:pt x="326224" y="624840"/>
                      </a:lnTo>
                      <a:lnTo>
                        <a:pt x="328333" y="624840"/>
                      </a:lnTo>
                      <a:lnTo>
                        <a:pt x="329234" y="623570"/>
                      </a:lnTo>
                      <a:lnTo>
                        <a:pt x="329082" y="623570"/>
                      </a:lnTo>
                      <a:lnTo>
                        <a:pt x="329933" y="621030"/>
                      </a:lnTo>
                      <a:lnTo>
                        <a:pt x="331444" y="619760"/>
                      </a:lnTo>
                      <a:lnTo>
                        <a:pt x="331660" y="618490"/>
                      </a:lnTo>
                      <a:lnTo>
                        <a:pt x="335305" y="618490"/>
                      </a:lnTo>
                      <a:lnTo>
                        <a:pt x="335470" y="617220"/>
                      </a:lnTo>
                      <a:lnTo>
                        <a:pt x="335686" y="617220"/>
                      </a:lnTo>
                      <a:lnTo>
                        <a:pt x="335534" y="615950"/>
                      </a:lnTo>
                      <a:lnTo>
                        <a:pt x="339102" y="615950"/>
                      </a:lnTo>
                      <a:lnTo>
                        <a:pt x="340741" y="617220"/>
                      </a:lnTo>
                      <a:lnTo>
                        <a:pt x="343014" y="617220"/>
                      </a:lnTo>
                      <a:lnTo>
                        <a:pt x="343623" y="618490"/>
                      </a:lnTo>
                      <a:lnTo>
                        <a:pt x="343306" y="619760"/>
                      </a:lnTo>
                      <a:lnTo>
                        <a:pt x="343547" y="619760"/>
                      </a:lnTo>
                      <a:lnTo>
                        <a:pt x="344182" y="621030"/>
                      </a:lnTo>
                      <a:lnTo>
                        <a:pt x="348589" y="621030"/>
                      </a:lnTo>
                      <a:lnTo>
                        <a:pt x="350012" y="619760"/>
                      </a:lnTo>
                      <a:lnTo>
                        <a:pt x="349008" y="619760"/>
                      </a:lnTo>
                      <a:lnTo>
                        <a:pt x="349669" y="618490"/>
                      </a:lnTo>
                      <a:lnTo>
                        <a:pt x="349732" y="617220"/>
                      </a:lnTo>
                      <a:lnTo>
                        <a:pt x="354749" y="617220"/>
                      </a:lnTo>
                      <a:lnTo>
                        <a:pt x="357454" y="614680"/>
                      </a:lnTo>
                      <a:lnTo>
                        <a:pt x="357835" y="615950"/>
                      </a:lnTo>
                      <a:lnTo>
                        <a:pt x="358355" y="617220"/>
                      </a:lnTo>
                      <a:lnTo>
                        <a:pt x="359308" y="619760"/>
                      </a:lnTo>
                      <a:lnTo>
                        <a:pt x="359562" y="619760"/>
                      </a:lnTo>
                      <a:lnTo>
                        <a:pt x="360057" y="621030"/>
                      </a:lnTo>
                      <a:lnTo>
                        <a:pt x="364363" y="621030"/>
                      </a:lnTo>
                      <a:lnTo>
                        <a:pt x="365848" y="619760"/>
                      </a:lnTo>
                      <a:lnTo>
                        <a:pt x="369582" y="619760"/>
                      </a:lnTo>
                      <a:lnTo>
                        <a:pt x="371843" y="621030"/>
                      </a:lnTo>
                      <a:lnTo>
                        <a:pt x="376809" y="622300"/>
                      </a:lnTo>
                      <a:lnTo>
                        <a:pt x="380238" y="626110"/>
                      </a:lnTo>
                      <a:lnTo>
                        <a:pt x="385216" y="629920"/>
                      </a:lnTo>
                      <a:lnTo>
                        <a:pt x="388277" y="632460"/>
                      </a:lnTo>
                      <a:lnTo>
                        <a:pt x="388327" y="633730"/>
                      </a:lnTo>
                      <a:lnTo>
                        <a:pt x="387858" y="633730"/>
                      </a:lnTo>
                      <a:lnTo>
                        <a:pt x="388150" y="637540"/>
                      </a:lnTo>
                      <a:lnTo>
                        <a:pt x="388569" y="638810"/>
                      </a:lnTo>
                      <a:lnTo>
                        <a:pt x="390537" y="637540"/>
                      </a:lnTo>
                      <a:lnTo>
                        <a:pt x="390690" y="637540"/>
                      </a:lnTo>
                      <a:lnTo>
                        <a:pt x="390931" y="636270"/>
                      </a:lnTo>
                      <a:lnTo>
                        <a:pt x="390791" y="636270"/>
                      </a:lnTo>
                      <a:lnTo>
                        <a:pt x="390702" y="633730"/>
                      </a:lnTo>
                      <a:lnTo>
                        <a:pt x="390550" y="633730"/>
                      </a:lnTo>
                      <a:lnTo>
                        <a:pt x="390461" y="632460"/>
                      </a:lnTo>
                      <a:lnTo>
                        <a:pt x="389521" y="629920"/>
                      </a:lnTo>
                      <a:lnTo>
                        <a:pt x="392734" y="629920"/>
                      </a:lnTo>
                      <a:lnTo>
                        <a:pt x="393725" y="631190"/>
                      </a:lnTo>
                      <a:lnTo>
                        <a:pt x="396557" y="633730"/>
                      </a:lnTo>
                      <a:lnTo>
                        <a:pt x="401345" y="636270"/>
                      </a:lnTo>
                      <a:lnTo>
                        <a:pt x="404799" y="638810"/>
                      </a:lnTo>
                      <a:lnTo>
                        <a:pt x="406273" y="638810"/>
                      </a:lnTo>
                      <a:lnTo>
                        <a:pt x="408876" y="636270"/>
                      </a:lnTo>
                      <a:lnTo>
                        <a:pt x="410629" y="636270"/>
                      </a:lnTo>
                      <a:lnTo>
                        <a:pt x="411302" y="635000"/>
                      </a:lnTo>
                      <a:lnTo>
                        <a:pt x="411441" y="633730"/>
                      </a:lnTo>
                      <a:lnTo>
                        <a:pt x="411581" y="633730"/>
                      </a:lnTo>
                      <a:lnTo>
                        <a:pt x="412483" y="632460"/>
                      </a:lnTo>
                      <a:lnTo>
                        <a:pt x="413753" y="632460"/>
                      </a:lnTo>
                      <a:lnTo>
                        <a:pt x="416445" y="629920"/>
                      </a:lnTo>
                      <a:lnTo>
                        <a:pt x="415290" y="629920"/>
                      </a:lnTo>
                      <a:lnTo>
                        <a:pt x="420103" y="628650"/>
                      </a:lnTo>
                      <a:lnTo>
                        <a:pt x="427253" y="627380"/>
                      </a:lnTo>
                      <a:lnTo>
                        <a:pt x="426466" y="628650"/>
                      </a:lnTo>
                      <a:lnTo>
                        <a:pt x="428320" y="629920"/>
                      </a:lnTo>
                      <a:lnTo>
                        <a:pt x="429094" y="631190"/>
                      </a:lnTo>
                      <a:lnTo>
                        <a:pt x="429958" y="632460"/>
                      </a:lnTo>
                      <a:lnTo>
                        <a:pt x="433425" y="632460"/>
                      </a:lnTo>
                      <a:lnTo>
                        <a:pt x="434505" y="631190"/>
                      </a:lnTo>
                      <a:lnTo>
                        <a:pt x="434809" y="631190"/>
                      </a:lnTo>
                      <a:lnTo>
                        <a:pt x="435965" y="628650"/>
                      </a:lnTo>
                      <a:lnTo>
                        <a:pt x="433908" y="627380"/>
                      </a:lnTo>
                      <a:lnTo>
                        <a:pt x="446786" y="627380"/>
                      </a:lnTo>
                      <a:lnTo>
                        <a:pt x="447598" y="631190"/>
                      </a:lnTo>
                      <a:lnTo>
                        <a:pt x="447636" y="633730"/>
                      </a:lnTo>
                      <a:lnTo>
                        <a:pt x="448322" y="633730"/>
                      </a:lnTo>
                      <a:lnTo>
                        <a:pt x="449033" y="635000"/>
                      </a:lnTo>
                      <a:lnTo>
                        <a:pt x="450837" y="635000"/>
                      </a:lnTo>
                      <a:lnTo>
                        <a:pt x="451561" y="636270"/>
                      </a:lnTo>
                      <a:lnTo>
                        <a:pt x="456819" y="636270"/>
                      </a:lnTo>
                      <a:lnTo>
                        <a:pt x="458508" y="637540"/>
                      </a:lnTo>
                      <a:lnTo>
                        <a:pt x="461518" y="637540"/>
                      </a:lnTo>
                      <a:lnTo>
                        <a:pt x="460629" y="638810"/>
                      </a:lnTo>
                      <a:lnTo>
                        <a:pt x="460629" y="640080"/>
                      </a:lnTo>
                      <a:lnTo>
                        <a:pt x="460883" y="638810"/>
                      </a:lnTo>
                      <a:lnTo>
                        <a:pt x="464108" y="638810"/>
                      </a:lnTo>
                      <a:lnTo>
                        <a:pt x="464375" y="637540"/>
                      </a:lnTo>
                      <a:lnTo>
                        <a:pt x="465289" y="637540"/>
                      </a:lnTo>
                      <a:lnTo>
                        <a:pt x="465594" y="636270"/>
                      </a:lnTo>
                      <a:lnTo>
                        <a:pt x="465836" y="636270"/>
                      </a:lnTo>
                      <a:lnTo>
                        <a:pt x="466305" y="635000"/>
                      </a:lnTo>
                      <a:lnTo>
                        <a:pt x="466636" y="633730"/>
                      </a:lnTo>
                      <a:lnTo>
                        <a:pt x="466801" y="632460"/>
                      </a:lnTo>
                      <a:lnTo>
                        <a:pt x="469544" y="635000"/>
                      </a:lnTo>
                      <a:lnTo>
                        <a:pt x="472897" y="635000"/>
                      </a:lnTo>
                      <a:lnTo>
                        <a:pt x="474929" y="636270"/>
                      </a:lnTo>
                      <a:lnTo>
                        <a:pt x="480199" y="636270"/>
                      </a:lnTo>
                      <a:lnTo>
                        <a:pt x="484174" y="635000"/>
                      </a:lnTo>
                      <a:lnTo>
                        <a:pt x="486346" y="633730"/>
                      </a:lnTo>
                      <a:lnTo>
                        <a:pt x="487362" y="633730"/>
                      </a:lnTo>
                      <a:lnTo>
                        <a:pt x="487591" y="632460"/>
                      </a:lnTo>
                      <a:lnTo>
                        <a:pt x="487934" y="632460"/>
                      </a:lnTo>
                      <a:lnTo>
                        <a:pt x="487972" y="631190"/>
                      </a:lnTo>
                      <a:lnTo>
                        <a:pt x="488124" y="629920"/>
                      </a:lnTo>
                      <a:lnTo>
                        <a:pt x="488315" y="629920"/>
                      </a:lnTo>
                      <a:lnTo>
                        <a:pt x="488721" y="627380"/>
                      </a:lnTo>
                      <a:lnTo>
                        <a:pt x="489585" y="627380"/>
                      </a:lnTo>
                      <a:lnTo>
                        <a:pt x="490474" y="626110"/>
                      </a:lnTo>
                      <a:lnTo>
                        <a:pt x="491058" y="624840"/>
                      </a:lnTo>
                      <a:lnTo>
                        <a:pt x="489750" y="624840"/>
                      </a:lnTo>
                      <a:lnTo>
                        <a:pt x="482346" y="621030"/>
                      </a:lnTo>
                      <a:lnTo>
                        <a:pt x="481647" y="621030"/>
                      </a:lnTo>
                      <a:lnTo>
                        <a:pt x="477012" y="618490"/>
                      </a:lnTo>
                      <a:lnTo>
                        <a:pt x="474751" y="618490"/>
                      </a:lnTo>
                      <a:lnTo>
                        <a:pt x="474599" y="617220"/>
                      </a:lnTo>
                      <a:lnTo>
                        <a:pt x="472274" y="617220"/>
                      </a:lnTo>
                      <a:lnTo>
                        <a:pt x="472541" y="615950"/>
                      </a:lnTo>
                      <a:lnTo>
                        <a:pt x="473125" y="615950"/>
                      </a:lnTo>
                      <a:lnTo>
                        <a:pt x="471919" y="614680"/>
                      </a:lnTo>
                      <a:lnTo>
                        <a:pt x="470128" y="614680"/>
                      </a:lnTo>
                      <a:lnTo>
                        <a:pt x="468960" y="613410"/>
                      </a:lnTo>
                      <a:lnTo>
                        <a:pt x="468617" y="613410"/>
                      </a:lnTo>
                      <a:lnTo>
                        <a:pt x="467918" y="612140"/>
                      </a:lnTo>
                      <a:lnTo>
                        <a:pt x="467194" y="612140"/>
                      </a:lnTo>
                      <a:lnTo>
                        <a:pt x="466991" y="610870"/>
                      </a:lnTo>
                      <a:lnTo>
                        <a:pt x="470890" y="610870"/>
                      </a:lnTo>
                      <a:lnTo>
                        <a:pt x="472109" y="609600"/>
                      </a:lnTo>
                      <a:lnTo>
                        <a:pt x="472732" y="608330"/>
                      </a:lnTo>
                      <a:lnTo>
                        <a:pt x="476745" y="608330"/>
                      </a:lnTo>
                      <a:lnTo>
                        <a:pt x="476973" y="607060"/>
                      </a:lnTo>
                      <a:lnTo>
                        <a:pt x="478358" y="607060"/>
                      </a:lnTo>
                      <a:lnTo>
                        <a:pt x="478751" y="605790"/>
                      </a:lnTo>
                      <a:lnTo>
                        <a:pt x="480199" y="605790"/>
                      </a:lnTo>
                      <a:lnTo>
                        <a:pt x="480999" y="604520"/>
                      </a:lnTo>
                      <a:lnTo>
                        <a:pt x="481685" y="604520"/>
                      </a:lnTo>
                      <a:lnTo>
                        <a:pt x="481533" y="603250"/>
                      </a:lnTo>
                      <a:lnTo>
                        <a:pt x="481164" y="603250"/>
                      </a:lnTo>
                      <a:lnTo>
                        <a:pt x="477139" y="598170"/>
                      </a:lnTo>
                      <a:lnTo>
                        <a:pt x="476872" y="598170"/>
                      </a:lnTo>
                      <a:lnTo>
                        <a:pt x="476910" y="596900"/>
                      </a:lnTo>
                      <a:lnTo>
                        <a:pt x="477596" y="596900"/>
                      </a:lnTo>
                      <a:lnTo>
                        <a:pt x="478028" y="595630"/>
                      </a:lnTo>
                      <a:lnTo>
                        <a:pt x="479107" y="595630"/>
                      </a:lnTo>
                      <a:lnTo>
                        <a:pt x="481266" y="593090"/>
                      </a:lnTo>
                      <a:lnTo>
                        <a:pt x="481342" y="591820"/>
                      </a:lnTo>
                      <a:lnTo>
                        <a:pt x="484047" y="591820"/>
                      </a:lnTo>
                      <a:lnTo>
                        <a:pt x="484530" y="590550"/>
                      </a:lnTo>
                      <a:lnTo>
                        <a:pt x="485038" y="591820"/>
                      </a:lnTo>
                      <a:lnTo>
                        <a:pt x="487362" y="591820"/>
                      </a:lnTo>
                      <a:lnTo>
                        <a:pt x="487451" y="590550"/>
                      </a:lnTo>
                      <a:lnTo>
                        <a:pt x="488124" y="590550"/>
                      </a:lnTo>
                      <a:lnTo>
                        <a:pt x="488378" y="591820"/>
                      </a:lnTo>
                      <a:lnTo>
                        <a:pt x="489839" y="591820"/>
                      </a:lnTo>
                      <a:lnTo>
                        <a:pt x="490512" y="593090"/>
                      </a:lnTo>
                      <a:lnTo>
                        <a:pt x="490448" y="591820"/>
                      </a:lnTo>
                      <a:lnTo>
                        <a:pt x="494741" y="591820"/>
                      </a:lnTo>
                      <a:lnTo>
                        <a:pt x="495084" y="593090"/>
                      </a:lnTo>
                      <a:lnTo>
                        <a:pt x="495947" y="593090"/>
                      </a:lnTo>
                      <a:lnTo>
                        <a:pt x="496150" y="591820"/>
                      </a:lnTo>
                      <a:lnTo>
                        <a:pt x="496836" y="591820"/>
                      </a:lnTo>
                      <a:lnTo>
                        <a:pt x="497217" y="590550"/>
                      </a:lnTo>
                      <a:lnTo>
                        <a:pt x="497420" y="590550"/>
                      </a:lnTo>
                      <a:lnTo>
                        <a:pt x="496646" y="589280"/>
                      </a:lnTo>
                      <a:lnTo>
                        <a:pt x="494995" y="589280"/>
                      </a:lnTo>
                      <a:lnTo>
                        <a:pt x="491058" y="588010"/>
                      </a:lnTo>
                      <a:lnTo>
                        <a:pt x="488645" y="588010"/>
                      </a:lnTo>
                      <a:lnTo>
                        <a:pt x="488010" y="586740"/>
                      </a:lnTo>
                      <a:lnTo>
                        <a:pt x="484505" y="586740"/>
                      </a:lnTo>
                      <a:lnTo>
                        <a:pt x="484428" y="585470"/>
                      </a:lnTo>
                      <a:lnTo>
                        <a:pt x="483946" y="585470"/>
                      </a:lnTo>
                      <a:lnTo>
                        <a:pt x="483616" y="584200"/>
                      </a:lnTo>
                      <a:lnTo>
                        <a:pt x="483946" y="584200"/>
                      </a:lnTo>
                      <a:lnTo>
                        <a:pt x="484035" y="582930"/>
                      </a:lnTo>
                      <a:lnTo>
                        <a:pt x="484657" y="582930"/>
                      </a:lnTo>
                      <a:lnTo>
                        <a:pt x="484632" y="581660"/>
                      </a:lnTo>
                      <a:lnTo>
                        <a:pt x="486168" y="581660"/>
                      </a:lnTo>
                      <a:lnTo>
                        <a:pt x="486359" y="582930"/>
                      </a:lnTo>
                      <a:lnTo>
                        <a:pt x="488010" y="582930"/>
                      </a:lnTo>
                      <a:lnTo>
                        <a:pt x="488429" y="581660"/>
                      </a:lnTo>
                      <a:lnTo>
                        <a:pt x="489216" y="581660"/>
                      </a:lnTo>
                      <a:lnTo>
                        <a:pt x="489216" y="580390"/>
                      </a:lnTo>
                      <a:lnTo>
                        <a:pt x="482346" y="580390"/>
                      </a:lnTo>
                      <a:lnTo>
                        <a:pt x="481761" y="579120"/>
                      </a:lnTo>
                      <a:lnTo>
                        <a:pt x="482180" y="579120"/>
                      </a:lnTo>
                      <a:lnTo>
                        <a:pt x="482142" y="577850"/>
                      </a:lnTo>
                      <a:lnTo>
                        <a:pt x="483158" y="577850"/>
                      </a:lnTo>
                      <a:lnTo>
                        <a:pt x="483362" y="576580"/>
                      </a:lnTo>
                      <a:lnTo>
                        <a:pt x="483311" y="577850"/>
                      </a:lnTo>
                      <a:lnTo>
                        <a:pt x="483438" y="576580"/>
                      </a:lnTo>
                      <a:lnTo>
                        <a:pt x="484174" y="576580"/>
                      </a:lnTo>
                      <a:lnTo>
                        <a:pt x="484174" y="575310"/>
                      </a:lnTo>
                      <a:lnTo>
                        <a:pt x="483920" y="575310"/>
                      </a:lnTo>
                      <a:lnTo>
                        <a:pt x="481139" y="574040"/>
                      </a:lnTo>
                      <a:lnTo>
                        <a:pt x="481647" y="574040"/>
                      </a:lnTo>
                      <a:lnTo>
                        <a:pt x="481457" y="572770"/>
                      </a:lnTo>
                      <a:lnTo>
                        <a:pt x="483450" y="572770"/>
                      </a:lnTo>
                      <a:lnTo>
                        <a:pt x="484212" y="571500"/>
                      </a:lnTo>
                      <a:lnTo>
                        <a:pt x="485165" y="571500"/>
                      </a:lnTo>
                      <a:lnTo>
                        <a:pt x="486422" y="570230"/>
                      </a:lnTo>
                      <a:lnTo>
                        <a:pt x="487705" y="570230"/>
                      </a:lnTo>
                      <a:lnTo>
                        <a:pt x="489661" y="571500"/>
                      </a:lnTo>
                      <a:lnTo>
                        <a:pt x="501929" y="571500"/>
                      </a:lnTo>
                      <a:lnTo>
                        <a:pt x="501548" y="572770"/>
                      </a:lnTo>
                      <a:lnTo>
                        <a:pt x="501891" y="572770"/>
                      </a:lnTo>
                      <a:lnTo>
                        <a:pt x="502170" y="574040"/>
                      </a:lnTo>
                      <a:lnTo>
                        <a:pt x="502361" y="574040"/>
                      </a:lnTo>
                      <a:lnTo>
                        <a:pt x="502488" y="572770"/>
                      </a:lnTo>
                      <a:lnTo>
                        <a:pt x="502704" y="572770"/>
                      </a:lnTo>
                      <a:lnTo>
                        <a:pt x="503707" y="571500"/>
                      </a:lnTo>
                      <a:lnTo>
                        <a:pt x="503859" y="571500"/>
                      </a:lnTo>
                      <a:lnTo>
                        <a:pt x="504507" y="570230"/>
                      </a:lnTo>
                      <a:lnTo>
                        <a:pt x="507758" y="570230"/>
                      </a:lnTo>
                      <a:lnTo>
                        <a:pt x="511378" y="568960"/>
                      </a:lnTo>
                      <a:lnTo>
                        <a:pt x="514451" y="568960"/>
                      </a:lnTo>
                      <a:lnTo>
                        <a:pt x="519430" y="567690"/>
                      </a:lnTo>
                      <a:lnTo>
                        <a:pt x="520039" y="567690"/>
                      </a:lnTo>
                      <a:lnTo>
                        <a:pt x="520255" y="566420"/>
                      </a:lnTo>
                      <a:lnTo>
                        <a:pt x="520712" y="566420"/>
                      </a:lnTo>
                      <a:lnTo>
                        <a:pt x="520788" y="567690"/>
                      </a:lnTo>
                      <a:lnTo>
                        <a:pt x="523786" y="566420"/>
                      </a:lnTo>
                      <a:lnTo>
                        <a:pt x="525678" y="566420"/>
                      </a:lnTo>
                      <a:lnTo>
                        <a:pt x="525881" y="565150"/>
                      </a:lnTo>
                      <a:lnTo>
                        <a:pt x="525703" y="566420"/>
                      </a:lnTo>
                      <a:lnTo>
                        <a:pt x="525907" y="566420"/>
                      </a:lnTo>
                      <a:lnTo>
                        <a:pt x="528421" y="565150"/>
                      </a:lnTo>
                      <a:lnTo>
                        <a:pt x="532625" y="565150"/>
                      </a:lnTo>
                      <a:lnTo>
                        <a:pt x="532866" y="563880"/>
                      </a:lnTo>
                      <a:lnTo>
                        <a:pt x="533196" y="565150"/>
                      </a:lnTo>
                      <a:lnTo>
                        <a:pt x="536384" y="565150"/>
                      </a:lnTo>
                      <a:lnTo>
                        <a:pt x="537006" y="563880"/>
                      </a:lnTo>
                      <a:lnTo>
                        <a:pt x="538759" y="563880"/>
                      </a:lnTo>
                      <a:lnTo>
                        <a:pt x="539064" y="565150"/>
                      </a:lnTo>
                      <a:lnTo>
                        <a:pt x="539483" y="565150"/>
                      </a:lnTo>
                      <a:lnTo>
                        <a:pt x="539838" y="563880"/>
                      </a:lnTo>
                      <a:lnTo>
                        <a:pt x="540156" y="563880"/>
                      </a:lnTo>
                      <a:lnTo>
                        <a:pt x="541604" y="561340"/>
                      </a:lnTo>
                      <a:lnTo>
                        <a:pt x="542264" y="561340"/>
                      </a:lnTo>
                      <a:lnTo>
                        <a:pt x="545426" y="560070"/>
                      </a:lnTo>
                      <a:lnTo>
                        <a:pt x="549821" y="560070"/>
                      </a:lnTo>
                      <a:lnTo>
                        <a:pt x="549922" y="558800"/>
                      </a:lnTo>
                      <a:lnTo>
                        <a:pt x="551942" y="558800"/>
                      </a:lnTo>
                      <a:lnTo>
                        <a:pt x="552335" y="557530"/>
                      </a:lnTo>
                      <a:lnTo>
                        <a:pt x="552488" y="558800"/>
                      </a:lnTo>
                      <a:lnTo>
                        <a:pt x="552551" y="560070"/>
                      </a:lnTo>
                      <a:lnTo>
                        <a:pt x="553300" y="558800"/>
                      </a:lnTo>
                      <a:lnTo>
                        <a:pt x="557364" y="558800"/>
                      </a:lnTo>
                      <a:lnTo>
                        <a:pt x="559028" y="557530"/>
                      </a:lnTo>
                      <a:lnTo>
                        <a:pt x="564718" y="557530"/>
                      </a:lnTo>
                      <a:lnTo>
                        <a:pt x="565518" y="556260"/>
                      </a:lnTo>
                      <a:lnTo>
                        <a:pt x="568858" y="556260"/>
                      </a:lnTo>
                      <a:lnTo>
                        <a:pt x="571525" y="554990"/>
                      </a:lnTo>
                      <a:lnTo>
                        <a:pt x="578383" y="553720"/>
                      </a:lnTo>
                      <a:lnTo>
                        <a:pt x="579043" y="553720"/>
                      </a:lnTo>
                      <a:lnTo>
                        <a:pt x="579361" y="552450"/>
                      </a:lnTo>
                      <a:lnTo>
                        <a:pt x="580517" y="552450"/>
                      </a:lnTo>
                      <a:lnTo>
                        <a:pt x="581444" y="553720"/>
                      </a:lnTo>
                      <a:lnTo>
                        <a:pt x="582803" y="553720"/>
                      </a:lnTo>
                      <a:lnTo>
                        <a:pt x="583323" y="552450"/>
                      </a:lnTo>
                      <a:lnTo>
                        <a:pt x="583819" y="552450"/>
                      </a:lnTo>
                      <a:lnTo>
                        <a:pt x="585254" y="551180"/>
                      </a:lnTo>
                      <a:lnTo>
                        <a:pt x="585876" y="551180"/>
                      </a:lnTo>
                      <a:lnTo>
                        <a:pt x="587438" y="549910"/>
                      </a:lnTo>
                      <a:lnTo>
                        <a:pt x="590219" y="548640"/>
                      </a:lnTo>
                      <a:lnTo>
                        <a:pt x="590689" y="547370"/>
                      </a:lnTo>
                      <a:lnTo>
                        <a:pt x="591096" y="547370"/>
                      </a:lnTo>
                      <a:lnTo>
                        <a:pt x="591350" y="546100"/>
                      </a:lnTo>
                      <a:lnTo>
                        <a:pt x="591566" y="546100"/>
                      </a:lnTo>
                      <a:lnTo>
                        <a:pt x="591807" y="544830"/>
                      </a:lnTo>
                      <a:lnTo>
                        <a:pt x="592734" y="544830"/>
                      </a:lnTo>
                      <a:lnTo>
                        <a:pt x="593826" y="546100"/>
                      </a:lnTo>
                      <a:lnTo>
                        <a:pt x="594563" y="546100"/>
                      </a:lnTo>
                      <a:lnTo>
                        <a:pt x="596099" y="547370"/>
                      </a:lnTo>
                      <a:lnTo>
                        <a:pt x="595858" y="546100"/>
                      </a:lnTo>
                      <a:lnTo>
                        <a:pt x="595668" y="544830"/>
                      </a:lnTo>
                      <a:lnTo>
                        <a:pt x="596201" y="544830"/>
                      </a:lnTo>
                      <a:lnTo>
                        <a:pt x="596912" y="546100"/>
                      </a:lnTo>
                      <a:lnTo>
                        <a:pt x="597725" y="546100"/>
                      </a:lnTo>
                      <a:lnTo>
                        <a:pt x="598119" y="544830"/>
                      </a:lnTo>
                      <a:lnTo>
                        <a:pt x="605574" y="544830"/>
                      </a:lnTo>
                      <a:lnTo>
                        <a:pt x="605878" y="546100"/>
                      </a:lnTo>
                      <a:lnTo>
                        <a:pt x="607060" y="546100"/>
                      </a:lnTo>
                      <a:lnTo>
                        <a:pt x="608457" y="547370"/>
                      </a:lnTo>
                      <a:lnTo>
                        <a:pt x="609333" y="548640"/>
                      </a:lnTo>
                      <a:lnTo>
                        <a:pt x="612482" y="548640"/>
                      </a:lnTo>
                      <a:lnTo>
                        <a:pt x="613130" y="549910"/>
                      </a:lnTo>
                      <a:lnTo>
                        <a:pt x="613676" y="548640"/>
                      </a:lnTo>
                      <a:lnTo>
                        <a:pt x="615022" y="548640"/>
                      </a:lnTo>
                      <a:lnTo>
                        <a:pt x="617994" y="546100"/>
                      </a:lnTo>
                      <a:lnTo>
                        <a:pt x="621855" y="546100"/>
                      </a:lnTo>
                      <a:lnTo>
                        <a:pt x="624205" y="551180"/>
                      </a:lnTo>
                      <a:lnTo>
                        <a:pt x="626897" y="556260"/>
                      </a:lnTo>
                      <a:lnTo>
                        <a:pt x="627938" y="557530"/>
                      </a:lnTo>
                      <a:lnTo>
                        <a:pt x="627976" y="558800"/>
                      </a:lnTo>
                      <a:lnTo>
                        <a:pt x="627786" y="558800"/>
                      </a:lnTo>
                      <a:lnTo>
                        <a:pt x="626706" y="560070"/>
                      </a:lnTo>
                      <a:lnTo>
                        <a:pt x="626821" y="562610"/>
                      </a:lnTo>
                      <a:lnTo>
                        <a:pt x="627126" y="562610"/>
                      </a:lnTo>
                      <a:lnTo>
                        <a:pt x="627126" y="563880"/>
                      </a:lnTo>
                      <a:lnTo>
                        <a:pt x="627481" y="563880"/>
                      </a:lnTo>
                      <a:lnTo>
                        <a:pt x="627392" y="566420"/>
                      </a:lnTo>
                      <a:lnTo>
                        <a:pt x="625690" y="565150"/>
                      </a:lnTo>
                      <a:lnTo>
                        <a:pt x="624344" y="565150"/>
                      </a:lnTo>
                      <a:lnTo>
                        <a:pt x="624357" y="566420"/>
                      </a:lnTo>
                      <a:lnTo>
                        <a:pt x="624560" y="566420"/>
                      </a:lnTo>
                      <a:lnTo>
                        <a:pt x="624776" y="567690"/>
                      </a:lnTo>
                      <a:lnTo>
                        <a:pt x="625589" y="567690"/>
                      </a:lnTo>
                      <a:lnTo>
                        <a:pt x="625843" y="568960"/>
                      </a:lnTo>
                      <a:lnTo>
                        <a:pt x="626630" y="568960"/>
                      </a:lnTo>
                      <a:lnTo>
                        <a:pt x="627443" y="570230"/>
                      </a:lnTo>
                      <a:lnTo>
                        <a:pt x="632206" y="570230"/>
                      </a:lnTo>
                      <a:lnTo>
                        <a:pt x="634568" y="568960"/>
                      </a:lnTo>
                      <a:lnTo>
                        <a:pt x="640930" y="568960"/>
                      </a:lnTo>
                      <a:lnTo>
                        <a:pt x="640588" y="567690"/>
                      </a:lnTo>
                      <a:lnTo>
                        <a:pt x="639800" y="565150"/>
                      </a:lnTo>
                      <a:lnTo>
                        <a:pt x="641070" y="565150"/>
                      </a:lnTo>
                      <a:lnTo>
                        <a:pt x="643407" y="566420"/>
                      </a:lnTo>
                      <a:lnTo>
                        <a:pt x="643851" y="567690"/>
                      </a:lnTo>
                      <a:lnTo>
                        <a:pt x="644169" y="568960"/>
                      </a:lnTo>
                      <a:lnTo>
                        <a:pt x="644372" y="570230"/>
                      </a:lnTo>
                      <a:lnTo>
                        <a:pt x="644245" y="570230"/>
                      </a:lnTo>
                      <a:lnTo>
                        <a:pt x="644245" y="571500"/>
                      </a:lnTo>
                      <a:lnTo>
                        <a:pt x="644626" y="571500"/>
                      </a:lnTo>
                      <a:lnTo>
                        <a:pt x="644575" y="572770"/>
                      </a:lnTo>
                      <a:lnTo>
                        <a:pt x="646188" y="572770"/>
                      </a:lnTo>
                      <a:lnTo>
                        <a:pt x="647369" y="571500"/>
                      </a:lnTo>
                      <a:lnTo>
                        <a:pt x="648258" y="571500"/>
                      </a:lnTo>
                      <a:lnTo>
                        <a:pt x="647992" y="570230"/>
                      </a:lnTo>
                      <a:lnTo>
                        <a:pt x="646861" y="570230"/>
                      </a:lnTo>
                      <a:lnTo>
                        <a:pt x="647090" y="568960"/>
                      </a:lnTo>
                      <a:lnTo>
                        <a:pt x="647661" y="568960"/>
                      </a:lnTo>
                      <a:lnTo>
                        <a:pt x="648360" y="570230"/>
                      </a:lnTo>
                      <a:lnTo>
                        <a:pt x="650392" y="570230"/>
                      </a:lnTo>
                      <a:lnTo>
                        <a:pt x="652703" y="571500"/>
                      </a:lnTo>
                      <a:lnTo>
                        <a:pt x="654583" y="572770"/>
                      </a:lnTo>
                      <a:lnTo>
                        <a:pt x="654850" y="572770"/>
                      </a:lnTo>
                      <a:lnTo>
                        <a:pt x="663867" y="570230"/>
                      </a:lnTo>
                      <a:lnTo>
                        <a:pt x="663702" y="571500"/>
                      </a:lnTo>
                      <a:lnTo>
                        <a:pt x="663270" y="571500"/>
                      </a:lnTo>
                      <a:lnTo>
                        <a:pt x="662190" y="572770"/>
                      </a:lnTo>
                      <a:lnTo>
                        <a:pt x="661504" y="574040"/>
                      </a:lnTo>
                      <a:lnTo>
                        <a:pt x="659511" y="574040"/>
                      </a:lnTo>
                      <a:lnTo>
                        <a:pt x="659282" y="575310"/>
                      </a:lnTo>
                      <a:lnTo>
                        <a:pt x="658787" y="575310"/>
                      </a:lnTo>
                      <a:lnTo>
                        <a:pt x="657948" y="576580"/>
                      </a:lnTo>
                      <a:lnTo>
                        <a:pt x="657466" y="576580"/>
                      </a:lnTo>
                      <a:lnTo>
                        <a:pt x="657212" y="577850"/>
                      </a:lnTo>
                      <a:lnTo>
                        <a:pt x="656894" y="577850"/>
                      </a:lnTo>
                      <a:lnTo>
                        <a:pt x="656551" y="579120"/>
                      </a:lnTo>
                      <a:lnTo>
                        <a:pt x="656932" y="579120"/>
                      </a:lnTo>
                      <a:lnTo>
                        <a:pt x="659282" y="582930"/>
                      </a:lnTo>
                      <a:lnTo>
                        <a:pt x="662089" y="581660"/>
                      </a:lnTo>
                      <a:lnTo>
                        <a:pt x="662990" y="580390"/>
                      </a:lnTo>
                      <a:lnTo>
                        <a:pt x="670979" y="580390"/>
                      </a:lnTo>
                      <a:lnTo>
                        <a:pt x="671436" y="581660"/>
                      </a:lnTo>
                      <a:lnTo>
                        <a:pt x="673315" y="581660"/>
                      </a:lnTo>
                      <a:lnTo>
                        <a:pt x="673531" y="580390"/>
                      </a:lnTo>
                      <a:lnTo>
                        <a:pt x="673887" y="579120"/>
                      </a:lnTo>
                      <a:lnTo>
                        <a:pt x="673963" y="577850"/>
                      </a:lnTo>
                      <a:lnTo>
                        <a:pt x="674497" y="577850"/>
                      </a:lnTo>
                      <a:lnTo>
                        <a:pt x="684961" y="574040"/>
                      </a:lnTo>
                      <a:lnTo>
                        <a:pt x="688759" y="571500"/>
                      </a:lnTo>
                      <a:lnTo>
                        <a:pt x="692810" y="568960"/>
                      </a:lnTo>
                      <a:lnTo>
                        <a:pt x="702640" y="565150"/>
                      </a:lnTo>
                      <a:lnTo>
                        <a:pt x="709180" y="562610"/>
                      </a:lnTo>
                      <a:lnTo>
                        <a:pt x="708025" y="563880"/>
                      </a:lnTo>
                      <a:lnTo>
                        <a:pt x="707136" y="563880"/>
                      </a:lnTo>
                      <a:lnTo>
                        <a:pt x="707174" y="567690"/>
                      </a:lnTo>
                      <a:lnTo>
                        <a:pt x="706882" y="567690"/>
                      </a:lnTo>
                      <a:lnTo>
                        <a:pt x="706501" y="568960"/>
                      </a:lnTo>
                      <a:lnTo>
                        <a:pt x="701700" y="568960"/>
                      </a:lnTo>
                      <a:lnTo>
                        <a:pt x="702424" y="570230"/>
                      </a:lnTo>
                      <a:lnTo>
                        <a:pt x="703046" y="570230"/>
                      </a:lnTo>
                      <a:lnTo>
                        <a:pt x="706234" y="572770"/>
                      </a:lnTo>
                      <a:lnTo>
                        <a:pt x="707237" y="574040"/>
                      </a:lnTo>
                      <a:lnTo>
                        <a:pt x="710222" y="576580"/>
                      </a:lnTo>
                      <a:lnTo>
                        <a:pt x="713308" y="579120"/>
                      </a:lnTo>
                      <a:lnTo>
                        <a:pt x="720432" y="584200"/>
                      </a:lnTo>
                      <a:lnTo>
                        <a:pt x="722172" y="585470"/>
                      </a:lnTo>
                      <a:lnTo>
                        <a:pt x="723823" y="588010"/>
                      </a:lnTo>
                      <a:lnTo>
                        <a:pt x="729386" y="595630"/>
                      </a:lnTo>
                      <a:lnTo>
                        <a:pt x="732701" y="599440"/>
                      </a:lnTo>
                      <a:lnTo>
                        <a:pt x="737717" y="608330"/>
                      </a:lnTo>
                      <a:lnTo>
                        <a:pt x="747433" y="623570"/>
                      </a:lnTo>
                      <a:lnTo>
                        <a:pt x="753021" y="632460"/>
                      </a:lnTo>
                      <a:lnTo>
                        <a:pt x="753719" y="633730"/>
                      </a:lnTo>
                      <a:lnTo>
                        <a:pt x="754557" y="635000"/>
                      </a:lnTo>
                      <a:lnTo>
                        <a:pt x="754761" y="635000"/>
                      </a:lnTo>
                      <a:lnTo>
                        <a:pt x="754761" y="633730"/>
                      </a:lnTo>
                      <a:lnTo>
                        <a:pt x="755878" y="633730"/>
                      </a:lnTo>
                      <a:lnTo>
                        <a:pt x="755942" y="632460"/>
                      </a:lnTo>
                      <a:lnTo>
                        <a:pt x="756793" y="632460"/>
                      </a:lnTo>
                      <a:lnTo>
                        <a:pt x="757275" y="631190"/>
                      </a:lnTo>
                      <a:lnTo>
                        <a:pt x="759498" y="631190"/>
                      </a:lnTo>
                      <a:lnTo>
                        <a:pt x="760069" y="629920"/>
                      </a:lnTo>
                      <a:lnTo>
                        <a:pt x="760196" y="629920"/>
                      </a:lnTo>
                      <a:lnTo>
                        <a:pt x="760298" y="628650"/>
                      </a:lnTo>
                      <a:lnTo>
                        <a:pt x="759929" y="628650"/>
                      </a:lnTo>
                      <a:lnTo>
                        <a:pt x="759663" y="627380"/>
                      </a:lnTo>
                      <a:lnTo>
                        <a:pt x="759460" y="627380"/>
                      </a:lnTo>
                      <a:lnTo>
                        <a:pt x="759460" y="626110"/>
                      </a:lnTo>
                      <a:lnTo>
                        <a:pt x="762469" y="626110"/>
                      </a:lnTo>
                      <a:lnTo>
                        <a:pt x="762965" y="624840"/>
                      </a:lnTo>
                      <a:lnTo>
                        <a:pt x="763079" y="623570"/>
                      </a:lnTo>
                      <a:lnTo>
                        <a:pt x="763562" y="623570"/>
                      </a:lnTo>
                      <a:lnTo>
                        <a:pt x="769327" y="626110"/>
                      </a:lnTo>
                      <a:lnTo>
                        <a:pt x="769581" y="626110"/>
                      </a:lnTo>
                      <a:lnTo>
                        <a:pt x="769454" y="627380"/>
                      </a:lnTo>
                      <a:lnTo>
                        <a:pt x="769162" y="628650"/>
                      </a:lnTo>
                      <a:lnTo>
                        <a:pt x="768553" y="628650"/>
                      </a:lnTo>
                      <a:lnTo>
                        <a:pt x="768870" y="629920"/>
                      </a:lnTo>
                      <a:lnTo>
                        <a:pt x="768870" y="631190"/>
                      </a:lnTo>
                      <a:lnTo>
                        <a:pt x="770013" y="631190"/>
                      </a:lnTo>
                      <a:lnTo>
                        <a:pt x="771296" y="632460"/>
                      </a:lnTo>
                      <a:lnTo>
                        <a:pt x="772490" y="633730"/>
                      </a:lnTo>
                      <a:lnTo>
                        <a:pt x="773887" y="635000"/>
                      </a:lnTo>
                      <a:lnTo>
                        <a:pt x="778497" y="635000"/>
                      </a:lnTo>
                      <a:lnTo>
                        <a:pt x="779246" y="633730"/>
                      </a:lnTo>
                      <a:lnTo>
                        <a:pt x="788073" y="635000"/>
                      </a:lnTo>
                      <a:lnTo>
                        <a:pt x="790651" y="635000"/>
                      </a:lnTo>
                      <a:lnTo>
                        <a:pt x="791032" y="633730"/>
                      </a:lnTo>
                      <a:lnTo>
                        <a:pt x="792124" y="633730"/>
                      </a:lnTo>
                      <a:lnTo>
                        <a:pt x="792759" y="632460"/>
                      </a:lnTo>
                      <a:lnTo>
                        <a:pt x="793127" y="631190"/>
                      </a:lnTo>
                      <a:lnTo>
                        <a:pt x="793572" y="631190"/>
                      </a:lnTo>
                      <a:lnTo>
                        <a:pt x="798372" y="629920"/>
                      </a:lnTo>
                      <a:lnTo>
                        <a:pt x="798918" y="629920"/>
                      </a:lnTo>
                      <a:lnTo>
                        <a:pt x="805510" y="631190"/>
                      </a:lnTo>
                      <a:lnTo>
                        <a:pt x="806272" y="631190"/>
                      </a:lnTo>
                      <a:lnTo>
                        <a:pt x="808088" y="632460"/>
                      </a:lnTo>
                      <a:lnTo>
                        <a:pt x="808888" y="632460"/>
                      </a:lnTo>
                      <a:lnTo>
                        <a:pt x="809155" y="633730"/>
                      </a:lnTo>
                      <a:lnTo>
                        <a:pt x="810247" y="633730"/>
                      </a:lnTo>
                      <a:lnTo>
                        <a:pt x="811618" y="636270"/>
                      </a:lnTo>
                      <a:lnTo>
                        <a:pt x="812165" y="637540"/>
                      </a:lnTo>
                      <a:lnTo>
                        <a:pt x="813562" y="641350"/>
                      </a:lnTo>
                      <a:lnTo>
                        <a:pt x="813904" y="642620"/>
                      </a:lnTo>
                      <a:lnTo>
                        <a:pt x="814209" y="643890"/>
                      </a:lnTo>
                      <a:lnTo>
                        <a:pt x="817270" y="643890"/>
                      </a:lnTo>
                      <a:lnTo>
                        <a:pt x="824776" y="647700"/>
                      </a:lnTo>
                      <a:lnTo>
                        <a:pt x="825576" y="647700"/>
                      </a:lnTo>
                      <a:lnTo>
                        <a:pt x="825627" y="648970"/>
                      </a:lnTo>
                      <a:lnTo>
                        <a:pt x="824509" y="648970"/>
                      </a:lnTo>
                      <a:lnTo>
                        <a:pt x="824433" y="650240"/>
                      </a:lnTo>
                      <a:lnTo>
                        <a:pt x="824865" y="650240"/>
                      </a:lnTo>
                      <a:lnTo>
                        <a:pt x="825830" y="651510"/>
                      </a:lnTo>
                      <a:lnTo>
                        <a:pt x="826084" y="651510"/>
                      </a:lnTo>
                      <a:lnTo>
                        <a:pt x="826185" y="652780"/>
                      </a:lnTo>
                      <a:lnTo>
                        <a:pt x="826884" y="652780"/>
                      </a:lnTo>
                      <a:lnTo>
                        <a:pt x="827468" y="654050"/>
                      </a:lnTo>
                      <a:lnTo>
                        <a:pt x="827874" y="654050"/>
                      </a:lnTo>
                      <a:lnTo>
                        <a:pt x="827773" y="655320"/>
                      </a:lnTo>
                      <a:lnTo>
                        <a:pt x="828128" y="655320"/>
                      </a:lnTo>
                      <a:lnTo>
                        <a:pt x="828357" y="656590"/>
                      </a:lnTo>
                      <a:lnTo>
                        <a:pt x="838619" y="656590"/>
                      </a:lnTo>
                      <a:lnTo>
                        <a:pt x="838542" y="657860"/>
                      </a:lnTo>
                      <a:lnTo>
                        <a:pt x="842860" y="657860"/>
                      </a:lnTo>
                      <a:lnTo>
                        <a:pt x="843965" y="656590"/>
                      </a:lnTo>
                      <a:lnTo>
                        <a:pt x="845388" y="655320"/>
                      </a:lnTo>
                      <a:lnTo>
                        <a:pt x="848144" y="652780"/>
                      </a:lnTo>
                      <a:lnTo>
                        <a:pt x="847877" y="655320"/>
                      </a:lnTo>
                      <a:lnTo>
                        <a:pt x="848029" y="655320"/>
                      </a:lnTo>
                      <a:lnTo>
                        <a:pt x="847826" y="656590"/>
                      </a:lnTo>
                      <a:lnTo>
                        <a:pt x="848690" y="656590"/>
                      </a:lnTo>
                      <a:lnTo>
                        <a:pt x="848918" y="657860"/>
                      </a:lnTo>
                      <a:lnTo>
                        <a:pt x="852043" y="660450"/>
                      </a:lnTo>
                      <a:lnTo>
                        <a:pt x="857643" y="665480"/>
                      </a:lnTo>
                      <a:lnTo>
                        <a:pt x="860793" y="665480"/>
                      </a:lnTo>
                      <a:lnTo>
                        <a:pt x="862533" y="664210"/>
                      </a:lnTo>
                      <a:lnTo>
                        <a:pt x="865454" y="664210"/>
                      </a:lnTo>
                      <a:lnTo>
                        <a:pt x="869276" y="662940"/>
                      </a:lnTo>
                      <a:lnTo>
                        <a:pt x="870165" y="661670"/>
                      </a:lnTo>
                      <a:lnTo>
                        <a:pt x="870470" y="661670"/>
                      </a:lnTo>
                      <a:lnTo>
                        <a:pt x="870559" y="660400"/>
                      </a:lnTo>
                      <a:lnTo>
                        <a:pt x="870775" y="659130"/>
                      </a:lnTo>
                      <a:lnTo>
                        <a:pt x="872070" y="659130"/>
                      </a:lnTo>
                      <a:lnTo>
                        <a:pt x="872413" y="657860"/>
                      </a:lnTo>
                      <a:lnTo>
                        <a:pt x="873607" y="657860"/>
                      </a:lnTo>
                      <a:lnTo>
                        <a:pt x="874191" y="659130"/>
                      </a:lnTo>
                      <a:lnTo>
                        <a:pt x="875868" y="659130"/>
                      </a:lnTo>
                      <a:lnTo>
                        <a:pt x="877023" y="657860"/>
                      </a:lnTo>
                      <a:lnTo>
                        <a:pt x="881634" y="657860"/>
                      </a:lnTo>
                      <a:lnTo>
                        <a:pt x="884720" y="656590"/>
                      </a:lnTo>
                      <a:lnTo>
                        <a:pt x="887272" y="656590"/>
                      </a:lnTo>
                      <a:lnTo>
                        <a:pt x="892606" y="654050"/>
                      </a:lnTo>
                      <a:lnTo>
                        <a:pt x="892403" y="654050"/>
                      </a:lnTo>
                      <a:lnTo>
                        <a:pt x="891946" y="652780"/>
                      </a:lnTo>
                      <a:lnTo>
                        <a:pt x="891565" y="652780"/>
                      </a:lnTo>
                      <a:lnTo>
                        <a:pt x="891247" y="650240"/>
                      </a:lnTo>
                      <a:lnTo>
                        <a:pt x="892746" y="650240"/>
                      </a:lnTo>
                      <a:lnTo>
                        <a:pt x="895045" y="648970"/>
                      </a:lnTo>
                      <a:lnTo>
                        <a:pt x="896886" y="648970"/>
                      </a:lnTo>
                      <a:lnTo>
                        <a:pt x="897178" y="648970"/>
                      </a:lnTo>
                      <a:lnTo>
                        <a:pt x="898347" y="647700"/>
                      </a:lnTo>
                      <a:lnTo>
                        <a:pt x="897915" y="647700"/>
                      </a:lnTo>
                      <a:lnTo>
                        <a:pt x="900023" y="646430"/>
                      </a:lnTo>
                      <a:lnTo>
                        <a:pt x="901001" y="646430"/>
                      </a:lnTo>
                      <a:lnTo>
                        <a:pt x="904760" y="643890"/>
                      </a:lnTo>
                      <a:lnTo>
                        <a:pt x="908304" y="642620"/>
                      </a:lnTo>
                      <a:lnTo>
                        <a:pt x="913104" y="640080"/>
                      </a:lnTo>
                      <a:lnTo>
                        <a:pt x="914857" y="638810"/>
                      </a:lnTo>
                      <a:lnTo>
                        <a:pt x="916571" y="638810"/>
                      </a:lnTo>
                      <a:lnTo>
                        <a:pt x="918311" y="637540"/>
                      </a:lnTo>
                      <a:lnTo>
                        <a:pt x="921346" y="636270"/>
                      </a:lnTo>
                      <a:lnTo>
                        <a:pt x="926680" y="636270"/>
                      </a:lnTo>
                      <a:lnTo>
                        <a:pt x="927696" y="635000"/>
                      </a:lnTo>
                      <a:lnTo>
                        <a:pt x="929182" y="635000"/>
                      </a:lnTo>
                      <a:lnTo>
                        <a:pt x="929513" y="633730"/>
                      </a:lnTo>
                      <a:lnTo>
                        <a:pt x="930097" y="632460"/>
                      </a:lnTo>
                      <a:lnTo>
                        <a:pt x="931227" y="632460"/>
                      </a:lnTo>
                      <a:lnTo>
                        <a:pt x="932180" y="633730"/>
                      </a:lnTo>
                      <a:lnTo>
                        <a:pt x="938860" y="633730"/>
                      </a:lnTo>
                      <a:lnTo>
                        <a:pt x="939927" y="635000"/>
                      </a:lnTo>
                      <a:lnTo>
                        <a:pt x="940828" y="635000"/>
                      </a:lnTo>
                      <a:lnTo>
                        <a:pt x="942162" y="636270"/>
                      </a:lnTo>
                      <a:lnTo>
                        <a:pt x="944676" y="636270"/>
                      </a:lnTo>
                      <a:lnTo>
                        <a:pt x="946251" y="637540"/>
                      </a:lnTo>
                      <a:lnTo>
                        <a:pt x="957173" y="637540"/>
                      </a:lnTo>
                      <a:lnTo>
                        <a:pt x="957656" y="638810"/>
                      </a:lnTo>
                      <a:lnTo>
                        <a:pt x="958075" y="638810"/>
                      </a:lnTo>
                      <a:lnTo>
                        <a:pt x="959142" y="640080"/>
                      </a:lnTo>
                      <a:lnTo>
                        <a:pt x="959802" y="643890"/>
                      </a:lnTo>
                      <a:lnTo>
                        <a:pt x="960907" y="645160"/>
                      </a:lnTo>
                      <a:lnTo>
                        <a:pt x="962088" y="647700"/>
                      </a:lnTo>
                      <a:lnTo>
                        <a:pt x="962545" y="647700"/>
                      </a:lnTo>
                      <a:lnTo>
                        <a:pt x="973645" y="650240"/>
                      </a:lnTo>
                      <a:lnTo>
                        <a:pt x="976617" y="650240"/>
                      </a:lnTo>
                      <a:lnTo>
                        <a:pt x="978001" y="648970"/>
                      </a:lnTo>
                      <a:lnTo>
                        <a:pt x="979398" y="648970"/>
                      </a:lnTo>
                      <a:lnTo>
                        <a:pt x="981379" y="647700"/>
                      </a:lnTo>
                      <a:lnTo>
                        <a:pt x="982281" y="648970"/>
                      </a:lnTo>
                      <a:lnTo>
                        <a:pt x="985723" y="648970"/>
                      </a:lnTo>
                      <a:lnTo>
                        <a:pt x="987640" y="650240"/>
                      </a:lnTo>
                      <a:lnTo>
                        <a:pt x="990930" y="650240"/>
                      </a:lnTo>
                      <a:lnTo>
                        <a:pt x="994511" y="651510"/>
                      </a:lnTo>
                      <a:lnTo>
                        <a:pt x="998474" y="652780"/>
                      </a:lnTo>
                      <a:lnTo>
                        <a:pt x="1000493" y="654050"/>
                      </a:lnTo>
                      <a:lnTo>
                        <a:pt x="1003935" y="652780"/>
                      </a:lnTo>
                      <a:lnTo>
                        <a:pt x="1004328" y="651510"/>
                      </a:lnTo>
                      <a:lnTo>
                        <a:pt x="1005357" y="650240"/>
                      </a:lnTo>
                      <a:lnTo>
                        <a:pt x="1006576" y="650240"/>
                      </a:lnTo>
                      <a:lnTo>
                        <a:pt x="1007389" y="648970"/>
                      </a:lnTo>
                      <a:lnTo>
                        <a:pt x="1011910" y="648970"/>
                      </a:lnTo>
                      <a:lnTo>
                        <a:pt x="1013333" y="646430"/>
                      </a:lnTo>
                      <a:lnTo>
                        <a:pt x="1013942" y="643890"/>
                      </a:lnTo>
                      <a:lnTo>
                        <a:pt x="1014437" y="642620"/>
                      </a:lnTo>
                      <a:lnTo>
                        <a:pt x="1014984" y="640080"/>
                      </a:lnTo>
                      <a:lnTo>
                        <a:pt x="1015758" y="637540"/>
                      </a:lnTo>
                      <a:lnTo>
                        <a:pt x="1014209" y="638810"/>
                      </a:lnTo>
                      <a:lnTo>
                        <a:pt x="1011402" y="636270"/>
                      </a:lnTo>
                      <a:lnTo>
                        <a:pt x="1010780" y="635000"/>
                      </a:lnTo>
                      <a:lnTo>
                        <a:pt x="1009700" y="632460"/>
                      </a:lnTo>
                      <a:lnTo>
                        <a:pt x="1009408" y="631190"/>
                      </a:lnTo>
                      <a:lnTo>
                        <a:pt x="1009459" y="629920"/>
                      </a:lnTo>
                      <a:lnTo>
                        <a:pt x="1009497" y="628650"/>
                      </a:lnTo>
                      <a:lnTo>
                        <a:pt x="1009637" y="627380"/>
                      </a:lnTo>
                      <a:lnTo>
                        <a:pt x="1009815" y="626110"/>
                      </a:lnTo>
                      <a:lnTo>
                        <a:pt x="1010119" y="626110"/>
                      </a:lnTo>
                      <a:lnTo>
                        <a:pt x="1010488" y="624840"/>
                      </a:lnTo>
                      <a:lnTo>
                        <a:pt x="1010653" y="623570"/>
                      </a:lnTo>
                      <a:lnTo>
                        <a:pt x="1010805" y="622300"/>
                      </a:lnTo>
                      <a:lnTo>
                        <a:pt x="1011491" y="622300"/>
                      </a:lnTo>
                      <a:lnTo>
                        <a:pt x="1011707" y="621030"/>
                      </a:lnTo>
                      <a:lnTo>
                        <a:pt x="1012444" y="621030"/>
                      </a:lnTo>
                      <a:lnTo>
                        <a:pt x="1015403" y="619760"/>
                      </a:lnTo>
                      <a:lnTo>
                        <a:pt x="1014298" y="619760"/>
                      </a:lnTo>
                      <a:lnTo>
                        <a:pt x="1015314" y="617220"/>
                      </a:lnTo>
                      <a:lnTo>
                        <a:pt x="1015492" y="617220"/>
                      </a:lnTo>
                      <a:lnTo>
                        <a:pt x="1015669" y="615950"/>
                      </a:lnTo>
                      <a:lnTo>
                        <a:pt x="1016571" y="615950"/>
                      </a:lnTo>
                      <a:lnTo>
                        <a:pt x="1017155" y="614680"/>
                      </a:lnTo>
                      <a:lnTo>
                        <a:pt x="1018768" y="613410"/>
                      </a:lnTo>
                      <a:lnTo>
                        <a:pt x="1024356" y="608330"/>
                      </a:lnTo>
                      <a:lnTo>
                        <a:pt x="1031519" y="612140"/>
                      </a:lnTo>
                      <a:lnTo>
                        <a:pt x="1034186" y="613410"/>
                      </a:lnTo>
                      <a:lnTo>
                        <a:pt x="1038313" y="615950"/>
                      </a:lnTo>
                      <a:lnTo>
                        <a:pt x="1047940" y="615950"/>
                      </a:lnTo>
                      <a:lnTo>
                        <a:pt x="1051890" y="617220"/>
                      </a:lnTo>
                      <a:lnTo>
                        <a:pt x="1055243" y="619760"/>
                      </a:lnTo>
                      <a:lnTo>
                        <a:pt x="1067041" y="622300"/>
                      </a:lnTo>
                      <a:lnTo>
                        <a:pt x="1071206" y="623570"/>
                      </a:lnTo>
                      <a:lnTo>
                        <a:pt x="1071359" y="623570"/>
                      </a:lnTo>
                      <a:lnTo>
                        <a:pt x="1071549" y="624840"/>
                      </a:lnTo>
                      <a:lnTo>
                        <a:pt x="1070356" y="624840"/>
                      </a:lnTo>
                      <a:lnTo>
                        <a:pt x="1070813" y="627380"/>
                      </a:lnTo>
                      <a:lnTo>
                        <a:pt x="1070851" y="628650"/>
                      </a:lnTo>
                      <a:lnTo>
                        <a:pt x="1071118" y="629920"/>
                      </a:lnTo>
                      <a:lnTo>
                        <a:pt x="1071232" y="631190"/>
                      </a:lnTo>
                      <a:lnTo>
                        <a:pt x="1071295" y="632460"/>
                      </a:lnTo>
                      <a:lnTo>
                        <a:pt x="1072007" y="635000"/>
                      </a:lnTo>
                      <a:lnTo>
                        <a:pt x="1072515" y="637540"/>
                      </a:lnTo>
                      <a:lnTo>
                        <a:pt x="1073429" y="637540"/>
                      </a:lnTo>
                      <a:lnTo>
                        <a:pt x="1075004" y="640080"/>
                      </a:lnTo>
                      <a:lnTo>
                        <a:pt x="1076350" y="640080"/>
                      </a:lnTo>
                      <a:lnTo>
                        <a:pt x="1077925" y="641350"/>
                      </a:lnTo>
                      <a:lnTo>
                        <a:pt x="1097368" y="646430"/>
                      </a:lnTo>
                      <a:lnTo>
                        <a:pt x="1098842" y="645160"/>
                      </a:lnTo>
                      <a:lnTo>
                        <a:pt x="1100340" y="645160"/>
                      </a:lnTo>
                      <a:lnTo>
                        <a:pt x="1101458" y="643890"/>
                      </a:lnTo>
                      <a:lnTo>
                        <a:pt x="1102080" y="643890"/>
                      </a:lnTo>
                      <a:lnTo>
                        <a:pt x="1105293" y="641350"/>
                      </a:lnTo>
                      <a:lnTo>
                        <a:pt x="1110297" y="641350"/>
                      </a:lnTo>
                      <a:lnTo>
                        <a:pt x="1112507" y="640080"/>
                      </a:lnTo>
                      <a:lnTo>
                        <a:pt x="1122756" y="640080"/>
                      </a:lnTo>
                      <a:lnTo>
                        <a:pt x="1124851" y="641350"/>
                      </a:lnTo>
                      <a:lnTo>
                        <a:pt x="1127074" y="641350"/>
                      </a:lnTo>
                      <a:lnTo>
                        <a:pt x="1126959" y="642620"/>
                      </a:lnTo>
                      <a:lnTo>
                        <a:pt x="1135354" y="642620"/>
                      </a:lnTo>
                      <a:lnTo>
                        <a:pt x="1140421" y="643890"/>
                      </a:lnTo>
                      <a:lnTo>
                        <a:pt x="1142657" y="648970"/>
                      </a:lnTo>
                      <a:lnTo>
                        <a:pt x="1150658" y="648970"/>
                      </a:lnTo>
                      <a:lnTo>
                        <a:pt x="1152461" y="648970"/>
                      </a:lnTo>
                      <a:lnTo>
                        <a:pt x="1153109" y="650240"/>
                      </a:lnTo>
                      <a:lnTo>
                        <a:pt x="1153680" y="650240"/>
                      </a:lnTo>
                      <a:lnTo>
                        <a:pt x="1153883" y="651510"/>
                      </a:lnTo>
                      <a:lnTo>
                        <a:pt x="1154582" y="655320"/>
                      </a:lnTo>
                      <a:lnTo>
                        <a:pt x="1154760" y="656590"/>
                      </a:lnTo>
                      <a:lnTo>
                        <a:pt x="1161618" y="660400"/>
                      </a:lnTo>
                      <a:lnTo>
                        <a:pt x="1171143" y="660400"/>
                      </a:lnTo>
                      <a:lnTo>
                        <a:pt x="1173632" y="661670"/>
                      </a:lnTo>
                      <a:lnTo>
                        <a:pt x="1174318" y="661670"/>
                      </a:lnTo>
                      <a:lnTo>
                        <a:pt x="1187754" y="662940"/>
                      </a:lnTo>
                      <a:lnTo>
                        <a:pt x="1193812" y="664210"/>
                      </a:lnTo>
                      <a:lnTo>
                        <a:pt x="1195146" y="664210"/>
                      </a:lnTo>
                      <a:lnTo>
                        <a:pt x="1213129" y="659130"/>
                      </a:lnTo>
                      <a:lnTo>
                        <a:pt x="1223581" y="657860"/>
                      </a:lnTo>
                      <a:lnTo>
                        <a:pt x="1223949" y="656590"/>
                      </a:lnTo>
                      <a:lnTo>
                        <a:pt x="1224305" y="656590"/>
                      </a:lnTo>
                      <a:lnTo>
                        <a:pt x="1231023" y="650240"/>
                      </a:lnTo>
                      <a:lnTo>
                        <a:pt x="1233995" y="648970"/>
                      </a:lnTo>
                      <a:lnTo>
                        <a:pt x="1235773" y="647700"/>
                      </a:lnTo>
                      <a:lnTo>
                        <a:pt x="1237538" y="646430"/>
                      </a:lnTo>
                      <a:lnTo>
                        <a:pt x="1240294" y="643890"/>
                      </a:lnTo>
                      <a:lnTo>
                        <a:pt x="1251534" y="643890"/>
                      </a:lnTo>
                      <a:lnTo>
                        <a:pt x="1257973" y="647700"/>
                      </a:lnTo>
                      <a:lnTo>
                        <a:pt x="1261402" y="650240"/>
                      </a:lnTo>
                      <a:lnTo>
                        <a:pt x="1262621" y="650240"/>
                      </a:lnTo>
                      <a:lnTo>
                        <a:pt x="1271816" y="647700"/>
                      </a:lnTo>
                      <a:lnTo>
                        <a:pt x="1273060" y="647700"/>
                      </a:lnTo>
                      <a:lnTo>
                        <a:pt x="1276578" y="650240"/>
                      </a:lnTo>
                      <a:lnTo>
                        <a:pt x="1278077" y="651510"/>
                      </a:lnTo>
                      <a:lnTo>
                        <a:pt x="1278331" y="651510"/>
                      </a:lnTo>
                      <a:lnTo>
                        <a:pt x="1279245" y="652780"/>
                      </a:lnTo>
                      <a:lnTo>
                        <a:pt x="1281925" y="652780"/>
                      </a:lnTo>
                      <a:lnTo>
                        <a:pt x="1295527" y="657860"/>
                      </a:lnTo>
                      <a:lnTo>
                        <a:pt x="1300467" y="654050"/>
                      </a:lnTo>
                      <a:lnTo>
                        <a:pt x="1302042" y="651510"/>
                      </a:lnTo>
                      <a:lnTo>
                        <a:pt x="1303642" y="650240"/>
                      </a:lnTo>
                      <a:lnTo>
                        <a:pt x="1305521" y="650240"/>
                      </a:lnTo>
                      <a:lnTo>
                        <a:pt x="1311122" y="648970"/>
                      </a:lnTo>
                      <a:lnTo>
                        <a:pt x="1311338" y="648970"/>
                      </a:lnTo>
                      <a:lnTo>
                        <a:pt x="1315351" y="647700"/>
                      </a:lnTo>
                      <a:lnTo>
                        <a:pt x="1316037" y="646430"/>
                      </a:lnTo>
                      <a:lnTo>
                        <a:pt x="1316418" y="646430"/>
                      </a:lnTo>
                      <a:lnTo>
                        <a:pt x="1316405" y="645160"/>
                      </a:lnTo>
                      <a:lnTo>
                        <a:pt x="1316151" y="645160"/>
                      </a:lnTo>
                      <a:lnTo>
                        <a:pt x="1316240" y="643890"/>
                      </a:lnTo>
                      <a:lnTo>
                        <a:pt x="1316583" y="642620"/>
                      </a:lnTo>
                      <a:lnTo>
                        <a:pt x="1316240" y="642620"/>
                      </a:lnTo>
                      <a:lnTo>
                        <a:pt x="1316240" y="641350"/>
                      </a:lnTo>
                      <a:lnTo>
                        <a:pt x="1316520" y="638810"/>
                      </a:lnTo>
                      <a:lnTo>
                        <a:pt x="1317053" y="636270"/>
                      </a:lnTo>
                      <a:lnTo>
                        <a:pt x="1319314" y="631190"/>
                      </a:lnTo>
                      <a:lnTo>
                        <a:pt x="1321308" y="627380"/>
                      </a:lnTo>
                      <a:lnTo>
                        <a:pt x="1323543" y="623570"/>
                      </a:lnTo>
                      <a:lnTo>
                        <a:pt x="1324762" y="622300"/>
                      </a:lnTo>
                      <a:lnTo>
                        <a:pt x="1325880" y="619760"/>
                      </a:lnTo>
                      <a:lnTo>
                        <a:pt x="1327442" y="618490"/>
                      </a:lnTo>
                      <a:lnTo>
                        <a:pt x="1333144" y="612140"/>
                      </a:lnTo>
                      <a:lnTo>
                        <a:pt x="1335595" y="609600"/>
                      </a:lnTo>
                      <a:lnTo>
                        <a:pt x="1336903" y="608330"/>
                      </a:lnTo>
                      <a:lnTo>
                        <a:pt x="1336713" y="607060"/>
                      </a:lnTo>
                      <a:lnTo>
                        <a:pt x="1336319" y="607060"/>
                      </a:lnTo>
                      <a:lnTo>
                        <a:pt x="1335938" y="605790"/>
                      </a:lnTo>
                      <a:lnTo>
                        <a:pt x="1335290" y="605790"/>
                      </a:lnTo>
                      <a:lnTo>
                        <a:pt x="1335328" y="604520"/>
                      </a:lnTo>
                      <a:lnTo>
                        <a:pt x="1335849" y="601980"/>
                      </a:lnTo>
                      <a:lnTo>
                        <a:pt x="1335836" y="600710"/>
                      </a:lnTo>
                      <a:lnTo>
                        <a:pt x="1335278" y="600710"/>
                      </a:lnTo>
                      <a:lnTo>
                        <a:pt x="1334274" y="599440"/>
                      </a:lnTo>
                      <a:lnTo>
                        <a:pt x="1326921" y="599440"/>
                      </a:lnTo>
                      <a:lnTo>
                        <a:pt x="1326324" y="598170"/>
                      </a:lnTo>
                      <a:lnTo>
                        <a:pt x="1326032" y="598170"/>
                      </a:lnTo>
                      <a:lnTo>
                        <a:pt x="1326375" y="596900"/>
                      </a:lnTo>
                      <a:lnTo>
                        <a:pt x="1326375" y="595630"/>
                      </a:lnTo>
                      <a:lnTo>
                        <a:pt x="1328013" y="595630"/>
                      </a:lnTo>
                      <a:lnTo>
                        <a:pt x="1336814" y="588010"/>
                      </a:lnTo>
                      <a:lnTo>
                        <a:pt x="1337183" y="586740"/>
                      </a:lnTo>
                      <a:lnTo>
                        <a:pt x="1339532" y="586740"/>
                      </a:lnTo>
                      <a:lnTo>
                        <a:pt x="1340662" y="585470"/>
                      </a:lnTo>
                      <a:lnTo>
                        <a:pt x="1347050" y="585470"/>
                      </a:lnTo>
                      <a:lnTo>
                        <a:pt x="1350860" y="584200"/>
                      </a:lnTo>
                      <a:lnTo>
                        <a:pt x="1354797" y="584200"/>
                      </a:lnTo>
                      <a:lnTo>
                        <a:pt x="1361935" y="582930"/>
                      </a:lnTo>
                      <a:lnTo>
                        <a:pt x="1366240" y="582930"/>
                      </a:lnTo>
                      <a:lnTo>
                        <a:pt x="1368348" y="581660"/>
                      </a:lnTo>
                      <a:lnTo>
                        <a:pt x="1371587" y="581660"/>
                      </a:lnTo>
                      <a:lnTo>
                        <a:pt x="1372044" y="580390"/>
                      </a:lnTo>
                      <a:lnTo>
                        <a:pt x="1373492" y="580390"/>
                      </a:lnTo>
                      <a:lnTo>
                        <a:pt x="1374927" y="581660"/>
                      </a:lnTo>
                      <a:lnTo>
                        <a:pt x="1375498" y="581660"/>
                      </a:lnTo>
                      <a:lnTo>
                        <a:pt x="1375879" y="580390"/>
                      </a:lnTo>
                      <a:lnTo>
                        <a:pt x="1377200" y="581660"/>
                      </a:lnTo>
                      <a:lnTo>
                        <a:pt x="1380756" y="581660"/>
                      </a:lnTo>
                      <a:lnTo>
                        <a:pt x="1384566" y="584200"/>
                      </a:lnTo>
                      <a:lnTo>
                        <a:pt x="1391831" y="588010"/>
                      </a:lnTo>
                      <a:lnTo>
                        <a:pt x="1400149" y="588010"/>
                      </a:lnTo>
                      <a:lnTo>
                        <a:pt x="1401229" y="589280"/>
                      </a:lnTo>
                      <a:lnTo>
                        <a:pt x="1403807" y="589280"/>
                      </a:lnTo>
                      <a:lnTo>
                        <a:pt x="1404810" y="590550"/>
                      </a:lnTo>
                      <a:lnTo>
                        <a:pt x="1406702" y="590550"/>
                      </a:lnTo>
                      <a:lnTo>
                        <a:pt x="1410360" y="594360"/>
                      </a:lnTo>
                      <a:lnTo>
                        <a:pt x="1411046" y="594360"/>
                      </a:lnTo>
                      <a:lnTo>
                        <a:pt x="1411859" y="595630"/>
                      </a:lnTo>
                      <a:lnTo>
                        <a:pt x="1412862" y="595630"/>
                      </a:lnTo>
                      <a:lnTo>
                        <a:pt x="1412862" y="596900"/>
                      </a:lnTo>
                      <a:lnTo>
                        <a:pt x="1412532" y="596900"/>
                      </a:lnTo>
                      <a:lnTo>
                        <a:pt x="1412049" y="598170"/>
                      </a:lnTo>
                      <a:lnTo>
                        <a:pt x="1411274" y="598170"/>
                      </a:lnTo>
                      <a:lnTo>
                        <a:pt x="1411338" y="599440"/>
                      </a:lnTo>
                      <a:lnTo>
                        <a:pt x="1411935" y="600710"/>
                      </a:lnTo>
                      <a:lnTo>
                        <a:pt x="1412633" y="600710"/>
                      </a:lnTo>
                      <a:lnTo>
                        <a:pt x="1413789" y="601980"/>
                      </a:lnTo>
                      <a:lnTo>
                        <a:pt x="1417408" y="605790"/>
                      </a:lnTo>
                      <a:lnTo>
                        <a:pt x="1418374" y="608330"/>
                      </a:lnTo>
                      <a:lnTo>
                        <a:pt x="1418805" y="608330"/>
                      </a:lnTo>
                      <a:lnTo>
                        <a:pt x="1418577" y="609600"/>
                      </a:lnTo>
                      <a:lnTo>
                        <a:pt x="1418386" y="610870"/>
                      </a:lnTo>
                      <a:lnTo>
                        <a:pt x="1418120" y="610870"/>
                      </a:lnTo>
                      <a:lnTo>
                        <a:pt x="1418717" y="613410"/>
                      </a:lnTo>
                      <a:lnTo>
                        <a:pt x="1419885" y="615950"/>
                      </a:lnTo>
                      <a:lnTo>
                        <a:pt x="1422895" y="622300"/>
                      </a:lnTo>
                      <a:lnTo>
                        <a:pt x="1423390" y="623570"/>
                      </a:lnTo>
                      <a:lnTo>
                        <a:pt x="1423441" y="624840"/>
                      </a:lnTo>
                      <a:lnTo>
                        <a:pt x="1425625" y="624840"/>
                      </a:lnTo>
                      <a:lnTo>
                        <a:pt x="1426591" y="631190"/>
                      </a:lnTo>
                      <a:lnTo>
                        <a:pt x="1428064" y="632460"/>
                      </a:lnTo>
                      <a:lnTo>
                        <a:pt x="1432610" y="642620"/>
                      </a:lnTo>
                      <a:lnTo>
                        <a:pt x="1433728" y="643890"/>
                      </a:lnTo>
                      <a:lnTo>
                        <a:pt x="1433957" y="643890"/>
                      </a:lnTo>
                      <a:lnTo>
                        <a:pt x="1434223" y="645160"/>
                      </a:lnTo>
                      <a:lnTo>
                        <a:pt x="1434033" y="646430"/>
                      </a:lnTo>
                      <a:lnTo>
                        <a:pt x="1433614" y="647700"/>
                      </a:lnTo>
                      <a:lnTo>
                        <a:pt x="1433372" y="648970"/>
                      </a:lnTo>
                      <a:lnTo>
                        <a:pt x="1433512" y="650240"/>
                      </a:lnTo>
                      <a:lnTo>
                        <a:pt x="1433855" y="650240"/>
                      </a:lnTo>
                      <a:lnTo>
                        <a:pt x="1435544" y="652780"/>
                      </a:lnTo>
                      <a:lnTo>
                        <a:pt x="1437030" y="655320"/>
                      </a:lnTo>
                      <a:lnTo>
                        <a:pt x="1437703" y="656590"/>
                      </a:lnTo>
                      <a:lnTo>
                        <a:pt x="1449247" y="656590"/>
                      </a:lnTo>
                      <a:lnTo>
                        <a:pt x="1451622" y="657860"/>
                      </a:lnTo>
                      <a:lnTo>
                        <a:pt x="1458290" y="660400"/>
                      </a:lnTo>
                      <a:lnTo>
                        <a:pt x="1458544" y="660400"/>
                      </a:lnTo>
                      <a:lnTo>
                        <a:pt x="1460411" y="659130"/>
                      </a:lnTo>
                      <a:lnTo>
                        <a:pt x="1461643" y="659130"/>
                      </a:lnTo>
                      <a:lnTo>
                        <a:pt x="1470355" y="668020"/>
                      </a:lnTo>
                      <a:lnTo>
                        <a:pt x="1472222" y="669290"/>
                      </a:lnTo>
                      <a:lnTo>
                        <a:pt x="1477911" y="669290"/>
                      </a:lnTo>
                      <a:lnTo>
                        <a:pt x="1476997" y="673100"/>
                      </a:lnTo>
                      <a:lnTo>
                        <a:pt x="1476832" y="673100"/>
                      </a:lnTo>
                      <a:lnTo>
                        <a:pt x="1476781" y="674370"/>
                      </a:lnTo>
                      <a:lnTo>
                        <a:pt x="1477378" y="675640"/>
                      </a:lnTo>
                      <a:lnTo>
                        <a:pt x="1478915" y="675640"/>
                      </a:lnTo>
                      <a:lnTo>
                        <a:pt x="1479677" y="676910"/>
                      </a:lnTo>
                      <a:lnTo>
                        <a:pt x="1479918" y="676910"/>
                      </a:lnTo>
                      <a:lnTo>
                        <a:pt x="1480299" y="678180"/>
                      </a:lnTo>
                      <a:lnTo>
                        <a:pt x="1480489" y="679450"/>
                      </a:lnTo>
                      <a:lnTo>
                        <a:pt x="1480896" y="680720"/>
                      </a:lnTo>
                      <a:lnTo>
                        <a:pt x="1480108" y="680720"/>
                      </a:lnTo>
                      <a:lnTo>
                        <a:pt x="1479854" y="681990"/>
                      </a:lnTo>
                      <a:lnTo>
                        <a:pt x="1478356" y="684530"/>
                      </a:lnTo>
                      <a:lnTo>
                        <a:pt x="1480197" y="685800"/>
                      </a:lnTo>
                      <a:lnTo>
                        <a:pt x="1480426" y="685800"/>
                      </a:lnTo>
                      <a:lnTo>
                        <a:pt x="1480616" y="687070"/>
                      </a:lnTo>
                      <a:lnTo>
                        <a:pt x="1481683" y="687070"/>
                      </a:lnTo>
                      <a:lnTo>
                        <a:pt x="1481759" y="688340"/>
                      </a:lnTo>
                      <a:lnTo>
                        <a:pt x="1482242" y="688340"/>
                      </a:lnTo>
                      <a:lnTo>
                        <a:pt x="1482521" y="689610"/>
                      </a:lnTo>
                      <a:lnTo>
                        <a:pt x="1482509" y="690880"/>
                      </a:lnTo>
                      <a:lnTo>
                        <a:pt x="1487944" y="690880"/>
                      </a:lnTo>
                      <a:lnTo>
                        <a:pt x="1494472" y="692150"/>
                      </a:lnTo>
                      <a:lnTo>
                        <a:pt x="1498701" y="690880"/>
                      </a:lnTo>
                      <a:lnTo>
                        <a:pt x="1505648" y="690880"/>
                      </a:lnTo>
                      <a:lnTo>
                        <a:pt x="1505140" y="689610"/>
                      </a:lnTo>
                      <a:lnTo>
                        <a:pt x="1507375" y="687070"/>
                      </a:lnTo>
                      <a:lnTo>
                        <a:pt x="1508569" y="685800"/>
                      </a:lnTo>
                      <a:lnTo>
                        <a:pt x="1509826" y="685800"/>
                      </a:lnTo>
                      <a:lnTo>
                        <a:pt x="1511071" y="684530"/>
                      </a:lnTo>
                      <a:lnTo>
                        <a:pt x="1512519" y="683260"/>
                      </a:lnTo>
                      <a:lnTo>
                        <a:pt x="1516621" y="683260"/>
                      </a:lnTo>
                      <a:lnTo>
                        <a:pt x="1522996" y="680720"/>
                      </a:lnTo>
                      <a:lnTo>
                        <a:pt x="1525651" y="679450"/>
                      </a:lnTo>
                      <a:lnTo>
                        <a:pt x="1529422" y="679450"/>
                      </a:lnTo>
                      <a:lnTo>
                        <a:pt x="1530896" y="678180"/>
                      </a:lnTo>
                      <a:lnTo>
                        <a:pt x="1539722" y="678180"/>
                      </a:lnTo>
                      <a:lnTo>
                        <a:pt x="1538008" y="680720"/>
                      </a:lnTo>
                      <a:lnTo>
                        <a:pt x="1536547" y="680720"/>
                      </a:lnTo>
                      <a:lnTo>
                        <a:pt x="1534236" y="684530"/>
                      </a:lnTo>
                      <a:lnTo>
                        <a:pt x="1534337" y="685800"/>
                      </a:lnTo>
                      <a:lnTo>
                        <a:pt x="1534655" y="687070"/>
                      </a:lnTo>
                      <a:lnTo>
                        <a:pt x="1536280" y="688340"/>
                      </a:lnTo>
                      <a:lnTo>
                        <a:pt x="1537030" y="689610"/>
                      </a:lnTo>
                      <a:lnTo>
                        <a:pt x="1537030" y="690880"/>
                      </a:lnTo>
                      <a:lnTo>
                        <a:pt x="1537081" y="693420"/>
                      </a:lnTo>
                      <a:lnTo>
                        <a:pt x="1533944" y="694690"/>
                      </a:lnTo>
                      <a:lnTo>
                        <a:pt x="1531734" y="695960"/>
                      </a:lnTo>
                      <a:lnTo>
                        <a:pt x="1530870" y="695960"/>
                      </a:lnTo>
                      <a:lnTo>
                        <a:pt x="1529905" y="697230"/>
                      </a:lnTo>
                      <a:lnTo>
                        <a:pt x="1529461" y="697230"/>
                      </a:lnTo>
                      <a:lnTo>
                        <a:pt x="1529003" y="698500"/>
                      </a:lnTo>
                      <a:lnTo>
                        <a:pt x="1529257" y="699770"/>
                      </a:lnTo>
                      <a:lnTo>
                        <a:pt x="1528762" y="701040"/>
                      </a:lnTo>
                      <a:lnTo>
                        <a:pt x="1527848" y="704850"/>
                      </a:lnTo>
                      <a:lnTo>
                        <a:pt x="1527213" y="706120"/>
                      </a:lnTo>
                      <a:lnTo>
                        <a:pt x="1526794" y="708660"/>
                      </a:lnTo>
                      <a:lnTo>
                        <a:pt x="1526540" y="708660"/>
                      </a:lnTo>
                      <a:lnTo>
                        <a:pt x="1526184" y="709930"/>
                      </a:lnTo>
                      <a:lnTo>
                        <a:pt x="1526095" y="711200"/>
                      </a:lnTo>
                      <a:lnTo>
                        <a:pt x="1525231" y="711200"/>
                      </a:lnTo>
                      <a:lnTo>
                        <a:pt x="1524965" y="712470"/>
                      </a:lnTo>
                      <a:lnTo>
                        <a:pt x="1524647" y="712470"/>
                      </a:lnTo>
                      <a:lnTo>
                        <a:pt x="1524558" y="716280"/>
                      </a:lnTo>
                      <a:lnTo>
                        <a:pt x="1523834" y="717550"/>
                      </a:lnTo>
                      <a:lnTo>
                        <a:pt x="1523593" y="720090"/>
                      </a:lnTo>
                      <a:lnTo>
                        <a:pt x="1521028" y="722630"/>
                      </a:lnTo>
                      <a:lnTo>
                        <a:pt x="1519047" y="725170"/>
                      </a:lnTo>
                      <a:lnTo>
                        <a:pt x="1518780" y="727710"/>
                      </a:lnTo>
                      <a:lnTo>
                        <a:pt x="1518539" y="727710"/>
                      </a:lnTo>
                      <a:lnTo>
                        <a:pt x="1518323" y="728980"/>
                      </a:lnTo>
                      <a:lnTo>
                        <a:pt x="1518158" y="728980"/>
                      </a:lnTo>
                      <a:lnTo>
                        <a:pt x="1517370" y="730250"/>
                      </a:lnTo>
                      <a:lnTo>
                        <a:pt x="1516100" y="730250"/>
                      </a:lnTo>
                      <a:lnTo>
                        <a:pt x="1515097" y="731520"/>
                      </a:lnTo>
                      <a:lnTo>
                        <a:pt x="1514297" y="731520"/>
                      </a:lnTo>
                      <a:lnTo>
                        <a:pt x="1513776" y="732790"/>
                      </a:lnTo>
                      <a:lnTo>
                        <a:pt x="1513522" y="734060"/>
                      </a:lnTo>
                      <a:lnTo>
                        <a:pt x="1513459" y="735330"/>
                      </a:lnTo>
                      <a:lnTo>
                        <a:pt x="1513535" y="736600"/>
                      </a:lnTo>
                      <a:lnTo>
                        <a:pt x="1513649" y="737870"/>
                      </a:lnTo>
                      <a:lnTo>
                        <a:pt x="1510665" y="739140"/>
                      </a:lnTo>
                      <a:lnTo>
                        <a:pt x="1508099" y="739140"/>
                      </a:lnTo>
                      <a:lnTo>
                        <a:pt x="1505254" y="737870"/>
                      </a:lnTo>
                      <a:lnTo>
                        <a:pt x="1503743" y="736600"/>
                      </a:lnTo>
                      <a:lnTo>
                        <a:pt x="1498473" y="736600"/>
                      </a:lnTo>
                      <a:lnTo>
                        <a:pt x="1496707" y="734060"/>
                      </a:lnTo>
                      <a:lnTo>
                        <a:pt x="1494980" y="734060"/>
                      </a:lnTo>
                      <a:lnTo>
                        <a:pt x="1494485" y="735330"/>
                      </a:lnTo>
                      <a:lnTo>
                        <a:pt x="1493951" y="735330"/>
                      </a:lnTo>
                      <a:lnTo>
                        <a:pt x="1485087" y="741680"/>
                      </a:lnTo>
                      <a:lnTo>
                        <a:pt x="1483042" y="741680"/>
                      </a:lnTo>
                      <a:lnTo>
                        <a:pt x="1485125" y="746760"/>
                      </a:lnTo>
                      <a:lnTo>
                        <a:pt x="1486662" y="751840"/>
                      </a:lnTo>
                      <a:lnTo>
                        <a:pt x="1486509" y="759460"/>
                      </a:lnTo>
                      <a:lnTo>
                        <a:pt x="1487004" y="763270"/>
                      </a:lnTo>
                      <a:lnTo>
                        <a:pt x="1487474" y="768350"/>
                      </a:lnTo>
                      <a:lnTo>
                        <a:pt x="1486547" y="770890"/>
                      </a:lnTo>
                      <a:lnTo>
                        <a:pt x="1485734" y="773430"/>
                      </a:lnTo>
                      <a:lnTo>
                        <a:pt x="1485011" y="775970"/>
                      </a:lnTo>
                      <a:lnTo>
                        <a:pt x="1484388" y="777240"/>
                      </a:lnTo>
                      <a:lnTo>
                        <a:pt x="1479524" y="777240"/>
                      </a:lnTo>
                      <a:lnTo>
                        <a:pt x="1477060" y="778510"/>
                      </a:lnTo>
                      <a:lnTo>
                        <a:pt x="1474749" y="779780"/>
                      </a:lnTo>
                      <a:lnTo>
                        <a:pt x="1477594" y="779780"/>
                      </a:lnTo>
                      <a:lnTo>
                        <a:pt x="1477695" y="783590"/>
                      </a:lnTo>
                      <a:lnTo>
                        <a:pt x="1478127" y="786130"/>
                      </a:lnTo>
                      <a:lnTo>
                        <a:pt x="1479080" y="787400"/>
                      </a:lnTo>
                      <a:lnTo>
                        <a:pt x="1479931" y="786130"/>
                      </a:lnTo>
                      <a:lnTo>
                        <a:pt x="1479550" y="786130"/>
                      </a:lnTo>
                      <a:lnTo>
                        <a:pt x="1481315" y="783590"/>
                      </a:lnTo>
                      <a:lnTo>
                        <a:pt x="1481074" y="782320"/>
                      </a:lnTo>
                      <a:lnTo>
                        <a:pt x="1479461" y="781050"/>
                      </a:lnTo>
                      <a:lnTo>
                        <a:pt x="1479105" y="779780"/>
                      </a:lnTo>
                      <a:lnTo>
                        <a:pt x="1480375" y="779780"/>
                      </a:lnTo>
                      <a:lnTo>
                        <a:pt x="1480337" y="781050"/>
                      </a:lnTo>
                      <a:lnTo>
                        <a:pt x="1480769" y="781050"/>
                      </a:lnTo>
                      <a:lnTo>
                        <a:pt x="1481734" y="782320"/>
                      </a:lnTo>
                      <a:lnTo>
                        <a:pt x="1482344" y="781050"/>
                      </a:lnTo>
                      <a:lnTo>
                        <a:pt x="1485392" y="779780"/>
                      </a:lnTo>
                      <a:lnTo>
                        <a:pt x="1484769" y="781050"/>
                      </a:lnTo>
                      <a:lnTo>
                        <a:pt x="1486433" y="782320"/>
                      </a:lnTo>
                      <a:lnTo>
                        <a:pt x="1486166" y="779780"/>
                      </a:lnTo>
                      <a:lnTo>
                        <a:pt x="1489176" y="778510"/>
                      </a:lnTo>
                      <a:lnTo>
                        <a:pt x="1490205" y="775970"/>
                      </a:lnTo>
                      <a:lnTo>
                        <a:pt x="1490980" y="774700"/>
                      </a:lnTo>
                      <a:lnTo>
                        <a:pt x="1491665" y="773430"/>
                      </a:lnTo>
                      <a:lnTo>
                        <a:pt x="1492377" y="773430"/>
                      </a:lnTo>
                      <a:lnTo>
                        <a:pt x="1492338" y="772160"/>
                      </a:lnTo>
                      <a:lnTo>
                        <a:pt x="1492250" y="769620"/>
                      </a:lnTo>
                      <a:lnTo>
                        <a:pt x="1493989" y="768350"/>
                      </a:lnTo>
                      <a:lnTo>
                        <a:pt x="1497558" y="768350"/>
                      </a:lnTo>
                      <a:lnTo>
                        <a:pt x="1499031" y="769620"/>
                      </a:lnTo>
                      <a:lnTo>
                        <a:pt x="1499590" y="770890"/>
                      </a:lnTo>
                      <a:lnTo>
                        <a:pt x="1500873" y="770890"/>
                      </a:lnTo>
                      <a:lnTo>
                        <a:pt x="1501711" y="769620"/>
                      </a:lnTo>
                      <a:lnTo>
                        <a:pt x="1501851" y="769620"/>
                      </a:lnTo>
                      <a:lnTo>
                        <a:pt x="1501813" y="770890"/>
                      </a:lnTo>
                      <a:lnTo>
                        <a:pt x="1500847" y="775970"/>
                      </a:lnTo>
                      <a:lnTo>
                        <a:pt x="1502740" y="777240"/>
                      </a:lnTo>
                      <a:lnTo>
                        <a:pt x="1502397" y="775970"/>
                      </a:lnTo>
                      <a:lnTo>
                        <a:pt x="1503324" y="775970"/>
                      </a:lnTo>
                      <a:lnTo>
                        <a:pt x="1504175" y="777240"/>
                      </a:lnTo>
                      <a:lnTo>
                        <a:pt x="1505521" y="777240"/>
                      </a:lnTo>
                      <a:lnTo>
                        <a:pt x="1507185" y="775970"/>
                      </a:lnTo>
                      <a:lnTo>
                        <a:pt x="1509496" y="775970"/>
                      </a:lnTo>
                      <a:lnTo>
                        <a:pt x="1511338" y="779780"/>
                      </a:lnTo>
                      <a:lnTo>
                        <a:pt x="1514652" y="779780"/>
                      </a:lnTo>
                      <a:lnTo>
                        <a:pt x="1515275" y="778510"/>
                      </a:lnTo>
                      <a:lnTo>
                        <a:pt x="1518361" y="778510"/>
                      </a:lnTo>
                      <a:lnTo>
                        <a:pt x="1520901" y="777240"/>
                      </a:lnTo>
                      <a:lnTo>
                        <a:pt x="1526806" y="775970"/>
                      </a:lnTo>
                      <a:lnTo>
                        <a:pt x="1530273" y="773430"/>
                      </a:lnTo>
                      <a:lnTo>
                        <a:pt x="1533321" y="770890"/>
                      </a:lnTo>
                      <a:lnTo>
                        <a:pt x="1536179" y="769620"/>
                      </a:lnTo>
                      <a:lnTo>
                        <a:pt x="1549819" y="754380"/>
                      </a:lnTo>
                      <a:lnTo>
                        <a:pt x="1556372" y="748030"/>
                      </a:lnTo>
                      <a:lnTo>
                        <a:pt x="1559382" y="745490"/>
                      </a:lnTo>
                      <a:lnTo>
                        <a:pt x="1561236" y="742950"/>
                      </a:lnTo>
                      <a:lnTo>
                        <a:pt x="1563814" y="739140"/>
                      </a:lnTo>
                      <a:lnTo>
                        <a:pt x="1566900" y="736600"/>
                      </a:lnTo>
                      <a:lnTo>
                        <a:pt x="1570558" y="732790"/>
                      </a:lnTo>
                      <a:lnTo>
                        <a:pt x="1573847" y="730250"/>
                      </a:lnTo>
                      <a:lnTo>
                        <a:pt x="1578940" y="725170"/>
                      </a:lnTo>
                      <a:lnTo>
                        <a:pt x="1581137" y="722630"/>
                      </a:lnTo>
                      <a:lnTo>
                        <a:pt x="1583601" y="718820"/>
                      </a:lnTo>
                      <a:lnTo>
                        <a:pt x="1586839" y="715010"/>
                      </a:lnTo>
                      <a:lnTo>
                        <a:pt x="1589963" y="708660"/>
                      </a:lnTo>
                      <a:lnTo>
                        <a:pt x="1590344" y="704850"/>
                      </a:lnTo>
                      <a:lnTo>
                        <a:pt x="1594586" y="699770"/>
                      </a:lnTo>
                      <a:lnTo>
                        <a:pt x="1597634" y="697230"/>
                      </a:lnTo>
                      <a:lnTo>
                        <a:pt x="1600606" y="692150"/>
                      </a:lnTo>
                      <a:lnTo>
                        <a:pt x="1601609" y="689610"/>
                      </a:lnTo>
                      <a:lnTo>
                        <a:pt x="1606346" y="684530"/>
                      </a:lnTo>
                      <a:lnTo>
                        <a:pt x="1609979" y="683260"/>
                      </a:lnTo>
                      <a:lnTo>
                        <a:pt x="1612049" y="679450"/>
                      </a:lnTo>
                      <a:lnTo>
                        <a:pt x="1613077" y="678180"/>
                      </a:lnTo>
                      <a:lnTo>
                        <a:pt x="1614093" y="676910"/>
                      </a:lnTo>
                      <a:lnTo>
                        <a:pt x="1615287" y="673100"/>
                      </a:lnTo>
                      <a:lnTo>
                        <a:pt x="1616722" y="669290"/>
                      </a:lnTo>
                      <a:lnTo>
                        <a:pt x="1617306" y="668020"/>
                      </a:lnTo>
                      <a:lnTo>
                        <a:pt x="1618411" y="666750"/>
                      </a:lnTo>
                      <a:lnTo>
                        <a:pt x="1615719" y="666750"/>
                      </a:lnTo>
                      <a:lnTo>
                        <a:pt x="1616989" y="664210"/>
                      </a:lnTo>
                      <a:lnTo>
                        <a:pt x="1619719" y="660450"/>
                      </a:lnTo>
                      <a:lnTo>
                        <a:pt x="1619834" y="659130"/>
                      </a:lnTo>
                      <a:lnTo>
                        <a:pt x="1620075" y="655320"/>
                      </a:lnTo>
                      <a:lnTo>
                        <a:pt x="1619618" y="655320"/>
                      </a:lnTo>
                      <a:lnTo>
                        <a:pt x="1619885" y="651510"/>
                      </a:lnTo>
                      <a:lnTo>
                        <a:pt x="1617764" y="651510"/>
                      </a:lnTo>
                      <a:lnTo>
                        <a:pt x="1618576" y="650240"/>
                      </a:lnTo>
                      <a:lnTo>
                        <a:pt x="1619275" y="648970"/>
                      </a:lnTo>
                      <a:lnTo>
                        <a:pt x="1620888" y="647700"/>
                      </a:lnTo>
                      <a:lnTo>
                        <a:pt x="1622005" y="646430"/>
                      </a:lnTo>
                      <a:lnTo>
                        <a:pt x="1620075" y="647700"/>
                      </a:lnTo>
                      <a:lnTo>
                        <a:pt x="1619694" y="646430"/>
                      </a:lnTo>
                      <a:lnTo>
                        <a:pt x="1619732" y="642620"/>
                      </a:lnTo>
                      <a:lnTo>
                        <a:pt x="1619338" y="640080"/>
                      </a:lnTo>
                      <a:lnTo>
                        <a:pt x="1618691" y="635000"/>
                      </a:lnTo>
                      <a:lnTo>
                        <a:pt x="1620342" y="632460"/>
                      </a:lnTo>
                      <a:lnTo>
                        <a:pt x="1621777" y="629920"/>
                      </a:lnTo>
                      <a:lnTo>
                        <a:pt x="1621434" y="627380"/>
                      </a:lnTo>
                      <a:lnTo>
                        <a:pt x="1622196" y="623570"/>
                      </a:lnTo>
                      <a:lnTo>
                        <a:pt x="1623428" y="623570"/>
                      </a:lnTo>
                      <a:lnTo>
                        <a:pt x="1624012" y="622300"/>
                      </a:lnTo>
                      <a:lnTo>
                        <a:pt x="1623504" y="622300"/>
                      </a:lnTo>
                      <a:lnTo>
                        <a:pt x="1624203" y="617220"/>
                      </a:lnTo>
                      <a:lnTo>
                        <a:pt x="1630146" y="614680"/>
                      </a:lnTo>
                      <a:lnTo>
                        <a:pt x="1632534" y="612140"/>
                      </a:lnTo>
                      <a:lnTo>
                        <a:pt x="1629524" y="609600"/>
                      </a:lnTo>
                      <a:lnTo>
                        <a:pt x="1631911" y="608330"/>
                      </a:lnTo>
                      <a:lnTo>
                        <a:pt x="1633994" y="607060"/>
                      </a:lnTo>
                      <a:lnTo>
                        <a:pt x="1631683" y="607060"/>
                      </a:lnTo>
                      <a:lnTo>
                        <a:pt x="1629371" y="604520"/>
                      </a:lnTo>
                      <a:lnTo>
                        <a:pt x="1627555" y="601980"/>
                      </a:lnTo>
                      <a:lnTo>
                        <a:pt x="1629143" y="601980"/>
                      </a:lnTo>
                      <a:lnTo>
                        <a:pt x="1629333" y="600710"/>
                      </a:lnTo>
                      <a:lnTo>
                        <a:pt x="1630108" y="599440"/>
                      </a:lnTo>
                      <a:lnTo>
                        <a:pt x="1630032" y="595630"/>
                      </a:lnTo>
                      <a:lnTo>
                        <a:pt x="1629943" y="594360"/>
                      </a:lnTo>
                      <a:lnTo>
                        <a:pt x="1627670" y="594360"/>
                      </a:lnTo>
                      <a:lnTo>
                        <a:pt x="1626247" y="593090"/>
                      </a:lnTo>
                      <a:lnTo>
                        <a:pt x="1625815" y="591820"/>
                      </a:lnTo>
                      <a:lnTo>
                        <a:pt x="1624317" y="590550"/>
                      </a:lnTo>
                      <a:lnTo>
                        <a:pt x="1622933" y="590550"/>
                      </a:lnTo>
                      <a:lnTo>
                        <a:pt x="1622272" y="589280"/>
                      </a:lnTo>
                      <a:lnTo>
                        <a:pt x="1624507" y="590550"/>
                      </a:lnTo>
                      <a:lnTo>
                        <a:pt x="1626743" y="590550"/>
                      </a:lnTo>
                      <a:lnTo>
                        <a:pt x="1629714" y="591820"/>
                      </a:lnTo>
                      <a:lnTo>
                        <a:pt x="1629791" y="590550"/>
                      </a:lnTo>
                      <a:lnTo>
                        <a:pt x="1631721" y="590550"/>
                      </a:lnTo>
                      <a:lnTo>
                        <a:pt x="1632254" y="589280"/>
                      </a:lnTo>
                      <a:lnTo>
                        <a:pt x="1632369" y="586740"/>
                      </a:lnTo>
                      <a:lnTo>
                        <a:pt x="1632419" y="584200"/>
                      </a:lnTo>
                      <a:lnTo>
                        <a:pt x="1627136" y="582930"/>
                      </a:lnTo>
                      <a:lnTo>
                        <a:pt x="1622615" y="580390"/>
                      </a:lnTo>
                      <a:lnTo>
                        <a:pt x="1620583" y="579120"/>
                      </a:lnTo>
                      <a:lnTo>
                        <a:pt x="1615338" y="575310"/>
                      </a:lnTo>
                      <a:lnTo>
                        <a:pt x="1612938" y="570230"/>
                      </a:lnTo>
                      <a:lnTo>
                        <a:pt x="1611515" y="568960"/>
                      </a:lnTo>
                      <a:lnTo>
                        <a:pt x="1610093" y="567690"/>
                      </a:lnTo>
                      <a:lnTo>
                        <a:pt x="1609090" y="566420"/>
                      </a:lnTo>
                      <a:lnTo>
                        <a:pt x="1594980" y="566420"/>
                      </a:lnTo>
                      <a:lnTo>
                        <a:pt x="1593710" y="568960"/>
                      </a:lnTo>
                      <a:lnTo>
                        <a:pt x="1592973" y="570230"/>
                      </a:lnTo>
                      <a:lnTo>
                        <a:pt x="1596123" y="568960"/>
                      </a:lnTo>
                      <a:lnTo>
                        <a:pt x="1593507" y="574040"/>
                      </a:lnTo>
                      <a:lnTo>
                        <a:pt x="1593126" y="575310"/>
                      </a:lnTo>
                      <a:lnTo>
                        <a:pt x="1593507" y="575310"/>
                      </a:lnTo>
                      <a:lnTo>
                        <a:pt x="1592973" y="576580"/>
                      </a:lnTo>
                      <a:lnTo>
                        <a:pt x="1591741" y="579120"/>
                      </a:lnTo>
                      <a:lnTo>
                        <a:pt x="1589620" y="581660"/>
                      </a:lnTo>
                      <a:lnTo>
                        <a:pt x="1586915" y="581660"/>
                      </a:lnTo>
                      <a:lnTo>
                        <a:pt x="1587881" y="580390"/>
                      </a:lnTo>
                      <a:lnTo>
                        <a:pt x="1589151" y="577850"/>
                      </a:lnTo>
                      <a:lnTo>
                        <a:pt x="1590154" y="577850"/>
                      </a:lnTo>
                      <a:lnTo>
                        <a:pt x="1591665" y="575310"/>
                      </a:lnTo>
                      <a:lnTo>
                        <a:pt x="1592668" y="572770"/>
                      </a:lnTo>
                      <a:lnTo>
                        <a:pt x="1589455" y="572770"/>
                      </a:lnTo>
                      <a:lnTo>
                        <a:pt x="1585417" y="577850"/>
                      </a:lnTo>
                      <a:lnTo>
                        <a:pt x="1582864" y="579120"/>
                      </a:lnTo>
                      <a:lnTo>
                        <a:pt x="1581365" y="580390"/>
                      </a:lnTo>
                      <a:lnTo>
                        <a:pt x="1577784" y="581660"/>
                      </a:lnTo>
                      <a:lnTo>
                        <a:pt x="1571993" y="581660"/>
                      </a:lnTo>
                      <a:lnTo>
                        <a:pt x="1572310" y="580390"/>
                      </a:lnTo>
                      <a:lnTo>
                        <a:pt x="1572615" y="579120"/>
                      </a:lnTo>
                      <a:lnTo>
                        <a:pt x="1575701" y="579120"/>
                      </a:lnTo>
                      <a:lnTo>
                        <a:pt x="1577390" y="577850"/>
                      </a:lnTo>
                      <a:lnTo>
                        <a:pt x="1577009" y="576580"/>
                      </a:lnTo>
                      <a:lnTo>
                        <a:pt x="1578241" y="575310"/>
                      </a:lnTo>
                      <a:lnTo>
                        <a:pt x="1581442" y="574040"/>
                      </a:lnTo>
                      <a:lnTo>
                        <a:pt x="1578546" y="572770"/>
                      </a:lnTo>
                      <a:lnTo>
                        <a:pt x="1577581" y="572770"/>
                      </a:lnTo>
                      <a:lnTo>
                        <a:pt x="1574546" y="571500"/>
                      </a:lnTo>
                      <a:lnTo>
                        <a:pt x="1571879" y="570230"/>
                      </a:lnTo>
                      <a:lnTo>
                        <a:pt x="1576158" y="570230"/>
                      </a:lnTo>
                      <a:lnTo>
                        <a:pt x="1577352" y="568960"/>
                      </a:lnTo>
                      <a:lnTo>
                        <a:pt x="1576857" y="567690"/>
                      </a:lnTo>
                      <a:lnTo>
                        <a:pt x="1574660" y="566420"/>
                      </a:lnTo>
                      <a:lnTo>
                        <a:pt x="1574190" y="566420"/>
                      </a:lnTo>
                      <a:lnTo>
                        <a:pt x="1570532" y="568960"/>
                      </a:lnTo>
                      <a:lnTo>
                        <a:pt x="1569758" y="568960"/>
                      </a:lnTo>
                      <a:lnTo>
                        <a:pt x="1571917" y="571500"/>
                      </a:lnTo>
                      <a:lnTo>
                        <a:pt x="1573187" y="571500"/>
                      </a:lnTo>
                      <a:lnTo>
                        <a:pt x="1572577" y="574040"/>
                      </a:lnTo>
                      <a:lnTo>
                        <a:pt x="1566291" y="576580"/>
                      </a:lnTo>
                      <a:lnTo>
                        <a:pt x="1562811" y="575310"/>
                      </a:lnTo>
                      <a:lnTo>
                        <a:pt x="1565173" y="571500"/>
                      </a:lnTo>
                      <a:lnTo>
                        <a:pt x="1566557" y="570230"/>
                      </a:lnTo>
                      <a:lnTo>
                        <a:pt x="1566062" y="568960"/>
                      </a:lnTo>
                      <a:lnTo>
                        <a:pt x="1565783" y="567690"/>
                      </a:lnTo>
                      <a:lnTo>
                        <a:pt x="1566291" y="567690"/>
                      </a:lnTo>
                      <a:lnTo>
                        <a:pt x="1566329" y="566420"/>
                      </a:lnTo>
                      <a:lnTo>
                        <a:pt x="1566100" y="565150"/>
                      </a:lnTo>
                      <a:lnTo>
                        <a:pt x="1565325" y="565150"/>
                      </a:lnTo>
                      <a:lnTo>
                        <a:pt x="1565402" y="563880"/>
                      </a:lnTo>
                      <a:lnTo>
                        <a:pt x="1566519" y="563880"/>
                      </a:lnTo>
                      <a:lnTo>
                        <a:pt x="1566557" y="562610"/>
                      </a:lnTo>
                      <a:lnTo>
                        <a:pt x="1567027" y="562610"/>
                      </a:lnTo>
                      <a:lnTo>
                        <a:pt x="1566481" y="561340"/>
                      </a:lnTo>
                      <a:lnTo>
                        <a:pt x="1564627" y="558800"/>
                      </a:lnTo>
                      <a:lnTo>
                        <a:pt x="1563700" y="557530"/>
                      </a:lnTo>
                      <a:lnTo>
                        <a:pt x="1559306" y="558800"/>
                      </a:lnTo>
                      <a:lnTo>
                        <a:pt x="1543888" y="558800"/>
                      </a:lnTo>
                      <a:lnTo>
                        <a:pt x="1544421" y="557530"/>
                      </a:lnTo>
                      <a:lnTo>
                        <a:pt x="1542681" y="556260"/>
                      </a:lnTo>
                      <a:lnTo>
                        <a:pt x="1542770" y="553720"/>
                      </a:lnTo>
                      <a:lnTo>
                        <a:pt x="1544497" y="552450"/>
                      </a:lnTo>
                      <a:lnTo>
                        <a:pt x="1547507" y="551180"/>
                      </a:lnTo>
                      <a:lnTo>
                        <a:pt x="1549628" y="549910"/>
                      </a:lnTo>
                      <a:lnTo>
                        <a:pt x="1551901" y="548640"/>
                      </a:lnTo>
                      <a:lnTo>
                        <a:pt x="1554645" y="547370"/>
                      </a:lnTo>
                      <a:lnTo>
                        <a:pt x="1556766" y="546100"/>
                      </a:lnTo>
                      <a:lnTo>
                        <a:pt x="1558963" y="543560"/>
                      </a:lnTo>
                      <a:lnTo>
                        <a:pt x="1561769" y="541020"/>
                      </a:lnTo>
                      <a:lnTo>
                        <a:pt x="1566976" y="538480"/>
                      </a:lnTo>
                      <a:lnTo>
                        <a:pt x="1571510" y="535940"/>
                      </a:lnTo>
                      <a:lnTo>
                        <a:pt x="1573771" y="534670"/>
                      </a:lnTo>
                      <a:lnTo>
                        <a:pt x="1576425" y="532130"/>
                      </a:lnTo>
                      <a:lnTo>
                        <a:pt x="1579321" y="529590"/>
                      </a:lnTo>
                      <a:lnTo>
                        <a:pt x="1580476" y="529590"/>
                      </a:lnTo>
                      <a:lnTo>
                        <a:pt x="1587030" y="524510"/>
                      </a:lnTo>
                      <a:lnTo>
                        <a:pt x="1586877" y="523240"/>
                      </a:lnTo>
                      <a:lnTo>
                        <a:pt x="1585556" y="521970"/>
                      </a:lnTo>
                      <a:lnTo>
                        <a:pt x="1585341" y="520700"/>
                      </a:lnTo>
                      <a:lnTo>
                        <a:pt x="1587728" y="518160"/>
                      </a:lnTo>
                      <a:lnTo>
                        <a:pt x="1588262" y="518160"/>
                      </a:lnTo>
                      <a:lnTo>
                        <a:pt x="1590700" y="514350"/>
                      </a:lnTo>
                      <a:lnTo>
                        <a:pt x="1592541" y="513080"/>
                      </a:lnTo>
                      <a:lnTo>
                        <a:pt x="1612290" y="497840"/>
                      </a:lnTo>
                      <a:lnTo>
                        <a:pt x="1615186" y="496570"/>
                      </a:lnTo>
                      <a:lnTo>
                        <a:pt x="1619580" y="495300"/>
                      </a:lnTo>
                      <a:lnTo>
                        <a:pt x="1619453" y="494030"/>
                      </a:lnTo>
                      <a:lnTo>
                        <a:pt x="1619758" y="492760"/>
                      </a:lnTo>
                      <a:lnTo>
                        <a:pt x="1620304" y="490220"/>
                      </a:lnTo>
                      <a:lnTo>
                        <a:pt x="1621586" y="488950"/>
                      </a:lnTo>
                      <a:lnTo>
                        <a:pt x="1623580" y="485140"/>
                      </a:lnTo>
                      <a:lnTo>
                        <a:pt x="1625015" y="483870"/>
                      </a:lnTo>
                      <a:lnTo>
                        <a:pt x="1642021" y="469900"/>
                      </a:lnTo>
                      <a:lnTo>
                        <a:pt x="1644484" y="467360"/>
                      </a:lnTo>
                      <a:lnTo>
                        <a:pt x="1650453" y="464820"/>
                      </a:lnTo>
                      <a:lnTo>
                        <a:pt x="1655241" y="462280"/>
                      </a:lnTo>
                      <a:lnTo>
                        <a:pt x="1659674" y="462280"/>
                      </a:lnTo>
                      <a:lnTo>
                        <a:pt x="1660601" y="463550"/>
                      </a:lnTo>
                      <a:lnTo>
                        <a:pt x="1663763" y="463550"/>
                      </a:lnTo>
                      <a:lnTo>
                        <a:pt x="1665884" y="462280"/>
                      </a:lnTo>
                      <a:lnTo>
                        <a:pt x="1670088" y="461010"/>
                      </a:lnTo>
                      <a:lnTo>
                        <a:pt x="1672780" y="462280"/>
                      </a:lnTo>
                      <a:lnTo>
                        <a:pt x="1674952" y="462280"/>
                      </a:lnTo>
                      <a:lnTo>
                        <a:pt x="1674672" y="463550"/>
                      </a:lnTo>
                      <a:lnTo>
                        <a:pt x="1677911" y="462280"/>
                      </a:lnTo>
                      <a:lnTo>
                        <a:pt x="1684235" y="462280"/>
                      </a:lnTo>
                      <a:lnTo>
                        <a:pt x="1685899" y="461010"/>
                      </a:lnTo>
                      <a:lnTo>
                        <a:pt x="1688172" y="461010"/>
                      </a:lnTo>
                      <a:lnTo>
                        <a:pt x="1688744" y="462280"/>
                      </a:lnTo>
                      <a:lnTo>
                        <a:pt x="1692681" y="462280"/>
                      </a:lnTo>
                      <a:lnTo>
                        <a:pt x="1696491" y="461010"/>
                      </a:lnTo>
                      <a:lnTo>
                        <a:pt x="1696770" y="462280"/>
                      </a:lnTo>
                      <a:lnTo>
                        <a:pt x="1697456" y="463550"/>
                      </a:lnTo>
                      <a:lnTo>
                        <a:pt x="1694726" y="463550"/>
                      </a:lnTo>
                      <a:lnTo>
                        <a:pt x="1695653" y="466090"/>
                      </a:lnTo>
                      <a:lnTo>
                        <a:pt x="1702092" y="467360"/>
                      </a:lnTo>
                      <a:lnTo>
                        <a:pt x="1703171" y="466090"/>
                      </a:lnTo>
                      <a:lnTo>
                        <a:pt x="1702473" y="466090"/>
                      </a:lnTo>
                      <a:lnTo>
                        <a:pt x="1702943" y="463550"/>
                      </a:lnTo>
                      <a:lnTo>
                        <a:pt x="1703451" y="463550"/>
                      </a:lnTo>
                      <a:lnTo>
                        <a:pt x="1704568" y="461010"/>
                      </a:lnTo>
                      <a:lnTo>
                        <a:pt x="1705114" y="459740"/>
                      </a:lnTo>
                      <a:lnTo>
                        <a:pt x="1707934" y="461010"/>
                      </a:lnTo>
                      <a:lnTo>
                        <a:pt x="1710651" y="462280"/>
                      </a:lnTo>
                      <a:lnTo>
                        <a:pt x="1715008" y="463550"/>
                      </a:lnTo>
                      <a:lnTo>
                        <a:pt x="1719478" y="466090"/>
                      </a:lnTo>
                      <a:lnTo>
                        <a:pt x="1726069" y="463550"/>
                      </a:lnTo>
                      <a:lnTo>
                        <a:pt x="1727962" y="462280"/>
                      </a:lnTo>
                      <a:lnTo>
                        <a:pt x="1731581" y="461010"/>
                      </a:lnTo>
                      <a:lnTo>
                        <a:pt x="1733905" y="463550"/>
                      </a:lnTo>
                      <a:lnTo>
                        <a:pt x="1736178" y="463550"/>
                      </a:lnTo>
                      <a:lnTo>
                        <a:pt x="1737868" y="464820"/>
                      </a:lnTo>
                      <a:lnTo>
                        <a:pt x="1739722" y="464820"/>
                      </a:lnTo>
                      <a:lnTo>
                        <a:pt x="1740065" y="462280"/>
                      </a:lnTo>
                      <a:lnTo>
                        <a:pt x="1739328" y="463550"/>
                      </a:lnTo>
                      <a:lnTo>
                        <a:pt x="1737017" y="462280"/>
                      </a:lnTo>
                      <a:lnTo>
                        <a:pt x="1735823" y="462280"/>
                      </a:lnTo>
                      <a:lnTo>
                        <a:pt x="1736801" y="461010"/>
                      </a:lnTo>
                      <a:lnTo>
                        <a:pt x="1738757" y="458470"/>
                      </a:lnTo>
                      <a:lnTo>
                        <a:pt x="1741576" y="459740"/>
                      </a:lnTo>
                      <a:lnTo>
                        <a:pt x="1743964" y="461010"/>
                      </a:lnTo>
                      <a:lnTo>
                        <a:pt x="1744040" y="459740"/>
                      </a:lnTo>
                      <a:lnTo>
                        <a:pt x="1744116" y="458470"/>
                      </a:lnTo>
                      <a:lnTo>
                        <a:pt x="1742490" y="459740"/>
                      </a:lnTo>
                      <a:lnTo>
                        <a:pt x="1742224" y="458470"/>
                      </a:lnTo>
                      <a:lnTo>
                        <a:pt x="1741766" y="455930"/>
                      </a:lnTo>
                      <a:lnTo>
                        <a:pt x="1745970" y="454660"/>
                      </a:lnTo>
                      <a:lnTo>
                        <a:pt x="1749856" y="453390"/>
                      </a:lnTo>
                      <a:lnTo>
                        <a:pt x="1751520" y="454660"/>
                      </a:lnTo>
                      <a:lnTo>
                        <a:pt x="1755025" y="455930"/>
                      </a:lnTo>
                      <a:lnTo>
                        <a:pt x="1756537" y="455930"/>
                      </a:lnTo>
                      <a:lnTo>
                        <a:pt x="1759292" y="457200"/>
                      </a:lnTo>
                      <a:lnTo>
                        <a:pt x="1761388" y="457200"/>
                      </a:lnTo>
                      <a:lnTo>
                        <a:pt x="1762810" y="458470"/>
                      </a:lnTo>
                      <a:lnTo>
                        <a:pt x="1763547" y="459740"/>
                      </a:lnTo>
                      <a:lnTo>
                        <a:pt x="1765236" y="461010"/>
                      </a:lnTo>
                      <a:lnTo>
                        <a:pt x="1767624" y="462280"/>
                      </a:lnTo>
                      <a:lnTo>
                        <a:pt x="1770494" y="458470"/>
                      </a:lnTo>
                      <a:lnTo>
                        <a:pt x="1771472" y="458470"/>
                      </a:lnTo>
                      <a:lnTo>
                        <a:pt x="1774228" y="459740"/>
                      </a:lnTo>
                      <a:lnTo>
                        <a:pt x="1776158" y="459740"/>
                      </a:lnTo>
                      <a:lnTo>
                        <a:pt x="1777898" y="461010"/>
                      </a:lnTo>
                      <a:lnTo>
                        <a:pt x="1778584" y="462280"/>
                      </a:lnTo>
                      <a:lnTo>
                        <a:pt x="1779206" y="462280"/>
                      </a:lnTo>
                      <a:lnTo>
                        <a:pt x="1779943" y="463550"/>
                      </a:lnTo>
                      <a:lnTo>
                        <a:pt x="1778901" y="463550"/>
                      </a:lnTo>
                      <a:lnTo>
                        <a:pt x="1781060" y="466090"/>
                      </a:lnTo>
                      <a:lnTo>
                        <a:pt x="1785912" y="464820"/>
                      </a:lnTo>
                      <a:lnTo>
                        <a:pt x="1787918" y="466090"/>
                      </a:lnTo>
                      <a:lnTo>
                        <a:pt x="1785950" y="467360"/>
                      </a:lnTo>
                      <a:lnTo>
                        <a:pt x="1773466" y="467360"/>
                      </a:lnTo>
                      <a:lnTo>
                        <a:pt x="1772335" y="468630"/>
                      </a:lnTo>
                      <a:lnTo>
                        <a:pt x="1770875" y="468630"/>
                      </a:lnTo>
                      <a:lnTo>
                        <a:pt x="1771421" y="469900"/>
                      </a:lnTo>
                      <a:lnTo>
                        <a:pt x="1774037" y="471170"/>
                      </a:lnTo>
                      <a:lnTo>
                        <a:pt x="1773961" y="473710"/>
                      </a:lnTo>
                      <a:lnTo>
                        <a:pt x="1788922" y="469900"/>
                      </a:lnTo>
                      <a:lnTo>
                        <a:pt x="1790230" y="469900"/>
                      </a:lnTo>
                      <a:lnTo>
                        <a:pt x="1794624" y="473710"/>
                      </a:lnTo>
                      <a:lnTo>
                        <a:pt x="1797164" y="472440"/>
                      </a:lnTo>
                      <a:lnTo>
                        <a:pt x="1797100" y="469900"/>
                      </a:lnTo>
                      <a:lnTo>
                        <a:pt x="1798904" y="468630"/>
                      </a:lnTo>
                      <a:lnTo>
                        <a:pt x="1800987" y="468630"/>
                      </a:lnTo>
                      <a:lnTo>
                        <a:pt x="1802498" y="467360"/>
                      </a:lnTo>
                      <a:lnTo>
                        <a:pt x="1802028" y="467360"/>
                      </a:lnTo>
                      <a:lnTo>
                        <a:pt x="1802879" y="464820"/>
                      </a:lnTo>
                      <a:lnTo>
                        <a:pt x="1805851" y="466090"/>
                      </a:lnTo>
                      <a:lnTo>
                        <a:pt x="1807476" y="467360"/>
                      </a:lnTo>
                      <a:lnTo>
                        <a:pt x="1810054" y="467360"/>
                      </a:lnTo>
                      <a:lnTo>
                        <a:pt x="1810931" y="468630"/>
                      </a:lnTo>
                      <a:lnTo>
                        <a:pt x="1814449" y="469900"/>
                      </a:lnTo>
                      <a:lnTo>
                        <a:pt x="1815947" y="466090"/>
                      </a:lnTo>
                      <a:lnTo>
                        <a:pt x="1825739" y="466090"/>
                      </a:lnTo>
                      <a:lnTo>
                        <a:pt x="1829333" y="467360"/>
                      </a:lnTo>
                      <a:lnTo>
                        <a:pt x="1829333" y="466090"/>
                      </a:lnTo>
                      <a:lnTo>
                        <a:pt x="1829562" y="464820"/>
                      </a:lnTo>
                      <a:lnTo>
                        <a:pt x="1829790" y="463550"/>
                      </a:lnTo>
                      <a:lnTo>
                        <a:pt x="1828330" y="462280"/>
                      </a:lnTo>
                      <a:lnTo>
                        <a:pt x="1826755" y="461010"/>
                      </a:lnTo>
                      <a:lnTo>
                        <a:pt x="1824710" y="461010"/>
                      </a:lnTo>
                      <a:lnTo>
                        <a:pt x="1823161" y="459740"/>
                      </a:lnTo>
                      <a:lnTo>
                        <a:pt x="1822704" y="459740"/>
                      </a:lnTo>
                      <a:lnTo>
                        <a:pt x="1821307" y="458470"/>
                      </a:lnTo>
                      <a:lnTo>
                        <a:pt x="1818805" y="458470"/>
                      </a:lnTo>
                      <a:lnTo>
                        <a:pt x="1818538" y="459740"/>
                      </a:lnTo>
                      <a:lnTo>
                        <a:pt x="1818233" y="459740"/>
                      </a:lnTo>
                      <a:lnTo>
                        <a:pt x="1819262" y="461010"/>
                      </a:lnTo>
                      <a:lnTo>
                        <a:pt x="1818919" y="461010"/>
                      </a:lnTo>
                      <a:lnTo>
                        <a:pt x="1818386" y="462280"/>
                      </a:lnTo>
                      <a:lnTo>
                        <a:pt x="1817687" y="461010"/>
                      </a:lnTo>
                      <a:lnTo>
                        <a:pt x="1817420" y="459740"/>
                      </a:lnTo>
                      <a:lnTo>
                        <a:pt x="1816912" y="461010"/>
                      </a:lnTo>
                      <a:lnTo>
                        <a:pt x="1815833" y="461010"/>
                      </a:lnTo>
                      <a:lnTo>
                        <a:pt x="1813026" y="459740"/>
                      </a:lnTo>
                      <a:lnTo>
                        <a:pt x="1816100" y="458470"/>
                      </a:lnTo>
                      <a:lnTo>
                        <a:pt x="1817497" y="458470"/>
                      </a:lnTo>
                      <a:lnTo>
                        <a:pt x="1817027" y="457200"/>
                      </a:lnTo>
                      <a:lnTo>
                        <a:pt x="1815795" y="455930"/>
                      </a:lnTo>
                      <a:lnTo>
                        <a:pt x="1815680" y="454660"/>
                      </a:lnTo>
                      <a:lnTo>
                        <a:pt x="1815604" y="453390"/>
                      </a:lnTo>
                      <a:lnTo>
                        <a:pt x="1815680" y="452120"/>
                      </a:lnTo>
                      <a:lnTo>
                        <a:pt x="1818297" y="452120"/>
                      </a:lnTo>
                      <a:lnTo>
                        <a:pt x="1819783" y="449580"/>
                      </a:lnTo>
                      <a:lnTo>
                        <a:pt x="1819935" y="449580"/>
                      </a:lnTo>
                      <a:lnTo>
                        <a:pt x="1820240" y="448310"/>
                      </a:lnTo>
                      <a:lnTo>
                        <a:pt x="1820545" y="448310"/>
                      </a:lnTo>
                      <a:lnTo>
                        <a:pt x="1823923" y="445770"/>
                      </a:lnTo>
                      <a:lnTo>
                        <a:pt x="1828977" y="441960"/>
                      </a:lnTo>
                      <a:lnTo>
                        <a:pt x="1831822" y="439420"/>
                      </a:lnTo>
                      <a:lnTo>
                        <a:pt x="1833232" y="438150"/>
                      </a:lnTo>
                      <a:lnTo>
                        <a:pt x="1838083" y="434340"/>
                      </a:lnTo>
                      <a:lnTo>
                        <a:pt x="1839163" y="434340"/>
                      </a:lnTo>
                      <a:lnTo>
                        <a:pt x="1839506" y="433070"/>
                      </a:lnTo>
                      <a:lnTo>
                        <a:pt x="1840661" y="431800"/>
                      </a:lnTo>
                      <a:lnTo>
                        <a:pt x="1841284" y="430530"/>
                      </a:lnTo>
                      <a:lnTo>
                        <a:pt x="1842858" y="426720"/>
                      </a:lnTo>
                      <a:lnTo>
                        <a:pt x="1845602" y="425450"/>
                      </a:lnTo>
                      <a:lnTo>
                        <a:pt x="1848802" y="424180"/>
                      </a:lnTo>
                      <a:lnTo>
                        <a:pt x="1850491" y="422910"/>
                      </a:lnTo>
                      <a:lnTo>
                        <a:pt x="1850542" y="420370"/>
                      </a:lnTo>
                      <a:lnTo>
                        <a:pt x="1850123" y="419100"/>
                      </a:lnTo>
                      <a:lnTo>
                        <a:pt x="1850351" y="416560"/>
                      </a:lnTo>
                      <a:lnTo>
                        <a:pt x="1851888" y="415290"/>
                      </a:lnTo>
                      <a:lnTo>
                        <a:pt x="1860715" y="411480"/>
                      </a:lnTo>
                      <a:lnTo>
                        <a:pt x="1868855" y="410210"/>
                      </a:lnTo>
                      <a:lnTo>
                        <a:pt x="1877910" y="408940"/>
                      </a:lnTo>
                      <a:lnTo>
                        <a:pt x="1880184" y="410210"/>
                      </a:lnTo>
                      <a:lnTo>
                        <a:pt x="1882038" y="408940"/>
                      </a:lnTo>
                      <a:lnTo>
                        <a:pt x="1882190" y="407670"/>
                      </a:lnTo>
                      <a:lnTo>
                        <a:pt x="1886635" y="407670"/>
                      </a:lnTo>
                      <a:lnTo>
                        <a:pt x="1889023" y="410210"/>
                      </a:lnTo>
                      <a:lnTo>
                        <a:pt x="1890407" y="410210"/>
                      </a:lnTo>
                      <a:lnTo>
                        <a:pt x="1890750" y="411480"/>
                      </a:lnTo>
                      <a:lnTo>
                        <a:pt x="1891220" y="411480"/>
                      </a:lnTo>
                      <a:lnTo>
                        <a:pt x="1890864" y="412750"/>
                      </a:lnTo>
                      <a:lnTo>
                        <a:pt x="1891106" y="412750"/>
                      </a:lnTo>
                      <a:lnTo>
                        <a:pt x="1892566" y="414020"/>
                      </a:lnTo>
                      <a:lnTo>
                        <a:pt x="1896313" y="411480"/>
                      </a:lnTo>
                      <a:lnTo>
                        <a:pt x="1898662" y="408940"/>
                      </a:lnTo>
                      <a:lnTo>
                        <a:pt x="1900237" y="407670"/>
                      </a:lnTo>
                      <a:lnTo>
                        <a:pt x="1902866" y="407670"/>
                      </a:lnTo>
                      <a:lnTo>
                        <a:pt x="1902904" y="406400"/>
                      </a:lnTo>
                      <a:lnTo>
                        <a:pt x="1903514" y="408940"/>
                      </a:lnTo>
                      <a:lnTo>
                        <a:pt x="1903793" y="410210"/>
                      </a:lnTo>
                      <a:lnTo>
                        <a:pt x="1903399" y="411480"/>
                      </a:lnTo>
                      <a:lnTo>
                        <a:pt x="1902548" y="411480"/>
                      </a:lnTo>
                      <a:lnTo>
                        <a:pt x="1901863" y="412750"/>
                      </a:lnTo>
                      <a:lnTo>
                        <a:pt x="1902206" y="412750"/>
                      </a:lnTo>
                      <a:lnTo>
                        <a:pt x="1901698" y="414020"/>
                      </a:lnTo>
                      <a:lnTo>
                        <a:pt x="1901634" y="415290"/>
                      </a:lnTo>
                      <a:lnTo>
                        <a:pt x="1900859" y="416560"/>
                      </a:lnTo>
                      <a:lnTo>
                        <a:pt x="1899424" y="416560"/>
                      </a:lnTo>
                      <a:lnTo>
                        <a:pt x="1898815" y="417830"/>
                      </a:lnTo>
                      <a:lnTo>
                        <a:pt x="1898662" y="417830"/>
                      </a:lnTo>
                      <a:lnTo>
                        <a:pt x="1900783" y="419100"/>
                      </a:lnTo>
                      <a:lnTo>
                        <a:pt x="1895068" y="420370"/>
                      </a:lnTo>
                      <a:lnTo>
                        <a:pt x="1897849" y="421640"/>
                      </a:lnTo>
                      <a:lnTo>
                        <a:pt x="1894801" y="421640"/>
                      </a:lnTo>
                      <a:lnTo>
                        <a:pt x="1897227" y="422910"/>
                      </a:lnTo>
                      <a:lnTo>
                        <a:pt x="1898269" y="424180"/>
                      </a:lnTo>
                      <a:lnTo>
                        <a:pt x="1896198" y="427990"/>
                      </a:lnTo>
                      <a:lnTo>
                        <a:pt x="1893684" y="429260"/>
                      </a:lnTo>
                      <a:lnTo>
                        <a:pt x="1902980" y="429260"/>
                      </a:lnTo>
                      <a:lnTo>
                        <a:pt x="1902625" y="430530"/>
                      </a:lnTo>
                      <a:lnTo>
                        <a:pt x="1900821" y="430530"/>
                      </a:lnTo>
                      <a:lnTo>
                        <a:pt x="1900783" y="431800"/>
                      </a:lnTo>
                      <a:lnTo>
                        <a:pt x="1901507" y="431800"/>
                      </a:lnTo>
                      <a:lnTo>
                        <a:pt x="1901583" y="433070"/>
                      </a:lnTo>
                      <a:lnTo>
                        <a:pt x="1901202" y="433070"/>
                      </a:lnTo>
                      <a:lnTo>
                        <a:pt x="1900669" y="435610"/>
                      </a:lnTo>
                      <a:lnTo>
                        <a:pt x="1900161" y="435610"/>
                      </a:lnTo>
                      <a:lnTo>
                        <a:pt x="1900237" y="436880"/>
                      </a:lnTo>
                      <a:lnTo>
                        <a:pt x="1901901" y="435610"/>
                      </a:lnTo>
                      <a:lnTo>
                        <a:pt x="1903476" y="435610"/>
                      </a:lnTo>
                      <a:lnTo>
                        <a:pt x="1906219" y="434340"/>
                      </a:lnTo>
                      <a:lnTo>
                        <a:pt x="1908454" y="434340"/>
                      </a:lnTo>
                      <a:lnTo>
                        <a:pt x="1910537" y="433070"/>
                      </a:lnTo>
                      <a:lnTo>
                        <a:pt x="1910372" y="430530"/>
                      </a:lnTo>
                      <a:lnTo>
                        <a:pt x="1911883" y="429260"/>
                      </a:lnTo>
                      <a:lnTo>
                        <a:pt x="1913191" y="427990"/>
                      </a:lnTo>
                      <a:lnTo>
                        <a:pt x="1914042" y="427990"/>
                      </a:lnTo>
                      <a:lnTo>
                        <a:pt x="1918246" y="424180"/>
                      </a:lnTo>
                      <a:lnTo>
                        <a:pt x="1922411" y="421640"/>
                      </a:lnTo>
                      <a:lnTo>
                        <a:pt x="1928037" y="417830"/>
                      </a:lnTo>
                      <a:lnTo>
                        <a:pt x="1933028" y="415290"/>
                      </a:lnTo>
                      <a:lnTo>
                        <a:pt x="1933854" y="412750"/>
                      </a:lnTo>
                      <a:lnTo>
                        <a:pt x="1933981" y="412750"/>
                      </a:lnTo>
                      <a:lnTo>
                        <a:pt x="1937296" y="414020"/>
                      </a:lnTo>
                      <a:lnTo>
                        <a:pt x="1938528" y="414020"/>
                      </a:lnTo>
                      <a:lnTo>
                        <a:pt x="1938604" y="411480"/>
                      </a:lnTo>
                      <a:lnTo>
                        <a:pt x="1940687" y="412750"/>
                      </a:lnTo>
                      <a:lnTo>
                        <a:pt x="1940687" y="415290"/>
                      </a:lnTo>
                      <a:lnTo>
                        <a:pt x="1941957" y="416560"/>
                      </a:lnTo>
                      <a:lnTo>
                        <a:pt x="1946008" y="412750"/>
                      </a:lnTo>
                      <a:lnTo>
                        <a:pt x="1944890" y="410210"/>
                      </a:lnTo>
                      <a:lnTo>
                        <a:pt x="1941880" y="411480"/>
                      </a:lnTo>
                      <a:lnTo>
                        <a:pt x="1940496" y="410210"/>
                      </a:lnTo>
                      <a:lnTo>
                        <a:pt x="1941918" y="407670"/>
                      </a:lnTo>
                      <a:lnTo>
                        <a:pt x="1942338" y="406400"/>
                      </a:lnTo>
                      <a:lnTo>
                        <a:pt x="1943112" y="405130"/>
                      </a:lnTo>
                      <a:lnTo>
                        <a:pt x="1943112" y="403860"/>
                      </a:lnTo>
                      <a:lnTo>
                        <a:pt x="1943582" y="402590"/>
                      </a:lnTo>
                      <a:lnTo>
                        <a:pt x="1944154" y="401320"/>
                      </a:lnTo>
                      <a:lnTo>
                        <a:pt x="1945779" y="400050"/>
                      </a:lnTo>
                      <a:lnTo>
                        <a:pt x="1946008" y="398780"/>
                      </a:lnTo>
                      <a:lnTo>
                        <a:pt x="1946160" y="397510"/>
                      </a:lnTo>
                      <a:lnTo>
                        <a:pt x="1945360" y="397510"/>
                      </a:lnTo>
                      <a:lnTo>
                        <a:pt x="1945157" y="392430"/>
                      </a:lnTo>
                      <a:lnTo>
                        <a:pt x="1947278" y="393700"/>
                      </a:lnTo>
                      <a:lnTo>
                        <a:pt x="1951672" y="392430"/>
                      </a:lnTo>
                      <a:lnTo>
                        <a:pt x="1954187" y="391160"/>
                      </a:lnTo>
                      <a:lnTo>
                        <a:pt x="1959419" y="391160"/>
                      </a:lnTo>
                      <a:lnTo>
                        <a:pt x="1962124" y="388620"/>
                      </a:lnTo>
                      <a:lnTo>
                        <a:pt x="1965515" y="392430"/>
                      </a:lnTo>
                      <a:lnTo>
                        <a:pt x="1965756" y="392430"/>
                      </a:lnTo>
                      <a:lnTo>
                        <a:pt x="1968106" y="393700"/>
                      </a:lnTo>
                      <a:lnTo>
                        <a:pt x="1969262" y="393700"/>
                      </a:lnTo>
                      <a:lnTo>
                        <a:pt x="1973148" y="394970"/>
                      </a:lnTo>
                      <a:lnTo>
                        <a:pt x="1971573" y="394970"/>
                      </a:lnTo>
                      <a:lnTo>
                        <a:pt x="1972030" y="396240"/>
                      </a:lnTo>
                      <a:lnTo>
                        <a:pt x="1973808" y="397510"/>
                      </a:lnTo>
                      <a:lnTo>
                        <a:pt x="1974392" y="398780"/>
                      </a:lnTo>
                      <a:lnTo>
                        <a:pt x="1972767" y="397510"/>
                      </a:lnTo>
                      <a:lnTo>
                        <a:pt x="1971725" y="396240"/>
                      </a:lnTo>
                      <a:lnTo>
                        <a:pt x="1968144" y="396240"/>
                      </a:lnTo>
                      <a:lnTo>
                        <a:pt x="1966633" y="394970"/>
                      </a:lnTo>
                      <a:lnTo>
                        <a:pt x="1963051" y="394970"/>
                      </a:lnTo>
                      <a:lnTo>
                        <a:pt x="1962543" y="396240"/>
                      </a:lnTo>
                      <a:lnTo>
                        <a:pt x="1959775" y="398780"/>
                      </a:lnTo>
                      <a:lnTo>
                        <a:pt x="1957806" y="398780"/>
                      </a:lnTo>
                      <a:lnTo>
                        <a:pt x="1956574" y="401320"/>
                      </a:lnTo>
                      <a:lnTo>
                        <a:pt x="1956638" y="403860"/>
                      </a:lnTo>
                      <a:lnTo>
                        <a:pt x="1956536" y="405130"/>
                      </a:lnTo>
                      <a:lnTo>
                        <a:pt x="1956765" y="406400"/>
                      </a:lnTo>
                      <a:lnTo>
                        <a:pt x="1956460" y="408940"/>
                      </a:lnTo>
                      <a:lnTo>
                        <a:pt x="1956650" y="410210"/>
                      </a:lnTo>
                      <a:lnTo>
                        <a:pt x="1956422" y="411480"/>
                      </a:lnTo>
                      <a:lnTo>
                        <a:pt x="1956066" y="412750"/>
                      </a:lnTo>
                      <a:lnTo>
                        <a:pt x="1954682" y="412750"/>
                      </a:lnTo>
                      <a:lnTo>
                        <a:pt x="1953602" y="414020"/>
                      </a:lnTo>
                      <a:lnTo>
                        <a:pt x="1952675" y="415290"/>
                      </a:lnTo>
                      <a:lnTo>
                        <a:pt x="1953374" y="416560"/>
                      </a:lnTo>
                      <a:lnTo>
                        <a:pt x="1955457" y="419100"/>
                      </a:lnTo>
                      <a:lnTo>
                        <a:pt x="1955876" y="419100"/>
                      </a:lnTo>
                      <a:lnTo>
                        <a:pt x="1955457" y="420370"/>
                      </a:lnTo>
                      <a:lnTo>
                        <a:pt x="1954720" y="424180"/>
                      </a:lnTo>
                      <a:lnTo>
                        <a:pt x="1951062" y="422910"/>
                      </a:lnTo>
                      <a:lnTo>
                        <a:pt x="1950021" y="425450"/>
                      </a:lnTo>
                      <a:lnTo>
                        <a:pt x="1949526" y="426720"/>
                      </a:lnTo>
                      <a:lnTo>
                        <a:pt x="1950974" y="430530"/>
                      </a:lnTo>
                      <a:lnTo>
                        <a:pt x="1925421" y="440690"/>
                      </a:lnTo>
                      <a:lnTo>
                        <a:pt x="1925726" y="440690"/>
                      </a:lnTo>
                      <a:lnTo>
                        <a:pt x="1925180" y="441960"/>
                      </a:lnTo>
                      <a:lnTo>
                        <a:pt x="1925764" y="441960"/>
                      </a:lnTo>
                      <a:lnTo>
                        <a:pt x="1922221" y="447040"/>
                      </a:lnTo>
                      <a:lnTo>
                        <a:pt x="1916823" y="450850"/>
                      </a:lnTo>
                      <a:lnTo>
                        <a:pt x="1907222" y="458470"/>
                      </a:lnTo>
                      <a:lnTo>
                        <a:pt x="1888832" y="480060"/>
                      </a:lnTo>
                      <a:lnTo>
                        <a:pt x="1888134" y="481330"/>
                      </a:lnTo>
                      <a:lnTo>
                        <a:pt x="1885556" y="481330"/>
                      </a:lnTo>
                      <a:lnTo>
                        <a:pt x="1881543" y="485140"/>
                      </a:lnTo>
                      <a:lnTo>
                        <a:pt x="1876996" y="487680"/>
                      </a:lnTo>
                      <a:lnTo>
                        <a:pt x="1873135" y="490220"/>
                      </a:lnTo>
                      <a:lnTo>
                        <a:pt x="1873796" y="491490"/>
                      </a:lnTo>
                      <a:lnTo>
                        <a:pt x="1874215" y="491490"/>
                      </a:lnTo>
                      <a:lnTo>
                        <a:pt x="1874329" y="492760"/>
                      </a:lnTo>
                      <a:lnTo>
                        <a:pt x="1873021" y="490220"/>
                      </a:lnTo>
                      <a:lnTo>
                        <a:pt x="1870506" y="491490"/>
                      </a:lnTo>
                      <a:lnTo>
                        <a:pt x="1863572" y="491490"/>
                      </a:lnTo>
                      <a:lnTo>
                        <a:pt x="1863801" y="494030"/>
                      </a:lnTo>
                      <a:lnTo>
                        <a:pt x="1861451" y="495300"/>
                      </a:lnTo>
                      <a:lnTo>
                        <a:pt x="1858518" y="495300"/>
                      </a:lnTo>
                      <a:lnTo>
                        <a:pt x="1851888" y="496570"/>
                      </a:lnTo>
                      <a:lnTo>
                        <a:pt x="1852891" y="499110"/>
                      </a:lnTo>
                      <a:lnTo>
                        <a:pt x="1854200" y="501650"/>
                      </a:lnTo>
                      <a:lnTo>
                        <a:pt x="1854784" y="502920"/>
                      </a:lnTo>
                      <a:lnTo>
                        <a:pt x="1854974" y="504190"/>
                      </a:lnTo>
                      <a:lnTo>
                        <a:pt x="1853933" y="505460"/>
                      </a:lnTo>
                      <a:lnTo>
                        <a:pt x="1852510" y="508000"/>
                      </a:lnTo>
                      <a:lnTo>
                        <a:pt x="1851964" y="509270"/>
                      </a:lnTo>
                      <a:lnTo>
                        <a:pt x="1850732" y="510540"/>
                      </a:lnTo>
                      <a:lnTo>
                        <a:pt x="1849729" y="509270"/>
                      </a:lnTo>
                      <a:lnTo>
                        <a:pt x="1848269" y="511810"/>
                      </a:lnTo>
                      <a:lnTo>
                        <a:pt x="1846834" y="513080"/>
                      </a:lnTo>
                      <a:lnTo>
                        <a:pt x="1845983" y="514350"/>
                      </a:lnTo>
                      <a:lnTo>
                        <a:pt x="1844332" y="515620"/>
                      </a:lnTo>
                      <a:lnTo>
                        <a:pt x="1843671" y="515620"/>
                      </a:lnTo>
                      <a:lnTo>
                        <a:pt x="1842706" y="516890"/>
                      </a:lnTo>
                      <a:lnTo>
                        <a:pt x="1839861" y="519430"/>
                      </a:lnTo>
                      <a:lnTo>
                        <a:pt x="1839480" y="521970"/>
                      </a:lnTo>
                      <a:lnTo>
                        <a:pt x="1838388" y="525780"/>
                      </a:lnTo>
                      <a:lnTo>
                        <a:pt x="1836445" y="534670"/>
                      </a:lnTo>
                      <a:lnTo>
                        <a:pt x="1835645" y="542290"/>
                      </a:lnTo>
                      <a:lnTo>
                        <a:pt x="1835607" y="552450"/>
                      </a:lnTo>
                      <a:lnTo>
                        <a:pt x="1836737" y="561340"/>
                      </a:lnTo>
                      <a:lnTo>
                        <a:pt x="1838083" y="568960"/>
                      </a:lnTo>
                      <a:lnTo>
                        <a:pt x="1840242" y="576580"/>
                      </a:lnTo>
                      <a:lnTo>
                        <a:pt x="1841246" y="582930"/>
                      </a:lnTo>
                      <a:lnTo>
                        <a:pt x="1841906" y="588010"/>
                      </a:lnTo>
                      <a:lnTo>
                        <a:pt x="1841906" y="593090"/>
                      </a:lnTo>
                      <a:lnTo>
                        <a:pt x="1844370" y="599440"/>
                      </a:lnTo>
                      <a:lnTo>
                        <a:pt x="1844751" y="599440"/>
                      </a:lnTo>
                      <a:lnTo>
                        <a:pt x="1846491" y="600710"/>
                      </a:lnTo>
                      <a:lnTo>
                        <a:pt x="1846986" y="600710"/>
                      </a:lnTo>
                      <a:lnTo>
                        <a:pt x="1847532" y="601980"/>
                      </a:lnTo>
                      <a:lnTo>
                        <a:pt x="1846453" y="601980"/>
                      </a:lnTo>
                      <a:lnTo>
                        <a:pt x="1846910" y="607060"/>
                      </a:lnTo>
                      <a:lnTo>
                        <a:pt x="1848065" y="610870"/>
                      </a:lnTo>
                      <a:lnTo>
                        <a:pt x="1848218" y="614680"/>
                      </a:lnTo>
                      <a:lnTo>
                        <a:pt x="1848332" y="618490"/>
                      </a:lnTo>
                      <a:lnTo>
                        <a:pt x="1847837" y="622300"/>
                      </a:lnTo>
                      <a:lnTo>
                        <a:pt x="1848878" y="624840"/>
                      </a:lnTo>
                      <a:lnTo>
                        <a:pt x="1849259" y="624840"/>
                      </a:lnTo>
                      <a:lnTo>
                        <a:pt x="1850428" y="626110"/>
                      </a:lnTo>
                      <a:lnTo>
                        <a:pt x="1852155" y="628650"/>
                      </a:lnTo>
                      <a:lnTo>
                        <a:pt x="1851152" y="629920"/>
                      </a:lnTo>
                      <a:lnTo>
                        <a:pt x="1850491" y="632460"/>
                      </a:lnTo>
                      <a:lnTo>
                        <a:pt x="1863991" y="621030"/>
                      </a:lnTo>
                      <a:lnTo>
                        <a:pt x="1865998" y="618490"/>
                      </a:lnTo>
                      <a:lnTo>
                        <a:pt x="1868157" y="615950"/>
                      </a:lnTo>
                      <a:lnTo>
                        <a:pt x="1871319" y="612140"/>
                      </a:lnTo>
                      <a:lnTo>
                        <a:pt x="1878418" y="604520"/>
                      </a:lnTo>
                      <a:lnTo>
                        <a:pt x="1876996" y="601980"/>
                      </a:lnTo>
                      <a:lnTo>
                        <a:pt x="1877136" y="600710"/>
                      </a:lnTo>
                      <a:lnTo>
                        <a:pt x="1876793" y="600710"/>
                      </a:lnTo>
                      <a:lnTo>
                        <a:pt x="1876679" y="599440"/>
                      </a:lnTo>
                      <a:lnTo>
                        <a:pt x="1876209" y="599440"/>
                      </a:lnTo>
                      <a:lnTo>
                        <a:pt x="1876831" y="598170"/>
                      </a:lnTo>
                      <a:lnTo>
                        <a:pt x="1877910" y="598170"/>
                      </a:lnTo>
                      <a:lnTo>
                        <a:pt x="1878342" y="596900"/>
                      </a:lnTo>
                      <a:lnTo>
                        <a:pt x="1878533" y="595630"/>
                      </a:lnTo>
                      <a:lnTo>
                        <a:pt x="1876666" y="594360"/>
                      </a:lnTo>
                      <a:lnTo>
                        <a:pt x="1875142" y="593090"/>
                      </a:lnTo>
                      <a:lnTo>
                        <a:pt x="1875142" y="589280"/>
                      </a:lnTo>
                      <a:lnTo>
                        <a:pt x="1876882" y="588010"/>
                      </a:lnTo>
                      <a:lnTo>
                        <a:pt x="1881136" y="588010"/>
                      </a:lnTo>
                      <a:lnTo>
                        <a:pt x="1882800" y="589280"/>
                      </a:lnTo>
                      <a:lnTo>
                        <a:pt x="1882902" y="590550"/>
                      </a:lnTo>
                      <a:lnTo>
                        <a:pt x="1883270" y="590550"/>
                      </a:lnTo>
                      <a:lnTo>
                        <a:pt x="1884540" y="589280"/>
                      </a:lnTo>
                      <a:lnTo>
                        <a:pt x="1885810" y="589280"/>
                      </a:lnTo>
                      <a:lnTo>
                        <a:pt x="1888858" y="588010"/>
                      </a:lnTo>
                      <a:lnTo>
                        <a:pt x="1890179" y="588010"/>
                      </a:lnTo>
                      <a:lnTo>
                        <a:pt x="1893150" y="586740"/>
                      </a:lnTo>
                      <a:lnTo>
                        <a:pt x="1895462" y="586740"/>
                      </a:lnTo>
                      <a:lnTo>
                        <a:pt x="1893722" y="588010"/>
                      </a:lnTo>
                      <a:lnTo>
                        <a:pt x="1898002" y="589280"/>
                      </a:lnTo>
                      <a:lnTo>
                        <a:pt x="1899081" y="589280"/>
                      </a:lnTo>
                      <a:lnTo>
                        <a:pt x="1899081" y="588010"/>
                      </a:lnTo>
                      <a:lnTo>
                        <a:pt x="1898497" y="586740"/>
                      </a:lnTo>
                      <a:lnTo>
                        <a:pt x="1897126" y="588010"/>
                      </a:lnTo>
                      <a:lnTo>
                        <a:pt x="1897849" y="586740"/>
                      </a:lnTo>
                      <a:lnTo>
                        <a:pt x="1897697" y="585470"/>
                      </a:lnTo>
                      <a:lnTo>
                        <a:pt x="1897189" y="585470"/>
                      </a:lnTo>
                      <a:lnTo>
                        <a:pt x="1896808" y="584200"/>
                      </a:lnTo>
                      <a:lnTo>
                        <a:pt x="1895805" y="582930"/>
                      </a:lnTo>
                      <a:lnTo>
                        <a:pt x="1895690" y="581660"/>
                      </a:lnTo>
                      <a:lnTo>
                        <a:pt x="1898853" y="581660"/>
                      </a:lnTo>
                      <a:lnTo>
                        <a:pt x="1897583" y="580390"/>
                      </a:lnTo>
                      <a:lnTo>
                        <a:pt x="1896579" y="580390"/>
                      </a:lnTo>
                      <a:lnTo>
                        <a:pt x="1896071" y="579120"/>
                      </a:lnTo>
                      <a:lnTo>
                        <a:pt x="1902510" y="566420"/>
                      </a:lnTo>
                      <a:lnTo>
                        <a:pt x="1906524" y="562610"/>
                      </a:lnTo>
                      <a:lnTo>
                        <a:pt x="1909267" y="561340"/>
                      </a:lnTo>
                      <a:lnTo>
                        <a:pt x="1913077" y="560070"/>
                      </a:lnTo>
                      <a:lnTo>
                        <a:pt x="1913890" y="560070"/>
                      </a:lnTo>
                      <a:lnTo>
                        <a:pt x="1915464" y="561340"/>
                      </a:lnTo>
                      <a:lnTo>
                        <a:pt x="1915236" y="561340"/>
                      </a:lnTo>
                      <a:lnTo>
                        <a:pt x="1917242" y="562610"/>
                      </a:lnTo>
                      <a:lnTo>
                        <a:pt x="1917979" y="562610"/>
                      </a:lnTo>
                      <a:lnTo>
                        <a:pt x="1922602" y="561340"/>
                      </a:lnTo>
                      <a:lnTo>
                        <a:pt x="1923923" y="560070"/>
                      </a:lnTo>
                      <a:lnTo>
                        <a:pt x="1925231" y="558800"/>
                      </a:lnTo>
                      <a:lnTo>
                        <a:pt x="1927733" y="557530"/>
                      </a:lnTo>
                      <a:lnTo>
                        <a:pt x="1929853" y="556260"/>
                      </a:lnTo>
                      <a:lnTo>
                        <a:pt x="1927694" y="553720"/>
                      </a:lnTo>
                      <a:lnTo>
                        <a:pt x="1926882" y="552450"/>
                      </a:lnTo>
                      <a:lnTo>
                        <a:pt x="1926615" y="552450"/>
                      </a:lnTo>
                      <a:lnTo>
                        <a:pt x="1925535" y="551180"/>
                      </a:lnTo>
                      <a:lnTo>
                        <a:pt x="1922995" y="548640"/>
                      </a:lnTo>
                      <a:lnTo>
                        <a:pt x="1923605" y="543560"/>
                      </a:lnTo>
                      <a:lnTo>
                        <a:pt x="1923529" y="538480"/>
                      </a:lnTo>
                      <a:lnTo>
                        <a:pt x="1925497" y="535940"/>
                      </a:lnTo>
                      <a:lnTo>
                        <a:pt x="1927110" y="532130"/>
                      </a:lnTo>
                      <a:lnTo>
                        <a:pt x="1927771" y="529590"/>
                      </a:lnTo>
                      <a:lnTo>
                        <a:pt x="1929968" y="529590"/>
                      </a:lnTo>
                      <a:lnTo>
                        <a:pt x="1931276" y="528320"/>
                      </a:lnTo>
                      <a:lnTo>
                        <a:pt x="1934946" y="528320"/>
                      </a:lnTo>
                      <a:lnTo>
                        <a:pt x="1934870" y="525780"/>
                      </a:lnTo>
                      <a:lnTo>
                        <a:pt x="1934705" y="524510"/>
                      </a:lnTo>
                      <a:lnTo>
                        <a:pt x="1931670" y="524510"/>
                      </a:lnTo>
                      <a:lnTo>
                        <a:pt x="1936178" y="523240"/>
                      </a:lnTo>
                      <a:lnTo>
                        <a:pt x="1939112" y="523240"/>
                      </a:lnTo>
                      <a:lnTo>
                        <a:pt x="1939112" y="521970"/>
                      </a:lnTo>
                      <a:lnTo>
                        <a:pt x="1940763" y="521970"/>
                      </a:lnTo>
                      <a:lnTo>
                        <a:pt x="1941766" y="520700"/>
                      </a:lnTo>
                      <a:lnTo>
                        <a:pt x="1942122" y="523240"/>
                      </a:lnTo>
                      <a:lnTo>
                        <a:pt x="1940420" y="524510"/>
                      </a:lnTo>
                      <a:lnTo>
                        <a:pt x="1937943" y="525780"/>
                      </a:lnTo>
                      <a:lnTo>
                        <a:pt x="1936254" y="525780"/>
                      </a:lnTo>
                      <a:lnTo>
                        <a:pt x="1935048" y="528129"/>
                      </a:lnTo>
                      <a:lnTo>
                        <a:pt x="1934946" y="528320"/>
                      </a:lnTo>
                      <a:lnTo>
                        <a:pt x="1936369" y="528320"/>
                      </a:lnTo>
                      <a:lnTo>
                        <a:pt x="1937067" y="529590"/>
                      </a:lnTo>
                      <a:lnTo>
                        <a:pt x="1940420" y="532130"/>
                      </a:lnTo>
                      <a:lnTo>
                        <a:pt x="1942693" y="530860"/>
                      </a:lnTo>
                      <a:lnTo>
                        <a:pt x="1947125" y="528320"/>
                      </a:lnTo>
                      <a:lnTo>
                        <a:pt x="1946122" y="527050"/>
                      </a:lnTo>
                      <a:lnTo>
                        <a:pt x="1945271" y="521970"/>
                      </a:lnTo>
                      <a:lnTo>
                        <a:pt x="1945005" y="520700"/>
                      </a:lnTo>
                      <a:lnTo>
                        <a:pt x="1944344" y="518160"/>
                      </a:lnTo>
                      <a:lnTo>
                        <a:pt x="1943887" y="516890"/>
                      </a:lnTo>
                      <a:lnTo>
                        <a:pt x="1940458" y="518160"/>
                      </a:lnTo>
                      <a:lnTo>
                        <a:pt x="1937829" y="515620"/>
                      </a:lnTo>
                      <a:lnTo>
                        <a:pt x="1938261" y="514350"/>
                      </a:lnTo>
                      <a:lnTo>
                        <a:pt x="1938718" y="510540"/>
                      </a:lnTo>
                      <a:lnTo>
                        <a:pt x="1938108" y="506730"/>
                      </a:lnTo>
                      <a:lnTo>
                        <a:pt x="1937677" y="502920"/>
                      </a:lnTo>
                      <a:lnTo>
                        <a:pt x="1943265" y="500380"/>
                      </a:lnTo>
                      <a:lnTo>
                        <a:pt x="1944027" y="497840"/>
                      </a:lnTo>
                      <a:lnTo>
                        <a:pt x="1944776" y="495300"/>
                      </a:lnTo>
                      <a:lnTo>
                        <a:pt x="1945157" y="494030"/>
                      </a:lnTo>
                      <a:lnTo>
                        <a:pt x="1943112" y="495300"/>
                      </a:lnTo>
                      <a:lnTo>
                        <a:pt x="1939302" y="494030"/>
                      </a:lnTo>
                      <a:lnTo>
                        <a:pt x="1937258" y="491490"/>
                      </a:lnTo>
                      <a:lnTo>
                        <a:pt x="1932393" y="494030"/>
                      </a:lnTo>
                      <a:lnTo>
                        <a:pt x="1934972" y="496570"/>
                      </a:lnTo>
                      <a:lnTo>
                        <a:pt x="1931898" y="497840"/>
                      </a:lnTo>
                      <a:lnTo>
                        <a:pt x="1932940" y="495300"/>
                      </a:lnTo>
                      <a:lnTo>
                        <a:pt x="1932520" y="495300"/>
                      </a:lnTo>
                      <a:lnTo>
                        <a:pt x="1928622" y="494030"/>
                      </a:lnTo>
                      <a:lnTo>
                        <a:pt x="1926145" y="492760"/>
                      </a:lnTo>
                      <a:lnTo>
                        <a:pt x="1926031" y="487680"/>
                      </a:lnTo>
                      <a:lnTo>
                        <a:pt x="1927999" y="483870"/>
                      </a:lnTo>
                      <a:lnTo>
                        <a:pt x="1929701" y="481330"/>
                      </a:lnTo>
                      <a:lnTo>
                        <a:pt x="1931327" y="478790"/>
                      </a:lnTo>
                      <a:lnTo>
                        <a:pt x="1933282" y="476250"/>
                      </a:lnTo>
                      <a:lnTo>
                        <a:pt x="1935835" y="474980"/>
                      </a:lnTo>
                      <a:lnTo>
                        <a:pt x="1939455" y="473710"/>
                      </a:lnTo>
                      <a:lnTo>
                        <a:pt x="1936978" y="473710"/>
                      </a:lnTo>
                      <a:lnTo>
                        <a:pt x="1938489" y="472440"/>
                      </a:lnTo>
                      <a:lnTo>
                        <a:pt x="1940991" y="471170"/>
                      </a:lnTo>
                      <a:lnTo>
                        <a:pt x="1941766" y="469900"/>
                      </a:lnTo>
                      <a:lnTo>
                        <a:pt x="1940610" y="469900"/>
                      </a:lnTo>
                      <a:lnTo>
                        <a:pt x="1939683" y="468630"/>
                      </a:lnTo>
                      <a:lnTo>
                        <a:pt x="1941156" y="466090"/>
                      </a:lnTo>
                      <a:lnTo>
                        <a:pt x="1941652" y="467360"/>
                      </a:lnTo>
                      <a:lnTo>
                        <a:pt x="1942274" y="467360"/>
                      </a:lnTo>
                      <a:lnTo>
                        <a:pt x="1943430" y="468630"/>
                      </a:lnTo>
                      <a:lnTo>
                        <a:pt x="1945081" y="468630"/>
                      </a:lnTo>
                      <a:lnTo>
                        <a:pt x="1943049" y="466090"/>
                      </a:lnTo>
                      <a:lnTo>
                        <a:pt x="1942033" y="464820"/>
                      </a:lnTo>
                      <a:lnTo>
                        <a:pt x="1943811" y="464820"/>
                      </a:lnTo>
                      <a:lnTo>
                        <a:pt x="1945538" y="463550"/>
                      </a:lnTo>
                      <a:lnTo>
                        <a:pt x="1945970" y="462280"/>
                      </a:lnTo>
                      <a:lnTo>
                        <a:pt x="1944890" y="459740"/>
                      </a:lnTo>
                      <a:lnTo>
                        <a:pt x="1944001" y="459740"/>
                      </a:lnTo>
                      <a:lnTo>
                        <a:pt x="1943925" y="457200"/>
                      </a:lnTo>
                      <a:lnTo>
                        <a:pt x="1945271" y="455930"/>
                      </a:lnTo>
                      <a:lnTo>
                        <a:pt x="1945779" y="454660"/>
                      </a:lnTo>
                      <a:lnTo>
                        <a:pt x="1946198" y="453390"/>
                      </a:lnTo>
                      <a:lnTo>
                        <a:pt x="1947354" y="452120"/>
                      </a:lnTo>
                      <a:lnTo>
                        <a:pt x="1950021" y="450850"/>
                      </a:lnTo>
                      <a:lnTo>
                        <a:pt x="1951101" y="452120"/>
                      </a:lnTo>
                      <a:lnTo>
                        <a:pt x="1951697" y="450850"/>
                      </a:lnTo>
                      <a:lnTo>
                        <a:pt x="1952294" y="449580"/>
                      </a:lnTo>
                      <a:lnTo>
                        <a:pt x="1950631" y="449580"/>
                      </a:lnTo>
                      <a:lnTo>
                        <a:pt x="1950402" y="448310"/>
                      </a:lnTo>
                      <a:lnTo>
                        <a:pt x="1956269" y="448310"/>
                      </a:lnTo>
                      <a:lnTo>
                        <a:pt x="1957692" y="449580"/>
                      </a:lnTo>
                      <a:lnTo>
                        <a:pt x="1959190" y="449580"/>
                      </a:lnTo>
                      <a:lnTo>
                        <a:pt x="1961222" y="448310"/>
                      </a:lnTo>
                      <a:lnTo>
                        <a:pt x="1963242" y="447040"/>
                      </a:lnTo>
                      <a:lnTo>
                        <a:pt x="1964055" y="447040"/>
                      </a:lnTo>
                      <a:lnTo>
                        <a:pt x="1965629" y="449580"/>
                      </a:lnTo>
                      <a:lnTo>
                        <a:pt x="1967026" y="452120"/>
                      </a:lnTo>
                      <a:lnTo>
                        <a:pt x="1967141" y="454660"/>
                      </a:lnTo>
                      <a:lnTo>
                        <a:pt x="1970684" y="452120"/>
                      </a:lnTo>
                      <a:lnTo>
                        <a:pt x="1971649" y="450850"/>
                      </a:lnTo>
                      <a:lnTo>
                        <a:pt x="1972030" y="449580"/>
                      </a:lnTo>
                      <a:lnTo>
                        <a:pt x="1972538" y="449580"/>
                      </a:lnTo>
                      <a:lnTo>
                        <a:pt x="1972614" y="448310"/>
                      </a:lnTo>
                      <a:lnTo>
                        <a:pt x="1971065" y="448310"/>
                      </a:lnTo>
                      <a:lnTo>
                        <a:pt x="1974240" y="447040"/>
                      </a:lnTo>
                      <a:lnTo>
                        <a:pt x="1975815" y="445770"/>
                      </a:lnTo>
                      <a:lnTo>
                        <a:pt x="1989582" y="438150"/>
                      </a:lnTo>
                      <a:lnTo>
                        <a:pt x="1989074" y="439420"/>
                      </a:lnTo>
                      <a:lnTo>
                        <a:pt x="1989734" y="440690"/>
                      </a:lnTo>
                      <a:lnTo>
                        <a:pt x="1987765" y="440690"/>
                      </a:lnTo>
                      <a:lnTo>
                        <a:pt x="1988197" y="441960"/>
                      </a:lnTo>
                      <a:lnTo>
                        <a:pt x="1988146" y="443230"/>
                      </a:lnTo>
                      <a:lnTo>
                        <a:pt x="1987956" y="445770"/>
                      </a:lnTo>
                      <a:lnTo>
                        <a:pt x="1987461" y="445770"/>
                      </a:lnTo>
                      <a:lnTo>
                        <a:pt x="1985759" y="448310"/>
                      </a:lnTo>
                      <a:lnTo>
                        <a:pt x="1985454" y="453390"/>
                      </a:lnTo>
                      <a:lnTo>
                        <a:pt x="1989810" y="452120"/>
                      </a:lnTo>
                      <a:lnTo>
                        <a:pt x="1991817" y="449580"/>
                      </a:lnTo>
                      <a:lnTo>
                        <a:pt x="1993900" y="447040"/>
                      </a:lnTo>
                      <a:lnTo>
                        <a:pt x="1997748" y="443230"/>
                      </a:lnTo>
                      <a:lnTo>
                        <a:pt x="1997252" y="443230"/>
                      </a:lnTo>
                      <a:lnTo>
                        <a:pt x="1999678" y="441960"/>
                      </a:lnTo>
                      <a:lnTo>
                        <a:pt x="2002142" y="441960"/>
                      </a:lnTo>
                      <a:lnTo>
                        <a:pt x="2007819" y="438150"/>
                      </a:lnTo>
                      <a:lnTo>
                        <a:pt x="2009787" y="436880"/>
                      </a:lnTo>
                      <a:lnTo>
                        <a:pt x="2030412" y="435610"/>
                      </a:lnTo>
                      <a:lnTo>
                        <a:pt x="2033879" y="436880"/>
                      </a:lnTo>
                      <a:lnTo>
                        <a:pt x="2030806" y="436880"/>
                      </a:lnTo>
                      <a:lnTo>
                        <a:pt x="2032381" y="438150"/>
                      </a:lnTo>
                      <a:lnTo>
                        <a:pt x="2035657" y="439420"/>
                      </a:lnTo>
                      <a:lnTo>
                        <a:pt x="2037461" y="440690"/>
                      </a:lnTo>
                      <a:lnTo>
                        <a:pt x="2037118" y="441960"/>
                      </a:lnTo>
                      <a:lnTo>
                        <a:pt x="2037740" y="443230"/>
                      </a:lnTo>
                      <a:lnTo>
                        <a:pt x="2038553" y="444500"/>
                      </a:lnTo>
                      <a:lnTo>
                        <a:pt x="2039823" y="443230"/>
                      </a:lnTo>
                      <a:lnTo>
                        <a:pt x="2040813" y="444500"/>
                      </a:lnTo>
                      <a:lnTo>
                        <a:pt x="2038819" y="444500"/>
                      </a:lnTo>
                      <a:lnTo>
                        <a:pt x="2039124" y="445770"/>
                      </a:lnTo>
                      <a:lnTo>
                        <a:pt x="2041398" y="448310"/>
                      </a:lnTo>
                      <a:lnTo>
                        <a:pt x="2043023" y="448310"/>
                      </a:lnTo>
                      <a:lnTo>
                        <a:pt x="2044331" y="450850"/>
                      </a:lnTo>
                      <a:lnTo>
                        <a:pt x="2047151" y="453390"/>
                      </a:lnTo>
                      <a:lnTo>
                        <a:pt x="2047760" y="447040"/>
                      </a:lnTo>
                      <a:lnTo>
                        <a:pt x="2048383" y="444500"/>
                      </a:lnTo>
                      <a:lnTo>
                        <a:pt x="2048497" y="443230"/>
                      </a:lnTo>
                      <a:lnTo>
                        <a:pt x="2050186" y="443230"/>
                      </a:lnTo>
                      <a:lnTo>
                        <a:pt x="2051545" y="441960"/>
                      </a:lnTo>
                      <a:lnTo>
                        <a:pt x="2050110" y="441960"/>
                      </a:lnTo>
                      <a:lnTo>
                        <a:pt x="2050503" y="440690"/>
                      </a:lnTo>
                      <a:lnTo>
                        <a:pt x="2050923" y="440690"/>
                      </a:lnTo>
                      <a:lnTo>
                        <a:pt x="2051659" y="439420"/>
                      </a:lnTo>
                      <a:lnTo>
                        <a:pt x="2052154" y="440690"/>
                      </a:lnTo>
                      <a:lnTo>
                        <a:pt x="2052510" y="439420"/>
                      </a:lnTo>
                      <a:lnTo>
                        <a:pt x="2053272" y="438150"/>
                      </a:lnTo>
                      <a:lnTo>
                        <a:pt x="2056777" y="438150"/>
                      </a:lnTo>
                      <a:lnTo>
                        <a:pt x="2058911" y="436880"/>
                      </a:lnTo>
                      <a:lnTo>
                        <a:pt x="2060219" y="435610"/>
                      </a:lnTo>
                      <a:lnTo>
                        <a:pt x="2060943" y="435610"/>
                      </a:lnTo>
                      <a:lnTo>
                        <a:pt x="2060841" y="434340"/>
                      </a:lnTo>
                      <a:lnTo>
                        <a:pt x="2062568" y="433070"/>
                      </a:lnTo>
                      <a:lnTo>
                        <a:pt x="2065655" y="433070"/>
                      </a:lnTo>
                      <a:lnTo>
                        <a:pt x="2068245" y="431800"/>
                      </a:lnTo>
                      <a:lnTo>
                        <a:pt x="2073135" y="430530"/>
                      </a:lnTo>
                      <a:lnTo>
                        <a:pt x="2072665" y="426720"/>
                      </a:lnTo>
                      <a:lnTo>
                        <a:pt x="2075294" y="426720"/>
                      </a:lnTo>
                      <a:lnTo>
                        <a:pt x="2075891" y="426275"/>
                      </a:lnTo>
                      <a:lnTo>
                        <a:pt x="2075408" y="425450"/>
                      </a:lnTo>
                      <a:lnTo>
                        <a:pt x="2076373" y="425450"/>
                      </a:lnTo>
                      <a:lnTo>
                        <a:pt x="2075827" y="424180"/>
                      </a:lnTo>
                      <a:lnTo>
                        <a:pt x="2075484" y="422910"/>
                      </a:lnTo>
                      <a:lnTo>
                        <a:pt x="2081237" y="422910"/>
                      </a:lnTo>
                      <a:lnTo>
                        <a:pt x="2080082" y="420370"/>
                      </a:lnTo>
                      <a:lnTo>
                        <a:pt x="2081149" y="420370"/>
                      </a:lnTo>
                      <a:lnTo>
                        <a:pt x="2082431" y="421640"/>
                      </a:lnTo>
                      <a:lnTo>
                        <a:pt x="2083587" y="420370"/>
                      </a:lnTo>
                      <a:lnTo>
                        <a:pt x="2083549" y="419100"/>
                      </a:lnTo>
                      <a:lnTo>
                        <a:pt x="2078532" y="417830"/>
                      </a:lnTo>
                      <a:lnTo>
                        <a:pt x="2086165" y="417830"/>
                      </a:lnTo>
                      <a:lnTo>
                        <a:pt x="2088134" y="416560"/>
                      </a:lnTo>
                      <a:lnTo>
                        <a:pt x="2089988" y="416560"/>
                      </a:lnTo>
                      <a:lnTo>
                        <a:pt x="2091677" y="415290"/>
                      </a:lnTo>
                      <a:lnTo>
                        <a:pt x="2091372" y="415290"/>
                      </a:lnTo>
                      <a:lnTo>
                        <a:pt x="2091880" y="412750"/>
                      </a:lnTo>
                      <a:lnTo>
                        <a:pt x="2092032" y="411480"/>
                      </a:lnTo>
                      <a:lnTo>
                        <a:pt x="2095881" y="411480"/>
                      </a:lnTo>
                      <a:lnTo>
                        <a:pt x="2097316" y="410210"/>
                      </a:lnTo>
                      <a:lnTo>
                        <a:pt x="2100707" y="408940"/>
                      </a:lnTo>
                      <a:lnTo>
                        <a:pt x="2101164" y="410210"/>
                      </a:lnTo>
                      <a:lnTo>
                        <a:pt x="2107184" y="410210"/>
                      </a:lnTo>
                      <a:lnTo>
                        <a:pt x="2108136" y="408940"/>
                      </a:lnTo>
                      <a:lnTo>
                        <a:pt x="2109076" y="407670"/>
                      </a:lnTo>
                      <a:lnTo>
                        <a:pt x="2108644" y="407670"/>
                      </a:lnTo>
                      <a:lnTo>
                        <a:pt x="2106993" y="406400"/>
                      </a:lnTo>
                      <a:lnTo>
                        <a:pt x="2112073" y="406400"/>
                      </a:lnTo>
                      <a:lnTo>
                        <a:pt x="2117128" y="405130"/>
                      </a:lnTo>
                      <a:lnTo>
                        <a:pt x="2115439" y="403860"/>
                      </a:lnTo>
                      <a:lnTo>
                        <a:pt x="2117636" y="401320"/>
                      </a:lnTo>
                      <a:lnTo>
                        <a:pt x="2120404" y="401320"/>
                      </a:lnTo>
                      <a:lnTo>
                        <a:pt x="2130895" y="396240"/>
                      </a:lnTo>
                      <a:lnTo>
                        <a:pt x="2136127" y="393700"/>
                      </a:lnTo>
                      <a:lnTo>
                        <a:pt x="2141461" y="393700"/>
                      </a:lnTo>
                      <a:lnTo>
                        <a:pt x="2140953" y="391160"/>
                      </a:lnTo>
                      <a:lnTo>
                        <a:pt x="2140648" y="389890"/>
                      </a:lnTo>
                      <a:lnTo>
                        <a:pt x="2141423" y="389890"/>
                      </a:lnTo>
                      <a:lnTo>
                        <a:pt x="2142185" y="388620"/>
                      </a:lnTo>
                      <a:lnTo>
                        <a:pt x="2141537" y="387350"/>
                      </a:lnTo>
                      <a:lnTo>
                        <a:pt x="2141690" y="386080"/>
                      </a:lnTo>
                      <a:lnTo>
                        <a:pt x="2142261" y="387350"/>
                      </a:lnTo>
                      <a:lnTo>
                        <a:pt x="2143391" y="388620"/>
                      </a:lnTo>
                      <a:lnTo>
                        <a:pt x="2144776" y="388620"/>
                      </a:lnTo>
                      <a:lnTo>
                        <a:pt x="2149983" y="387350"/>
                      </a:lnTo>
                      <a:lnTo>
                        <a:pt x="2145893" y="388620"/>
                      </a:lnTo>
                      <a:lnTo>
                        <a:pt x="2145665" y="392430"/>
                      </a:lnTo>
                      <a:lnTo>
                        <a:pt x="2146236" y="392430"/>
                      </a:lnTo>
                      <a:lnTo>
                        <a:pt x="2149551" y="393700"/>
                      </a:lnTo>
                      <a:lnTo>
                        <a:pt x="2152764" y="392430"/>
                      </a:lnTo>
                      <a:lnTo>
                        <a:pt x="2159152" y="394970"/>
                      </a:lnTo>
                      <a:lnTo>
                        <a:pt x="2162048" y="396240"/>
                      </a:lnTo>
                      <a:lnTo>
                        <a:pt x="2167369" y="397510"/>
                      </a:lnTo>
                      <a:lnTo>
                        <a:pt x="2169109" y="398780"/>
                      </a:lnTo>
                      <a:lnTo>
                        <a:pt x="2172881" y="400050"/>
                      </a:lnTo>
                      <a:lnTo>
                        <a:pt x="2172157" y="396240"/>
                      </a:lnTo>
                      <a:lnTo>
                        <a:pt x="2172652" y="396240"/>
                      </a:lnTo>
                      <a:lnTo>
                        <a:pt x="2174189" y="393700"/>
                      </a:lnTo>
                      <a:lnTo>
                        <a:pt x="2179167" y="393700"/>
                      </a:lnTo>
                      <a:lnTo>
                        <a:pt x="2178901" y="389890"/>
                      </a:lnTo>
                      <a:lnTo>
                        <a:pt x="2178748" y="388620"/>
                      </a:lnTo>
                      <a:lnTo>
                        <a:pt x="2177897" y="387350"/>
                      </a:lnTo>
                      <a:lnTo>
                        <a:pt x="2175776" y="386080"/>
                      </a:lnTo>
                      <a:lnTo>
                        <a:pt x="2173655" y="384810"/>
                      </a:lnTo>
                      <a:lnTo>
                        <a:pt x="2175002" y="384810"/>
                      </a:lnTo>
                      <a:lnTo>
                        <a:pt x="2176551" y="381000"/>
                      </a:lnTo>
                      <a:lnTo>
                        <a:pt x="2176005" y="379730"/>
                      </a:lnTo>
                      <a:lnTo>
                        <a:pt x="2174290" y="378460"/>
                      </a:lnTo>
                      <a:lnTo>
                        <a:pt x="2172576" y="377190"/>
                      </a:lnTo>
                      <a:lnTo>
                        <a:pt x="2168715" y="378460"/>
                      </a:lnTo>
                      <a:lnTo>
                        <a:pt x="2168144" y="374650"/>
                      </a:lnTo>
                      <a:lnTo>
                        <a:pt x="2164550" y="374650"/>
                      </a:lnTo>
                      <a:lnTo>
                        <a:pt x="2165985" y="373380"/>
                      </a:lnTo>
                      <a:lnTo>
                        <a:pt x="2166874" y="372592"/>
                      </a:lnTo>
                      <a:lnTo>
                        <a:pt x="2168639" y="374408"/>
                      </a:lnTo>
                      <a:lnTo>
                        <a:pt x="2167953" y="372110"/>
                      </a:lnTo>
                      <a:lnTo>
                        <a:pt x="2166785" y="370840"/>
                      </a:lnTo>
                      <a:lnTo>
                        <a:pt x="2166607" y="371424"/>
                      </a:lnTo>
                      <a:lnTo>
                        <a:pt x="2164435" y="369570"/>
                      </a:lnTo>
                      <a:lnTo>
                        <a:pt x="2160117" y="373380"/>
                      </a:lnTo>
                      <a:lnTo>
                        <a:pt x="2161349" y="368300"/>
                      </a:lnTo>
                      <a:lnTo>
                        <a:pt x="2164943" y="369570"/>
                      </a:lnTo>
                      <a:lnTo>
                        <a:pt x="2165680" y="369570"/>
                      </a:lnTo>
                      <a:lnTo>
                        <a:pt x="2166874" y="369570"/>
                      </a:lnTo>
                      <a:lnTo>
                        <a:pt x="2166772" y="368300"/>
                      </a:lnTo>
                      <a:lnTo>
                        <a:pt x="2166670" y="367030"/>
                      </a:lnTo>
                      <a:lnTo>
                        <a:pt x="2166289" y="365760"/>
                      </a:lnTo>
                      <a:lnTo>
                        <a:pt x="2165781" y="363220"/>
                      </a:lnTo>
                      <a:lnTo>
                        <a:pt x="2166061" y="363220"/>
                      </a:lnTo>
                      <a:lnTo>
                        <a:pt x="2165172" y="361950"/>
                      </a:lnTo>
                      <a:lnTo>
                        <a:pt x="2163788" y="361950"/>
                      </a:lnTo>
                      <a:lnTo>
                        <a:pt x="2164016" y="359410"/>
                      </a:lnTo>
                      <a:lnTo>
                        <a:pt x="2163203" y="359410"/>
                      </a:lnTo>
                      <a:lnTo>
                        <a:pt x="2162200" y="356870"/>
                      </a:lnTo>
                      <a:lnTo>
                        <a:pt x="2161273" y="355600"/>
                      </a:lnTo>
                      <a:lnTo>
                        <a:pt x="2160778" y="351790"/>
                      </a:lnTo>
                      <a:lnTo>
                        <a:pt x="2158466" y="354330"/>
                      </a:lnTo>
                      <a:lnTo>
                        <a:pt x="2157425" y="355600"/>
                      </a:lnTo>
                      <a:lnTo>
                        <a:pt x="2159152" y="356870"/>
                      </a:lnTo>
                      <a:lnTo>
                        <a:pt x="2155990" y="355600"/>
                      </a:lnTo>
                      <a:lnTo>
                        <a:pt x="2155266" y="355600"/>
                      </a:lnTo>
                      <a:lnTo>
                        <a:pt x="2152993" y="354330"/>
                      </a:lnTo>
                      <a:lnTo>
                        <a:pt x="2151608" y="354330"/>
                      </a:lnTo>
                      <a:lnTo>
                        <a:pt x="2148903" y="351790"/>
                      </a:lnTo>
                      <a:lnTo>
                        <a:pt x="2148827" y="350520"/>
                      </a:lnTo>
                      <a:lnTo>
                        <a:pt x="2148205" y="347980"/>
                      </a:lnTo>
                      <a:lnTo>
                        <a:pt x="2147976" y="345440"/>
                      </a:lnTo>
                      <a:lnTo>
                        <a:pt x="2140762" y="345440"/>
                      </a:lnTo>
                      <a:lnTo>
                        <a:pt x="2137918" y="345440"/>
                      </a:lnTo>
                      <a:lnTo>
                        <a:pt x="2133206" y="345440"/>
                      </a:lnTo>
                      <a:lnTo>
                        <a:pt x="2133092" y="346710"/>
                      </a:lnTo>
                      <a:lnTo>
                        <a:pt x="2130895" y="346710"/>
                      </a:lnTo>
                      <a:lnTo>
                        <a:pt x="2130120" y="347980"/>
                      </a:lnTo>
                      <a:lnTo>
                        <a:pt x="2128888" y="347980"/>
                      </a:lnTo>
                      <a:lnTo>
                        <a:pt x="2128964" y="346710"/>
                      </a:lnTo>
                      <a:lnTo>
                        <a:pt x="2130348" y="346710"/>
                      </a:lnTo>
                      <a:lnTo>
                        <a:pt x="2131974" y="345440"/>
                      </a:lnTo>
                      <a:lnTo>
                        <a:pt x="2131314" y="344170"/>
                      </a:lnTo>
                      <a:lnTo>
                        <a:pt x="2126348" y="340360"/>
                      </a:lnTo>
                      <a:lnTo>
                        <a:pt x="2128418" y="339090"/>
                      </a:lnTo>
                      <a:lnTo>
                        <a:pt x="2131199" y="340360"/>
                      </a:lnTo>
                      <a:lnTo>
                        <a:pt x="2133790" y="341630"/>
                      </a:lnTo>
                      <a:lnTo>
                        <a:pt x="2136673" y="341630"/>
                      </a:lnTo>
                      <a:lnTo>
                        <a:pt x="2138489" y="340360"/>
                      </a:lnTo>
                      <a:lnTo>
                        <a:pt x="2140877" y="341630"/>
                      </a:lnTo>
                      <a:lnTo>
                        <a:pt x="2141766" y="344170"/>
                      </a:lnTo>
                      <a:lnTo>
                        <a:pt x="2145893" y="341630"/>
                      </a:lnTo>
                      <a:lnTo>
                        <a:pt x="2144687" y="340360"/>
                      </a:lnTo>
                      <a:lnTo>
                        <a:pt x="2143468" y="339090"/>
                      </a:lnTo>
                      <a:lnTo>
                        <a:pt x="2141690" y="337820"/>
                      </a:lnTo>
                      <a:lnTo>
                        <a:pt x="2139912" y="336550"/>
                      </a:lnTo>
                      <a:lnTo>
                        <a:pt x="2139492" y="337820"/>
                      </a:lnTo>
                      <a:lnTo>
                        <a:pt x="2135911" y="337820"/>
                      </a:lnTo>
                      <a:lnTo>
                        <a:pt x="2134400" y="336550"/>
                      </a:lnTo>
                      <a:lnTo>
                        <a:pt x="2137753" y="336550"/>
                      </a:lnTo>
                      <a:lnTo>
                        <a:pt x="2138832" y="335280"/>
                      </a:lnTo>
                      <a:lnTo>
                        <a:pt x="2141309" y="336550"/>
                      </a:lnTo>
                      <a:lnTo>
                        <a:pt x="2143620" y="336550"/>
                      </a:lnTo>
                      <a:lnTo>
                        <a:pt x="2144814" y="337820"/>
                      </a:lnTo>
                      <a:lnTo>
                        <a:pt x="2144623" y="339090"/>
                      </a:lnTo>
                      <a:lnTo>
                        <a:pt x="2146935" y="339090"/>
                      </a:lnTo>
                      <a:lnTo>
                        <a:pt x="2149513" y="340360"/>
                      </a:lnTo>
                      <a:lnTo>
                        <a:pt x="2146427" y="341630"/>
                      </a:lnTo>
                      <a:lnTo>
                        <a:pt x="2151367" y="342900"/>
                      </a:lnTo>
                      <a:lnTo>
                        <a:pt x="2150402" y="344170"/>
                      </a:lnTo>
                      <a:lnTo>
                        <a:pt x="2154758" y="345440"/>
                      </a:lnTo>
                      <a:lnTo>
                        <a:pt x="2158428" y="345440"/>
                      </a:lnTo>
                      <a:lnTo>
                        <a:pt x="2181733" y="339090"/>
                      </a:lnTo>
                      <a:lnTo>
                        <a:pt x="2184387" y="336550"/>
                      </a:lnTo>
                      <a:lnTo>
                        <a:pt x="2184603" y="335280"/>
                      </a:lnTo>
                      <a:lnTo>
                        <a:pt x="2184641" y="336550"/>
                      </a:lnTo>
                      <a:lnTo>
                        <a:pt x="2185682" y="336550"/>
                      </a:lnTo>
                      <a:lnTo>
                        <a:pt x="2186076" y="335280"/>
                      </a:lnTo>
                      <a:lnTo>
                        <a:pt x="2188908" y="335280"/>
                      </a:lnTo>
                      <a:lnTo>
                        <a:pt x="2189759" y="334010"/>
                      </a:lnTo>
                      <a:lnTo>
                        <a:pt x="2191347" y="332740"/>
                      </a:lnTo>
                      <a:lnTo>
                        <a:pt x="2190775" y="330200"/>
                      </a:lnTo>
                      <a:lnTo>
                        <a:pt x="2191931" y="328930"/>
                      </a:lnTo>
                      <a:lnTo>
                        <a:pt x="2188400" y="328930"/>
                      </a:lnTo>
                      <a:lnTo>
                        <a:pt x="2186432" y="330200"/>
                      </a:lnTo>
                      <a:lnTo>
                        <a:pt x="2182609" y="330200"/>
                      </a:lnTo>
                      <a:lnTo>
                        <a:pt x="2183066" y="328930"/>
                      </a:lnTo>
                      <a:lnTo>
                        <a:pt x="2183955" y="328930"/>
                      </a:lnTo>
                      <a:lnTo>
                        <a:pt x="2187270" y="327660"/>
                      </a:lnTo>
                      <a:lnTo>
                        <a:pt x="2191347" y="326390"/>
                      </a:lnTo>
                      <a:lnTo>
                        <a:pt x="2194585" y="325120"/>
                      </a:lnTo>
                      <a:lnTo>
                        <a:pt x="2193391" y="323850"/>
                      </a:lnTo>
                      <a:lnTo>
                        <a:pt x="2195322" y="322580"/>
                      </a:lnTo>
                      <a:lnTo>
                        <a:pt x="2192007" y="321310"/>
                      </a:lnTo>
                      <a:lnTo>
                        <a:pt x="2190851" y="321310"/>
                      </a:lnTo>
                      <a:lnTo>
                        <a:pt x="2189848" y="320040"/>
                      </a:lnTo>
                      <a:lnTo>
                        <a:pt x="2188159" y="318770"/>
                      </a:lnTo>
                      <a:lnTo>
                        <a:pt x="2188159" y="317500"/>
                      </a:lnTo>
                      <a:lnTo>
                        <a:pt x="2188235" y="312420"/>
                      </a:lnTo>
                      <a:lnTo>
                        <a:pt x="2188464" y="308610"/>
                      </a:lnTo>
                      <a:lnTo>
                        <a:pt x="2188540" y="307340"/>
                      </a:lnTo>
                      <a:lnTo>
                        <a:pt x="2189962" y="311150"/>
                      </a:lnTo>
                      <a:lnTo>
                        <a:pt x="2189111" y="311150"/>
                      </a:lnTo>
                      <a:lnTo>
                        <a:pt x="2190038" y="312420"/>
                      </a:lnTo>
                      <a:lnTo>
                        <a:pt x="2192083" y="311150"/>
                      </a:lnTo>
                      <a:lnTo>
                        <a:pt x="2193125" y="311150"/>
                      </a:lnTo>
                      <a:lnTo>
                        <a:pt x="2195753" y="309880"/>
                      </a:lnTo>
                      <a:lnTo>
                        <a:pt x="2195055" y="308610"/>
                      </a:lnTo>
                      <a:lnTo>
                        <a:pt x="2192934" y="306070"/>
                      </a:lnTo>
                      <a:lnTo>
                        <a:pt x="2196401" y="303530"/>
                      </a:lnTo>
                      <a:lnTo>
                        <a:pt x="2197481" y="306070"/>
                      </a:lnTo>
                      <a:lnTo>
                        <a:pt x="2197951" y="307340"/>
                      </a:lnTo>
                      <a:lnTo>
                        <a:pt x="2197100" y="307340"/>
                      </a:lnTo>
                      <a:lnTo>
                        <a:pt x="2197328" y="308610"/>
                      </a:lnTo>
                      <a:lnTo>
                        <a:pt x="2197722" y="308610"/>
                      </a:lnTo>
                      <a:lnTo>
                        <a:pt x="2198103" y="309880"/>
                      </a:lnTo>
                      <a:lnTo>
                        <a:pt x="2200922" y="308610"/>
                      </a:lnTo>
                      <a:lnTo>
                        <a:pt x="2203158" y="306070"/>
                      </a:lnTo>
                      <a:lnTo>
                        <a:pt x="2205964" y="304800"/>
                      </a:lnTo>
                      <a:lnTo>
                        <a:pt x="2205812" y="307340"/>
                      </a:lnTo>
                      <a:lnTo>
                        <a:pt x="2206117" y="309880"/>
                      </a:lnTo>
                      <a:lnTo>
                        <a:pt x="2205037" y="311150"/>
                      </a:lnTo>
                      <a:lnTo>
                        <a:pt x="2203920" y="311150"/>
                      </a:lnTo>
                      <a:lnTo>
                        <a:pt x="2203500" y="312420"/>
                      </a:lnTo>
                      <a:lnTo>
                        <a:pt x="2203158" y="312420"/>
                      </a:lnTo>
                      <a:lnTo>
                        <a:pt x="2203183" y="313690"/>
                      </a:lnTo>
                      <a:lnTo>
                        <a:pt x="2202916" y="313690"/>
                      </a:lnTo>
                      <a:lnTo>
                        <a:pt x="2202027" y="314960"/>
                      </a:lnTo>
                      <a:lnTo>
                        <a:pt x="2200414" y="313690"/>
                      </a:lnTo>
                      <a:lnTo>
                        <a:pt x="2200224" y="313690"/>
                      </a:lnTo>
                      <a:lnTo>
                        <a:pt x="2200491" y="314960"/>
                      </a:lnTo>
                      <a:lnTo>
                        <a:pt x="2200452" y="316230"/>
                      </a:lnTo>
                      <a:lnTo>
                        <a:pt x="2201024" y="317500"/>
                      </a:lnTo>
                      <a:lnTo>
                        <a:pt x="2203310" y="318770"/>
                      </a:lnTo>
                      <a:lnTo>
                        <a:pt x="2205393" y="320040"/>
                      </a:lnTo>
                      <a:lnTo>
                        <a:pt x="2206929" y="320040"/>
                      </a:lnTo>
                      <a:lnTo>
                        <a:pt x="2206345" y="322580"/>
                      </a:lnTo>
                      <a:lnTo>
                        <a:pt x="2205583" y="323850"/>
                      </a:lnTo>
                      <a:lnTo>
                        <a:pt x="2205964" y="325120"/>
                      </a:lnTo>
                      <a:lnTo>
                        <a:pt x="2207742" y="323850"/>
                      </a:lnTo>
                      <a:lnTo>
                        <a:pt x="2229231" y="323850"/>
                      </a:lnTo>
                      <a:lnTo>
                        <a:pt x="2235885" y="326390"/>
                      </a:lnTo>
                      <a:lnTo>
                        <a:pt x="2238591" y="326390"/>
                      </a:lnTo>
                      <a:lnTo>
                        <a:pt x="2242629" y="327660"/>
                      </a:lnTo>
                      <a:lnTo>
                        <a:pt x="2243137" y="330200"/>
                      </a:lnTo>
                      <a:lnTo>
                        <a:pt x="2243328" y="331470"/>
                      </a:lnTo>
                      <a:lnTo>
                        <a:pt x="2243950" y="331470"/>
                      </a:lnTo>
                      <a:lnTo>
                        <a:pt x="2244636" y="334010"/>
                      </a:lnTo>
                      <a:lnTo>
                        <a:pt x="2245144" y="336550"/>
                      </a:lnTo>
                      <a:lnTo>
                        <a:pt x="2246299" y="337820"/>
                      </a:lnTo>
                      <a:lnTo>
                        <a:pt x="2247150" y="339090"/>
                      </a:lnTo>
                      <a:lnTo>
                        <a:pt x="2247722" y="340360"/>
                      </a:lnTo>
                      <a:lnTo>
                        <a:pt x="2248687" y="342900"/>
                      </a:lnTo>
                      <a:lnTo>
                        <a:pt x="2257590" y="342900"/>
                      </a:lnTo>
                      <a:lnTo>
                        <a:pt x="2261146" y="344170"/>
                      </a:lnTo>
                      <a:lnTo>
                        <a:pt x="2266251" y="345440"/>
                      </a:lnTo>
                      <a:lnTo>
                        <a:pt x="2266251" y="314960"/>
                      </a:lnTo>
                      <a:lnTo>
                        <a:pt x="2266251" y="307340"/>
                      </a:lnTo>
                      <a:lnTo>
                        <a:pt x="2266251" y="306070"/>
                      </a:lnTo>
                      <a:close/>
                    </a:path>
                    <a:path w="2266315" h="1830704">
                      <a:moveTo>
                        <a:pt x="2266251" y="288290"/>
                      </a:moveTo>
                      <a:lnTo>
                        <a:pt x="2263267" y="287020"/>
                      </a:lnTo>
                      <a:lnTo>
                        <a:pt x="2261298" y="288290"/>
                      </a:lnTo>
                      <a:lnTo>
                        <a:pt x="2262301" y="289560"/>
                      </a:lnTo>
                      <a:lnTo>
                        <a:pt x="2263533" y="288290"/>
                      </a:lnTo>
                      <a:lnTo>
                        <a:pt x="2264499" y="288290"/>
                      </a:lnTo>
                      <a:lnTo>
                        <a:pt x="2263991" y="289267"/>
                      </a:lnTo>
                      <a:lnTo>
                        <a:pt x="2265769" y="288290"/>
                      </a:lnTo>
                      <a:lnTo>
                        <a:pt x="2266251" y="289560"/>
                      </a:lnTo>
                      <a:lnTo>
                        <a:pt x="2266251" y="288290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635" name="object 175">
                  <a:extLst>
                    <a:ext uri="{FF2B5EF4-FFF2-40B4-BE49-F238E27FC236}">
                      <a16:creationId xmlns:a16="http://schemas.microsoft.com/office/drawing/2014/main" id="{7B2D8DF8-A923-B47C-A236-205AFC5EB8A9}"/>
                    </a:ext>
                  </a:extLst>
                </p:cNvPr>
                <p:cNvSpPr/>
                <p:nvPr/>
              </p:nvSpPr>
              <p:spPr>
                <a:xfrm>
                  <a:off x="722312" y="1673148"/>
                  <a:ext cx="2709545" cy="20351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09545" h="2035175">
                      <a:moveTo>
                        <a:pt x="160578" y="321271"/>
                      </a:moveTo>
                      <a:lnTo>
                        <a:pt x="158280" y="315976"/>
                      </a:lnTo>
                      <a:lnTo>
                        <a:pt x="158623" y="314794"/>
                      </a:lnTo>
                      <a:lnTo>
                        <a:pt x="158216" y="313690"/>
                      </a:lnTo>
                      <a:lnTo>
                        <a:pt x="158750" y="311556"/>
                      </a:lnTo>
                      <a:lnTo>
                        <a:pt x="159931" y="308648"/>
                      </a:lnTo>
                      <a:lnTo>
                        <a:pt x="159588" y="307136"/>
                      </a:lnTo>
                      <a:lnTo>
                        <a:pt x="158280" y="305663"/>
                      </a:lnTo>
                      <a:lnTo>
                        <a:pt x="157149" y="303618"/>
                      </a:lnTo>
                      <a:lnTo>
                        <a:pt x="137096" y="295109"/>
                      </a:lnTo>
                      <a:lnTo>
                        <a:pt x="133705" y="294449"/>
                      </a:lnTo>
                      <a:lnTo>
                        <a:pt x="126746" y="285330"/>
                      </a:lnTo>
                      <a:lnTo>
                        <a:pt x="127685" y="283959"/>
                      </a:lnTo>
                      <a:lnTo>
                        <a:pt x="127774" y="282752"/>
                      </a:lnTo>
                      <a:lnTo>
                        <a:pt x="124256" y="277266"/>
                      </a:lnTo>
                      <a:lnTo>
                        <a:pt x="118186" y="268795"/>
                      </a:lnTo>
                      <a:lnTo>
                        <a:pt x="116027" y="266446"/>
                      </a:lnTo>
                      <a:lnTo>
                        <a:pt x="111404" y="257771"/>
                      </a:lnTo>
                      <a:lnTo>
                        <a:pt x="98590" y="248018"/>
                      </a:lnTo>
                      <a:lnTo>
                        <a:pt x="96050" y="243293"/>
                      </a:lnTo>
                      <a:lnTo>
                        <a:pt x="94576" y="241833"/>
                      </a:lnTo>
                      <a:lnTo>
                        <a:pt x="89217" y="239293"/>
                      </a:lnTo>
                      <a:lnTo>
                        <a:pt x="87541" y="237540"/>
                      </a:lnTo>
                      <a:lnTo>
                        <a:pt x="84772" y="233172"/>
                      </a:lnTo>
                      <a:lnTo>
                        <a:pt x="80962" y="228307"/>
                      </a:lnTo>
                      <a:lnTo>
                        <a:pt x="78765" y="228015"/>
                      </a:lnTo>
                      <a:lnTo>
                        <a:pt x="72275" y="230682"/>
                      </a:lnTo>
                      <a:lnTo>
                        <a:pt x="68821" y="231203"/>
                      </a:lnTo>
                      <a:lnTo>
                        <a:pt x="68021" y="231889"/>
                      </a:lnTo>
                      <a:lnTo>
                        <a:pt x="65773" y="233045"/>
                      </a:lnTo>
                      <a:lnTo>
                        <a:pt x="68097" y="234365"/>
                      </a:lnTo>
                      <a:lnTo>
                        <a:pt x="67208" y="234988"/>
                      </a:lnTo>
                      <a:lnTo>
                        <a:pt x="65201" y="235038"/>
                      </a:lnTo>
                      <a:lnTo>
                        <a:pt x="65036" y="239483"/>
                      </a:lnTo>
                      <a:lnTo>
                        <a:pt x="64262" y="240753"/>
                      </a:lnTo>
                      <a:lnTo>
                        <a:pt x="59905" y="241668"/>
                      </a:lnTo>
                      <a:lnTo>
                        <a:pt x="52692" y="245833"/>
                      </a:lnTo>
                      <a:lnTo>
                        <a:pt x="51206" y="240385"/>
                      </a:lnTo>
                      <a:lnTo>
                        <a:pt x="50215" y="239649"/>
                      </a:lnTo>
                      <a:lnTo>
                        <a:pt x="49085" y="238290"/>
                      </a:lnTo>
                      <a:lnTo>
                        <a:pt x="44234" y="234937"/>
                      </a:lnTo>
                      <a:lnTo>
                        <a:pt x="29743" y="223748"/>
                      </a:lnTo>
                      <a:lnTo>
                        <a:pt x="28917" y="222808"/>
                      </a:lnTo>
                      <a:lnTo>
                        <a:pt x="28651" y="221957"/>
                      </a:lnTo>
                      <a:lnTo>
                        <a:pt x="29933" y="217208"/>
                      </a:lnTo>
                      <a:lnTo>
                        <a:pt x="28384" y="215684"/>
                      </a:lnTo>
                      <a:lnTo>
                        <a:pt x="21196" y="215988"/>
                      </a:lnTo>
                      <a:lnTo>
                        <a:pt x="18935" y="216585"/>
                      </a:lnTo>
                      <a:lnTo>
                        <a:pt x="15684" y="219392"/>
                      </a:lnTo>
                      <a:lnTo>
                        <a:pt x="2222" y="217093"/>
                      </a:lnTo>
                      <a:lnTo>
                        <a:pt x="2235" y="0"/>
                      </a:lnTo>
                      <a:lnTo>
                        <a:pt x="114" y="0"/>
                      </a:lnTo>
                      <a:lnTo>
                        <a:pt x="0" y="218846"/>
                      </a:lnTo>
                      <a:lnTo>
                        <a:pt x="16408" y="221653"/>
                      </a:lnTo>
                      <a:lnTo>
                        <a:pt x="19964" y="218516"/>
                      </a:lnTo>
                      <a:lnTo>
                        <a:pt x="21450" y="218109"/>
                      </a:lnTo>
                      <a:lnTo>
                        <a:pt x="27444" y="217919"/>
                      </a:lnTo>
                      <a:lnTo>
                        <a:pt x="27292" y="219011"/>
                      </a:lnTo>
                      <a:lnTo>
                        <a:pt x="26720" y="220637"/>
                      </a:lnTo>
                      <a:lnTo>
                        <a:pt x="26454" y="222275"/>
                      </a:lnTo>
                      <a:lnTo>
                        <a:pt x="26924" y="223799"/>
                      </a:lnTo>
                      <a:lnTo>
                        <a:pt x="28448" y="225425"/>
                      </a:lnTo>
                      <a:lnTo>
                        <a:pt x="47650" y="239877"/>
                      </a:lnTo>
                      <a:lnTo>
                        <a:pt x="49314" y="241604"/>
                      </a:lnTo>
                      <a:lnTo>
                        <a:pt x="50482" y="245922"/>
                      </a:lnTo>
                      <a:lnTo>
                        <a:pt x="50165" y="247205"/>
                      </a:lnTo>
                      <a:lnTo>
                        <a:pt x="50634" y="248412"/>
                      </a:lnTo>
                      <a:lnTo>
                        <a:pt x="53251" y="247916"/>
                      </a:lnTo>
                      <a:lnTo>
                        <a:pt x="62039" y="243344"/>
                      </a:lnTo>
                      <a:lnTo>
                        <a:pt x="64541" y="243027"/>
                      </a:lnTo>
                      <a:lnTo>
                        <a:pt x="65887" y="242112"/>
                      </a:lnTo>
                      <a:lnTo>
                        <a:pt x="67119" y="240258"/>
                      </a:lnTo>
                      <a:lnTo>
                        <a:pt x="67208" y="237096"/>
                      </a:lnTo>
                      <a:lnTo>
                        <a:pt x="68160" y="236893"/>
                      </a:lnTo>
                      <a:lnTo>
                        <a:pt x="69265" y="236296"/>
                      </a:lnTo>
                      <a:lnTo>
                        <a:pt x="69888" y="235699"/>
                      </a:lnTo>
                      <a:lnTo>
                        <a:pt x="70053" y="233514"/>
                      </a:lnTo>
                      <a:lnTo>
                        <a:pt x="69913" y="233273"/>
                      </a:lnTo>
                      <a:lnTo>
                        <a:pt x="77914" y="230847"/>
                      </a:lnTo>
                      <a:lnTo>
                        <a:pt x="79133" y="230251"/>
                      </a:lnTo>
                      <a:lnTo>
                        <a:pt x="80149" y="230606"/>
                      </a:lnTo>
                      <a:lnTo>
                        <a:pt x="83058" y="234429"/>
                      </a:lnTo>
                      <a:lnTo>
                        <a:pt x="86601" y="239725"/>
                      </a:lnTo>
                      <a:lnTo>
                        <a:pt x="87693" y="240919"/>
                      </a:lnTo>
                      <a:lnTo>
                        <a:pt x="93281" y="243560"/>
                      </a:lnTo>
                      <a:lnTo>
                        <a:pt x="94386" y="244678"/>
                      </a:lnTo>
                      <a:lnTo>
                        <a:pt x="96951" y="249428"/>
                      </a:lnTo>
                      <a:lnTo>
                        <a:pt x="109740" y="259156"/>
                      </a:lnTo>
                      <a:lnTo>
                        <a:pt x="114249" y="267652"/>
                      </a:lnTo>
                      <a:lnTo>
                        <a:pt x="116497" y="270078"/>
                      </a:lnTo>
                      <a:lnTo>
                        <a:pt x="119024" y="274027"/>
                      </a:lnTo>
                      <a:lnTo>
                        <a:pt x="125120" y="282155"/>
                      </a:lnTo>
                      <a:lnTo>
                        <a:pt x="125590" y="283146"/>
                      </a:lnTo>
                      <a:lnTo>
                        <a:pt x="124206" y="285711"/>
                      </a:lnTo>
                      <a:lnTo>
                        <a:pt x="131775" y="295516"/>
                      </a:lnTo>
                      <a:lnTo>
                        <a:pt x="132638" y="296405"/>
                      </a:lnTo>
                      <a:lnTo>
                        <a:pt x="136474" y="297141"/>
                      </a:lnTo>
                      <a:lnTo>
                        <a:pt x="155676" y="305155"/>
                      </a:lnTo>
                      <a:lnTo>
                        <a:pt x="156629" y="306997"/>
                      </a:lnTo>
                      <a:lnTo>
                        <a:pt x="157657" y="308127"/>
                      </a:lnTo>
                      <a:lnTo>
                        <a:pt x="156210" y="312356"/>
                      </a:lnTo>
                      <a:lnTo>
                        <a:pt x="156083" y="314198"/>
                      </a:lnTo>
                      <a:lnTo>
                        <a:pt x="156349" y="314972"/>
                      </a:lnTo>
                      <a:lnTo>
                        <a:pt x="156248" y="316585"/>
                      </a:lnTo>
                      <a:lnTo>
                        <a:pt x="158343" y="321487"/>
                      </a:lnTo>
                      <a:lnTo>
                        <a:pt x="156756" y="325602"/>
                      </a:lnTo>
                      <a:lnTo>
                        <a:pt x="155930" y="327088"/>
                      </a:lnTo>
                      <a:lnTo>
                        <a:pt x="157810" y="328104"/>
                      </a:lnTo>
                      <a:lnTo>
                        <a:pt x="160261" y="322580"/>
                      </a:lnTo>
                      <a:lnTo>
                        <a:pt x="160578" y="321271"/>
                      </a:lnTo>
                      <a:close/>
                    </a:path>
                    <a:path w="2709545" h="2035175">
                      <a:moveTo>
                        <a:pt x="629615" y="827176"/>
                      </a:moveTo>
                      <a:lnTo>
                        <a:pt x="629348" y="825906"/>
                      </a:lnTo>
                      <a:lnTo>
                        <a:pt x="629170" y="825106"/>
                      </a:lnTo>
                      <a:lnTo>
                        <a:pt x="625360" y="825906"/>
                      </a:lnTo>
                      <a:lnTo>
                        <a:pt x="623735" y="825817"/>
                      </a:lnTo>
                      <a:lnTo>
                        <a:pt x="623557" y="825779"/>
                      </a:lnTo>
                      <a:lnTo>
                        <a:pt x="622795" y="825017"/>
                      </a:lnTo>
                      <a:lnTo>
                        <a:pt x="620141" y="823544"/>
                      </a:lnTo>
                      <a:lnTo>
                        <a:pt x="616902" y="823544"/>
                      </a:lnTo>
                      <a:lnTo>
                        <a:pt x="613664" y="822769"/>
                      </a:lnTo>
                      <a:lnTo>
                        <a:pt x="611924" y="821969"/>
                      </a:lnTo>
                      <a:lnTo>
                        <a:pt x="608545" y="820267"/>
                      </a:lnTo>
                      <a:lnTo>
                        <a:pt x="601878" y="818184"/>
                      </a:lnTo>
                      <a:lnTo>
                        <a:pt x="601433" y="817257"/>
                      </a:lnTo>
                      <a:lnTo>
                        <a:pt x="596836" y="806475"/>
                      </a:lnTo>
                      <a:lnTo>
                        <a:pt x="596379" y="804786"/>
                      </a:lnTo>
                      <a:lnTo>
                        <a:pt x="596836" y="801941"/>
                      </a:lnTo>
                      <a:lnTo>
                        <a:pt x="596176" y="800138"/>
                      </a:lnTo>
                      <a:lnTo>
                        <a:pt x="592175" y="798258"/>
                      </a:lnTo>
                      <a:lnTo>
                        <a:pt x="591680" y="797788"/>
                      </a:lnTo>
                      <a:lnTo>
                        <a:pt x="591604" y="797572"/>
                      </a:lnTo>
                      <a:lnTo>
                        <a:pt x="591388" y="796302"/>
                      </a:lnTo>
                      <a:lnTo>
                        <a:pt x="590207" y="794740"/>
                      </a:lnTo>
                      <a:lnTo>
                        <a:pt x="588848" y="793013"/>
                      </a:lnTo>
                      <a:lnTo>
                        <a:pt x="585889" y="788885"/>
                      </a:lnTo>
                      <a:lnTo>
                        <a:pt x="583412" y="785075"/>
                      </a:lnTo>
                      <a:lnTo>
                        <a:pt x="577596" y="773772"/>
                      </a:lnTo>
                      <a:lnTo>
                        <a:pt x="572223" y="769518"/>
                      </a:lnTo>
                      <a:lnTo>
                        <a:pt x="571703" y="768985"/>
                      </a:lnTo>
                      <a:lnTo>
                        <a:pt x="570293" y="767702"/>
                      </a:lnTo>
                      <a:lnTo>
                        <a:pt x="568845" y="766368"/>
                      </a:lnTo>
                      <a:lnTo>
                        <a:pt x="568604" y="766152"/>
                      </a:lnTo>
                      <a:lnTo>
                        <a:pt x="568134" y="765721"/>
                      </a:lnTo>
                      <a:lnTo>
                        <a:pt x="566597" y="765632"/>
                      </a:lnTo>
                      <a:lnTo>
                        <a:pt x="565200" y="765848"/>
                      </a:lnTo>
                      <a:lnTo>
                        <a:pt x="563981" y="766152"/>
                      </a:lnTo>
                      <a:lnTo>
                        <a:pt x="563422" y="766000"/>
                      </a:lnTo>
                      <a:lnTo>
                        <a:pt x="558279" y="764616"/>
                      </a:lnTo>
                      <a:lnTo>
                        <a:pt x="556514" y="764247"/>
                      </a:lnTo>
                      <a:lnTo>
                        <a:pt x="554774" y="764197"/>
                      </a:lnTo>
                      <a:lnTo>
                        <a:pt x="553466" y="765175"/>
                      </a:lnTo>
                      <a:lnTo>
                        <a:pt x="553224" y="765568"/>
                      </a:lnTo>
                      <a:lnTo>
                        <a:pt x="553300" y="765937"/>
                      </a:lnTo>
                      <a:lnTo>
                        <a:pt x="553123" y="766000"/>
                      </a:lnTo>
                      <a:lnTo>
                        <a:pt x="549338" y="765937"/>
                      </a:lnTo>
                      <a:lnTo>
                        <a:pt x="547839" y="769048"/>
                      </a:lnTo>
                      <a:lnTo>
                        <a:pt x="545185" y="774763"/>
                      </a:lnTo>
                      <a:lnTo>
                        <a:pt x="544144" y="776719"/>
                      </a:lnTo>
                      <a:lnTo>
                        <a:pt x="543572" y="777227"/>
                      </a:lnTo>
                      <a:lnTo>
                        <a:pt x="540613" y="778065"/>
                      </a:lnTo>
                      <a:lnTo>
                        <a:pt x="534162" y="774407"/>
                      </a:lnTo>
                      <a:lnTo>
                        <a:pt x="523189" y="768718"/>
                      </a:lnTo>
                      <a:lnTo>
                        <a:pt x="500557" y="740117"/>
                      </a:lnTo>
                      <a:lnTo>
                        <a:pt x="499681" y="739330"/>
                      </a:lnTo>
                      <a:lnTo>
                        <a:pt x="498779" y="736638"/>
                      </a:lnTo>
                      <a:lnTo>
                        <a:pt x="498094" y="734542"/>
                      </a:lnTo>
                      <a:lnTo>
                        <a:pt x="490194" y="734542"/>
                      </a:lnTo>
                      <a:lnTo>
                        <a:pt x="481139" y="734542"/>
                      </a:lnTo>
                      <a:lnTo>
                        <a:pt x="472186" y="734517"/>
                      </a:lnTo>
                      <a:lnTo>
                        <a:pt x="470065" y="734326"/>
                      </a:lnTo>
                      <a:lnTo>
                        <a:pt x="469074" y="735609"/>
                      </a:lnTo>
                      <a:lnTo>
                        <a:pt x="469392" y="736523"/>
                      </a:lnTo>
                      <a:lnTo>
                        <a:pt x="469480" y="740117"/>
                      </a:lnTo>
                      <a:lnTo>
                        <a:pt x="469150" y="740829"/>
                      </a:lnTo>
                      <a:lnTo>
                        <a:pt x="468744" y="741565"/>
                      </a:lnTo>
                      <a:lnTo>
                        <a:pt x="453402" y="741603"/>
                      </a:lnTo>
                      <a:lnTo>
                        <a:pt x="443077" y="741438"/>
                      </a:lnTo>
                      <a:lnTo>
                        <a:pt x="377418" y="723392"/>
                      </a:lnTo>
                      <a:lnTo>
                        <a:pt x="377723" y="722566"/>
                      </a:lnTo>
                      <a:lnTo>
                        <a:pt x="378002" y="721931"/>
                      </a:lnTo>
                      <a:lnTo>
                        <a:pt x="378955" y="721664"/>
                      </a:lnTo>
                      <a:lnTo>
                        <a:pt x="379272" y="721575"/>
                      </a:lnTo>
                      <a:lnTo>
                        <a:pt x="379463" y="721601"/>
                      </a:lnTo>
                      <a:lnTo>
                        <a:pt x="382092" y="720217"/>
                      </a:lnTo>
                      <a:lnTo>
                        <a:pt x="380301" y="719683"/>
                      </a:lnTo>
                      <a:lnTo>
                        <a:pt x="378637" y="719188"/>
                      </a:lnTo>
                      <a:lnTo>
                        <a:pt x="378396" y="719683"/>
                      </a:lnTo>
                      <a:lnTo>
                        <a:pt x="376123" y="719391"/>
                      </a:lnTo>
                      <a:lnTo>
                        <a:pt x="366649" y="720471"/>
                      </a:lnTo>
                      <a:lnTo>
                        <a:pt x="365594" y="720572"/>
                      </a:lnTo>
                      <a:lnTo>
                        <a:pt x="353148" y="721575"/>
                      </a:lnTo>
                      <a:lnTo>
                        <a:pt x="348957" y="722033"/>
                      </a:lnTo>
                      <a:lnTo>
                        <a:pt x="345973" y="722210"/>
                      </a:lnTo>
                      <a:lnTo>
                        <a:pt x="342696" y="723519"/>
                      </a:lnTo>
                      <a:lnTo>
                        <a:pt x="343522" y="725474"/>
                      </a:lnTo>
                      <a:lnTo>
                        <a:pt x="346278" y="724319"/>
                      </a:lnTo>
                      <a:lnTo>
                        <a:pt x="349542" y="724103"/>
                      </a:lnTo>
                      <a:lnTo>
                        <a:pt x="353491" y="723671"/>
                      </a:lnTo>
                      <a:lnTo>
                        <a:pt x="365810" y="722680"/>
                      </a:lnTo>
                      <a:lnTo>
                        <a:pt x="373926" y="721753"/>
                      </a:lnTo>
                      <a:lnTo>
                        <a:pt x="375805" y="721664"/>
                      </a:lnTo>
                      <a:lnTo>
                        <a:pt x="375361" y="722769"/>
                      </a:lnTo>
                      <a:lnTo>
                        <a:pt x="374764" y="724700"/>
                      </a:lnTo>
                      <a:lnTo>
                        <a:pt x="415150" y="738568"/>
                      </a:lnTo>
                      <a:lnTo>
                        <a:pt x="453390" y="743724"/>
                      </a:lnTo>
                      <a:lnTo>
                        <a:pt x="469963" y="743686"/>
                      </a:lnTo>
                      <a:lnTo>
                        <a:pt x="471208" y="741603"/>
                      </a:lnTo>
                      <a:lnTo>
                        <a:pt x="471322" y="741400"/>
                      </a:lnTo>
                      <a:lnTo>
                        <a:pt x="471805" y="740117"/>
                      </a:lnTo>
                      <a:lnTo>
                        <a:pt x="471690" y="739330"/>
                      </a:lnTo>
                      <a:lnTo>
                        <a:pt x="471614" y="736574"/>
                      </a:lnTo>
                      <a:lnTo>
                        <a:pt x="474967" y="736676"/>
                      </a:lnTo>
                      <a:lnTo>
                        <a:pt x="496392" y="736650"/>
                      </a:lnTo>
                      <a:lnTo>
                        <a:pt x="496963" y="737895"/>
                      </a:lnTo>
                      <a:lnTo>
                        <a:pt x="497700" y="740117"/>
                      </a:lnTo>
                      <a:lnTo>
                        <a:pt x="498081" y="741172"/>
                      </a:lnTo>
                      <a:lnTo>
                        <a:pt x="500138" y="742226"/>
                      </a:lnTo>
                      <a:lnTo>
                        <a:pt x="501573" y="742721"/>
                      </a:lnTo>
                      <a:lnTo>
                        <a:pt x="502373" y="743229"/>
                      </a:lnTo>
                      <a:lnTo>
                        <a:pt x="515569" y="753541"/>
                      </a:lnTo>
                      <a:lnTo>
                        <a:pt x="519277" y="758088"/>
                      </a:lnTo>
                      <a:lnTo>
                        <a:pt x="521258" y="770102"/>
                      </a:lnTo>
                      <a:lnTo>
                        <a:pt x="533768" y="776617"/>
                      </a:lnTo>
                      <a:lnTo>
                        <a:pt x="539889" y="780072"/>
                      </a:lnTo>
                      <a:lnTo>
                        <a:pt x="543026" y="779538"/>
                      </a:lnTo>
                      <a:lnTo>
                        <a:pt x="543229" y="779538"/>
                      </a:lnTo>
                      <a:lnTo>
                        <a:pt x="549694" y="770064"/>
                      </a:lnTo>
                      <a:lnTo>
                        <a:pt x="550684" y="768121"/>
                      </a:lnTo>
                      <a:lnTo>
                        <a:pt x="553224" y="768121"/>
                      </a:lnTo>
                      <a:lnTo>
                        <a:pt x="554875" y="768172"/>
                      </a:lnTo>
                      <a:lnTo>
                        <a:pt x="555244" y="766546"/>
                      </a:lnTo>
                      <a:lnTo>
                        <a:pt x="555574" y="766445"/>
                      </a:lnTo>
                      <a:lnTo>
                        <a:pt x="556323" y="766368"/>
                      </a:lnTo>
                      <a:lnTo>
                        <a:pt x="557822" y="766686"/>
                      </a:lnTo>
                      <a:lnTo>
                        <a:pt x="563930" y="768337"/>
                      </a:lnTo>
                      <a:lnTo>
                        <a:pt x="565645" y="767930"/>
                      </a:lnTo>
                      <a:lnTo>
                        <a:pt x="567156" y="767702"/>
                      </a:lnTo>
                      <a:lnTo>
                        <a:pt x="570293" y="770572"/>
                      </a:lnTo>
                      <a:lnTo>
                        <a:pt x="570763" y="771055"/>
                      </a:lnTo>
                      <a:lnTo>
                        <a:pt x="575919" y="775144"/>
                      </a:lnTo>
                      <a:lnTo>
                        <a:pt x="581583" y="786155"/>
                      </a:lnTo>
                      <a:lnTo>
                        <a:pt x="584111" y="790054"/>
                      </a:lnTo>
                      <a:lnTo>
                        <a:pt x="587159" y="794296"/>
                      </a:lnTo>
                      <a:lnTo>
                        <a:pt x="589368" y="797102"/>
                      </a:lnTo>
                      <a:lnTo>
                        <a:pt x="589775" y="799363"/>
                      </a:lnTo>
                      <a:lnTo>
                        <a:pt x="591477" y="800277"/>
                      </a:lnTo>
                      <a:lnTo>
                        <a:pt x="594715" y="801789"/>
                      </a:lnTo>
                      <a:lnTo>
                        <a:pt x="594220" y="804506"/>
                      </a:lnTo>
                      <a:lnTo>
                        <a:pt x="607745" y="822248"/>
                      </a:lnTo>
                      <a:lnTo>
                        <a:pt x="611644" y="824179"/>
                      </a:lnTo>
                      <a:lnTo>
                        <a:pt x="613029" y="824814"/>
                      </a:lnTo>
                      <a:lnTo>
                        <a:pt x="616572" y="825665"/>
                      </a:lnTo>
                      <a:lnTo>
                        <a:pt x="619467" y="825665"/>
                      </a:lnTo>
                      <a:lnTo>
                        <a:pt x="621614" y="826833"/>
                      </a:lnTo>
                      <a:lnTo>
                        <a:pt x="622160" y="827366"/>
                      </a:lnTo>
                      <a:lnTo>
                        <a:pt x="622833" y="827887"/>
                      </a:lnTo>
                      <a:lnTo>
                        <a:pt x="625411" y="827887"/>
                      </a:lnTo>
                      <a:lnTo>
                        <a:pt x="627062" y="827709"/>
                      </a:lnTo>
                      <a:lnTo>
                        <a:pt x="629615" y="827176"/>
                      </a:lnTo>
                      <a:close/>
                    </a:path>
                    <a:path w="2709545" h="2035175">
                      <a:moveTo>
                        <a:pt x="700278" y="988695"/>
                      </a:moveTo>
                      <a:close/>
                    </a:path>
                    <a:path w="2709545" h="2035175">
                      <a:moveTo>
                        <a:pt x="738162" y="460387"/>
                      </a:moveTo>
                      <a:lnTo>
                        <a:pt x="734123" y="460032"/>
                      </a:lnTo>
                      <a:lnTo>
                        <a:pt x="732675" y="459841"/>
                      </a:lnTo>
                      <a:lnTo>
                        <a:pt x="730364" y="459409"/>
                      </a:lnTo>
                      <a:lnTo>
                        <a:pt x="723252" y="458457"/>
                      </a:lnTo>
                      <a:lnTo>
                        <a:pt x="721448" y="458241"/>
                      </a:lnTo>
                      <a:lnTo>
                        <a:pt x="721398" y="457911"/>
                      </a:lnTo>
                      <a:lnTo>
                        <a:pt x="721182" y="456590"/>
                      </a:lnTo>
                      <a:lnTo>
                        <a:pt x="720813" y="456133"/>
                      </a:lnTo>
                      <a:lnTo>
                        <a:pt x="718515" y="455231"/>
                      </a:lnTo>
                      <a:lnTo>
                        <a:pt x="715721" y="457098"/>
                      </a:lnTo>
                      <a:lnTo>
                        <a:pt x="714248" y="458241"/>
                      </a:lnTo>
                      <a:lnTo>
                        <a:pt x="711009" y="460463"/>
                      </a:lnTo>
                      <a:lnTo>
                        <a:pt x="708202" y="458203"/>
                      </a:lnTo>
                      <a:lnTo>
                        <a:pt x="705650" y="455726"/>
                      </a:lnTo>
                      <a:lnTo>
                        <a:pt x="704875" y="454977"/>
                      </a:lnTo>
                      <a:lnTo>
                        <a:pt x="703110" y="453555"/>
                      </a:lnTo>
                      <a:lnTo>
                        <a:pt x="700557" y="453339"/>
                      </a:lnTo>
                      <a:lnTo>
                        <a:pt x="698842" y="454482"/>
                      </a:lnTo>
                      <a:lnTo>
                        <a:pt x="698614" y="454723"/>
                      </a:lnTo>
                      <a:lnTo>
                        <a:pt x="698449" y="454977"/>
                      </a:lnTo>
                      <a:lnTo>
                        <a:pt x="697293" y="451459"/>
                      </a:lnTo>
                      <a:lnTo>
                        <a:pt x="694842" y="450456"/>
                      </a:lnTo>
                      <a:lnTo>
                        <a:pt x="693267" y="449808"/>
                      </a:lnTo>
                      <a:lnTo>
                        <a:pt x="690333" y="449389"/>
                      </a:lnTo>
                      <a:lnTo>
                        <a:pt x="684034" y="448183"/>
                      </a:lnTo>
                      <a:lnTo>
                        <a:pt x="682142" y="449834"/>
                      </a:lnTo>
                      <a:lnTo>
                        <a:pt x="679450" y="451954"/>
                      </a:lnTo>
                      <a:lnTo>
                        <a:pt x="673735" y="449186"/>
                      </a:lnTo>
                      <a:lnTo>
                        <a:pt x="673366" y="449008"/>
                      </a:lnTo>
                      <a:lnTo>
                        <a:pt x="671855" y="447814"/>
                      </a:lnTo>
                      <a:lnTo>
                        <a:pt x="670902" y="447395"/>
                      </a:lnTo>
                      <a:lnTo>
                        <a:pt x="669213" y="446646"/>
                      </a:lnTo>
                      <a:lnTo>
                        <a:pt x="668083" y="447395"/>
                      </a:lnTo>
                      <a:lnTo>
                        <a:pt x="667943" y="447395"/>
                      </a:lnTo>
                      <a:lnTo>
                        <a:pt x="667423" y="447116"/>
                      </a:lnTo>
                      <a:lnTo>
                        <a:pt x="666965" y="446595"/>
                      </a:lnTo>
                      <a:lnTo>
                        <a:pt x="666407" y="445909"/>
                      </a:lnTo>
                      <a:lnTo>
                        <a:pt x="664260" y="440766"/>
                      </a:lnTo>
                      <a:lnTo>
                        <a:pt x="664273" y="437108"/>
                      </a:lnTo>
                      <a:lnTo>
                        <a:pt x="664286" y="435711"/>
                      </a:lnTo>
                      <a:lnTo>
                        <a:pt x="656348" y="434352"/>
                      </a:lnTo>
                      <a:lnTo>
                        <a:pt x="657694" y="437095"/>
                      </a:lnTo>
                      <a:lnTo>
                        <a:pt x="657631" y="439140"/>
                      </a:lnTo>
                      <a:lnTo>
                        <a:pt x="657517" y="440766"/>
                      </a:lnTo>
                      <a:lnTo>
                        <a:pt x="657352" y="441553"/>
                      </a:lnTo>
                      <a:lnTo>
                        <a:pt x="657250" y="441845"/>
                      </a:lnTo>
                      <a:lnTo>
                        <a:pt x="656691" y="441985"/>
                      </a:lnTo>
                      <a:lnTo>
                        <a:pt x="654812" y="442175"/>
                      </a:lnTo>
                      <a:lnTo>
                        <a:pt x="650074" y="441845"/>
                      </a:lnTo>
                      <a:lnTo>
                        <a:pt x="648627" y="441744"/>
                      </a:lnTo>
                      <a:lnTo>
                        <a:pt x="529780" y="441667"/>
                      </a:lnTo>
                      <a:lnTo>
                        <a:pt x="529069" y="441604"/>
                      </a:lnTo>
                      <a:lnTo>
                        <a:pt x="524687" y="441553"/>
                      </a:lnTo>
                      <a:lnTo>
                        <a:pt x="523836" y="441769"/>
                      </a:lnTo>
                      <a:lnTo>
                        <a:pt x="523392" y="441845"/>
                      </a:lnTo>
                      <a:lnTo>
                        <a:pt x="520547" y="441769"/>
                      </a:lnTo>
                      <a:lnTo>
                        <a:pt x="518121" y="441667"/>
                      </a:lnTo>
                      <a:lnTo>
                        <a:pt x="262077" y="441985"/>
                      </a:lnTo>
                      <a:lnTo>
                        <a:pt x="261200" y="442645"/>
                      </a:lnTo>
                      <a:lnTo>
                        <a:pt x="262470" y="444347"/>
                      </a:lnTo>
                      <a:lnTo>
                        <a:pt x="262788" y="444093"/>
                      </a:lnTo>
                      <a:lnTo>
                        <a:pt x="518083" y="443788"/>
                      </a:lnTo>
                      <a:lnTo>
                        <a:pt x="523659" y="443992"/>
                      </a:lnTo>
                      <a:lnTo>
                        <a:pt x="524522" y="443788"/>
                      </a:lnTo>
                      <a:lnTo>
                        <a:pt x="524865" y="443725"/>
                      </a:lnTo>
                      <a:lnTo>
                        <a:pt x="529005" y="443725"/>
                      </a:lnTo>
                      <a:lnTo>
                        <a:pt x="529577" y="443776"/>
                      </a:lnTo>
                      <a:lnTo>
                        <a:pt x="624395" y="443865"/>
                      </a:lnTo>
                      <a:lnTo>
                        <a:pt x="648563" y="443865"/>
                      </a:lnTo>
                      <a:lnTo>
                        <a:pt x="657085" y="444474"/>
                      </a:lnTo>
                      <a:lnTo>
                        <a:pt x="658355" y="443928"/>
                      </a:lnTo>
                      <a:lnTo>
                        <a:pt x="659688" y="440397"/>
                      </a:lnTo>
                      <a:lnTo>
                        <a:pt x="659599" y="437108"/>
                      </a:lnTo>
                      <a:lnTo>
                        <a:pt x="661212" y="437489"/>
                      </a:lnTo>
                      <a:lnTo>
                        <a:pt x="662152" y="437984"/>
                      </a:lnTo>
                      <a:lnTo>
                        <a:pt x="662203" y="441604"/>
                      </a:lnTo>
                      <a:lnTo>
                        <a:pt x="664603" y="447141"/>
                      </a:lnTo>
                      <a:lnTo>
                        <a:pt x="666305" y="449046"/>
                      </a:lnTo>
                      <a:lnTo>
                        <a:pt x="667829" y="449999"/>
                      </a:lnTo>
                      <a:lnTo>
                        <a:pt x="668947" y="449300"/>
                      </a:lnTo>
                      <a:lnTo>
                        <a:pt x="669340" y="449186"/>
                      </a:lnTo>
                      <a:lnTo>
                        <a:pt x="670801" y="449681"/>
                      </a:lnTo>
                      <a:lnTo>
                        <a:pt x="672033" y="450659"/>
                      </a:lnTo>
                      <a:lnTo>
                        <a:pt x="679411" y="454647"/>
                      </a:lnTo>
                      <a:lnTo>
                        <a:pt x="682879" y="451954"/>
                      </a:lnTo>
                      <a:lnTo>
                        <a:pt x="683590" y="451396"/>
                      </a:lnTo>
                      <a:lnTo>
                        <a:pt x="684657" y="450456"/>
                      </a:lnTo>
                      <a:lnTo>
                        <a:pt x="689952" y="451472"/>
                      </a:lnTo>
                      <a:lnTo>
                        <a:pt x="692886" y="451891"/>
                      </a:lnTo>
                      <a:lnTo>
                        <a:pt x="695693" y="453402"/>
                      </a:lnTo>
                      <a:lnTo>
                        <a:pt x="696988" y="457428"/>
                      </a:lnTo>
                      <a:lnTo>
                        <a:pt x="698500" y="457873"/>
                      </a:lnTo>
                      <a:lnTo>
                        <a:pt x="699147" y="457885"/>
                      </a:lnTo>
                      <a:lnTo>
                        <a:pt x="699909" y="457263"/>
                      </a:lnTo>
                      <a:lnTo>
                        <a:pt x="700417" y="456793"/>
                      </a:lnTo>
                      <a:lnTo>
                        <a:pt x="700227" y="456120"/>
                      </a:lnTo>
                      <a:lnTo>
                        <a:pt x="700443" y="455930"/>
                      </a:lnTo>
                      <a:lnTo>
                        <a:pt x="701751" y="455726"/>
                      </a:lnTo>
                      <a:lnTo>
                        <a:pt x="702703" y="455955"/>
                      </a:lnTo>
                      <a:lnTo>
                        <a:pt x="703491" y="456590"/>
                      </a:lnTo>
                      <a:lnTo>
                        <a:pt x="710526" y="463410"/>
                      </a:lnTo>
                      <a:lnTo>
                        <a:pt x="714743" y="460463"/>
                      </a:lnTo>
                      <a:lnTo>
                        <a:pt x="715492" y="459943"/>
                      </a:lnTo>
                      <a:lnTo>
                        <a:pt x="717473" y="458431"/>
                      </a:lnTo>
                      <a:lnTo>
                        <a:pt x="718718" y="458000"/>
                      </a:lnTo>
                      <a:lnTo>
                        <a:pt x="719251" y="457911"/>
                      </a:lnTo>
                      <a:lnTo>
                        <a:pt x="719391" y="458812"/>
                      </a:lnTo>
                      <a:lnTo>
                        <a:pt x="719696" y="460171"/>
                      </a:lnTo>
                      <a:lnTo>
                        <a:pt x="722947" y="460552"/>
                      </a:lnTo>
                      <a:lnTo>
                        <a:pt x="730046" y="461505"/>
                      </a:lnTo>
                      <a:lnTo>
                        <a:pt x="732586" y="461975"/>
                      </a:lnTo>
                      <a:lnTo>
                        <a:pt x="734618" y="462203"/>
                      </a:lnTo>
                      <a:lnTo>
                        <a:pt x="737971" y="462495"/>
                      </a:lnTo>
                      <a:lnTo>
                        <a:pt x="738162" y="460387"/>
                      </a:lnTo>
                      <a:close/>
                    </a:path>
                    <a:path w="2709545" h="2035175">
                      <a:moveTo>
                        <a:pt x="750201" y="945896"/>
                      </a:moveTo>
                      <a:lnTo>
                        <a:pt x="747306" y="945896"/>
                      </a:lnTo>
                      <a:lnTo>
                        <a:pt x="747179" y="945896"/>
                      </a:lnTo>
                      <a:lnTo>
                        <a:pt x="746975" y="945946"/>
                      </a:lnTo>
                      <a:lnTo>
                        <a:pt x="745998" y="945413"/>
                      </a:lnTo>
                      <a:lnTo>
                        <a:pt x="745413" y="945299"/>
                      </a:lnTo>
                      <a:lnTo>
                        <a:pt x="745083" y="945261"/>
                      </a:lnTo>
                      <a:lnTo>
                        <a:pt x="744778" y="945311"/>
                      </a:lnTo>
                      <a:lnTo>
                        <a:pt x="744435" y="945413"/>
                      </a:lnTo>
                      <a:lnTo>
                        <a:pt x="744118" y="945527"/>
                      </a:lnTo>
                      <a:lnTo>
                        <a:pt x="743877" y="945654"/>
                      </a:lnTo>
                      <a:lnTo>
                        <a:pt x="743648" y="945832"/>
                      </a:lnTo>
                      <a:lnTo>
                        <a:pt x="743089" y="946327"/>
                      </a:lnTo>
                      <a:lnTo>
                        <a:pt x="742848" y="946632"/>
                      </a:lnTo>
                      <a:lnTo>
                        <a:pt x="742657" y="946924"/>
                      </a:lnTo>
                      <a:lnTo>
                        <a:pt x="742556" y="947051"/>
                      </a:lnTo>
                      <a:lnTo>
                        <a:pt x="741692" y="947369"/>
                      </a:lnTo>
                      <a:lnTo>
                        <a:pt x="723061" y="947343"/>
                      </a:lnTo>
                      <a:lnTo>
                        <a:pt x="718578" y="946950"/>
                      </a:lnTo>
                      <a:lnTo>
                        <a:pt x="717054" y="946924"/>
                      </a:lnTo>
                      <a:lnTo>
                        <a:pt x="715645" y="948537"/>
                      </a:lnTo>
                      <a:lnTo>
                        <a:pt x="715683" y="951560"/>
                      </a:lnTo>
                      <a:lnTo>
                        <a:pt x="716051" y="955586"/>
                      </a:lnTo>
                      <a:lnTo>
                        <a:pt x="707542" y="955687"/>
                      </a:lnTo>
                      <a:lnTo>
                        <a:pt x="711161" y="958405"/>
                      </a:lnTo>
                      <a:lnTo>
                        <a:pt x="713473" y="960488"/>
                      </a:lnTo>
                      <a:lnTo>
                        <a:pt x="717080" y="963828"/>
                      </a:lnTo>
                      <a:lnTo>
                        <a:pt x="721118" y="967917"/>
                      </a:lnTo>
                      <a:lnTo>
                        <a:pt x="722896" y="968984"/>
                      </a:lnTo>
                      <a:lnTo>
                        <a:pt x="723188" y="969200"/>
                      </a:lnTo>
                      <a:lnTo>
                        <a:pt x="723544" y="969403"/>
                      </a:lnTo>
                      <a:lnTo>
                        <a:pt x="723874" y="969543"/>
                      </a:lnTo>
                      <a:lnTo>
                        <a:pt x="724344" y="969797"/>
                      </a:lnTo>
                      <a:lnTo>
                        <a:pt x="724636" y="970013"/>
                      </a:lnTo>
                      <a:lnTo>
                        <a:pt x="724573" y="970432"/>
                      </a:lnTo>
                      <a:lnTo>
                        <a:pt x="724458" y="970915"/>
                      </a:lnTo>
                      <a:lnTo>
                        <a:pt x="724204" y="972616"/>
                      </a:lnTo>
                      <a:lnTo>
                        <a:pt x="724027" y="972997"/>
                      </a:lnTo>
                      <a:lnTo>
                        <a:pt x="717080" y="973035"/>
                      </a:lnTo>
                      <a:lnTo>
                        <a:pt x="711606" y="972896"/>
                      </a:lnTo>
                      <a:lnTo>
                        <a:pt x="709752" y="973239"/>
                      </a:lnTo>
                      <a:lnTo>
                        <a:pt x="699617" y="983830"/>
                      </a:lnTo>
                      <a:lnTo>
                        <a:pt x="699477" y="984110"/>
                      </a:lnTo>
                      <a:lnTo>
                        <a:pt x="699160" y="985291"/>
                      </a:lnTo>
                      <a:lnTo>
                        <a:pt x="698855" y="986561"/>
                      </a:lnTo>
                      <a:lnTo>
                        <a:pt x="699147" y="987209"/>
                      </a:lnTo>
                      <a:lnTo>
                        <a:pt x="700227" y="988593"/>
                      </a:lnTo>
                      <a:lnTo>
                        <a:pt x="699808" y="989114"/>
                      </a:lnTo>
                      <a:lnTo>
                        <a:pt x="699338" y="989952"/>
                      </a:lnTo>
                      <a:lnTo>
                        <a:pt x="699452" y="991184"/>
                      </a:lnTo>
                      <a:lnTo>
                        <a:pt x="699084" y="991844"/>
                      </a:lnTo>
                      <a:lnTo>
                        <a:pt x="699084" y="993813"/>
                      </a:lnTo>
                      <a:lnTo>
                        <a:pt x="699262" y="994473"/>
                      </a:lnTo>
                      <a:lnTo>
                        <a:pt x="697992" y="996403"/>
                      </a:lnTo>
                      <a:lnTo>
                        <a:pt x="699757" y="997572"/>
                      </a:lnTo>
                      <a:lnTo>
                        <a:pt x="700951" y="995756"/>
                      </a:lnTo>
                      <a:lnTo>
                        <a:pt x="701243" y="995095"/>
                      </a:lnTo>
                      <a:lnTo>
                        <a:pt x="701167" y="992466"/>
                      </a:lnTo>
                      <a:lnTo>
                        <a:pt x="701497" y="991844"/>
                      </a:lnTo>
                      <a:lnTo>
                        <a:pt x="701497" y="990447"/>
                      </a:lnTo>
                      <a:lnTo>
                        <a:pt x="702106" y="989952"/>
                      </a:lnTo>
                      <a:lnTo>
                        <a:pt x="702208" y="989418"/>
                      </a:lnTo>
                      <a:lnTo>
                        <a:pt x="702525" y="988314"/>
                      </a:lnTo>
                      <a:lnTo>
                        <a:pt x="702322" y="987844"/>
                      </a:lnTo>
                      <a:lnTo>
                        <a:pt x="701103" y="986256"/>
                      </a:lnTo>
                      <a:lnTo>
                        <a:pt x="701332" y="985278"/>
                      </a:lnTo>
                      <a:lnTo>
                        <a:pt x="710107" y="975334"/>
                      </a:lnTo>
                      <a:lnTo>
                        <a:pt x="711771" y="975017"/>
                      </a:lnTo>
                      <a:lnTo>
                        <a:pt x="717080" y="975156"/>
                      </a:lnTo>
                      <a:lnTo>
                        <a:pt x="725131" y="975118"/>
                      </a:lnTo>
                      <a:lnTo>
                        <a:pt x="725271" y="975017"/>
                      </a:lnTo>
                      <a:lnTo>
                        <a:pt x="725805" y="974648"/>
                      </a:lnTo>
                      <a:lnTo>
                        <a:pt x="726046" y="973658"/>
                      </a:lnTo>
                      <a:lnTo>
                        <a:pt x="726160" y="973391"/>
                      </a:lnTo>
                      <a:lnTo>
                        <a:pt x="726274" y="973035"/>
                      </a:lnTo>
                      <a:lnTo>
                        <a:pt x="726541" y="971321"/>
                      </a:lnTo>
                      <a:lnTo>
                        <a:pt x="726859" y="969911"/>
                      </a:lnTo>
                      <a:lnTo>
                        <a:pt x="726795" y="969403"/>
                      </a:lnTo>
                      <a:lnTo>
                        <a:pt x="726668" y="969098"/>
                      </a:lnTo>
                      <a:lnTo>
                        <a:pt x="725703" y="968184"/>
                      </a:lnTo>
                      <a:lnTo>
                        <a:pt x="725233" y="967854"/>
                      </a:lnTo>
                      <a:lnTo>
                        <a:pt x="724306" y="967397"/>
                      </a:lnTo>
                      <a:lnTo>
                        <a:pt x="723811" y="967054"/>
                      </a:lnTo>
                      <a:lnTo>
                        <a:pt x="722439" y="966241"/>
                      </a:lnTo>
                      <a:lnTo>
                        <a:pt x="718540" y="962279"/>
                      </a:lnTo>
                      <a:lnTo>
                        <a:pt x="713574" y="957732"/>
                      </a:lnTo>
                      <a:lnTo>
                        <a:pt x="717105" y="957694"/>
                      </a:lnTo>
                      <a:lnTo>
                        <a:pt x="717740" y="957287"/>
                      </a:lnTo>
                      <a:lnTo>
                        <a:pt x="718185" y="956386"/>
                      </a:lnTo>
                      <a:lnTo>
                        <a:pt x="718108" y="954900"/>
                      </a:lnTo>
                      <a:lnTo>
                        <a:pt x="717689" y="950163"/>
                      </a:lnTo>
                      <a:lnTo>
                        <a:pt x="717956" y="949223"/>
                      </a:lnTo>
                      <a:lnTo>
                        <a:pt x="718680" y="949083"/>
                      </a:lnTo>
                      <a:lnTo>
                        <a:pt x="723023" y="949464"/>
                      </a:lnTo>
                      <a:lnTo>
                        <a:pt x="742022" y="949502"/>
                      </a:lnTo>
                      <a:lnTo>
                        <a:pt x="742353" y="949401"/>
                      </a:lnTo>
                      <a:lnTo>
                        <a:pt x="742276" y="956348"/>
                      </a:lnTo>
                      <a:lnTo>
                        <a:pt x="742061" y="963828"/>
                      </a:lnTo>
                      <a:lnTo>
                        <a:pt x="741159" y="977849"/>
                      </a:lnTo>
                      <a:lnTo>
                        <a:pt x="743559" y="977836"/>
                      </a:lnTo>
                      <a:lnTo>
                        <a:pt x="743737" y="977836"/>
                      </a:lnTo>
                      <a:lnTo>
                        <a:pt x="744994" y="977823"/>
                      </a:lnTo>
                      <a:lnTo>
                        <a:pt x="746252" y="977811"/>
                      </a:lnTo>
                      <a:lnTo>
                        <a:pt x="746226" y="977061"/>
                      </a:lnTo>
                      <a:lnTo>
                        <a:pt x="746379" y="977823"/>
                      </a:lnTo>
                      <a:lnTo>
                        <a:pt x="746836" y="977620"/>
                      </a:lnTo>
                      <a:lnTo>
                        <a:pt x="746442" y="977061"/>
                      </a:lnTo>
                      <a:lnTo>
                        <a:pt x="746315" y="976807"/>
                      </a:lnTo>
                      <a:lnTo>
                        <a:pt x="746188" y="975715"/>
                      </a:lnTo>
                      <a:lnTo>
                        <a:pt x="745236" y="975715"/>
                      </a:lnTo>
                      <a:lnTo>
                        <a:pt x="743419" y="975715"/>
                      </a:lnTo>
                      <a:lnTo>
                        <a:pt x="744181" y="963828"/>
                      </a:lnTo>
                      <a:lnTo>
                        <a:pt x="744410" y="956348"/>
                      </a:lnTo>
                      <a:lnTo>
                        <a:pt x="744435" y="949401"/>
                      </a:lnTo>
                      <a:lnTo>
                        <a:pt x="744486" y="949083"/>
                      </a:lnTo>
                      <a:lnTo>
                        <a:pt x="744486" y="947978"/>
                      </a:lnTo>
                      <a:lnTo>
                        <a:pt x="744715" y="947623"/>
                      </a:lnTo>
                      <a:lnTo>
                        <a:pt x="744931" y="947369"/>
                      </a:lnTo>
                      <a:lnTo>
                        <a:pt x="745286" y="947445"/>
                      </a:lnTo>
                      <a:lnTo>
                        <a:pt x="746633" y="948207"/>
                      </a:lnTo>
                      <a:lnTo>
                        <a:pt x="747255" y="948080"/>
                      </a:lnTo>
                      <a:lnTo>
                        <a:pt x="747649" y="948080"/>
                      </a:lnTo>
                      <a:lnTo>
                        <a:pt x="749198" y="947343"/>
                      </a:lnTo>
                      <a:lnTo>
                        <a:pt x="750011" y="946213"/>
                      </a:lnTo>
                      <a:lnTo>
                        <a:pt x="750163" y="945946"/>
                      </a:lnTo>
                      <a:close/>
                    </a:path>
                    <a:path w="2709545" h="2035175">
                      <a:moveTo>
                        <a:pt x="755738" y="937679"/>
                      </a:moveTo>
                      <a:lnTo>
                        <a:pt x="754341" y="937501"/>
                      </a:lnTo>
                      <a:lnTo>
                        <a:pt x="753910" y="937564"/>
                      </a:lnTo>
                      <a:lnTo>
                        <a:pt x="751687" y="938276"/>
                      </a:lnTo>
                      <a:lnTo>
                        <a:pt x="750354" y="941514"/>
                      </a:lnTo>
                      <a:lnTo>
                        <a:pt x="749947" y="942187"/>
                      </a:lnTo>
                      <a:lnTo>
                        <a:pt x="749249" y="943444"/>
                      </a:lnTo>
                      <a:lnTo>
                        <a:pt x="748830" y="944079"/>
                      </a:lnTo>
                      <a:lnTo>
                        <a:pt x="748068" y="945311"/>
                      </a:lnTo>
                      <a:lnTo>
                        <a:pt x="747598" y="945743"/>
                      </a:lnTo>
                      <a:lnTo>
                        <a:pt x="747344" y="945870"/>
                      </a:lnTo>
                      <a:lnTo>
                        <a:pt x="750214" y="945870"/>
                      </a:lnTo>
                      <a:lnTo>
                        <a:pt x="750608" y="945222"/>
                      </a:lnTo>
                      <a:lnTo>
                        <a:pt x="751052" y="944562"/>
                      </a:lnTo>
                      <a:lnTo>
                        <a:pt x="751471" y="943864"/>
                      </a:lnTo>
                      <a:lnTo>
                        <a:pt x="752195" y="942543"/>
                      </a:lnTo>
                      <a:lnTo>
                        <a:pt x="753237" y="940079"/>
                      </a:lnTo>
                      <a:lnTo>
                        <a:pt x="753681" y="939876"/>
                      </a:lnTo>
                      <a:lnTo>
                        <a:pt x="754380" y="939634"/>
                      </a:lnTo>
                      <a:lnTo>
                        <a:pt x="755446" y="939787"/>
                      </a:lnTo>
                      <a:lnTo>
                        <a:pt x="755459" y="939634"/>
                      </a:lnTo>
                      <a:lnTo>
                        <a:pt x="755738" y="937679"/>
                      </a:lnTo>
                      <a:close/>
                    </a:path>
                    <a:path w="2709545" h="2035175">
                      <a:moveTo>
                        <a:pt x="765073" y="1006614"/>
                      </a:moveTo>
                      <a:lnTo>
                        <a:pt x="764514" y="1005992"/>
                      </a:lnTo>
                      <a:lnTo>
                        <a:pt x="763981" y="1005674"/>
                      </a:lnTo>
                      <a:lnTo>
                        <a:pt x="763714" y="1005433"/>
                      </a:lnTo>
                      <a:lnTo>
                        <a:pt x="763295" y="1005128"/>
                      </a:lnTo>
                      <a:lnTo>
                        <a:pt x="763054" y="1004951"/>
                      </a:lnTo>
                      <a:lnTo>
                        <a:pt x="762812" y="1004773"/>
                      </a:lnTo>
                      <a:lnTo>
                        <a:pt x="761657" y="1004951"/>
                      </a:lnTo>
                      <a:lnTo>
                        <a:pt x="760691" y="1004900"/>
                      </a:lnTo>
                      <a:lnTo>
                        <a:pt x="760285" y="1004709"/>
                      </a:lnTo>
                      <a:lnTo>
                        <a:pt x="759523" y="1004150"/>
                      </a:lnTo>
                      <a:lnTo>
                        <a:pt x="758659" y="1003325"/>
                      </a:lnTo>
                      <a:lnTo>
                        <a:pt x="757186" y="1002931"/>
                      </a:lnTo>
                      <a:lnTo>
                        <a:pt x="756094" y="1003871"/>
                      </a:lnTo>
                      <a:lnTo>
                        <a:pt x="755827" y="1004036"/>
                      </a:lnTo>
                      <a:lnTo>
                        <a:pt x="755243" y="1004709"/>
                      </a:lnTo>
                      <a:lnTo>
                        <a:pt x="754799" y="1004951"/>
                      </a:lnTo>
                      <a:lnTo>
                        <a:pt x="753948" y="1005128"/>
                      </a:lnTo>
                      <a:lnTo>
                        <a:pt x="753795" y="1004506"/>
                      </a:lnTo>
                      <a:lnTo>
                        <a:pt x="753402" y="1004150"/>
                      </a:lnTo>
                      <a:lnTo>
                        <a:pt x="752995" y="1003935"/>
                      </a:lnTo>
                      <a:lnTo>
                        <a:pt x="752487" y="1003554"/>
                      </a:lnTo>
                      <a:lnTo>
                        <a:pt x="751814" y="1003325"/>
                      </a:lnTo>
                      <a:lnTo>
                        <a:pt x="751039" y="1003287"/>
                      </a:lnTo>
                      <a:lnTo>
                        <a:pt x="750620" y="1003046"/>
                      </a:lnTo>
                      <a:lnTo>
                        <a:pt x="749300" y="1001928"/>
                      </a:lnTo>
                      <a:lnTo>
                        <a:pt x="748842" y="1001547"/>
                      </a:lnTo>
                      <a:lnTo>
                        <a:pt x="748258" y="1001141"/>
                      </a:lnTo>
                      <a:lnTo>
                        <a:pt x="747534" y="1001928"/>
                      </a:lnTo>
                      <a:lnTo>
                        <a:pt x="748017" y="1000963"/>
                      </a:lnTo>
                      <a:lnTo>
                        <a:pt x="747725" y="1000747"/>
                      </a:lnTo>
                      <a:lnTo>
                        <a:pt x="746391" y="999439"/>
                      </a:lnTo>
                      <a:lnTo>
                        <a:pt x="745972" y="999032"/>
                      </a:lnTo>
                      <a:lnTo>
                        <a:pt x="744613" y="997699"/>
                      </a:lnTo>
                      <a:lnTo>
                        <a:pt x="744042" y="997699"/>
                      </a:lnTo>
                      <a:lnTo>
                        <a:pt x="743635" y="997572"/>
                      </a:lnTo>
                      <a:lnTo>
                        <a:pt x="742784" y="997458"/>
                      </a:lnTo>
                      <a:lnTo>
                        <a:pt x="743445" y="996797"/>
                      </a:lnTo>
                      <a:lnTo>
                        <a:pt x="743864" y="996353"/>
                      </a:lnTo>
                      <a:lnTo>
                        <a:pt x="744067" y="996086"/>
                      </a:lnTo>
                      <a:lnTo>
                        <a:pt x="744448" y="995337"/>
                      </a:lnTo>
                      <a:lnTo>
                        <a:pt x="744562" y="995019"/>
                      </a:lnTo>
                      <a:lnTo>
                        <a:pt x="744550" y="993775"/>
                      </a:lnTo>
                      <a:lnTo>
                        <a:pt x="744372" y="993305"/>
                      </a:lnTo>
                      <a:lnTo>
                        <a:pt x="744232" y="992962"/>
                      </a:lnTo>
                      <a:lnTo>
                        <a:pt x="743927" y="992517"/>
                      </a:lnTo>
                      <a:lnTo>
                        <a:pt x="743877" y="991679"/>
                      </a:lnTo>
                      <a:lnTo>
                        <a:pt x="744321" y="989965"/>
                      </a:lnTo>
                      <a:lnTo>
                        <a:pt x="744423" y="989495"/>
                      </a:lnTo>
                      <a:lnTo>
                        <a:pt x="744728" y="989266"/>
                      </a:lnTo>
                      <a:lnTo>
                        <a:pt x="756615" y="980389"/>
                      </a:lnTo>
                      <a:lnTo>
                        <a:pt x="757631" y="979614"/>
                      </a:lnTo>
                      <a:lnTo>
                        <a:pt x="756361" y="977925"/>
                      </a:lnTo>
                      <a:lnTo>
                        <a:pt x="755256" y="978763"/>
                      </a:lnTo>
                      <a:lnTo>
                        <a:pt x="751916" y="981925"/>
                      </a:lnTo>
                      <a:lnTo>
                        <a:pt x="749071" y="984364"/>
                      </a:lnTo>
                      <a:lnTo>
                        <a:pt x="746379" y="986205"/>
                      </a:lnTo>
                      <a:lnTo>
                        <a:pt x="745464" y="986663"/>
                      </a:lnTo>
                      <a:lnTo>
                        <a:pt x="742403" y="987945"/>
                      </a:lnTo>
                      <a:lnTo>
                        <a:pt x="742264" y="989495"/>
                      </a:lnTo>
                      <a:lnTo>
                        <a:pt x="741680" y="991679"/>
                      </a:lnTo>
                      <a:lnTo>
                        <a:pt x="741819" y="992962"/>
                      </a:lnTo>
                      <a:lnTo>
                        <a:pt x="741997" y="993444"/>
                      </a:lnTo>
                      <a:lnTo>
                        <a:pt x="742302" y="993902"/>
                      </a:lnTo>
                      <a:lnTo>
                        <a:pt x="743178" y="993305"/>
                      </a:lnTo>
                      <a:lnTo>
                        <a:pt x="742442" y="994232"/>
                      </a:lnTo>
                      <a:lnTo>
                        <a:pt x="742632" y="994676"/>
                      </a:lnTo>
                      <a:lnTo>
                        <a:pt x="742251" y="995108"/>
                      </a:lnTo>
                      <a:lnTo>
                        <a:pt x="740295" y="996797"/>
                      </a:lnTo>
                      <a:lnTo>
                        <a:pt x="738962" y="997013"/>
                      </a:lnTo>
                      <a:lnTo>
                        <a:pt x="738746" y="997077"/>
                      </a:lnTo>
                      <a:lnTo>
                        <a:pt x="737933" y="997204"/>
                      </a:lnTo>
                      <a:lnTo>
                        <a:pt x="736536" y="997559"/>
                      </a:lnTo>
                      <a:lnTo>
                        <a:pt x="736117" y="999032"/>
                      </a:lnTo>
                      <a:lnTo>
                        <a:pt x="736053" y="999528"/>
                      </a:lnTo>
                      <a:lnTo>
                        <a:pt x="736777" y="1000620"/>
                      </a:lnTo>
                      <a:lnTo>
                        <a:pt x="736879" y="1000747"/>
                      </a:lnTo>
                      <a:lnTo>
                        <a:pt x="736714" y="1000823"/>
                      </a:lnTo>
                      <a:lnTo>
                        <a:pt x="735838" y="1001052"/>
                      </a:lnTo>
                      <a:lnTo>
                        <a:pt x="734987" y="1001306"/>
                      </a:lnTo>
                      <a:lnTo>
                        <a:pt x="734364" y="1001814"/>
                      </a:lnTo>
                      <a:lnTo>
                        <a:pt x="734085" y="1002550"/>
                      </a:lnTo>
                      <a:lnTo>
                        <a:pt x="733564" y="1002474"/>
                      </a:lnTo>
                      <a:lnTo>
                        <a:pt x="732472" y="1002957"/>
                      </a:lnTo>
                      <a:lnTo>
                        <a:pt x="731799" y="1003223"/>
                      </a:lnTo>
                      <a:lnTo>
                        <a:pt x="730923" y="1003846"/>
                      </a:lnTo>
                      <a:lnTo>
                        <a:pt x="730084" y="1004874"/>
                      </a:lnTo>
                      <a:lnTo>
                        <a:pt x="728814" y="1007630"/>
                      </a:lnTo>
                      <a:lnTo>
                        <a:pt x="729602" y="1007986"/>
                      </a:lnTo>
                      <a:lnTo>
                        <a:pt x="729716" y="1008202"/>
                      </a:lnTo>
                      <a:lnTo>
                        <a:pt x="729107" y="1008900"/>
                      </a:lnTo>
                      <a:lnTo>
                        <a:pt x="730173" y="1009751"/>
                      </a:lnTo>
                      <a:lnTo>
                        <a:pt x="731608" y="1006614"/>
                      </a:lnTo>
                      <a:lnTo>
                        <a:pt x="732028" y="1005852"/>
                      </a:lnTo>
                      <a:lnTo>
                        <a:pt x="732256" y="1005560"/>
                      </a:lnTo>
                      <a:lnTo>
                        <a:pt x="732815" y="1005103"/>
                      </a:lnTo>
                      <a:lnTo>
                        <a:pt x="734060" y="1004570"/>
                      </a:lnTo>
                      <a:lnTo>
                        <a:pt x="734275" y="1004697"/>
                      </a:lnTo>
                      <a:lnTo>
                        <a:pt x="736219" y="1006627"/>
                      </a:lnTo>
                      <a:lnTo>
                        <a:pt x="736079" y="1004620"/>
                      </a:lnTo>
                      <a:lnTo>
                        <a:pt x="735977" y="1003223"/>
                      </a:lnTo>
                      <a:lnTo>
                        <a:pt x="736993" y="1002931"/>
                      </a:lnTo>
                      <a:lnTo>
                        <a:pt x="738505" y="1002550"/>
                      </a:lnTo>
                      <a:lnTo>
                        <a:pt x="739267" y="1001141"/>
                      </a:lnTo>
                      <a:lnTo>
                        <a:pt x="739178" y="1000620"/>
                      </a:lnTo>
                      <a:lnTo>
                        <a:pt x="738720" y="999705"/>
                      </a:lnTo>
                      <a:lnTo>
                        <a:pt x="738466" y="999324"/>
                      </a:lnTo>
                      <a:lnTo>
                        <a:pt x="738860" y="999197"/>
                      </a:lnTo>
                      <a:lnTo>
                        <a:pt x="739686" y="999032"/>
                      </a:lnTo>
                      <a:lnTo>
                        <a:pt x="740727" y="999528"/>
                      </a:lnTo>
                      <a:lnTo>
                        <a:pt x="743013" y="999566"/>
                      </a:lnTo>
                      <a:lnTo>
                        <a:pt x="743724" y="999832"/>
                      </a:lnTo>
                      <a:lnTo>
                        <a:pt x="745109" y="1001141"/>
                      </a:lnTo>
                      <a:lnTo>
                        <a:pt x="746480" y="1002487"/>
                      </a:lnTo>
                      <a:lnTo>
                        <a:pt x="747674" y="1003325"/>
                      </a:lnTo>
                      <a:lnTo>
                        <a:pt x="749554" y="1004900"/>
                      </a:lnTo>
                      <a:lnTo>
                        <a:pt x="750316" y="1005293"/>
                      </a:lnTo>
                      <a:lnTo>
                        <a:pt x="750747" y="1005395"/>
                      </a:lnTo>
                      <a:lnTo>
                        <a:pt x="751192" y="1005408"/>
                      </a:lnTo>
                      <a:lnTo>
                        <a:pt x="751560" y="1005497"/>
                      </a:lnTo>
                      <a:lnTo>
                        <a:pt x="751878" y="1005649"/>
                      </a:lnTo>
                      <a:lnTo>
                        <a:pt x="751916" y="1005852"/>
                      </a:lnTo>
                      <a:lnTo>
                        <a:pt x="751408" y="1007833"/>
                      </a:lnTo>
                      <a:lnTo>
                        <a:pt x="755611" y="1006919"/>
                      </a:lnTo>
                      <a:lnTo>
                        <a:pt x="756056" y="1006741"/>
                      </a:lnTo>
                      <a:lnTo>
                        <a:pt x="756640" y="1006335"/>
                      </a:lnTo>
                      <a:lnTo>
                        <a:pt x="757237" y="1005649"/>
                      </a:lnTo>
                      <a:lnTo>
                        <a:pt x="757478" y="1005471"/>
                      </a:lnTo>
                      <a:lnTo>
                        <a:pt x="757859" y="1005497"/>
                      </a:lnTo>
                      <a:lnTo>
                        <a:pt x="758304" y="1005890"/>
                      </a:lnTo>
                      <a:lnTo>
                        <a:pt x="759333" y="1006627"/>
                      </a:lnTo>
                      <a:lnTo>
                        <a:pt x="760031" y="1006919"/>
                      </a:lnTo>
                      <a:lnTo>
                        <a:pt x="760336" y="1006995"/>
                      </a:lnTo>
                      <a:lnTo>
                        <a:pt x="761034" y="1007059"/>
                      </a:lnTo>
                      <a:lnTo>
                        <a:pt x="761961" y="1006944"/>
                      </a:lnTo>
                      <a:lnTo>
                        <a:pt x="762419" y="1007148"/>
                      </a:lnTo>
                      <a:lnTo>
                        <a:pt x="762584" y="1007313"/>
                      </a:lnTo>
                      <a:lnTo>
                        <a:pt x="762838" y="1007427"/>
                      </a:lnTo>
                      <a:lnTo>
                        <a:pt x="762825" y="1007833"/>
                      </a:lnTo>
                      <a:lnTo>
                        <a:pt x="762711" y="1008545"/>
                      </a:lnTo>
                      <a:lnTo>
                        <a:pt x="762355" y="1009751"/>
                      </a:lnTo>
                      <a:lnTo>
                        <a:pt x="762228" y="1013548"/>
                      </a:lnTo>
                      <a:lnTo>
                        <a:pt x="764349" y="1013548"/>
                      </a:lnTo>
                      <a:lnTo>
                        <a:pt x="764387" y="1010310"/>
                      </a:lnTo>
                      <a:lnTo>
                        <a:pt x="764819" y="1008900"/>
                      </a:lnTo>
                      <a:lnTo>
                        <a:pt x="765073" y="1006944"/>
                      </a:lnTo>
                      <a:lnTo>
                        <a:pt x="765073" y="1006614"/>
                      </a:lnTo>
                      <a:close/>
                    </a:path>
                    <a:path w="2709545" h="2035175">
                      <a:moveTo>
                        <a:pt x="823112" y="1049515"/>
                      </a:moveTo>
                      <a:lnTo>
                        <a:pt x="822286" y="1048943"/>
                      </a:lnTo>
                      <a:lnTo>
                        <a:pt x="822693" y="1047953"/>
                      </a:lnTo>
                      <a:lnTo>
                        <a:pt x="821842" y="1047623"/>
                      </a:lnTo>
                      <a:lnTo>
                        <a:pt x="820229" y="1049959"/>
                      </a:lnTo>
                      <a:lnTo>
                        <a:pt x="819772" y="1050226"/>
                      </a:lnTo>
                      <a:lnTo>
                        <a:pt x="815251" y="1050201"/>
                      </a:lnTo>
                      <a:lnTo>
                        <a:pt x="813308" y="1048931"/>
                      </a:lnTo>
                      <a:lnTo>
                        <a:pt x="811237" y="1047407"/>
                      </a:lnTo>
                      <a:lnTo>
                        <a:pt x="810158" y="1046695"/>
                      </a:lnTo>
                      <a:lnTo>
                        <a:pt x="809142" y="1046746"/>
                      </a:lnTo>
                      <a:lnTo>
                        <a:pt x="808240" y="1046645"/>
                      </a:lnTo>
                      <a:lnTo>
                        <a:pt x="805103" y="1047584"/>
                      </a:lnTo>
                      <a:lnTo>
                        <a:pt x="804710" y="1047584"/>
                      </a:lnTo>
                      <a:lnTo>
                        <a:pt x="802754" y="1047051"/>
                      </a:lnTo>
                      <a:lnTo>
                        <a:pt x="798766" y="1045705"/>
                      </a:lnTo>
                      <a:lnTo>
                        <a:pt x="797179" y="1045057"/>
                      </a:lnTo>
                      <a:lnTo>
                        <a:pt x="795705" y="1044562"/>
                      </a:lnTo>
                      <a:lnTo>
                        <a:pt x="794804" y="1044232"/>
                      </a:lnTo>
                      <a:lnTo>
                        <a:pt x="794600" y="1044232"/>
                      </a:lnTo>
                      <a:lnTo>
                        <a:pt x="794169" y="1044130"/>
                      </a:lnTo>
                      <a:lnTo>
                        <a:pt x="793762" y="1044206"/>
                      </a:lnTo>
                      <a:lnTo>
                        <a:pt x="793051" y="1044765"/>
                      </a:lnTo>
                      <a:lnTo>
                        <a:pt x="792683" y="1045248"/>
                      </a:lnTo>
                      <a:lnTo>
                        <a:pt x="791565" y="1045984"/>
                      </a:lnTo>
                      <a:lnTo>
                        <a:pt x="792746" y="1047750"/>
                      </a:lnTo>
                      <a:lnTo>
                        <a:pt x="794131" y="1046835"/>
                      </a:lnTo>
                      <a:lnTo>
                        <a:pt x="794499" y="1046365"/>
                      </a:lnTo>
                      <a:lnTo>
                        <a:pt x="797191" y="1047330"/>
                      </a:lnTo>
                      <a:lnTo>
                        <a:pt x="797979" y="1047661"/>
                      </a:lnTo>
                      <a:lnTo>
                        <a:pt x="800036" y="1048397"/>
                      </a:lnTo>
                      <a:lnTo>
                        <a:pt x="802132" y="1049070"/>
                      </a:lnTo>
                      <a:lnTo>
                        <a:pt x="804379" y="1049731"/>
                      </a:lnTo>
                      <a:lnTo>
                        <a:pt x="805459" y="1049693"/>
                      </a:lnTo>
                      <a:lnTo>
                        <a:pt x="808482" y="1048753"/>
                      </a:lnTo>
                      <a:lnTo>
                        <a:pt x="809002" y="1048880"/>
                      </a:lnTo>
                      <a:lnTo>
                        <a:pt x="809231" y="1048816"/>
                      </a:lnTo>
                      <a:lnTo>
                        <a:pt x="809726" y="1048931"/>
                      </a:lnTo>
                      <a:lnTo>
                        <a:pt x="812863" y="1051204"/>
                      </a:lnTo>
                      <a:lnTo>
                        <a:pt x="814616" y="1052309"/>
                      </a:lnTo>
                      <a:lnTo>
                        <a:pt x="819873" y="1052347"/>
                      </a:lnTo>
                      <a:lnTo>
                        <a:pt x="820623" y="1052195"/>
                      </a:lnTo>
                      <a:lnTo>
                        <a:pt x="821601" y="1051661"/>
                      </a:lnTo>
                      <a:lnTo>
                        <a:pt x="823112" y="1049515"/>
                      </a:lnTo>
                      <a:close/>
                    </a:path>
                    <a:path w="2709545" h="2035175">
                      <a:moveTo>
                        <a:pt x="829081" y="991476"/>
                      </a:moveTo>
                      <a:lnTo>
                        <a:pt x="828522" y="989418"/>
                      </a:lnTo>
                      <a:lnTo>
                        <a:pt x="826008" y="990104"/>
                      </a:lnTo>
                      <a:lnTo>
                        <a:pt x="816698" y="992441"/>
                      </a:lnTo>
                      <a:lnTo>
                        <a:pt x="815238" y="992835"/>
                      </a:lnTo>
                      <a:lnTo>
                        <a:pt x="813295" y="993241"/>
                      </a:lnTo>
                      <a:lnTo>
                        <a:pt x="812025" y="993889"/>
                      </a:lnTo>
                      <a:lnTo>
                        <a:pt x="811784" y="993965"/>
                      </a:lnTo>
                      <a:lnTo>
                        <a:pt x="811149" y="994092"/>
                      </a:lnTo>
                      <a:lnTo>
                        <a:pt x="810120" y="994092"/>
                      </a:lnTo>
                      <a:lnTo>
                        <a:pt x="809155" y="993495"/>
                      </a:lnTo>
                      <a:lnTo>
                        <a:pt x="808482" y="993076"/>
                      </a:lnTo>
                      <a:lnTo>
                        <a:pt x="806716" y="991806"/>
                      </a:lnTo>
                      <a:lnTo>
                        <a:pt x="806132" y="991603"/>
                      </a:lnTo>
                      <a:lnTo>
                        <a:pt x="805954" y="991311"/>
                      </a:lnTo>
                      <a:lnTo>
                        <a:pt x="805408" y="991311"/>
                      </a:lnTo>
                      <a:lnTo>
                        <a:pt x="805002" y="991273"/>
                      </a:lnTo>
                      <a:lnTo>
                        <a:pt x="804697" y="991425"/>
                      </a:lnTo>
                      <a:lnTo>
                        <a:pt x="803275" y="991768"/>
                      </a:lnTo>
                      <a:lnTo>
                        <a:pt x="801674" y="993343"/>
                      </a:lnTo>
                      <a:lnTo>
                        <a:pt x="801446" y="994892"/>
                      </a:lnTo>
                      <a:lnTo>
                        <a:pt x="799617" y="995095"/>
                      </a:lnTo>
                      <a:lnTo>
                        <a:pt x="799592" y="998994"/>
                      </a:lnTo>
                      <a:lnTo>
                        <a:pt x="795172" y="1001979"/>
                      </a:lnTo>
                      <a:lnTo>
                        <a:pt x="793953" y="1003173"/>
                      </a:lnTo>
                      <a:lnTo>
                        <a:pt x="793546" y="1003515"/>
                      </a:lnTo>
                      <a:lnTo>
                        <a:pt x="793165" y="1003973"/>
                      </a:lnTo>
                      <a:lnTo>
                        <a:pt x="792048" y="1005636"/>
                      </a:lnTo>
                      <a:lnTo>
                        <a:pt x="791387" y="1005370"/>
                      </a:lnTo>
                      <a:lnTo>
                        <a:pt x="791146" y="1005230"/>
                      </a:lnTo>
                      <a:lnTo>
                        <a:pt x="790943" y="1005116"/>
                      </a:lnTo>
                      <a:lnTo>
                        <a:pt x="789470" y="1003808"/>
                      </a:lnTo>
                      <a:lnTo>
                        <a:pt x="789508" y="1003147"/>
                      </a:lnTo>
                      <a:lnTo>
                        <a:pt x="788720" y="1002271"/>
                      </a:lnTo>
                      <a:lnTo>
                        <a:pt x="788238" y="1002436"/>
                      </a:lnTo>
                      <a:lnTo>
                        <a:pt x="787781" y="1002474"/>
                      </a:lnTo>
                      <a:lnTo>
                        <a:pt x="783983" y="1005738"/>
                      </a:lnTo>
                      <a:lnTo>
                        <a:pt x="782942" y="1007046"/>
                      </a:lnTo>
                      <a:lnTo>
                        <a:pt x="781215" y="1006513"/>
                      </a:lnTo>
                      <a:lnTo>
                        <a:pt x="780630" y="1006500"/>
                      </a:lnTo>
                      <a:lnTo>
                        <a:pt x="777506" y="1006690"/>
                      </a:lnTo>
                      <a:lnTo>
                        <a:pt x="776249" y="1007973"/>
                      </a:lnTo>
                      <a:lnTo>
                        <a:pt x="776300" y="1008621"/>
                      </a:lnTo>
                      <a:lnTo>
                        <a:pt x="776401" y="1009497"/>
                      </a:lnTo>
                      <a:lnTo>
                        <a:pt x="776655" y="1010983"/>
                      </a:lnTo>
                      <a:lnTo>
                        <a:pt x="777201" y="1012812"/>
                      </a:lnTo>
                      <a:lnTo>
                        <a:pt x="777278" y="1013891"/>
                      </a:lnTo>
                      <a:lnTo>
                        <a:pt x="775119" y="1014120"/>
                      </a:lnTo>
                      <a:lnTo>
                        <a:pt x="774611" y="1015187"/>
                      </a:lnTo>
                      <a:lnTo>
                        <a:pt x="774484" y="1015390"/>
                      </a:lnTo>
                      <a:lnTo>
                        <a:pt x="774382" y="1015619"/>
                      </a:lnTo>
                      <a:lnTo>
                        <a:pt x="774204" y="1016520"/>
                      </a:lnTo>
                      <a:lnTo>
                        <a:pt x="774115" y="1016647"/>
                      </a:lnTo>
                      <a:lnTo>
                        <a:pt x="772160" y="1017993"/>
                      </a:lnTo>
                      <a:lnTo>
                        <a:pt x="770902" y="1018133"/>
                      </a:lnTo>
                      <a:lnTo>
                        <a:pt x="770089" y="1017917"/>
                      </a:lnTo>
                      <a:lnTo>
                        <a:pt x="769569" y="1019975"/>
                      </a:lnTo>
                      <a:lnTo>
                        <a:pt x="770229" y="1020140"/>
                      </a:lnTo>
                      <a:lnTo>
                        <a:pt x="770470" y="1020292"/>
                      </a:lnTo>
                      <a:lnTo>
                        <a:pt x="772858" y="1020076"/>
                      </a:lnTo>
                      <a:lnTo>
                        <a:pt x="776414" y="1016355"/>
                      </a:lnTo>
                      <a:lnTo>
                        <a:pt x="776490" y="1016177"/>
                      </a:lnTo>
                      <a:lnTo>
                        <a:pt x="777798" y="1015974"/>
                      </a:lnTo>
                      <a:lnTo>
                        <a:pt x="778065" y="1015898"/>
                      </a:lnTo>
                      <a:lnTo>
                        <a:pt x="778408" y="1015733"/>
                      </a:lnTo>
                      <a:lnTo>
                        <a:pt x="779145" y="1015161"/>
                      </a:lnTo>
                      <a:lnTo>
                        <a:pt x="779487" y="1014514"/>
                      </a:lnTo>
                      <a:lnTo>
                        <a:pt x="779399" y="1012812"/>
                      </a:lnTo>
                      <a:lnTo>
                        <a:pt x="778738" y="1010539"/>
                      </a:lnTo>
                      <a:lnTo>
                        <a:pt x="778548" y="1009497"/>
                      </a:lnTo>
                      <a:lnTo>
                        <a:pt x="778497" y="1008913"/>
                      </a:lnTo>
                      <a:lnTo>
                        <a:pt x="779157" y="1008799"/>
                      </a:lnTo>
                      <a:lnTo>
                        <a:pt x="780351" y="1008634"/>
                      </a:lnTo>
                      <a:lnTo>
                        <a:pt x="780580" y="1008621"/>
                      </a:lnTo>
                      <a:lnTo>
                        <a:pt x="780872" y="1008621"/>
                      </a:lnTo>
                      <a:lnTo>
                        <a:pt x="781189" y="1008735"/>
                      </a:lnTo>
                      <a:lnTo>
                        <a:pt x="783704" y="1009497"/>
                      </a:lnTo>
                      <a:lnTo>
                        <a:pt x="784402" y="1008621"/>
                      </a:lnTo>
                      <a:lnTo>
                        <a:pt x="785507" y="1007224"/>
                      </a:lnTo>
                      <a:lnTo>
                        <a:pt x="785710" y="1007046"/>
                      </a:lnTo>
                      <a:lnTo>
                        <a:pt x="787857" y="1005230"/>
                      </a:lnTo>
                      <a:lnTo>
                        <a:pt x="789698" y="1006856"/>
                      </a:lnTo>
                      <a:lnTo>
                        <a:pt x="790460" y="1007262"/>
                      </a:lnTo>
                      <a:lnTo>
                        <a:pt x="792835" y="1008253"/>
                      </a:lnTo>
                      <a:lnTo>
                        <a:pt x="794626" y="1005636"/>
                      </a:lnTo>
                      <a:lnTo>
                        <a:pt x="794880" y="1005230"/>
                      </a:lnTo>
                      <a:lnTo>
                        <a:pt x="795159" y="1004925"/>
                      </a:lnTo>
                      <a:lnTo>
                        <a:pt x="796518" y="1003630"/>
                      </a:lnTo>
                      <a:lnTo>
                        <a:pt x="800455" y="1000988"/>
                      </a:lnTo>
                      <a:lnTo>
                        <a:pt x="801509" y="1000201"/>
                      </a:lnTo>
                      <a:lnTo>
                        <a:pt x="801636" y="999693"/>
                      </a:lnTo>
                      <a:lnTo>
                        <a:pt x="801725" y="998994"/>
                      </a:lnTo>
                      <a:lnTo>
                        <a:pt x="801801" y="996988"/>
                      </a:lnTo>
                      <a:lnTo>
                        <a:pt x="802855" y="996873"/>
                      </a:lnTo>
                      <a:lnTo>
                        <a:pt x="803389" y="996188"/>
                      </a:lnTo>
                      <a:lnTo>
                        <a:pt x="803516" y="995997"/>
                      </a:lnTo>
                      <a:lnTo>
                        <a:pt x="803490" y="994879"/>
                      </a:lnTo>
                      <a:lnTo>
                        <a:pt x="804252" y="993851"/>
                      </a:lnTo>
                      <a:lnTo>
                        <a:pt x="805129" y="993495"/>
                      </a:lnTo>
                      <a:lnTo>
                        <a:pt x="805345" y="993597"/>
                      </a:lnTo>
                      <a:lnTo>
                        <a:pt x="805764" y="993711"/>
                      </a:lnTo>
                      <a:lnTo>
                        <a:pt x="807427" y="994930"/>
                      </a:lnTo>
                      <a:lnTo>
                        <a:pt x="809498" y="996200"/>
                      </a:lnTo>
                      <a:lnTo>
                        <a:pt x="811136" y="996226"/>
                      </a:lnTo>
                      <a:lnTo>
                        <a:pt x="811517" y="996188"/>
                      </a:lnTo>
                      <a:lnTo>
                        <a:pt x="812393" y="995997"/>
                      </a:lnTo>
                      <a:lnTo>
                        <a:pt x="812787" y="995870"/>
                      </a:lnTo>
                      <a:lnTo>
                        <a:pt x="813981" y="995273"/>
                      </a:lnTo>
                      <a:lnTo>
                        <a:pt x="815784" y="994879"/>
                      </a:lnTo>
                      <a:lnTo>
                        <a:pt x="818845" y="994092"/>
                      </a:lnTo>
                      <a:lnTo>
                        <a:pt x="826554" y="992162"/>
                      </a:lnTo>
                      <a:lnTo>
                        <a:pt x="829081" y="991476"/>
                      </a:lnTo>
                      <a:close/>
                    </a:path>
                    <a:path w="2709545" h="2035175">
                      <a:moveTo>
                        <a:pt x="838047" y="1069759"/>
                      </a:moveTo>
                      <a:lnTo>
                        <a:pt x="837831" y="1067650"/>
                      </a:lnTo>
                      <a:lnTo>
                        <a:pt x="835736" y="1067803"/>
                      </a:lnTo>
                      <a:lnTo>
                        <a:pt x="835545" y="1067625"/>
                      </a:lnTo>
                      <a:lnTo>
                        <a:pt x="835266" y="1067460"/>
                      </a:lnTo>
                      <a:lnTo>
                        <a:pt x="834923" y="1067435"/>
                      </a:lnTo>
                      <a:lnTo>
                        <a:pt x="834161" y="1067028"/>
                      </a:lnTo>
                      <a:lnTo>
                        <a:pt x="833107" y="1067422"/>
                      </a:lnTo>
                      <a:lnTo>
                        <a:pt x="832307" y="1068006"/>
                      </a:lnTo>
                      <a:lnTo>
                        <a:pt x="832015" y="1068781"/>
                      </a:lnTo>
                      <a:lnTo>
                        <a:pt x="831862" y="1070330"/>
                      </a:lnTo>
                      <a:lnTo>
                        <a:pt x="831608" y="1071765"/>
                      </a:lnTo>
                      <a:lnTo>
                        <a:pt x="831380" y="1075969"/>
                      </a:lnTo>
                      <a:lnTo>
                        <a:pt x="831469" y="1076718"/>
                      </a:lnTo>
                      <a:lnTo>
                        <a:pt x="832535" y="1077429"/>
                      </a:lnTo>
                      <a:lnTo>
                        <a:pt x="832840" y="1077734"/>
                      </a:lnTo>
                      <a:lnTo>
                        <a:pt x="833716" y="1078318"/>
                      </a:lnTo>
                      <a:lnTo>
                        <a:pt x="832573" y="1079246"/>
                      </a:lnTo>
                      <a:lnTo>
                        <a:pt x="831811" y="1079944"/>
                      </a:lnTo>
                      <a:lnTo>
                        <a:pt x="831494" y="1081824"/>
                      </a:lnTo>
                      <a:lnTo>
                        <a:pt x="831989" y="1082484"/>
                      </a:lnTo>
                      <a:lnTo>
                        <a:pt x="832459" y="1082979"/>
                      </a:lnTo>
                      <a:lnTo>
                        <a:pt x="830059" y="1085710"/>
                      </a:lnTo>
                      <a:lnTo>
                        <a:pt x="829487" y="1086497"/>
                      </a:lnTo>
                      <a:lnTo>
                        <a:pt x="829881" y="1087272"/>
                      </a:lnTo>
                      <a:lnTo>
                        <a:pt x="832053" y="1091971"/>
                      </a:lnTo>
                      <a:lnTo>
                        <a:pt x="833970" y="1091095"/>
                      </a:lnTo>
                      <a:lnTo>
                        <a:pt x="831977" y="1086751"/>
                      </a:lnTo>
                      <a:lnTo>
                        <a:pt x="832866" y="1085697"/>
                      </a:lnTo>
                      <a:lnTo>
                        <a:pt x="833818" y="1084694"/>
                      </a:lnTo>
                      <a:lnTo>
                        <a:pt x="834669" y="1083602"/>
                      </a:lnTo>
                      <a:lnTo>
                        <a:pt x="834694" y="1082789"/>
                      </a:lnTo>
                      <a:lnTo>
                        <a:pt x="834631" y="1082154"/>
                      </a:lnTo>
                      <a:lnTo>
                        <a:pt x="833742" y="1081252"/>
                      </a:lnTo>
                      <a:lnTo>
                        <a:pt x="833907" y="1080871"/>
                      </a:lnTo>
                      <a:lnTo>
                        <a:pt x="836079" y="1079157"/>
                      </a:lnTo>
                      <a:lnTo>
                        <a:pt x="837196" y="1078077"/>
                      </a:lnTo>
                      <a:lnTo>
                        <a:pt x="834250" y="1076147"/>
                      </a:lnTo>
                      <a:lnTo>
                        <a:pt x="833539" y="1075563"/>
                      </a:lnTo>
                      <a:lnTo>
                        <a:pt x="833716" y="1071994"/>
                      </a:lnTo>
                      <a:lnTo>
                        <a:pt x="833958" y="1070622"/>
                      </a:lnTo>
                      <a:lnTo>
                        <a:pt x="834136" y="1069428"/>
                      </a:lnTo>
                      <a:lnTo>
                        <a:pt x="834390" y="1069530"/>
                      </a:lnTo>
                      <a:lnTo>
                        <a:pt x="834542" y="1069797"/>
                      </a:lnTo>
                      <a:lnTo>
                        <a:pt x="835545" y="1069936"/>
                      </a:lnTo>
                      <a:lnTo>
                        <a:pt x="836231" y="1069936"/>
                      </a:lnTo>
                      <a:lnTo>
                        <a:pt x="838047" y="1069759"/>
                      </a:lnTo>
                      <a:close/>
                    </a:path>
                    <a:path w="2709545" h="2035175">
                      <a:moveTo>
                        <a:pt x="839165" y="891844"/>
                      </a:moveTo>
                      <a:lnTo>
                        <a:pt x="838517" y="890003"/>
                      </a:lnTo>
                      <a:lnTo>
                        <a:pt x="837730" y="889050"/>
                      </a:lnTo>
                      <a:lnTo>
                        <a:pt x="837057" y="888504"/>
                      </a:lnTo>
                      <a:lnTo>
                        <a:pt x="837057" y="892149"/>
                      </a:lnTo>
                      <a:lnTo>
                        <a:pt x="836904" y="892251"/>
                      </a:lnTo>
                      <a:lnTo>
                        <a:pt x="836206" y="892505"/>
                      </a:lnTo>
                      <a:lnTo>
                        <a:pt x="834834" y="893064"/>
                      </a:lnTo>
                      <a:lnTo>
                        <a:pt x="834212" y="893241"/>
                      </a:lnTo>
                      <a:lnTo>
                        <a:pt x="833120" y="893241"/>
                      </a:lnTo>
                      <a:lnTo>
                        <a:pt x="832548" y="893038"/>
                      </a:lnTo>
                      <a:lnTo>
                        <a:pt x="831684" y="892505"/>
                      </a:lnTo>
                      <a:lnTo>
                        <a:pt x="831443" y="888834"/>
                      </a:lnTo>
                      <a:lnTo>
                        <a:pt x="831951" y="888288"/>
                      </a:lnTo>
                      <a:lnTo>
                        <a:pt x="832497" y="888212"/>
                      </a:lnTo>
                      <a:lnTo>
                        <a:pt x="833653" y="888301"/>
                      </a:lnTo>
                      <a:lnTo>
                        <a:pt x="834186" y="888415"/>
                      </a:lnTo>
                      <a:lnTo>
                        <a:pt x="834440" y="888492"/>
                      </a:lnTo>
                      <a:lnTo>
                        <a:pt x="833793" y="889139"/>
                      </a:lnTo>
                      <a:lnTo>
                        <a:pt x="835660" y="890003"/>
                      </a:lnTo>
                      <a:lnTo>
                        <a:pt x="836574" y="890866"/>
                      </a:lnTo>
                      <a:lnTo>
                        <a:pt x="836904" y="891844"/>
                      </a:lnTo>
                      <a:lnTo>
                        <a:pt x="836993" y="892162"/>
                      </a:lnTo>
                      <a:lnTo>
                        <a:pt x="837057" y="888504"/>
                      </a:lnTo>
                      <a:lnTo>
                        <a:pt x="836968" y="888212"/>
                      </a:lnTo>
                      <a:lnTo>
                        <a:pt x="836866" y="887806"/>
                      </a:lnTo>
                      <a:lnTo>
                        <a:pt x="836422" y="886599"/>
                      </a:lnTo>
                      <a:lnTo>
                        <a:pt x="834504" y="886256"/>
                      </a:lnTo>
                      <a:lnTo>
                        <a:pt x="831875" y="886028"/>
                      </a:lnTo>
                      <a:lnTo>
                        <a:pt x="830897" y="886333"/>
                      </a:lnTo>
                      <a:lnTo>
                        <a:pt x="829271" y="888047"/>
                      </a:lnTo>
                      <a:lnTo>
                        <a:pt x="829424" y="892619"/>
                      </a:lnTo>
                      <a:lnTo>
                        <a:pt x="829208" y="893432"/>
                      </a:lnTo>
                      <a:lnTo>
                        <a:pt x="831303" y="894816"/>
                      </a:lnTo>
                      <a:lnTo>
                        <a:pt x="832396" y="895362"/>
                      </a:lnTo>
                      <a:lnTo>
                        <a:pt x="834517" y="895362"/>
                      </a:lnTo>
                      <a:lnTo>
                        <a:pt x="835393" y="895146"/>
                      </a:lnTo>
                      <a:lnTo>
                        <a:pt x="836599" y="894613"/>
                      </a:lnTo>
                      <a:lnTo>
                        <a:pt x="837844" y="894168"/>
                      </a:lnTo>
                      <a:lnTo>
                        <a:pt x="838530" y="893889"/>
                      </a:lnTo>
                      <a:lnTo>
                        <a:pt x="838847" y="893241"/>
                      </a:lnTo>
                      <a:lnTo>
                        <a:pt x="839152" y="892619"/>
                      </a:lnTo>
                      <a:lnTo>
                        <a:pt x="839165" y="892149"/>
                      </a:lnTo>
                      <a:lnTo>
                        <a:pt x="839165" y="891844"/>
                      </a:lnTo>
                      <a:close/>
                    </a:path>
                    <a:path w="2709545" h="2035175">
                      <a:moveTo>
                        <a:pt x="1041971" y="1604187"/>
                      </a:moveTo>
                      <a:lnTo>
                        <a:pt x="1037691" y="1604187"/>
                      </a:lnTo>
                      <a:lnTo>
                        <a:pt x="1036789" y="1604187"/>
                      </a:lnTo>
                      <a:lnTo>
                        <a:pt x="1033411" y="1604187"/>
                      </a:lnTo>
                      <a:lnTo>
                        <a:pt x="1032903" y="1605457"/>
                      </a:lnTo>
                      <a:lnTo>
                        <a:pt x="1030058" y="1613077"/>
                      </a:lnTo>
                      <a:lnTo>
                        <a:pt x="1027518" y="1616887"/>
                      </a:lnTo>
                      <a:lnTo>
                        <a:pt x="1022616" y="1621967"/>
                      </a:lnTo>
                      <a:lnTo>
                        <a:pt x="1021422" y="1624507"/>
                      </a:lnTo>
                      <a:lnTo>
                        <a:pt x="1021232" y="1624507"/>
                      </a:lnTo>
                      <a:lnTo>
                        <a:pt x="1018882" y="1633397"/>
                      </a:lnTo>
                      <a:lnTo>
                        <a:pt x="1016482" y="1637207"/>
                      </a:lnTo>
                      <a:lnTo>
                        <a:pt x="1016279" y="1638477"/>
                      </a:lnTo>
                      <a:lnTo>
                        <a:pt x="1016330" y="1641017"/>
                      </a:lnTo>
                      <a:lnTo>
                        <a:pt x="1017676" y="1643557"/>
                      </a:lnTo>
                      <a:lnTo>
                        <a:pt x="1017562" y="1646097"/>
                      </a:lnTo>
                      <a:lnTo>
                        <a:pt x="1017460" y="1651177"/>
                      </a:lnTo>
                      <a:lnTo>
                        <a:pt x="1017587" y="1652447"/>
                      </a:lnTo>
                      <a:lnTo>
                        <a:pt x="1017117" y="1652447"/>
                      </a:lnTo>
                      <a:lnTo>
                        <a:pt x="1012507" y="1663877"/>
                      </a:lnTo>
                      <a:lnTo>
                        <a:pt x="1012634" y="1665147"/>
                      </a:lnTo>
                      <a:lnTo>
                        <a:pt x="1010818" y="1665147"/>
                      </a:lnTo>
                      <a:lnTo>
                        <a:pt x="1010335" y="1666417"/>
                      </a:lnTo>
                      <a:lnTo>
                        <a:pt x="1010018" y="1666417"/>
                      </a:lnTo>
                      <a:lnTo>
                        <a:pt x="1008443" y="1668957"/>
                      </a:lnTo>
                      <a:lnTo>
                        <a:pt x="1008380" y="1671497"/>
                      </a:lnTo>
                      <a:lnTo>
                        <a:pt x="1011224" y="1677847"/>
                      </a:lnTo>
                      <a:lnTo>
                        <a:pt x="1011961" y="1679117"/>
                      </a:lnTo>
                      <a:lnTo>
                        <a:pt x="1012545" y="1679117"/>
                      </a:lnTo>
                      <a:lnTo>
                        <a:pt x="1012723" y="1680387"/>
                      </a:lnTo>
                      <a:lnTo>
                        <a:pt x="1011694" y="1680387"/>
                      </a:lnTo>
                      <a:lnTo>
                        <a:pt x="1011364" y="1681657"/>
                      </a:lnTo>
                      <a:lnTo>
                        <a:pt x="1011161" y="1681657"/>
                      </a:lnTo>
                      <a:lnTo>
                        <a:pt x="1011694" y="1684197"/>
                      </a:lnTo>
                      <a:lnTo>
                        <a:pt x="1012977" y="1686737"/>
                      </a:lnTo>
                      <a:lnTo>
                        <a:pt x="1014361" y="1689277"/>
                      </a:lnTo>
                      <a:lnTo>
                        <a:pt x="1015263" y="1694357"/>
                      </a:lnTo>
                      <a:lnTo>
                        <a:pt x="1014907" y="1696897"/>
                      </a:lnTo>
                      <a:lnTo>
                        <a:pt x="1015352" y="1699437"/>
                      </a:lnTo>
                      <a:lnTo>
                        <a:pt x="1016152" y="1701977"/>
                      </a:lnTo>
                      <a:lnTo>
                        <a:pt x="1017333" y="1701977"/>
                      </a:lnTo>
                      <a:lnTo>
                        <a:pt x="1017727" y="1703247"/>
                      </a:lnTo>
                      <a:lnTo>
                        <a:pt x="1019429" y="1703247"/>
                      </a:lnTo>
                      <a:lnTo>
                        <a:pt x="1019429" y="1704517"/>
                      </a:lnTo>
                      <a:lnTo>
                        <a:pt x="1018146" y="1710867"/>
                      </a:lnTo>
                      <a:lnTo>
                        <a:pt x="1018070" y="1713407"/>
                      </a:lnTo>
                      <a:lnTo>
                        <a:pt x="1018222" y="1714677"/>
                      </a:lnTo>
                      <a:lnTo>
                        <a:pt x="1018654" y="1715947"/>
                      </a:lnTo>
                      <a:lnTo>
                        <a:pt x="1016152" y="1715947"/>
                      </a:lnTo>
                      <a:lnTo>
                        <a:pt x="1012748" y="1724837"/>
                      </a:lnTo>
                      <a:lnTo>
                        <a:pt x="1011707" y="1728647"/>
                      </a:lnTo>
                      <a:lnTo>
                        <a:pt x="1011275" y="1728647"/>
                      </a:lnTo>
                      <a:lnTo>
                        <a:pt x="1011072" y="1729917"/>
                      </a:lnTo>
                      <a:lnTo>
                        <a:pt x="1009700" y="1731187"/>
                      </a:lnTo>
                      <a:lnTo>
                        <a:pt x="1008900" y="1731187"/>
                      </a:lnTo>
                      <a:lnTo>
                        <a:pt x="1008557" y="1732457"/>
                      </a:lnTo>
                      <a:lnTo>
                        <a:pt x="1008164" y="1733727"/>
                      </a:lnTo>
                      <a:lnTo>
                        <a:pt x="1009789" y="1736267"/>
                      </a:lnTo>
                      <a:lnTo>
                        <a:pt x="1010932" y="1738807"/>
                      </a:lnTo>
                      <a:lnTo>
                        <a:pt x="1010424" y="1746427"/>
                      </a:lnTo>
                      <a:lnTo>
                        <a:pt x="1009319" y="1746427"/>
                      </a:lnTo>
                      <a:lnTo>
                        <a:pt x="1008735" y="1747697"/>
                      </a:lnTo>
                      <a:lnTo>
                        <a:pt x="1007948" y="1747697"/>
                      </a:lnTo>
                      <a:lnTo>
                        <a:pt x="1007262" y="1750237"/>
                      </a:lnTo>
                      <a:lnTo>
                        <a:pt x="1006373" y="1751507"/>
                      </a:lnTo>
                      <a:lnTo>
                        <a:pt x="1001877" y="1751507"/>
                      </a:lnTo>
                      <a:lnTo>
                        <a:pt x="1000391" y="1762937"/>
                      </a:lnTo>
                      <a:lnTo>
                        <a:pt x="1000036" y="1765477"/>
                      </a:lnTo>
                      <a:lnTo>
                        <a:pt x="1000023" y="1768017"/>
                      </a:lnTo>
                      <a:lnTo>
                        <a:pt x="1000950" y="1776907"/>
                      </a:lnTo>
                      <a:lnTo>
                        <a:pt x="1001102" y="1778177"/>
                      </a:lnTo>
                      <a:lnTo>
                        <a:pt x="1002779" y="1783257"/>
                      </a:lnTo>
                      <a:lnTo>
                        <a:pt x="1003058" y="1784527"/>
                      </a:lnTo>
                      <a:lnTo>
                        <a:pt x="1004303" y="1788337"/>
                      </a:lnTo>
                      <a:lnTo>
                        <a:pt x="1004303" y="1789607"/>
                      </a:lnTo>
                      <a:lnTo>
                        <a:pt x="1003960" y="1789607"/>
                      </a:lnTo>
                      <a:lnTo>
                        <a:pt x="1000023" y="1790877"/>
                      </a:lnTo>
                      <a:lnTo>
                        <a:pt x="997927" y="1792147"/>
                      </a:lnTo>
                      <a:lnTo>
                        <a:pt x="997204" y="1792147"/>
                      </a:lnTo>
                      <a:lnTo>
                        <a:pt x="996848" y="1793417"/>
                      </a:lnTo>
                      <a:lnTo>
                        <a:pt x="996670" y="1794687"/>
                      </a:lnTo>
                      <a:lnTo>
                        <a:pt x="995692" y="1802307"/>
                      </a:lnTo>
                      <a:lnTo>
                        <a:pt x="995654" y="1803577"/>
                      </a:lnTo>
                      <a:lnTo>
                        <a:pt x="992936" y="1803577"/>
                      </a:lnTo>
                      <a:lnTo>
                        <a:pt x="992974" y="1806117"/>
                      </a:lnTo>
                      <a:lnTo>
                        <a:pt x="993330" y="1811197"/>
                      </a:lnTo>
                      <a:lnTo>
                        <a:pt x="992746" y="1812467"/>
                      </a:lnTo>
                      <a:lnTo>
                        <a:pt x="990752" y="1812467"/>
                      </a:lnTo>
                      <a:lnTo>
                        <a:pt x="990815" y="1815007"/>
                      </a:lnTo>
                      <a:lnTo>
                        <a:pt x="991781" y="1817547"/>
                      </a:lnTo>
                      <a:lnTo>
                        <a:pt x="991946" y="1817547"/>
                      </a:lnTo>
                      <a:lnTo>
                        <a:pt x="991069" y="1818817"/>
                      </a:lnTo>
                      <a:lnTo>
                        <a:pt x="989495" y="1822627"/>
                      </a:lnTo>
                      <a:lnTo>
                        <a:pt x="989228" y="1823897"/>
                      </a:lnTo>
                      <a:lnTo>
                        <a:pt x="989698" y="1827707"/>
                      </a:lnTo>
                      <a:lnTo>
                        <a:pt x="989850" y="1828977"/>
                      </a:lnTo>
                      <a:lnTo>
                        <a:pt x="989901" y="1830247"/>
                      </a:lnTo>
                      <a:lnTo>
                        <a:pt x="989355" y="1835327"/>
                      </a:lnTo>
                      <a:lnTo>
                        <a:pt x="989025" y="1839137"/>
                      </a:lnTo>
                      <a:lnTo>
                        <a:pt x="991362" y="1846757"/>
                      </a:lnTo>
                      <a:lnTo>
                        <a:pt x="991527" y="1846757"/>
                      </a:lnTo>
                      <a:lnTo>
                        <a:pt x="987031" y="1849297"/>
                      </a:lnTo>
                      <a:lnTo>
                        <a:pt x="986828" y="1849297"/>
                      </a:lnTo>
                      <a:lnTo>
                        <a:pt x="986637" y="1853107"/>
                      </a:lnTo>
                      <a:lnTo>
                        <a:pt x="986523" y="1854377"/>
                      </a:lnTo>
                      <a:lnTo>
                        <a:pt x="986142" y="1856917"/>
                      </a:lnTo>
                      <a:lnTo>
                        <a:pt x="986002" y="1861997"/>
                      </a:lnTo>
                      <a:lnTo>
                        <a:pt x="985939" y="1863267"/>
                      </a:lnTo>
                      <a:lnTo>
                        <a:pt x="986409" y="1864537"/>
                      </a:lnTo>
                      <a:lnTo>
                        <a:pt x="987272" y="1865807"/>
                      </a:lnTo>
                      <a:lnTo>
                        <a:pt x="991273" y="1867077"/>
                      </a:lnTo>
                      <a:lnTo>
                        <a:pt x="991628" y="1867077"/>
                      </a:lnTo>
                      <a:lnTo>
                        <a:pt x="990765" y="1868347"/>
                      </a:lnTo>
                      <a:lnTo>
                        <a:pt x="990117" y="1868347"/>
                      </a:lnTo>
                      <a:lnTo>
                        <a:pt x="988060" y="1870887"/>
                      </a:lnTo>
                      <a:lnTo>
                        <a:pt x="990790" y="1873427"/>
                      </a:lnTo>
                      <a:lnTo>
                        <a:pt x="991476" y="1873427"/>
                      </a:lnTo>
                      <a:lnTo>
                        <a:pt x="991679" y="1874697"/>
                      </a:lnTo>
                      <a:lnTo>
                        <a:pt x="991844" y="1874697"/>
                      </a:lnTo>
                      <a:lnTo>
                        <a:pt x="992022" y="1875967"/>
                      </a:lnTo>
                      <a:lnTo>
                        <a:pt x="993013" y="1878507"/>
                      </a:lnTo>
                      <a:lnTo>
                        <a:pt x="992835" y="1879777"/>
                      </a:lnTo>
                      <a:lnTo>
                        <a:pt x="992378" y="1879777"/>
                      </a:lnTo>
                      <a:lnTo>
                        <a:pt x="991412" y="1882317"/>
                      </a:lnTo>
                      <a:lnTo>
                        <a:pt x="991235" y="1882317"/>
                      </a:lnTo>
                      <a:lnTo>
                        <a:pt x="990015" y="1887397"/>
                      </a:lnTo>
                      <a:lnTo>
                        <a:pt x="991374" y="1888667"/>
                      </a:lnTo>
                      <a:lnTo>
                        <a:pt x="1000175" y="1888667"/>
                      </a:lnTo>
                      <a:lnTo>
                        <a:pt x="1000315" y="1889937"/>
                      </a:lnTo>
                      <a:lnTo>
                        <a:pt x="1000188" y="1889937"/>
                      </a:lnTo>
                      <a:lnTo>
                        <a:pt x="999451" y="1891207"/>
                      </a:lnTo>
                      <a:lnTo>
                        <a:pt x="998880" y="1892477"/>
                      </a:lnTo>
                      <a:lnTo>
                        <a:pt x="998626" y="1893747"/>
                      </a:lnTo>
                      <a:lnTo>
                        <a:pt x="996276" y="1893747"/>
                      </a:lnTo>
                      <a:lnTo>
                        <a:pt x="991882" y="1892477"/>
                      </a:lnTo>
                      <a:lnTo>
                        <a:pt x="988453" y="1893747"/>
                      </a:lnTo>
                      <a:lnTo>
                        <a:pt x="986243" y="1893747"/>
                      </a:lnTo>
                      <a:lnTo>
                        <a:pt x="986866" y="1895017"/>
                      </a:lnTo>
                      <a:lnTo>
                        <a:pt x="986980" y="1896287"/>
                      </a:lnTo>
                      <a:lnTo>
                        <a:pt x="987247" y="1896287"/>
                      </a:lnTo>
                      <a:lnTo>
                        <a:pt x="988123" y="1897557"/>
                      </a:lnTo>
                      <a:lnTo>
                        <a:pt x="990409" y="1897557"/>
                      </a:lnTo>
                      <a:lnTo>
                        <a:pt x="990854" y="1898827"/>
                      </a:lnTo>
                      <a:lnTo>
                        <a:pt x="994905" y="1898827"/>
                      </a:lnTo>
                      <a:lnTo>
                        <a:pt x="995121" y="1900097"/>
                      </a:lnTo>
                      <a:lnTo>
                        <a:pt x="995578" y="1900097"/>
                      </a:lnTo>
                      <a:lnTo>
                        <a:pt x="996645" y="1901367"/>
                      </a:lnTo>
                      <a:lnTo>
                        <a:pt x="997407" y="1902637"/>
                      </a:lnTo>
                      <a:lnTo>
                        <a:pt x="997534" y="1903907"/>
                      </a:lnTo>
                      <a:lnTo>
                        <a:pt x="996581" y="1903907"/>
                      </a:lnTo>
                      <a:lnTo>
                        <a:pt x="995540" y="1906447"/>
                      </a:lnTo>
                      <a:lnTo>
                        <a:pt x="993368" y="1906447"/>
                      </a:lnTo>
                      <a:lnTo>
                        <a:pt x="993000" y="1907717"/>
                      </a:lnTo>
                      <a:lnTo>
                        <a:pt x="991514" y="1907717"/>
                      </a:lnTo>
                      <a:lnTo>
                        <a:pt x="990854" y="1908987"/>
                      </a:lnTo>
                      <a:lnTo>
                        <a:pt x="990904" y="1911527"/>
                      </a:lnTo>
                      <a:lnTo>
                        <a:pt x="991793" y="1914067"/>
                      </a:lnTo>
                      <a:lnTo>
                        <a:pt x="992085" y="1914067"/>
                      </a:lnTo>
                      <a:lnTo>
                        <a:pt x="992822" y="1915337"/>
                      </a:lnTo>
                      <a:lnTo>
                        <a:pt x="992555" y="1915337"/>
                      </a:lnTo>
                      <a:lnTo>
                        <a:pt x="992225" y="1916607"/>
                      </a:lnTo>
                      <a:lnTo>
                        <a:pt x="990219" y="1919147"/>
                      </a:lnTo>
                      <a:lnTo>
                        <a:pt x="990130" y="1920417"/>
                      </a:lnTo>
                      <a:lnTo>
                        <a:pt x="991806" y="1925497"/>
                      </a:lnTo>
                      <a:lnTo>
                        <a:pt x="992454" y="1926767"/>
                      </a:lnTo>
                      <a:lnTo>
                        <a:pt x="992454" y="1928037"/>
                      </a:lnTo>
                      <a:lnTo>
                        <a:pt x="991743" y="1928037"/>
                      </a:lnTo>
                      <a:lnTo>
                        <a:pt x="990650" y="1929307"/>
                      </a:lnTo>
                      <a:lnTo>
                        <a:pt x="990358" y="1929307"/>
                      </a:lnTo>
                      <a:lnTo>
                        <a:pt x="988250" y="1931847"/>
                      </a:lnTo>
                      <a:lnTo>
                        <a:pt x="989457" y="1936927"/>
                      </a:lnTo>
                      <a:lnTo>
                        <a:pt x="989025" y="1938197"/>
                      </a:lnTo>
                      <a:lnTo>
                        <a:pt x="988758" y="1938197"/>
                      </a:lnTo>
                      <a:lnTo>
                        <a:pt x="986802" y="1939467"/>
                      </a:lnTo>
                      <a:lnTo>
                        <a:pt x="984681" y="1940737"/>
                      </a:lnTo>
                      <a:lnTo>
                        <a:pt x="983361" y="1940737"/>
                      </a:lnTo>
                      <a:lnTo>
                        <a:pt x="982764" y="1943277"/>
                      </a:lnTo>
                      <a:lnTo>
                        <a:pt x="983094" y="1943277"/>
                      </a:lnTo>
                      <a:lnTo>
                        <a:pt x="979944" y="1950897"/>
                      </a:lnTo>
                      <a:lnTo>
                        <a:pt x="981125" y="1952167"/>
                      </a:lnTo>
                      <a:lnTo>
                        <a:pt x="981544" y="1952167"/>
                      </a:lnTo>
                      <a:lnTo>
                        <a:pt x="981875" y="1953437"/>
                      </a:lnTo>
                      <a:lnTo>
                        <a:pt x="983297" y="1953437"/>
                      </a:lnTo>
                      <a:lnTo>
                        <a:pt x="983361" y="1954707"/>
                      </a:lnTo>
                      <a:lnTo>
                        <a:pt x="983488" y="1955977"/>
                      </a:lnTo>
                      <a:lnTo>
                        <a:pt x="983526" y="1957247"/>
                      </a:lnTo>
                      <a:lnTo>
                        <a:pt x="983386" y="1957247"/>
                      </a:lnTo>
                      <a:lnTo>
                        <a:pt x="982548" y="1958517"/>
                      </a:lnTo>
                      <a:lnTo>
                        <a:pt x="981125" y="1958517"/>
                      </a:lnTo>
                      <a:lnTo>
                        <a:pt x="980694" y="1959787"/>
                      </a:lnTo>
                      <a:lnTo>
                        <a:pt x="979995" y="1959787"/>
                      </a:lnTo>
                      <a:lnTo>
                        <a:pt x="979754" y="1961057"/>
                      </a:lnTo>
                      <a:lnTo>
                        <a:pt x="979728" y="1966137"/>
                      </a:lnTo>
                      <a:lnTo>
                        <a:pt x="977633" y="1967407"/>
                      </a:lnTo>
                      <a:lnTo>
                        <a:pt x="976325" y="1968677"/>
                      </a:lnTo>
                      <a:lnTo>
                        <a:pt x="975829" y="1969947"/>
                      </a:lnTo>
                      <a:lnTo>
                        <a:pt x="975106" y="1969947"/>
                      </a:lnTo>
                      <a:lnTo>
                        <a:pt x="972375" y="1973757"/>
                      </a:lnTo>
                      <a:lnTo>
                        <a:pt x="970953" y="1973757"/>
                      </a:lnTo>
                      <a:lnTo>
                        <a:pt x="969759" y="1975027"/>
                      </a:lnTo>
                      <a:lnTo>
                        <a:pt x="967841" y="1975027"/>
                      </a:lnTo>
                      <a:lnTo>
                        <a:pt x="966851" y="1976297"/>
                      </a:lnTo>
                      <a:lnTo>
                        <a:pt x="966114" y="1977567"/>
                      </a:lnTo>
                      <a:lnTo>
                        <a:pt x="965733" y="1978837"/>
                      </a:lnTo>
                      <a:lnTo>
                        <a:pt x="965441" y="1980107"/>
                      </a:lnTo>
                      <a:lnTo>
                        <a:pt x="965365" y="1981377"/>
                      </a:lnTo>
                      <a:lnTo>
                        <a:pt x="966203" y="1981377"/>
                      </a:lnTo>
                      <a:lnTo>
                        <a:pt x="966292" y="1982647"/>
                      </a:lnTo>
                      <a:lnTo>
                        <a:pt x="965669" y="1987727"/>
                      </a:lnTo>
                      <a:lnTo>
                        <a:pt x="965873" y="1990267"/>
                      </a:lnTo>
                      <a:lnTo>
                        <a:pt x="966063" y="1991537"/>
                      </a:lnTo>
                      <a:lnTo>
                        <a:pt x="966546" y="1992807"/>
                      </a:lnTo>
                      <a:lnTo>
                        <a:pt x="967422" y="1992807"/>
                      </a:lnTo>
                      <a:lnTo>
                        <a:pt x="968921" y="1994077"/>
                      </a:lnTo>
                      <a:lnTo>
                        <a:pt x="969225" y="1994077"/>
                      </a:lnTo>
                      <a:lnTo>
                        <a:pt x="969365" y="1995347"/>
                      </a:lnTo>
                      <a:lnTo>
                        <a:pt x="969581" y="1995347"/>
                      </a:lnTo>
                      <a:lnTo>
                        <a:pt x="969822" y="1996617"/>
                      </a:lnTo>
                      <a:lnTo>
                        <a:pt x="970241" y="2000427"/>
                      </a:lnTo>
                      <a:lnTo>
                        <a:pt x="970673" y="2001697"/>
                      </a:lnTo>
                      <a:lnTo>
                        <a:pt x="970889" y="2002967"/>
                      </a:lnTo>
                      <a:lnTo>
                        <a:pt x="971283" y="2002967"/>
                      </a:lnTo>
                      <a:lnTo>
                        <a:pt x="971715" y="2004237"/>
                      </a:lnTo>
                      <a:lnTo>
                        <a:pt x="975156" y="2004237"/>
                      </a:lnTo>
                      <a:lnTo>
                        <a:pt x="975741" y="2002967"/>
                      </a:lnTo>
                      <a:lnTo>
                        <a:pt x="976147" y="2002967"/>
                      </a:lnTo>
                      <a:lnTo>
                        <a:pt x="977074" y="2001697"/>
                      </a:lnTo>
                      <a:lnTo>
                        <a:pt x="978357" y="2001697"/>
                      </a:lnTo>
                      <a:lnTo>
                        <a:pt x="979436" y="2002967"/>
                      </a:lnTo>
                      <a:lnTo>
                        <a:pt x="980440" y="2001697"/>
                      </a:lnTo>
                      <a:lnTo>
                        <a:pt x="983640" y="2001697"/>
                      </a:lnTo>
                      <a:lnTo>
                        <a:pt x="983729" y="2002967"/>
                      </a:lnTo>
                      <a:lnTo>
                        <a:pt x="983907" y="2002967"/>
                      </a:lnTo>
                      <a:lnTo>
                        <a:pt x="983919" y="2004237"/>
                      </a:lnTo>
                      <a:lnTo>
                        <a:pt x="984034" y="2006777"/>
                      </a:lnTo>
                      <a:lnTo>
                        <a:pt x="983805" y="2006777"/>
                      </a:lnTo>
                      <a:lnTo>
                        <a:pt x="982548" y="2009317"/>
                      </a:lnTo>
                      <a:lnTo>
                        <a:pt x="982345" y="2009317"/>
                      </a:lnTo>
                      <a:lnTo>
                        <a:pt x="982319" y="2010587"/>
                      </a:lnTo>
                      <a:lnTo>
                        <a:pt x="982611" y="2010587"/>
                      </a:lnTo>
                      <a:lnTo>
                        <a:pt x="983005" y="2011857"/>
                      </a:lnTo>
                      <a:lnTo>
                        <a:pt x="983729" y="2013127"/>
                      </a:lnTo>
                      <a:lnTo>
                        <a:pt x="984110" y="2013127"/>
                      </a:lnTo>
                      <a:lnTo>
                        <a:pt x="983729" y="2014397"/>
                      </a:lnTo>
                      <a:lnTo>
                        <a:pt x="983259" y="2015667"/>
                      </a:lnTo>
                      <a:lnTo>
                        <a:pt x="983018" y="2015667"/>
                      </a:lnTo>
                      <a:lnTo>
                        <a:pt x="982370" y="2016937"/>
                      </a:lnTo>
                      <a:lnTo>
                        <a:pt x="982078" y="2016937"/>
                      </a:lnTo>
                      <a:lnTo>
                        <a:pt x="981951" y="2018207"/>
                      </a:lnTo>
                      <a:lnTo>
                        <a:pt x="982256" y="2019477"/>
                      </a:lnTo>
                      <a:lnTo>
                        <a:pt x="982853" y="2019477"/>
                      </a:lnTo>
                      <a:lnTo>
                        <a:pt x="983640" y="2020747"/>
                      </a:lnTo>
                      <a:lnTo>
                        <a:pt x="983919" y="2020747"/>
                      </a:lnTo>
                      <a:lnTo>
                        <a:pt x="985100" y="2022017"/>
                      </a:lnTo>
                      <a:lnTo>
                        <a:pt x="986205" y="2022017"/>
                      </a:lnTo>
                      <a:lnTo>
                        <a:pt x="986663" y="2023287"/>
                      </a:lnTo>
                      <a:lnTo>
                        <a:pt x="987653" y="2023287"/>
                      </a:lnTo>
                      <a:lnTo>
                        <a:pt x="988225" y="2025827"/>
                      </a:lnTo>
                      <a:lnTo>
                        <a:pt x="988466" y="2025827"/>
                      </a:lnTo>
                      <a:lnTo>
                        <a:pt x="989304" y="2027097"/>
                      </a:lnTo>
                      <a:lnTo>
                        <a:pt x="990396" y="2028367"/>
                      </a:lnTo>
                      <a:lnTo>
                        <a:pt x="1006703" y="2028367"/>
                      </a:lnTo>
                      <a:lnTo>
                        <a:pt x="1014679" y="2027097"/>
                      </a:lnTo>
                      <a:lnTo>
                        <a:pt x="1017981" y="2028367"/>
                      </a:lnTo>
                      <a:lnTo>
                        <a:pt x="1019302" y="2028367"/>
                      </a:lnTo>
                      <a:lnTo>
                        <a:pt x="1023810" y="2029637"/>
                      </a:lnTo>
                      <a:lnTo>
                        <a:pt x="1025169" y="2029637"/>
                      </a:lnTo>
                      <a:lnTo>
                        <a:pt x="1026972" y="2030907"/>
                      </a:lnTo>
                      <a:lnTo>
                        <a:pt x="1030312" y="2030907"/>
                      </a:lnTo>
                      <a:lnTo>
                        <a:pt x="1033043" y="2032177"/>
                      </a:lnTo>
                      <a:lnTo>
                        <a:pt x="1039977" y="2034717"/>
                      </a:lnTo>
                      <a:lnTo>
                        <a:pt x="1040853" y="2033447"/>
                      </a:lnTo>
                      <a:lnTo>
                        <a:pt x="1031836" y="2029637"/>
                      </a:lnTo>
                      <a:lnTo>
                        <a:pt x="1027417" y="2028367"/>
                      </a:lnTo>
                      <a:lnTo>
                        <a:pt x="1025575" y="2028367"/>
                      </a:lnTo>
                      <a:lnTo>
                        <a:pt x="1024356" y="2027097"/>
                      </a:lnTo>
                      <a:lnTo>
                        <a:pt x="1019860" y="2025827"/>
                      </a:lnTo>
                      <a:lnTo>
                        <a:pt x="990561" y="2025827"/>
                      </a:lnTo>
                      <a:lnTo>
                        <a:pt x="990307" y="2024557"/>
                      </a:lnTo>
                      <a:lnTo>
                        <a:pt x="990117" y="2024557"/>
                      </a:lnTo>
                      <a:lnTo>
                        <a:pt x="988364" y="2020747"/>
                      </a:lnTo>
                      <a:lnTo>
                        <a:pt x="986967" y="2020747"/>
                      </a:lnTo>
                      <a:lnTo>
                        <a:pt x="985304" y="2019477"/>
                      </a:lnTo>
                      <a:lnTo>
                        <a:pt x="984504" y="2018207"/>
                      </a:lnTo>
                      <a:lnTo>
                        <a:pt x="984250" y="2018207"/>
                      </a:lnTo>
                      <a:lnTo>
                        <a:pt x="984935" y="2016937"/>
                      </a:lnTo>
                      <a:lnTo>
                        <a:pt x="985164" y="2015667"/>
                      </a:lnTo>
                      <a:lnTo>
                        <a:pt x="985723" y="2014397"/>
                      </a:lnTo>
                      <a:lnTo>
                        <a:pt x="986294" y="2014397"/>
                      </a:lnTo>
                      <a:lnTo>
                        <a:pt x="986040" y="2011857"/>
                      </a:lnTo>
                      <a:lnTo>
                        <a:pt x="985494" y="2011857"/>
                      </a:lnTo>
                      <a:lnTo>
                        <a:pt x="985139" y="2010587"/>
                      </a:lnTo>
                      <a:lnTo>
                        <a:pt x="984478" y="2010587"/>
                      </a:lnTo>
                      <a:lnTo>
                        <a:pt x="985786" y="2008047"/>
                      </a:lnTo>
                      <a:lnTo>
                        <a:pt x="986167" y="2006777"/>
                      </a:lnTo>
                      <a:lnTo>
                        <a:pt x="986040" y="2002967"/>
                      </a:lnTo>
                      <a:lnTo>
                        <a:pt x="985748" y="2001697"/>
                      </a:lnTo>
                      <a:lnTo>
                        <a:pt x="985659" y="2000427"/>
                      </a:lnTo>
                      <a:lnTo>
                        <a:pt x="985380" y="2000427"/>
                      </a:lnTo>
                      <a:lnTo>
                        <a:pt x="983856" y="1999157"/>
                      </a:lnTo>
                      <a:lnTo>
                        <a:pt x="982167" y="1999157"/>
                      </a:lnTo>
                      <a:lnTo>
                        <a:pt x="980224" y="2000427"/>
                      </a:lnTo>
                      <a:lnTo>
                        <a:pt x="979843" y="2000427"/>
                      </a:lnTo>
                      <a:lnTo>
                        <a:pt x="979144" y="1999157"/>
                      </a:lnTo>
                      <a:lnTo>
                        <a:pt x="976909" y="1999157"/>
                      </a:lnTo>
                      <a:lnTo>
                        <a:pt x="975753" y="2000427"/>
                      </a:lnTo>
                      <a:lnTo>
                        <a:pt x="974509" y="2001697"/>
                      </a:lnTo>
                      <a:lnTo>
                        <a:pt x="972693" y="2001697"/>
                      </a:lnTo>
                      <a:lnTo>
                        <a:pt x="971918" y="1996617"/>
                      </a:lnTo>
                      <a:lnTo>
                        <a:pt x="971804" y="1995347"/>
                      </a:lnTo>
                      <a:lnTo>
                        <a:pt x="971575" y="1995347"/>
                      </a:lnTo>
                      <a:lnTo>
                        <a:pt x="971372" y="1994077"/>
                      </a:lnTo>
                      <a:lnTo>
                        <a:pt x="971130" y="1994077"/>
                      </a:lnTo>
                      <a:lnTo>
                        <a:pt x="970394" y="1992807"/>
                      </a:lnTo>
                      <a:lnTo>
                        <a:pt x="968832" y="1991537"/>
                      </a:lnTo>
                      <a:lnTo>
                        <a:pt x="968248" y="1991537"/>
                      </a:lnTo>
                      <a:lnTo>
                        <a:pt x="968184" y="1990267"/>
                      </a:lnTo>
                      <a:lnTo>
                        <a:pt x="967232" y="1991537"/>
                      </a:lnTo>
                      <a:lnTo>
                        <a:pt x="968070" y="1990267"/>
                      </a:lnTo>
                      <a:lnTo>
                        <a:pt x="967943" y="1988997"/>
                      </a:lnTo>
                      <a:lnTo>
                        <a:pt x="967803" y="1987727"/>
                      </a:lnTo>
                      <a:lnTo>
                        <a:pt x="968463" y="1982647"/>
                      </a:lnTo>
                      <a:lnTo>
                        <a:pt x="968235" y="1981377"/>
                      </a:lnTo>
                      <a:lnTo>
                        <a:pt x="967994" y="1981377"/>
                      </a:lnTo>
                      <a:lnTo>
                        <a:pt x="967867" y="1980107"/>
                      </a:lnTo>
                      <a:lnTo>
                        <a:pt x="967498" y="1980107"/>
                      </a:lnTo>
                      <a:lnTo>
                        <a:pt x="968565" y="1977567"/>
                      </a:lnTo>
                      <a:lnTo>
                        <a:pt x="968921" y="1977567"/>
                      </a:lnTo>
                      <a:lnTo>
                        <a:pt x="969429" y="1976297"/>
                      </a:lnTo>
                      <a:lnTo>
                        <a:pt x="973531" y="1976297"/>
                      </a:lnTo>
                      <a:lnTo>
                        <a:pt x="974674" y="1973757"/>
                      </a:lnTo>
                      <a:lnTo>
                        <a:pt x="976718" y="1971217"/>
                      </a:lnTo>
                      <a:lnTo>
                        <a:pt x="977328" y="1971217"/>
                      </a:lnTo>
                      <a:lnTo>
                        <a:pt x="978522" y="1969947"/>
                      </a:lnTo>
                      <a:lnTo>
                        <a:pt x="979309" y="1969947"/>
                      </a:lnTo>
                      <a:lnTo>
                        <a:pt x="981849" y="1967407"/>
                      </a:lnTo>
                      <a:lnTo>
                        <a:pt x="981786" y="1961057"/>
                      </a:lnTo>
                      <a:lnTo>
                        <a:pt x="982319" y="1961057"/>
                      </a:lnTo>
                      <a:lnTo>
                        <a:pt x="983462" y="1959787"/>
                      </a:lnTo>
                      <a:lnTo>
                        <a:pt x="985215" y="1959787"/>
                      </a:lnTo>
                      <a:lnTo>
                        <a:pt x="985532" y="1958517"/>
                      </a:lnTo>
                      <a:lnTo>
                        <a:pt x="985710" y="1957247"/>
                      </a:lnTo>
                      <a:lnTo>
                        <a:pt x="985659" y="1955977"/>
                      </a:lnTo>
                      <a:lnTo>
                        <a:pt x="985481" y="1954707"/>
                      </a:lnTo>
                      <a:lnTo>
                        <a:pt x="985456" y="1953437"/>
                      </a:lnTo>
                      <a:lnTo>
                        <a:pt x="984999" y="1952167"/>
                      </a:lnTo>
                      <a:lnTo>
                        <a:pt x="983183" y="1950897"/>
                      </a:lnTo>
                      <a:lnTo>
                        <a:pt x="982383" y="1950897"/>
                      </a:lnTo>
                      <a:lnTo>
                        <a:pt x="982929" y="1949627"/>
                      </a:lnTo>
                      <a:lnTo>
                        <a:pt x="985354" y="1943277"/>
                      </a:lnTo>
                      <a:lnTo>
                        <a:pt x="985507" y="1943277"/>
                      </a:lnTo>
                      <a:lnTo>
                        <a:pt x="985418" y="1942007"/>
                      </a:lnTo>
                      <a:lnTo>
                        <a:pt x="985850" y="1942007"/>
                      </a:lnTo>
                      <a:lnTo>
                        <a:pt x="987856" y="1940737"/>
                      </a:lnTo>
                      <a:lnTo>
                        <a:pt x="989990" y="1939467"/>
                      </a:lnTo>
                      <a:lnTo>
                        <a:pt x="990269" y="1939467"/>
                      </a:lnTo>
                      <a:lnTo>
                        <a:pt x="991870" y="1938197"/>
                      </a:lnTo>
                      <a:lnTo>
                        <a:pt x="990549" y="1933117"/>
                      </a:lnTo>
                      <a:lnTo>
                        <a:pt x="992124" y="1930577"/>
                      </a:lnTo>
                      <a:lnTo>
                        <a:pt x="992492" y="1930577"/>
                      </a:lnTo>
                      <a:lnTo>
                        <a:pt x="993101" y="1929307"/>
                      </a:lnTo>
                      <a:lnTo>
                        <a:pt x="994016" y="1929307"/>
                      </a:lnTo>
                      <a:lnTo>
                        <a:pt x="994879" y="1928037"/>
                      </a:lnTo>
                      <a:lnTo>
                        <a:pt x="993673" y="1924227"/>
                      </a:lnTo>
                      <a:lnTo>
                        <a:pt x="992238" y="1919147"/>
                      </a:lnTo>
                      <a:lnTo>
                        <a:pt x="993965" y="1917877"/>
                      </a:lnTo>
                      <a:lnTo>
                        <a:pt x="994232" y="1916607"/>
                      </a:lnTo>
                      <a:lnTo>
                        <a:pt x="995400" y="1915337"/>
                      </a:lnTo>
                      <a:lnTo>
                        <a:pt x="994003" y="1912797"/>
                      </a:lnTo>
                      <a:lnTo>
                        <a:pt x="993063" y="1911527"/>
                      </a:lnTo>
                      <a:lnTo>
                        <a:pt x="992987" y="1910257"/>
                      </a:lnTo>
                      <a:lnTo>
                        <a:pt x="993317" y="1908987"/>
                      </a:lnTo>
                      <a:lnTo>
                        <a:pt x="995413" y="1908987"/>
                      </a:lnTo>
                      <a:lnTo>
                        <a:pt x="997077" y="1907717"/>
                      </a:lnTo>
                      <a:lnTo>
                        <a:pt x="998308" y="1905177"/>
                      </a:lnTo>
                      <a:lnTo>
                        <a:pt x="998728" y="1905177"/>
                      </a:lnTo>
                      <a:lnTo>
                        <a:pt x="999655" y="1903907"/>
                      </a:lnTo>
                      <a:lnTo>
                        <a:pt x="999744" y="1902637"/>
                      </a:lnTo>
                      <a:lnTo>
                        <a:pt x="999236" y="1901367"/>
                      </a:lnTo>
                      <a:lnTo>
                        <a:pt x="998270" y="1900097"/>
                      </a:lnTo>
                      <a:lnTo>
                        <a:pt x="997267" y="1898827"/>
                      </a:lnTo>
                      <a:lnTo>
                        <a:pt x="996911" y="1898827"/>
                      </a:lnTo>
                      <a:lnTo>
                        <a:pt x="996556" y="1897557"/>
                      </a:lnTo>
                      <a:lnTo>
                        <a:pt x="996403" y="1897557"/>
                      </a:lnTo>
                      <a:lnTo>
                        <a:pt x="995641" y="1896287"/>
                      </a:lnTo>
                      <a:lnTo>
                        <a:pt x="990384" y="1896287"/>
                      </a:lnTo>
                      <a:lnTo>
                        <a:pt x="989241" y="1895017"/>
                      </a:lnTo>
                      <a:lnTo>
                        <a:pt x="997839" y="1895017"/>
                      </a:lnTo>
                      <a:lnTo>
                        <a:pt x="998181" y="1896287"/>
                      </a:lnTo>
                      <a:lnTo>
                        <a:pt x="998715" y="1896287"/>
                      </a:lnTo>
                      <a:lnTo>
                        <a:pt x="1000277" y="1895017"/>
                      </a:lnTo>
                      <a:lnTo>
                        <a:pt x="1001268" y="1892477"/>
                      </a:lnTo>
                      <a:lnTo>
                        <a:pt x="1001420" y="1892477"/>
                      </a:lnTo>
                      <a:lnTo>
                        <a:pt x="1002322" y="1891207"/>
                      </a:lnTo>
                      <a:lnTo>
                        <a:pt x="1002525" y="1891207"/>
                      </a:lnTo>
                      <a:lnTo>
                        <a:pt x="1002982" y="1889937"/>
                      </a:lnTo>
                      <a:lnTo>
                        <a:pt x="1002804" y="1888667"/>
                      </a:lnTo>
                      <a:lnTo>
                        <a:pt x="1002080" y="1888667"/>
                      </a:lnTo>
                      <a:lnTo>
                        <a:pt x="1001941" y="1887397"/>
                      </a:lnTo>
                      <a:lnTo>
                        <a:pt x="1000417" y="1886127"/>
                      </a:lnTo>
                      <a:lnTo>
                        <a:pt x="992555" y="1886127"/>
                      </a:lnTo>
                      <a:lnTo>
                        <a:pt x="993419" y="1882317"/>
                      </a:lnTo>
                      <a:lnTo>
                        <a:pt x="993940" y="1881047"/>
                      </a:lnTo>
                      <a:lnTo>
                        <a:pt x="994803" y="1879777"/>
                      </a:lnTo>
                      <a:lnTo>
                        <a:pt x="995184" y="1878507"/>
                      </a:lnTo>
                      <a:lnTo>
                        <a:pt x="994676" y="1877237"/>
                      </a:lnTo>
                      <a:lnTo>
                        <a:pt x="994054" y="1874697"/>
                      </a:lnTo>
                      <a:lnTo>
                        <a:pt x="993889" y="1874697"/>
                      </a:lnTo>
                      <a:lnTo>
                        <a:pt x="993660" y="1873427"/>
                      </a:lnTo>
                      <a:lnTo>
                        <a:pt x="993406" y="1873427"/>
                      </a:lnTo>
                      <a:lnTo>
                        <a:pt x="993267" y="1872157"/>
                      </a:lnTo>
                      <a:lnTo>
                        <a:pt x="992530" y="1872157"/>
                      </a:lnTo>
                      <a:lnTo>
                        <a:pt x="992289" y="1870887"/>
                      </a:lnTo>
                      <a:lnTo>
                        <a:pt x="991146" y="1870887"/>
                      </a:lnTo>
                      <a:lnTo>
                        <a:pt x="991196" y="1869617"/>
                      </a:lnTo>
                      <a:lnTo>
                        <a:pt x="992873" y="1869617"/>
                      </a:lnTo>
                      <a:lnTo>
                        <a:pt x="993470" y="1868347"/>
                      </a:lnTo>
                      <a:lnTo>
                        <a:pt x="994105" y="1868347"/>
                      </a:lnTo>
                      <a:lnTo>
                        <a:pt x="994181" y="1867077"/>
                      </a:lnTo>
                      <a:lnTo>
                        <a:pt x="994168" y="1865807"/>
                      </a:lnTo>
                      <a:lnTo>
                        <a:pt x="993863" y="1865807"/>
                      </a:lnTo>
                      <a:lnTo>
                        <a:pt x="992339" y="1864537"/>
                      </a:lnTo>
                      <a:lnTo>
                        <a:pt x="988580" y="1864537"/>
                      </a:lnTo>
                      <a:lnTo>
                        <a:pt x="988288" y="1863267"/>
                      </a:lnTo>
                      <a:lnTo>
                        <a:pt x="988060" y="1863267"/>
                      </a:lnTo>
                      <a:lnTo>
                        <a:pt x="988250" y="1856917"/>
                      </a:lnTo>
                      <a:lnTo>
                        <a:pt x="988618" y="1854377"/>
                      </a:lnTo>
                      <a:lnTo>
                        <a:pt x="988809" y="1851837"/>
                      </a:lnTo>
                      <a:lnTo>
                        <a:pt x="988936" y="1850567"/>
                      </a:lnTo>
                      <a:lnTo>
                        <a:pt x="993648" y="1848027"/>
                      </a:lnTo>
                      <a:lnTo>
                        <a:pt x="993978" y="1848027"/>
                      </a:lnTo>
                      <a:lnTo>
                        <a:pt x="993508" y="1845487"/>
                      </a:lnTo>
                      <a:lnTo>
                        <a:pt x="991171" y="1839137"/>
                      </a:lnTo>
                      <a:lnTo>
                        <a:pt x="991463" y="1835327"/>
                      </a:lnTo>
                      <a:lnTo>
                        <a:pt x="992022" y="1830247"/>
                      </a:lnTo>
                      <a:lnTo>
                        <a:pt x="991958" y="1828977"/>
                      </a:lnTo>
                      <a:lnTo>
                        <a:pt x="991857" y="1827707"/>
                      </a:lnTo>
                      <a:lnTo>
                        <a:pt x="991387" y="1823897"/>
                      </a:lnTo>
                      <a:lnTo>
                        <a:pt x="991476" y="1822627"/>
                      </a:lnTo>
                      <a:lnTo>
                        <a:pt x="992962" y="1820087"/>
                      </a:lnTo>
                      <a:lnTo>
                        <a:pt x="993825" y="1818817"/>
                      </a:lnTo>
                      <a:lnTo>
                        <a:pt x="993241" y="1817547"/>
                      </a:lnTo>
                      <a:lnTo>
                        <a:pt x="994194" y="1817547"/>
                      </a:lnTo>
                      <a:lnTo>
                        <a:pt x="993889" y="1816277"/>
                      </a:lnTo>
                      <a:lnTo>
                        <a:pt x="993749" y="1816277"/>
                      </a:lnTo>
                      <a:lnTo>
                        <a:pt x="992924" y="1815007"/>
                      </a:lnTo>
                      <a:lnTo>
                        <a:pt x="992886" y="1813737"/>
                      </a:lnTo>
                      <a:lnTo>
                        <a:pt x="993965" y="1813737"/>
                      </a:lnTo>
                      <a:lnTo>
                        <a:pt x="995464" y="1812467"/>
                      </a:lnTo>
                      <a:lnTo>
                        <a:pt x="995362" y="1809927"/>
                      </a:lnTo>
                      <a:lnTo>
                        <a:pt x="995070" y="1806117"/>
                      </a:lnTo>
                      <a:lnTo>
                        <a:pt x="996861" y="1806117"/>
                      </a:lnTo>
                      <a:lnTo>
                        <a:pt x="997445" y="1804847"/>
                      </a:lnTo>
                      <a:lnTo>
                        <a:pt x="997737" y="1803577"/>
                      </a:lnTo>
                      <a:lnTo>
                        <a:pt x="997877" y="1802307"/>
                      </a:lnTo>
                      <a:lnTo>
                        <a:pt x="998816" y="1794687"/>
                      </a:lnTo>
                      <a:lnTo>
                        <a:pt x="998918" y="1793417"/>
                      </a:lnTo>
                      <a:lnTo>
                        <a:pt x="1000887" y="1793417"/>
                      </a:lnTo>
                      <a:lnTo>
                        <a:pt x="1004011" y="1792147"/>
                      </a:lnTo>
                      <a:lnTo>
                        <a:pt x="1005598" y="1790877"/>
                      </a:lnTo>
                      <a:lnTo>
                        <a:pt x="1006602" y="1789607"/>
                      </a:lnTo>
                      <a:lnTo>
                        <a:pt x="1006297" y="1788337"/>
                      </a:lnTo>
                      <a:lnTo>
                        <a:pt x="1005116" y="1784527"/>
                      </a:lnTo>
                      <a:lnTo>
                        <a:pt x="1004849" y="1783257"/>
                      </a:lnTo>
                      <a:lnTo>
                        <a:pt x="1003198" y="1778177"/>
                      </a:lnTo>
                      <a:lnTo>
                        <a:pt x="1003058" y="1775637"/>
                      </a:lnTo>
                      <a:lnTo>
                        <a:pt x="1002144" y="1768017"/>
                      </a:lnTo>
                      <a:lnTo>
                        <a:pt x="1002144" y="1765477"/>
                      </a:lnTo>
                      <a:lnTo>
                        <a:pt x="1003744" y="1754047"/>
                      </a:lnTo>
                      <a:lnTo>
                        <a:pt x="1003985" y="1754047"/>
                      </a:lnTo>
                      <a:lnTo>
                        <a:pt x="1007402" y="1752777"/>
                      </a:lnTo>
                      <a:lnTo>
                        <a:pt x="1009129" y="1751507"/>
                      </a:lnTo>
                      <a:lnTo>
                        <a:pt x="1009865" y="1748967"/>
                      </a:lnTo>
                      <a:lnTo>
                        <a:pt x="1012469" y="1748967"/>
                      </a:lnTo>
                      <a:lnTo>
                        <a:pt x="1012532" y="1746427"/>
                      </a:lnTo>
                      <a:lnTo>
                        <a:pt x="1013079" y="1738807"/>
                      </a:lnTo>
                      <a:lnTo>
                        <a:pt x="1011516" y="1734997"/>
                      </a:lnTo>
                      <a:lnTo>
                        <a:pt x="1010742" y="1733727"/>
                      </a:lnTo>
                      <a:lnTo>
                        <a:pt x="1011085" y="1733727"/>
                      </a:lnTo>
                      <a:lnTo>
                        <a:pt x="1011389" y="1732457"/>
                      </a:lnTo>
                      <a:lnTo>
                        <a:pt x="1011682" y="1732457"/>
                      </a:lnTo>
                      <a:lnTo>
                        <a:pt x="1010856" y="1731187"/>
                      </a:lnTo>
                      <a:lnTo>
                        <a:pt x="1011872" y="1732457"/>
                      </a:lnTo>
                      <a:lnTo>
                        <a:pt x="1012926" y="1731187"/>
                      </a:lnTo>
                      <a:lnTo>
                        <a:pt x="1013155" y="1729917"/>
                      </a:lnTo>
                      <a:lnTo>
                        <a:pt x="1013294" y="1729917"/>
                      </a:lnTo>
                      <a:lnTo>
                        <a:pt x="1013726" y="1728647"/>
                      </a:lnTo>
                      <a:lnTo>
                        <a:pt x="1014349" y="1726107"/>
                      </a:lnTo>
                      <a:lnTo>
                        <a:pt x="1014730" y="1724837"/>
                      </a:lnTo>
                      <a:lnTo>
                        <a:pt x="1017663" y="1718487"/>
                      </a:lnTo>
                      <a:lnTo>
                        <a:pt x="1018070" y="1718487"/>
                      </a:lnTo>
                      <a:lnTo>
                        <a:pt x="1020064" y="1717217"/>
                      </a:lnTo>
                      <a:lnTo>
                        <a:pt x="1021740" y="1717217"/>
                      </a:lnTo>
                      <a:lnTo>
                        <a:pt x="1020622" y="1715947"/>
                      </a:lnTo>
                      <a:lnTo>
                        <a:pt x="1020279" y="1713407"/>
                      </a:lnTo>
                      <a:lnTo>
                        <a:pt x="1020241" y="1710867"/>
                      </a:lnTo>
                      <a:lnTo>
                        <a:pt x="1021537" y="1704517"/>
                      </a:lnTo>
                      <a:lnTo>
                        <a:pt x="1021537" y="1703247"/>
                      </a:lnTo>
                      <a:lnTo>
                        <a:pt x="1021080" y="1701977"/>
                      </a:lnTo>
                      <a:lnTo>
                        <a:pt x="1018362" y="1700707"/>
                      </a:lnTo>
                      <a:lnTo>
                        <a:pt x="1017981" y="1700707"/>
                      </a:lnTo>
                      <a:lnTo>
                        <a:pt x="1017066" y="1696897"/>
                      </a:lnTo>
                      <a:lnTo>
                        <a:pt x="1017409" y="1694357"/>
                      </a:lnTo>
                      <a:lnTo>
                        <a:pt x="1016406" y="1688007"/>
                      </a:lnTo>
                      <a:lnTo>
                        <a:pt x="1015326" y="1686737"/>
                      </a:lnTo>
                      <a:lnTo>
                        <a:pt x="1014387" y="1686737"/>
                      </a:lnTo>
                      <a:lnTo>
                        <a:pt x="1015187" y="1685467"/>
                      </a:lnTo>
                      <a:lnTo>
                        <a:pt x="1014945" y="1685467"/>
                      </a:lnTo>
                      <a:lnTo>
                        <a:pt x="1014628" y="1684197"/>
                      </a:lnTo>
                      <a:lnTo>
                        <a:pt x="1013663" y="1682927"/>
                      </a:lnTo>
                      <a:lnTo>
                        <a:pt x="1013345" y="1681657"/>
                      </a:lnTo>
                      <a:lnTo>
                        <a:pt x="1013879" y="1681657"/>
                      </a:lnTo>
                      <a:lnTo>
                        <a:pt x="1014971" y="1680387"/>
                      </a:lnTo>
                      <a:lnTo>
                        <a:pt x="1015123" y="1679117"/>
                      </a:lnTo>
                      <a:lnTo>
                        <a:pt x="1014526" y="1679117"/>
                      </a:lnTo>
                      <a:lnTo>
                        <a:pt x="1013841" y="1677847"/>
                      </a:lnTo>
                      <a:lnTo>
                        <a:pt x="1013117" y="1676577"/>
                      </a:lnTo>
                      <a:lnTo>
                        <a:pt x="1010602" y="1671497"/>
                      </a:lnTo>
                      <a:lnTo>
                        <a:pt x="1010627" y="1668957"/>
                      </a:lnTo>
                      <a:lnTo>
                        <a:pt x="1011770" y="1667687"/>
                      </a:lnTo>
                      <a:lnTo>
                        <a:pt x="1012075" y="1667687"/>
                      </a:lnTo>
                      <a:lnTo>
                        <a:pt x="1013307" y="1666417"/>
                      </a:lnTo>
                      <a:lnTo>
                        <a:pt x="1014653" y="1666417"/>
                      </a:lnTo>
                      <a:lnTo>
                        <a:pt x="1014717" y="1665147"/>
                      </a:lnTo>
                      <a:lnTo>
                        <a:pt x="1014844" y="1665147"/>
                      </a:lnTo>
                      <a:lnTo>
                        <a:pt x="1014615" y="1663877"/>
                      </a:lnTo>
                      <a:lnTo>
                        <a:pt x="1014641" y="1661337"/>
                      </a:lnTo>
                      <a:lnTo>
                        <a:pt x="1014857" y="1660067"/>
                      </a:lnTo>
                      <a:lnTo>
                        <a:pt x="1015682" y="1657527"/>
                      </a:lnTo>
                      <a:lnTo>
                        <a:pt x="1016368" y="1656257"/>
                      </a:lnTo>
                      <a:lnTo>
                        <a:pt x="1017193" y="1654987"/>
                      </a:lnTo>
                      <a:lnTo>
                        <a:pt x="1018159" y="1654987"/>
                      </a:lnTo>
                      <a:lnTo>
                        <a:pt x="1019581" y="1653717"/>
                      </a:lnTo>
                      <a:lnTo>
                        <a:pt x="1021092" y="1653717"/>
                      </a:lnTo>
                      <a:lnTo>
                        <a:pt x="1021041" y="1651177"/>
                      </a:lnTo>
                      <a:lnTo>
                        <a:pt x="1020775" y="1651177"/>
                      </a:lnTo>
                      <a:lnTo>
                        <a:pt x="1020635" y="1649907"/>
                      </a:lnTo>
                      <a:lnTo>
                        <a:pt x="1019505" y="1649907"/>
                      </a:lnTo>
                      <a:lnTo>
                        <a:pt x="1019543" y="1648637"/>
                      </a:lnTo>
                      <a:lnTo>
                        <a:pt x="1019619" y="1647367"/>
                      </a:lnTo>
                      <a:lnTo>
                        <a:pt x="1019733" y="1644827"/>
                      </a:lnTo>
                      <a:lnTo>
                        <a:pt x="1019822" y="1643557"/>
                      </a:lnTo>
                      <a:lnTo>
                        <a:pt x="1018451" y="1639747"/>
                      </a:lnTo>
                      <a:lnTo>
                        <a:pt x="1018413" y="1638477"/>
                      </a:lnTo>
                      <a:lnTo>
                        <a:pt x="1019086" y="1637207"/>
                      </a:lnTo>
                      <a:lnTo>
                        <a:pt x="1020864" y="1634667"/>
                      </a:lnTo>
                      <a:lnTo>
                        <a:pt x="1023569" y="1624507"/>
                      </a:lnTo>
                      <a:lnTo>
                        <a:pt x="1024394" y="1623237"/>
                      </a:lnTo>
                      <a:lnTo>
                        <a:pt x="1029169" y="1618157"/>
                      </a:lnTo>
                      <a:lnTo>
                        <a:pt x="1031925" y="1614347"/>
                      </a:lnTo>
                      <a:lnTo>
                        <a:pt x="1034846" y="1606727"/>
                      </a:lnTo>
                      <a:lnTo>
                        <a:pt x="1035392" y="1605457"/>
                      </a:lnTo>
                      <a:lnTo>
                        <a:pt x="1039317" y="1605457"/>
                      </a:lnTo>
                      <a:lnTo>
                        <a:pt x="1041971" y="1604187"/>
                      </a:lnTo>
                      <a:close/>
                    </a:path>
                    <a:path w="2709545" h="2035175">
                      <a:moveTo>
                        <a:pt x="1060627" y="512038"/>
                      </a:moveTo>
                      <a:lnTo>
                        <a:pt x="1059573" y="511238"/>
                      </a:lnTo>
                      <a:lnTo>
                        <a:pt x="1059103" y="510882"/>
                      </a:lnTo>
                      <a:lnTo>
                        <a:pt x="1057770" y="510590"/>
                      </a:lnTo>
                      <a:lnTo>
                        <a:pt x="1056576" y="511238"/>
                      </a:lnTo>
                      <a:lnTo>
                        <a:pt x="1056309" y="511009"/>
                      </a:lnTo>
                      <a:lnTo>
                        <a:pt x="1056246" y="510476"/>
                      </a:lnTo>
                      <a:lnTo>
                        <a:pt x="1056335" y="508317"/>
                      </a:lnTo>
                      <a:lnTo>
                        <a:pt x="1056614" y="506907"/>
                      </a:lnTo>
                      <a:lnTo>
                        <a:pt x="1056881" y="505040"/>
                      </a:lnTo>
                      <a:lnTo>
                        <a:pt x="1055573" y="503453"/>
                      </a:lnTo>
                      <a:lnTo>
                        <a:pt x="1055001" y="503186"/>
                      </a:lnTo>
                      <a:lnTo>
                        <a:pt x="1054392" y="503186"/>
                      </a:lnTo>
                      <a:lnTo>
                        <a:pt x="1053274" y="503123"/>
                      </a:lnTo>
                      <a:lnTo>
                        <a:pt x="1051826" y="502843"/>
                      </a:lnTo>
                      <a:lnTo>
                        <a:pt x="1050620" y="501040"/>
                      </a:lnTo>
                      <a:lnTo>
                        <a:pt x="1051026" y="499922"/>
                      </a:lnTo>
                      <a:lnTo>
                        <a:pt x="1050975" y="477227"/>
                      </a:lnTo>
                      <a:lnTo>
                        <a:pt x="1050010" y="476199"/>
                      </a:lnTo>
                      <a:lnTo>
                        <a:pt x="1048410" y="475221"/>
                      </a:lnTo>
                      <a:lnTo>
                        <a:pt x="1046226" y="473417"/>
                      </a:lnTo>
                      <a:lnTo>
                        <a:pt x="1045730" y="473011"/>
                      </a:lnTo>
                      <a:lnTo>
                        <a:pt x="1042809" y="470979"/>
                      </a:lnTo>
                      <a:lnTo>
                        <a:pt x="1035329" y="474484"/>
                      </a:lnTo>
                      <a:lnTo>
                        <a:pt x="1034237" y="474954"/>
                      </a:lnTo>
                      <a:lnTo>
                        <a:pt x="1033691" y="474433"/>
                      </a:lnTo>
                      <a:lnTo>
                        <a:pt x="1032929" y="473405"/>
                      </a:lnTo>
                      <a:lnTo>
                        <a:pt x="1032865" y="472884"/>
                      </a:lnTo>
                      <a:lnTo>
                        <a:pt x="1033145" y="471830"/>
                      </a:lnTo>
                      <a:lnTo>
                        <a:pt x="1033399" y="470814"/>
                      </a:lnTo>
                      <a:lnTo>
                        <a:pt x="1030300" y="469658"/>
                      </a:lnTo>
                      <a:lnTo>
                        <a:pt x="1029538" y="469696"/>
                      </a:lnTo>
                      <a:lnTo>
                        <a:pt x="1027480" y="470662"/>
                      </a:lnTo>
                      <a:lnTo>
                        <a:pt x="1026871" y="472325"/>
                      </a:lnTo>
                      <a:lnTo>
                        <a:pt x="1013561" y="494830"/>
                      </a:lnTo>
                      <a:lnTo>
                        <a:pt x="1012571" y="496925"/>
                      </a:lnTo>
                      <a:lnTo>
                        <a:pt x="1013891" y="498386"/>
                      </a:lnTo>
                      <a:lnTo>
                        <a:pt x="1013879" y="498576"/>
                      </a:lnTo>
                      <a:lnTo>
                        <a:pt x="1012215" y="500583"/>
                      </a:lnTo>
                      <a:lnTo>
                        <a:pt x="1009738" y="504405"/>
                      </a:lnTo>
                      <a:lnTo>
                        <a:pt x="1006678" y="509498"/>
                      </a:lnTo>
                      <a:lnTo>
                        <a:pt x="1005713" y="509879"/>
                      </a:lnTo>
                      <a:lnTo>
                        <a:pt x="1001661" y="508317"/>
                      </a:lnTo>
                      <a:lnTo>
                        <a:pt x="1000239" y="508317"/>
                      </a:lnTo>
                      <a:lnTo>
                        <a:pt x="997559" y="509625"/>
                      </a:lnTo>
                      <a:lnTo>
                        <a:pt x="996442" y="511149"/>
                      </a:lnTo>
                      <a:lnTo>
                        <a:pt x="995591" y="513600"/>
                      </a:lnTo>
                      <a:lnTo>
                        <a:pt x="947547" y="514007"/>
                      </a:lnTo>
                      <a:lnTo>
                        <a:pt x="943673" y="515150"/>
                      </a:lnTo>
                      <a:lnTo>
                        <a:pt x="940612" y="517982"/>
                      </a:lnTo>
                      <a:lnTo>
                        <a:pt x="935888" y="521919"/>
                      </a:lnTo>
                      <a:lnTo>
                        <a:pt x="934110" y="523544"/>
                      </a:lnTo>
                      <a:lnTo>
                        <a:pt x="932865" y="524357"/>
                      </a:lnTo>
                      <a:lnTo>
                        <a:pt x="931214" y="525259"/>
                      </a:lnTo>
                      <a:lnTo>
                        <a:pt x="932230" y="527113"/>
                      </a:lnTo>
                      <a:lnTo>
                        <a:pt x="934046" y="526135"/>
                      </a:lnTo>
                      <a:lnTo>
                        <a:pt x="935405" y="525233"/>
                      </a:lnTo>
                      <a:lnTo>
                        <a:pt x="937298" y="523506"/>
                      </a:lnTo>
                      <a:lnTo>
                        <a:pt x="942035" y="519557"/>
                      </a:lnTo>
                      <a:lnTo>
                        <a:pt x="945705" y="516166"/>
                      </a:lnTo>
                      <a:lnTo>
                        <a:pt x="997153" y="515708"/>
                      </a:lnTo>
                      <a:lnTo>
                        <a:pt x="998054" y="512711"/>
                      </a:lnTo>
                      <a:lnTo>
                        <a:pt x="998918" y="511314"/>
                      </a:lnTo>
                      <a:lnTo>
                        <a:pt x="1000620" y="510476"/>
                      </a:lnTo>
                      <a:lnTo>
                        <a:pt x="1001458" y="510514"/>
                      </a:lnTo>
                      <a:lnTo>
                        <a:pt x="1006424" y="512419"/>
                      </a:lnTo>
                      <a:lnTo>
                        <a:pt x="1008227" y="511009"/>
                      </a:lnTo>
                      <a:lnTo>
                        <a:pt x="1008329" y="510882"/>
                      </a:lnTo>
                      <a:lnTo>
                        <a:pt x="1008570" y="510476"/>
                      </a:lnTo>
                      <a:lnTo>
                        <a:pt x="1008926" y="509879"/>
                      </a:lnTo>
                      <a:lnTo>
                        <a:pt x="1011847" y="505040"/>
                      </a:lnTo>
                      <a:lnTo>
                        <a:pt x="1013929" y="501840"/>
                      </a:lnTo>
                      <a:lnTo>
                        <a:pt x="1016419" y="498843"/>
                      </a:lnTo>
                      <a:lnTo>
                        <a:pt x="1016342" y="498360"/>
                      </a:lnTo>
                      <a:lnTo>
                        <a:pt x="1016254" y="497903"/>
                      </a:lnTo>
                      <a:lnTo>
                        <a:pt x="1015352" y="496836"/>
                      </a:lnTo>
                      <a:lnTo>
                        <a:pt x="1015580" y="495579"/>
                      </a:lnTo>
                      <a:lnTo>
                        <a:pt x="1028712" y="473405"/>
                      </a:lnTo>
                      <a:lnTo>
                        <a:pt x="1028928" y="472884"/>
                      </a:lnTo>
                      <a:lnTo>
                        <a:pt x="1029309" y="472147"/>
                      </a:lnTo>
                      <a:lnTo>
                        <a:pt x="1029881" y="471881"/>
                      </a:lnTo>
                      <a:lnTo>
                        <a:pt x="1030046" y="471830"/>
                      </a:lnTo>
                      <a:lnTo>
                        <a:pt x="1030668" y="472059"/>
                      </a:lnTo>
                      <a:lnTo>
                        <a:pt x="1030820" y="472173"/>
                      </a:lnTo>
                      <a:lnTo>
                        <a:pt x="1030833" y="472325"/>
                      </a:lnTo>
                      <a:lnTo>
                        <a:pt x="1030681" y="472884"/>
                      </a:lnTo>
                      <a:lnTo>
                        <a:pt x="1030605" y="473875"/>
                      </a:lnTo>
                      <a:lnTo>
                        <a:pt x="1033424" y="477621"/>
                      </a:lnTo>
                      <a:lnTo>
                        <a:pt x="1036574" y="476262"/>
                      </a:lnTo>
                      <a:lnTo>
                        <a:pt x="1039355" y="474954"/>
                      </a:lnTo>
                      <a:lnTo>
                        <a:pt x="1042606" y="473417"/>
                      </a:lnTo>
                      <a:lnTo>
                        <a:pt x="1044473" y="474726"/>
                      </a:lnTo>
                      <a:lnTo>
                        <a:pt x="1047191" y="476961"/>
                      </a:lnTo>
                      <a:lnTo>
                        <a:pt x="1047750" y="477329"/>
                      </a:lnTo>
                      <a:lnTo>
                        <a:pt x="1048854" y="477989"/>
                      </a:lnTo>
                      <a:lnTo>
                        <a:pt x="1048880" y="499681"/>
                      </a:lnTo>
                      <a:lnTo>
                        <a:pt x="1048804" y="499922"/>
                      </a:lnTo>
                      <a:lnTo>
                        <a:pt x="1048473" y="501599"/>
                      </a:lnTo>
                      <a:lnTo>
                        <a:pt x="1050302" y="504405"/>
                      </a:lnTo>
                      <a:lnTo>
                        <a:pt x="1051915" y="505155"/>
                      </a:lnTo>
                      <a:lnTo>
                        <a:pt x="1054341" y="505282"/>
                      </a:lnTo>
                      <a:lnTo>
                        <a:pt x="1054468" y="505447"/>
                      </a:lnTo>
                      <a:lnTo>
                        <a:pt x="1054620" y="506018"/>
                      </a:lnTo>
                      <a:lnTo>
                        <a:pt x="1054087" y="508990"/>
                      </a:lnTo>
                      <a:lnTo>
                        <a:pt x="1053833" y="511937"/>
                      </a:lnTo>
                      <a:lnTo>
                        <a:pt x="1055738" y="513245"/>
                      </a:lnTo>
                      <a:lnTo>
                        <a:pt x="1056525" y="513575"/>
                      </a:lnTo>
                      <a:lnTo>
                        <a:pt x="1057859" y="512914"/>
                      </a:lnTo>
                      <a:lnTo>
                        <a:pt x="1058430" y="513041"/>
                      </a:lnTo>
                      <a:lnTo>
                        <a:pt x="1059357" y="513727"/>
                      </a:lnTo>
                      <a:lnTo>
                        <a:pt x="1059980" y="512914"/>
                      </a:lnTo>
                      <a:lnTo>
                        <a:pt x="1060627" y="512038"/>
                      </a:lnTo>
                      <a:close/>
                    </a:path>
                    <a:path w="2709545" h="2035175">
                      <a:moveTo>
                        <a:pt x="1151712" y="1138097"/>
                      </a:moveTo>
                      <a:lnTo>
                        <a:pt x="1150912" y="1136827"/>
                      </a:lnTo>
                      <a:lnTo>
                        <a:pt x="1149756" y="1136827"/>
                      </a:lnTo>
                      <a:lnTo>
                        <a:pt x="1147610" y="1139367"/>
                      </a:lnTo>
                      <a:lnTo>
                        <a:pt x="1146568" y="1139367"/>
                      </a:lnTo>
                      <a:lnTo>
                        <a:pt x="1147267" y="1140637"/>
                      </a:lnTo>
                      <a:lnTo>
                        <a:pt x="1146289" y="1139367"/>
                      </a:lnTo>
                      <a:lnTo>
                        <a:pt x="1145908" y="1140637"/>
                      </a:lnTo>
                      <a:lnTo>
                        <a:pt x="1142250" y="1140637"/>
                      </a:lnTo>
                      <a:lnTo>
                        <a:pt x="1141526" y="1141907"/>
                      </a:lnTo>
                      <a:lnTo>
                        <a:pt x="1140294" y="1141907"/>
                      </a:lnTo>
                      <a:lnTo>
                        <a:pt x="1139469" y="1143177"/>
                      </a:lnTo>
                      <a:lnTo>
                        <a:pt x="1137843" y="1144447"/>
                      </a:lnTo>
                      <a:lnTo>
                        <a:pt x="1127671" y="1145717"/>
                      </a:lnTo>
                      <a:lnTo>
                        <a:pt x="1123315" y="1146987"/>
                      </a:lnTo>
                      <a:lnTo>
                        <a:pt x="1120419" y="1146987"/>
                      </a:lnTo>
                      <a:lnTo>
                        <a:pt x="1119835" y="1149527"/>
                      </a:lnTo>
                      <a:lnTo>
                        <a:pt x="1119797" y="1150797"/>
                      </a:lnTo>
                      <a:lnTo>
                        <a:pt x="1119505" y="1152067"/>
                      </a:lnTo>
                      <a:lnTo>
                        <a:pt x="1119162" y="1153337"/>
                      </a:lnTo>
                      <a:lnTo>
                        <a:pt x="1118781" y="1154557"/>
                      </a:lnTo>
                      <a:lnTo>
                        <a:pt x="1118362" y="1153337"/>
                      </a:lnTo>
                      <a:lnTo>
                        <a:pt x="1115555" y="1150797"/>
                      </a:lnTo>
                      <a:lnTo>
                        <a:pt x="1114996" y="1149527"/>
                      </a:lnTo>
                      <a:lnTo>
                        <a:pt x="1114094" y="1149527"/>
                      </a:lnTo>
                      <a:lnTo>
                        <a:pt x="1112735" y="1148257"/>
                      </a:lnTo>
                      <a:lnTo>
                        <a:pt x="1111046" y="1148257"/>
                      </a:lnTo>
                      <a:lnTo>
                        <a:pt x="1110615" y="1149527"/>
                      </a:lnTo>
                      <a:lnTo>
                        <a:pt x="1110246" y="1149527"/>
                      </a:lnTo>
                      <a:lnTo>
                        <a:pt x="1108443" y="1148257"/>
                      </a:lnTo>
                      <a:lnTo>
                        <a:pt x="1104404" y="1149527"/>
                      </a:lnTo>
                      <a:lnTo>
                        <a:pt x="1103045" y="1149527"/>
                      </a:lnTo>
                      <a:lnTo>
                        <a:pt x="1102169" y="1148257"/>
                      </a:lnTo>
                      <a:lnTo>
                        <a:pt x="1095832" y="1144447"/>
                      </a:lnTo>
                      <a:lnTo>
                        <a:pt x="1092073" y="1144447"/>
                      </a:lnTo>
                      <a:lnTo>
                        <a:pt x="1089342" y="1145717"/>
                      </a:lnTo>
                      <a:lnTo>
                        <a:pt x="1091666" y="1146987"/>
                      </a:lnTo>
                      <a:lnTo>
                        <a:pt x="1091920" y="1146987"/>
                      </a:lnTo>
                      <a:lnTo>
                        <a:pt x="1092758" y="1148257"/>
                      </a:lnTo>
                      <a:lnTo>
                        <a:pt x="1094879" y="1152067"/>
                      </a:lnTo>
                      <a:lnTo>
                        <a:pt x="1096010" y="1152067"/>
                      </a:lnTo>
                      <a:lnTo>
                        <a:pt x="1098638" y="1154607"/>
                      </a:lnTo>
                      <a:lnTo>
                        <a:pt x="1099375" y="1155877"/>
                      </a:lnTo>
                      <a:lnTo>
                        <a:pt x="1099566" y="1155877"/>
                      </a:lnTo>
                      <a:lnTo>
                        <a:pt x="1099159" y="1157147"/>
                      </a:lnTo>
                      <a:lnTo>
                        <a:pt x="1099388" y="1159687"/>
                      </a:lnTo>
                      <a:lnTo>
                        <a:pt x="1101953" y="1164767"/>
                      </a:lnTo>
                      <a:lnTo>
                        <a:pt x="1102207" y="1167307"/>
                      </a:lnTo>
                      <a:lnTo>
                        <a:pt x="1101623" y="1169847"/>
                      </a:lnTo>
                      <a:lnTo>
                        <a:pt x="1101483" y="1169847"/>
                      </a:lnTo>
                      <a:lnTo>
                        <a:pt x="1102309" y="1172387"/>
                      </a:lnTo>
                      <a:lnTo>
                        <a:pt x="1104569" y="1172387"/>
                      </a:lnTo>
                      <a:lnTo>
                        <a:pt x="1111173" y="1173657"/>
                      </a:lnTo>
                      <a:lnTo>
                        <a:pt x="1109713" y="1173657"/>
                      </a:lnTo>
                      <a:lnTo>
                        <a:pt x="1110132" y="1174927"/>
                      </a:lnTo>
                      <a:lnTo>
                        <a:pt x="1109459" y="1174927"/>
                      </a:lnTo>
                      <a:lnTo>
                        <a:pt x="1104531" y="1176197"/>
                      </a:lnTo>
                      <a:lnTo>
                        <a:pt x="1101940" y="1177467"/>
                      </a:lnTo>
                      <a:lnTo>
                        <a:pt x="1101547" y="1178737"/>
                      </a:lnTo>
                      <a:lnTo>
                        <a:pt x="1101623" y="1180007"/>
                      </a:lnTo>
                      <a:lnTo>
                        <a:pt x="1101496" y="1180007"/>
                      </a:lnTo>
                      <a:lnTo>
                        <a:pt x="1100391" y="1182547"/>
                      </a:lnTo>
                      <a:lnTo>
                        <a:pt x="1099794" y="1183817"/>
                      </a:lnTo>
                      <a:lnTo>
                        <a:pt x="1096835" y="1185087"/>
                      </a:lnTo>
                      <a:lnTo>
                        <a:pt x="1092682" y="1187627"/>
                      </a:lnTo>
                      <a:lnTo>
                        <a:pt x="1086980" y="1188897"/>
                      </a:lnTo>
                      <a:lnTo>
                        <a:pt x="1084465" y="1192707"/>
                      </a:lnTo>
                      <a:lnTo>
                        <a:pt x="1083500" y="1192707"/>
                      </a:lnTo>
                      <a:lnTo>
                        <a:pt x="1082840" y="1193749"/>
                      </a:lnTo>
                      <a:lnTo>
                        <a:pt x="1082852" y="1192707"/>
                      </a:lnTo>
                      <a:lnTo>
                        <a:pt x="1082128" y="1192707"/>
                      </a:lnTo>
                      <a:lnTo>
                        <a:pt x="1081709" y="1191437"/>
                      </a:lnTo>
                      <a:lnTo>
                        <a:pt x="1079804" y="1191437"/>
                      </a:lnTo>
                      <a:lnTo>
                        <a:pt x="1077595" y="1192707"/>
                      </a:lnTo>
                      <a:lnTo>
                        <a:pt x="1073010" y="1195247"/>
                      </a:lnTo>
                      <a:lnTo>
                        <a:pt x="1071130" y="1195247"/>
                      </a:lnTo>
                      <a:lnTo>
                        <a:pt x="1070051" y="1193977"/>
                      </a:lnTo>
                      <a:lnTo>
                        <a:pt x="1064958" y="1190167"/>
                      </a:lnTo>
                      <a:lnTo>
                        <a:pt x="1063231" y="1188897"/>
                      </a:lnTo>
                      <a:lnTo>
                        <a:pt x="1063002" y="1187627"/>
                      </a:lnTo>
                      <a:lnTo>
                        <a:pt x="1062837" y="1187627"/>
                      </a:lnTo>
                      <a:lnTo>
                        <a:pt x="1062316" y="1186357"/>
                      </a:lnTo>
                      <a:lnTo>
                        <a:pt x="1062151" y="1186357"/>
                      </a:lnTo>
                      <a:lnTo>
                        <a:pt x="1061529" y="1183817"/>
                      </a:lnTo>
                      <a:lnTo>
                        <a:pt x="1060589" y="1180553"/>
                      </a:lnTo>
                      <a:lnTo>
                        <a:pt x="1060589" y="1187627"/>
                      </a:lnTo>
                      <a:lnTo>
                        <a:pt x="1060005" y="1187627"/>
                      </a:lnTo>
                      <a:lnTo>
                        <a:pt x="1060043" y="1186357"/>
                      </a:lnTo>
                      <a:lnTo>
                        <a:pt x="1060589" y="1187627"/>
                      </a:lnTo>
                      <a:lnTo>
                        <a:pt x="1060589" y="1180553"/>
                      </a:lnTo>
                      <a:lnTo>
                        <a:pt x="1060069" y="1178737"/>
                      </a:lnTo>
                      <a:lnTo>
                        <a:pt x="1058494" y="1174927"/>
                      </a:lnTo>
                      <a:lnTo>
                        <a:pt x="1057097" y="1171117"/>
                      </a:lnTo>
                      <a:lnTo>
                        <a:pt x="1056640" y="1171117"/>
                      </a:lnTo>
                      <a:lnTo>
                        <a:pt x="1056144" y="1169847"/>
                      </a:lnTo>
                      <a:lnTo>
                        <a:pt x="1055547" y="1168577"/>
                      </a:lnTo>
                      <a:lnTo>
                        <a:pt x="1054900" y="1168577"/>
                      </a:lnTo>
                      <a:lnTo>
                        <a:pt x="1052791" y="1166037"/>
                      </a:lnTo>
                      <a:lnTo>
                        <a:pt x="1049972" y="1166037"/>
                      </a:lnTo>
                      <a:lnTo>
                        <a:pt x="1050620" y="1164767"/>
                      </a:lnTo>
                      <a:lnTo>
                        <a:pt x="1053465" y="1162227"/>
                      </a:lnTo>
                      <a:lnTo>
                        <a:pt x="1053871" y="1162227"/>
                      </a:lnTo>
                      <a:lnTo>
                        <a:pt x="1053185" y="1160957"/>
                      </a:lnTo>
                      <a:lnTo>
                        <a:pt x="1054112" y="1162227"/>
                      </a:lnTo>
                      <a:lnTo>
                        <a:pt x="1054696" y="1160957"/>
                      </a:lnTo>
                      <a:lnTo>
                        <a:pt x="1056106" y="1159687"/>
                      </a:lnTo>
                      <a:lnTo>
                        <a:pt x="1056767" y="1158417"/>
                      </a:lnTo>
                      <a:lnTo>
                        <a:pt x="1057021" y="1158417"/>
                      </a:lnTo>
                      <a:lnTo>
                        <a:pt x="1056995" y="1157147"/>
                      </a:lnTo>
                      <a:lnTo>
                        <a:pt x="1056767" y="1157147"/>
                      </a:lnTo>
                      <a:lnTo>
                        <a:pt x="1056144" y="1155877"/>
                      </a:lnTo>
                      <a:lnTo>
                        <a:pt x="1055928" y="1155877"/>
                      </a:lnTo>
                      <a:lnTo>
                        <a:pt x="1054925" y="1153337"/>
                      </a:lnTo>
                      <a:lnTo>
                        <a:pt x="1053045" y="1153337"/>
                      </a:lnTo>
                      <a:lnTo>
                        <a:pt x="1053045" y="1152067"/>
                      </a:lnTo>
                      <a:lnTo>
                        <a:pt x="1052512" y="1152067"/>
                      </a:lnTo>
                      <a:lnTo>
                        <a:pt x="1051534" y="1148257"/>
                      </a:lnTo>
                      <a:lnTo>
                        <a:pt x="1050366" y="1146987"/>
                      </a:lnTo>
                      <a:lnTo>
                        <a:pt x="1049464" y="1143177"/>
                      </a:lnTo>
                      <a:lnTo>
                        <a:pt x="1049375" y="1141907"/>
                      </a:lnTo>
                      <a:lnTo>
                        <a:pt x="1048232" y="1141907"/>
                      </a:lnTo>
                      <a:lnTo>
                        <a:pt x="1049274" y="1140637"/>
                      </a:lnTo>
                      <a:lnTo>
                        <a:pt x="1049299" y="1138097"/>
                      </a:lnTo>
                      <a:lnTo>
                        <a:pt x="1049362" y="1133017"/>
                      </a:lnTo>
                      <a:lnTo>
                        <a:pt x="1049616" y="1131747"/>
                      </a:lnTo>
                      <a:lnTo>
                        <a:pt x="1049718" y="1130477"/>
                      </a:lnTo>
                      <a:lnTo>
                        <a:pt x="1051750" y="1127937"/>
                      </a:lnTo>
                      <a:lnTo>
                        <a:pt x="1052182" y="1126667"/>
                      </a:lnTo>
                      <a:lnTo>
                        <a:pt x="1054011" y="1124127"/>
                      </a:lnTo>
                      <a:lnTo>
                        <a:pt x="1054582" y="1122857"/>
                      </a:lnTo>
                      <a:lnTo>
                        <a:pt x="1055268" y="1121587"/>
                      </a:lnTo>
                      <a:lnTo>
                        <a:pt x="1055497" y="1120317"/>
                      </a:lnTo>
                      <a:lnTo>
                        <a:pt x="1054963" y="1117777"/>
                      </a:lnTo>
                      <a:lnTo>
                        <a:pt x="1053693" y="1115237"/>
                      </a:lnTo>
                      <a:lnTo>
                        <a:pt x="1046670" y="1115237"/>
                      </a:lnTo>
                      <a:lnTo>
                        <a:pt x="1031494" y="1117777"/>
                      </a:lnTo>
                      <a:lnTo>
                        <a:pt x="1024978" y="1117777"/>
                      </a:lnTo>
                      <a:lnTo>
                        <a:pt x="1020813" y="1111427"/>
                      </a:lnTo>
                      <a:lnTo>
                        <a:pt x="1019086" y="1108887"/>
                      </a:lnTo>
                      <a:lnTo>
                        <a:pt x="1016622" y="1106347"/>
                      </a:lnTo>
                      <a:lnTo>
                        <a:pt x="1016114" y="1106347"/>
                      </a:lnTo>
                      <a:lnTo>
                        <a:pt x="1011516" y="1105077"/>
                      </a:lnTo>
                      <a:lnTo>
                        <a:pt x="1009904" y="1103807"/>
                      </a:lnTo>
                      <a:lnTo>
                        <a:pt x="1006779" y="1103807"/>
                      </a:lnTo>
                      <a:lnTo>
                        <a:pt x="1002855" y="1105077"/>
                      </a:lnTo>
                      <a:lnTo>
                        <a:pt x="1001788" y="1105077"/>
                      </a:lnTo>
                      <a:lnTo>
                        <a:pt x="1000937" y="1106347"/>
                      </a:lnTo>
                      <a:lnTo>
                        <a:pt x="996657" y="1105077"/>
                      </a:lnTo>
                      <a:lnTo>
                        <a:pt x="989317" y="1105077"/>
                      </a:lnTo>
                      <a:lnTo>
                        <a:pt x="988263" y="1102537"/>
                      </a:lnTo>
                      <a:lnTo>
                        <a:pt x="987907" y="1101267"/>
                      </a:lnTo>
                      <a:lnTo>
                        <a:pt x="987069" y="1099997"/>
                      </a:lnTo>
                      <a:lnTo>
                        <a:pt x="983805" y="1099997"/>
                      </a:lnTo>
                      <a:lnTo>
                        <a:pt x="983627" y="1098727"/>
                      </a:lnTo>
                      <a:lnTo>
                        <a:pt x="982967" y="1096187"/>
                      </a:lnTo>
                      <a:lnTo>
                        <a:pt x="983208" y="1093647"/>
                      </a:lnTo>
                      <a:lnTo>
                        <a:pt x="984402" y="1092377"/>
                      </a:lnTo>
                      <a:lnTo>
                        <a:pt x="984529" y="1091107"/>
                      </a:lnTo>
                      <a:lnTo>
                        <a:pt x="984694" y="1091107"/>
                      </a:lnTo>
                      <a:lnTo>
                        <a:pt x="984491" y="1088567"/>
                      </a:lnTo>
                      <a:lnTo>
                        <a:pt x="983856" y="1087297"/>
                      </a:lnTo>
                      <a:lnTo>
                        <a:pt x="983107" y="1084757"/>
                      </a:lnTo>
                      <a:lnTo>
                        <a:pt x="980897" y="1079677"/>
                      </a:lnTo>
                      <a:lnTo>
                        <a:pt x="979690" y="1077137"/>
                      </a:lnTo>
                      <a:lnTo>
                        <a:pt x="978700" y="1075867"/>
                      </a:lnTo>
                      <a:lnTo>
                        <a:pt x="978395" y="1074597"/>
                      </a:lnTo>
                      <a:lnTo>
                        <a:pt x="975741" y="1074597"/>
                      </a:lnTo>
                      <a:lnTo>
                        <a:pt x="975664" y="1073327"/>
                      </a:lnTo>
                      <a:lnTo>
                        <a:pt x="975436" y="1072057"/>
                      </a:lnTo>
                      <a:lnTo>
                        <a:pt x="973861" y="1072057"/>
                      </a:lnTo>
                      <a:lnTo>
                        <a:pt x="971804" y="1073327"/>
                      </a:lnTo>
                      <a:lnTo>
                        <a:pt x="971232" y="1073327"/>
                      </a:lnTo>
                      <a:lnTo>
                        <a:pt x="973416" y="1070787"/>
                      </a:lnTo>
                      <a:lnTo>
                        <a:pt x="974509" y="1068247"/>
                      </a:lnTo>
                      <a:lnTo>
                        <a:pt x="975360" y="1065707"/>
                      </a:lnTo>
                      <a:lnTo>
                        <a:pt x="975728" y="1064437"/>
                      </a:lnTo>
                      <a:lnTo>
                        <a:pt x="975906" y="1064437"/>
                      </a:lnTo>
                      <a:lnTo>
                        <a:pt x="976122" y="1063167"/>
                      </a:lnTo>
                      <a:lnTo>
                        <a:pt x="976579" y="1058087"/>
                      </a:lnTo>
                      <a:lnTo>
                        <a:pt x="977176" y="1056817"/>
                      </a:lnTo>
                      <a:lnTo>
                        <a:pt x="979487" y="1053007"/>
                      </a:lnTo>
                      <a:lnTo>
                        <a:pt x="980020" y="1051737"/>
                      </a:lnTo>
                      <a:lnTo>
                        <a:pt x="980287" y="1051737"/>
                      </a:lnTo>
                      <a:lnTo>
                        <a:pt x="980808" y="1050467"/>
                      </a:lnTo>
                      <a:lnTo>
                        <a:pt x="981417" y="1049197"/>
                      </a:lnTo>
                      <a:lnTo>
                        <a:pt x="982840" y="1047927"/>
                      </a:lnTo>
                      <a:lnTo>
                        <a:pt x="985659" y="1046657"/>
                      </a:lnTo>
                      <a:lnTo>
                        <a:pt x="986726" y="1045387"/>
                      </a:lnTo>
                      <a:lnTo>
                        <a:pt x="987082" y="1045387"/>
                      </a:lnTo>
                      <a:lnTo>
                        <a:pt x="987361" y="1044117"/>
                      </a:lnTo>
                      <a:lnTo>
                        <a:pt x="989190" y="1040307"/>
                      </a:lnTo>
                      <a:lnTo>
                        <a:pt x="989672" y="1040307"/>
                      </a:lnTo>
                      <a:lnTo>
                        <a:pt x="990358" y="1039037"/>
                      </a:lnTo>
                      <a:lnTo>
                        <a:pt x="993470" y="1039037"/>
                      </a:lnTo>
                      <a:lnTo>
                        <a:pt x="996264" y="1037767"/>
                      </a:lnTo>
                      <a:lnTo>
                        <a:pt x="998385" y="1037767"/>
                      </a:lnTo>
                      <a:lnTo>
                        <a:pt x="998347" y="1036497"/>
                      </a:lnTo>
                      <a:lnTo>
                        <a:pt x="992924" y="1036497"/>
                      </a:lnTo>
                      <a:lnTo>
                        <a:pt x="989431" y="1037767"/>
                      </a:lnTo>
                      <a:lnTo>
                        <a:pt x="988542" y="1037767"/>
                      </a:lnTo>
                      <a:lnTo>
                        <a:pt x="987463" y="1039037"/>
                      </a:lnTo>
                      <a:lnTo>
                        <a:pt x="985443" y="1044117"/>
                      </a:lnTo>
                      <a:lnTo>
                        <a:pt x="984859" y="1045387"/>
                      </a:lnTo>
                      <a:lnTo>
                        <a:pt x="984415" y="1045387"/>
                      </a:lnTo>
                      <a:lnTo>
                        <a:pt x="981887" y="1046657"/>
                      </a:lnTo>
                      <a:lnTo>
                        <a:pt x="979766" y="1047927"/>
                      </a:lnTo>
                      <a:lnTo>
                        <a:pt x="979004" y="1049197"/>
                      </a:lnTo>
                      <a:lnTo>
                        <a:pt x="978420" y="1050467"/>
                      </a:lnTo>
                      <a:lnTo>
                        <a:pt x="978027" y="1050467"/>
                      </a:lnTo>
                      <a:lnTo>
                        <a:pt x="977938" y="1051737"/>
                      </a:lnTo>
                      <a:lnTo>
                        <a:pt x="977633" y="1051737"/>
                      </a:lnTo>
                      <a:lnTo>
                        <a:pt x="975233" y="1055547"/>
                      </a:lnTo>
                      <a:lnTo>
                        <a:pt x="974483" y="1058087"/>
                      </a:lnTo>
                      <a:lnTo>
                        <a:pt x="974026" y="1063167"/>
                      </a:lnTo>
                      <a:lnTo>
                        <a:pt x="973848" y="1063167"/>
                      </a:lnTo>
                      <a:lnTo>
                        <a:pt x="973696" y="1064437"/>
                      </a:lnTo>
                      <a:lnTo>
                        <a:pt x="973340" y="1065707"/>
                      </a:lnTo>
                      <a:lnTo>
                        <a:pt x="972566" y="1066977"/>
                      </a:lnTo>
                      <a:lnTo>
                        <a:pt x="971562" y="1069517"/>
                      </a:lnTo>
                      <a:lnTo>
                        <a:pt x="969302" y="1073327"/>
                      </a:lnTo>
                      <a:lnTo>
                        <a:pt x="968400" y="1074597"/>
                      </a:lnTo>
                      <a:lnTo>
                        <a:pt x="967892" y="1074597"/>
                      </a:lnTo>
                      <a:lnTo>
                        <a:pt x="968489" y="1075867"/>
                      </a:lnTo>
                      <a:lnTo>
                        <a:pt x="972058" y="1075867"/>
                      </a:lnTo>
                      <a:lnTo>
                        <a:pt x="973658" y="1074597"/>
                      </a:lnTo>
                      <a:lnTo>
                        <a:pt x="973734" y="1075867"/>
                      </a:lnTo>
                      <a:lnTo>
                        <a:pt x="974318" y="1075867"/>
                      </a:lnTo>
                      <a:lnTo>
                        <a:pt x="974699" y="1077137"/>
                      </a:lnTo>
                      <a:lnTo>
                        <a:pt x="976998" y="1077137"/>
                      </a:lnTo>
                      <a:lnTo>
                        <a:pt x="977773" y="1078407"/>
                      </a:lnTo>
                      <a:lnTo>
                        <a:pt x="978941" y="1080947"/>
                      </a:lnTo>
                      <a:lnTo>
                        <a:pt x="981036" y="1086027"/>
                      </a:lnTo>
                      <a:lnTo>
                        <a:pt x="981202" y="1086027"/>
                      </a:lnTo>
                      <a:lnTo>
                        <a:pt x="981887" y="1087297"/>
                      </a:lnTo>
                      <a:lnTo>
                        <a:pt x="982395" y="1088567"/>
                      </a:lnTo>
                      <a:lnTo>
                        <a:pt x="982535" y="1091107"/>
                      </a:lnTo>
                      <a:lnTo>
                        <a:pt x="981125" y="1093647"/>
                      </a:lnTo>
                      <a:lnTo>
                        <a:pt x="980782" y="1096187"/>
                      </a:lnTo>
                      <a:lnTo>
                        <a:pt x="981684" y="1099997"/>
                      </a:lnTo>
                      <a:lnTo>
                        <a:pt x="982167" y="1101267"/>
                      </a:lnTo>
                      <a:lnTo>
                        <a:pt x="985418" y="1101267"/>
                      </a:lnTo>
                      <a:lnTo>
                        <a:pt x="985647" y="1102537"/>
                      </a:lnTo>
                      <a:lnTo>
                        <a:pt x="986091" y="1102537"/>
                      </a:lnTo>
                      <a:lnTo>
                        <a:pt x="986383" y="1103807"/>
                      </a:lnTo>
                      <a:lnTo>
                        <a:pt x="987653" y="1106347"/>
                      </a:lnTo>
                      <a:lnTo>
                        <a:pt x="988542" y="1106347"/>
                      </a:lnTo>
                      <a:lnTo>
                        <a:pt x="989380" y="1107617"/>
                      </a:lnTo>
                      <a:lnTo>
                        <a:pt x="993038" y="1107617"/>
                      </a:lnTo>
                      <a:lnTo>
                        <a:pt x="994448" y="1106347"/>
                      </a:lnTo>
                      <a:lnTo>
                        <a:pt x="996429" y="1107617"/>
                      </a:lnTo>
                      <a:lnTo>
                        <a:pt x="1003325" y="1107617"/>
                      </a:lnTo>
                      <a:lnTo>
                        <a:pt x="1006094" y="1106347"/>
                      </a:lnTo>
                      <a:lnTo>
                        <a:pt x="1009523" y="1106347"/>
                      </a:lnTo>
                      <a:lnTo>
                        <a:pt x="1015034" y="1107617"/>
                      </a:lnTo>
                      <a:lnTo>
                        <a:pt x="1017943" y="1111427"/>
                      </a:lnTo>
                      <a:lnTo>
                        <a:pt x="1018832" y="1112697"/>
                      </a:lnTo>
                      <a:lnTo>
                        <a:pt x="1021753" y="1116507"/>
                      </a:lnTo>
                      <a:lnTo>
                        <a:pt x="1023543" y="1119047"/>
                      </a:lnTo>
                      <a:lnTo>
                        <a:pt x="1025017" y="1120317"/>
                      </a:lnTo>
                      <a:lnTo>
                        <a:pt x="1027493" y="1120317"/>
                      </a:lnTo>
                      <a:lnTo>
                        <a:pt x="1031760" y="1119047"/>
                      </a:lnTo>
                      <a:lnTo>
                        <a:pt x="1039418" y="1119047"/>
                      </a:lnTo>
                      <a:lnTo>
                        <a:pt x="1046759" y="1117777"/>
                      </a:lnTo>
                      <a:lnTo>
                        <a:pt x="1052893" y="1117777"/>
                      </a:lnTo>
                      <a:lnTo>
                        <a:pt x="1053325" y="1120317"/>
                      </a:lnTo>
                      <a:lnTo>
                        <a:pt x="1053147" y="1121587"/>
                      </a:lnTo>
                      <a:lnTo>
                        <a:pt x="1052715" y="1121587"/>
                      </a:lnTo>
                      <a:lnTo>
                        <a:pt x="1052220" y="1122857"/>
                      </a:lnTo>
                      <a:lnTo>
                        <a:pt x="1050417" y="1125397"/>
                      </a:lnTo>
                      <a:lnTo>
                        <a:pt x="1049985" y="1126667"/>
                      </a:lnTo>
                      <a:lnTo>
                        <a:pt x="1047623" y="1129207"/>
                      </a:lnTo>
                      <a:lnTo>
                        <a:pt x="1047508" y="1131747"/>
                      </a:lnTo>
                      <a:lnTo>
                        <a:pt x="1047242" y="1133017"/>
                      </a:lnTo>
                      <a:lnTo>
                        <a:pt x="1047165" y="1141907"/>
                      </a:lnTo>
                      <a:lnTo>
                        <a:pt x="1047280" y="1143177"/>
                      </a:lnTo>
                      <a:lnTo>
                        <a:pt x="1047711" y="1145717"/>
                      </a:lnTo>
                      <a:lnTo>
                        <a:pt x="1048385" y="1146987"/>
                      </a:lnTo>
                      <a:lnTo>
                        <a:pt x="1049566" y="1149527"/>
                      </a:lnTo>
                      <a:lnTo>
                        <a:pt x="1050607" y="1153337"/>
                      </a:lnTo>
                      <a:lnTo>
                        <a:pt x="1051128" y="1153337"/>
                      </a:lnTo>
                      <a:lnTo>
                        <a:pt x="1051433" y="1154607"/>
                      </a:lnTo>
                      <a:lnTo>
                        <a:pt x="1052372" y="1154607"/>
                      </a:lnTo>
                      <a:lnTo>
                        <a:pt x="1053249" y="1155877"/>
                      </a:lnTo>
                      <a:lnTo>
                        <a:pt x="1054188" y="1157147"/>
                      </a:lnTo>
                      <a:lnTo>
                        <a:pt x="1054430" y="1157147"/>
                      </a:lnTo>
                      <a:lnTo>
                        <a:pt x="1054557" y="1158417"/>
                      </a:lnTo>
                      <a:lnTo>
                        <a:pt x="1054328" y="1158417"/>
                      </a:lnTo>
                      <a:lnTo>
                        <a:pt x="1053477" y="1159687"/>
                      </a:lnTo>
                      <a:lnTo>
                        <a:pt x="1049083" y="1163497"/>
                      </a:lnTo>
                      <a:lnTo>
                        <a:pt x="1048435" y="1164767"/>
                      </a:lnTo>
                      <a:lnTo>
                        <a:pt x="1047280" y="1164767"/>
                      </a:lnTo>
                      <a:lnTo>
                        <a:pt x="1047318" y="1167307"/>
                      </a:lnTo>
                      <a:lnTo>
                        <a:pt x="1048791" y="1167307"/>
                      </a:lnTo>
                      <a:lnTo>
                        <a:pt x="1049655" y="1168577"/>
                      </a:lnTo>
                      <a:lnTo>
                        <a:pt x="1051001" y="1167307"/>
                      </a:lnTo>
                      <a:lnTo>
                        <a:pt x="1051280" y="1168577"/>
                      </a:lnTo>
                      <a:lnTo>
                        <a:pt x="1051445" y="1168577"/>
                      </a:lnTo>
                      <a:lnTo>
                        <a:pt x="1053338" y="1169847"/>
                      </a:lnTo>
                      <a:lnTo>
                        <a:pt x="1053871" y="1169847"/>
                      </a:lnTo>
                      <a:lnTo>
                        <a:pt x="1054798" y="1172387"/>
                      </a:lnTo>
                      <a:lnTo>
                        <a:pt x="1055179" y="1172387"/>
                      </a:lnTo>
                      <a:lnTo>
                        <a:pt x="1056309" y="1174927"/>
                      </a:lnTo>
                      <a:lnTo>
                        <a:pt x="1057071" y="1177467"/>
                      </a:lnTo>
                      <a:lnTo>
                        <a:pt x="1054608" y="1173657"/>
                      </a:lnTo>
                      <a:lnTo>
                        <a:pt x="1049058" y="1178737"/>
                      </a:lnTo>
                      <a:lnTo>
                        <a:pt x="1047254" y="1180007"/>
                      </a:lnTo>
                      <a:lnTo>
                        <a:pt x="1046543" y="1180007"/>
                      </a:lnTo>
                      <a:lnTo>
                        <a:pt x="1045489" y="1178737"/>
                      </a:lnTo>
                      <a:lnTo>
                        <a:pt x="1044727" y="1177823"/>
                      </a:lnTo>
                      <a:lnTo>
                        <a:pt x="1044727" y="1180960"/>
                      </a:lnTo>
                      <a:lnTo>
                        <a:pt x="1043546" y="1180007"/>
                      </a:lnTo>
                      <a:lnTo>
                        <a:pt x="1043495" y="1178737"/>
                      </a:lnTo>
                      <a:lnTo>
                        <a:pt x="1044727" y="1180960"/>
                      </a:lnTo>
                      <a:lnTo>
                        <a:pt x="1044727" y="1177823"/>
                      </a:lnTo>
                      <a:lnTo>
                        <a:pt x="1043381" y="1176197"/>
                      </a:lnTo>
                      <a:lnTo>
                        <a:pt x="1041590" y="1177467"/>
                      </a:lnTo>
                      <a:lnTo>
                        <a:pt x="1041196" y="1178737"/>
                      </a:lnTo>
                      <a:lnTo>
                        <a:pt x="1041387" y="1180007"/>
                      </a:lnTo>
                      <a:lnTo>
                        <a:pt x="1021219" y="1180007"/>
                      </a:lnTo>
                      <a:lnTo>
                        <a:pt x="1019162" y="1181277"/>
                      </a:lnTo>
                      <a:lnTo>
                        <a:pt x="1018425" y="1181277"/>
                      </a:lnTo>
                      <a:lnTo>
                        <a:pt x="1018501" y="1192707"/>
                      </a:lnTo>
                      <a:lnTo>
                        <a:pt x="1021372" y="1191437"/>
                      </a:lnTo>
                      <a:lnTo>
                        <a:pt x="1023950" y="1191437"/>
                      </a:lnTo>
                      <a:lnTo>
                        <a:pt x="1026071" y="1192707"/>
                      </a:lnTo>
                      <a:lnTo>
                        <a:pt x="1026693" y="1191437"/>
                      </a:lnTo>
                      <a:lnTo>
                        <a:pt x="1027226" y="1192707"/>
                      </a:lnTo>
                      <a:lnTo>
                        <a:pt x="1028128" y="1193977"/>
                      </a:lnTo>
                      <a:lnTo>
                        <a:pt x="1030465" y="1193977"/>
                      </a:lnTo>
                      <a:lnTo>
                        <a:pt x="1029182" y="1191437"/>
                      </a:lnTo>
                      <a:lnTo>
                        <a:pt x="1028344" y="1190167"/>
                      </a:lnTo>
                      <a:lnTo>
                        <a:pt x="1024559" y="1190167"/>
                      </a:lnTo>
                      <a:lnTo>
                        <a:pt x="1022451" y="1188897"/>
                      </a:lnTo>
                      <a:lnTo>
                        <a:pt x="1020572" y="1188897"/>
                      </a:lnTo>
                      <a:lnTo>
                        <a:pt x="1020546" y="1182547"/>
                      </a:lnTo>
                      <a:lnTo>
                        <a:pt x="1045603" y="1182547"/>
                      </a:lnTo>
                      <a:lnTo>
                        <a:pt x="1046683" y="1182547"/>
                      </a:lnTo>
                      <a:lnTo>
                        <a:pt x="1047940" y="1182547"/>
                      </a:lnTo>
                      <a:lnTo>
                        <a:pt x="1050417" y="1180007"/>
                      </a:lnTo>
                      <a:lnTo>
                        <a:pt x="1054087" y="1177467"/>
                      </a:lnTo>
                      <a:lnTo>
                        <a:pt x="1054646" y="1177467"/>
                      </a:lnTo>
                      <a:lnTo>
                        <a:pt x="1056246" y="1178737"/>
                      </a:lnTo>
                      <a:lnTo>
                        <a:pt x="1058468" y="1182547"/>
                      </a:lnTo>
                      <a:lnTo>
                        <a:pt x="1057808" y="1186357"/>
                      </a:lnTo>
                      <a:lnTo>
                        <a:pt x="1057541" y="1188897"/>
                      </a:lnTo>
                      <a:lnTo>
                        <a:pt x="1059256" y="1190167"/>
                      </a:lnTo>
                      <a:lnTo>
                        <a:pt x="1062151" y="1190167"/>
                      </a:lnTo>
                      <a:lnTo>
                        <a:pt x="1063612" y="1191437"/>
                      </a:lnTo>
                      <a:lnTo>
                        <a:pt x="1067054" y="1193977"/>
                      </a:lnTo>
                      <a:lnTo>
                        <a:pt x="1070394" y="1196517"/>
                      </a:lnTo>
                      <a:lnTo>
                        <a:pt x="1073480" y="1196517"/>
                      </a:lnTo>
                      <a:lnTo>
                        <a:pt x="1076388" y="1195247"/>
                      </a:lnTo>
                      <a:lnTo>
                        <a:pt x="1079309" y="1193977"/>
                      </a:lnTo>
                      <a:lnTo>
                        <a:pt x="1080122" y="1193977"/>
                      </a:lnTo>
                      <a:lnTo>
                        <a:pt x="1079995" y="1195247"/>
                      </a:lnTo>
                      <a:lnTo>
                        <a:pt x="1079169" y="1196517"/>
                      </a:lnTo>
                      <a:lnTo>
                        <a:pt x="1080185" y="1197787"/>
                      </a:lnTo>
                      <a:lnTo>
                        <a:pt x="1082370" y="1197787"/>
                      </a:lnTo>
                      <a:lnTo>
                        <a:pt x="1084707" y="1195247"/>
                      </a:lnTo>
                      <a:lnTo>
                        <a:pt x="1086535" y="1192707"/>
                      </a:lnTo>
                      <a:lnTo>
                        <a:pt x="1088237" y="1190167"/>
                      </a:lnTo>
                      <a:lnTo>
                        <a:pt x="1093558" y="1188897"/>
                      </a:lnTo>
                      <a:lnTo>
                        <a:pt x="1096937" y="1187627"/>
                      </a:lnTo>
                      <a:lnTo>
                        <a:pt x="1099350" y="1187627"/>
                      </a:lnTo>
                      <a:lnTo>
                        <a:pt x="1100810" y="1186357"/>
                      </a:lnTo>
                      <a:lnTo>
                        <a:pt x="1102575" y="1182547"/>
                      </a:lnTo>
                      <a:lnTo>
                        <a:pt x="1103464" y="1181277"/>
                      </a:lnTo>
                      <a:lnTo>
                        <a:pt x="1103769" y="1180007"/>
                      </a:lnTo>
                      <a:lnTo>
                        <a:pt x="1103617" y="1180007"/>
                      </a:lnTo>
                      <a:lnTo>
                        <a:pt x="1103718" y="1178737"/>
                      </a:lnTo>
                      <a:lnTo>
                        <a:pt x="1105458" y="1178737"/>
                      </a:lnTo>
                      <a:lnTo>
                        <a:pt x="1112037" y="1174927"/>
                      </a:lnTo>
                      <a:lnTo>
                        <a:pt x="1112939" y="1174927"/>
                      </a:lnTo>
                      <a:lnTo>
                        <a:pt x="1113434" y="1172387"/>
                      </a:lnTo>
                      <a:lnTo>
                        <a:pt x="1113637" y="1171117"/>
                      </a:lnTo>
                      <a:lnTo>
                        <a:pt x="1106982" y="1171117"/>
                      </a:lnTo>
                      <a:lnTo>
                        <a:pt x="1104480" y="1169847"/>
                      </a:lnTo>
                      <a:lnTo>
                        <a:pt x="1103769" y="1169847"/>
                      </a:lnTo>
                      <a:lnTo>
                        <a:pt x="1104366" y="1167307"/>
                      </a:lnTo>
                      <a:lnTo>
                        <a:pt x="1103998" y="1164767"/>
                      </a:lnTo>
                      <a:lnTo>
                        <a:pt x="1101458" y="1158417"/>
                      </a:lnTo>
                      <a:lnTo>
                        <a:pt x="1101318" y="1157147"/>
                      </a:lnTo>
                      <a:lnTo>
                        <a:pt x="1101775" y="1155877"/>
                      </a:lnTo>
                      <a:lnTo>
                        <a:pt x="1101496" y="1154607"/>
                      </a:lnTo>
                      <a:lnTo>
                        <a:pt x="1101204" y="1154607"/>
                      </a:lnTo>
                      <a:lnTo>
                        <a:pt x="1100086" y="1153337"/>
                      </a:lnTo>
                      <a:lnTo>
                        <a:pt x="1097381" y="1150797"/>
                      </a:lnTo>
                      <a:lnTo>
                        <a:pt x="1096505" y="1150797"/>
                      </a:lnTo>
                      <a:lnTo>
                        <a:pt x="1094689" y="1146987"/>
                      </a:lnTo>
                      <a:lnTo>
                        <a:pt x="1096010" y="1146987"/>
                      </a:lnTo>
                      <a:lnTo>
                        <a:pt x="1101166" y="1150797"/>
                      </a:lnTo>
                      <a:lnTo>
                        <a:pt x="1102753" y="1150797"/>
                      </a:lnTo>
                      <a:lnTo>
                        <a:pt x="1103236" y="1152067"/>
                      </a:lnTo>
                      <a:lnTo>
                        <a:pt x="1104722" y="1150797"/>
                      </a:lnTo>
                      <a:lnTo>
                        <a:pt x="1108481" y="1150797"/>
                      </a:lnTo>
                      <a:lnTo>
                        <a:pt x="1111262" y="1152067"/>
                      </a:lnTo>
                      <a:lnTo>
                        <a:pt x="1111821" y="1150797"/>
                      </a:lnTo>
                      <a:lnTo>
                        <a:pt x="1112405" y="1150797"/>
                      </a:lnTo>
                      <a:lnTo>
                        <a:pt x="1113536" y="1152067"/>
                      </a:lnTo>
                      <a:lnTo>
                        <a:pt x="1113993" y="1152067"/>
                      </a:lnTo>
                      <a:lnTo>
                        <a:pt x="1117473" y="1155877"/>
                      </a:lnTo>
                      <a:lnTo>
                        <a:pt x="1120114" y="1155877"/>
                      </a:lnTo>
                      <a:lnTo>
                        <a:pt x="1121054" y="1154607"/>
                      </a:lnTo>
                      <a:lnTo>
                        <a:pt x="1121600" y="1153337"/>
                      </a:lnTo>
                      <a:lnTo>
                        <a:pt x="1122070" y="1152067"/>
                      </a:lnTo>
                      <a:lnTo>
                        <a:pt x="1121943" y="1149527"/>
                      </a:lnTo>
                      <a:lnTo>
                        <a:pt x="1122210" y="1149527"/>
                      </a:lnTo>
                      <a:lnTo>
                        <a:pt x="1124508" y="1148257"/>
                      </a:lnTo>
                      <a:lnTo>
                        <a:pt x="1128102" y="1148257"/>
                      </a:lnTo>
                      <a:lnTo>
                        <a:pt x="1138720" y="1145717"/>
                      </a:lnTo>
                      <a:lnTo>
                        <a:pt x="1139875" y="1145717"/>
                      </a:lnTo>
                      <a:lnTo>
                        <a:pt x="1140777" y="1144447"/>
                      </a:lnTo>
                      <a:lnTo>
                        <a:pt x="1141742" y="1144447"/>
                      </a:lnTo>
                      <a:lnTo>
                        <a:pt x="1142504" y="1143177"/>
                      </a:lnTo>
                      <a:lnTo>
                        <a:pt x="1145552" y="1143177"/>
                      </a:lnTo>
                      <a:lnTo>
                        <a:pt x="1146721" y="1141907"/>
                      </a:lnTo>
                      <a:lnTo>
                        <a:pt x="1147978" y="1141907"/>
                      </a:lnTo>
                      <a:lnTo>
                        <a:pt x="1149032" y="1140637"/>
                      </a:lnTo>
                      <a:lnTo>
                        <a:pt x="1151369" y="1138097"/>
                      </a:lnTo>
                      <a:lnTo>
                        <a:pt x="1151712" y="1138097"/>
                      </a:lnTo>
                      <a:close/>
                    </a:path>
                    <a:path w="2709545" h="2035175">
                      <a:moveTo>
                        <a:pt x="1259941" y="1690547"/>
                      </a:moveTo>
                      <a:lnTo>
                        <a:pt x="1253553" y="1686737"/>
                      </a:lnTo>
                      <a:lnTo>
                        <a:pt x="1252054" y="1685467"/>
                      </a:lnTo>
                      <a:lnTo>
                        <a:pt x="1247940" y="1679117"/>
                      </a:lnTo>
                      <a:lnTo>
                        <a:pt x="1244815" y="1677847"/>
                      </a:lnTo>
                      <a:lnTo>
                        <a:pt x="1243304" y="1676577"/>
                      </a:lnTo>
                      <a:lnTo>
                        <a:pt x="1240840" y="1675307"/>
                      </a:lnTo>
                      <a:lnTo>
                        <a:pt x="1239100" y="1671497"/>
                      </a:lnTo>
                      <a:lnTo>
                        <a:pt x="1236827" y="1670227"/>
                      </a:lnTo>
                      <a:lnTo>
                        <a:pt x="1230452" y="1668957"/>
                      </a:lnTo>
                      <a:lnTo>
                        <a:pt x="1229118" y="1667687"/>
                      </a:lnTo>
                      <a:lnTo>
                        <a:pt x="1224851" y="1661337"/>
                      </a:lnTo>
                      <a:lnTo>
                        <a:pt x="1222387" y="1661337"/>
                      </a:lnTo>
                      <a:lnTo>
                        <a:pt x="1221867" y="1663877"/>
                      </a:lnTo>
                      <a:lnTo>
                        <a:pt x="1220787" y="1663877"/>
                      </a:lnTo>
                      <a:lnTo>
                        <a:pt x="1220266" y="1665147"/>
                      </a:lnTo>
                      <a:lnTo>
                        <a:pt x="1219174" y="1665147"/>
                      </a:lnTo>
                      <a:lnTo>
                        <a:pt x="1219314" y="1662607"/>
                      </a:lnTo>
                      <a:lnTo>
                        <a:pt x="1218044" y="1660067"/>
                      </a:lnTo>
                      <a:lnTo>
                        <a:pt x="1215059" y="1657527"/>
                      </a:lnTo>
                      <a:lnTo>
                        <a:pt x="1213904" y="1656257"/>
                      </a:lnTo>
                      <a:lnTo>
                        <a:pt x="1209497" y="1652447"/>
                      </a:lnTo>
                      <a:lnTo>
                        <a:pt x="1208125" y="1651177"/>
                      </a:lnTo>
                      <a:lnTo>
                        <a:pt x="1206754" y="1649907"/>
                      </a:lnTo>
                      <a:lnTo>
                        <a:pt x="1203388" y="1648637"/>
                      </a:lnTo>
                      <a:lnTo>
                        <a:pt x="1200848" y="1651177"/>
                      </a:lnTo>
                      <a:lnTo>
                        <a:pt x="1200480" y="1652447"/>
                      </a:lnTo>
                      <a:lnTo>
                        <a:pt x="1196848" y="1652447"/>
                      </a:lnTo>
                      <a:lnTo>
                        <a:pt x="1205953" y="1642287"/>
                      </a:lnTo>
                      <a:lnTo>
                        <a:pt x="1210310" y="1637207"/>
                      </a:lnTo>
                      <a:lnTo>
                        <a:pt x="1214234" y="1632127"/>
                      </a:lnTo>
                      <a:lnTo>
                        <a:pt x="1215821" y="1630857"/>
                      </a:lnTo>
                      <a:lnTo>
                        <a:pt x="1219923" y="1627047"/>
                      </a:lnTo>
                      <a:lnTo>
                        <a:pt x="1221981" y="1625777"/>
                      </a:lnTo>
                      <a:lnTo>
                        <a:pt x="1223429" y="1625777"/>
                      </a:lnTo>
                      <a:lnTo>
                        <a:pt x="1223124" y="1624507"/>
                      </a:lnTo>
                      <a:lnTo>
                        <a:pt x="1222400" y="1621967"/>
                      </a:lnTo>
                      <a:lnTo>
                        <a:pt x="1223962" y="1620697"/>
                      </a:lnTo>
                      <a:lnTo>
                        <a:pt x="1226781" y="1620697"/>
                      </a:lnTo>
                      <a:lnTo>
                        <a:pt x="1227137" y="1619427"/>
                      </a:lnTo>
                      <a:lnTo>
                        <a:pt x="1227988" y="1618157"/>
                      </a:lnTo>
                      <a:lnTo>
                        <a:pt x="1228674" y="1618157"/>
                      </a:lnTo>
                      <a:lnTo>
                        <a:pt x="1231125" y="1615617"/>
                      </a:lnTo>
                      <a:lnTo>
                        <a:pt x="1232179" y="1615617"/>
                      </a:lnTo>
                      <a:lnTo>
                        <a:pt x="1235290" y="1611807"/>
                      </a:lnTo>
                      <a:lnTo>
                        <a:pt x="1240167" y="1610537"/>
                      </a:lnTo>
                      <a:lnTo>
                        <a:pt x="1242999" y="1609267"/>
                      </a:lnTo>
                      <a:lnTo>
                        <a:pt x="1246873" y="1607997"/>
                      </a:lnTo>
                      <a:lnTo>
                        <a:pt x="1247470" y="1607997"/>
                      </a:lnTo>
                      <a:lnTo>
                        <a:pt x="1248791" y="1606727"/>
                      </a:lnTo>
                      <a:lnTo>
                        <a:pt x="1249133" y="1606727"/>
                      </a:lnTo>
                      <a:lnTo>
                        <a:pt x="1249845" y="1605457"/>
                      </a:lnTo>
                      <a:lnTo>
                        <a:pt x="1250124" y="1605457"/>
                      </a:lnTo>
                      <a:lnTo>
                        <a:pt x="1250442" y="1604187"/>
                      </a:lnTo>
                      <a:lnTo>
                        <a:pt x="1250911" y="1602917"/>
                      </a:lnTo>
                      <a:lnTo>
                        <a:pt x="1251064" y="1601647"/>
                      </a:lnTo>
                      <a:lnTo>
                        <a:pt x="1251673" y="1599107"/>
                      </a:lnTo>
                      <a:lnTo>
                        <a:pt x="1252969" y="1591487"/>
                      </a:lnTo>
                      <a:lnTo>
                        <a:pt x="1248448" y="1581327"/>
                      </a:lnTo>
                      <a:lnTo>
                        <a:pt x="1247952" y="1581327"/>
                      </a:lnTo>
                      <a:lnTo>
                        <a:pt x="1247216" y="1580057"/>
                      </a:lnTo>
                      <a:lnTo>
                        <a:pt x="1242682" y="1580057"/>
                      </a:lnTo>
                      <a:lnTo>
                        <a:pt x="1241069" y="1581327"/>
                      </a:lnTo>
                      <a:lnTo>
                        <a:pt x="1240485" y="1581327"/>
                      </a:lnTo>
                      <a:lnTo>
                        <a:pt x="1240282" y="1582597"/>
                      </a:lnTo>
                      <a:lnTo>
                        <a:pt x="1240155" y="1581327"/>
                      </a:lnTo>
                      <a:lnTo>
                        <a:pt x="1239824" y="1581327"/>
                      </a:lnTo>
                      <a:lnTo>
                        <a:pt x="1237094" y="1578787"/>
                      </a:lnTo>
                      <a:lnTo>
                        <a:pt x="1236383" y="1586407"/>
                      </a:lnTo>
                      <a:lnTo>
                        <a:pt x="1235938" y="1590217"/>
                      </a:lnTo>
                      <a:lnTo>
                        <a:pt x="1234490" y="1595297"/>
                      </a:lnTo>
                      <a:lnTo>
                        <a:pt x="1234122" y="1595297"/>
                      </a:lnTo>
                      <a:lnTo>
                        <a:pt x="1232776" y="1596567"/>
                      </a:lnTo>
                      <a:lnTo>
                        <a:pt x="1231671" y="1597837"/>
                      </a:lnTo>
                      <a:lnTo>
                        <a:pt x="1229741" y="1600377"/>
                      </a:lnTo>
                      <a:lnTo>
                        <a:pt x="1228623" y="1600377"/>
                      </a:lnTo>
                      <a:lnTo>
                        <a:pt x="1227505" y="1601647"/>
                      </a:lnTo>
                      <a:lnTo>
                        <a:pt x="1226248" y="1602917"/>
                      </a:lnTo>
                      <a:lnTo>
                        <a:pt x="1224572" y="1602917"/>
                      </a:lnTo>
                      <a:lnTo>
                        <a:pt x="1222387" y="1604187"/>
                      </a:lnTo>
                      <a:lnTo>
                        <a:pt x="1222743" y="1606727"/>
                      </a:lnTo>
                      <a:lnTo>
                        <a:pt x="1222032" y="1606727"/>
                      </a:lnTo>
                      <a:lnTo>
                        <a:pt x="1220673" y="1607997"/>
                      </a:lnTo>
                      <a:lnTo>
                        <a:pt x="1220165" y="1607997"/>
                      </a:lnTo>
                      <a:lnTo>
                        <a:pt x="1219339" y="1606727"/>
                      </a:lnTo>
                      <a:lnTo>
                        <a:pt x="1218006" y="1606727"/>
                      </a:lnTo>
                      <a:lnTo>
                        <a:pt x="1217231" y="1607997"/>
                      </a:lnTo>
                      <a:lnTo>
                        <a:pt x="1215110" y="1607997"/>
                      </a:lnTo>
                      <a:lnTo>
                        <a:pt x="1214361" y="1609267"/>
                      </a:lnTo>
                      <a:lnTo>
                        <a:pt x="1212811" y="1609267"/>
                      </a:lnTo>
                      <a:lnTo>
                        <a:pt x="1212672" y="1610537"/>
                      </a:lnTo>
                      <a:lnTo>
                        <a:pt x="1211414" y="1610537"/>
                      </a:lnTo>
                      <a:lnTo>
                        <a:pt x="1210792" y="1609267"/>
                      </a:lnTo>
                      <a:lnTo>
                        <a:pt x="1209636" y="1609267"/>
                      </a:lnTo>
                      <a:lnTo>
                        <a:pt x="1207300" y="1607997"/>
                      </a:lnTo>
                      <a:lnTo>
                        <a:pt x="1196174" y="1607997"/>
                      </a:lnTo>
                      <a:lnTo>
                        <a:pt x="1194054" y="1606727"/>
                      </a:lnTo>
                      <a:lnTo>
                        <a:pt x="1192517" y="1606727"/>
                      </a:lnTo>
                      <a:lnTo>
                        <a:pt x="1189482" y="1605457"/>
                      </a:lnTo>
                      <a:lnTo>
                        <a:pt x="1185964" y="1605457"/>
                      </a:lnTo>
                      <a:lnTo>
                        <a:pt x="1181493" y="1606727"/>
                      </a:lnTo>
                      <a:lnTo>
                        <a:pt x="1181188" y="1605457"/>
                      </a:lnTo>
                      <a:lnTo>
                        <a:pt x="1181582" y="1605457"/>
                      </a:lnTo>
                      <a:lnTo>
                        <a:pt x="1184910" y="1602917"/>
                      </a:lnTo>
                      <a:lnTo>
                        <a:pt x="1187843" y="1592757"/>
                      </a:lnTo>
                      <a:lnTo>
                        <a:pt x="1190688" y="1588947"/>
                      </a:lnTo>
                      <a:lnTo>
                        <a:pt x="1194663" y="1583867"/>
                      </a:lnTo>
                      <a:lnTo>
                        <a:pt x="1196124" y="1581327"/>
                      </a:lnTo>
                      <a:lnTo>
                        <a:pt x="1196238" y="1580057"/>
                      </a:lnTo>
                      <a:lnTo>
                        <a:pt x="1195463" y="1576247"/>
                      </a:lnTo>
                      <a:lnTo>
                        <a:pt x="1194689" y="1576247"/>
                      </a:lnTo>
                      <a:lnTo>
                        <a:pt x="1191082" y="1573707"/>
                      </a:lnTo>
                      <a:lnTo>
                        <a:pt x="1175067" y="1566087"/>
                      </a:lnTo>
                      <a:lnTo>
                        <a:pt x="1169047" y="1562277"/>
                      </a:lnTo>
                      <a:lnTo>
                        <a:pt x="1164374" y="1558467"/>
                      </a:lnTo>
                      <a:lnTo>
                        <a:pt x="1162850" y="1557197"/>
                      </a:lnTo>
                      <a:lnTo>
                        <a:pt x="1159687" y="1555927"/>
                      </a:lnTo>
                      <a:lnTo>
                        <a:pt x="1158024" y="1555927"/>
                      </a:lnTo>
                      <a:lnTo>
                        <a:pt x="1155814" y="1554657"/>
                      </a:lnTo>
                      <a:lnTo>
                        <a:pt x="1151648" y="1554657"/>
                      </a:lnTo>
                      <a:lnTo>
                        <a:pt x="1149502" y="1553387"/>
                      </a:lnTo>
                      <a:lnTo>
                        <a:pt x="1147572" y="1553387"/>
                      </a:lnTo>
                      <a:lnTo>
                        <a:pt x="1145959" y="1552117"/>
                      </a:lnTo>
                      <a:lnTo>
                        <a:pt x="1143127" y="1549577"/>
                      </a:lnTo>
                      <a:lnTo>
                        <a:pt x="1139685" y="1547037"/>
                      </a:lnTo>
                      <a:lnTo>
                        <a:pt x="1138275" y="1545767"/>
                      </a:lnTo>
                      <a:lnTo>
                        <a:pt x="1136688" y="1544497"/>
                      </a:lnTo>
                      <a:lnTo>
                        <a:pt x="1135265" y="1543227"/>
                      </a:lnTo>
                      <a:lnTo>
                        <a:pt x="1133449" y="1540687"/>
                      </a:lnTo>
                      <a:lnTo>
                        <a:pt x="1131862" y="1538147"/>
                      </a:lnTo>
                      <a:lnTo>
                        <a:pt x="1130846" y="1536877"/>
                      </a:lnTo>
                      <a:lnTo>
                        <a:pt x="1129322" y="1534337"/>
                      </a:lnTo>
                      <a:lnTo>
                        <a:pt x="1128445" y="1533067"/>
                      </a:lnTo>
                      <a:lnTo>
                        <a:pt x="1127188" y="1533067"/>
                      </a:lnTo>
                      <a:lnTo>
                        <a:pt x="1124178" y="1530527"/>
                      </a:lnTo>
                      <a:lnTo>
                        <a:pt x="1123924" y="1530527"/>
                      </a:lnTo>
                      <a:lnTo>
                        <a:pt x="1125664" y="1524177"/>
                      </a:lnTo>
                      <a:lnTo>
                        <a:pt x="1127048" y="1520367"/>
                      </a:lnTo>
                      <a:lnTo>
                        <a:pt x="1129131" y="1514017"/>
                      </a:lnTo>
                      <a:lnTo>
                        <a:pt x="1129449" y="1511477"/>
                      </a:lnTo>
                      <a:lnTo>
                        <a:pt x="1129639" y="1507667"/>
                      </a:lnTo>
                      <a:lnTo>
                        <a:pt x="1129969" y="1506397"/>
                      </a:lnTo>
                      <a:lnTo>
                        <a:pt x="1130033" y="1505127"/>
                      </a:lnTo>
                      <a:lnTo>
                        <a:pt x="1130249" y="1503857"/>
                      </a:lnTo>
                      <a:lnTo>
                        <a:pt x="1130515" y="1503857"/>
                      </a:lnTo>
                      <a:lnTo>
                        <a:pt x="1131582" y="1502587"/>
                      </a:lnTo>
                      <a:lnTo>
                        <a:pt x="1132205" y="1501317"/>
                      </a:lnTo>
                      <a:lnTo>
                        <a:pt x="1132687" y="1500047"/>
                      </a:lnTo>
                      <a:lnTo>
                        <a:pt x="1133436" y="1500047"/>
                      </a:lnTo>
                      <a:lnTo>
                        <a:pt x="1134618" y="1497507"/>
                      </a:lnTo>
                      <a:lnTo>
                        <a:pt x="1136091" y="1493697"/>
                      </a:lnTo>
                      <a:lnTo>
                        <a:pt x="1136370" y="1493697"/>
                      </a:lnTo>
                      <a:lnTo>
                        <a:pt x="1137043" y="1492427"/>
                      </a:lnTo>
                      <a:lnTo>
                        <a:pt x="1137958" y="1492427"/>
                      </a:lnTo>
                      <a:lnTo>
                        <a:pt x="1148232" y="1491157"/>
                      </a:lnTo>
                      <a:lnTo>
                        <a:pt x="1152893" y="1489887"/>
                      </a:lnTo>
                      <a:lnTo>
                        <a:pt x="1159992" y="1487347"/>
                      </a:lnTo>
                      <a:lnTo>
                        <a:pt x="1173619" y="1487347"/>
                      </a:lnTo>
                      <a:lnTo>
                        <a:pt x="1186091" y="1494967"/>
                      </a:lnTo>
                      <a:lnTo>
                        <a:pt x="1186230" y="1497507"/>
                      </a:lnTo>
                      <a:lnTo>
                        <a:pt x="1185989" y="1498777"/>
                      </a:lnTo>
                      <a:lnTo>
                        <a:pt x="1182763" y="1505127"/>
                      </a:lnTo>
                      <a:lnTo>
                        <a:pt x="1187932" y="1500047"/>
                      </a:lnTo>
                      <a:lnTo>
                        <a:pt x="1189380" y="1498777"/>
                      </a:lnTo>
                      <a:lnTo>
                        <a:pt x="1189863" y="1498777"/>
                      </a:lnTo>
                      <a:lnTo>
                        <a:pt x="1191958" y="1497507"/>
                      </a:lnTo>
                      <a:lnTo>
                        <a:pt x="1192263" y="1496237"/>
                      </a:lnTo>
                      <a:lnTo>
                        <a:pt x="1191679" y="1494967"/>
                      </a:lnTo>
                      <a:lnTo>
                        <a:pt x="1190396" y="1493697"/>
                      </a:lnTo>
                      <a:lnTo>
                        <a:pt x="1189126" y="1493697"/>
                      </a:lnTo>
                      <a:lnTo>
                        <a:pt x="1189126" y="1496237"/>
                      </a:lnTo>
                      <a:lnTo>
                        <a:pt x="1188961" y="1496237"/>
                      </a:lnTo>
                      <a:lnTo>
                        <a:pt x="1188326" y="1497507"/>
                      </a:lnTo>
                      <a:lnTo>
                        <a:pt x="1188224" y="1494967"/>
                      </a:lnTo>
                      <a:lnTo>
                        <a:pt x="1189126" y="1496237"/>
                      </a:lnTo>
                      <a:lnTo>
                        <a:pt x="1189126" y="1493697"/>
                      </a:lnTo>
                      <a:lnTo>
                        <a:pt x="1189329" y="1492427"/>
                      </a:lnTo>
                      <a:lnTo>
                        <a:pt x="1189570" y="1491157"/>
                      </a:lnTo>
                      <a:lnTo>
                        <a:pt x="1193253" y="1483537"/>
                      </a:lnTo>
                      <a:lnTo>
                        <a:pt x="1193660" y="1482267"/>
                      </a:lnTo>
                      <a:lnTo>
                        <a:pt x="1194269" y="1480997"/>
                      </a:lnTo>
                      <a:lnTo>
                        <a:pt x="1194955" y="1478457"/>
                      </a:lnTo>
                      <a:lnTo>
                        <a:pt x="1195235" y="1477187"/>
                      </a:lnTo>
                      <a:lnTo>
                        <a:pt x="1195374" y="1477187"/>
                      </a:lnTo>
                      <a:lnTo>
                        <a:pt x="1195489" y="1475917"/>
                      </a:lnTo>
                      <a:lnTo>
                        <a:pt x="1195806" y="1473377"/>
                      </a:lnTo>
                      <a:lnTo>
                        <a:pt x="1196263" y="1472107"/>
                      </a:lnTo>
                      <a:lnTo>
                        <a:pt x="1198283" y="1472107"/>
                      </a:lnTo>
                      <a:lnTo>
                        <a:pt x="1197457" y="1469567"/>
                      </a:lnTo>
                      <a:lnTo>
                        <a:pt x="1195527" y="1467027"/>
                      </a:lnTo>
                      <a:lnTo>
                        <a:pt x="1195298" y="1466240"/>
                      </a:lnTo>
                      <a:lnTo>
                        <a:pt x="1195298" y="1469567"/>
                      </a:lnTo>
                      <a:lnTo>
                        <a:pt x="1194866" y="1470837"/>
                      </a:lnTo>
                      <a:lnTo>
                        <a:pt x="1194473" y="1470837"/>
                      </a:lnTo>
                      <a:lnTo>
                        <a:pt x="1194244" y="1472107"/>
                      </a:lnTo>
                      <a:lnTo>
                        <a:pt x="1193736" y="1473377"/>
                      </a:lnTo>
                      <a:lnTo>
                        <a:pt x="1193304" y="1477187"/>
                      </a:lnTo>
                      <a:lnTo>
                        <a:pt x="1193050" y="1477187"/>
                      </a:lnTo>
                      <a:lnTo>
                        <a:pt x="1192618" y="1479727"/>
                      </a:lnTo>
                      <a:lnTo>
                        <a:pt x="1192263" y="1479727"/>
                      </a:lnTo>
                      <a:lnTo>
                        <a:pt x="1191704" y="1482267"/>
                      </a:lnTo>
                      <a:lnTo>
                        <a:pt x="1191323" y="1482267"/>
                      </a:lnTo>
                      <a:lnTo>
                        <a:pt x="1187564" y="1491157"/>
                      </a:lnTo>
                      <a:lnTo>
                        <a:pt x="1187221" y="1492427"/>
                      </a:lnTo>
                      <a:lnTo>
                        <a:pt x="1186713" y="1492427"/>
                      </a:lnTo>
                      <a:lnTo>
                        <a:pt x="1178560" y="1487347"/>
                      </a:lnTo>
                      <a:lnTo>
                        <a:pt x="1174483" y="1484807"/>
                      </a:lnTo>
                      <a:lnTo>
                        <a:pt x="1162227" y="1484807"/>
                      </a:lnTo>
                      <a:lnTo>
                        <a:pt x="1159637" y="1486077"/>
                      </a:lnTo>
                      <a:lnTo>
                        <a:pt x="1152410" y="1487347"/>
                      </a:lnTo>
                      <a:lnTo>
                        <a:pt x="1147851" y="1488617"/>
                      </a:lnTo>
                      <a:lnTo>
                        <a:pt x="1142238" y="1489887"/>
                      </a:lnTo>
                      <a:lnTo>
                        <a:pt x="1137412" y="1489887"/>
                      </a:lnTo>
                      <a:lnTo>
                        <a:pt x="1135722" y="1491157"/>
                      </a:lnTo>
                      <a:lnTo>
                        <a:pt x="1134643" y="1492427"/>
                      </a:lnTo>
                      <a:lnTo>
                        <a:pt x="1134110" y="1493697"/>
                      </a:lnTo>
                      <a:lnTo>
                        <a:pt x="1132713" y="1497507"/>
                      </a:lnTo>
                      <a:lnTo>
                        <a:pt x="1131735" y="1498777"/>
                      </a:lnTo>
                      <a:lnTo>
                        <a:pt x="1130985" y="1498777"/>
                      </a:lnTo>
                      <a:lnTo>
                        <a:pt x="1129817" y="1501317"/>
                      </a:lnTo>
                      <a:lnTo>
                        <a:pt x="1128623" y="1502587"/>
                      </a:lnTo>
                      <a:lnTo>
                        <a:pt x="1128268" y="1503857"/>
                      </a:lnTo>
                      <a:lnTo>
                        <a:pt x="1127950" y="1505127"/>
                      </a:lnTo>
                      <a:lnTo>
                        <a:pt x="1127531" y="1507667"/>
                      </a:lnTo>
                      <a:lnTo>
                        <a:pt x="1127340" y="1511477"/>
                      </a:lnTo>
                      <a:lnTo>
                        <a:pt x="1127048" y="1514017"/>
                      </a:lnTo>
                      <a:lnTo>
                        <a:pt x="1125016" y="1519097"/>
                      </a:lnTo>
                      <a:lnTo>
                        <a:pt x="1123175" y="1525447"/>
                      </a:lnTo>
                      <a:lnTo>
                        <a:pt x="1122311" y="1527987"/>
                      </a:lnTo>
                      <a:lnTo>
                        <a:pt x="1121664" y="1526717"/>
                      </a:lnTo>
                      <a:lnTo>
                        <a:pt x="1120889" y="1525447"/>
                      </a:lnTo>
                      <a:lnTo>
                        <a:pt x="1104341" y="1525447"/>
                      </a:lnTo>
                      <a:lnTo>
                        <a:pt x="1103464" y="1526717"/>
                      </a:lnTo>
                      <a:lnTo>
                        <a:pt x="1103045" y="1526717"/>
                      </a:lnTo>
                      <a:lnTo>
                        <a:pt x="1101369" y="1530527"/>
                      </a:lnTo>
                      <a:lnTo>
                        <a:pt x="1100137" y="1533067"/>
                      </a:lnTo>
                      <a:lnTo>
                        <a:pt x="1098994" y="1536877"/>
                      </a:lnTo>
                      <a:lnTo>
                        <a:pt x="1097318" y="1531797"/>
                      </a:lnTo>
                      <a:lnTo>
                        <a:pt x="1095679" y="1529257"/>
                      </a:lnTo>
                      <a:lnTo>
                        <a:pt x="1094905" y="1529257"/>
                      </a:lnTo>
                      <a:lnTo>
                        <a:pt x="1092187" y="1527987"/>
                      </a:lnTo>
                      <a:lnTo>
                        <a:pt x="1088212" y="1527987"/>
                      </a:lnTo>
                      <a:lnTo>
                        <a:pt x="1085926" y="1526717"/>
                      </a:lnTo>
                      <a:lnTo>
                        <a:pt x="1077633" y="1526717"/>
                      </a:lnTo>
                      <a:lnTo>
                        <a:pt x="1076325" y="1525447"/>
                      </a:lnTo>
                      <a:lnTo>
                        <a:pt x="1073708" y="1522907"/>
                      </a:lnTo>
                      <a:lnTo>
                        <a:pt x="1070825" y="1521637"/>
                      </a:lnTo>
                      <a:lnTo>
                        <a:pt x="1070457" y="1524177"/>
                      </a:lnTo>
                      <a:lnTo>
                        <a:pt x="1070038" y="1526717"/>
                      </a:lnTo>
                      <a:lnTo>
                        <a:pt x="1069467" y="1526717"/>
                      </a:lnTo>
                      <a:lnTo>
                        <a:pt x="1069073" y="1527987"/>
                      </a:lnTo>
                      <a:lnTo>
                        <a:pt x="1066342" y="1527987"/>
                      </a:lnTo>
                      <a:lnTo>
                        <a:pt x="1064437" y="1530527"/>
                      </a:lnTo>
                      <a:lnTo>
                        <a:pt x="1063104" y="1531797"/>
                      </a:lnTo>
                      <a:lnTo>
                        <a:pt x="1061808" y="1533067"/>
                      </a:lnTo>
                      <a:lnTo>
                        <a:pt x="1060348" y="1534337"/>
                      </a:lnTo>
                      <a:lnTo>
                        <a:pt x="1058164" y="1538147"/>
                      </a:lnTo>
                      <a:lnTo>
                        <a:pt x="1048994" y="1538147"/>
                      </a:lnTo>
                      <a:lnTo>
                        <a:pt x="1049248" y="1536877"/>
                      </a:lnTo>
                      <a:lnTo>
                        <a:pt x="1049210" y="1534337"/>
                      </a:lnTo>
                      <a:lnTo>
                        <a:pt x="1048308" y="1531797"/>
                      </a:lnTo>
                      <a:lnTo>
                        <a:pt x="1048334" y="1530527"/>
                      </a:lnTo>
                      <a:lnTo>
                        <a:pt x="1048156" y="1529257"/>
                      </a:lnTo>
                      <a:lnTo>
                        <a:pt x="1046543" y="1526717"/>
                      </a:lnTo>
                      <a:lnTo>
                        <a:pt x="1045972" y="1525447"/>
                      </a:lnTo>
                      <a:lnTo>
                        <a:pt x="1045654" y="1522907"/>
                      </a:lnTo>
                      <a:lnTo>
                        <a:pt x="1045375" y="1521637"/>
                      </a:lnTo>
                      <a:lnTo>
                        <a:pt x="1045311" y="1520367"/>
                      </a:lnTo>
                      <a:lnTo>
                        <a:pt x="1045108" y="1517827"/>
                      </a:lnTo>
                      <a:lnTo>
                        <a:pt x="1044968" y="1517827"/>
                      </a:lnTo>
                      <a:lnTo>
                        <a:pt x="1044740" y="1516557"/>
                      </a:lnTo>
                      <a:lnTo>
                        <a:pt x="1044460" y="1516557"/>
                      </a:lnTo>
                      <a:lnTo>
                        <a:pt x="1044232" y="1515287"/>
                      </a:lnTo>
                      <a:lnTo>
                        <a:pt x="1043673" y="1514017"/>
                      </a:lnTo>
                      <a:lnTo>
                        <a:pt x="1043393" y="1514017"/>
                      </a:lnTo>
                      <a:lnTo>
                        <a:pt x="1043038" y="1512747"/>
                      </a:lnTo>
                      <a:lnTo>
                        <a:pt x="1042314" y="1512747"/>
                      </a:lnTo>
                      <a:lnTo>
                        <a:pt x="1041704" y="1511477"/>
                      </a:lnTo>
                      <a:lnTo>
                        <a:pt x="1040993" y="1510207"/>
                      </a:lnTo>
                      <a:lnTo>
                        <a:pt x="1039863" y="1510207"/>
                      </a:lnTo>
                      <a:lnTo>
                        <a:pt x="1039939" y="1508937"/>
                      </a:lnTo>
                      <a:lnTo>
                        <a:pt x="1040434" y="1507667"/>
                      </a:lnTo>
                      <a:lnTo>
                        <a:pt x="1040523" y="1506397"/>
                      </a:lnTo>
                      <a:lnTo>
                        <a:pt x="1039571" y="1505127"/>
                      </a:lnTo>
                      <a:lnTo>
                        <a:pt x="1039114" y="1505127"/>
                      </a:lnTo>
                      <a:lnTo>
                        <a:pt x="1038491" y="1503857"/>
                      </a:lnTo>
                      <a:lnTo>
                        <a:pt x="1037742" y="1503857"/>
                      </a:lnTo>
                      <a:lnTo>
                        <a:pt x="1036345" y="1502587"/>
                      </a:lnTo>
                      <a:lnTo>
                        <a:pt x="1036142" y="1501317"/>
                      </a:lnTo>
                      <a:lnTo>
                        <a:pt x="1036015" y="1498777"/>
                      </a:lnTo>
                      <a:lnTo>
                        <a:pt x="1037488" y="1498777"/>
                      </a:lnTo>
                      <a:lnTo>
                        <a:pt x="1037958" y="1497507"/>
                      </a:lnTo>
                      <a:lnTo>
                        <a:pt x="1039393" y="1496237"/>
                      </a:lnTo>
                      <a:lnTo>
                        <a:pt x="1039710" y="1494967"/>
                      </a:lnTo>
                      <a:lnTo>
                        <a:pt x="1038517" y="1493697"/>
                      </a:lnTo>
                      <a:lnTo>
                        <a:pt x="1038123" y="1492427"/>
                      </a:lnTo>
                      <a:lnTo>
                        <a:pt x="1037793" y="1492427"/>
                      </a:lnTo>
                      <a:lnTo>
                        <a:pt x="1038098" y="1491157"/>
                      </a:lnTo>
                      <a:lnTo>
                        <a:pt x="1038796" y="1491157"/>
                      </a:lnTo>
                      <a:lnTo>
                        <a:pt x="1039964" y="1489887"/>
                      </a:lnTo>
                      <a:lnTo>
                        <a:pt x="1041730" y="1488617"/>
                      </a:lnTo>
                      <a:lnTo>
                        <a:pt x="1039482" y="1486077"/>
                      </a:lnTo>
                      <a:lnTo>
                        <a:pt x="1035431" y="1483537"/>
                      </a:lnTo>
                      <a:lnTo>
                        <a:pt x="1034859" y="1482267"/>
                      </a:lnTo>
                      <a:lnTo>
                        <a:pt x="1033043" y="1480997"/>
                      </a:lnTo>
                      <a:lnTo>
                        <a:pt x="1032764" y="1478457"/>
                      </a:lnTo>
                      <a:lnTo>
                        <a:pt x="1032560" y="1475917"/>
                      </a:lnTo>
                      <a:lnTo>
                        <a:pt x="1032497" y="1470837"/>
                      </a:lnTo>
                      <a:lnTo>
                        <a:pt x="1032192" y="1469567"/>
                      </a:lnTo>
                      <a:lnTo>
                        <a:pt x="1032065" y="1468297"/>
                      </a:lnTo>
                      <a:lnTo>
                        <a:pt x="1031798" y="1467027"/>
                      </a:lnTo>
                      <a:lnTo>
                        <a:pt x="1030173" y="1467027"/>
                      </a:lnTo>
                      <a:lnTo>
                        <a:pt x="1029919" y="1465757"/>
                      </a:lnTo>
                      <a:lnTo>
                        <a:pt x="1028204" y="1465757"/>
                      </a:lnTo>
                      <a:lnTo>
                        <a:pt x="1026096" y="1460677"/>
                      </a:lnTo>
                      <a:lnTo>
                        <a:pt x="1025817" y="1459407"/>
                      </a:lnTo>
                      <a:lnTo>
                        <a:pt x="1025563" y="1458137"/>
                      </a:lnTo>
                      <a:lnTo>
                        <a:pt x="1024864" y="1458137"/>
                      </a:lnTo>
                      <a:lnTo>
                        <a:pt x="1024115" y="1456867"/>
                      </a:lnTo>
                      <a:lnTo>
                        <a:pt x="1023734" y="1456867"/>
                      </a:lnTo>
                      <a:lnTo>
                        <a:pt x="1024039" y="1455597"/>
                      </a:lnTo>
                      <a:lnTo>
                        <a:pt x="1024737" y="1455597"/>
                      </a:lnTo>
                      <a:lnTo>
                        <a:pt x="1026261" y="1454327"/>
                      </a:lnTo>
                      <a:lnTo>
                        <a:pt x="1027518" y="1453057"/>
                      </a:lnTo>
                      <a:lnTo>
                        <a:pt x="1028814" y="1451787"/>
                      </a:lnTo>
                      <a:lnTo>
                        <a:pt x="1031278" y="1447977"/>
                      </a:lnTo>
                      <a:lnTo>
                        <a:pt x="1031811" y="1446707"/>
                      </a:lnTo>
                      <a:lnTo>
                        <a:pt x="1032497" y="1446707"/>
                      </a:lnTo>
                      <a:lnTo>
                        <a:pt x="1034796" y="1442897"/>
                      </a:lnTo>
                      <a:lnTo>
                        <a:pt x="1034973" y="1442897"/>
                      </a:lnTo>
                      <a:lnTo>
                        <a:pt x="1035291" y="1441627"/>
                      </a:lnTo>
                      <a:lnTo>
                        <a:pt x="1034313" y="1440357"/>
                      </a:lnTo>
                      <a:lnTo>
                        <a:pt x="1029271" y="1440357"/>
                      </a:lnTo>
                      <a:lnTo>
                        <a:pt x="1028814" y="1439087"/>
                      </a:lnTo>
                      <a:lnTo>
                        <a:pt x="1028052" y="1435277"/>
                      </a:lnTo>
                      <a:lnTo>
                        <a:pt x="1027010" y="1431467"/>
                      </a:lnTo>
                      <a:lnTo>
                        <a:pt x="1027277" y="1431467"/>
                      </a:lnTo>
                      <a:lnTo>
                        <a:pt x="1030439" y="1427657"/>
                      </a:lnTo>
                      <a:lnTo>
                        <a:pt x="1030973" y="1426387"/>
                      </a:lnTo>
                      <a:lnTo>
                        <a:pt x="1028573" y="1422577"/>
                      </a:lnTo>
                      <a:lnTo>
                        <a:pt x="1027925" y="1420037"/>
                      </a:lnTo>
                      <a:lnTo>
                        <a:pt x="1029855" y="1417497"/>
                      </a:lnTo>
                      <a:lnTo>
                        <a:pt x="1030236" y="1417497"/>
                      </a:lnTo>
                      <a:lnTo>
                        <a:pt x="1030643" y="1416227"/>
                      </a:lnTo>
                      <a:lnTo>
                        <a:pt x="1032395" y="1414957"/>
                      </a:lnTo>
                      <a:lnTo>
                        <a:pt x="1033043" y="1414957"/>
                      </a:lnTo>
                      <a:lnTo>
                        <a:pt x="1033195" y="1413687"/>
                      </a:lnTo>
                      <a:lnTo>
                        <a:pt x="1033767" y="1412417"/>
                      </a:lnTo>
                      <a:lnTo>
                        <a:pt x="1034707" y="1412417"/>
                      </a:lnTo>
                      <a:lnTo>
                        <a:pt x="1034999" y="1411147"/>
                      </a:lnTo>
                      <a:lnTo>
                        <a:pt x="1034199" y="1409877"/>
                      </a:lnTo>
                      <a:lnTo>
                        <a:pt x="1032967" y="1406067"/>
                      </a:lnTo>
                      <a:lnTo>
                        <a:pt x="1032471" y="1404797"/>
                      </a:lnTo>
                      <a:lnTo>
                        <a:pt x="1032205" y="1403527"/>
                      </a:lnTo>
                      <a:lnTo>
                        <a:pt x="1031836" y="1403527"/>
                      </a:lnTo>
                      <a:lnTo>
                        <a:pt x="1031887" y="1400987"/>
                      </a:lnTo>
                      <a:lnTo>
                        <a:pt x="1032192" y="1399717"/>
                      </a:lnTo>
                      <a:lnTo>
                        <a:pt x="1032700" y="1398447"/>
                      </a:lnTo>
                      <a:lnTo>
                        <a:pt x="1033208" y="1395907"/>
                      </a:lnTo>
                      <a:lnTo>
                        <a:pt x="1033513" y="1394637"/>
                      </a:lnTo>
                      <a:lnTo>
                        <a:pt x="1033780" y="1394637"/>
                      </a:lnTo>
                      <a:lnTo>
                        <a:pt x="1034326" y="1393367"/>
                      </a:lnTo>
                      <a:lnTo>
                        <a:pt x="1037247" y="1388287"/>
                      </a:lnTo>
                      <a:lnTo>
                        <a:pt x="1037475" y="1387017"/>
                      </a:lnTo>
                      <a:lnTo>
                        <a:pt x="1033170" y="1378127"/>
                      </a:lnTo>
                      <a:lnTo>
                        <a:pt x="1025982" y="1365427"/>
                      </a:lnTo>
                      <a:lnTo>
                        <a:pt x="1027239" y="1365427"/>
                      </a:lnTo>
                      <a:lnTo>
                        <a:pt x="1029385" y="1366697"/>
                      </a:lnTo>
                      <a:lnTo>
                        <a:pt x="1033602" y="1366697"/>
                      </a:lnTo>
                      <a:lnTo>
                        <a:pt x="1034961" y="1367967"/>
                      </a:lnTo>
                      <a:lnTo>
                        <a:pt x="1037196" y="1367967"/>
                      </a:lnTo>
                      <a:lnTo>
                        <a:pt x="1038148" y="1366697"/>
                      </a:lnTo>
                      <a:lnTo>
                        <a:pt x="1041323" y="1366697"/>
                      </a:lnTo>
                      <a:lnTo>
                        <a:pt x="1042924" y="1365427"/>
                      </a:lnTo>
                      <a:lnTo>
                        <a:pt x="1044448" y="1362887"/>
                      </a:lnTo>
                      <a:lnTo>
                        <a:pt x="1048461" y="1362887"/>
                      </a:lnTo>
                      <a:lnTo>
                        <a:pt x="1049642" y="1361617"/>
                      </a:lnTo>
                      <a:lnTo>
                        <a:pt x="1051229" y="1361617"/>
                      </a:lnTo>
                      <a:lnTo>
                        <a:pt x="1051852" y="1360347"/>
                      </a:lnTo>
                      <a:lnTo>
                        <a:pt x="1052766" y="1359077"/>
                      </a:lnTo>
                      <a:lnTo>
                        <a:pt x="1054049" y="1357807"/>
                      </a:lnTo>
                      <a:lnTo>
                        <a:pt x="1057668" y="1356537"/>
                      </a:lnTo>
                      <a:lnTo>
                        <a:pt x="1059954" y="1355267"/>
                      </a:lnTo>
                      <a:lnTo>
                        <a:pt x="1063815" y="1351457"/>
                      </a:lnTo>
                      <a:lnTo>
                        <a:pt x="1065555" y="1350187"/>
                      </a:lnTo>
                      <a:lnTo>
                        <a:pt x="1067790" y="1350187"/>
                      </a:lnTo>
                      <a:lnTo>
                        <a:pt x="1075855" y="1347647"/>
                      </a:lnTo>
                      <a:lnTo>
                        <a:pt x="1077150" y="1347647"/>
                      </a:lnTo>
                      <a:lnTo>
                        <a:pt x="1079119" y="1348917"/>
                      </a:lnTo>
                      <a:lnTo>
                        <a:pt x="1081900" y="1348917"/>
                      </a:lnTo>
                      <a:lnTo>
                        <a:pt x="1082929" y="1347647"/>
                      </a:lnTo>
                      <a:lnTo>
                        <a:pt x="1083424" y="1347647"/>
                      </a:lnTo>
                      <a:lnTo>
                        <a:pt x="1083576" y="1348917"/>
                      </a:lnTo>
                      <a:lnTo>
                        <a:pt x="1083449" y="1350187"/>
                      </a:lnTo>
                      <a:lnTo>
                        <a:pt x="1082573" y="1355267"/>
                      </a:lnTo>
                      <a:lnTo>
                        <a:pt x="1082408" y="1355267"/>
                      </a:lnTo>
                      <a:lnTo>
                        <a:pt x="1082357" y="1356537"/>
                      </a:lnTo>
                      <a:lnTo>
                        <a:pt x="1082154" y="1357807"/>
                      </a:lnTo>
                      <a:lnTo>
                        <a:pt x="1082179" y="1360347"/>
                      </a:lnTo>
                      <a:lnTo>
                        <a:pt x="1082255" y="1361617"/>
                      </a:lnTo>
                      <a:lnTo>
                        <a:pt x="1082344" y="1362887"/>
                      </a:lnTo>
                      <a:lnTo>
                        <a:pt x="1082636" y="1364157"/>
                      </a:lnTo>
                      <a:lnTo>
                        <a:pt x="1082992" y="1365427"/>
                      </a:lnTo>
                      <a:lnTo>
                        <a:pt x="1082738" y="1366697"/>
                      </a:lnTo>
                      <a:lnTo>
                        <a:pt x="1082408" y="1366697"/>
                      </a:lnTo>
                      <a:lnTo>
                        <a:pt x="1082281" y="1367967"/>
                      </a:lnTo>
                      <a:lnTo>
                        <a:pt x="1082382" y="1369237"/>
                      </a:lnTo>
                      <a:lnTo>
                        <a:pt x="1082713" y="1369237"/>
                      </a:lnTo>
                      <a:lnTo>
                        <a:pt x="1082992" y="1370507"/>
                      </a:lnTo>
                      <a:lnTo>
                        <a:pt x="1083538" y="1371777"/>
                      </a:lnTo>
                      <a:lnTo>
                        <a:pt x="1085049" y="1373047"/>
                      </a:lnTo>
                      <a:lnTo>
                        <a:pt x="1085621" y="1374317"/>
                      </a:lnTo>
                      <a:lnTo>
                        <a:pt x="1087183" y="1378127"/>
                      </a:lnTo>
                      <a:lnTo>
                        <a:pt x="1094333" y="1383207"/>
                      </a:lnTo>
                      <a:lnTo>
                        <a:pt x="1097711" y="1387017"/>
                      </a:lnTo>
                      <a:lnTo>
                        <a:pt x="1099540" y="1388287"/>
                      </a:lnTo>
                      <a:lnTo>
                        <a:pt x="1105585" y="1388287"/>
                      </a:lnTo>
                      <a:lnTo>
                        <a:pt x="1105839" y="1387017"/>
                      </a:lnTo>
                      <a:lnTo>
                        <a:pt x="1108265" y="1387017"/>
                      </a:lnTo>
                      <a:lnTo>
                        <a:pt x="1113218" y="1389557"/>
                      </a:lnTo>
                      <a:lnTo>
                        <a:pt x="1115656" y="1389557"/>
                      </a:lnTo>
                      <a:lnTo>
                        <a:pt x="1116469" y="1392097"/>
                      </a:lnTo>
                      <a:lnTo>
                        <a:pt x="1117371" y="1392097"/>
                      </a:lnTo>
                      <a:lnTo>
                        <a:pt x="1117777" y="1393367"/>
                      </a:lnTo>
                      <a:lnTo>
                        <a:pt x="1119352" y="1394637"/>
                      </a:lnTo>
                      <a:lnTo>
                        <a:pt x="1120648" y="1394637"/>
                      </a:lnTo>
                      <a:lnTo>
                        <a:pt x="1122349" y="1395907"/>
                      </a:lnTo>
                      <a:lnTo>
                        <a:pt x="1127506" y="1395907"/>
                      </a:lnTo>
                      <a:lnTo>
                        <a:pt x="1129080" y="1397177"/>
                      </a:lnTo>
                      <a:lnTo>
                        <a:pt x="1129449" y="1397177"/>
                      </a:lnTo>
                      <a:lnTo>
                        <a:pt x="1130960" y="1399717"/>
                      </a:lnTo>
                      <a:lnTo>
                        <a:pt x="1132014" y="1400987"/>
                      </a:lnTo>
                      <a:lnTo>
                        <a:pt x="1132928" y="1402257"/>
                      </a:lnTo>
                      <a:lnTo>
                        <a:pt x="1133335" y="1402257"/>
                      </a:lnTo>
                      <a:lnTo>
                        <a:pt x="1134745" y="1403527"/>
                      </a:lnTo>
                      <a:lnTo>
                        <a:pt x="1137424" y="1402257"/>
                      </a:lnTo>
                      <a:lnTo>
                        <a:pt x="1146251" y="1402257"/>
                      </a:lnTo>
                      <a:lnTo>
                        <a:pt x="1148715" y="1404797"/>
                      </a:lnTo>
                      <a:lnTo>
                        <a:pt x="1150480" y="1406067"/>
                      </a:lnTo>
                      <a:lnTo>
                        <a:pt x="1152702" y="1407337"/>
                      </a:lnTo>
                      <a:lnTo>
                        <a:pt x="1153388" y="1408607"/>
                      </a:lnTo>
                      <a:lnTo>
                        <a:pt x="1153604" y="1409877"/>
                      </a:lnTo>
                      <a:lnTo>
                        <a:pt x="1153642" y="1412417"/>
                      </a:lnTo>
                      <a:lnTo>
                        <a:pt x="1155700" y="1420037"/>
                      </a:lnTo>
                      <a:lnTo>
                        <a:pt x="1155827" y="1421307"/>
                      </a:lnTo>
                      <a:lnTo>
                        <a:pt x="1155903" y="1422577"/>
                      </a:lnTo>
                      <a:lnTo>
                        <a:pt x="1155598" y="1423847"/>
                      </a:lnTo>
                      <a:lnTo>
                        <a:pt x="1150670" y="1423847"/>
                      </a:lnTo>
                      <a:lnTo>
                        <a:pt x="1154226" y="1427657"/>
                      </a:lnTo>
                      <a:lnTo>
                        <a:pt x="1156804" y="1431467"/>
                      </a:lnTo>
                      <a:lnTo>
                        <a:pt x="1156982" y="1437817"/>
                      </a:lnTo>
                      <a:lnTo>
                        <a:pt x="1157122" y="1439087"/>
                      </a:lnTo>
                      <a:lnTo>
                        <a:pt x="1157224" y="1441627"/>
                      </a:lnTo>
                      <a:lnTo>
                        <a:pt x="1157478" y="1442897"/>
                      </a:lnTo>
                      <a:lnTo>
                        <a:pt x="1183627" y="1442897"/>
                      </a:lnTo>
                      <a:lnTo>
                        <a:pt x="1183500" y="1444167"/>
                      </a:lnTo>
                      <a:lnTo>
                        <a:pt x="1182573" y="1445437"/>
                      </a:lnTo>
                      <a:lnTo>
                        <a:pt x="1181277" y="1447977"/>
                      </a:lnTo>
                      <a:lnTo>
                        <a:pt x="1182243" y="1455597"/>
                      </a:lnTo>
                      <a:lnTo>
                        <a:pt x="1183157" y="1456867"/>
                      </a:lnTo>
                      <a:lnTo>
                        <a:pt x="1187564" y="1460677"/>
                      </a:lnTo>
                      <a:lnTo>
                        <a:pt x="1191374" y="1460677"/>
                      </a:lnTo>
                      <a:lnTo>
                        <a:pt x="1191666" y="1461947"/>
                      </a:lnTo>
                      <a:lnTo>
                        <a:pt x="1192530" y="1464487"/>
                      </a:lnTo>
                      <a:lnTo>
                        <a:pt x="1193177" y="1467027"/>
                      </a:lnTo>
                      <a:lnTo>
                        <a:pt x="1193952" y="1468297"/>
                      </a:lnTo>
                      <a:lnTo>
                        <a:pt x="1195044" y="1469567"/>
                      </a:lnTo>
                      <a:lnTo>
                        <a:pt x="1195298" y="1469567"/>
                      </a:lnTo>
                      <a:lnTo>
                        <a:pt x="1195298" y="1466240"/>
                      </a:lnTo>
                      <a:lnTo>
                        <a:pt x="1195158" y="1465757"/>
                      </a:lnTo>
                      <a:lnTo>
                        <a:pt x="1194536" y="1463217"/>
                      </a:lnTo>
                      <a:lnTo>
                        <a:pt x="1193025" y="1459407"/>
                      </a:lnTo>
                      <a:lnTo>
                        <a:pt x="1188427" y="1458137"/>
                      </a:lnTo>
                      <a:lnTo>
                        <a:pt x="1184948" y="1455597"/>
                      </a:lnTo>
                      <a:lnTo>
                        <a:pt x="1184275" y="1454327"/>
                      </a:lnTo>
                      <a:lnTo>
                        <a:pt x="1183576" y="1449247"/>
                      </a:lnTo>
                      <a:lnTo>
                        <a:pt x="1183436" y="1447977"/>
                      </a:lnTo>
                      <a:lnTo>
                        <a:pt x="1184516" y="1446707"/>
                      </a:lnTo>
                      <a:lnTo>
                        <a:pt x="1185494" y="1444167"/>
                      </a:lnTo>
                      <a:lnTo>
                        <a:pt x="1185760" y="1442897"/>
                      </a:lnTo>
                      <a:lnTo>
                        <a:pt x="1185672" y="1441627"/>
                      </a:lnTo>
                      <a:lnTo>
                        <a:pt x="1185202" y="1441627"/>
                      </a:lnTo>
                      <a:lnTo>
                        <a:pt x="1184973" y="1440357"/>
                      </a:lnTo>
                      <a:lnTo>
                        <a:pt x="1159294" y="1440357"/>
                      </a:lnTo>
                      <a:lnTo>
                        <a:pt x="1159167" y="1437817"/>
                      </a:lnTo>
                      <a:lnTo>
                        <a:pt x="1158900" y="1430197"/>
                      </a:lnTo>
                      <a:lnTo>
                        <a:pt x="1157020" y="1427657"/>
                      </a:lnTo>
                      <a:lnTo>
                        <a:pt x="1154849" y="1425117"/>
                      </a:lnTo>
                      <a:lnTo>
                        <a:pt x="1157224" y="1425117"/>
                      </a:lnTo>
                      <a:lnTo>
                        <a:pt x="1157566" y="1423847"/>
                      </a:lnTo>
                      <a:lnTo>
                        <a:pt x="1157922" y="1423847"/>
                      </a:lnTo>
                      <a:lnTo>
                        <a:pt x="1157986" y="1422577"/>
                      </a:lnTo>
                      <a:lnTo>
                        <a:pt x="1157897" y="1421307"/>
                      </a:lnTo>
                      <a:lnTo>
                        <a:pt x="1157808" y="1418767"/>
                      </a:lnTo>
                      <a:lnTo>
                        <a:pt x="1155763" y="1412417"/>
                      </a:lnTo>
                      <a:lnTo>
                        <a:pt x="1155788" y="1409877"/>
                      </a:lnTo>
                      <a:lnTo>
                        <a:pt x="1156004" y="1408607"/>
                      </a:lnTo>
                      <a:lnTo>
                        <a:pt x="1155788" y="1407337"/>
                      </a:lnTo>
                      <a:lnTo>
                        <a:pt x="1154899" y="1407337"/>
                      </a:lnTo>
                      <a:lnTo>
                        <a:pt x="1153134" y="1404797"/>
                      </a:lnTo>
                      <a:lnTo>
                        <a:pt x="1151813" y="1403527"/>
                      </a:lnTo>
                      <a:lnTo>
                        <a:pt x="1149870" y="1402257"/>
                      </a:lnTo>
                      <a:lnTo>
                        <a:pt x="1148562" y="1402257"/>
                      </a:lnTo>
                      <a:lnTo>
                        <a:pt x="1147406" y="1400987"/>
                      </a:lnTo>
                      <a:lnTo>
                        <a:pt x="1146416" y="1400987"/>
                      </a:lnTo>
                      <a:lnTo>
                        <a:pt x="1144485" y="1399717"/>
                      </a:lnTo>
                      <a:lnTo>
                        <a:pt x="1138161" y="1399717"/>
                      </a:lnTo>
                      <a:lnTo>
                        <a:pt x="1136053" y="1400987"/>
                      </a:lnTo>
                      <a:lnTo>
                        <a:pt x="1134745" y="1400987"/>
                      </a:lnTo>
                      <a:lnTo>
                        <a:pt x="1133487" y="1398447"/>
                      </a:lnTo>
                      <a:lnTo>
                        <a:pt x="1132535" y="1398447"/>
                      </a:lnTo>
                      <a:lnTo>
                        <a:pt x="1130515" y="1394637"/>
                      </a:lnTo>
                      <a:lnTo>
                        <a:pt x="1127988" y="1394637"/>
                      </a:lnTo>
                      <a:lnTo>
                        <a:pt x="1122133" y="1393367"/>
                      </a:lnTo>
                      <a:lnTo>
                        <a:pt x="1119060" y="1390827"/>
                      </a:lnTo>
                      <a:lnTo>
                        <a:pt x="1118273" y="1390827"/>
                      </a:lnTo>
                      <a:lnTo>
                        <a:pt x="1117333" y="1388287"/>
                      </a:lnTo>
                      <a:lnTo>
                        <a:pt x="1116444" y="1388287"/>
                      </a:lnTo>
                      <a:lnTo>
                        <a:pt x="1115872" y="1387017"/>
                      </a:lnTo>
                      <a:lnTo>
                        <a:pt x="1113713" y="1387017"/>
                      </a:lnTo>
                      <a:lnTo>
                        <a:pt x="1110107" y="1385747"/>
                      </a:lnTo>
                      <a:lnTo>
                        <a:pt x="1098905" y="1385747"/>
                      </a:lnTo>
                      <a:lnTo>
                        <a:pt x="1095756" y="1381937"/>
                      </a:lnTo>
                      <a:lnTo>
                        <a:pt x="1088885" y="1376857"/>
                      </a:lnTo>
                      <a:lnTo>
                        <a:pt x="1087513" y="1374317"/>
                      </a:lnTo>
                      <a:lnTo>
                        <a:pt x="1086789" y="1373047"/>
                      </a:lnTo>
                      <a:lnTo>
                        <a:pt x="1085392" y="1370507"/>
                      </a:lnTo>
                      <a:lnTo>
                        <a:pt x="1084884" y="1369237"/>
                      </a:lnTo>
                      <a:lnTo>
                        <a:pt x="1084567" y="1369237"/>
                      </a:lnTo>
                      <a:lnTo>
                        <a:pt x="1084516" y="1367967"/>
                      </a:lnTo>
                      <a:lnTo>
                        <a:pt x="1085049" y="1366697"/>
                      </a:lnTo>
                      <a:lnTo>
                        <a:pt x="1085215" y="1365427"/>
                      </a:lnTo>
                      <a:lnTo>
                        <a:pt x="1084440" y="1362887"/>
                      </a:lnTo>
                      <a:lnTo>
                        <a:pt x="1084402" y="1361617"/>
                      </a:lnTo>
                      <a:lnTo>
                        <a:pt x="1084262" y="1357807"/>
                      </a:lnTo>
                      <a:lnTo>
                        <a:pt x="1084465" y="1356537"/>
                      </a:lnTo>
                      <a:lnTo>
                        <a:pt x="1084656" y="1355267"/>
                      </a:lnTo>
                      <a:lnTo>
                        <a:pt x="1085494" y="1350187"/>
                      </a:lnTo>
                      <a:lnTo>
                        <a:pt x="1085748" y="1348917"/>
                      </a:lnTo>
                      <a:lnTo>
                        <a:pt x="1085443" y="1347647"/>
                      </a:lnTo>
                      <a:lnTo>
                        <a:pt x="1085240" y="1346377"/>
                      </a:lnTo>
                      <a:lnTo>
                        <a:pt x="1084986" y="1346377"/>
                      </a:lnTo>
                      <a:lnTo>
                        <a:pt x="1084338" y="1345107"/>
                      </a:lnTo>
                      <a:lnTo>
                        <a:pt x="1081697" y="1345107"/>
                      </a:lnTo>
                      <a:lnTo>
                        <a:pt x="1081265" y="1346377"/>
                      </a:lnTo>
                      <a:lnTo>
                        <a:pt x="1075486" y="1346377"/>
                      </a:lnTo>
                      <a:lnTo>
                        <a:pt x="1067854" y="1347647"/>
                      </a:lnTo>
                      <a:lnTo>
                        <a:pt x="1066050" y="1347647"/>
                      </a:lnTo>
                      <a:lnTo>
                        <a:pt x="1064514" y="1348917"/>
                      </a:lnTo>
                      <a:lnTo>
                        <a:pt x="1061872" y="1350187"/>
                      </a:lnTo>
                      <a:lnTo>
                        <a:pt x="1058710" y="1353997"/>
                      </a:lnTo>
                      <a:lnTo>
                        <a:pt x="1056665" y="1355267"/>
                      </a:lnTo>
                      <a:lnTo>
                        <a:pt x="1053020" y="1356537"/>
                      </a:lnTo>
                      <a:lnTo>
                        <a:pt x="1051331" y="1357807"/>
                      </a:lnTo>
                      <a:lnTo>
                        <a:pt x="1050163" y="1359077"/>
                      </a:lnTo>
                      <a:lnTo>
                        <a:pt x="1049680" y="1359077"/>
                      </a:lnTo>
                      <a:lnTo>
                        <a:pt x="1048816" y="1360347"/>
                      </a:lnTo>
                      <a:lnTo>
                        <a:pt x="1045387" y="1360347"/>
                      </a:lnTo>
                      <a:lnTo>
                        <a:pt x="1043203" y="1361617"/>
                      </a:lnTo>
                      <a:lnTo>
                        <a:pt x="1041463" y="1364157"/>
                      </a:lnTo>
                      <a:lnTo>
                        <a:pt x="1039672" y="1364157"/>
                      </a:lnTo>
                      <a:lnTo>
                        <a:pt x="1038644" y="1365427"/>
                      </a:lnTo>
                      <a:lnTo>
                        <a:pt x="1033043" y="1365427"/>
                      </a:lnTo>
                      <a:lnTo>
                        <a:pt x="1029589" y="1364157"/>
                      </a:lnTo>
                      <a:lnTo>
                        <a:pt x="1024191" y="1364157"/>
                      </a:lnTo>
                      <a:lnTo>
                        <a:pt x="1021080" y="1361617"/>
                      </a:lnTo>
                      <a:lnTo>
                        <a:pt x="1021892" y="1362887"/>
                      </a:lnTo>
                      <a:lnTo>
                        <a:pt x="1016673" y="1362887"/>
                      </a:lnTo>
                      <a:lnTo>
                        <a:pt x="1014336" y="1364157"/>
                      </a:lnTo>
                      <a:lnTo>
                        <a:pt x="1013015" y="1364157"/>
                      </a:lnTo>
                      <a:lnTo>
                        <a:pt x="1010323" y="1362887"/>
                      </a:lnTo>
                      <a:lnTo>
                        <a:pt x="1009484" y="1362887"/>
                      </a:lnTo>
                      <a:lnTo>
                        <a:pt x="1008837" y="1351457"/>
                      </a:lnTo>
                      <a:lnTo>
                        <a:pt x="1010691" y="1346377"/>
                      </a:lnTo>
                      <a:lnTo>
                        <a:pt x="1010666" y="1345107"/>
                      </a:lnTo>
                      <a:lnTo>
                        <a:pt x="1010107" y="1343837"/>
                      </a:lnTo>
                      <a:lnTo>
                        <a:pt x="1010500" y="1343837"/>
                      </a:lnTo>
                      <a:lnTo>
                        <a:pt x="1012355" y="1340027"/>
                      </a:lnTo>
                      <a:lnTo>
                        <a:pt x="1007986" y="1342567"/>
                      </a:lnTo>
                      <a:lnTo>
                        <a:pt x="1005700" y="1343837"/>
                      </a:lnTo>
                      <a:lnTo>
                        <a:pt x="1003617" y="1345107"/>
                      </a:lnTo>
                      <a:lnTo>
                        <a:pt x="1002677" y="1346377"/>
                      </a:lnTo>
                      <a:lnTo>
                        <a:pt x="1002131" y="1347647"/>
                      </a:lnTo>
                      <a:lnTo>
                        <a:pt x="1000569" y="1347647"/>
                      </a:lnTo>
                      <a:lnTo>
                        <a:pt x="1000061" y="1348917"/>
                      </a:lnTo>
                      <a:lnTo>
                        <a:pt x="997889" y="1348917"/>
                      </a:lnTo>
                      <a:lnTo>
                        <a:pt x="996480" y="1350187"/>
                      </a:lnTo>
                      <a:lnTo>
                        <a:pt x="993114" y="1350187"/>
                      </a:lnTo>
                      <a:lnTo>
                        <a:pt x="988402" y="1348917"/>
                      </a:lnTo>
                      <a:lnTo>
                        <a:pt x="987767" y="1348917"/>
                      </a:lnTo>
                      <a:lnTo>
                        <a:pt x="987501" y="1347647"/>
                      </a:lnTo>
                      <a:lnTo>
                        <a:pt x="986917" y="1346377"/>
                      </a:lnTo>
                      <a:lnTo>
                        <a:pt x="986205" y="1345107"/>
                      </a:lnTo>
                      <a:lnTo>
                        <a:pt x="984986" y="1341297"/>
                      </a:lnTo>
                      <a:lnTo>
                        <a:pt x="974064" y="1341297"/>
                      </a:lnTo>
                      <a:lnTo>
                        <a:pt x="975436" y="1340027"/>
                      </a:lnTo>
                      <a:lnTo>
                        <a:pt x="976477" y="1337487"/>
                      </a:lnTo>
                      <a:lnTo>
                        <a:pt x="976172" y="1334947"/>
                      </a:lnTo>
                      <a:lnTo>
                        <a:pt x="973645" y="1332407"/>
                      </a:lnTo>
                      <a:lnTo>
                        <a:pt x="969162" y="1327327"/>
                      </a:lnTo>
                      <a:lnTo>
                        <a:pt x="967219" y="1323517"/>
                      </a:lnTo>
                      <a:lnTo>
                        <a:pt x="966139" y="1319707"/>
                      </a:lnTo>
                      <a:lnTo>
                        <a:pt x="964895" y="1317167"/>
                      </a:lnTo>
                      <a:lnTo>
                        <a:pt x="962152" y="1314627"/>
                      </a:lnTo>
                      <a:lnTo>
                        <a:pt x="964412" y="1313357"/>
                      </a:lnTo>
                      <a:lnTo>
                        <a:pt x="965047" y="1313357"/>
                      </a:lnTo>
                      <a:lnTo>
                        <a:pt x="965669" y="1310817"/>
                      </a:lnTo>
                      <a:lnTo>
                        <a:pt x="964768" y="1309547"/>
                      </a:lnTo>
                      <a:lnTo>
                        <a:pt x="964196" y="1308277"/>
                      </a:lnTo>
                      <a:lnTo>
                        <a:pt x="965847" y="1304467"/>
                      </a:lnTo>
                      <a:lnTo>
                        <a:pt x="966990" y="1304467"/>
                      </a:lnTo>
                      <a:lnTo>
                        <a:pt x="969454" y="1301927"/>
                      </a:lnTo>
                      <a:lnTo>
                        <a:pt x="972159" y="1300657"/>
                      </a:lnTo>
                      <a:lnTo>
                        <a:pt x="972743" y="1300657"/>
                      </a:lnTo>
                      <a:lnTo>
                        <a:pt x="973772" y="1299387"/>
                      </a:lnTo>
                      <a:lnTo>
                        <a:pt x="973747" y="1298117"/>
                      </a:lnTo>
                      <a:lnTo>
                        <a:pt x="973594" y="1298117"/>
                      </a:lnTo>
                      <a:lnTo>
                        <a:pt x="973531" y="1296847"/>
                      </a:lnTo>
                      <a:lnTo>
                        <a:pt x="973264" y="1295577"/>
                      </a:lnTo>
                      <a:lnTo>
                        <a:pt x="973289" y="1294307"/>
                      </a:lnTo>
                      <a:lnTo>
                        <a:pt x="973493" y="1294307"/>
                      </a:lnTo>
                      <a:lnTo>
                        <a:pt x="973785" y="1293037"/>
                      </a:lnTo>
                      <a:lnTo>
                        <a:pt x="975398" y="1290497"/>
                      </a:lnTo>
                      <a:lnTo>
                        <a:pt x="975842" y="1287957"/>
                      </a:lnTo>
                      <a:lnTo>
                        <a:pt x="976071" y="1287957"/>
                      </a:lnTo>
                      <a:lnTo>
                        <a:pt x="976185" y="1286687"/>
                      </a:lnTo>
                      <a:lnTo>
                        <a:pt x="976693" y="1285417"/>
                      </a:lnTo>
                      <a:lnTo>
                        <a:pt x="977519" y="1281607"/>
                      </a:lnTo>
                      <a:lnTo>
                        <a:pt x="977658" y="1280337"/>
                      </a:lnTo>
                      <a:lnTo>
                        <a:pt x="978941" y="1280337"/>
                      </a:lnTo>
                      <a:lnTo>
                        <a:pt x="979525" y="1279067"/>
                      </a:lnTo>
                      <a:lnTo>
                        <a:pt x="980948" y="1279067"/>
                      </a:lnTo>
                      <a:lnTo>
                        <a:pt x="985278" y="1275257"/>
                      </a:lnTo>
                      <a:lnTo>
                        <a:pt x="986231" y="1275257"/>
                      </a:lnTo>
                      <a:lnTo>
                        <a:pt x="989126" y="1272717"/>
                      </a:lnTo>
                      <a:lnTo>
                        <a:pt x="991552" y="1272717"/>
                      </a:lnTo>
                      <a:lnTo>
                        <a:pt x="994054" y="1271447"/>
                      </a:lnTo>
                      <a:lnTo>
                        <a:pt x="995172" y="1271447"/>
                      </a:lnTo>
                      <a:lnTo>
                        <a:pt x="999350" y="1270177"/>
                      </a:lnTo>
                      <a:lnTo>
                        <a:pt x="1005281" y="1270177"/>
                      </a:lnTo>
                      <a:lnTo>
                        <a:pt x="1006678" y="1268907"/>
                      </a:lnTo>
                      <a:lnTo>
                        <a:pt x="1007110" y="1267637"/>
                      </a:lnTo>
                      <a:lnTo>
                        <a:pt x="1008824" y="1267637"/>
                      </a:lnTo>
                      <a:lnTo>
                        <a:pt x="1010323" y="1266367"/>
                      </a:lnTo>
                      <a:lnTo>
                        <a:pt x="1011364" y="1266367"/>
                      </a:lnTo>
                      <a:lnTo>
                        <a:pt x="1011669" y="1267637"/>
                      </a:lnTo>
                      <a:lnTo>
                        <a:pt x="1012037" y="1267637"/>
                      </a:lnTo>
                      <a:lnTo>
                        <a:pt x="1012037" y="1268907"/>
                      </a:lnTo>
                      <a:lnTo>
                        <a:pt x="1016101" y="1268907"/>
                      </a:lnTo>
                      <a:lnTo>
                        <a:pt x="1017663" y="1270177"/>
                      </a:lnTo>
                      <a:lnTo>
                        <a:pt x="1019378" y="1268907"/>
                      </a:lnTo>
                      <a:lnTo>
                        <a:pt x="1019314" y="1267637"/>
                      </a:lnTo>
                      <a:lnTo>
                        <a:pt x="1018959" y="1266367"/>
                      </a:lnTo>
                      <a:lnTo>
                        <a:pt x="1019136" y="1265097"/>
                      </a:lnTo>
                      <a:lnTo>
                        <a:pt x="1020737" y="1257477"/>
                      </a:lnTo>
                      <a:lnTo>
                        <a:pt x="1024674" y="1237157"/>
                      </a:lnTo>
                      <a:lnTo>
                        <a:pt x="1026909" y="1223187"/>
                      </a:lnTo>
                      <a:lnTo>
                        <a:pt x="1025486" y="1219377"/>
                      </a:lnTo>
                      <a:lnTo>
                        <a:pt x="1024623" y="1213027"/>
                      </a:lnTo>
                      <a:lnTo>
                        <a:pt x="1019708" y="1210487"/>
                      </a:lnTo>
                      <a:lnTo>
                        <a:pt x="1017028" y="1207947"/>
                      </a:lnTo>
                      <a:lnTo>
                        <a:pt x="1017270" y="1205407"/>
                      </a:lnTo>
                      <a:lnTo>
                        <a:pt x="1017752" y="1201597"/>
                      </a:lnTo>
                      <a:lnTo>
                        <a:pt x="1017384" y="1199057"/>
                      </a:lnTo>
                      <a:lnTo>
                        <a:pt x="1019111" y="1197787"/>
                      </a:lnTo>
                      <a:lnTo>
                        <a:pt x="1022019" y="1197787"/>
                      </a:lnTo>
                      <a:lnTo>
                        <a:pt x="1024509" y="1196517"/>
                      </a:lnTo>
                      <a:lnTo>
                        <a:pt x="1027290" y="1197787"/>
                      </a:lnTo>
                      <a:lnTo>
                        <a:pt x="1030986" y="1197787"/>
                      </a:lnTo>
                      <a:lnTo>
                        <a:pt x="1030808" y="1196517"/>
                      </a:lnTo>
                      <a:lnTo>
                        <a:pt x="1030630" y="1195247"/>
                      </a:lnTo>
                      <a:lnTo>
                        <a:pt x="1028369" y="1195247"/>
                      </a:lnTo>
                      <a:lnTo>
                        <a:pt x="1027201" y="1195247"/>
                      </a:lnTo>
                      <a:lnTo>
                        <a:pt x="1021499" y="1195247"/>
                      </a:lnTo>
                      <a:lnTo>
                        <a:pt x="1014996" y="1196517"/>
                      </a:lnTo>
                      <a:lnTo>
                        <a:pt x="1015619" y="1201597"/>
                      </a:lnTo>
                      <a:lnTo>
                        <a:pt x="1015161" y="1205407"/>
                      </a:lnTo>
                      <a:lnTo>
                        <a:pt x="1014768" y="1209217"/>
                      </a:lnTo>
                      <a:lnTo>
                        <a:pt x="1019124" y="1213027"/>
                      </a:lnTo>
                      <a:lnTo>
                        <a:pt x="1022591" y="1214297"/>
                      </a:lnTo>
                      <a:lnTo>
                        <a:pt x="1022845" y="1215567"/>
                      </a:lnTo>
                      <a:lnTo>
                        <a:pt x="1023416" y="1220647"/>
                      </a:lnTo>
                      <a:lnTo>
                        <a:pt x="1024712" y="1223187"/>
                      </a:lnTo>
                      <a:lnTo>
                        <a:pt x="1021283" y="1243507"/>
                      </a:lnTo>
                      <a:lnTo>
                        <a:pt x="1017587" y="1262557"/>
                      </a:lnTo>
                      <a:lnTo>
                        <a:pt x="1017155" y="1265097"/>
                      </a:lnTo>
                      <a:lnTo>
                        <a:pt x="1015479" y="1262557"/>
                      </a:lnTo>
                      <a:lnTo>
                        <a:pt x="1014755" y="1261287"/>
                      </a:lnTo>
                      <a:lnTo>
                        <a:pt x="1014183" y="1261287"/>
                      </a:lnTo>
                      <a:lnTo>
                        <a:pt x="1012621" y="1260017"/>
                      </a:lnTo>
                      <a:lnTo>
                        <a:pt x="1010754" y="1260017"/>
                      </a:lnTo>
                      <a:lnTo>
                        <a:pt x="1010119" y="1261287"/>
                      </a:lnTo>
                      <a:lnTo>
                        <a:pt x="1009281" y="1261287"/>
                      </a:lnTo>
                      <a:lnTo>
                        <a:pt x="1009218" y="1260017"/>
                      </a:lnTo>
                      <a:lnTo>
                        <a:pt x="1009624" y="1258747"/>
                      </a:lnTo>
                      <a:lnTo>
                        <a:pt x="1010450" y="1257477"/>
                      </a:lnTo>
                      <a:lnTo>
                        <a:pt x="1011135" y="1256207"/>
                      </a:lnTo>
                      <a:lnTo>
                        <a:pt x="1015809" y="1249857"/>
                      </a:lnTo>
                      <a:lnTo>
                        <a:pt x="1016825" y="1247317"/>
                      </a:lnTo>
                      <a:lnTo>
                        <a:pt x="1018120" y="1246047"/>
                      </a:lnTo>
                      <a:lnTo>
                        <a:pt x="1016952" y="1243507"/>
                      </a:lnTo>
                      <a:lnTo>
                        <a:pt x="1016317" y="1243507"/>
                      </a:lnTo>
                      <a:lnTo>
                        <a:pt x="1015784" y="1242237"/>
                      </a:lnTo>
                      <a:lnTo>
                        <a:pt x="1013498" y="1242237"/>
                      </a:lnTo>
                      <a:lnTo>
                        <a:pt x="1012799" y="1240967"/>
                      </a:lnTo>
                      <a:lnTo>
                        <a:pt x="1009192" y="1240967"/>
                      </a:lnTo>
                      <a:lnTo>
                        <a:pt x="1008062" y="1239697"/>
                      </a:lnTo>
                      <a:lnTo>
                        <a:pt x="1005509" y="1237157"/>
                      </a:lnTo>
                      <a:lnTo>
                        <a:pt x="1003642" y="1238427"/>
                      </a:lnTo>
                      <a:lnTo>
                        <a:pt x="1001293" y="1238427"/>
                      </a:lnTo>
                      <a:lnTo>
                        <a:pt x="1000252" y="1239697"/>
                      </a:lnTo>
                      <a:lnTo>
                        <a:pt x="997115" y="1239697"/>
                      </a:lnTo>
                      <a:lnTo>
                        <a:pt x="993622" y="1238427"/>
                      </a:lnTo>
                      <a:lnTo>
                        <a:pt x="991273" y="1237157"/>
                      </a:lnTo>
                      <a:lnTo>
                        <a:pt x="990841" y="1238427"/>
                      </a:lnTo>
                      <a:lnTo>
                        <a:pt x="990460" y="1238427"/>
                      </a:lnTo>
                      <a:lnTo>
                        <a:pt x="989825" y="1239697"/>
                      </a:lnTo>
                      <a:lnTo>
                        <a:pt x="987679" y="1239697"/>
                      </a:lnTo>
                      <a:lnTo>
                        <a:pt x="987209" y="1240967"/>
                      </a:lnTo>
                      <a:lnTo>
                        <a:pt x="982459" y="1240967"/>
                      </a:lnTo>
                      <a:lnTo>
                        <a:pt x="981379" y="1239697"/>
                      </a:lnTo>
                      <a:lnTo>
                        <a:pt x="980859" y="1239697"/>
                      </a:lnTo>
                      <a:lnTo>
                        <a:pt x="979678" y="1240967"/>
                      </a:lnTo>
                      <a:lnTo>
                        <a:pt x="975779" y="1240967"/>
                      </a:lnTo>
                      <a:lnTo>
                        <a:pt x="975385" y="1239697"/>
                      </a:lnTo>
                      <a:lnTo>
                        <a:pt x="974648" y="1237157"/>
                      </a:lnTo>
                      <a:lnTo>
                        <a:pt x="974471" y="1235887"/>
                      </a:lnTo>
                      <a:lnTo>
                        <a:pt x="974344" y="1234617"/>
                      </a:lnTo>
                      <a:lnTo>
                        <a:pt x="974128" y="1233347"/>
                      </a:lnTo>
                      <a:lnTo>
                        <a:pt x="973455" y="1233347"/>
                      </a:lnTo>
                      <a:lnTo>
                        <a:pt x="972324" y="1232077"/>
                      </a:lnTo>
                      <a:lnTo>
                        <a:pt x="969429" y="1232077"/>
                      </a:lnTo>
                      <a:lnTo>
                        <a:pt x="969111" y="1233347"/>
                      </a:lnTo>
                      <a:lnTo>
                        <a:pt x="969162" y="1232077"/>
                      </a:lnTo>
                      <a:lnTo>
                        <a:pt x="968705" y="1232077"/>
                      </a:lnTo>
                      <a:lnTo>
                        <a:pt x="969048" y="1229537"/>
                      </a:lnTo>
                      <a:lnTo>
                        <a:pt x="968844" y="1228267"/>
                      </a:lnTo>
                      <a:lnTo>
                        <a:pt x="968616" y="1228267"/>
                      </a:lnTo>
                      <a:lnTo>
                        <a:pt x="967905" y="1226997"/>
                      </a:lnTo>
                      <a:lnTo>
                        <a:pt x="966990" y="1225727"/>
                      </a:lnTo>
                      <a:lnTo>
                        <a:pt x="966216" y="1224457"/>
                      </a:lnTo>
                      <a:lnTo>
                        <a:pt x="963142" y="1224457"/>
                      </a:lnTo>
                      <a:lnTo>
                        <a:pt x="962329" y="1223187"/>
                      </a:lnTo>
                      <a:lnTo>
                        <a:pt x="960640" y="1221917"/>
                      </a:lnTo>
                      <a:lnTo>
                        <a:pt x="959853" y="1221917"/>
                      </a:lnTo>
                      <a:lnTo>
                        <a:pt x="959688" y="1220647"/>
                      </a:lnTo>
                      <a:lnTo>
                        <a:pt x="957262" y="1220647"/>
                      </a:lnTo>
                      <a:lnTo>
                        <a:pt x="956221" y="1216837"/>
                      </a:lnTo>
                      <a:lnTo>
                        <a:pt x="955268" y="1213027"/>
                      </a:lnTo>
                      <a:lnTo>
                        <a:pt x="953135" y="1211757"/>
                      </a:lnTo>
                      <a:lnTo>
                        <a:pt x="951242" y="1210487"/>
                      </a:lnTo>
                      <a:lnTo>
                        <a:pt x="950544" y="1209217"/>
                      </a:lnTo>
                      <a:lnTo>
                        <a:pt x="949223" y="1209217"/>
                      </a:lnTo>
                      <a:lnTo>
                        <a:pt x="948486" y="1207947"/>
                      </a:lnTo>
                      <a:lnTo>
                        <a:pt x="948004" y="1209217"/>
                      </a:lnTo>
                      <a:lnTo>
                        <a:pt x="947762" y="1210487"/>
                      </a:lnTo>
                      <a:lnTo>
                        <a:pt x="948715" y="1210487"/>
                      </a:lnTo>
                      <a:lnTo>
                        <a:pt x="949960" y="1211757"/>
                      </a:lnTo>
                      <a:lnTo>
                        <a:pt x="950595" y="1210487"/>
                      </a:lnTo>
                      <a:lnTo>
                        <a:pt x="950264" y="1211757"/>
                      </a:lnTo>
                      <a:lnTo>
                        <a:pt x="952334" y="1214297"/>
                      </a:lnTo>
                      <a:lnTo>
                        <a:pt x="953566" y="1215567"/>
                      </a:lnTo>
                      <a:lnTo>
                        <a:pt x="954201" y="1216837"/>
                      </a:lnTo>
                      <a:lnTo>
                        <a:pt x="955370" y="1221917"/>
                      </a:lnTo>
                      <a:lnTo>
                        <a:pt x="956906" y="1223187"/>
                      </a:lnTo>
                      <a:lnTo>
                        <a:pt x="959358" y="1223187"/>
                      </a:lnTo>
                      <a:lnTo>
                        <a:pt x="961034" y="1224457"/>
                      </a:lnTo>
                      <a:lnTo>
                        <a:pt x="962177" y="1225727"/>
                      </a:lnTo>
                      <a:lnTo>
                        <a:pt x="965123" y="1226997"/>
                      </a:lnTo>
                      <a:lnTo>
                        <a:pt x="966012" y="1226997"/>
                      </a:lnTo>
                      <a:lnTo>
                        <a:pt x="966368" y="1228267"/>
                      </a:lnTo>
                      <a:lnTo>
                        <a:pt x="966800" y="1229537"/>
                      </a:lnTo>
                      <a:lnTo>
                        <a:pt x="966508" y="1232077"/>
                      </a:lnTo>
                      <a:lnTo>
                        <a:pt x="966901" y="1232077"/>
                      </a:lnTo>
                      <a:lnTo>
                        <a:pt x="967270" y="1233347"/>
                      </a:lnTo>
                      <a:lnTo>
                        <a:pt x="967765" y="1233347"/>
                      </a:lnTo>
                      <a:lnTo>
                        <a:pt x="968400" y="1234617"/>
                      </a:lnTo>
                      <a:lnTo>
                        <a:pt x="973251" y="1234617"/>
                      </a:lnTo>
                      <a:lnTo>
                        <a:pt x="972299" y="1235887"/>
                      </a:lnTo>
                      <a:lnTo>
                        <a:pt x="972566" y="1237157"/>
                      </a:lnTo>
                      <a:lnTo>
                        <a:pt x="973886" y="1243507"/>
                      </a:lnTo>
                      <a:lnTo>
                        <a:pt x="980376" y="1243507"/>
                      </a:lnTo>
                      <a:lnTo>
                        <a:pt x="980706" y="1242237"/>
                      </a:lnTo>
                      <a:lnTo>
                        <a:pt x="981900" y="1242237"/>
                      </a:lnTo>
                      <a:lnTo>
                        <a:pt x="983386" y="1243507"/>
                      </a:lnTo>
                      <a:lnTo>
                        <a:pt x="987679" y="1243507"/>
                      </a:lnTo>
                      <a:lnTo>
                        <a:pt x="988377" y="1242237"/>
                      </a:lnTo>
                      <a:lnTo>
                        <a:pt x="988656" y="1242237"/>
                      </a:lnTo>
                      <a:lnTo>
                        <a:pt x="990892" y="1240967"/>
                      </a:lnTo>
                      <a:lnTo>
                        <a:pt x="992085" y="1240967"/>
                      </a:lnTo>
                      <a:lnTo>
                        <a:pt x="992276" y="1239697"/>
                      </a:lnTo>
                      <a:lnTo>
                        <a:pt x="992860" y="1239697"/>
                      </a:lnTo>
                      <a:lnTo>
                        <a:pt x="996416" y="1242237"/>
                      </a:lnTo>
                      <a:lnTo>
                        <a:pt x="999566" y="1242237"/>
                      </a:lnTo>
                      <a:lnTo>
                        <a:pt x="1000772" y="1240967"/>
                      </a:lnTo>
                      <a:lnTo>
                        <a:pt x="1004417" y="1240967"/>
                      </a:lnTo>
                      <a:lnTo>
                        <a:pt x="1005001" y="1239697"/>
                      </a:lnTo>
                      <a:lnTo>
                        <a:pt x="1005446" y="1239697"/>
                      </a:lnTo>
                      <a:lnTo>
                        <a:pt x="1007046" y="1240967"/>
                      </a:lnTo>
                      <a:lnTo>
                        <a:pt x="1007465" y="1242237"/>
                      </a:lnTo>
                      <a:lnTo>
                        <a:pt x="1008329" y="1242237"/>
                      </a:lnTo>
                      <a:lnTo>
                        <a:pt x="1012240" y="1243507"/>
                      </a:lnTo>
                      <a:lnTo>
                        <a:pt x="1013307" y="1243507"/>
                      </a:lnTo>
                      <a:lnTo>
                        <a:pt x="1014120" y="1244777"/>
                      </a:lnTo>
                      <a:lnTo>
                        <a:pt x="1014831" y="1244777"/>
                      </a:lnTo>
                      <a:lnTo>
                        <a:pt x="1015314" y="1246047"/>
                      </a:lnTo>
                      <a:lnTo>
                        <a:pt x="1015606" y="1246047"/>
                      </a:lnTo>
                      <a:lnTo>
                        <a:pt x="1014984" y="1247317"/>
                      </a:lnTo>
                      <a:lnTo>
                        <a:pt x="1013968" y="1248587"/>
                      </a:lnTo>
                      <a:lnTo>
                        <a:pt x="1009345" y="1256207"/>
                      </a:lnTo>
                      <a:lnTo>
                        <a:pt x="1008646" y="1256207"/>
                      </a:lnTo>
                      <a:lnTo>
                        <a:pt x="1007783" y="1258747"/>
                      </a:lnTo>
                      <a:lnTo>
                        <a:pt x="1007186" y="1258747"/>
                      </a:lnTo>
                      <a:lnTo>
                        <a:pt x="1006944" y="1260017"/>
                      </a:lnTo>
                      <a:lnTo>
                        <a:pt x="1007148" y="1261287"/>
                      </a:lnTo>
                      <a:lnTo>
                        <a:pt x="1007389" y="1261287"/>
                      </a:lnTo>
                      <a:lnTo>
                        <a:pt x="1007897" y="1262557"/>
                      </a:lnTo>
                      <a:lnTo>
                        <a:pt x="1013104" y="1262557"/>
                      </a:lnTo>
                      <a:lnTo>
                        <a:pt x="1013790" y="1263827"/>
                      </a:lnTo>
                      <a:lnTo>
                        <a:pt x="1016711" y="1267637"/>
                      </a:lnTo>
                      <a:lnTo>
                        <a:pt x="1015161" y="1267637"/>
                      </a:lnTo>
                      <a:lnTo>
                        <a:pt x="1014044" y="1266367"/>
                      </a:lnTo>
                      <a:lnTo>
                        <a:pt x="1013739" y="1266367"/>
                      </a:lnTo>
                      <a:lnTo>
                        <a:pt x="1012571" y="1265097"/>
                      </a:lnTo>
                      <a:lnTo>
                        <a:pt x="1010437" y="1263827"/>
                      </a:lnTo>
                      <a:lnTo>
                        <a:pt x="1007846" y="1265097"/>
                      </a:lnTo>
                      <a:lnTo>
                        <a:pt x="1005954" y="1266367"/>
                      </a:lnTo>
                      <a:lnTo>
                        <a:pt x="1005192" y="1266367"/>
                      </a:lnTo>
                      <a:lnTo>
                        <a:pt x="1003947" y="1267637"/>
                      </a:lnTo>
                      <a:lnTo>
                        <a:pt x="1003185" y="1268907"/>
                      </a:lnTo>
                      <a:lnTo>
                        <a:pt x="998969" y="1268907"/>
                      </a:lnTo>
                      <a:lnTo>
                        <a:pt x="994689" y="1270177"/>
                      </a:lnTo>
                      <a:lnTo>
                        <a:pt x="990993" y="1270177"/>
                      </a:lnTo>
                      <a:lnTo>
                        <a:pt x="988314" y="1271447"/>
                      </a:lnTo>
                      <a:lnTo>
                        <a:pt x="985100" y="1272717"/>
                      </a:lnTo>
                      <a:lnTo>
                        <a:pt x="984084" y="1273987"/>
                      </a:lnTo>
                      <a:lnTo>
                        <a:pt x="979779" y="1276527"/>
                      </a:lnTo>
                      <a:lnTo>
                        <a:pt x="978420" y="1277797"/>
                      </a:lnTo>
                      <a:lnTo>
                        <a:pt x="977760" y="1277797"/>
                      </a:lnTo>
                      <a:lnTo>
                        <a:pt x="976617" y="1279067"/>
                      </a:lnTo>
                      <a:lnTo>
                        <a:pt x="976185" y="1279067"/>
                      </a:lnTo>
                      <a:lnTo>
                        <a:pt x="975588" y="1280337"/>
                      </a:lnTo>
                      <a:lnTo>
                        <a:pt x="973963" y="1286687"/>
                      </a:lnTo>
                      <a:lnTo>
                        <a:pt x="973823" y="1287957"/>
                      </a:lnTo>
                      <a:lnTo>
                        <a:pt x="973429" y="1289227"/>
                      </a:lnTo>
                      <a:lnTo>
                        <a:pt x="971816" y="1291767"/>
                      </a:lnTo>
                      <a:lnTo>
                        <a:pt x="971232" y="1294307"/>
                      </a:lnTo>
                      <a:lnTo>
                        <a:pt x="971143" y="1295577"/>
                      </a:lnTo>
                      <a:lnTo>
                        <a:pt x="971423" y="1296847"/>
                      </a:lnTo>
                      <a:lnTo>
                        <a:pt x="971473" y="1298117"/>
                      </a:lnTo>
                      <a:lnTo>
                        <a:pt x="971156" y="1299387"/>
                      </a:lnTo>
                      <a:lnTo>
                        <a:pt x="970749" y="1299387"/>
                      </a:lnTo>
                      <a:lnTo>
                        <a:pt x="968324" y="1300657"/>
                      </a:lnTo>
                      <a:lnTo>
                        <a:pt x="965631" y="1301927"/>
                      </a:lnTo>
                      <a:lnTo>
                        <a:pt x="964158" y="1303197"/>
                      </a:lnTo>
                      <a:lnTo>
                        <a:pt x="962012" y="1308277"/>
                      </a:lnTo>
                      <a:lnTo>
                        <a:pt x="962901" y="1310817"/>
                      </a:lnTo>
                      <a:lnTo>
                        <a:pt x="963244" y="1310817"/>
                      </a:lnTo>
                      <a:lnTo>
                        <a:pt x="962926" y="1312087"/>
                      </a:lnTo>
                      <a:lnTo>
                        <a:pt x="959967" y="1313357"/>
                      </a:lnTo>
                      <a:lnTo>
                        <a:pt x="958888" y="1314627"/>
                      </a:lnTo>
                      <a:lnTo>
                        <a:pt x="960107" y="1315897"/>
                      </a:lnTo>
                      <a:lnTo>
                        <a:pt x="963206" y="1318437"/>
                      </a:lnTo>
                      <a:lnTo>
                        <a:pt x="964133" y="1319707"/>
                      </a:lnTo>
                      <a:lnTo>
                        <a:pt x="965225" y="1324787"/>
                      </a:lnTo>
                      <a:lnTo>
                        <a:pt x="967422" y="1328597"/>
                      </a:lnTo>
                      <a:lnTo>
                        <a:pt x="972096" y="1333677"/>
                      </a:lnTo>
                      <a:lnTo>
                        <a:pt x="974140" y="1336217"/>
                      </a:lnTo>
                      <a:lnTo>
                        <a:pt x="974331" y="1337487"/>
                      </a:lnTo>
                      <a:lnTo>
                        <a:pt x="969276" y="1342567"/>
                      </a:lnTo>
                      <a:lnTo>
                        <a:pt x="972273" y="1342567"/>
                      </a:lnTo>
                      <a:lnTo>
                        <a:pt x="983424" y="1343837"/>
                      </a:lnTo>
                      <a:lnTo>
                        <a:pt x="984097" y="1345107"/>
                      </a:lnTo>
                      <a:lnTo>
                        <a:pt x="984072" y="1346377"/>
                      </a:lnTo>
                      <a:lnTo>
                        <a:pt x="984351" y="1346377"/>
                      </a:lnTo>
                      <a:lnTo>
                        <a:pt x="985100" y="1347647"/>
                      </a:lnTo>
                      <a:lnTo>
                        <a:pt x="985685" y="1348917"/>
                      </a:lnTo>
                      <a:lnTo>
                        <a:pt x="984605" y="1351457"/>
                      </a:lnTo>
                      <a:lnTo>
                        <a:pt x="998410" y="1351457"/>
                      </a:lnTo>
                      <a:lnTo>
                        <a:pt x="1000302" y="1350187"/>
                      </a:lnTo>
                      <a:lnTo>
                        <a:pt x="1001674" y="1350187"/>
                      </a:lnTo>
                      <a:lnTo>
                        <a:pt x="1003249" y="1348917"/>
                      </a:lnTo>
                      <a:lnTo>
                        <a:pt x="1004074" y="1348917"/>
                      </a:lnTo>
                      <a:lnTo>
                        <a:pt x="1005293" y="1347647"/>
                      </a:lnTo>
                      <a:lnTo>
                        <a:pt x="1006017" y="1346377"/>
                      </a:lnTo>
                      <a:lnTo>
                        <a:pt x="1006894" y="1345107"/>
                      </a:lnTo>
                      <a:lnTo>
                        <a:pt x="1008024" y="1345107"/>
                      </a:lnTo>
                      <a:lnTo>
                        <a:pt x="1008621" y="1346377"/>
                      </a:lnTo>
                      <a:lnTo>
                        <a:pt x="1008278" y="1346377"/>
                      </a:lnTo>
                      <a:lnTo>
                        <a:pt x="1006690" y="1350187"/>
                      </a:lnTo>
                      <a:lnTo>
                        <a:pt x="1007351" y="1361617"/>
                      </a:lnTo>
                      <a:lnTo>
                        <a:pt x="1007414" y="1367967"/>
                      </a:lnTo>
                      <a:lnTo>
                        <a:pt x="1009383" y="1365427"/>
                      </a:lnTo>
                      <a:lnTo>
                        <a:pt x="1010805" y="1365427"/>
                      </a:lnTo>
                      <a:lnTo>
                        <a:pt x="1012139" y="1366697"/>
                      </a:lnTo>
                      <a:lnTo>
                        <a:pt x="1014920" y="1366697"/>
                      </a:lnTo>
                      <a:lnTo>
                        <a:pt x="1017562" y="1365427"/>
                      </a:lnTo>
                      <a:lnTo>
                        <a:pt x="1023277" y="1365427"/>
                      </a:lnTo>
                      <a:lnTo>
                        <a:pt x="1029563" y="1375587"/>
                      </a:lnTo>
                      <a:lnTo>
                        <a:pt x="1031316" y="1378127"/>
                      </a:lnTo>
                      <a:lnTo>
                        <a:pt x="1035405" y="1387017"/>
                      </a:lnTo>
                      <a:lnTo>
                        <a:pt x="1035151" y="1388287"/>
                      </a:lnTo>
                      <a:lnTo>
                        <a:pt x="1032484" y="1392097"/>
                      </a:lnTo>
                      <a:lnTo>
                        <a:pt x="1031849" y="1393367"/>
                      </a:lnTo>
                      <a:lnTo>
                        <a:pt x="1031532" y="1393367"/>
                      </a:lnTo>
                      <a:lnTo>
                        <a:pt x="1031163" y="1394637"/>
                      </a:lnTo>
                      <a:lnTo>
                        <a:pt x="1030947" y="1395907"/>
                      </a:lnTo>
                      <a:lnTo>
                        <a:pt x="1029970" y="1399717"/>
                      </a:lnTo>
                      <a:lnTo>
                        <a:pt x="1029804" y="1400987"/>
                      </a:lnTo>
                      <a:lnTo>
                        <a:pt x="1029741" y="1403527"/>
                      </a:lnTo>
                      <a:lnTo>
                        <a:pt x="1030020" y="1404797"/>
                      </a:lnTo>
                      <a:lnTo>
                        <a:pt x="1030351" y="1404797"/>
                      </a:lnTo>
                      <a:lnTo>
                        <a:pt x="1031595" y="1408607"/>
                      </a:lnTo>
                      <a:lnTo>
                        <a:pt x="1032167" y="1409877"/>
                      </a:lnTo>
                      <a:lnTo>
                        <a:pt x="1032421" y="1411147"/>
                      </a:lnTo>
                      <a:lnTo>
                        <a:pt x="1031252" y="1412417"/>
                      </a:lnTo>
                      <a:lnTo>
                        <a:pt x="1031113" y="1413687"/>
                      </a:lnTo>
                      <a:lnTo>
                        <a:pt x="1030846" y="1413687"/>
                      </a:lnTo>
                      <a:lnTo>
                        <a:pt x="1029309" y="1414957"/>
                      </a:lnTo>
                      <a:lnTo>
                        <a:pt x="1028700" y="1414957"/>
                      </a:lnTo>
                      <a:lnTo>
                        <a:pt x="1028242" y="1416227"/>
                      </a:lnTo>
                      <a:lnTo>
                        <a:pt x="1027823" y="1416227"/>
                      </a:lnTo>
                      <a:lnTo>
                        <a:pt x="1026071" y="1418767"/>
                      </a:lnTo>
                      <a:lnTo>
                        <a:pt x="1025677" y="1420037"/>
                      </a:lnTo>
                      <a:lnTo>
                        <a:pt x="1026566" y="1423847"/>
                      </a:lnTo>
                      <a:lnTo>
                        <a:pt x="1028357" y="1426387"/>
                      </a:lnTo>
                      <a:lnTo>
                        <a:pt x="1025601" y="1430197"/>
                      </a:lnTo>
                      <a:lnTo>
                        <a:pt x="1024547" y="1431467"/>
                      </a:lnTo>
                      <a:lnTo>
                        <a:pt x="1026007" y="1435277"/>
                      </a:lnTo>
                      <a:lnTo>
                        <a:pt x="1026820" y="1439087"/>
                      </a:lnTo>
                      <a:lnTo>
                        <a:pt x="1027734" y="1441627"/>
                      </a:lnTo>
                      <a:lnTo>
                        <a:pt x="1032535" y="1442897"/>
                      </a:lnTo>
                      <a:lnTo>
                        <a:pt x="1032929" y="1442897"/>
                      </a:lnTo>
                      <a:lnTo>
                        <a:pt x="1031481" y="1444167"/>
                      </a:lnTo>
                      <a:lnTo>
                        <a:pt x="1030135" y="1445437"/>
                      </a:lnTo>
                      <a:lnTo>
                        <a:pt x="1029550" y="1446707"/>
                      </a:lnTo>
                      <a:lnTo>
                        <a:pt x="1027188" y="1450517"/>
                      </a:lnTo>
                      <a:lnTo>
                        <a:pt x="1026096" y="1451787"/>
                      </a:lnTo>
                      <a:lnTo>
                        <a:pt x="1024864" y="1451787"/>
                      </a:lnTo>
                      <a:lnTo>
                        <a:pt x="1022210" y="1454327"/>
                      </a:lnTo>
                      <a:lnTo>
                        <a:pt x="1021448" y="1455597"/>
                      </a:lnTo>
                      <a:lnTo>
                        <a:pt x="1021448" y="1456867"/>
                      </a:lnTo>
                      <a:lnTo>
                        <a:pt x="1021981" y="1458137"/>
                      </a:lnTo>
                      <a:lnTo>
                        <a:pt x="1022819" y="1458137"/>
                      </a:lnTo>
                      <a:lnTo>
                        <a:pt x="1023467" y="1459407"/>
                      </a:lnTo>
                      <a:lnTo>
                        <a:pt x="1022997" y="1459407"/>
                      </a:lnTo>
                      <a:lnTo>
                        <a:pt x="1021384" y="1460677"/>
                      </a:lnTo>
                      <a:lnTo>
                        <a:pt x="1020927" y="1460677"/>
                      </a:lnTo>
                      <a:lnTo>
                        <a:pt x="1017778" y="1463217"/>
                      </a:lnTo>
                      <a:lnTo>
                        <a:pt x="1018984" y="1464487"/>
                      </a:lnTo>
                      <a:lnTo>
                        <a:pt x="1019175" y="1464487"/>
                      </a:lnTo>
                      <a:lnTo>
                        <a:pt x="1019365" y="1467027"/>
                      </a:lnTo>
                      <a:lnTo>
                        <a:pt x="1018743" y="1468297"/>
                      </a:lnTo>
                      <a:lnTo>
                        <a:pt x="1018565" y="1468297"/>
                      </a:lnTo>
                      <a:lnTo>
                        <a:pt x="1010615" y="1472107"/>
                      </a:lnTo>
                      <a:lnTo>
                        <a:pt x="1011364" y="1473377"/>
                      </a:lnTo>
                      <a:lnTo>
                        <a:pt x="1019657" y="1470837"/>
                      </a:lnTo>
                      <a:lnTo>
                        <a:pt x="1020470" y="1469567"/>
                      </a:lnTo>
                      <a:lnTo>
                        <a:pt x="1021486" y="1467027"/>
                      </a:lnTo>
                      <a:lnTo>
                        <a:pt x="1021397" y="1464487"/>
                      </a:lnTo>
                      <a:lnTo>
                        <a:pt x="1020699" y="1463217"/>
                      </a:lnTo>
                      <a:lnTo>
                        <a:pt x="1020851" y="1463217"/>
                      </a:lnTo>
                      <a:lnTo>
                        <a:pt x="1022045" y="1461947"/>
                      </a:lnTo>
                      <a:lnTo>
                        <a:pt x="1023200" y="1461947"/>
                      </a:lnTo>
                      <a:lnTo>
                        <a:pt x="1024128" y="1460677"/>
                      </a:lnTo>
                      <a:lnTo>
                        <a:pt x="1024610" y="1461947"/>
                      </a:lnTo>
                      <a:lnTo>
                        <a:pt x="1025296" y="1464487"/>
                      </a:lnTo>
                      <a:lnTo>
                        <a:pt x="1026477" y="1467027"/>
                      </a:lnTo>
                      <a:lnTo>
                        <a:pt x="1026655" y="1467027"/>
                      </a:lnTo>
                      <a:lnTo>
                        <a:pt x="1028344" y="1468297"/>
                      </a:lnTo>
                      <a:lnTo>
                        <a:pt x="1029906" y="1468297"/>
                      </a:lnTo>
                      <a:lnTo>
                        <a:pt x="1030033" y="1469567"/>
                      </a:lnTo>
                      <a:lnTo>
                        <a:pt x="1030376" y="1470837"/>
                      </a:lnTo>
                      <a:lnTo>
                        <a:pt x="1030427" y="1475917"/>
                      </a:lnTo>
                      <a:lnTo>
                        <a:pt x="1030681" y="1479727"/>
                      </a:lnTo>
                      <a:lnTo>
                        <a:pt x="1031049" y="1480997"/>
                      </a:lnTo>
                      <a:lnTo>
                        <a:pt x="1033348" y="1483537"/>
                      </a:lnTo>
                      <a:lnTo>
                        <a:pt x="1034008" y="1484807"/>
                      </a:lnTo>
                      <a:lnTo>
                        <a:pt x="1037348" y="1487347"/>
                      </a:lnTo>
                      <a:lnTo>
                        <a:pt x="1038225" y="1488617"/>
                      </a:lnTo>
                      <a:lnTo>
                        <a:pt x="1037196" y="1488617"/>
                      </a:lnTo>
                      <a:lnTo>
                        <a:pt x="1036294" y="1489887"/>
                      </a:lnTo>
                      <a:lnTo>
                        <a:pt x="1035100" y="1493697"/>
                      </a:lnTo>
                      <a:lnTo>
                        <a:pt x="1036713" y="1493697"/>
                      </a:lnTo>
                      <a:lnTo>
                        <a:pt x="1037386" y="1494967"/>
                      </a:lnTo>
                      <a:lnTo>
                        <a:pt x="1037259" y="1496237"/>
                      </a:lnTo>
                      <a:lnTo>
                        <a:pt x="1035888" y="1496237"/>
                      </a:lnTo>
                      <a:lnTo>
                        <a:pt x="1034935" y="1497507"/>
                      </a:lnTo>
                      <a:lnTo>
                        <a:pt x="1034034" y="1497507"/>
                      </a:lnTo>
                      <a:lnTo>
                        <a:pt x="1033945" y="1500047"/>
                      </a:lnTo>
                      <a:lnTo>
                        <a:pt x="1034021" y="1501317"/>
                      </a:lnTo>
                      <a:lnTo>
                        <a:pt x="1034300" y="1502587"/>
                      </a:lnTo>
                      <a:lnTo>
                        <a:pt x="1036370" y="1505127"/>
                      </a:lnTo>
                      <a:lnTo>
                        <a:pt x="1037056" y="1505127"/>
                      </a:lnTo>
                      <a:lnTo>
                        <a:pt x="1037564" y="1506397"/>
                      </a:lnTo>
                      <a:lnTo>
                        <a:pt x="1038301" y="1506397"/>
                      </a:lnTo>
                      <a:lnTo>
                        <a:pt x="1038098" y="1507667"/>
                      </a:lnTo>
                      <a:lnTo>
                        <a:pt x="1037577" y="1510207"/>
                      </a:lnTo>
                      <a:lnTo>
                        <a:pt x="1037564" y="1511477"/>
                      </a:lnTo>
                      <a:lnTo>
                        <a:pt x="1039329" y="1512747"/>
                      </a:lnTo>
                      <a:lnTo>
                        <a:pt x="1039977" y="1512747"/>
                      </a:lnTo>
                      <a:lnTo>
                        <a:pt x="1040574" y="1514017"/>
                      </a:lnTo>
                      <a:lnTo>
                        <a:pt x="1041209" y="1514017"/>
                      </a:lnTo>
                      <a:lnTo>
                        <a:pt x="1041501" y="1515287"/>
                      </a:lnTo>
                      <a:lnTo>
                        <a:pt x="1041806" y="1515287"/>
                      </a:lnTo>
                      <a:lnTo>
                        <a:pt x="1042149" y="1516557"/>
                      </a:lnTo>
                      <a:lnTo>
                        <a:pt x="1042974" y="1517827"/>
                      </a:lnTo>
                      <a:lnTo>
                        <a:pt x="1043127" y="1519097"/>
                      </a:lnTo>
                      <a:lnTo>
                        <a:pt x="1043254" y="1521637"/>
                      </a:lnTo>
                      <a:lnTo>
                        <a:pt x="1043559" y="1522907"/>
                      </a:lnTo>
                      <a:lnTo>
                        <a:pt x="1043914" y="1526717"/>
                      </a:lnTo>
                      <a:lnTo>
                        <a:pt x="1044524" y="1527987"/>
                      </a:lnTo>
                      <a:lnTo>
                        <a:pt x="1044740" y="1527987"/>
                      </a:lnTo>
                      <a:lnTo>
                        <a:pt x="1045692" y="1529257"/>
                      </a:lnTo>
                      <a:lnTo>
                        <a:pt x="1046111" y="1529257"/>
                      </a:lnTo>
                      <a:lnTo>
                        <a:pt x="1046200" y="1530527"/>
                      </a:lnTo>
                      <a:lnTo>
                        <a:pt x="1046073" y="1531797"/>
                      </a:lnTo>
                      <a:lnTo>
                        <a:pt x="1046226" y="1531797"/>
                      </a:lnTo>
                      <a:lnTo>
                        <a:pt x="1047102" y="1535607"/>
                      </a:lnTo>
                      <a:lnTo>
                        <a:pt x="1046822" y="1538147"/>
                      </a:lnTo>
                      <a:lnTo>
                        <a:pt x="1046962" y="1538147"/>
                      </a:lnTo>
                      <a:lnTo>
                        <a:pt x="1047038" y="1539417"/>
                      </a:lnTo>
                      <a:lnTo>
                        <a:pt x="1048473" y="1539417"/>
                      </a:lnTo>
                      <a:lnTo>
                        <a:pt x="1049718" y="1540687"/>
                      </a:lnTo>
                      <a:lnTo>
                        <a:pt x="1058684" y="1540687"/>
                      </a:lnTo>
                      <a:lnTo>
                        <a:pt x="1058811" y="1541957"/>
                      </a:lnTo>
                      <a:lnTo>
                        <a:pt x="1059078" y="1541957"/>
                      </a:lnTo>
                      <a:lnTo>
                        <a:pt x="1058811" y="1543227"/>
                      </a:lnTo>
                      <a:lnTo>
                        <a:pt x="1058608" y="1544497"/>
                      </a:lnTo>
                      <a:lnTo>
                        <a:pt x="1057160" y="1548307"/>
                      </a:lnTo>
                      <a:lnTo>
                        <a:pt x="1056817" y="1549577"/>
                      </a:lnTo>
                      <a:lnTo>
                        <a:pt x="1055636" y="1554657"/>
                      </a:lnTo>
                      <a:lnTo>
                        <a:pt x="1054900" y="1555927"/>
                      </a:lnTo>
                      <a:lnTo>
                        <a:pt x="1054735" y="1555927"/>
                      </a:lnTo>
                      <a:lnTo>
                        <a:pt x="1053871" y="1557197"/>
                      </a:lnTo>
                      <a:lnTo>
                        <a:pt x="1053223" y="1557197"/>
                      </a:lnTo>
                      <a:lnTo>
                        <a:pt x="1050810" y="1558467"/>
                      </a:lnTo>
                      <a:lnTo>
                        <a:pt x="1042720" y="1562277"/>
                      </a:lnTo>
                      <a:lnTo>
                        <a:pt x="1041450" y="1562277"/>
                      </a:lnTo>
                      <a:lnTo>
                        <a:pt x="1040053" y="1563547"/>
                      </a:lnTo>
                      <a:lnTo>
                        <a:pt x="1039672" y="1564817"/>
                      </a:lnTo>
                      <a:lnTo>
                        <a:pt x="1038987" y="1564817"/>
                      </a:lnTo>
                      <a:lnTo>
                        <a:pt x="1037666" y="1566087"/>
                      </a:lnTo>
                      <a:lnTo>
                        <a:pt x="1037234" y="1567357"/>
                      </a:lnTo>
                      <a:lnTo>
                        <a:pt x="1037069" y="1569897"/>
                      </a:lnTo>
                      <a:lnTo>
                        <a:pt x="1038186" y="1572437"/>
                      </a:lnTo>
                      <a:lnTo>
                        <a:pt x="1039368" y="1573707"/>
                      </a:lnTo>
                      <a:lnTo>
                        <a:pt x="1038402" y="1573707"/>
                      </a:lnTo>
                      <a:lnTo>
                        <a:pt x="1037285" y="1574977"/>
                      </a:lnTo>
                      <a:lnTo>
                        <a:pt x="1037158" y="1590217"/>
                      </a:lnTo>
                      <a:lnTo>
                        <a:pt x="1036789" y="1592757"/>
                      </a:lnTo>
                      <a:lnTo>
                        <a:pt x="1036574" y="1594027"/>
                      </a:lnTo>
                      <a:lnTo>
                        <a:pt x="1037082" y="1596567"/>
                      </a:lnTo>
                      <a:lnTo>
                        <a:pt x="1040015" y="1600377"/>
                      </a:lnTo>
                      <a:lnTo>
                        <a:pt x="1040472" y="1600377"/>
                      </a:lnTo>
                      <a:lnTo>
                        <a:pt x="1040574" y="1601647"/>
                      </a:lnTo>
                      <a:lnTo>
                        <a:pt x="1040726" y="1601647"/>
                      </a:lnTo>
                      <a:lnTo>
                        <a:pt x="1040599" y="1602917"/>
                      </a:lnTo>
                      <a:lnTo>
                        <a:pt x="1042581" y="1602917"/>
                      </a:lnTo>
                      <a:lnTo>
                        <a:pt x="1042797" y="1601647"/>
                      </a:lnTo>
                      <a:lnTo>
                        <a:pt x="1042708" y="1600377"/>
                      </a:lnTo>
                      <a:lnTo>
                        <a:pt x="1042416" y="1600377"/>
                      </a:lnTo>
                      <a:lnTo>
                        <a:pt x="1041768" y="1599107"/>
                      </a:lnTo>
                      <a:lnTo>
                        <a:pt x="1039012" y="1595297"/>
                      </a:lnTo>
                      <a:lnTo>
                        <a:pt x="1038733" y="1594027"/>
                      </a:lnTo>
                      <a:lnTo>
                        <a:pt x="1038961" y="1592757"/>
                      </a:lnTo>
                      <a:lnTo>
                        <a:pt x="1039279" y="1590217"/>
                      </a:lnTo>
                      <a:lnTo>
                        <a:pt x="1039393" y="1576247"/>
                      </a:lnTo>
                      <a:lnTo>
                        <a:pt x="1039736" y="1576247"/>
                      </a:lnTo>
                      <a:lnTo>
                        <a:pt x="1041336" y="1574977"/>
                      </a:lnTo>
                      <a:lnTo>
                        <a:pt x="1042758" y="1573707"/>
                      </a:lnTo>
                      <a:lnTo>
                        <a:pt x="1040485" y="1572437"/>
                      </a:lnTo>
                      <a:lnTo>
                        <a:pt x="1039228" y="1569897"/>
                      </a:lnTo>
                      <a:lnTo>
                        <a:pt x="1039431" y="1567357"/>
                      </a:lnTo>
                      <a:lnTo>
                        <a:pt x="1039774" y="1568627"/>
                      </a:lnTo>
                      <a:lnTo>
                        <a:pt x="1040282" y="1567357"/>
                      </a:lnTo>
                      <a:lnTo>
                        <a:pt x="1040803" y="1566087"/>
                      </a:lnTo>
                      <a:lnTo>
                        <a:pt x="1041565" y="1566087"/>
                      </a:lnTo>
                      <a:lnTo>
                        <a:pt x="1042771" y="1564817"/>
                      </a:lnTo>
                      <a:lnTo>
                        <a:pt x="1043838" y="1563547"/>
                      </a:lnTo>
                      <a:lnTo>
                        <a:pt x="1051928" y="1559737"/>
                      </a:lnTo>
                      <a:lnTo>
                        <a:pt x="1054163" y="1559737"/>
                      </a:lnTo>
                      <a:lnTo>
                        <a:pt x="1054823" y="1558467"/>
                      </a:lnTo>
                      <a:lnTo>
                        <a:pt x="1056297" y="1558467"/>
                      </a:lnTo>
                      <a:lnTo>
                        <a:pt x="1057617" y="1555927"/>
                      </a:lnTo>
                      <a:lnTo>
                        <a:pt x="1058862" y="1549577"/>
                      </a:lnTo>
                      <a:lnTo>
                        <a:pt x="1059180" y="1549577"/>
                      </a:lnTo>
                      <a:lnTo>
                        <a:pt x="1060043" y="1547037"/>
                      </a:lnTo>
                      <a:lnTo>
                        <a:pt x="1060678" y="1544497"/>
                      </a:lnTo>
                      <a:lnTo>
                        <a:pt x="1060869" y="1543227"/>
                      </a:lnTo>
                      <a:lnTo>
                        <a:pt x="1061275" y="1541957"/>
                      </a:lnTo>
                      <a:lnTo>
                        <a:pt x="1060856" y="1540687"/>
                      </a:lnTo>
                      <a:lnTo>
                        <a:pt x="1060538" y="1539417"/>
                      </a:lnTo>
                      <a:lnTo>
                        <a:pt x="1059789" y="1539417"/>
                      </a:lnTo>
                      <a:lnTo>
                        <a:pt x="1061110" y="1536877"/>
                      </a:lnTo>
                      <a:lnTo>
                        <a:pt x="1062139" y="1535607"/>
                      </a:lnTo>
                      <a:lnTo>
                        <a:pt x="1065923" y="1531797"/>
                      </a:lnTo>
                      <a:lnTo>
                        <a:pt x="1066698" y="1530527"/>
                      </a:lnTo>
                      <a:lnTo>
                        <a:pt x="1067396" y="1530527"/>
                      </a:lnTo>
                      <a:lnTo>
                        <a:pt x="1069378" y="1529257"/>
                      </a:lnTo>
                      <a:lnTo>
                        <a:pt x="1071333" y="1529257"/>
                      </a:lnTo>
                      <a:lnTo>
                        <a:pt x="1071600" y="1527987"/>
                      </a:lnTo>
                      <a:lnTo>
                        <a:pt x="1071765" y="1527987"/>
                      </a:lnTo>
                      <a:lnTo>
                        <a:pt x="1072413" y="1525447"/>
                      </a:lnTo>
                      <a:lnTo>
                        <a:pt x="1073289" y="1525447"/>
                      </a:lnTo>
                      <a:lnTo>
                        <a:pt x="1076350" y="1527987"/>
                      </a:lnTo>
                      <a:lnTo>
                        <a:pt x="1078039" y="1529257"/>
                      </a:lnTo>
                      <a:lnTo>
                        <a:pt x="1089977" y="1529257"/>
                      </a:lnTo>
                      <a:lnTo>
                        <a:pt x="1091717" y="1530527"/>
                      </a:lnTo>
                      <a:lnTo>
                        <a:pt x="1094270" y="1530527"/>
                      </a:lnTo>
                      <a:lnTo>
                        <a:pt x="1095387" y="1533067"/>
                      </a:lnTo>
                      <a:lnTo>
                        <a:pt x="1097610" y="1539417"/>
                      </a:lnTo>
                      <a:lnTo>
                        <a:pt x="1099185" y="1541957"/>
                      </a:lnTo>
                      <a:lnTo>
                        <a:pt x="1100975" y="1536877"/>
                      </a:lnTo>
                      <a:lnTo>
                        <a:pt x="1102829" y="1531797"/>
                      </a:lnTo>
                      <a:lnTo>
                        <a:pt x="1104722" y="1527987"/>
                      </a:lnTo>
                      <a:lnTo>
                        <a:pt x="1119670" y="1527987"/>
                      </a:lnTo>
                      <a:lnTo>
                        <a:pt x="1120267" y="1529257"/>
                      </a:lnTo>
                      <a:lnTo>
                        <a:pt x="1121232" y="1530527"/>
                      </a:lnTo>
                      <a:lnTo>
                        <a:pt x="1121486" y="1530527"/>
                      </a:lnTo>
                      <a:lnTo>
                        <a:pt x="1123175" y="1531797"/>
                      </a:lnTo>
                      <a:lnTo>
                        <a:pt x="1124013" y="1533067"/>
                      </a:lnTo>
                      <a:lnTo>
                        <a:pt x="1126223" y="1534337"/>
                      </a:lnTo>
                      <a:lnTo>
                        <a:pt x="1126655" y="1534337"/>
                      </a:lnTo>
                      <a:lnTo>
                        <a:pt x="1127137" y="1535607"/>
                      </a:lnTo>
                      <a:lnTo>
                        <a:pt x="1127620" y="1535607"/>
                      </a:lnTo>
                      <a:lnTo>
                        <a:pt x="1129106" y="1538147"/>
                      </a:lnTo>
                      <a:lnTo>
                        <a:pt x="1129626" y="1539417"/>
                      </a:lnTo>
                      <a:lnTo>
                        <a:pt x="1130465" y="1538147"/>
                      </a:lnTo>
                      <a:lnTo>
                        <a:pt x="1129855" y="1539417"/>
                      </a:lnTo>
                      <a:lnTo>
                        <a:pt x="1130160" y="1539417"/>
                      </a:lnTo>
                      <a:lnTo>
                        <a:pt x="1131824" y="1541957"/>
                      </a:lnTo>
                      <a:lnTo>
                        <a:pt x="1133386" y="1543227"/>
                      </a:lnTo>
                      <a:lnTo>
                        <a:pt x="1135202" y="1545767"/>
                      </a:lnTo>
                      <a:lnTo>
                        <a:pt x="1137500" y="1548307"/>
                      </a:lnTo>
                      <a:lnTo>
                        <a:pt x="1138262" y="1548307"/>
                      </a:lnTo>
                      <a:lnTo>
                        <a:pt x="1141742" y="1552117"/>
                      </a:lnTo>
                      <a:lnTo>
                        <a:pt x="1144308" y="1553387"/>
                      </a:lnTo>
                      <a:lnTo>
                        <a:pt x="1145743" y="1554657"/>
                      </a:lnTo>
                      <a:lnTo>
                        <a:pt x="1147775" y="1555927"/>
                      </a:lnTo>
                      <a:lnTo>
                        <a:pt x="1151242" y="1555927"/>
                      </a:lnTo>
                      <a:lnTo>
                        <a:pt x="1155471" y="1557197"/>
                      </a:lnTo>
                      <a:lnTo>
                        <a:pt x="1157503" y="1557197"/>
                      </a:lnTo>
                      <a:lnTo>
                        <a:pt x="1159014" y="1558467"/>
                      </a:lnTo>
                      <a:lnTo>
                        <a:pt x="1161796" y="1559737"/>
                      </a:lnTo>
                      <a:lnTo>
                        <a:pt x="1163231" y="1559737"/>
                      </a:lnTo>
                      <a:lnTo>
                        <a:pt x="1167866" y="1563547"/>
                      </a:lnTo>
                      <a:lnTo>
                        <a:pt x="1174013" y="1567357"/>
                      </a:lnTo>
                      <a:lnTo>
                        <a:pt x="1190078" y="1576247"/>
                      </a:lnTo>
                      <a:lnTo>
                        <a:pt x="1193355" y="1577517"/>
                      </a:lnTo>
                      <a:lnTo>
                        <a:pt x="1193673" y="1578787"/>
                      </a:lnTo>
                      <a:lnTo>
                        <a:pt x="1194028" y="1580057"/>
                      </a:lnTo>
                      <a:lnTo>
                        <a:pt x="1192898" y="1582597"/>
                      </a:lnTo>
                      <a:lnTo>
                        <a:pt x="1188961" y="1587677"/>
                      </a:lnTo>
                      <a:lnTo>
                        <a:pt x="1185913" y="1591487"/>
                      </a:lnTo>
                      <a:lnTo>
                        <a:pt x="1183081" y="1601647"/>
                      </a:lnTo>
                      <a:lnTo>
                        <a:pt x="1180096" y="1604187"/>
                      </a:lnTo>
                      <a:lnTo>
                        <a:pt x="1179309" y="1604187"/>
                      </a:lnTo>
                      <a:lnTo>
                        <a:pt x="1178928" y="1605457"/>
                      </a:lnTo>
                      <a:lnTo>
                        <a:pt x="1179537" y="1606727"/>
                      </a:lnTo>
                      <a:lnTo>
                        <a:pt x="1179664" y="1609267"/>
                      </a:lnTo>
                      <a:lnTo>
                        <a:pt x="1185430" y="1607997"/>
                      </a:lnTo>
                      <a:lnTo>
                        <a:pt x="1189151" y="1607997"/>
                      </a:lnTo>
                      <a:lnTo>
                        <a:pt x="1192276" y="1609267"/>
                      </a:lnTo>
                      <a:lnTo>
                        <a:pt x="1195400" y="1609267"/>
                      </a:lnTo>
                      <a:lnTo>
                        <a:pt x="1197902" y="1610537"/>
                      </a:lnTo>
                      <a:lnTo>
                        <a:pt x="1208684" y="1610537"/>
                      </a:lnTo>
                      <a:lnTo>
                        <a:pt x="1210322" y="1611807"/>
                      </a:lnTo>
                      <a:lnTo>
                        <a:pt x="1212138" y="1613077"/>
                      </a:lnTo>
                      <a:lnTo>
                        <a:pt x="1213269" y="1613077"/>
                      </a:lnTo>
                      <a:lnTo>
                        <a:pt x="1213878" y="1611807"/>
                      </a:lnTo>
                      <a:lnTo>
                        <a:pt x="1214081" y="1611807"/>
                      </a:lnTo>
                      <a:lnTo>
                        <a:pt x="1215478" y="1610537"/>
                      </a:lnTo>
                      <a:lnTo>
                        <a:pt x="1216990" y="1609267"/>
                      </a:lnTo>
                      <a:lnTo>
                        <a:pt x="1218920" y="1609267"/>
                      </a:lnTo>
                      <a:lnTo>
                        <a:pt x="1220597" y="1610537"/>
                      </a:lnTo>
                      <a:lnTo>
                        <a:pt x="1223073" y="1609267"/>
                      </a:lnTo>
                      <a:lnTo>
                        <a:pt x="1224597" y="1607997"/>
                      </a:lnTo>
                      <a:lnTo>
                        <a:pt x="1224889" y="1606727"/>
                      </a:lnTo>
                      <a:lnTo>
                        <a:pt x="1224737" y="1605457"/>
                      </a:lnTo>
                      <a:lnTo>
                        <a:pt x="1225727" y="1605457"/>
                      </a:lnTo>
                      <a:lnTo>
                        <a:pt x="1226108" y="1604187"/>
                      </a:lnTo>
                      <a:lnTo>
                        <a:pt x="1227201" y="1604187"/>
                      </a:lnTo>
                      <a:lnTo>
                        <a:pt x="1228686" y="1602917"/>
                      </a:lnTo>
                      <a:lnTo>
                        <a:pt x="1229906" y="1602917"/>
                      </a:lnTo>
                      <a:lnTo>
                        <a:pt x="1231188" y="1601647"/>
                      </a:lnTo>
                      <a:lnTo>
                        <a:pt x="1233093" y="1599107"/>
                      </a:lnTo>
                      <a:lnTo>
                        <a:pt x="1235671" y="1597837"/>
                      </a:lnTo>
                      <a:lnTo>
                        <a:pt x="1238859" y="1582597"/>
                      </a:lnTo>
                      <a:lnTo>
                        <a:pt x="1239520" y="1582597"/>
                      </a:lnTo>
                      <a:lnTo>
                        <a:pt x="1239888" y="1583867"/>
                      </a:lnTo>
                      <a:lnTo>
                        <a:pt x="1241729" y="1583867"/>
                      </a:lnTo>
                      <a:lnTo>
                        <a:pt x="1243685" y="1582597"/>
                      </a:lnTo>
                      <a:lnTo>
                        <a:pt x="1244041" y="1581327"/>
                      </a:lnTo>
                      <a:lnTo>
                        <a:pt x="1245425" y="1582597"/>
                      </a:lnTo>
                      <a:lnTo>
                        <a:pt x="1246606" y="1582597"/>
                      </a:lnTo>
                      <a:lnTo>
                        <a:pt x="1250772" y="1592757"/>
                      </a:lnTo>
                      <a:lnTo>
                        <a:pt x="1249680" y="1599107"/>
                      </a:lnTo>
                      <a:lnTo>
                        <a:pt x="1249553" y="1599107"/>
                      </a:lnTo>
                      <a:lnTo>
                        <a:pt x="1249032" y="1601647"/>
                      </a:lnTo>
                      <a:lnTo>
                        <a:pt x="1248841" y="1601647"/>
                      </a:lnTo>
                      <a:lnTo>
                        <a:pt x="1248295" y="1604187"/>
                      </a:lnTo>
                      <a:lnTo>
                        <a:pt x="1247965" y="1604187"/>
                      </a:lnTo>
                      <a:lnTo>
                        <a:pt x="1247457" y="1605457"/>
                      </a:lnTo>
                      <a:lnTo>
                        <a:pt x="1246454" y="1605457"/>
                      </a:lnTo>
                      <a:lnTo>
                        <a:pt x="1242174" y="1607997"/>
                      </a:lnTo>
                      <a:lnTo>
                        <a:pt x="1239481" y="1609267"/>
                      </a:lnTo>
                      <a:lnTo>
                        <a:pt x="1234173" y="1610537"/>
                      </a:lnTo>
                      <a:lnTo>
                        <a:pt x="1230731" y="1613077"/>
                      </a:lnTo>
                      <a:lnTo>
                        <a:pt x="1229766" y="1614347"/>
                      </a:lnTo>
                      <a:lnTo>
                        <a:pt x="1227328" y="1616887"/>
                      </a:lnTo>
                      <a:lnTo>
                        <a:pt x="1226400" y="1616887"/>
                      </a:lnTo>
                      <a:lnTo>
                        <a:pt x="1225537" y="1618157"/>
                      </a:lnTo>
                      <a:lnTo>
                        <a:pt x="1225334" y="1618157"/>
                      </a:lnTo>
                      <a:lnTo>
                        <a:pt x="1224114" y="1619427"/>
                      </a:lnTo>
                      <a:lnTo>
                        <a:pt x="1221816" y="1619427"/>
                      </a:lnTo>
                      <a:lnTo>
                        <a:pt x="1221092" y="1620697"/>
                      </a:lnTo>
                      <a:lnTo>
                        <a:pt x="1220533" y="1620697"/>
                      </a:lnTo>
                      <a:lnTo>
                        <a:pt x="1220431" y="1621967"/>
                      </a:lnTo>
                      <a:lnTo>
                        <a:pt x="1220101" y="1621967"/>
                      </a:lnTo>
                      <a:lnTo>
                        <a:pt x="1220800" y="1624507"/>
                      </a:lnTo>
                      <a:lnTo>
                        <a:pt x="1218539" y="1624507"/>
                      </a:lnTo>
                      <a:lnTo>
                        <a:pt x="1215631" y="1628317"/>
                      </a:lnTo>
                      <a:lnTo>
                        <a:pt x="1214310" y="1629587"/>
                      </a:lnTo>
                      <a:lnTo>
                        <a:pt x="1212659" y="1630857"/>
                      </a:lnTo>
                      <a:lnTo>
                        <a:pt x="1208659" y="1635937"/>
                      </a:lnTo>
                      <a:lnTo>
                        <a:pt x="1204391" y="1641017"/>
                      </a:lnTo>
                      <a:lnTo>
                        <a:pt x="1195146" y="1649907"/>
                      </a:lnTo>
                      <a:lnTo>
                        <a:pt x="1194625" y="1651177"/>
                      </a:lnTo>
                      <a:lnTo>
                        <a:pt x="1194041" y="1651177"/>
                      </a:lnTo>
                      <a:lnTo>
                        <a:pt x="1193304" y="1652447"/>
                      </a:lnTo>
                      <a:lnTo>
                        <a:pt x="1192453" y="1653717"/>
                      </a:lnTo>
                      <a:lnTo>
                        <a:pt x="1191628" y="1653717"/>
                      </a:lnTo>
                      <a:lnTo>
                        <a:pt x="1190637" y="1654987"/>
                      </a:lnTo>
                      <a:lnTo>
                        <a:pt x="1189990" y="1657527"/>
                      </a:lnTo>
                      <a:lnTo>
                        <a:pt x="1189863" y="1658797"/>
                      </a:lnTo>
                      <a:lnTo>
                        <a:pt x="1190777" y="1661337"/>
                      </a:lnTo>
                      <a:lnTo>
                        <a:pt x="1188339" y="1671497"/>
                      </a:lnTo>
                      <a:lnTo>
                        <a:pt x="1188046" y="1672767"/>
                      </a:lnTo>
                      <a:lnTo>
                        <a:pt x="1187881" y="1674037"/>
                      </a:lnTo>
                      <a:lnTo>
                        <a:pt x="1187831" y="1675307"/>
                      </a:lnTo>
                      <a:lnTo>
                        <a:pt x="1188008" y="1676577"/>
                      </a:lnTo>
                      <a:lnTo>
                        <a:pt x="1187754" y="1676577"/>
                      </a:lnTo>
                      <a:lnTo>
                        <a:pt x="1185811" y="1677847"/>
                      </a:lnTo>
                      <a:lnTo>
                        <a:pt x="1185545" y="1679117"/>
                      </a:lnTo>
                      <a:lnTo>
                        <a:pt x="1185468" y="1680387"/>
                      </a:lnTo>
                      <a:lnTo>
                        <a:pt x="1185659" y="1681657"/>
                      </a:lnTo>
                      <a:lnTo>
                        <a:pt x="1185684" y="1689277"/>
                      </a:lnTo>
                      <a:lnTo>
                        <a:pt x="1186484" y="1691817"/>
                      </a:lnTo>
                      <a:lnTo>
                        <a:pt x="1187818" y="1695627"/>
                      </a:lnTo>
                      <a:lnTo>
                        <a:pt x="1186929" y="1696897"/>
                      </a:lnTo>
                      <a:lnTo>
                        <a:pt x="1185468" y="1698167"/>
                      </a:lnTo>
                      <a:lnTo>
                        <a:pt x="1183525" y="1700707"/>
                      </a:lnTo>
                      <a:lnTo>
                        <a:pt x="1182700" y="1703247"/>
                      </a:lnTo>
                      <a:lnTo>
                        <a:pt x="1182560" y="1705787"/>
                      </a:lnTo>
                      <a:lnTo>
                        <a:pt x="1182230" y="1708327"/>
                      </a:lnTo>
                      <a:lnTo>
                        <a:pt x="1181938" y="1709597"/>
                      </a:lnTo>
                      <a:lnTo>
                        <a:pt x="1184033" y="1709597"/>
                      </a:lnTo>
                      <a:lnTo>
                        <a:pt x="1184325" y="1708327"/>
                      </a:lnTo>
                      <a:lnTo>
                        <a:pt x="1184668" y="1705787"/>
                      </a:lnTo>
                      <a:lnTo>
                        <a:pt x="1184795" y="1703247"/>
                      </a:lnTo>
                      <a:lnTo>
                        <a:pt x="1185519" y="1701977"/>
                      </a:lnTo>
                      <a:lnTo>
                        <a:pt x="1186916" y="1699437"/>
                      </a:lnTo>
                      <a:lnTo>
                        <a:pt x="1188364" y="1699437"/>
                      </a:lnTo>
                      <a:lnTo>
                        <a:pt x="1190193" y="1696897"/>
                      </a:lnTo>
                      <a:lnTo>
                        <a:pt x="1188504" y="1691817"/>
                      </a:lnTo>
                      <a:lnTo>
                        <a:pt x="1187805" y="1689277"/>
                      </a:lnTo>
                      <a:lnTo>
                        <a:pt x="1187742" y="1685467"/>
                      </a:lnTo>
                      <a:lnTo>
                        <a:pt x="1187780" y="1681657"/>
                      </a:lnTo>
                      <a:lnTo>
                        <a:pt x="1187615" y="1680387"/>
                      </a:lnTo>
                      <a:lnTo>
                        <a:pt x="1187678" y="1679117"/>
                      </a:lnTo>
                      <a:lnTo>
                        <a:pt x="1189418" y="1679117"/>
                      </a:lnTo>
                      <a:lnTo>
                        <a:pt x="1190167" y="1676577"/>
                      </a:lnTo>
                      <a:lnTo>
                        <a:pt x="1190078" y="1675307"/>
                      </a:lnTo>
                      <a:lnTo>
                        <a:pt x="1189951" y="1675307"/>
                      </a:lnTo>
                      <a:lnTo>
                        <a:pt x="1189990" y="1674037"/>
                      </a:lnTo>
                      <a:lnTo>
                        <a:pt x="1190320" y="1671497"/>
                      </a:lnTo>
                      <a:lnTo>
                        <a:pt x="1190980" y="1670227"/>
                      </a:lnTo>
                      <a:lnTo>
                        <a:pt x="1191831" y="1668957"/>
                      </a:lnTo>
                      <a:lnTo>
                        <a:pt x="1192771" y="1663877"/>
                      </a:lnTo>
                      <a:lnTo>
                        <a:pt x="1193063" y="1662607"/>
                      </a:lnTo>
                      <a:lnTo>
                        <a:pt x="1192936" y="1661337"/>
                      </a:lnTo>
                      <a:lnTo>
                        <a:pt x="1191996" y="1658797"/>
                      </a:lnTo>
                      <a:lnTo>
                        <a:pt x="1192060" y="1657527"/>
                      </a:lnTo>
                      <a:lnTo>
                        <a:pt x="1192593" y="1656257"/>
                      </a:lnTo>
                      <a:lnTo>
                        <a:pt x="1193317" y="1654987"/>
                      </a:lnTo>
                      <a:lnTo>
                        <a:pt x="1193660" y="1654987"/>
                      </a:lnTo>
                      <a:lnTo>
                        <a:pt x="1195082" y="1653717"/>
                      </a:lnTo>
                      <a:lnTo>
                        <a:pt x="1195400" y="1653717"/>
                      </a:lnTo>
                      <a:lnTo>
                        <a:pt x="1198168" y="1654987"/>
                      </a:lnTo>
                      <a:lnTo>
                        <a:pt x="1200188" y="1654987"/>
                      </a:lnTo>
                      <a:lnTo>
                        <a:pt x="1202309" y="1653717"/>
                      </a:lnTo>
                      <a:lnTo>
                        <a:pt x="1202753" y="1652447"/>
                      </a:lnTo>
                      <a:lnTo>
                        <a:pt x="1203782" y="1651177"/>
                      </a:lnTo>
                      <a:lnTo>
                        <a:pt x="1208125" y="1653717"/>
                      </a:lnTo>
                      <a:lnTo>
                        <a:pt x="1212532" y="1657527"/>
                      </a:lnTo>
                      <a:lnTo>
                        <a:pt x="1213713" y="1658797"/>
                      </a:lnTo>
                      <a:lnTo>
                        <a:pt x="1216228" y="1661337"/>
                      </a:lnTo>
                      <a:lnTo>
                        <a:pt x="1216571" y="1661337"/>
                      </a:lnTo>
                      <a:lnTo>
                        <a:pt x="1217104" y="1663877"/>
                      </a:lnTo>
                      <a:lnTo>
                        <a:pt x="1217053" y="1665147"/>
                      </a:lnTo>
                      <a:lnTo>
                        <a:pt x="1215974" y="1667687"/>
                      </a:lnTo>
                      <a:lnTo>
                        <a:pt x="1219200" y="1667687"/>
                      </a:lnTo>
                      <a:lnTo>
                        <a:pt x="1220190" y="1666417"/>
                      </a:lnTo>
                      <a:lnTo>
                        <a:pt x="1222019" y="1666417"/>
                      </a:lnTo>
                      <a:lnTo>
                        <a:pt x="1221511" y="1665147"/>
                      </a:lnTo>
                      <a:lnTo>
                        <a:pt x="1222273" y="1666417"/>
                      </a:lnTo>
                      <a:lnTo>
                        <a:pt x="1222413" y="1665147"/>
                      </a:lnTo>
                      <a:lnTo>
                        <a:pt x="1223137" y="1665147"/>
                      </a:lnTo>
                      <a:lnTo>
                        <a:pt x="1222819" y="1663877"/>
                      </a:lnTo>
                      <a:lnTo>
                        <a:pt x="1223530" y="1665147"/>
                      </a:lnTo>
                      <a:lnTo>
                        <a:pt x="1224038" y="1663877"/>
                      </a:lnTo>
                      <a:lnTo>
                        <a:pt x="1224724" y="1665147"/>
                      </a:lnTo>
                      <a:lnTo>
                        <a:pt x="1227543" y="1668957"/>
                      </a:lnTo>
                      <a:lnTo>
                        <a:pt x="1229474" y="1670227"/>
                      </a:lnTo>
                      <a:lnTo>
                        <a:pt x="1235925" y="1672767"/>
                      </a:lnTo>
                      <a:lnTo>
                        <a:pt x="1237488" y="1674037"/>
                      </a:lnTo>
                      <a:lnTo>
                        <a:pt x="1239304" y="1676577"/>
                      </a:lnTo>
                      <a:lnTo>
                        <a:pt x="1245539" y="1680387"/>
                      </a:lnTo>
                      <a:lnTo>
                        <a:pt x="1246492" y="1680387"/>
                      </a:lnTo>
                      <a:lnTo>
                        <a:pt x="1250315" y="1686737"/>
                      </a:lnTo>
                      <a:lnTo>
                        <a:pt x="1252080" y="1689277"/>
                      </a:lnTo>
                      <a:lnTo>
                        <a:pt x="1256995" y="1691817"/>
                      </a:lnTo>
                      <a:lnTo>
                        <a:pt x="1256576" y="1691817"/>
                      </a:lnTo>
                      <a:lnTo>
                        <a:pt x="1253515" y="1696897"/>
                      </a:lnTo>
                      <a:lnTo>
                        <a:pt x="1252677" y="1698167"/>
                      </a:lnTo>
                      <a:lnTo>
                        <a:pt x="1252054" y="1699437"/>
                      </a:lnTo>
                      <a:lnTo>
                        <a:pt x="1251496" y="1705787"/>
                      </a:lnTo>
                      <a:lnTo>
                        <a:pt x="1252905" y="1707057"/>
                      </a:lnTo>
                      <a:lnTo>
                        <a:pt x="1254086" y="1709597"/>
                      </a:lnTo>
                      <a:lnTo>
                        <a:pt x="1256144" y="1709597"/>
                      </a:lnTo>
                      <a:lnTo>
                        <a:pt x="1256614" y="1708327"/>
                      </a:lnTo>
                      <a:lnTo>
                        <a:pt x="1255610" y="1708327"/>
                      </a:lnTo>
                      <a:lnTo>
                        <a:pt x="1256042" y="1707057"/>
                      </a:lnTo>
                      <a:lnTo>
                        <a:pt x="1255445" y="1707057"/>
                      </a:lnTo>
                      <a:lnTo>
                        <a:pt x="1254518" y="1705787"/>
                      </a:lnTo>
                      <a:lnTo>
                        <a:pt x="1254315" y="1705787"/>
                      </a:lnTo>
                      <a:lnTo>
                        <a:pt x="1253909" y="1704517"/>
                      </a:lnTo>
                      <a:lnTo>
                        <a:pt x="1254112" y="1699437"/>
                      </a:lnTo>
                      <a:lnTo>
                        <a:pt x="1255344" y="1696897"/>
                      </a:lnTo>
                      <a:lnTo>
                        <a:pt x="1258811" y="1693087"/>
                      </a:lnTo>
                      <a:lnTo>
                        <a:pt x="1259941" y="1690547"/>
                      </a:lnTo>
                      <a:close/>
                    </a:path>
                    <a:path w="2709545" h="2035175">
                      <a:moveTo>
                        <a:pt x="1281341" y="1146987"/>
                      </a:moveTo>
                      <a:lnTo>
                        <a:pt x="1279347" y="1146987"/>
                      </a:lnTo>
                      <a:lnTo>
                        <a:pt x="1278648" y="1148257"/>
                      </a:lnTo>
                      <a:lnTo>
                        <a:pt x="1275651" y="1153337"/>
                      </a:lnTo>
                      <a:lnTo>
                        <a:pt x="1271562" y="1158417"/>
                      </a:lnTo>
                      <a:lnTo>
                        <a:pt x="1270469" y="1159687"/>
                      </a:lnTo>
                      <a:lnTo>
                        <a:pt x="1268996" y="1163497"/>
                      </a:lnTo>
                      <a:lnTo>
                        <a:pt x="1267942" y="1166037"/>
                      </a:lnTo>
                      <a:lnTo>
                        <a:pt x="1267396" y="1166037"/>
                      </a:lnTo>
                      <a:lnTo>
                        <a:pt x="1266875" y="1167307"/>
                      </a:lnTo>
                      <a:lnTo>
                        <a:pt x="1266151" y="1169847"/>
                      </a:lnTo>
                      <a:lnTo>
                        <a:pt x="1265885" y="1171117"/>
                      </a:lnTo>
                      <a:lnTo>
                        <a:pt x="1265529" y="1171117"/>
                      </a:lnTo>
                      <a:lnTo>
                        <a:pt x="1264894" y="1172387"/>
                      </a:lnTo>
                      <a:lnTo>
                        <a:pt x="1264043" y="1172387"/>
                      </a:lnTo>
                      <a:lnTo>
                        <a:pt x="1262202" y="1173657"/>
                      </a:lnTo>
                      <a:lnTo>
                        <a:pt x="1261960" y="1173657"/>
                      </a:lnTo>
                      <a:lnTo>
                        <a:pt x="1261325" y="1174927"/>
                      </a:lnTo>
                      <a:lnTo>
                        <a:pt x="1257858" y="1174927"/>
                      </a:lnTo>
                      <a:lnTo>
                        <a:pt x="1257414" y="1172387"/>
                      </a:lnTo>
                      <a:lnTo>
                        <a:pt x="1252639" y="1172387"/>
                      </a:lnTo>
                      <a:lnTo>
                        <a:pt x="1250340" y="1173657"/>
                      </a:lnTo>
                      <a:lnTo>
                        <a:pt x="1247952" y="1173657"/>
                      </a:lnTo>
                      <a:lnTo>
                        <a:pt x="1246022" y="1174927"/>
                      </a:lnTo>
                      <a:lnTo>
                        <a:pt x="1242377" y="1174927"/>
                      </a:lnTo>
                      <a:lnTo>
                        <a:pt x="1239901" y="1173657"/>
                      </a:lnTo>
                      <a:lnTo>
                        <a:pt x="1240447" y="1172387"/>
                      </a:lnTo>
                      <a:lnTo>
                        <a:pt x="1241856" y="1171117"/>
                      </a:lnTo>
                      <a:lnTo>
                        <a:pt x="1243342" y="1169847"/>
                      </a:lnTo>
                      <a:lnTo>
                        <a:pt x="1244460" y="1167307"/>
                      </a:lnTo>
                      <a:lnTo>
                        <a:pt x="1244968" y="1167307"/>
                      </a:lnTo>
                      <a:lnTo>
                        <a:pt x="1245323" y="1166037"/>
                      </a:lnTo>
                      <a:lnTo>
                        <a:pt x="1245946" y="1162227"/>
                      </a:lnTo>
                      <a:lnTo>
                        <a:pt x="1246047" y="1160957"/>
                      </a:lnTo>
                      <a:lnTo>
                        <a:pt x="1246352" y="1159687"/>
                      </a:lnTo>
                      <a:lnTo>
                        <a:pt x="1247000" y="1158417"/>
                      </a:lnTo>
                      <a:lnTo>
                        <a:pt x="1247546" y="1157147"/>
                      </a:lnTo>
                      <a:lnTo>
                        <a:pt x="1247686" y="1155877"/>
                      </a:lnTo>
                      <a:lnTo>
                        <a:pt x="1247470" y="1154607"/>
                      </a:lnTo>
                      <a:lnTo>
                        <a:pt x="1247089" y="1154607"/>
                      </a:lnTo>
                      <a:lnTo>
                        <a:pt x="1246085" y="1153337"/>
                      </a:lnTo>
                      <a:lnTo>
                        <a:pt x="1243596" y="1148257"/>
                      </a:lnTo>
                      <a:lnTo>
                        <a:pt x="1241679" y="1143177"/>
                      </a:lnTo>
                      <a:lnTo>
                        <a:pt x="1241031" y="1141907"/>
                      </a:lnTo>
                      <a:lnTo>
                        <a:pt x="1240624" y="1136827"/>
                      </a:lnTo>
                      <a:lnTo>
                        <a:pt x="1240878" y="1135557"/>
                      </a:lnTo>
                      <a:lnTo>
                        <a:pt x="1242009" y="1134287"/>
                      </a:lnTo>
                      <a:lnTo>
                        <a:pt x="1242364" y="1133017"/>
                      </a:lnTo>
                      <a:lnTo>
                        <a:pt x="1244942" y="1130477"/>
                      </a:lnTo>
                      <a:lnTo>
                        <a:pt x="1246568" y="1126667"/>
                      </a:lnTo>
                      <a:lnTo>
                        <a:pt x="1247241" y="1122857"/>
                      </a:lnTo>
                      <a:lnTo>
                        <a:pt x="1245158" y="1122857"/>
                      </a:lnTo>
                      <a:lnTo>
                        <a:pt x="1244549" y="1125397"/>
                      </a:lnTo>
                      <a:lnTo>
                        <a:pt x="1243101" y="1129207"/>
                      </a:lnTo>
                      <a:lnTo>
                        <a:pt x="1241183" y="1131747"/>
                      </a:lnTo>
                      <a:lnTo>
                        <a:pt x="1240675" y="1131747"/>
                      </a:lnTo>
                      <a:lnTo>
                        <a:pt x="1240256" y="1133017"/>
                      </a:lnTo>
                      <a:lnTo>
                        <a:pt x="1239862" y="1133017"/>
                      </a:lnTo>
                      <a:lnTo>
                        <a:pt x="1238808" y="1135557"/>
                      </a:lnTo>
                      <a:lnTo>
                        <a:pt x="1238465" y="1136827"/>
                      </a:lnTo>
                      <a:lnTo>
                        <a:pt x="1238948" y="1141907"/>
                      </a:lnTo>
                      <a:lnTo>
                        <a:pt x="1239647" y="1144447"/>
                      </a:lnTo>
                      <a:lnTo>
                        <a:pt x="1241666" y="1148257"/>
                      </a:lnTo>
                      <a:lnTo>
                        <a:pt x="1244282" y="1154607"/>
                      </a:lnTo>
                      <a:lnTo>
                        <a:pt x="1245235" y="1154607"/>
                      </a:lnTo>
                      <a:lnTo>
                        <a:pt x="1245362" y="1155877"/>
                      </a:lnTo>
                      <a:lnTo>
                        <a:pt x="1245489" y="1155877"/>
                      </a:lnTo>
                      <a:lnTo>
                        <a:pt x="1245146" y="1157147"/>
                      </a:lnTo>
                      <a:lnTo>
                        <a:pt x="1244358" y="1158417"/>
                      </a:lnTo>
                      <a:lnTo>
                        <a:pt x="1243939" y="1159687"/>
                      </a:lnTo>
                      <a:lnTo>
                        <a:pt x="1243850" y="1162227"/>
                      </a:lnTo>
                      <a:lnTo>
                        <a:pt x="1243596" y="1162227"/>
                      </a:lnTo>
                      <a:lnTo>
                        <a:pt x="1243291" y="1164767"/>
                      </a:lnTo>
                      <a:lnTo>
                        <a:pt x="1243025" y="1166037"/>
                      </a:lnTo>
                      <a:lnTo>
                        <a:pt x="1242822" y="1166037"/>
                      </a:lnTo>
                      <a:lnTo>
                        <a:pt x="1242618" y="1167307"/>
                      </a:lnTo>
                      <a:lnTo>
                        <a:pt x="1241679" y="1168577"/>
                      </a:lnTo>
                      <a:lnTo>
                        <a:pt x="1240294" y="1169847"/>
                      </a:lnTo>
                      <a:lnTo>
                        <a:pt x="1237945" y="1172387"/>
                      </a:lnTo>
                      <a:lnTo>
                        <a:pt x="1237703" y="1172387"/>
                      </a:lnTo>
                      <a:lnTo>
                        <a:pt x="1237272" y="1171117"/>
                      </a:lnTo>
                      <a:lnTo>
                        <a:pt x="1235862" y="1171117"/>
                      </a:lnTo>
                      <a:lnTo>
                        <a:pt x="1234401" y="1169847"/>
                      </a:lnTo>
                      <a:lnTo>
                        <a:pt x="1233652" y="1169847"/>
                      </a:lnTo>
                      <a:lnTo>
                        <a:pt x="1233335" y="1168577"/>
                      </a:lnTo>
                      <a:lnTo>
                        <a:pt x="1230198" y="1168577"/>
                      </a:lnTo>
                      <a:lnTo>
                        <a:pt x="1226680" y="1171117"/>
                      </a:lnTo>
                      <a:lnTo>
                        <a:pt x="1220584" y="1171117"/>
                      </a:lnTo>
                      <a:lnTo>
                        <a:pt x="1218882" y="1169847"/>
                      </a:lnTo>
                      <a:lnTo>
                        <a:pt x="1218095" y="1169847"/>
                      </a:lnTo>
                      <a:lnTo>
                        <a:pt x="1216507" y="1171117"/>
                      </a:lnTo>
                      <a:lnTo>
                        <a:pt x="1215948" y="1173657"/>
                      </a:lnTo>
                      <a:lnTo>
                        <a:pt x="1216012" y="1174927"/>
                      </a:lnTo>
                      <a:lnTo>
                        <a:pt x="1217790" y="1177467"/>
                      </a:lnTo>
                      <a:lnTo>
                        <a:pt x="1218133" y="1177467"/>
                      </a:lnTo>
                      <a:lnTo>
                        <a:pt x="1218057" y="1178737"/>
                      </a:lnTo>
                      <a:lnTo>
                        <a:pt x="1212265" y="1178737"/>
                      </a:lnTo>
                      <a:lnTo>
                        <a:pt x="1210906" y="1177467"/>
                      </a:lnTo>
                      <a:lnTo>
                        <a:pt x="1209535" y="1177467"/>
                      </a:lnTo>
                      <a:lnTo>
                        <a:pt x="1208849" y="1176197"/>
                      </a:lnTo>
                      <a:lnTo>
                        <a:pt x="1208252" y="1176197"/>
                      </a:lnTo>
                      <a:lnTo>
                        <a:pt x="1207579" y="1174927"/>
                      </a:lnTo>
                      <a:lnTo>
                        <a:pt x="1206728" y="1176197"/>
                      </a:lnTo>
                      <a:lnTo>
                        <a:pt x="1207376" y="1174927"/>
                      </a:lnTo>
                      <a:lnTo>
                        <a:pt x="1206588" y="1173657"/>
                      </a:lnTo>
                      <a:lnTo>
                        <a:pt x="1205395" y="1172387"/>
                      </a:lnTo>
                      <a:lnTo>
                        <a:pt x="1202156" y="1166037"/>
                      </a:lnTo>
                      <a:lnTo>
                        <a:pt x="1201826" y="1166037"/>
                      </a:lnTo>
                      <a:lnTo>
                        <a:pt x="1201635" y="1164767"/>
                      </a:lnTo>
                      <a:lnTo>
                        <a:pt x="1201166" y="1162227"/>
                      </a:lnTo>
                      <a:lnTo>
                        <a:pt x="1200569" y="1159687"/>
                      </a:lnTo>
                      <a:lnTo>
                        <a:pt x="1200213" y="1158417"/>
                      </a:lnTo>
                      <a:lnTo>
                        <a:pt x="1199857" y="1157147"/>
                      </a:lnTo>
                      <a:lnTo>
                        <a:pt x="1197876" y="1157147"/>
                      </a:lnTo>
                      <a:lnTo>
                        <a:pt x="1197495" y="1158417"/>
                      </a:lnTo>
                      <a:lnTo>
                        <a:pt x="1196213" y="1158417"/>
                      </a:lnTo>
                      <a:lnTo>
                        <a:pt x="1195666" y="1157147"/>
                      </a:lnTo>
                      <a:lnTo>
                        <a:pt x="1193977" y="1157147"/>
                      </a:lnTo>
                      <a:lnTo>
                        <a:pt x="1193215" y="1154607"/>
                      </a:lnTo>
                      <a:lnTo>
                        <a:pt x="1192339" y="1153337"/>
                      </a:lnTo>
                      <a:lnTo>
                        <a:pt x="1188974" y="1148257"/>
                      </a:lnTo>
                      <a:lnTo>
                        <a:pt x="1189380" y="1146987"/>
                      </a:lnTo>
                      <a:lnTo>
                        <a:pt x="1190231" y="1146987"/>
                      </a:lnTo>
                      <a:lnTo>
                        <a:pt x="1190815" y="1145717"/>
                      </a:lnTo>
                      <a:lnTo>
                        <a:pt x="1191082" y="1145717"/>
                      </a:lnTo>
                      <a:lnTo>
                        <a:pt x="1191133" y="1144447"/>
                      </a:lnTo>
                      <a:lnTo>
                        <a:pt x="1191412" y="1143177"/>
                      </a:lnTo>
                      <a:lnTo>
                        <a:pt x="1192453" y="1139367"/>
                      </a:lnTo>
                      <a:lnTo>
                        <a:pt x="1192669" y="1136827"/>
                      </a:lnTo>
                      <a:lnTo>
                        <a:pt x="1193457" y="1136827"/>
                      </a:lnTo>
                      <a:lnTo>
                        <a:pt x="1194409" y="1135557"/>
                      </a:lnTo>
                      <a:lnTo>
                        <a:pt x="1195324" y="1135557"/>
                      </a:lnTo>
                      <a:lnTo>
                        <a:pt x="1196898" y="1136827"/>
                      </a:lnTo>
                      <a:lnTo>
                        <a:pt x="1197419" y="1136827"/>
                      </a:lnTo>
                      <a:lnTo>
                        <a:pt x="1198372" y="1135557"/>
                      </a:lnTo>
                      <a:lnTo>
                        <a:pt x="1200264" y="1135557"/>
                      </a:lnTo>
                      <a:lnTo>
                        <a:pt x="1200467" y="1134287"/>
                      </a:lnTo>
                      <a:lnTo>
                        <a:pt x="1200645" y="1134287"/>
                      </a:lnTo>
                      <a:lnTo>
                        <a:pt x="1201254" y="1130477"/>
                      </a:lnTo>
                      <a:lnTo>
                        <a:pt x="1201191" y="1129207"/>
                      </a:lnTo>
                      <a:lnTo>
                        <a:pt x="1201089" y="1127937"/>
                      </a:lnTo>
                      <a:lnTo>
                        <a:pt x="1202156" y="1124127"/>
                      </a:lnTo>
                      <a:lnTo>
                        <a:pt x="1202499" y="1124127"/>
                      </a:lnTo>
                      <a:lnTo>
                        <a:pt x="1202778" y="1122857"/>
                      </a:lnTo>
                      <a:lnTo>
                        <a:pt x="1202969" y="1122857"/>
                      </a:lnTo>
                      <a:lnTo>
                        <a:pt x="1200950" y="1121587"/>
                      </a:lnTo>
                      <a:lnTo>
                        <a:pt x="1200810" y="1122857"/>
                      </a:lnTo>
                      <a:lnTo>
                        <a:pt x="1200264" y="1122857"/>
                      </a:lnTo>
                      <a:lnTo>
                        <a:pt x="1200073" y="1124127"/>
                      </a:lnTo>
                      <a:lnTo>
                        <a:pt x="1198956" y="1127937"/>
                      </a:lnTo>
                      <a:lnTo>
                        <a:pt x="1199121" y="1130477"/>
                      </a:lnTo>
                      <a:lnTo>
                        <a:pt x="1198587" y="1133017"/>
                      </a:lnTo>
                      <a:lnTo>
                        <a:pt x="1198511" y="1134287"/>
                      </a:lnTo>
                      <a:lnTo>
                        <a:pt x="1192199" y="1134287"/>
                      </a:lnTo>
                      <a:lnTo>
                        <a:pt x="1191171" y="1135557"/>
                      </a:lnTo>
                      <a:lnTo>
                        <a:pt x="1190777" y="1136827"/>
                      </a:lnTo>
                      <a:lnTo>
                        <a:pt x="1190574" y="1136827"/>
                      </a:lnTo>
                      <a:lnTo>
                        <a:pt x="1190434" y="1138097"/>
                      </a:lnTo>
                      <a:lnTo>
                        <a:pt x="1190358" y="1139367"/>
                      </a:lnTo>
                      <a:lnTo>
                        <a:pt x="1189380" y="1141907"/>
                      </a:lnTo>
                      <a:lnTo>
                        <a:pt x="1189202" y="1143177"/>
                      </a:lnTo>
                      <a:lnTo>
                        <a:pt x="1189012" y="1143177"/>
                      </a:lnTo>
                      <a:lnTo>
                        <a:pt x="1189037" y="1144447"/>
                      </a:lnTo>
                      <a:lnTo>
                        <a:pt x="1188745" y="1144447"/>
                      </a:lnTo>
                      <a:lnTo>
                        <a:pt x="1187526" y="1145717"/>
                      </a:lnTo>
                      <a:lnTo>
                        <a:pt x="1186713" y="1148257"/>
                      </a:lnTo>
                      <a:lnTo>
                        <a:pt x="1188605" y="1152067"/>
                      </a:lnTo>
                      <a:lnTo>
                        <a:pt x="1190523" y="1154607"/>
                      </a:lnTo>
                      <a:lnTo>
                        <a:pt x="1191450" y="1155877"/>
                      </a:lnTo>
                      <a:lnTo>
                        <a:pt x="1192339" y="1158417"/>
                      </a:lnTo>
                      <a:lnTo>
                        <a:pt x="1193876" y="1159687"/>
                      </a:lnTo>
                      <a:lnTo>
                        <a:pt x="1198372" y="1159687"/>
                      </a:lnTo>
                      <a:lnTo>
                        <a:pt x="1198841" y="1160957"/>
                      </a:lnTo>
                      <a:lnTo>
                        <a:pt x="1199235" y="1163497"/>
                      </a:lnTo>
                      <a:lnTo>
                        <a:pt x="1199781" y="1166037"/>
                      </a:lnTo>
                      <a:lnTo>
                        <a:pt x="1200111" y="1167307"/>
                      </a:lnTo>
                      <a:lnTo>
                        <a:pt x="1200264" y="1167307"/>
                      </a:lnTo>
                      <a:lnTo>
                        <a:pt x="1203604" y="1173657"/>
                      </a:lnTo>
                      <a:lnTo>
                        <a:pt x="1205306" y="1176197"/>
                      </a:lnTo>
                      <a:lnTo>
                        <a:pt x="1206042" y="1176197"/>
                      </a:lnTo>
                      <a:lnTo>
                        <a:pt x="1206106" y="1177467"/>
                      </a:lnTo>
                      <a:lnTo>
                        <a:pt x="1206538" y="1177467"/>
                      </a:lnTo>
                      <a:lnTo>
                        <a:pt x="1207274" y="1176197"/>
                      </a:lnTo>
                      <a:lnTo>
                        <a:pt x="1206817" y="1177467"/>
                      </a:lnTo>
                      <a:lnTo>
                        <a:pt x="1207122" y="1177467"/>
                      </a:lnTo>
                      <a:lnTo>
                        <a:pt x="1206754" y="1178737"/>
                      </a:lnTo>
                      <a:lnTo>
                        <a:pt x="1205433" y="1178737"/>
                      </a:lnTo>
                      <a:lnTo>
                        <a:pt x="1204899" y="1177467"/>
                      </a:lnTo>
                      <a:lnTo>
                        <a:pt x="1202728" y="1177467"/>
                      </a:lnTo>
                      <a:lnTo>
                        <a:pt x="1202245" y="1176197"/>
                      </a:lnTo>
                      <a:lnTo>
                        <a:pt x="1200137" y="1176197"/>
                      </a:lnTo>
                      <a:lnTo>
                        <a:pt x="1198130" y="1177467"/>
                      </a:lnTo>
                      <a:lnTo>
                        <a:pt x="1195692" y="1181277"/>
                      </a:lnTo>
                      <a:lnTo>
                        <a:pt x="1193939" y="1181277"/>
                      </a:lnTo>
                      <a:lnTo>
                        <a:pt x="1190993" y="1182547"/>
                      </a:lnTo>
                      <a:lnTo>
                        <a:pt x="1180452" y="1185087"/>
                      </a:lnTo>
                      <a:lnTo>
                        <a:pt x="1181544" y="1187627"/>
                      </a:lnTo>
                      <a:lnTo>
                        <a:pt x="1181341" y="1187627"/>
                      </a:lnTo>
                      <a:lnTo>
                        <a:pt x="1177886" y="1188897"/>
                      </a:lnTo>
                      <a:lnTo>
                        <a:pt x="1175359" y="1186357"/>
                      </a:lnTo>
                      <a:lnTo>
                        <a:pt x="1171943" y="1186357"/>
                      </a:lnTo>
                      <a:lnTo>
                        <a:pt x="1169644" y="1183817"/>
                      </a:lnTo>
                      <a:lnTo>
                        <a:pt x="1168361" y="1182547"/>
                      </a:lnTo>
                      <a:lnTo>
                        <a:pt x="1166380" y="1181277"/>
                      </a:lnTo>
                      <a:lnTo>
                        <a:pt x="1166279" y="1177467"/>
                      </a:lnTo>
                      <a:lnTo>
                        <a:pt x="1166164" y="1174927"/>
                      </a:lnTo>
                      <a:lnTo>
                        <a:pt x="1164005" y="1172387"/>
                      </a:lnTo>
                      <a:lnTo>
                        <a:pt x="1163243" y="1172387"/>
                      </a:lnTo>
                      <a:lnTo>
                        <a:pt x="1162913" y="1171117"/>
                      </a:lnTo>
                      <a:lnTo>
                        <a:pt x="1162697" y="1169847"/>
                      </a:lnTo>
                      <a:lnTo>
                        <a:pt x="1162545" y="1169847"/>
                      </a:lnTo>
                      <a:lnTo>
                        <a:pt x="1160551" y="1167307"/>
                      </a:lnTo>
                      <a:lnTo>
                        <a:pt x="1165313" y="1155877"/>
                      </a:lnTo>
                      <a:lnTo>
                        <a:pt x="1166253" y="1154557"/>
                      </a:lnTo>
                      <a:lnTo>
                        <a:pt x="1166990" y="1153337"/>
                      </a:lnTo>
                      <a:lnTo>
                        <a:pt x="1168006" y="1153337"/>
                      </a:lnTo>
                      <a:lnTo>
                        <a:pt x="1168628" y="1150797"/>
                      </a:lnTo>
                      <a:lnTo>
                        <a:pt x="1166202" y="1148257"/>
                      </a:lnTo>
                      <a:lnTo>
                        <a:pt x="1165250" y="1145717"/>
                      </a:lnTo>
                      <a:lnTo>
                        <a:pt x="1166050" y="1144447"/>
                      </a:lnTo>
                      <a:lnTo>
                        <a:pt x="1166050" y="1141907"/>
                      </a:lnTo>
                      <a:lnTo>
                        <a:pt x="1162888" y="1141907"/>
                      </a:lnTo>
                      <a:lnTo>
                        <a:pt x="1160335" y="1140637"/>
                      </a:lnTo>
                      <a:lnTo>
                        <a:pt x="1162151" y="1136827"/>
                      </a:lnTo>
                      <a:lnTo>
                        <a:pt x="1162278" y="1134287"/>
                      </a:lnTo>
                      <a:lnTo>
                        <a:pt x="1160437" y="1131747"/>
                      </a:lnTo>
                      <a:lnTo>
                        <a:pt x="1158925" y="1131747"/>
                      </a:lnTo>
                      <a:lnTo>
                        <a:pt x="1158646" y="1130477"/>
                      </a:lnTo>
                      <a:lnTo>
                        <a:pt x="1152677" y="1130477"/>
                      </a:lnTo>
                      <a:lnTo>
                        <a:pt x="1151001" y="1131747"/>
                      </a:lnTo>
                      <a:lnTo>
                        <a:pt x="1150810" y="1130477"/>
                      </a:lnTo>
                      <a:lnTo>
                        <a:pt x="1150112" y="1130477"/>
                      </a:lnTo>
                      <a:lnTo>
                        <a:pt x="1148080" y="1127937"/>
                      </a:lnTo>
                      <a:lnTo>
                        <a:pt x="1142250" y="1121587"/>
                      </a:lnTo>
                      <a:lnTo>
                        <a:pt x="1142580" y="1121587"/>
                      </a:lnTo>
                      <a:lnTo>
                        <a:pt x="1144549" y="1120317"/>
                      </a:lnTo>
                      <a:lnTo>
                        <a:pt x="1145159" y="1119047"/>
                      </a:lnTo>
                      <a:lnTo>
                        <a:pt x="1145451" y="1119047"/>
                      </a:lnTo>
                      <a:lnTo>
                        <a:pt x="1145832" y="1117777"/>
                      </a:lnTo>
                      <a:lnTo>
                        <a:pt x="1145667" y="1116507"/>
                      </a:lnTo>
                      <a:lnTo>
                        <a:pt x="1145324" y="1115237"/>
                      </a:lnTo>
                      <a:lnTo>
                        <a:pt x="1145336" y="1111427"/>
                      </a:lnTo>
                      <a:lnTo>
                        <a:pt x="1146098" y="1111427"/>
                      </a:lnTo>
                      <a:lnTo>
                        <a:pt x="1148041" y="1110157"/>
                      </a:lnTo>
                      <a:lnTo>
                        <a:pt x="1148359" y="1110157"/>
                      </a:lnTo>
                      <a:lnTo>
                        <a:pt x="1149858" y="1111427"/>
                      </a:lnTo>
                      <a:lnTo>
                        <a:pt x="1150734" y="1110157"/>
                      </a:lnTo>
                      <a:lnTo>
                        <a:pt x="1153109" y="1110157"/>
                      </a:lnTo>
                      <a:lnTo>
                        <a:pt x="1153718" y="1108887"/>
                      </a:lnTo>
                      <a:lnTo>
                        <a:pt x="1155179" y="1108887"/>
                      </a:lnTo>
                      <a:lnTo>
                        <a:pt x="1156030" y="1107617"/>
                      </a:lnTo>
                      <a:lnTo>
                        <a:pt x="1156944" y="1107617"/>
                      </a:lnTo>
                      <a:lnTo>
                        <a:pt x="1157274" y="1106347"/>
                      </a:lnTo>
                      <a:lnTo>
                        <a:pt x="1157084" y="1105077"/>
                      </a:lnTo>
                      <a:lnTo>
                        <a:pt x="1156677" y="1102537"/>
                      </a:lnTo>
                      <a:lnTo>
                        <a:pt x="1152804" y="1102537"/>
                      </a:lnTo>
                      <a:lnTo>
                        <a:pt x="1151890" y="1099997"/>
                      </a:lnTo>
                      <a:lnTo>
                        <a:pt x="1151788" y="1098727"/>
                      </a:lnTo>
                      <a:lnTo>
                        <a:pt x="1152232" y="1098727"/>
                      </a:lnTo>
                      <a:lnTo>
                        <a:pt x="1152728" y="1097457"/>
                      </a:lnTo>
                      <a:lnTo>
                        <a:pt x="1153718" y="1096187"/>
                      </a:lnTo>
                      <a:lnTo>
                        <a:pt x="1154404" y="1096187"/>
                      </a:lnTo>
                      <a:lnTo>
                        <a:pt x="1154849" y="1094917"/>
                      </a:lnTo>
                      <a:lnTo>
                        <a:pt x="1156665" y="1094917"/>
                      </a:lnTo>
                      <a:lnTo>
                        <a:pt x="1158341" y="1093647"/>
                      </a:lnTo>
                      <a:lnTo>
                        <a:pt x="1160106" y="1092377"/>
                      </a:lnTo>
                      <a:lnTo>
                        <a:pt x="1163269" y="1089837"/>
                      </a:lnTo>
                      <a:lnTo>
                        <a:pt x="1163713" y="1088567"/>
                      </a:lnTo>
                      <a:lnTo>
                        <a:pt x="1164158" y="1088567"/>
                      </a:lnTo>
                      <a:lnTo>
                        <a:pt x="1164259" y="1087297"/>
                      </a:lnTo>
                      <a:lnTo>
                        <a:pt x="1163243" y="1084757"/>
                      </a:lnTo>
                      <a:lnTo>
                        <a:pt x="1160297" y="1082217"/>
                      </a:lnTo>
                      <a:lnTo>
                        <a:pt x="1159433" y="1083487"/>
                      </a:lnTo>
                      <a:lnTo>
                        <a:pt x="1160246" y="1083487"/>
                      </a:lnTo>
                      <a:lnTo>
                        <a:pt x="1159713" y="1084757"/>
                      </a:lnTo>
                      <a:lnTo>
                        <a:pt x="1161389" y="1086027"/>
                      </a:lnTo>
                      <a:lnTo>
                        <a:pt x="1162011" y="1087297"/>
                      </a:lnTo>
                      <a:lnTo>
                        <a:pt x="1161643" y="1088567"/>
                      </a:lnTo>
                      <a:lnTo>
                        <a:pt x="1158849" y="1089837"/>
                      </a:lnTo>
                      <a:lnTo>
                        <a:pt x="1156792" y="1092377"/>
                      </a:lnTo>
                      <a:lnTo>
                        <a:pt x="1155395" y="1092377"/>
                      </a:lnTo>
                      <a:lnTo>
                        <a:pt x="1153769" y="1093647"/>
                      </a:lnTo>
                      <a:lnTo>
                        <a:pt x="1153210" y="1093647"/>
                      </a:lnTo>
                      <a:lnTo>
                        <a:pt x="1152156" y="1094917"/>
                      </a:lnTo>
                      <a:lnTo>
                        <a:pt x="1150912" y="1097457"/>
                      </a:lnTo>
                      <a:lnTo>
                        <a:pt x="1149565" y="1097457"/>
                      </a:lnTo>
                      <a:lnTo>
                        <a:pt x="1149743" y="1099997"/>
                      </a:lnTo>
                      <a:lnTo>
                        <a:pt x="1150048" y="1101267"/>
                      </a:lnTo>
                      <a:lnTo>
                        <a:pt x="1150302" y="1102537"/>
                      </a:lnTo>
                      <a:lnTo>
                        <a:pt x="1150543" y="1102537"/>
                      </a:lnTo>
                      <a:lnTo>
                        <a:pt x="1150950" y="1103807"/>
                      </a:lnTo>
                      <a:lnTo>
                        <a:pt x="1151470" y="1103807"/>
                      </a:lnTo>
                      <a:lnTo>
                        <a:pt x="1152067" y="1105077"/>
                      </a:lnTo>
                      <a:lnTo>
                        <a:pt x="1154938" y="1105077"/>
                      </a:lnTo>
                      <a:lnTo>
                        <a:pt x="1155065" y="1106347"/>
                      </a:lnTo>
                      <a:lnTo>
                        <a:pt x="1154150" y="1106347"/>
                      </a:lnTo>
                      <a:lnTo>
                        <a:pt x="1153007" y="1107617"/>
                      </a:lnTo>
                      <a:lnTo>
                        <a:pt x="1150899" y="1108887"/>
                      </a:lnTo>
                      <a:lnTo>
                        <a:pt x="1144333" y="1108887"/>
                      </a:lnTo>
                      <a:lnTo>
                        <a:pt x="1143190" y="1110157"/>
                      </a:lnTo>
                      <a:lnTo>
                        <a:pt x="1143190" y="1115237"/>
                      </a:lnTo>
                      <a:lnTo>
                        <a:pt x="1143622" y="1117777"/>
                      </a:lnTo>
                      <a:lnTo>
                        <a:pt x="1143241" y="1117777"/>
                      </a:lnTo>
                      <a:lnTo>
                        <a:pt x="1140841" y="1120317"/>
                      </a:lnTo>
                      <a:lnTo>
                        <a:pt x="1140320" y="1120317"/>
                      </a:lnTo>
                      <a:lnTo>
                        <a:pt x="1139926" y="1121587"/>
                      </a:lnTo>
                      <a:lnTo>
                        <a:pt x="1140015" y="1122857"/>
                      </a:lnTo>
                      <a:lnTo>
                        <a:pt x="1146517" y="1129207"/>
                      </a:lnTo>
                      <a:lnTo>
                        <a:pt x="1148791" y="1131747"/>
                      </a:lnTo>
                      <a:lnTo>
                        <a:pt x="1149845" y="1133017"/>
                      </a:lnTo>
                      <a:lnTo>
                        <a:pt x="1150048" y="1133017"/>
                      </a:lnTo>
                      <a:lnTo>
                        <a:pt x="1150416" y="1134287"/>
                      </a:lnTo>
                      <a:lnTo>
                        <a:pt x="1150594" y="1134287"/>
                      </a:lnTo>
                      <a:lnTo>
                        <a:pt x="1150734" y="1135557"/>
                      </a:lnTo>
                      <a:lnTo>
                        <a:pt x="1150366" y="1135557"/>
                      </a:lnTo>
                      <a:lnTo>
                        <a:pt x="1151216" y="1136827"/>
                      </a:lnTo>
                      <a:lnTo>
                        <a:pt x="1150912" y="1136827"/>
                      </a:lnTo>
                      <a:lnTo>
                        <a:pt x="1151915" y="1138097"/>
                      </a:lnTo>
                      <a:lnTo>
                        <a:pt x="1152067" y="1136827"/>
                      </a:lnTo>
                      <a:lnTo>
                        <a:pt x="1152575" y="1136827"/>
                      </a:lnTo>
                      <a:lnTo>
                        <a:pt x="1152715" y="1135557"/>
                      </a:lnTo>
                      <a:lnTo>
                        <a:pt x="1152867" y="1135557"/>
                      </a:lnTo>
                      <a:lnTo>
                        <a:pt x="1152842" y="1134287"/>
                      </a:lnTo>
                      <a:lnTo>
                        <a:pt x="1152626" y="1134287"/>
                      </a:lnTo>
                      <a:lnTo>
                        <a:pt x="1152359" y="1133017"/>
                      </a:lnTo>
                      <a:lnTo>
                        <a:pt x="1158836" y="1133017"/>
                      </a:lnTo>
                      <a:lnTo>
                        <a:pt x="1160195" y="1135557"/>
                      </a:lnTo>
                      <a:lnTo>
                        <a:pt x="1159725" y="1138097"/>
                      </a:lnTo>
                      <a:lnTo>
                        <a:pt x="1156957" y="1143177"/>
                      </a:lnTo>
                      <a:lnTo>
                        <a:pt x="1161186" y="1143177"/>
                      </a:lnTo>
                      <a:lnTo>
                        <a:pt x="1163104" y="1144447"/>
                      </a:lnTo>
                      <a:lnTo>
                        <a:pt x="1163789" y="1144447"/>
                      </a:lnTo>
                      <a:lnTo>
                        <a:pt x="1163129" y="1145717"/>
                      </a:lnTo>
                      <a:lnTo>
                        <a:pt x="1164056" y="1148257"/>
                      </a:lnTo>
                      <a:lnTo>
                        <a:pt x="1166266" y="1150797"/>
                      </a:lnTo>
                      <a:lnTo>
                        <a:pt x="1165987" y="1152067"/>
                      </a:lnTo>
                      <a:lnTo>
                        <a:pt x="1165580" y="1152067"/>
                      </a:lnTo>
                      <a:lnTo>
                        <a:pt x="1164094" y="1153337"/>
                      </a:lnTo>
                      <a:lnTo>
                        <a:pt x="1162189" y="1158417"/>
                      </a:lnTo>
                      <a:lnTo>
                        <a:pt x="1159776" y="1164767"/>
                      </a:lnTo>
                      <a:lnTo>
                        <a:pt x="1159522" y="1168577"/>
                      </a:lnTo>
                      <a:lnTo>
                        <a:pt x="1160665" y="1171117"/>
                      </a:lnTo>
                      <a:lnTo>
                        <a:pt x="1161034" y="1172387"/>
                      </a:lnTo>
                      <a:lnTo>
                        <a:pt x="1161605" y="1173657"/>
                      </a:lnTo>
                      <a:lnTo>
                        <a:pt x="1161897" y="1173657"/>
                      </a:lnTo>
                      <a:lnTo>
                        <a:pt x="1164069" y="1174927"/>
                      </a:lnTo>
                      <a:lnTo>
                        <a:pt x="1164158" y="1177467"/>
                      </a:lnTo>
                      <a:lnTo>
                        <a:pt x="1164285" y="1182547"/>
                      </a:lnTo>
                      <a:lnTo>
                        <a:pt x="1167498" y="1185087"/>
                      </a:lnTo>
                      <a:lnTo>
                        <a:pt x="1168247" y="1185087"/>
                      </a:lnTo>
                      <a:lnTo>
                        <a:pt x="1170914" y="1187627"/>
                      </a:lnTo>
                      <a:lnTo>
                        <a:pt x="1174470" y="1188897"/>
                      </a:lnTo>
                      <a:lnTo>
                        <a:pt x="1175816" y="1190167"/>
                      </a:lnTo>
                      <a:lnTo>
                        <a:pt x="1182052" y="1190167"/>
                      </a:lnTo>
                      <a:lnTo>
                        <a:pt x="1183119" y="1188897"/>
                      </a:lnTo>
                      <a:lnTo>
                        <a:pt x="1183665" y="1187627"/>
                      </a:lnTo>
                      <a:lnTo>
                        <a:pt x="1183576" y="1186357"/>
                      </a:lnTo>
                      <a:lnTo>
                        <a:pt x="1191742" y="1185087"/>
                      </a:lnTo>
                      <a:lnTo>
                        <a:pt x="1194562" y="1183817"/>
                      </a:lnTo>
                      <a:lnTo>
                        <a:pt x="1196975" y="1183817"/>
                      </a:lnTo>
                      <a:lnTo>
                        <a:pt x="1199578" y="1180007"/>
                      </a:lnTo>
                      <a:lnTo>
                        <a:pt x="1200988" y="1178737"/>
                      </a:lnTo>
                      <a:lnTo>
                        <a:pt x="1201737" y="1178737"/>
                      </a:lnTo>
                      <a:lnTo>
                        <a:pt x="1201572" y="1180007"/>
                      </a:lnTo>
                      <a:lnTo>
                        <a:pt x="1211707" y="1180007"/>
                      </a:lnTo>
                      <a:lnTo>
                        <a:pt x="1216660" y="1181277"/>
                      </a:lnTo>
                      <a:lnTo>
                        <a:pt x="1219200" y="1181277"/>
                      </a:lnTo>
                      <a:lnTo>
                        <a:pt x="1220025" y="1180007"/>
                      </a:lnTo>
                      <a:lnTo>
                        <a:pt x="1220279" y="1177467"/>
                      </a:lnTo>
                      <a:lnTo>
                        <a:pt x="1219517" y="1176197"/>
                      </a:lnTo>
                      <a:lnTo>
                        <a:pt x="1218247" y="1174927"/>
                      </a:lnTo>
                      <a:lnTo>
                        <a:pt x="1218107" y="1174927"/>
                      </a:lnTo>
                      <a:lnTo>
                        <a:pt x="1218082" y="1173657"/>
                      </a:lnTo>
                      <a:lnTo>
                        <a:pt x="1218425" y="1172387"/>
                      </a:lnTo>
                      <a:lnTo>
                        <a:pt x="1228471" y="1172387"/>
                      </a:lnTo>
                      <a:lnTo>
                        <a:pt x="1230909" y="1171117"/>
                      </a:lnTo>
                      <a:lnTo>
                        <a:pt x="1232966" y="1171117"/>
                      </a:lnTo>
                      <a:lnTo>
                        <a:pt x="1234909" y="1172387"/>
                      </a:lnTo>
                      <a:lnTo>
                        <a:pt x="1235494" y="1173657"/>
                      </a:lnTo>
                      <a:lnTo>
                        <a:pt x="1237411" y="1173657"/>
                      </a:lnTo>
                      <a:lnTo>
                        <a:pt x="1241475" y="1176197"/>
                      </a:lnTo>
                      <a:lnTo>
                        <a:pt x="1243672" y="1177467"/>
                      </a:lnTo>
                      <a:lnTo>
                        <a:pt x="1246289" y="1177467"/>
                      </a:lnTo>
                      <a:lnTo>
                        <a:pt x="1246974" y="1176197"/>
                      </a:lnTo>
                      <a:lnTo>
                        <a:pt x="1248638" y="1176197"/>
                      </a:lnTo>
                      <a:lnTo>
                        <a:pt x="1250797" y="1174927"/>
                      </a:lnTo>
                      <a:lnTo>
                        <a:pt x="1255814" y="1174927"/>
                      </a:lnTo>
                      <a:lnTo>
                        <a:pt x="1256118" y="1176197"/>
                      </a:lnTo>
                      <a:lnTo>
                        <a:pt x="1263370" y="1176197"/>
                      </a:lnTo>
                      <a:lnTo>
                        <a:pt x="1265389" y="1174927"/>
                      </a:lnTo>
                      <a:lnTo>
                        <a:pt x="1266393" y="1173657"/>
                      </a:lnTo>
                      <a:lnTo>
                        <a:pt x="1267625" y="1172387"/>
                      </a:lnTo>
                      <a:lnTo>
                        <a:pt x="1268145" y="1171117"/>
                      </a:lnTo>
                      <a:lnTo>
                        <a:pt x="1268857" y="1168577"/>
                      </a:lnTo>
                      <a:lnTo>
                        <a:pt x="1269136" y="1167307"/>
                      </a:lnTo>
                      <a:lnTo>
                        <a:pt x="1270977" y="1163497"/>
                      </a:lnTo>
                      <a:lnTo>
                        <a:pt x="1271397" y="1162227"/>
                      </a:lnTo>
                      <a:lnTo>
                        <a:pt x="1272247" y="1160957"/>
                      </a:lnTo>
                      <a:lnTo>
                        <a:pt x="1273327" y="1159687"/>
                      </a:lnTo>
                      <a:lnTo>
                        <a:pt x="1277391" y="1154557"/>
                      </a:lnTo>
                      <a:lnTo>
                        <a:pt x="1280452" y="1149527"/>
                      </a:lnTo>
                      <a:lnTo>
                        <a:pt x="1281341" y="1146987"/>
                      </a:lnTo>
                      <a:close/>
                    </a:path>
                    <a:path w="2709545" h="2035175">
                      <a:moveTo>
                        <a:pt x="1822627" y="1013066"/>
                      </a:moveTo>
                      <a:lnTo>
                        <a:pt x="1813725" y="1010310"/>
                      </a:lnTo>
                      <a:lnTo>
                        <a:pt x="1812747" y="1010081"/>
                      </a:lnTo>
                      <a:lnTo>
                        <a:pt x="1811769" y="1009535"/>
                      </a:lnTo>
                      <a:lnTo>
                        <a:pt x="1807959" y="1006678"/>
                      </a:lnTo>
                      <a:lnTo>
                        <a:pt x="1804682" y="1006475"/>
                      </a:lnTo>
                      <a:lnTo>
                        <a:pt x="1801418" y="1006094"/>
                      </a:lnTo>
                      <a:lnTo>
                        <a:pt x="1799094" y="1006817"/>
                      </a:lnTo>
                      <a:lnTo>
                        <a:pt x="1797380" y="1008684"/>
                      </a:lnTo>
                      <a:lnTo>
                        <a:pt x="1789747" y="1009307"/>
                      </a:lnTo>
                      <a:lnTo>
                        <a:pt x="1782445" y="1009510"/>
                      </a:lnTo>
                      <a:lnTo>
                        <a:pt x="1780654" y="1009726"/>
                      </a:lnTo>
                      <a:lnTo>
                        <a:pt x="1781670" y="1011313"/>
                      </a:lnTo>
                      <a:lnTo>
                        <a:pt x="1782470" y="1010704"/>
                      </a:lnTo>
                      <a:lnTo>
                        <a:pt x="1782483" y="1011643"/>
                      </a:lnTo>
                      <a:lnTo>
                        <a:pt x="1790026" y="1011415"/>
                      </a:lnTo>
                      <a:lnTo>
                        <a:pt x="1798002" y="1010805"/>
                      </a:lnTo>
                      <a:lnTo>
                        <a:pt x="1798866" y="1010221"/>
                      </a:lnTo>
                      <a:lnTo>
                        <a:pt x="1800275" y="1008672"/>
                      </a:lnTo>
                      <a:lnTo>
                        <a:pt x="1801622" y="1008253"/>
                      </a:lnTo>
                      <a:lnTo>
                        <a:pt x="1806371" y="1008761"/>
                      </a:lnTo>
                      <a:lnTo>
                        <a:pt x="1807235" y="1008773"/>
                      </a:lnTo>
                      <a:lnTo>
                        <a:pt x="1810994" y="1011555"/>
                      </a:lnTo>
                      <a:lnTo>
                        <a:pt x="1811959" y="1012063"/>
                      </a:lnTo>
                      <a:lnTo>
                        <a:pt x="1813928" y="1012482"/>
                      </a:lnTo>
                      <a:lnTo>
                        <a:pt x="1816684" y="1012583"/>
                      </a:lnTo>
                      <a:lnTo>
                        <a:pt x="1819122" y="1012456"/>
                      </a:lnTo>
                      <a:lnTo>
                        <a:pt x="1819871" y="1012596"/>
                      </a:lnTo>
                      <a:lnTo>
                        <a:pt x="1820075" y="1011555"/>
                      </a:lnTo>
                      <a:lnTo>
                        <a:pt x="1820227" y="1012685"/>
                      </a:lnTo>
                      <a:lnTo>
                        <a:pt x="1820659" y="1011707"/>
                      </a:lnTo>
                      <a:lnTo>
                        <a:pt x="1820481" y="1012786"/>
                      </a:lnTo>
                      <a:lnTo>
                        <a:pt x="1820443" y="1013079"/>
                      </a:lnTo>
                      <a:lnTo>
                        <a:pt x="1820227" y="1013409"/>
                      </a:lnTo>
                      <a:lnTo>
                        <a:pt x="1818093" y="1013968"/>
                      </a:lnTo>
                      <a:lnTo>
                        <a:pt x="1815325" y="1014844"/>
                      </a:lnTo>
                      <a:lnTo>
                        <a:pt x="1812315" y="1013980"/>
                      </a:lnTo>
                      <a:lnTo>
                        <a:pt x="1806130" y="1011097"/>
                      </a:lnTo>
                      <a:lnTo>
                        <a:pt x="1802536" y="1010005"/>
                      </a:lnTo>
                      <a:lnTo>
                        <a:pt x="1801825" y="1010183"/>
                      </a:lnTo>
                      <a:lnTo>
                        <a:pt x="1800517" y="1012202"/>
                      </a:lnTo>
                      <a:lnTo>
                        <a:pt x="1799653" y="1013129"/>
                      </a:lnTo>
                      <a:lnTo>
                        <a:pt x="1793646" y="1014171"/>
                      </a:lnTo>
                      <a:lnTo>
                        <a:pt x="1792528" y="1014653"/>
                      </a:lnTo>
                      <a:lnTo>
                        <a:pt x="1791512" y="1015695"/>
                      </a:lnTo>
                      <a:lnTo>
                        <a:pt x="1780438" y="1017028"/>
                      </a:lnTo>
                      <a:lnTo>
                        <a:pt x="1779879" y="1017041"/>
                      </a:lnTo>
                      <a:lnTo>
                        <a:pt x="1779943" y="1019162"/>
                      </a:lnTo>
                      <a:lnTo>
                        <a:pt x="1792566" y="1017714"/>
                      </a:lnTo>
                      <a:lnTo>
                        <a:pt x="1793951" y="1016330"/>
                      </a:lnTo>
                      <a:lnTo>
                        <a:pt x="1796846" y="1015733"/>
                      </a:lnTo>
                      <a:lnTo>
                        <a:pt x="1800834" y="1015034"/>
                      </a:lnTo>
                      <a:lnTo>
                        <a:pt x="1802206" y="1013498"/>
                      </a:lnTo>
                      <a:lnTo>
                        <a:pt x="1802917" y="1012393"/>
                      </a:lnTo>
                      <a:lnTo>
                        <a:pt x="1803209" y="1012405"/>
                      </a:lnTo>
                      <a:lnTo>
                        <a:pt x="1805368" y="1013079"/>
                      </a:lnTo>
                      <a:lnTo>
                        <a:pt x="1811578" y="1015974"/>
                      </a:lnTo>
                      <a:lnTo>
                        <a:pt x="1815350" y="1017054"/>
                      </a:lnTo>
                      <a:lnTo>
                        <a:pt x="1818728" y="1015987"/>
                      </a:lnTo>
                      <a:lnTo>
                        <a:pt x="1821141" y="1015339"/>
                      </a:lnTo>
                      <a:lnTo>
                        <a:pt x="1821815" y="1014933"/>
                      </a:lnTo>
                      <a:lnTo>
                        <a:pt x="1822234" y="1014310"/>
                      </a:lnTo>
                      <a:lnTo>
                        <a:pt x="1822551" y="1013510"/>
                      </a:lnTo>
                      <a:lnTo>
                        <a:pt x="1822627" y="1013066"/>
                      </a:lnTo>
                      <a:close/>
                    </a:path>
                    <a:path w="2709545" h="2035175">
                      <a:moveTo>
                        <a:pt x="1844586" y="1065301"/>
                      </a:moveTo>
                      <a:lnTo>
                        <a:pt x="1841868" y="1065314"/>
                      </a:lnTo>
                      <a:lnTo>
                        <a:pt x="1843722" y="1066571"/>
                      </a:lnTo>
                      <a:lnTo>
                        <a:pt x="1844065" y="1066571"/>
                      </a:lnTo>
                      <a:lnTo>
                        <a:pt x="1844586" y="1065301"/>
                      </a:lnTo>
                      <a:close/>
                    </a:path>
                    <a:path w="2709545" h="2035175">
                      <a:moveTo>
                        <a:pt x="1922475" y="595998"/>
                      </a:moveTo>
                      <a:lnTo>
                        <a:pt x="1920303" y="595998"/>
                      </a:lnTo>
                      <a:lnTo>
                        <a:pt x="1919897" y="595998"/>
                      </a:lnTo>
                      <a:lnTo>
                        <a:pt x="1919046" y="596773"/>
                      </a:lnTo>
                      <a:lnTo>
                        <a:pt x="1919122" y="598017"/>
                      </a:lnTo>
                      <a:lnTo>
                        <a:pt x="1919389" y="600798"/>
                      </a:lnTo>
                      <a:lnTo>
                        <a:pt x="1918919" y="605459"/>
                      </a:lnTo>
                      <a:lnTo>
                        <a:pt x="1917954" y="606082"/>
                      </a:lnTo>
                      <a:lnTo>
                        <a:pt x="1917534" y="606285"/>
                      </a:lnTo>
                      <a:lnTo>
                        <a:pt x="1915718" y="606221"/>
                      </a:lnTo>
                      <a:lnTo>
                        <a:pt x="1912620" y="605878"/>
                      </a:lnTo>
                      <a:lnTo>
                        <a:pt x="1909762" y="605624"/>
                      </a:lnTo>
                      <a:lnTo>
                        <a:pt x="1913699" y="612521"/>
                      </a:lnTo>
                      <a:lnTo>
                        <a:pt x="1913928" y="612940"/>
                      </a:lnTo>
                      <a:lnTo>
                        <a:pt x="1914423" y="613435"/>
                      </a:lnTo>
                      <a:lnTo>
                        <a:pt x="1914575" y="613562"/>
                      </a:lnTo>
                      <a:lnTo>
                        <a:pt x="1914855" y="614972"/>
                      </a:lnTo>
                      <a:lnTo>
                        <a:pt x="1915248" y="615403"/>
                      </a:lnTo>
                      <a:lnTo>
                        <a:pt x="1915375" y="615518"/>
                      </a:lnTo>
                      <a:lnTo>
                        <a:pt x="1915858" y="616191"/>
                      </a:lnTo>
                      <a:lnTo>
                        <a:pt x="1918589" y="617308"/>
                      </a:lnTo>
                      <a:lnTo>
                        <a:pt x="1918614" y="618007"/>
                      </a:lnTo>
                      <a:lnTo>
                        <a:pt x="1918157" y="618705"/>
                      </a:lnTo>
                      <a:lnTo>
                        <a:pt x="1916874" y="620026"/>
                      </a:lnTo>
                      <a:lnTo>
                        <a:pt x="1915299" y="621855"/>
                      </a:lnTo>
                      <a:lnTo>
                        <a:pt x="1915185" y="622084"/>
                      </a:lnTo>
                      <a:lnTo>
                        <a:pt x="1914321" y="624662"/>
                      </a:lnTo>
                      <a:lnTo>
                        <a:pt x="1913432" y="627138"/>
                      </a:lnTo>
                      <a:lnTo>
                        <a:pt x="1915998" y="630605"/>
                      </a:lnTo>
                      <a:lnTo>
                        <a:pt x="1916430" y="631291"/>
                      </a:lnTo>
                      <a:lnTo>
                        <a:pt x="1916620" y="631558"/>
                      </a:lnTo>
                      <a:lnTo>
                        <a:pt x="1917052" y="631990"/>
                      </a:lnTo>
                      <a:lnTo>
                        <a:pt x="1917395" y="632244"/>
                      </a:lnTo>
                      <a:lnTo>
                        <a:pt x="1917573" y="632345"/>
                      </a:lnTo>
                      <a:lnTo>
                        <a:pt x="1918144" y="632548"/>
                      </a:lnTo>
                      <a:lnTo>
                        <a:pt x="1917763" y="632815"/>
                      </a:lnTo>
                      <a:lnTo>
                        <a:pt x="1915896" y="633653"/>
                      </a:lnTo>
                      <a:lnTo>
                        <a:pt x="1913724" y="634834"/>
                      </a:lnTo>
                      <a:lnTo>
                        <a:pt x="1912366" y="638327"/>
                      </a:lnTo>
                      <a:lnTo>
                        <a:pt x="1911565" y="639838"/>
                      </a:lnTo>
                      <a:lnTo>
                        <a:pt x="1910613" y="642048"/>
                      </a:lnTo>
                      <a:lnTo>
                        <a:pt x="1911616" y="644423"/>
                      </a:lnTo>
                      <a:lnTo>
                        <a:pt x="1912073" y="646366"/>
                      </a:lnTo>
                      <a:lnTo>
                        <a:pt x="1912073" y="647369"/>
                      </a:lnTo>
                      <a:lnTo>
                        <a:pt x="1914194" y="647471"/>
                      </a:lnTo>
                      <a:lnTo>
                        <a:pt x="1914220" y="646366"/>
                      </a:lnTo>
                      <a:lnTo>
                        <a:pt x="1913699" y="643877"/>
                      </a:lnTo>
                      <a:lnTo>
                        <a:pt x="1913039" y="642366"/>
                      </a:lnTo>
                      <a:lnTo>
                        <a:pt x="1913293" y="641096"/>
                      </a:lnTo>
                      <a:lnTo>
                        <a:pt x="1914283" y="639241"/>
                      </a:lnTo>
                      <a:lnTo>
                        <a:pt x="1914829" y="637844"/>
                      </a:lnTo>
                      <a:lnTo>
                        <a:pt x="1915871" y="636079"/>
                      </a:lnTo>
                      <a:lnTo>
                        <a:pt x="1916861" y="635546"/>
                      </a:lnTo>
                      <a:lnTo>
                        <a:pt x="1919719" y="634250"/>
                      </a:lnTo>
                      <a:lnTo>
                        <a:pt x="1920481" y="633336"/>
                      </a:lnTo>
                      <a:lnTo>
                        <a:pt x="1921040" y="632548"/>
                      </a:lnTo>
                      <a:lnTo>
                        <a:pt x="1921268" y="631977"/>
                      </a:lnTo>
                      <a:lnTo>
                        <a:pt x="1921383" y="630453"/>
                      </a:lnTo>
                      <a:lnTo>
                        <a:pt x="1921421" y="630047"/>
                      </a:lnTo>
                      <a:lnTo>
                        <a:pt x="1918589" y="630453"/>
                      </a:lnTo>
                      <a:lnTo>
                        <a:pt x="1918385" y="630326"/>
                      </a:lnTo>
                      <a:lnTo>
                        <a:pt x="1918131" y="630021"/>
                      </a:lnTo>
                      <a:lnTo>
                        <a:pt x="1917788" y="629462"/>
                      </a:lnTo>
                      <a:lnTo>
                        <a:pt x="1915807" y="626783"/>
                      </a:lnTo>
                      <a:lnTo>
                        <a:pt x="1916328" y="625348"/>
                      </a:lnTo>
                      <a:lnTo>
                        <a:pt x="1917128" y="622985"/>
                      </a:lnTo>
                      <a:lnTo>
                        <a:pt x="1917903" y="622084"/>
                      </a:lnTo>
                      <a:lnTo>
                        <a:pt x="1917103" y="621398"/>
                      </a:lnTo>
                      <a:lnTo>
                        <a:pt x="1918131" y="621855"/>
                      </a:lnTo>
                      <a:lnTo>
                        <a:pt x="1918335" y="621576"/>
                      </a:lnTo>
                      <a:lnTo>
                        <a:pt x="1918500" y="621398"/>
                      </a:lnTo>
                      <a:lnTo>
                        <a:pt x="1919833" y="620001"/>
                      </a:lnTo>
                      <a:lnTo>
                        <a:pt x="1920455" y="619061"/>
                      </a:lnTo>
                      <a:lnTo>
                        <a:pt x="1920659" y="618705"/>
                      </a:lnTo>
                      <a:lnTo>
                        <a:pt x="1920760" y="617905"/>
                      </a:lnTo>
                      <a:lnTo>
                        <a:pt x="1920798" y="617308"/>
                      </a:lnTo>
                      <a:lnTo>
                        <a:pt x="1920328" y="615734"/>
                      </a:lnTo>
                      <a:lnTo>
                        <a:pt x="1917179" y="614438"/>
                      </a:lnTo>
                      <a:lnTo>
                        <a:pt x="1917090" y="614273"/>
                      </a:lnTo>
                      <a:lnTo>
                        <a:pt x="1916836" y="614006"/>
                      </a:lnTo>
                      <a:lnTo>
                        <a:pt x="1916531" y="612521"/>
                      </a:lnTo>
                      <a:lnTo>
                        <a:pt x="1915642" y="611657"/>
                      </a:lnTo>
                      <a:lnTo>
                        <a:pt x="1915210" y="610844"/>
                      </a:lnTo>
                      <a:lnTo>
                        <a:pt x="1913648" y="608114"/>
                      </a:lnTo>
                      <a:lnTo>
                        <a:pt x="1916531" y="608406"/>
                      </a:lnTo>
                      <a:lnTo>
                        <a:pt x="1918296" y="608406"/>
                      </a:lnTo>
                      <a:lnTo>
                        <a:pt x="1918728" y="608114"/>
                      </a:lnTo>
                      <a:lnTo>
                        <a:pt x="1921497" y="606285"/>
                      </a:lnTo>
                      <a:lnTo>
                        <a:pt x="1921802" y="606082"/>
                      </a:lnTo>
                      <a:lnTo>
                        <a:pt x="1921243" y="598017"/>
                      </a:lnTo>
                      <a:lnTo>
                        <a:pt x="1922030" y="597738"/>
                      </a:lnTo>
                      <a:lnTo>
                        <a:pt x="1922284" y="597141"/>
                      </a:lnTo>
                      <a:lnTo>
                        <a:pt x="1922475" y="595998"/>
                      </a:lnTo>
                      <a:close/>
                    </a:path>
                    <a:path w="2709545" h="2035175">
                      <a:moveTo>
                        <a:pt x="1931670" y="574789"/>
                      </a:moveTo>
                      <a:lnTo>
                        <a:pt x="1931174" y="573328"/>
                      </a:lnTo>
                      <a:lnTo>
                        <a:pt x="1929003" y="572287"/>
                      </a:lnTo>
                      <a:lnTo>
                        <a:pt x="1928418" y="571969"/>
                      </a:lnTo>
                      <a:lnTo>
                        <a:pt x="1926996" y="571411"/>
                      </a:lnTo>
                      <a:lnTo>
                        <a:pt x="1927110" y="570268"/>
                      </a:lnTo>
                      <a:lnTo>
                        <a:pt x="1927098" y="568820"/>
                      </a:lnTo>
                      <a:lnTo>
                        <a:pt x="1926856" y="567677"/>
                      </a:lnTo>
                      <a:lnTo>
                        <a:pt x="1926234" y="567182"/>
                      </a:lnTo>
                      <a:lnTo>
                        <a:pt x="1925828" y="566877"/>
                      </a:lnTo>
                      <a:lnTo>
                        <a:pt x="1925332" y="566712"/>
                      </a:lnTo>
                      <a:lnTo>
                        <a:pt x="1924481" y="566648"/>
                      </a:lnTo>
                      <a:lnTo>
                        <a:pt x="1923554" y="566724"/>
                      </a:lnTo>
                      <a:lnTo>
                        <a:pt x="1921281" y="567182"/>
                      </a:lnTo>
                      <a:lnTo>
                        <a:pt x="1920925" y="567105"/>
                      </a:lnTo>
                      <a:lnTo>
                        <a:pt x="1920608" y="567080"/>
                      </a:lnTo>
                      <a:lnTo>
                        <a:pt x="1920201" y="567105"/>
                      </a:lnTo>
                      <a:lnTo>
                        <a:pt x="1919325" y="566762"/>
                      </a:lnTo>
                      <a:lnTo>
                        <a:pt x="1918817" y="566839"/>
                      </a:lnTo>
                      <a:lnTo>
                        <a:pt x="1917052" y="567690"/>
                      </a:lnTo>
                      <a:lnTo>
                        <a:pt x="1916404" y="567956"/>
                      </a:lnTo>
                      <a:lnTo>
                        <a:pt x="1915464" y="568274"/>
                      </a:lnTo>
                      <a:lnTo>
                        <a:pt x="1914728" y="568388"/>
                      </a:lnTo>
                      <a:lnTo>
                        <a:pt x="1911515" y="569099"/>
                      </a:lnTo>
                      <a:lnTo>
                        <a:pt x="1910511" y="569010"/>
                      </a:lnTo>
                      <a:lnTo>
                        <a:pt x="1909622" y="568553"/>
                      </a:lnTo>
                      <a:lnTo>
                        <a:pt x="1909165" y="568375"/>
                      </a:lnTo>
                      <a:lnTo>
                        <a:pt x="1906600" y="567093"/>
                      </a:lnTo>
                      <a:lnTo>
                        <a:pt x="1905546" y="567905"/>
                      </a:lnTo>
                      <a:lnTo>
                        <a:pt x="1904161" y="569214"/>
                      </a:lnTo>
                      <a:lnTo>
                        <a:pt x="1903984" y="569264"/>
                      </a:lnTo>
                      <a:lnTo>
                        <a:pt x="1903336" y="569252"/>
                      </a:lnTo>
                      <a:lnTo>
                        <a:pt x="1903183" y="569252"/>
                      </a:lnTo>
                      <a:lnTo>
                        <a:pt x="1903310" y="568782"/>
                      </a:lnTo>
                      <a:lnTo>
                        <a:pt x="1903603" y="568553"/>
                      </a:lnTo>
                      <a:lnTo>
                        <a:pt x="1903895" y="568172"/>
                      </a:lnTo>
                      <a:lnTo>
                        <a:pt x="1904161" y="567905"/>
                      </a:lnTo>
                      <a:lnTo>
                        <a:pt x="1904403" y="567524"/>
                      </a:lnTo>
                      <a:lnTo>
                        <a:pt x="1904923" y="566026"/>
                      </a:lnTo>
                      <a:lnTo>
                        <a:pt x="1904987" y="565873"/>
                      </a:lnTo>
                      <a:lnTo>
                        <a:pt x="1903374" y="564337"/>
                      </a:lnTo>
                      <a:lnTo>
                        <a:pt x="1902714" y="563676"/>
                      </a:lnTo>
                      <a:lnTo>
                        <a:pt x="1901647" y="563829"/>
                      </a:lnTo>
                      <a:lnTo>
                        <a:pt x="1900148" y="564654"/>
                      </a:lnTo>
                      <a:lnTo>
                        <a:pt x="1900008" y="564692"/>
                      </a:lnTo>
                      <a:lnTo>
                        <a:pt x="1898751" y="564896"/>
                      </a:lnTo>
                      <a:lnTo>
                        <a:pt x="1898103" y="565035"/>
                      </a:lnTo>
                      <a:lnTo>
                        <a:pt x="1896706" y="565454"/>
                      </a:lnTo>
                      <a:lnTo>
                        <a:pt x="1893049" y="567690"/>
                      </a:lnTo>
                      <a:lnTo>
                        <a:pt x="1891576" y="568744"/>
                      </a:lnTo>
                      <a:lnTo>
                        <a:pt x="1892795" y="570484"/>
                      </a:lnTo>
                      <a:lnTo>
                        <a:pt x="1895386" y="568744"/>
                      </a:lnTo>
                      <a:lnTo>
                        <a:pt x="1897761" y="567347"/>
                      </a:lnTo>
                      <a:lnTo>
                        <a:pt x="1898688" y="567080"/>
                      </a:lnTo>
                      <a:lnTo>
                        <a:pt x="1899716" y="566877"/>
                      </a:lnTo>
                      <a:lnTo>
                        <a:pt x="1900859" y="566699"/>
                      </a:lnTo>
                      <a:lnTo>
                        <a:pt x="1902079" y="566026"/>
                      </a:lnTo>
                      <a:lnTo>
                        <a:pt x="1902460" y="566407"/>
                      </a:lnTo>
                      <a:lnTo>
                        <a:pt x="1902409" y="566648"/>
                      </a:lnTo>
                      <a:lnTo>
                        <a:pt x="1902193" y="566889"/>
                      </a:lnTo>
                      <a:lnTo>
                        <a:pt x="1901926" y="567258"/>
                      </a:lnTo>
                      <a:lnTo>
                        <a:pt x="1901583" y="567524"/>
                      </a:lnTo>
                      <a:lnTo>
                        <a:pt x="1901164" y="567956"/>
                      </a:lnTo>
                      <a:lnTo>
                        <a:pt x="1901037" y="569201"/>
                      </a:lnTo>
                      <a:lnTo>
                        <a:pt x="1900910" y="570014"/>
                      </a:lnTo>
                      <a:lnTo>
                        <a:pt x="1901113" y="570458"/>
                      </a:lnTo>
                      <a:lnTo>
                        <a:pt x="1901583" y="571068"/>
                      </a:lnTo>
                      <a:lnTo>
                        <a:pt x="1902091" y="571385"/>
                      </a:lnTo>
                      <a:lnTo>
                        <a:pt x="1902917" y="571411"/>
                      </a:lnTo>
                      <a:lnTo>
                        <a:pt x="1903234" y="571373"/>
                      </a:lnTo>
                      <a:lnTo>
                        <a:pt x="1903476" y="571385"/>
                      </a:lnTo>
                      <a:lnTo>
                        <a:pt x="1904225" y="571373"/>
                      </a:lnTo>
                      <a:lnTo>
                        <a:pt x="1904974" y="571360"/>
                      </a:lnTo>
                      <a:lnTo>
                        <a:pt x="1906803" y="569633"/>
                      </a:lnTo>
                      <a:lnTo>
                        <a:pt x="1907184" y="569760"/>
                      </a:lnTo>
                      <a:lnTo>
                        <a:pt x="1908378" y="570344"/>
                      </a:lnTo>
                      <a:lnTo>
                        <a:pt x="1908568" y="570382"/>
                      </a:lnTo>
                      <a:lnTo>
                        <a:pt x="1909178" y="570738"/>
                      </a:lnTo>
                      <a:lnTo>
                        <a:pt x="1909826" y="571080"/>
                      </a:lnTo>
                      <a:lnTo>
                        <a:pt x="1911642" y="571258"/>
                      </a:lnTo>
                      <a:lnTo>
                        <a:pt x="1915223" y="570458"/>
                      </a:lnTo>
                      <a:lnTo>
                        <a:pt x="1915909" y="570344"/>
                      </a:lnTo>
                      <a:lnTo>
                        <a:pt x="1916214" y="570268"/>
                      </a:lnTo>
                      <a:lnTo>
                        <a:pt x="1916518" y="570141"/>
                      </a:lnTo>
                      <a:lnTo>
                        <a:pt x="1917268" y="569912"/>
                      </a:lnTo>
                      <a:lnTo>
                        <a:pt x="1917865" y="569633"/>
                      </a:lnTo>
                      <a:lnTo>
                        <a:pt x="1918652" y="569264"/>
                      </a:lnTo>
                      <a:lnTo>
                        <a:pt x="1918995" y="569099"/>
                      </a:lnTo>
                      <a:lnTo>
                        <a:pt x="1919300" y="568960"/>
                      </a:lnTo>
                      <a:lnTo>
                        <a:pt x="1919846" y="569201"/>
                      </a:lnTo>
                      <a:lnTo>
                        <a:pt x="1920582" y="569188"/>
                      </a:lnTo>
                      <a:lnTo>
                        <a:pt x="1921370" y="569328"/>
                      </a:lnTo>
                      <a:lnTo>
                        <a:pt x="1922056" y="569188"/>
                      </a:lnTo>
                      <a:lnTo>
                        <a:pt x="1923186" y="568960"/>
                      </a:lnTo>
                      <a:lnTo>
                        <a:pt x="1923821" y="568833"/>
                      </a:lnTo>
                      <a:lnTo>
                        <a:pt x="1924481" y="568782"/>
                      </a:lnTo>
                      <a:lnTo>
                        <a:pt x="1924710" y="568794"/>
                      </a:lnTo>
                      <a:lnTo>
                        <a:pt x="1924850" y="568833"/>
                      </a:lnTo>
                      <a:lnTo>
                        <a:pt x="1924951" y="570268"/>
                      </a:lnTo>
                      <a:lnTo>
                        <a:pt x="1924824" y="571258"/>
                      </a:lnTo>
                      <a:lnTo>
                        <a:pt x="1924583" y="572782"/>
                      </a:lnTo>
                      <a:lnTo>
                        <a:pt x="1927491" y="573874"/>
                      </a:lnTo>
                      <a:lnTo>
                        <a:pt x="1929295" y="574789"/>
                      </a:lnTo>
                      <a:lnTo>
                        <a:pt x="1928495" y="576402"/>
                      </a:lnTo>
                      <a:lnTo>
                        <a:pt x="1925739" y="578789"/>
                      </a:lnTo>
                      <a:lnTo>
                        <a:pt x="1922462" y="580504"/>
                      </a:lnTo>
                      <a:lnTo>
                        <a:pt x="1921637" y="581253"/>
                      </a:lnTo>
                      <a:lnTo>
                        <a:pt x="1921319" y="581571"/>
                      </a:lnTo>
                      <a:lnTo>
                        <a:pt x="1921891" y="582460"/>
                      </a:lnTo>
                      <a:lnTo>
                        <a:pt x="1921078" y="581748"/>
                      </a:lnTo>
                      <a:lnTo>
                        <a:pt x="1918919" y="583692"/>
                      </a:lnTo>
                      <a:lnTo>
                        <a:pt x="1920646" y="587667"/>
                      </a:lnTo>
                      <a:lnTo>
                        <a:pt x="1921154" y="589076"/>
                      </a:lnTo>
                      <a:lnTo>
                        <a:pt x="1920659" y="594017"/>
                      </a:lnTo>
                      <a:lnTo>
                        <a:pt x="1920303" y="595960"/>
                      </a:lnTo>
                      <a:lnTo>
                        <a:pt x="1922475" y="595960"/>
                      </a:lnTo>
                      <a:lnTo>
                        <a:pt x="1922754" y="594283"/>
                      </a:lnTo>
                      <a:lnTo>
                        <a:pt x="1923300" y="588822"/>
                      </a:lnTo>
                      <a:lnTo>
                        <a:pt x="1922627" y="586905"/>
                      </a:lnTo>
                      <a:lnTo>
                        <a:pt x="1921484" y="584250"/>
                      </a:lnTo>
                      <a:lnTo>
                        <a:pt x="1923453" y="582460"/>
                      </a:lnTo>
                      <a:lnTo>
                        <a:pt x="1923681" y="582256"/>
                      </a:lnTo>
                      <a:lnTo>
                        <a:pt x="1926945" y="580555"/>
                      </a:lnTo>
                      <a:lnTo>
                        <a:pt x="1930196" y="577735"/>
                      </a:lnTo>
                      <a:lnTo>
                        <a:pt x="1931670" y="574789"/>
                      </a:lnTo>
                      <a:close/>
                    </a:path>
                    <a:path w="2709545" h="2035175">
                      <a:moveTo>
                        <a:pt x="2065401" y="560705"/>
                      </a:moveTo>
                      <a:lnTo>
                        <a:pt x="2065007" y="558622"/>
                      </a:lnTo>
                      <a:lnTo>
                        <a:pt x="2056993" y="560273"/>
                      </a:lnTo>
                      <a:lnTo>
                        <a:pt x="2055355" y="560324"/>
                      </a:lnTo>
                      <a:lnTo>
                        <a:pt x="2051202" y="559752"/>
                      </a:lnTo>
                      <a:lnTo>
                        <a:pt x="2046389" y="558469"/>
                      </a:lnTo>
                      <a:lnTo>
                        <a:pt x="2045792" y="558139"/>
                      </a:lnTo>
                      <a:lnTo>
                        <a:pt x="2046643" y="556514"/>
                      </a:lnTo>
                      <a:lnTo>
                        <a:pt x="2041550" y="555929"/>
                      </a:lnTo>
                      <a:lnTo>
                        <a:pt x="2039035" y="555053"/>
                      </a:lnTo>
                      <a:lnTo>
                        <a:pt x="2031339" y="551624"/>
                      </a:lnTo>
                      <a:lnTo>
                        <a:pt x="2029675" y="551268"/>
                      </a:lnTo>
                      <a:lnTo>
                        <a:pt x="2029066" y="551535"/>
                      </a:lnTo>
                      <a:lnTo>
                        <a:pt x="2028024" y="552399"/>
                      </a:lnTo>
                      <a:lnTo>
                        <a:pt x="2028037" y="554240"/>
                      </a:lnTo>
                      <a:lnTo>
                        <a:pt x="2019642" y="554278"/>
                      </a:lnTo>
                      <a:lnTo>
                        <a:pt x="2018423" y="553720"/>
                      </a:lnTo>
                      <a:lnTo>
                        <a:pt x="2015807" y="551992"/>
                      </a:lnTo>
                      <a:lnTo>
                        <a:pt x="2014626" y="551738"/>
                      </a:lnTo>
                      <a:lnTo>
                        <a:pt x="2012175" y="552411"/>
                      </a:lnTo>
                      <a:lnTo>
                        <a:pt x="2010537" y="550887"/>
                      </a:lnTo>
                      <a:lnTo>
                        <a:pt x="2008174" y="549833"/>
                      </a:lnTo>
                      <a:lnTo>
                        <a:pt x="2007108" y="549503"/>
                      </a:lnTo>
                      <a:lnTo>
                        <a:pt x="2000199" y="548436"/>
                      </a:lnTo>
                      <a:lnTo>
                        <a:pt x="2001062" y="546455"/>
                      </a:lnTo>
                      <a:lnTo>
                        <a:pt x="2000097" y="544398"/>
                      </a:lnTo>
                      <a:lnTo>
                        <a:pt x="1998560" y="543242"/>
                      </a:lnTo>
                      <a:lnTo>
                        <a:pt x="1996452" y="544042"/>
                      </a:lnTo>
                      <a:lnTo>
                        <a:pt x="1995728" y="543750"/>
                      </a:lnTo>
                      <a:lnTo>
                        <a:pt x="1994725" y="542899"/>
                      </a:lnTo>
                      <a:lnTo>
                        <a:pt x="1993290" y="544474"/>
                      </a:lnTo>
                      <a:lnTo>
                        <a:pt x="1994992" y="545846"/>
                      </a:lnTo>
                      <a:lnTo>
                        <a:pt x="1996605" y="546303"/>
                      </a:lnTo>
                      <a:lnTo>
                        <a:pt x="1998078" y="545592"/>
                      </a:lnTo>
                      <a:lnTo>
                        <a:pt x="1998738" y="546442"/>
                      </a:lnTo>
                      <a:lnTo>
                        <a:pt x="1997570" y="548995"/>
                      </a:lnTo>
                      <a:lnTo>
                        <a:pt x="1999526" y="550595"/>
                      </a:lnTo>
                      <a:lnTo>
                        <a:pt x="2002320" y="550799"/>
                      </a:lnTo>
                      <a:lnTo>
                        <a:pt x="2006625" y="551573"/>
                      </a:lnTo>
                      <a:lnTo>
                        <a:pt x="2008657" y="552284"/>
                      </a:lnTo>
                      <a:lnTo>
                        <a:pt x="2009292" y="552627"/>
                      </a:lnTo>
                      <a:lnTo>
                        <a:pt x="2010968" y="554189"/>
                      </a:lnTo>
                      <a:lnTo>
                        <a:pt x="2011781" y="554761"/>
                      </a:lnTo>
                      <a:lnTo>
                        <a:pt x="2014461" y="553897"/>
                      </a:lnTo>
                      <a:lnTo>
                        <a:pt x="2015680" y="554291"/>
                      </a:lnTo>
                      <a:lnTo>
                        <a:pt x="2017293" y="555523"/>
                      </a:lnTo>
                      <a:lnTo>
                        <a:pt x="2019528" y="556488"/>
                      </a:lnTo>
                      <a:lnTo>
                        <a:pt x="2026894" y="556298"/>
                      </a:lnTo>
                      <a:lnTo>
                        <a:pt x="2030260" y="556450"/>
                      </a:lnTo>
                      <a:lnTo>
                        <a:pt x="2030133" y="553631"/>
                      </a:lnTo>
                      <a:lnTo>
                        <a:pt x="2030780" y="553707"/>
                      </a:lnTo>
                      <a:lnTo>
                        <a:pt x="2037880" y="556856"/>
                      </a:lnTo>
                      <a:lnTo>
                        <a:pt x="2040343" y="557745"/>
                      </a:lnTo>
                      <a:lnTo>
                        <a:pt x="2043455" y="558253"/>
                      </a:lnTo>
                      <a:lnTo>
                        <a:pt x="2043938" y="559587"/>
                      </a:lnTo>
                      <a:lnTo>
                        <a:pt x="2044788" y="560158"/>
                      </a:lnTo>
                      <a:lnTo>
                        <a:pt x="2049183" y="561492"/>
                      </a:lnTo>
                      <a:lnTo>
                        <a:pt x="2051494" y="561936"/>
                      </a:lnTo>
                      <a:lnTo>
                        <a:pt x="2056790" y="562406"/>
                      </a:lnTo>
                      <a:lnTo>
                        <a:pt x="2065401" y="560705"/>
                      </a:lnTo>
                      <a:close/>
                    </a:path>
                    <a:path w="2709545" h="2035175">
                      <a:moveTo>
                        <a:pt x="2185543" y="714781"/>
                      </a:moveTo>
                      <a:lnTo>
                        <a:pt x="2185352" y="713511"/>
                      </a:lnTo>
                      <a:lnTo>
                        <a:pt x="2184463" y="712241"/>
                      </a:lnTo>
                      <a:lnTo>
                        <a:pt x="2182901" y="714781"/>
                      </a:lnTo>
                      <a:lnTo>
                        <a:pt x="2183422" y="714781"/>
                      </a:lnTo>
                      <a:lnTo>
                        <a:pt x="2183346" y="721131"/>
                      </a:lnTo>
                      <a:lnTo>
                        <a:pt x="2183219" y="726211"/>
                      </a:lnTo>
                      <a:lnTo>
                        <a:pt x="2181580" y="726211"/>
                      </a:lnTo>
                      <a:lnTo>
                        <a:pt x="2180564" y="727481"/>
                      </a:lnTo>
                      <a:lnTo>
                        <a:pt x="2179586" y="727481"/>
                      </a:lnTo>
                      <a:lnTo>
                        <a:pt x="2176424" y="728751"/>
                      </a:lnTo>
                      <a:lnTo>
                        <a:pt x="2175548" y="728751"/>
                      </a:lnTo>
                      <a:lnTo>
                        <a:pt x="2174786" y="730021"/>
                      </a:lnTo>
                      <a:lnTo>
                        <a:pt x="2174341" y="730021"/>
                      </a:lnTo>
                      <a:lnTo>
                        <a:pt x="2173008" y="731291"/>
                      </a:lnTo>
                      <a:lnTo>
                        <a:pt x="2176830" y="731291"/>
                      </a:lnTo>
                      <a:lnTo>
                        <a:pt x="2177364" y="730021"/>
                      </a:lnTo>
                      <a:lnTo>
                        <a:pt x="2180374" y="730021"/>
                      </a:lnTo>
                      <a:lnTo>
                        <a:pt x="2181453" y="728751"/>
                      </a:lnTo>
                      <a:lnTo>
                        <a:pt x="2182520" y="728751"/>
                      </a:lnTo>
                      <a:lnTo>
                        <a:pt x="2183434" y="727481"/>
                      </a:lnTo>
                      <a:lnTo>
                        <a:pt x="2185390" y="726211"/>
                      </a:lnTo>
                      <a:lnTo>
                        <a:pt x="2185543" y="714781"/>
                      </a:lnTo>
                      <a:close/>
                    </a:path>
                    <a:path w="2709545" h="2035175">
                      <a:moveTo>
                        <a:pt x="2283447" y="239204"/>
                      </a:moveTo>
                      <a:lnTo>
                        <a:pt x="2283422" y="238988"/>
                      </a:lnTo>
                      <a:lnTo>
                        <a:pt x="2283295" y="238747"/>
                      </a:lnTo>
                      <a:lnTo>
                        <a:pt x="2282837" y="238213"/>
                      </a:lnTo>
                      <a:lnTo>
                        <a:pt x="2280932" y="237769"/>
                      </a:lnTo>
                      <a:lnTo>
                        <a:pt x="2281085" y="239255"/>
                      </a:lnTo>
                      <a:lnTo>
                        <a:pt x="2281110" y="239471"/>
                      </a:lnTo>
                      <a:lnTo>
                        <a:pt x="2281174" y="239636"/>
                      </a:lnTo>
                      <a:lnTo>
                        <a:pt x="2281250" y="239852"/>
                      </a:lnTo>
                      <a:lnTo>
                        <a:pt x="2281999" y="239750"/>
                      </a:lnTo>
                      <a:lnTo>
                        <a:pt x="2281898" y="240182"/>
                      </a:lnTo>
                      <a:lnTo>
                        <a:pt x="2282126" y="239750"/>
                      </a:lnTo>
                      <a:lnTo>
                        <a:pt x="2283345" y="239801"/>
                      </a:lnTo>
                      <a:lnTo>
                        <a:pt x="2283422" y="239585"/>
                      </a:lnTo>
                      <a:lnTo>
                        <a:pt x="2283447" y="239204"/>
                      </a:lnTo>
                      <a:close/>
                    </a:path>
                    <a:path w="2709545" h="2035175">
                      <a:moveTo>
                        <a:pt x="2441905" y="1639074"/>
                      </a:moveTo>
                      <a:lnTo>
                        <a:pt x="2441803" y="1636522"/>
                      </a:lnTo>
                      <a:lnTo>
                        <a:pt x="2440673" y="1634210"/>
                      </a:lnTo>
                      <a:lnTo>
                        <a:pt x="2439898" y="1633613"/>
                      </a:lnTo>
                      <a:lnTo>
                        <a:pt x="2439898" y="1637880"/>
                      </a:lnTo>
                      <a:lnTo>
                        <a:pt x="2439835" y="1638388"/>
                      </a:lnTo>
                      <a:lnTo>
                        <a:pt x="2435631" y="1645640"/>
                      </a:lnTo>
                      <a:lnTo>
                        <a:pt x="2435745" y="1646834"/>
                      </a:lnTo>
                      <a:lnTo>
                        <a:pt x="2435491" y="1647024"/>
                      </a:lnTo>
                      <a:lnTo>
                        <a:pt x="2435326" y="1647177"/>
                      </a:lnTo>
                      <a:lnTo>
                        <a:pt x="2435034" y="1647342"/>
                      </a:lnTo>
                      <a:lnTo>
                        <a:pt x="2434463" y="1647596"/>
                      </a:lnTo>
                      <a:lnTo>
                        <a:pt x="2433421" y="1648231"/>
                      </a:lnTo>
                      <a:lnTo>
                        <a:pt x="2421801" y="1657616"/>
                      </a:lnTo>
                      <a:lnTo>
                        <a:pt x="2421140" y="1658023"/>
                      </a:lnTo>
                      <a:lnTo>
                        <a:pt x="2420988" y="1658035"/>
                      </a:lnTo>
                      <a:lnTo>
                        <a:pt x="2420467" y="1657959"/>
                      </a:lnTo>
                      <a:lnTo>
                        <a:pt x="2420239" y="1657896"/>
                      </a:lnTo>
                      <a:lnTo>
                        <a:pt x="2419921" y="1657769"/>
                      </a:lnTo>
                      <a:lnTo>
                        <a:pt x="2418842" y="1657413"/>
                      </a:lnTo>
                      <a:lnTo>
                        <a:pt x="2416467" y="1655546"/>
                      </a:lnTo>
                      <a:lnTo>
                        <a:pt x="2415413" y="1654898"/>
                      </a:lnTo>
                      <a:lnTo>
                        <a:pt x="2412581" y="1653400"/>
                      </a:lnTo>
                      <a:lnTo>
                        <a:pt x="2412339" y="1653171"/>
                      </a:lnTo>
                      <a:lnTo>
                        <a:pt x="2410371" y="1648688"/>
                      </a:lnTo>
                      <a:lnTo>
                        <a:pt x="2409660" y="1647177"/>
                      </a:lnTo>
                      <a:lnTo>
                        <a:pt x="2409406" y="1646758"/>
                      </a:lnTo>
                      <a:lnTo>
                        <a:pt x="2407628" y="1644205"/>
                      </a:lnTo>
                      <a:lnTo>
                        <a:pt x="2407526" y="1643634"/>
                      </a:lnTo>
                      <a:lnTo>
                        <a:pt x="2407539" y="1643303"/>
                      </a:lnTo>
                      <a:lnTo>
                        <a:pt x="2407755" y="1643138"/>
                      </a:lnTo>
                      <a:lnTo>
                        <a:pt x="2408948" y="1642795"/>
                      </a:lnTo>
                      <a:lnTo>
                        <a:pt x="2409571" y="1642592"/>
                      </a:lnTo>
                      <a:lnTo>
                        <a:pt x="2415527" y="1635036"/>
                      </a:lnTo>
                      <a:lnTo>
                        <a:pt x="2416632" y="1633829"/>
                      </a:lnTo>
                      <a:lnTo>
                        <a:pt x="2417102" y="1633016"/>
                      </a:lnTo>
                      <a:lnTo>
                        <a:pt x="2417368" y="1632470"/>
                      </a:lnTo>
                      <a:lnTo>
                        <a:pt x="2421331" y="1630934"/>
                      </a:lnTo>
                      <a:lnTo>
                        <a:pt x="2423045" y="1630057"/>
                      </a:lnTo>
                      <a:lnTo>
                        <a:pt x="2425725" y="1628736"/>
                      </a:lnTo>
                      <a:lnTo>
                        <a:pt x="2427389" y="1628140"/>
                      </a:lnTo>
                      <a:lnTo>
                        <a:pt x="2429383" y="1627708"/>
                      </a:lnTo>
                      <a:lnTo>
                        <a:pt x="2430818" y="1629333"/>
                      </a:lnTo>
                      <a:lnTo>
                        <a:pt x="2432393" y="1630629"/>
                      </a:lnTo>
                      <a:lnTo>
                        <a:pt x="2433726" y="1631645"/>
                      </a:lnTo>
                      <a:lnTo>
                        <a:pt x="2434463" y="1632089"/>
                      </a:lnTo>
                      <a:lnTo>
                        <a:pt x="2436761" y="1633829"/>
                      </a:lnTo>
                      <a:lnTo>
                        <a:pt x="2437295" y="1634312"/>
                      </a:lnTo>
                      <a:lnTo>
                        <a:pt x="2438412" y="1635137"/>
                      </a:lnTo>
                      <a:lnTo>
                        <a:pt x="2438539" y="1635252"/>
                      </a:lnTo>
                      <a:lnTo>
                        <a:pt x="2438870" y="1635721"/>
                      </a:lnTo>
                      <a:lnTo>
                        <a:pt x="2439365" y="1636534"/>
                      </a:lnTo>
                      <a:lnTo>
                        <a:pt x="2439898" y="1637880"/>
                      </a:lnTo>
                      <a:lnTo>
                        <a:pt x="2439898" y="1633613"/>
                      </a:lnTo>
                      <a:lnTo>
                        <a:pt x="2439708" y="1633461"/>
                      </a:lnTo>
                      <a:lnTo>
                        <a:pt x="2438717" y="1632737"/>
                      </a:lnTo>
                      <a:lnTo>
                        <a:pt x="2438133" y="1632216"/>
                      </a:lnTo>
                      <a:lnTo>
                        <a:pt x="2435644" y="1630324"/>
                      </a:lnTo>
                      <a:lnTo>
                        <a:pt x="2434933" y="1629905"/>
                      </a:lnTo>
                      <a:lnTo>
                        <a:pt x="2433650" y="1628914"/>
                      </a:lnTo>
                      <a:lnTo>
                        <a:pt x="2432189" y="1627708"/>
                      </a:lnTo>
                      <a:lnTo>
                        <a:pt x="2432012" y="1627568"/>
                      </a:lnTo>
                      <a:lnTo>
                        <a:pt x="2430335" y="1625523"/>
                      </a:lnTo>
                      <a:lnTo>
                        <a:pt x="2430234" y="1625396"/>
                      </a:lnTo>
                      <a:lnTo>
                        <a:pt x="2429560" y="1625523"/>
                      </a:lnTo>
                      <a:lnTo>
                        <a:pt x="2428557" y="1625714"/>
                      </a:lnTo>
                      <a:lnTo>
                        <a:pt x="2426766" y="1626108"/>
                      </a:lnTo>
                      <a:lnTo>
                        <a:pt x="2424938" y="1626755"/>
                      </a:lnTo>
                      <a:lnTo>
                        <a:pt x="2420442" y="1629003"/>
                      </a:lnTo>
                      <a:lnTo>
                        <a:pt x="2415819" y="1630794"/>
                      </a:lnTo>
                      <a:lnTo>
                        <a:pt x="2414981" y="1632496"/>
                      </a:lnTo>
                      <a:lnTo>
                        <a:pt x="2413774" y="1633829"/>
                      </a:lnTo>
                      <a:lnTo>
                        <a:pt x="2410574" y="1639074"/>
                      </a:lnTo>
                      <a:lnTo>
                        <a:pt x="2410180" y="1639671"/>
                      </a:lnTo>
                      <a:lnTo>
                        <a:pt x="2409698" y="1640128"/>
                      </a:lnTo>
                      <a:lnTo>
                        <a:pt x="2409253" y="1640446"/>
                      </a:lnTo>
                      <a:lnTo>
                        <a:pt x="2408859" y="1640598"/>
                      </a:lnTo>
                      <a:lnTo>
                        <a:pt x="2405811" y="1641487"/>
                      </a:lnTo>
                      <a:lnTo>
                        <a:pt x="2405443" y="1642592"/>
                      </a:lnTo>
                      <a:lnTo>
                        <a:pt x="2405367" y="1643634"/>
                      </a:lnTo>
                      <a:lnTo>
                        <a:pt x="2405481" y="1644103"/>
                      </a:lnTo>
                      <a:lnTo>
                        <a:pt x="2405596" y="1644802"/>
                      </a:lnTo>
                      <a:lnTo>
                        <a:pt x="2405710" y="1645170"/>
                      </a:lnTo>
                      <a:lnTo>
                        <a:pt x="2407653" y="1647939"/>
                      </a:lnTo>
                      <a:lnTo>
                        <a:pt x="2408402" y="1649476"/>
                      </a:lnTo>
                      <a:lnTo>
                        <a:pt x="2410701" y="1654721"/>
                      </a:lnTo>
                      <a:lnTo>
                        <a:pt x="2411666" y="1655318"/>
                      </a:lnTo>
                      <a:lnTo>
                        <a:pt x="2414435" y="1656778"/>
                      </a:lnTo>
                      <a:lnTo>
                        <a:pt x="2415146" y="1657210"/>
                      </a:lnTo>
                      <a:lnTo>
                        <a:pt x="2417826" y="1659318"/>
                      </a:lnTo>
                      <a:lnTo>
                        <a:pt x="2419299" y="1659775"/>
                      </a:lnTo>
                      <a:lnTo>
                        <a:pt x="2419896" y="1660029"/>
                      </a:lnTo>
                      <a:lnTo>
                        <a:pt x="2420429" y="1660144"/>
                      </a:lnTo>
                      <a:lnTo>
                        <a:pt x="2421394" y="1660144"/>
                      </a:lnTo>
                      <a:lnTo>
                        <a:pt x="2425725" y="1653413"/>
                      </a:lnTo>
                      <a:lnTo>
                        <a:pt x="2426119" y="1652625"/>
                      </a:lnTo>
                      <a:lnTo>
                        <a:pt x="2426627" y="1652308"/>
                      </a:lnTo>
                      <a:lnTo>
                        <a:pt x="2429738" y="1651330"/>
                      </a:lnTo>
                      <a:lnTo>
                        <a:pt x="2434247" y="1650212"/>
                      </a:lnTo>
                      <a:lnTo>
                        <a:pt x="2435415" y="1649476"/>
                      </a:lnTo>
                      <a:lnTo>
                        <a:pt x="2436101" y="1649196"/>
                      </a:lnTo>
                      <a:lnTo>
                        <a:pt x="2436584" y="1648904"/>
                      </a:lnTo>
                      <a:lnTo>
                        <a:pt x="2436787" y="1648688"/>
                      </a:lnTo>
                      <a:lnTo>
                        <a:pt x="2438222" y="1647786"/>
                      </a:lnTo>
                      <a:lnTo>
                        <a:pt x="2437790" y="1645691"/>
                      </a:lnTo>
                      <a:lnTo>
                        <a:pt x="2437841" y="1644802"/>
                      </a:lnTo>
                      <a:lnTo>
                        <a:pt x="2437942" y="1644624"/>
                      </a:lnTo>
                      <a:lnTo>
                        <a:pt x="2439327" y="1642592"/>
                      </a:lnTo>
                      <a:lnTo>
                        <a:pt x="2440495" y="1640801"/>
                      </a:lnTo>
                      <a:lnTo>
                        <a:pt x="2441841" y="1639328"/>
                      </a:lnTo>
                      <a:lnTo>
                        <a:pt x="2441905" y="1639074"/>
                      </a:lnTo>
                      <a:close/>
                    </a:path>
                    <a:path w="2709545" h="2035175">
                      <a:moveTo>
                        <a:pt x="2475611" y="1221511"/>
                      </a:moveTo>
                      <a:lnTo>
                        <a:pt x="2475585" y="1220241"/>
                      </a:lnTo>
                      <a:lnTo>
                        <a:pt x="2461310" y="1220241"/>
                      </a:lnTo>
                      <a:lnTo>
                        <a:pt x="2455913" y="1221511"/>
                      </a:lnTo>
                      <a:lnTo>
                        <a:pt x="2454211" y="1221511"/>
                      </a:lnTo>
                      <a:lnTo>
                        <a:pt x="2459215" y="1230401"/>
                      </a:lnTo>
                      <a:lnTo>
                        <a:pt x="2459469" y="1230401"/>
                      </a:lnTo>
                      <a:lnTo>
                        <a:pt x="2459698" y="1231671"/>
                      </a:lnTo>
                      <a:lnTo>
                        <a:pt x="2459723" y="1234211"/>
                      </a:lnTo>
                      <a:lnTo>
                        <a:pt x="2460650" y="1236751"/>
                      </a:lnTo>
                      <a:lnTo>
                        <a:pt x="2460587" y="1238021"/>
                      </a:lnTo>
                      <a:lnTo>
                        <a:pt x="2460180" y="1239291"/>
                      </a:lnTo>
                      <a:lnTo>
                        <a:pt x="2459228" y="1239291"/>
                      </a:lnTo>
                      <a:lnTo>
                        <a:pt x="2457234" y="1240548"/>
                      </a:lnTo>
                      <a:lnTo>
                        <a:pt x="2455151" y="1239291"/>
                      </a:lnTo>
                      <a:lnTo>
                        <a:pt x="2453690" y="1239291"/>
                      </a:lnTo>
                      <a:lnTo>
                        <a:pt x="2451227" y="1240561"/>
                      </a:lnTo>
                      <a:lnTo>
                        <a:pt x="2447353" y="1238021"/>
                      </a:lnTo>
                      <a:lnTo>
                        <a:pt x="2447163" y="1240561"/>
                      </a:lnTo>
                      <a:lnTo>
                        <a:pt x="2447112" y="1244371"/>
                      </a:lnTo>
                      <a:lnTo>
                        <a:pt x="2445258" y="1244371"/>
                      </a:lnTo>
                      <a:lnTo>
                        <a:pt x="2444458" y="1245641"/>
                      </a:lnTo>
                      <a:lnTo>
                        <a:pt x="2441676" y="1245641"/>
                      </a:lnTo>
                      <a:lnTo>
                        <a:pt x="2439543" y="1244371"/>
                      </a:lnTo>
                      <a:lnTo>
                        <a:pt x="2438450" y="1243101"/>
                      </a:lnTo>
                      <a:lnTo>
                        <a:pt x="2434310" y="1243101"/>
                      </a:lnTo>
                      <a:lnTo>
                        <a:pt x="2434450" y="1241831"/>
                      </a:lnTo>
                      <a:lnTo>
                        <a:pt x="2436012" y="1240548"/>
                      </a:lnTo>
                      <a:lnTo>
                        <a:pt x="2436965" y="1239291"/>
                      </a:lnTo>
                      <a:lnTo>
                        <a:pt x="2437333" y="1239291"/>
                      </a:lnTo>
                      <a:lnTo>
                        <a:pt x="2437714" y="1238021"/>
                      </a:lnTo>
                      <a:lnTo>
                        <a:pt x="2437917" y="1236751"/>
                      </a:lnTo>
                      <a:lnTo>
                        <a:pt x="2438273" y="1231671"/>
                      </a:lnTo>
                      <a:lnTo>
                        <a:pt x="2439593" y="1230401"/>
                      </a:lnTo>
                      <a:lnTo>
                        <a:pt x="2439936" y="1230401"/>
                      </a:lnTo>
                      <a:lnTo>
                        <a:pt x="2441219" y="1229131"/>
                      </a:lnTo>
                      <a:lnTo>
                        <a:pt x="2442045" y="1229131"/>
                      </a:lnTo>
                      <a:lnTo>
                        <a:pt x="2443492" y="1227861"/>
                      </a:lnTo>
                      <a:lnTo>
                        <a:pt x="2444178" y="1226591"/>
                      </a:lnTo>
                      <a:lnTo>
                        <a:pt x="2443810" y="1221511"/>
                      </a:lnTo>
                      <a:lnTo>
                        <a:pt x="2445004" y="1213891"/>
                      </a:lnTo>
                      <a:lnTo>
                        <a:pt x="2445474" y="1208811"/>
                      </a:lnTo>
                      <a:lnTo>
                        <a:pt x="2448522" y="1201191"/>
                      </a:lnTo>
                      <a:lnTo>
                        <a:pt x="2448814" y="1199921"/>
                      </a:lnTo>
                      <a:lnTo>
                        <a:pt x="2449055" y="1198651"/>
                      </a:lnTo>
                      <a:lnTo>
                        <a:pt x="2449588" y="1196111"/>
                      </a:lnTo>
                      <a:lnTo>
                        <a:pt x="2449804" y="1194841"/>
                      </a:lnTo>
                      <a:lnTo>
                        <a:pt x="2450033" y="1194841"/>
                      </a:lnTo>
                      <a:lnTo>
                        <a:pt x="2451608" y="1193571"/>
                      </a:lnTo>
                      <a:lnTo>
                        <a:pt x="2450541" y="1193571"/>
                      </a:lnTo>
                      <a:lnTo>
                        <a:pt x="2448483" y="1193571"/>
                      </a:lnTo>
                      <a:lnTo>
                        <a:pt x="2447887" y="1194841"/>
                      </a:lnTo>
                      <a:lnTo>
                        <a:pt x="2447556" y="1196111"/>
                      </a:lnTo>
                      <a:lnTo>
                        <a:pt x="2447277" y="1196111"/>
                      </a:lnTo>
                      <a:lnTo>
                        <a:pt x="2446959" y="1198651"/>
                      </a:lnTo>
                      <a:lnTo>
                        <a:pt x="2446464" y="1201191"/>
                      </a:lnTo>
                      <a:lnTo>
                        <a:pt x="2443391" y="1208811"/>
                      </a:lnTo>
                      <a:lnTo>
                        <a:pt x="2442908" y="1213891"/>
                      </a:lnTo>
                      <a:lnTo>
                        <a:pt x="2441879" y="1220241"/>
                      </a:lnTo>
                      <a:lnTo>
                        <a:pt x="2441791" y="1222781"/>
                      </a:lnTo>
                      <a:lnTo>
                        <a:pt x="2442019" y="1225321"/>
                      </a:lnTo>
                      <a:lnTo>
                        <a:pt x="2441740" y="1226591"/>
                      </a:lnTo>
                      <a:lnTo>
                        <a:pt x="2440686" y="1227861"/>
                      </a:lnTo>
                      <a:lnTo>
                        <a:pt x="2439860" y="1227861"/>
                      </a:lnTo>
                      <a:lnTo>
                        <a:pt x="2438209" y="1229131"/>
                      </a:lnTo>
                      <a:lnTo>
                        <a:pt x="2437371" y="1230401"/>
                      </a:lnTo>
                      <a:lnTo>
                        <a:pt x="2436215" y="1231671"/>
                      </a:lnTo>
                      <a:lnTo>
                        <a:pt x="2435809" y="1236751"/>
                      </a:lnTo>
                      <a:lnTo>
                        <a:pt x="2435682" y="1238021"/>
                      </a:lnTo>
                      <a:lnTo>
                        <a:pt x="2435174" y="1238021"/>
                      </a:lnTo>
                      <a:lnTo>
                        <a:pt x="2434437" y="1239291"/>
                      </a:lnTo>
                      <a:lnTo>
                        <a:pt x="2432494" y="1240561"/>
                      </a:lnTo>
                      <a:lnTo>
                        <a:pt x="2432367" y="1241831"/>
                      </a:lnTo>
                      <a:lnTo>
                        <a:pt x="2431999" y="1243101"/>
                      </a:lnTo>
                      <a:lnTo>
                        <a:pt x="2432545" y="1244371"/>
                      </a:lnTo>
                      <a:lnTo>
                        <a:pt x="2433205" y="1245641"/>
                      </a:lnTo>
                      <a:lnTo>
                        <a:pt x="2435250" y="1249451"/>
                      </a:lnTo>
                      <a:lnTo>
                        <a:pt x="2435364" y="1248181"/>
                      </a:lnTo>
                      <a:lnTo>
                        <a:pt x="2435987" y="1249451"/>
                      </a:lnTo>
                      <a:lnTo>
                        <a:pt x="2436698" y="1250721"/>
                      </a:lnTo>
                      <a:lnTo>
                        <a:pt x="2436965" y="1251991"/>
                      </a:lnTo>
                      <a:lnTo>
                        <a:pt x="2436812" y="1253261"/>
                      </a:lnTo>
                      <a:lnTo>
                        <a:pt x="2436774" y="1254531"/>
                      </a:lnTo>
                      <a:lnTo>
                        <a:pt x="2435987" y="1255801"/>
                      </a:lnTo>
                      <a:lnTo>
                        <a:pt x="2436444" y="1255801"/>
                      </a:lnTo>
                      <a:lnTo>
                        <a:pt x="2436609" y="1257071"/>
                      </a:lnTo>
                      <a:lnTo>
                        <a:pt x="2437066" y="1258341"/>
                      </a:lnTo>
                      <a:lnTo>
                        <a:pt x="2438095" y="1257071"/>
                      </a:lnTo>
                      <a:lnTo>
                        <a:pt x="2438666" y="1257071"/>
                      </a:lnTo>
                      <a:lnTo>
                        <a:pt x="2438616" y="1255801"/>
                      </a:lnTo>
                      <a:lnTo>
                        <a:pt x="2439047" y="1253261"/>
                      </a:lnTo>
                      <a:lnTo>
                        <a:pt x="2439047" y="1251991"/>
                      </a:lnTo>
                      <a:lnTo>
                        <a:pt x="2438666" y="1249451"/>
                      </a:lnTo>
                      <a:lnTo>
                        <a:pt x="2437777" y="1248181"/>
                      </a:lnTo>
                      <a:lnTo>
                        <a:pt x="2437142" y="1246911"/>
                      </a:lnTo>
                      <a:lnTo>
                        <a:pt x="2436088" y="1245641"/>
                      </a:lnTo>
                      <a:lnTo>
                        <a:pt x="2437561" y="1245641"/>
                      </a:lnTo>
                      <a:lnTo>
                        <a:pt x="2438133" y="1244371"/>
                      </a:lnTo>
                      <a:lnTo>
                        <a:pt x="2437854" y="1245641"/>
                      </a:lnTo>
                      <a:lnTo>
                        <a:pt x="2438273" y="1245641"/>
                      </a:lnTo>
                      <a:lnTo>
                        <a:pt x="2440889" y="1248181"/>
                      </a:lnTo>
                      <a:lnTo>
                        <a:pt x="2444026" y="1248181"/>
                      </a:lnTo>
                      <a:lnTo>
                        <a:pt x="2443594" y="1246911"/>
                      </a:lnTo>
                      <a:lnTo>
                        <a:pt x="2445296" y="1246911"/>
                      </a:lnTo>
                      <a:lnTo>
                        <a:pt x="2447315" y="1245641"/>
                      </a:lnTo>
                      <a:lnTo>
                        <a:pt x="2449131" y="1245641"/>
                      </a:lnTo>
                      <a:lnTo>
                        <a:pt x="2449195" y="1244371"/>
                      </a:lnTo>
                      <a:lnTo>
                        <a:pt x="2449284" y="1241831"/>
                      </a:lnTo>
                      <a:lnTo>
                        <a:pt x="2457932" y="1241831"/>
                      </a:lnTo>
                      <a:lnTo>
                        <a:pt x="2458123" y="1243101"/>
                      </a:lnTo>
                      <a:lnTo>
                        <a:pt x="2458085" y="1244371"/>
                      </a:lnTo>
                      <a:lnTo>
                        <a:pt x="2458339" y="1244371"/>
                      </a:lnTo>
                      <a:lnTo>
                        <a:pt x="2458796" y="1245641"/>
                      </a:lnTo>
                      <a:lnTo>
                        <a:pt x="2458847" y="1246911"/>
                      </a:lnTo>
                      <a:lnTo>
                        <a:pt x="2460002" y="1246911"/>
                      </a:lnTo>
                      <a:lnTo>
                        <a:pt x="2460434" y="1248181"/>
                      </a:lnTo>
                      <a:lnTo>
                        <a:pt x="2461323" y="1248181"/>
                      </a:lnTo>
                      <a:lnTo>
                        <a:pt x="2462098" y="1251991"/>
                      </a:lnTo>
                      <a:lnTo>
                        <a:pt x="2462111" y="1253261"/>
                      </a:lnTo>
                      <a:lnTo>
                        <a:pt x="2461882" y="1253261"/>
                      </a:lnTo>
                      <a:lnTo>
                        <a:pt x="2460764" y="1254531"/>
                      </a:lnTo>
                      <a:lnTo>
                        <a:pt x="2459812" y="1254531"/>
                      </a:lnTo>
                      <a:lnTo>
                        <a:pt x="2459723" y="1255801"/>
                      </a:lnTo>
                      <a:lnTo>
                        <a:pt x="2459469" y="1257071"/>
                      </a:lnTo>
                      <a:lnTo>
                        <a:pt x="2457666" y="1258341"/>
                      </a:lnTo>
                      <a:lnTo>
                        <a:pt x="2457272" y="1263421"/>
                      </a:lnTo>
                      <a:lnTo>
                        <a:pt x="2454643" y="1267231"/>
                      </a:lnTo>
                      <a:lnTo>
                        <a:pt x="2452827" y="1268501"/>
                      </a:lnTo>
                      <a:lnTo>
                        <a:pt x="2446210" y="1269771"/>
                      </a:lnTo>
                      <a:lnTo>
                        <a:pt x="2443975" y="1269771"/>
                      </a:lnTo>
                      <a:lnTo>
                        <a:pt x="2443734" y="1271041"/>
                      </a:lnTo>
                      <a:lnTo>
                        <a:pt x="2443175" y="1271041"/>
                      </a:lnTo>
                      <a:lnTo>
                        <a:pt x="2444178" y="1273581"/>
                      </a:lnTo>
                      <a:lnTo>
                        <a:pt x="2445321" y="1272311"/>
                      </a:lnTo>
                      <a:lnTo>
                        <a:pt x="2446998" y="1272311"/>
                      </a:lnTo>
                      <a:lnTo>
                        <a:pt x="2453602" y="1271041"/>
                      </a:lnTo>
                      <a:lnTo>
                        <a:pt x="2456218" y="1268501"/>
                      </a:lnTo>
                      <a:lnTo>
                        <a:pt x="2459342" y="1263421"/>
                      </a:lnTo>
                      <a:lnTo>
                        <a:pt x="2459659" y="1259611"/>
                      </a:lnTo>
                      <a:lnTo>
                        <a:pt x="2460409" y="1258341"/>
                      </a:lnTo>
                      <a:lnTo>
                        <a:pt x="2461704" y="1258341"/>
                      </a:lnTo>
                      <a:lnTo>
                        <a:pt x="2462098" y="1257071"/>
                      </a:lnTo>
                      <a:lnTo>
                        <a:pt x="2462555" y="1257071"/>
                      </a:lnTo>
                      <a:lnTo>
                        <a:pt x="2462606" y="1255801"/>
                      </a:lnTo>
                      <a:lnTo>
                        <a:pt x="2462377" y="1255801"/>
                      </a:lnTo>
                      <a:lnTo>
                        <a:pt x="2463076" y="1254531"/>
                      </a:lnTo>
                      <a:lnTo>
                        <a:pt x="2463749" y="1254531"/>
                      </a:lnTo>
                      <a:lnTo>
                        <a:pt x="2464092" y="1253261"/>
                      </a:lnTo>
                      <a:lnTo>
                        <a:pt x="2464130" y="1250721"/>
                      </a:lnTo>
                      <a:lnTo>
                        <a:pt x="2463203" y="1246911"/>
                      </a:lnTo>
                      <a:lnTo>
                        <a:pt x="2461958" y="1246911"/>
                      </a:lnTo>
                      <a:lnTo>
                        <a:pt x="2461590" y="1245641"/>
                      </a:lnTo>
                      <a:lnTo>
                        <a:pt x="2460929" y="1245641"/>
                      </a:lnTo>
                      <a:lnTo>
                        <a:pt x="2460904" y="1244371"/>
                      </a:lnTo>
                      <a:lnTo>
                        <a:pt x="2460637" y="1244371"/>
                      </a:lnTo>
                      <a:lnTo>
                        <a:pt x="2460206" y="1243101"/>
                      </a:lnTo>
                      <a:lnTo>
                        <a:pt x="2460269" y="1241831"/>
                      </a:lnTo>
                      <a:lnTo>
                        <a:pt x="2460993" y="1241831"/>
                      </a:lnTo>
                      <a:lnTo>
                        <a:pt x="2461260" y="1240561"/>
                      </a:lnTo>
                      <a:lnTo>
                        <a:pt x="2461958" y="1240561"/>
                      </a:lnTo>
                      <a:lnTo>
                        <a:pt x="2462098" y="1239291"/>
                      </a:lnTo>
                      <a:lnTo>
                        <a:pt x="2462644" y="1239291"/>
                      </a:lnTo>
                      <a:lnTo>
                        <a:pt x="2462885" y="1238021"/>
                      </a:lnTo>
                      <a:lnTo>
                        <a:pt x="2462720" y="1235481"/>
                      </a:lnTo>
                      <a:lnTo>
                        <a:pt x="2461831" y="1234211"/>
                      </a:lnTo>
                      <a:lnTo>
                        <a:pt x="2461818" y="1231671"/>
                      </a:lnTo>
                      <a:lnTo>
                        <a:pt x="2461539" y="1230401"/>
                      </a:lnTo>
                      <a:lnTo>
                        <a:pt x="2461171" y="1229131"/>
                      </a:lnTo>
                      <a:lnTo>
                        <a:pt x="2457615" y="1222781"/>
                      </a:lnTo>
                      <a:lnTo>
                        <a:pt x="2474595" y="1222781"/>
                      </a:lnTo>
                      <a:lnTo>
                        <a:pt x="2475611" y="1221511"/>
                      </a:lnTo>
                      <a:close/>
                    </a:path>
                    <a:path w="2709545" h="2035175">
                      <a:moveTo>
                        <a:pt x="2534094" y="1422412"/>
                      </a:moveTo>
                      <a:lnTo>
                        <a:pt x="2534056" y="1417332"/>
                      </a:lnTo>
                      <a:lnTo>
                        <a:pt x="2531834" y="1414792"/>
                      </a:lnTo>
                      <a:lnTo>
                        <a:pt x="2522131" y="1403362"/>
                      </a:lnTo>
                      <a:lnTo>
                        <a:pt x="2521102" y="1402092"/>
                      </a:lnTo>
                      <a:lnTo>
                        <a:pt x="2520213" y="1400822"/>
                      </a:lnTo>
                      <a:lnTo>
                        <a:pt x="2518499" y="1399552"/>
                      </a:lnTo>
                      <a:lnTo>
                        <a:pt x="2513673" y="1404632"/>
                      </a:lnTo>
                      <a:lnTo>
                        <a:pt x="2518549" y="1402092"/>
                      </a:lnTo>
                      <a:lnTo>
                        <a:pt x="2519210" y="1403362"/>
                      </a:lnTo>
                      <a:lnTo>
                        <a:pt x="2520543" y="1404632"/>
                      </a:lnTo>
                      <a:lnTo>
                        <a:pt x="2529509" y="1416062"/>
                      </a:lnTo>
                      <a:lnTo>
                        <a:pt x="2530322" y="1414792"/>
                      </a:lnTo>
                      <a:lnTo>
                        <a:pt x="2529713" y="1416062"/>
                      </a:lnTo>
                      <a:lnTo>
                        <a:pt x="2531948" y="1418602"/>
                      </a:lnTo>
                      <a:lnTo>
                        <a:pt x="2531961" y="1421142"/>
                      </a:lnTo>
                      <a:lnTo>
                        <a:pt x="2531605" y="1423682"/>
                      </a:lnTo>
                      <a:lnTo>
                        <a:pt x="2531465" y="1424952"/>
                      </a:lnTo>
                      <a:lnTo>
                        <a:pt x="2531402" y="1426222"/>
                      </a:lnTo>
                      <a:lnTo>
                        <a:pt x="2531402" y="1427492"/>
                      </a:lnTo>
                      <a:lnTo>
                        <a:pt x="2531656" y="1428762"/>
                      </a:lnTo>
                      <a:lnTo>
                        <a:pt x="2531668" y="1431302"/>
                      </a:lnTo>
                      <a:lnTo>
                        <a:pt x="2531110" y="1437652"/>
                      </a:lnTo>
                      <a:lnTo>
                        <a:pt x="2529903" y="1437652"/>
                      </a:lnTo>
                      <a:lnTo>
                        <a:pt x="2528100" y="1438922"/>
                      </a:lnTo>
                      <a:lnTo>
                        <a:pt x="2524937" y="1440192"/>
                      </a:lnTo>
                      <a:lnTo>
                        <a:pt x="2524201" y="1440192"/>
                      </a:lnTo>
                      <a:lnTo>
                        <a:pt x="2523896" y="1441462"/>
                      </a:lnTo>
                      <a:lnTo>
                        <a:pt x="2523731" y="1441462"/>
                      </a:lnTo>
                      <a:lnTo>
                        <a:pt x="2522969" y="1442732"/>
                      </a:lnTo>
                      <a:lnTo>
                        <a:pt x="2521953" y="1444002"/>
                      </a:lnTo>
                      <a:lnTo>
                        <a:pt x="2521432" y="1445272"/>
                      </a:lnTo>
                      <a:lnTo>
                        <a:pt x="2521381" y="1446542"/>
                      </a:lnTo>
                      <a:lnTo>
                        <a:pt x="2521991" y="1447812"/>
                      </a:lnTo>
                      <a:lnTo>
                        <a:pt x="2523236" y="1452892"/>
                      </a:lnTo>
                      <a:lnTo>
                        <a:pt x="2522397" y="1452892"/>
                      </a:lnTo>
                      <a:lnTo>
                        <a:pt x="2522118" y="1451622"/>
                      </a:lnTo>
                      <a:lnTo>
                        <a:pt x="2521889" y="1450352"/>
                      </a:lnTo>
                      <a:lnTo>
                        <a:pt x="2521547" y="1449082"/>
                      </a:lnTo>
                      <a:lnTo>
                        <a:pt x="2521166" y="1449082"/>
                      </a:lnTo>
                      <a:lnTo>
                        <a:pt x="2520658" y="1447812"/>
                      </a:lnTo>
                      <a:lnTo>
                        <a:pt x="2518460" y="1446542"/>
                      </a:lnTo>
                      <a:lnTo>
                        <a:pt x="2518308" y="1445272"/>
                      </a:lnTo>
                      <a:lnTo>
                        <a:pt x="2514943" y="1442732"/>
                      </a:lnTo>
                      <a:lnTo>
                        <a:pt x="2513838" y="1441462"/>
                      </a:lnTo>
                      <a:lnTo>
                        <a:pt x="2513177" y="1440192"/>
                      </a:lnTo>
                      <a:lnTo>
                        <a:pt x="2511641" y="1437652"/>
                      </a:lnTo>
                      <a:lnTo>
                        <a:pt x="2511031" y="1436382"/>
                      </a:lnTo>
                      <a:lnTo>
                        <a:pt x="2511031" y="1435112"/>
                      </a:lnTo>
                      <a:lnTo>
                        <a:pt x="2511221" y="1435112"/>
                      </a:lnTo>
                      <a:lnTo>
                        <a:pt x="2512872" y="1433842"/>
                      </a:lnTo>
                      <a:lnTo>
                        <a:pt x="2514333" y="1428762"/>
                      </a:lnTo>
                      <a:lnTo>
                        <a:pt x="2515920" y="1424952"/>
                      </a:lnTo>
                      <a:lnTo>
                        <a:pt x="2515870" y="1422412"/>
                      </a:lnTo>
                      <a:lnTo>
                        <a:pt x="2515527" y="1422412"/>
                      </a:lnTo>
                      <a:lnTo>
                        <a:pt x="2515209" y="1419872"/>
                      </a:lnTo>
                      <a:lnTo>
                        <a:pt x="2513190" y="1414792"/>
                      </a:lnTo>
                      <a:lnTo>
                        <a:pt x="2512314" y="1412252"/>
                      </a:lnTo>
                      <a:lnTo>
                        <a:pt x="2509685" y="1413522"/>
                      </a:lnTo>
                      <a:lnTo>
                        <a:pt x="2506497" y="1414792"/>
                      </a:lnTo>
                      <a:lnTo>
                        <a:pt x="2501430" y="1414792"/>
                      </a:lnTo>
                      <a:lnTo>
                        <a:pt x="2498344" y="1410982"/>
                      </a:lnTo>
                      <a:lnTo>
                        <a:pt x="2497213" y="1409712"/>
                      </a:lnTo>
                      <a:lnTo>
                        <a:pt x="2498445" y="1409712"/>
                      </a:lnTo>
                      <a:lnTo>
                        <a:pt x="2495677" y="1408442"/>
                      </a:lnTo>
                      <a:lnTo>
                        <a:pt x="2495677" y="1407172"/>
                      </a:lnTo>
                      <a:lnTo>
                        <a:pt x="2492222" y="1407172"/>
                      </a:lnTo>
                      <a:lnTo>
                        <a:pt x="2491384" y="1405902"/>
                      </a:lnTo>
                      <a:lnTo>
                        <a:pt x="2489377" y="1403362"/>
                      </a:lnTo>
                      <a:lnTo>
                        <a:pt x="2488844" y="1403362"/>
                      </a:lnTo>
                      <a:lnTo>
                        <a:pt x="2489885" y="1402092"/>
                      </a:lnTo>
                      <a:lnTo>
                        <a:pt x="2490508" y="1402092"/>
                      </a:lnTo>
                      <a:lnTo>
                        <a:pt x="2490851" y="1400822"/>
                      </a:lnTo>
                      <a:lnTo>
                        <a:pt x="2491194" y="1400822"/>
                      </a:lnTo>
                      <a:lnTo>
                        <a:pt x="2491613" y="1399552"/>
                      </a:lnTo>
                      <a:lnTo>
                        <a:pt x="2492641" y="1397012"/>
                      </a:lnTo>
                      <a:lnTo>
                        <a:pt x="2493454" y="1390662"/>
                      </a:lnTo>
                      <a:lnTo>
                        <a:pt x="2493759" y="1389392"/>
                      </a:lnTo>
                      <a:lnTo>
                        <a:pt x="2494813" y="1389392"/>
                      </a:lnTo>
                      <a:lnTo>
                        <a:pt x="2496655" y="1388122"/>
                      </a:lnTo>
                      <a:lnTo>
                        <a:pt x="2499652" y="1385582"/>
                      </a:lnTo>
                      <a:lnTo>
                        <a:pt x="2501112" y="1385582"/>
                      </a:lnTo>
                      <a:lnTo>
                        <a:pt x="2499474" y="1383042"/>
                      </a:lnTo>
                      <a:lnTo>
                        <a:pt x="2497709" y="1381772"/>
                      </a:lnTo>
                      <a:lnTo>
                        <a:pt x="2497010" y="1380502"/>
                      </a:lnTo>
                      <a:lnTo>
                        <a:pt x="2496997" y="1379232"/>
                      </a:lnTo>
                      <a:lnTo>
                        <a:pt x="2496451" y="1374152"/>
                      </a:lnTo>
                      <a:lnTo>
                        <a:pt x="2496553" y="1371612"/>
                      </a:lnTo>
                      <a:lnTo>
                        <a:pt x="2497467" y="1367802"/>
                      </a:lnTo>
                      <a:lnTo>
                        <a:pt x="2497467" y="1365262"/>
                      </a:lnTo>
                      <a:lnTo>
                        <a:pt x="2497378" y="1363992"/>
                      </a:lnTo>
                      <a:lnTo>
                        <a:pt x="2497251" y="1363992"/>
                      </a:lnTo>
                      <a:lnTo>
                        <a:pt x="2497302" y="1362722"/>
                      </a:lnTo>
                      <a:lnTo>
                        <a:pt x="2497455" y="1362722"/>
                      </a:lnTo>
                      <a:lnTo>
                        <a:pt x="2503436" y="1358912"/>
                      </a:lnTo>
                      <a:lnTo>
                        <a:pt x="2502293" y="1357642"/>
                      </a:lnTo>
                      <a:lnTo>
                        <a:pt x="2497747" y="1351292"/>
                      </a:lnTo>
                      <a:lnTo>
                        <a:pt x="2497747" y="1347482"/>
                      </a:lnTo>
                      <a:lnTo>
                        <a:pt x="2497328" y="1346212"/>
                      </a:lnTo>
                      <a:lnTo>
                        <a:pt x="2496540" y="1344942"/>
                      </a:lnTo>
                      <a:lnTo>
                        <a:pt x="2496248" y="1344942"/>
                      </a:lnTo>
                      <a:lnTo>
                        <a:pt x="2495766" y="1343672"/>
                      </a:lnTo>
                      <a:lnTo>
                        <a:pt x="2496629" y="1343672"/>
                      </a:lnTo>
                      <a:lnTo>
                        <a:pt x="2501074" y="1346212"/>
                      </a:lnTo>
                      <a:lnTo>
                        <a:pt x="2503614" y="1346212"/>
                      </a:lnTo>
                      <a:lnTo>
                        <a:pt x="2504694" y="1347482"/>
                      </a:lnTo>
                      <a:lnTo>
                        <a:pt x="2504871" y="1347482"/>
                      </a:lnTo>
                      <a:lnTo>
                        <a:pt x="2505583" y="1344942"/>
                      </a:lnTo>
                      <a:lnTo>
                        <a:pt x="2503728" y="1344942"/>
                      </a:lnTo>
                      <a:lnTo>
                        <a:pt x="2501811" y="1343672"/>
                      </a:lnTo>
                      <a:lnTo>
                        <a:pt x="2495537" y="1341132"/>
                      </a:lnTo>
                      <a:lnTo>
                        <a:pt x="2493289" y="1341132"/>
                      </a:lnTo>
                      <a:lnTo>
                        <a:pt x="2491498" y="1339862"/>
                      </a:lnTo>
                      <a:lnTo>
                        <a:pt x="2489047" y="1339862"/>
                      </a:lnTo>
                      <a:lnTo>
                        <a:pt x="2479675" y="1337322"/>
                      </a:lnTo>
                      <a:lnTo>
                        <a:pt x="2476982" y="1334782"/>
                      </a:lnTo>
                      <a:lnTo>
                        <a:pt x="2476296" y="1334782"/>
                      </a:lnTo>
                      <a:lnTo>
                        <a:pt x="2475319" y="1333512"/>
                      </a:lnTo>
                      <a:lnTo>
                        <a:pt x="2471216" y="1332242"/>
                      </a:lnTo>
                      <a:lnTo>
                        <a:pt x="2470137" y="1330972"/>
                      </a:lnTo>
                      <a:lnTo>
                        <a:pt x="2468397" y="1330972"/>
                      </a:lnTo>
                      <a:lnTo>
                        <a:pt x="2467089" y="1329702"/>
                      </a:lnTo>
                      <a:lnTo>
                        <a:pt x="2465565" y="1329702"/>
                      </a:lnTo>
                      <a:lnTo>
                        <a:pt x="2465489" y="1332242"/>
                      </a:lnTo>
                      <a:lnTo>
                        <a:pt x="2467724" y="1332242"/>
                      </a:lnTo>
                      <a:lnTo>
                        <a:pt x="2468702" y="1333512"/>
                      </a:lnTo>
                      <a:lnTo>
                        <a:pt x="2469184" y="1332242"/>
                      </a:lnTo>
                      <a:lnTo>
                        <a:pt x="2468956" y="1333512"/>
                      </a:lnTo>
                      <a:lnTo>
                        <a:pt x="2470150" y="1333512"/>
                      </a:lnTo>
                      <a:lnTo>
                        <a:pt x="2474264" y="1336052"/>
                      </a:lnTo>
                      <a:lnTo>
                        <a:pt x="2475407" y="1336052"/>
                      </a:lnTo>
                      <a:lnTo>
                        <a:pt x="2478836" y="1338592"/>
                      </a:lnTo>
                      <a:lnTo>
                        <a:pt x="2488349" y="1341132"/>
                      </a:lnTo>
                      <a:lnTo>
                        <a:pt x="2489936" y="1342402"/>
                      </a:lnTo>
                      <a:lnTo>
                        <a:pt x="2490622" y="1342402"/>
                      </a:lnTo>
                      <a:lnTo>
                        <a:pt x="2492476" y="1343672"/>
                      </a:lnTo>
                      <a:lnTo>
                        <a:pt x="2494203" y="1346212"/>
                      </a:lnTo>
                      <a:lnTo>
                        <a:pt x="2494775" y="1346212"/>
                      </a:lnTo>
                      <a:lnTo>
                        <a:pt x="2495346" y="1347482"/>
                      </a:lnTo>
                      <a:lnTo>
                        <a:pt x="2495626" y="1348752"/>
                      </a:lnTo>
                      <a:lnTo>
                        <a:pt x="2495651" y="1352562"/>
                      </a:lnTo>
                      <a:lnTo>
                        <a:pt x="2500147" y="1357642"/>
                      </a:lnTo>
                      <a:lnTo>
                        <a:pt x="2500401" y="1358912"/>
                      </a:lnTo>
                      <a:lnTo>
                        <a:pt x="2496362" y="1361452"/>
                      </a:lnTo>
                      <a:lnTo>
                        <a:pt x="2495512" y="1361452"/>
                      </a:lnTo>
                      <a:lnTo>
                        <a:pt x="2495245" y="1362722"/>
                      </a:lnTo>
                      <a:lnTo>
                        <a:pt x="2495105" y="1362722"/>
                      </a:lnTo>
                      <a:lnTo>
                        <a:pt x="2495258" y="1363992"/>
                      </a:lnTo>
                      <a:lnTo>
                        <a:pt x="2495258" y="1365262"/>
                      </a:lnTo>
                      <a:lnTo>
                        <a:pt x="2495334" y="1366532"/>
                      </a:lnTo>
                      <a:lnTo>
                        <a:pt x="2494457" y="1371612"/>
                      </a:lnTo>
                      <a:lnTo>
                        <a:pt x="2494343" y="1372882"/>
                      </a:lnTo>
                      <a:lnTo>
                        <a:pt x="2494330" y="1374152"/>
                      </a:lnTo>
                      <a:lnTo>
                        <a:pt x="2494889" y="1379232"/>
                      </a:lnTo>
                      <a:lnTo>
                        <a:pt x="2494902" y="1381772"/>
                      </a:lnTo>
                      <a:lnTo>
                        <a:pt x="2497785" y="1384312"/>
                      </a:lnTo>
                      <a:lnTo>
                        <a:pt x="2495588" y="1386852"/>
                      </a:lnTo>
                      <a:lnTo>
                        <a:pt x="2492108" y="1386852"/>
                      </a:lnTo>
                      <a:lnTo>
                        <a:pt x="2491740" y="1388122"/>
                      </a:lnTo>
                      <a:lnTo>
                        <a:pt x="2490584" y="1397012"/>
                      </a:lnTo>
                      <a:lnTo>
                        <a:pt x="2489809" y="1398282"/>
                      </a:lnTo>
                      <a:lnTo>
                        <a:pt x="2489682" y="1398282"/>
                      </a:lnTo>
                      <a:lnTo>
                        <a:pt x="2489619" y="1399552"/>
                      </a:lnTo>
                      <a:lnTo>
                        <a:pt x="2489111" y="1399552"/>
                      </a:lnTo>
                      <a:lnTo>
                        <a:pt x="2488908" y="1400822"/>
                      </a:lnTo>
                      <a:lnTo>
                        <a:pt x="2487460" y="1400822"/>
                      </a:lnTo>
                      <a:lnTo>
                        <a:pt x="2486799" y="1402092"/>
                      </a:lnTo>
                      <a:lnTo>
                        <a:pt x="2486647" y="1402092"/>
                      </a:lnTo>
                      <a:lnTo>
                        <a:pt x="2486647" y="1403362"/>
                      </a:lnTo>
                      <a:lnTo>
                        <a:pt x="2486901" y="1403362"/>
                      </a:lnTo>
                      <a:lnTo>
                        <a:pt x="2487485" y="1404632"/>
                      </a:lnTo>
                      <a:lnTo>
                        <a:pt x="2489682" y="1407172"/>
                      </a:lnTo>
                      <a:lnTo>
                        <a:pt x="2490432" y="1408442"/>
                      </a:lnTo>
                      <a:lnTo>
                        <a:pt x="2490673" y="1408442"/>
                      </a:lnTo>
                      <a:lnTo>
                        <a:pt x="2452065" y="1421142"/>
                      </a:lnTo>
                      <a:lnTo>
                        <a:pt x="2451443" y="1422412"/>
                      </a:lnTo>
                      <a:lnTo>
                        <a:pt x="2451011" y="1422412"/>
                      </a:lnTo>
                      <a:lnTo>
                        <a:pt x="2451011" y="1423682"/>
                      </a:lnTo>
                      <a:lnTo>
                        <a:pt x="2451189" y="1423682"/>
                      </a:lnTo>
                      <a:lnTo>
                        <a:pt x="2451227" y="1426222"/>
                      </a:lnTo>
                      <a:lnTo>
                        <a:pt x="2453449" y="1431302"/>
                      </a:lnTo>
                      <a:lnTo>
                        <a:pt x="2442375" y="1431302"/>
                      </a:lnTo>
                      <a:lnTo>
                        <a:pt x="2434183" y="1436382"/>
                      </a:lnTo>
                      <a:lnTo>
                        <a:pt x="2432837" y="1436382"/>
                      </a:lnTo>
                      <a:lnTo>
                        <a:pt x="2432735" y="1437652"/>
                      </a:lnTo>
                      <a:lnTo>
                        <a:pt x="2432164" y="1437652"/>
                      </a:lnTo>
                      <a:lnTo>
                        <a:pt x="2431427" y="1440192"/>
                      </a:lnTo>
                      <a:lnTo>
                        <a:pt x="2431338" y="1442732"/>
                      </a:lnTo>
                      <a:lnTo>
                        <a:pt x="2431046" y="1445272"/>
                      </a:lnTo>
                      <a:lnTo>
                        <a:pt x="2423045" y="1447812"/>
                      </a:lnTo>
                      <a:lnTo>
                        <a:pt x="2421585" y="1449082"/>
                      </a:lnTo>
                      <a:lnTo>
                        <a:pt x="2420505" y="1449082"/>
                      </a:lnTo>
                      <a:lnTo>
                        <a:pt x="2419312" y="1450352"/>
                      </a:lnTo>
                      <a:lnTo>
                        <a:pt x="2418270" y="1450352"/>
                      </a:lnTo>
                      <a:lnTo>
                        <a:pt x="2417432" y="1451622"/>
                      </a:lnTo>
                      <a:lnTo>
                        <a:pt x="2416276" y="1452892"/>
                      </a:lnTo>
                      <a:lnTo>
                        <a:pt x="2415463" y="1452892"/>
                      </a:lnTo>
                      <a:lnTo>
                        <a:pt x="2414498" y="1455432"/>
                      </a:lnTo>
                      <a:lnTo>
                        <a:pt x="2413647" y="1456702"/>
                      </a:lnTo>
                      <a:lnTo>
                        <a:pt x="2413152" y="1457972"/>
                      </a:lnTo>
                      <a:lnTo>
                        <a:pt x="2412568" y="1457972"/>
                      </a:lnTo>
                      <a:lnTo>
                        <a:pt x="2410536" y="1460512"/>
                      </a:lnTo>
                      <a:lnTo>
                        <a:pt x="2409672" y="1460512"/>
                      </a:lnTo>
                      <a:lnTo>
                        <a:pt x="2407716" y="1463052"/>
                      </a:lnTo>
                      <a:lnTo>
                        <a:pt x="2407094" y="1464322"/>
                      </a:lnTo>
                      <a:lnTo>
                        <a:pt x="2406929" y="1464322"/>
                      </a:lnTo>
                      <a:lnTo>
                        <a:pt x="2406256" y="1465592"/>
                      </a:lnTo>
                      <a:lnTo>
                        <a:pt x="2404541" y="1465592"/>
                      </a:lnTo>
                      <a:lnTo>
                        <a:pt x="2402065" y="1466862"/>
                      </a:lnTo>
                      <a:lnTo>
                        <a:pt x="2398052" y="1466862"/>
                      </a:lnTo>
                      <a:lnTo>
                        <a:pt x="2392667" y="1465592"/>
                      </a:lnTo>
                      <a:lnTo>
                        <a:pt x="2381910" y="1463052"/>
                      </a:lnTo>
                      <a:lnTo>
                        <a:pt x="2381250" y="1463052"/>
                      </a:lnTo>
                      <a:lnTo>
                        <a:pt x="2380665" y="1461782"/>
                      </a:lnTo>
                      <a:lnTo>
                        <a:pt x="2378887" y="1460512"/>
                      </a:lnTo>
                      <a:lnTo>
                        <a:pt x="2377668" y="1460512"/>
                      </a:lnTo>
                      <a:lnTo>
                        <a:pt x="2376805" y="1459242"/>
                      </a:lnTo>
                      <a:lnTo>
                        <a:pt x="2374036" y="1459242"/>
                      </a:lnTo>
                      <a:lnTo>
                        <a:pt x="2367775" y="1457972"/>
                      </a:lnTo>
                      <a:lnTo>
                        <a:pt x="2364498" y="1457972"/>
                      </a:lnTo>
                      <a:lnTo>
                        <a:pt x="2356726" y="1460512"/>
                      </a:lnTo>
                      <a:lnTo>
                        <a:pt x="2355227" y="1460512"/>
                      </a:lnTo>
                      <a:lnTo>
                        <a:pt x="2353500" y="1457972"/>
                      </a:lnTo>
                      <a:lnTo>
                        <a:pt x="2337016" y="1444002"/>
                      </a:lnTo>
                      <a:lnTo>
                        <a:pt x="2336177" y="1442732"/>
                      </a:lnTo>
                      <a:lnTo>
                        <a:pt x="2335746" y="1440192"/>
                      </a:lnTo>
                      <a:lnTo>
                        <a:pt x="2335568" y="1438922"/>
                      </a:lnTo>
                      <a:lnTo>
                        <a:pt x="2335466" y="1397012"/>
                      </a:lnTo>
                      <a:lnTo>
                        <a:pt x="2335377" y="1395742"/>
                      </a:lnTo>
                      <a:lnTo>
                        <a:pt x="2335352" y="1394472"/>
                      </a:lnTo>
                      <a:lnTo>
                        <a:pt x="2364397" y="1394472"/>
                      </a:lnTo>
                      <a:lnTo>
                        <a:pt x="2362543" y="1390662"/>
                      </a:lnTo>
                      <a:lnTo>
                        <a:pt x="2362898" y="1389392"/>
                      </a:lnTo>
                      <a:lnTo>
                        <a:pt x="2363076" y="1389392"/>
                      </a:lnTo>
                      <a:lnTo>
                        <a:pt x="2364155" y="1386852"/>
                      </a:lnTo>
                      <a:lnTo>
                        <a:pt x="2364346" y="1386852"/>
                      </a:lnTo>
                      <a:lnTo>
                        <a:pt x="2365298" y="1383042"/>
                      </a:lnTo>
                      <a:lnTo>
                        <a:pt x="2364473" y="1375422"/>
                      </a:lnTo>
                      <a:lnTo>
                        <a:pt x="2364003" y="1365262"/>
                      </a:lnTo>
                      <a:lnTo>
                        <a:pt x="2367369" y="1366532"/>
                      </a:lnTo>
                      <a:lnTo>
                        <a:pt x="2367851" y="1367802"/>
                      </a:lnTo>
                      <a:lnTo>
                        <a:pt x="2367826" y="1369072"/>
                      </a:lnTo>
                      <a:lnTo>
                        <a:pt x="2367496" y="1369072"/>
                      </a:lnTo>
                      <a:lnTo>
                        <a:pt x="2366251" y="1370342"/>
                      </a:lnTo>
                      <a:lnTo>
                        <a:pt x="2366492" y="1371612"/>
                      </a:lnTo>
                      <a:lnTo>
                        <a:pt x="2367051" y="1371612"/>
                      </a:lnTo>
                      <a:lnTo>
                        <a:pt x="2369629" y="1372882"/>
                      </a:lnTo>
                      <a:lnTo>
                        <a:pt x="2372309" y="1371612"/>
                      </a:lnTo>
                      <a:lnTo>
                        <a:pt x="2374531" y="1370342"/>
                      </a:lnTo>
                      <a:lnTo>
                        <a:pt x="2376678" y="1370342"/>
                      </a:lnTo>
                      <a:lnTo>
                        <a:pt x="2379726" y="1369072"/>
                      </a:lnTo>
                      <a:lnTo>
                        <a:pt x="2380818" y="1369072"/>
                      </a:lnTo>
                      <a:lnTo>
                        <a:pt x="2380754" y="1371612"/>
                      </a:lnTo>
                      <a:lnTo>
                        <a:pt x="2380907" y="1372882"/>
                      </a:lnTo>
                      <a:lnTo>
                        <a:pt x="2382253" y="1375422"/>
                      </a:lnTo>
                      <a:lnTo>
                        <a:pt x="2383409" y="1375422"/>
                      </a:lnTo>
                      <a:lnTo>
                        <a:pt x="2383459" y="1376692"/>
                      </a:lnTo>
                      <a:lnTo>
                        <a:pt x="2384056" y="1376692"/>
                      </a:lnTo>
                      <a:lnTo>
                        <a:pt x="2385123" y="1377962"/>
                      </a:lnTo>
                      <a:lnTo>
                        <a:pt x="2389098" y="1377962"/>
                      </a:lnTo>
                      <a:lnTo>
                        <a:pt x="2404630" y="1380502"/>
                      </a:lnTo>
                      <a:lnTo>
                        <a:pt x="2405176" y="1380502"/>
                      </a:lnTo>
                      <a:lnTo>
                        <a:pt x="2406599" y="1379232"/>
                      </a:lnTo>
                      <a:lnTo>
                        <a:pt x="2407018" y="1375422"/>
                      </a:lnTo>
                      <a:lnTo>
                        <a:pt x="2407437" y="1374152"/>
                      </a:lnTo>
                      <a:lnTo>
                        <a:pt x="2408707" y="1374152"/>
                      </a:lnTo>
                      <a:lnTo>
                        <a:pt x="2409736" y="1376692"/>
                      </a:lnTo>
                      <a:lnTo>
                        <a:pt x="2410866" y="1379232"/>
                      </a:lnTo>
                      <a:lnTo>
                        <a:pt x="2411247" y="1379232"/>
                      </a:lnTo>
                      <a:lnTo>
                        <a:pt x="2413368" y="1383042"/>
                      </a:lnTo>
                      <a:lnTo>
                        <a:pt x="2415527" y="1384312"/>
                      </a:lnTo>
                      <a:lnTo>
                        <a:pt x="2418702" y="1384312"/>
                      </a:lnTo>
                      <a:lnTo>
                        <a:pt x="2422169" y="1385582"/>
                      </a:lnTo>
                      <a:lnTo>
                        <a:pt x="2424722" y="1386852"/>
                      </a:lnTo>
                      <a:lnTo>
                        <a:pt x="2436076" y="1402092"/>
                      </a:lnTo>
                      <a:lnTo>
                        <a:pt x="2440241" y="1399552"/>
                      </a:lnTo>
                      <a:lnTo>
                        <a:pt x="2440584" y="1399552"/>
                      </a:lnTo>
                      <a:lnTo>
                        <a:pt x="2442705" y="1398282"/>
                      </a:lnTo>
                      <a:lnTo>
                        <a:pt x="2443340" y="1398282"/>
                      </a:lnTo>
                      <a:lnTo>
                        <a:pt x="2442730" y="1399552"/>
                      </a:lnTo>
                      <a:lnTo>
                        <a:pt x="2442972" y="1400822"/>
                      </a:lnTo>
                      <a:lnTo>
                        <a:pt x="2444254" y="1400822"/>
                      </a:lnTo>
                      <a:lnTo>
                        <a:pt x="2445004" y="1402092"/>
                      </a:lnTo>
                      <a:lnTo>
                        <a:pt x="2446451" y="1402092"/>
                      </a:lnTo>
                      <a:lnTo>
                        <a:pt x="2447366" y="1400822"/>
                      </a:lnTo>
                      <a:lnTo>
                        <a:pt x="2447340" y="1398282"/>
                      </a:lnTo>
                      <a:lnTo>
                        <a:pt x="2447328" y="1397012"/>
                      </a:lnTo>
                      <a:lnTo>
                        <a:pt x="2447213" y="1383042"/>
                      </a:lnTo>
                      <a:lnTo>
                        <a:pt x="2447188" y="1380502"/>
                      </a:lnTo>
                      <a:lnTo>
                        <a:pt x="2445232" y="1380502"/>
                      </a:lnTo>
                      <a:lnTo>
                        <a:pt x="2441702" y="1381772"/>
                      </a:lnTo>
                      <a:lnTo>
                        <a:pt x="2440216" y="1383042"/>
                      </a:lnTo>
                      <a:lnTo>
                        <a:pt x="2440190" y="1384312"/>
                      </a:lnTo>
                      <a:lnTo>
                        <a:pt x="2435860" y="1384312"/>
                      </a:lnTo>
                      <a:lnTo>
                        <a:pt x="2435656" y="1383042"/>
                      </a:lnTo>
                      <a:lnTo>
                        <a:pt x="2435326" y="1383042"/>
                      </a:lnTo>
                      <a:lnTo>
                        <a:pt x="2434945" y="1381772"/>
                      </a:lnTo>
                      <a:lnTo>
                        <a:pt x="2434755" y="1381772"/>
                      </a:lnTo>
                      <a:lnTo>
                        <a:pt x="2432888" y="1379232"/>
                      </a:lnTo>
                      <a:lnTo>
                        <a:pt x="2428252" y="1376692"/>
                      </a:lnTo>
                      <a:lnTo>
                        <a:pt x="2428087" y="1376692"/>
                      </a:lnTo>
                      <a:lnTo>
                        <a:pt x="2426106" y="1371612"/>
                      </a:lnTo>
                      <a:lnTo>
                        <a:pt x="2429078" y="1362722"/>
                      </a:lnTo>
                      <a:lnTo>
                        <a:pt x="2430729" y="1357642"/>
                      </a:lnTo>
                      <a:lnTo>
                        <a:pt x="2430145" y="1353832"/>
                      </a:lnTo>
                      <a:lnTo>
                        <a:pt x="2429827" y="1352562"/>
                      </a:lnTo>
                      <a:lnTo>
                        <a:pt x="2430322" y="1351292"/>
                      </a:lnTo>
                      <a:lnTo>
                        <a:pt x="2430322" y="1350022"/>
                      </a:lnTo>
                      <a:lnTo>
                        <a:pt x="2430615" y="1348752"/>
                      </a:lnTo>
                      <a:lnTo>
                        <a:pt x="2430856" y="1346212"/>
                      </a:lnTo>
                      <a:lnTo>
                        <a:pt x="2429802" y="1343672"/>
                      </a:lnTo>
                      <a:lnTo>
                        <a:pt x="2429230" y="1342402"/>
                      </a:lnTo>
                      <a:lnTo>
                        <a:pt x="2429002" y="1342402"/>
                      </a:lnTo>
                      <a:lnTo>
                        <a:pt x="2429548" y="1341132"/>
                      </a:lnTo>
                      <a:lnTo>
                        <a:pt x="2428113" y="1339862"/>
                      </a:lnTo>
                      <a:lnTo>
                        <a:pt x="2427097" y="1339862"/>
                      </a:lnTo>
                      <a:lnTo>
                        <a:pt x="2428062" y="1338592"/>
                      </a:lnTo>
                      <a:lnTo>
                        <a:pt x="2432126" y="1334782"/>
                      </a:lnTo>
                      <a:lnTo>
                        <a:pt x="2434780" y="1332242"/>
                      </a:lnTo>
                      <a:lnTo>
                        <a:pt x="2435047" y="1330972"/>
                      </a:lnTo>
                      <a:lnTo>
                        <a:pt x="2435047" y="1329702"/>
                      </a:lnTo>
                      <a:lnTo>
                        <a:pt x="2434818" y="1329702"/>
                      </a:lnTo>
                      <a:lnTo>
                        <a:pt x="2440165" y="1328432"/>
                      </a:lnTo>
                      <a:lnTo>
                        <a:pt x="2455392" y="1325892"/>
                      </a:lnTo>
                      <a:lnTo>
                        <a:pt x="2457488" y="1325892"/>
                      </a:lnTo>
                      <a:lnTo>
                        <a:pt x="2457170" y="1323352"/>
                      </a:lnTo>
                      <a:lnTo>
                        <a:pt x="2438819" y="1325892"/>
                      </a:lnTo>
                      <a:lnTo>
                        <a:pt x="2431377" y="1328432"/>
                      </a:lnTo>
                      <a:lnTo>
                        <a:pt x="2432659" y="1329702"/>
                      </a:lnTo>
                      <a:lnTo>
                        <a:pt x="2432824" y="1329702"/>
                      </a:lnTo>
                      <a:lnTo>
                        <a:pt x="2432926" y="1330972"/>
                      </a:lnTo>
                      <a:lnTo>
                        <a:pt x="2432799" y="1330972"/>
                      </a:lnTo>
                      <a:lnTo>
                        <a:pt x="2430665" y="1333512"/>
                      </a:lnTo>
                      <a:lnTo>
                        <a:pt x="2426487" y="1337322"/>
                      </a:lnTo>
                      <a:lnTo>
                        <a:pt x="2424404" y="1339862"/>
                      </a:lnTo>
                      <a:lnTo>
                        <a:pt x="2425458" y="1341132"/>
                      </a:lnTo>
                      <a:lnTo>
                        <a:pt x="2426792" y="1342402"/>
                      </a:lnTo>
                      <a:lnTo>
                        <a:pt x="2426982" y="1342402"/>
                      </a:lnTo>
                      <a:lnTo>
                        <a:pt x="2427262" y="1343672"/>
                      </a:lnTo>
                      <a:lnTo>
                        <a:pt x="2427808" y="1344942"/>
                      </a:lnTo>
                      <a:lnTo>
                        <a:pt x="2428710" y="1347482"/>
                      </a:lnTo>
                      <a:lnTo>
                        <a:pt x="2428544" y="1348752"/>
                      </a:lnTo>
                      <a:lnTo>
                        <a:pt x="2428214" y="1350022"/>
                      </a:lnTo>
                      <a:lnTo>
                        <a:pt x="2428202" y="1351292"/>
                      </a:lnTo>
                      <a:lnTo>
                        <a:pt x="2427732" y="1352562"/>
                      </a:lnTo>
                      <a:lnTo>
                        <a:pt x="2428087" y="1353832"/>
                      </a:lnTo>
                      <a:lnTo>
                        <a:pt x="2428557" y="1356372"/>
                      </a:lnTo>
                      <a:lnTo>
                        <a:pt x="2427046" y="1362722"/>
                      </a:lnTo>
                      <a:lnTo>
                        <a:pt x="2423833" y="1371612"/>
                      </a:lnTo>
                      <a:lnTo>
                        <a:pt x="2426208" y="1376692"/>
                      </a:lnTo>
                      <a:lnTo>
                        <a:pt x="2426563" y="1377962"/>
                      </a:lnTo>
                      <a:lnTo>
                        <a:pt x="2433028" y="1383042"/>
                      </a:lnTo>
                      <a:lnTo>
                        <a:pt x="2434145" y="1385582"/>
                      </a:lnTo>
                      <a:lnTo>
                        <a:pt x="2437892" y="1385582"/>
                      </a:lnTo>
                      <a:lnTo>
                        <a:pt x="2438704" y="1386852"/>
                      </a:lnTo>
                      <a:lnTo>
                        <a:pt x="2441562" y="1386852"/>
                      </a:lnTo>
                      <a:lnTo>
                        <a:pt x="2442299" y="1385582"/>
                      </a:lnTo>
                      <a:lnTo>
                        <a:pt x="2442311" y="1384312"/>
                      </a:lnTo>
                      <a:lnTo>
                        <a:pt x="2442324" y="1383042"/>
                      </a:lnTo>
                      <a:lnTo>
                        <a:pt x="2445093" y="1383042"/>
                      </a:lnTo>
                      <a:lnTo>
                        <a:pt x="2445220" y="1397012"/>
                      </a:lnTo>
                      <a:lnTo>
                        <a:pt x="2444610" y="1397012"/>
                      </a:lnTo>
                      <a:lnTo>
                        <a:pt x="2443099" y="1395742"/>
                      </a:lnTo>
                      <a:lnTo>
                        <a:pt x="2441956" y="1395742"/>
                      </a:lnTo>
                      <a:lnTo>
                        <a:pt x="2439593" y="1398282"/>
                      </a:lnTo>
                      <a:lnTo>
                        <a:pt x="2436698" y="1399552"/>
                      </a:lnTo>
                      <a:lnTo>
                        <a:pt x="2425954" y="1384312"/>
                      </a:lnTo>
                      <a:lnTo>
                        <a:pt x="2422918" y="1384312"/>
                      </a:lnTo>
                      <a:lnTo>
                        <a:pt x="2419451" y="1381772"/>
                      </a:lnTo>
                      <a:lnTo>
                        <a:pt x="2414803" y="1381772"/>
                      </a:lnTo>
                      <a:lnTo>
                        <a:pt x="2413101" y="1377962"/>
                      </a:lnTo>
                      <a:lnTo>
                        <a:pt x="2412708" y="1377962"/>
                      </a:lnTo>
                      <a:lnTo>
                        <a:pt x="2411272" y="1374152"/>
                      </a:lnTo>
                      <a:lnTo>
                        <a:pt x="2409825" y="1371612"/>
                      </a:lnTo>
                      <a:lnTo>
                        <a:pt x="2407564" y="1372882"/>
                      </a:lnTo>
                      <a:lnTo>
                        <a:pt x="2405964" y="1372882"/>
                      </a:lnTo>
                      <a:lnTo>
                        <a:pt x="2405570" y="1374152"/>
                      </a:lnTo>
                      <a:lnTo>
                        <a:pt x="2404961" y="1374152"/>
                      </a:lnTo>
                      <a:lnTo>
                        <a:pt x="2405164" y="1375422"/>
                      </a:lnTo>
                      <a:lnTo>
                        <a:pt x="2404922" y="1375422"/>
                      </a:lnTo>
                      <a:lnTo>
                        <a:pt x="2404694" y="1376692"/>
                      </a:lnTo>
                      <a:lnTo>
                        <a:pt x="2404529" y="1377962"/>
                      </a:lnTo>
                      <a:lnTo>
                        <a:pt x="2404351" y="1377962"/>
                      </a:lnTo>
                      <a:lnTo>
                        <a:pt x="2389365" y="1375422"/>
                      </a:lnTo>
                      <a:lnTo>
                        <a:pt x="2385771" y="1375422"/>
                      </a:lnTo>
                      <a:lnTo>
                        <a:pt x="2384425" y="1374152"/>
                      </a:lnTo>
                      <a:lnTo>
                        <a:pt x="2383929" y="1374152"/>
                      </a:lnTo>
                      <a:lnTo>
                        <a:pt x="2382977" y="1372882"/>
                      </a:lnTo>
                      <a:lnTo>
                        <a:pt x="2382964" y="1369072"/>
                      </a:lnTo>
                      <a:lnTo>
                        <a:pt x="2383040" y="1366532"/>
                      </a:lnTo>
                      <a:lnTo>
                        <a:pt x="2380411" y="1367802"/>
                      </a:lnTo>
                      <a:lnTo>
                        <a:pt x="2374468" y="1367802"/>
                      </a:lnTo>
                      <a:lnTo>
                        <a:pt x="2373680" y="1369072"/>
                      </a:lnTo>
                      <a:lnTo>
                        <a:pt x="2371306" y="1370342"/>
                      </a:lnTo>
                      <a:lnTo>
                        <a:pt x="2369528" y="1370342"/>
                      </a:lnTo>
                      <a:lnTo>
                        <a:pt x="2370124" y="1369072"/>
                      </a:lnTo>
                      <a:lnTo>
                        <a:pt x="2370036" y="1367802"/>
                      </a:lnTo>
                      <a:lnTo>
                        <a:pt x="2369083" y="1365262"/>
                      </a:lnTo>
                      <a:lnTo>
                        <a:pt x="2364359" y="1362722"/>
                      </a:lnTo>
                      <a:lnTo>
                        <a:pt x="2363889" y="1362722"/>
                      </a:lnTo>
                      <a:lnTo>
                        <a:pt x="2363838" y="1361452"/>
                      </a:lnTo>
                      <a:lnTo>
                        <a:pt x="2363787" y="1360182"/>
                      </a:lnTo>
                      <a:lnTo>
                        <a:pt x="2362695" y="1361452"/>
                      </a:lnTo>
                      <a:lnTo>
                        <a:pt x="2361692" y="1360182"/>
                      </a:lnTo>
                      <a:lnTo>
                        <a:pt x="2361768" y="1362722"/>
                      </a:lnTo>
                      <a:lnTo>
                        <a:pt x="2360828" y="1363992"/>
                      </a:lnTo>
                      <a:lnTo>
                        <a:pt x="2355278" y="1363992"/>
                      </a:lnTo>
                      <a:lnTo>
                        <a:pt x="2351036" y="1365262"/>
                      </a:lnTo>
                      <a:lnTo>
                        <a:pt x="2342680" y="1365262"/>
                      </a:lnTo>
                      <a:lnTo>
                        <a:pt x="2338641" y="1366532"/>
                      </a:lnTo>
                      <a:lnTo>
                        <a:pt x="2337752" y="1363992"/>
                      </a:lnTo>
                      <a:lnTo>
                        <a:pt x="2337955" y="1362722"/>
                      </a:lnTo>
                      <a:lnTo>
                        <a:pt x="2339911" y="1360182"/>
                      </a:lnTo>
                      <a:lnTo>
                        <a:pt x="2339873" y="1358912"/>
                      </a:lnTo>
                      <a:lnTo>
                        <a:pt x="2340013" y="1358912"/>
                      </a:lnTo>
                      <a:lnTo>
                        <a:pt x="2339822" y="1357642"/>
                      </a:lnTo>
                      <a:lnTo>
                        <a:pt x="2339314" y="1355102"/>
                      </a:lnTo>
                      <a:lnTo>
                        <a:pt x="2338997" y="1353832"/>
                      </a:lnTo>
                      <a:lnTo>
                        <a:pt x="2338603" y="1351292"/>
                      </a:lnTo>
                      <a:lnTo>
                        <a:pt x="2338108" y="1350022"/>
                      </a:lnTo>
                      <a:lnTo>
                        <a:pt x="2337790" y="1348752"/>
                      </a:lnTo>
                      <a:lnTo>
                        <a:pt x="2337016" y="1347482"/>
                      </a:lnTo>
                      <a:lnTo>
                        <a:pt x="2333548" y="1344942"/>
                      </a:lnTo>
                      <a:lnTo>
                        <a:pt x="2332977" y="1343672"/>
                      </a:lnTo>
                      <a:lnTo>
                        <a:pt x="2332723" y="1342402"/>
                      </a:lnTo>
                      <a:lnTo>
                        <a:pt x="2332698" y="1341132"/>
                      </a:lnTo>
                      <a:lnTo>
                        <a:pt x="2333345" y="1336052"/>
                      </a:lnTo>
                      <a:lnTo>
                        <a:pt x="2333739" y="1330972"/>
                      </a:lnTo>
                      <a:lnTo>
                        <a:pt x="2334564" y="1327162"/>
                      </a:lnTo>
                      <a:lnTo>
                        <a:pt x="2331872" y="1320812"/>
                      </a:lnTo>
                      <a:lnTo>
                        <a:pt x="2332952" y="1317002"/>
                      </a:lnTo>
                      <a:lnTo>
                        <a:pt x="2332977" y="1314462"/>
                      </a:lnTo>
                      <a:lnTo>
                        <a:pt x="2333206" y="1311922"/>
                      </a:lnTo>
                      <a:lnTo>
                        <a:pt x="2331986" y="1310652"/>
                      </a:lnTo>
                      <a:lnTo>
                        <a:pt x="2330767" y="1309382"/>
                      </a:lnTo>
                      <a:lnTo>
                        <a:pt x="2329992" y="1309382"/>
                      </a:lnTo>
                      <a:lnTo>
                        <a:pt x="2329142" y="1310652"/>
                      </a:lnTo>
                      <a:lnTo>
                        <a:pt x="2314549" y="1310652"/>
                      </a:lnTo>
                      <a:lnTo>
                        <a:pt x="2314473" y="1309382"/>
                      </a:lnTo>
                      <a:lnTo>
                        <a:pt x="2314740" y="1309382"/>
                      </a:lnTo>
                      <a:lnTo>
                        <a:pt x="2316226" y="1305572"/>
                      </a:lnTo>
                      <a:lnTo>
                        <a:pt x="2314587" y="1304302"/>
                      </a:lnTo>
                      <a:lnTo>
                        <a:pt x="2310346" y="1304302"/>
                      </a:lnTo>
                      <a:lnTo>
                        <a:pt x="2310155" y="1305572"/>
                      </a:lnTo>
                      <a:lnTo>
                        <a:pt x="2306104" y="1305572"/>
                      </a:lnTo>
                      <a:lnTo>
                        <a:pt x="2303170" y="1300492"/>
                      </a:lnTo>
                      <a:lnTo>
                        <a:pt x="2304161" y="1306842"/>
                      </a:lnTo>
                      <a:lnTo>
                        <a:pt x="2298471" y="1306842"/>
                      </a:lnTo>
                      <a:lnTo>
                        <a:pt x="2298166" y="1308112"/>
                      </a:lnTo>
                      <a:lnTo>
                        <a:pt x="2297239" y="1314462"/>
                      </a:lnTo>
                      <a:lnTo>
                        <a:pt x="2296414" y="1318272"/>
                      </a:lnTo>
                      <a:lnTo>
                        <a:pt x="2296223" y="1320812"/>
                      </a:lnTo>
                      <a:lnTo>
                        <a:pt x="2295868" y="1320812"/>
                      </a:lnTo>
                      <a:lnTo>
                        <a:pt x="2286457" y="1319542"/>
                      </a:lnTo>
                      <a:lnTo>
                        <a:pt x="2282025" y="1319542"/>
                      </a:lnTo>
                      <a:lnTo>
                        <a:pt x="2280716" y="1320812"/>
                      </a:lnTo>
                      <a:lnTo>
                        <a:pt x="2278621" y="1320812"/>
                      </a:lnTo>
                      <a:lnTo>
                        <a:pt x="2278367" y="1322082"/>
                      </a:lnTo>
                      <a:lnTo>
                        <a:pt x="2271141" y="1322082"/>
                      </a:lnTo>
                      <a:lnTo>
                        <a:pt x="2267254" y="1314462"/>
                      </a:lnTo>
                      <a:lnTo>
                        <a:pt x="2266315" y="1313192"/>
                      </a:lnTo>
                      <a:lnTo>
                        <a:pt x="2265578" y="1313192"/>
                      </a:lnTo>
                      <a:lnTo>
                        <a:pt x="2264727" y="1310652"/>
                      </a:lnTo>
                      <a:lnTo>
                        <a:pt x="2262327" y="1305572"/>
                      </a:lnTo>
                      <a:lnTo>
                        <a:pt x="2261070" y="1301762"/>
                      </a:lnTo>
                      <a:lnTo>
                        <a:pt x="2260282" y="1297952"/>
                      </a:lnTo>
                      <a:lnTo>
                        <a:pt x="2259419" y="1292872"/>
                      </a:lnTo>
                      <a:lnTo>
                        <a:pt x="2258631" y="1291602"/>
                      </a:lnTo>
                      <a:lnTo>
                        <a:pt x="2256066" y="1290332"/>
                      </a:lnTo>
                      <a:lnTo>
                        <a:pt x="2251532" y="1290332"/>
                      </a:lnTo>
                      <a:lnTo>
                        <a:pt x="2249944" y="1289062"/>
                      </a:lnTo>
                      <a:lnTo>
                        <a:pt x="2228354" y="1290332"/>
                      </a:lnTo>
                      <a:lnTo>
                        <a:pt x="2218867" y="1290332"/>
                      </a:lnTo>
                      <a:lnTo>
                        <a:pt x="2215858" y="1289062"/>
                      </a:lnTo>
                      <a:lnTo>
                        <a:pt x="2203373" y="1289062"/>
                      </a:lnTo>
                      <a:lnTo>
                        <a:pt x="2198255" y="1291602"/>
                      </a:lnTo>
                      <a:lnTo>
                        <a:pt x="2195906" y="1291602"/>
                      </a:lnTo>
                      <a:lnTo>
                        <a:pt x="2195563" y="1294142"/>
                      </a:lnTo>
                      <a:lnTo>
                        <a:pt x="2198840" y="1294142"/>
                      </a:lnTo>
                      <a:lnTo>
                        <a:pt x="2202586" y="1291602"/>
                      </a:lnTo>
                      <a:lnTo>
                        <a:pt x="2255710" y="1291602"/>
                      </a:lnTo>
                      <a:lnTo>
                        <a:pt x="2257031" y="1292872"/>
                      </a:lnTo>
                      <a:lnTo>
                        <a:pt x="2257717" y="1294142"/>
                      </a:lnTo>
                      <a:lnTo>
                        <a:pt x="2258187" y="1297952"/>
                      </a:lnTo>
                      <a:lnTo>
                        <a:pt x="2259025" y="1303032"/>
                      </a:lnTo>
                      <a:lnTo>
                        <a:pt x="2260320" y="1306842"/>
                      </a:lnTo>
                      <a:lnTo>
                        <a:pt x="2262835" y="1311922"/>
                      </a:lnTo>
                      <a:lnTo>
                        <a:pt x="2264511" y="1314462"/>
                      </a:lnTo>
                      <a:lnTo>
                        <a:pt x="2265502" y="1315732"/>
                      </a:lnTo>
                      <a:lnTo>
                        <a:pt x="2269769" y="1323352"/>
                      </a:lnTo>
                      <a:lnTo>
                        <a:pt x="2270112" y="1323352"/>
                      </a:lnTo>
                      <a:lnTo>
                        <a:pt x="2278113" y="1324622"/>
                      </a:lnTo>
                      <a:lnTo>
                        <a:pt x="2279383" y="1324622"/>
                      </a:lnTo>
                      <a:lnTo>
                        <a:pt x="2280158" y="1323352"/>
                      </a:lnTo>
                      <a:lnTo>
                        <a:pt x="2280399" y="1322082"/>
                      </a:lnTo>
                      <a:lnTo>
                        <a:pt x="2298103" y="1322082"/>
                      </a:lnTo>
                      <a:lnTo>
                        <a:pt x="2298496" y="1318272"/>
                      </a:lnTo>
                      <a:lnTo>
                        <a:pt x="2299335" y="1314462"/>
                      </a:lnTo>
                      <a:lnTo>
                        <a:pt x="2299830" y="1310652"/>
                      </a:lnTo>
                      <a:lnTo>
                        <a:pt x="2300109" y="1309382"/>
                      </a:lnTo>
                      <a:lnTo>
                        <a:pt x="2300706" y="1309382"/>
                      </a:lnTo>
                      <a:lnTo>
                        <a:pt x="2300922" y="1308112"/>
                      </a:lnTo>
                      <a:lnTo>
                        <a:pt x="2309888" y="1308112"/>
                      </a:lnTo>
                      <a:lnTo>
                        <a:pt x="2310409" y="1306842"/>
                      </a:lnTo>
                      <a:lnTo>
                        <a:pt x="2313432" y="1306842"/>
                      </a:lnTo>
                      <a:lnTo>
                        <a:pt x="2312809" y="1308112"/>
                      </a:lnTo>
                      <a:lnTo>
                        <a:pt x="2312479" y="1309382"/>
                      </a:lnTo>
                      <a:lnTo>
                        <a:pt x="2312149" y="1309382"/>
                      </a:lnTo>
                      <a:lnTo>
                        <a:pt x="2312809" y="1311922"/>
                      </a:lnTo>
                      <a:lnTo>
                        <a:pt x="2313292" y="1311922"/>
                      </a:lnTo>
                      <a:lnTo>
                        <a:pt x="2315375" y="1313192"/>
                      </a:lnTo>
                      <a:lnTo>
                        <a:pt x="2320061" y="1311922"/>
                      </a:lnTo>
                      <a:lnTo>
                        <a:pt x="2330754" y="1311922"/>
                      </a:lnTo>
                      <a:lnTo>
                        <a:pt x="2330831" y="1317002"/>
                      </a:lnTo>
                      <a:lnTo>
                        <a:pt x="2329624" y="1320812"/>
                      </a:lnTo>
                      <a:lnTo>
                        <a:pt x="2330246" y="1322082"/>
                      </a:lnTo>
                      <a:lnTo>
                        <a:pt x="2332355" y="1327162"/>
                      </a:lnTo>
                      <a:lnTo>
                        <a:pt x="2331631" y="1330972"/>
                      </a:lnTo>
                      <a:lnTo>
                        <a:pt x="2331250" y="1336052"/>
                      </a:lnTo>
                      <a:lnTo>
                        <a:pt x="2330678" y="1339862"/>
                      </a:lnTo>
                      <a:lnTo>
                        <a:pt x="2330615" y="1341132"/>
                      </a:lnTo>
                      <a:lnTo>
                        <a:pt x="2330602" y="1342402"/>
                      </a:lnTo>
                      <a:lnTo>
                        <a:pt x="2330958" y="1343672"/>
                      </a:lnTo>
                      <a:lnTo>
                        <a:pt x="2331809" y="1346212"/>
                      </a:lnTo>
                      <a:lnTo>
                        <a:pt x="2335390" y="1348752"/>
                      </a:lnTo>
                      <a:lnTo>
                        <a:pt x="2335860" y="1350022"/>
                      </a:lnTo>
                      <a:lnTo>
                        <a:pt x="2336088" y="1351292"/>
                      </a:lnTo>
                      <a:lnTo>
                        <a:pt x="2336711" y="1352562"/>
                      </a:lnTo>
                      <a:lnTo>
                        <a:pt x="2337028" y="1355102"/>
                      </a:lnTo>
                      <a:lnTo>
                        <a:pt x="2337244" y="1356372"/>
                      </a:lnTo>
                      <a:lnTo>
                        <a:pt x="2337828" y="1357642"/>
                      </a:lnTo>
                      <a:lnTo>
                        <a:pt x="2337828" y="1358912"/>
                      </a:lnTo>
                      <a:lnTo>
                        <a:pt x="2337752" y="1360182"/>
                      </a:lnTo>
                      <a:lnTo>
                        <a:pt x="2335974" y="1361452"/>
                      </a:lnTo>
                      <a:lnTo>
                        <a:pt x="2335568" y="1363992"/>
                      </a:lnTo>
                      <a:lnTo>
                        <a:pt x="2336787" y="1367802"/>
                      </a:lnTo>
                      <a:lnTo>
                        <a:pt x="2337155" y="1370342"/>
                      </a:lnTo>
                      <a:lnTo>
                        <a:pt x="2342375" y="1367802"/>
                      </a:lnTo>
                      <a:lnTo>
                        <a:pt x="2353627" y="1366532"/>
                      </a:lnTo>
                      <a:lnTo>
                        <a:pt x="2360866" y="1366532"/>
                      </a:lnTo>
                      <a:lnTo>
                        <a:pt x="2361438" y="1365262"/>
                      </a:lnTo>
                      <a:lnTo>
                        <a:pt x="2361895" y="1365262"/>
                      </a:lnTo>
                      <a:lnTo>
                        <a:pt x="2362352" y="1376692"/>
                      </a:lnTo>
                      <a:lnTo>
                        <a:pt x="2363152" y="1383042"/>
                      </a:lnTo>
                      <a:lnTo>
                        <a:pt x="2362619" y="1385582"/>
                      </a:lnTo>
                      <a:lnTo>
                        <a:pt x="2362390" y="1385582"/>
                      </a:lnTo>
                      <a:lnTo>
                        <a:pt x="2361869" y="1386852"/>
                      </a:lnTo>
                      <a:lnTo>
                        <a:pt x="2361082" y="1388122"/>
                      </a:lnTo>
                      <a:lnTo>
                        <a:pt x="2360828" y="1389392"/>
                      </a:lnTo>
                      <a:lnTo>
                        <a:pt x="2360218" y="1390662"/>
                      </a:lnTo>
                      <a:lnTo>
                        <a:pt x="2360765" y="1391932"/>
                      </a:lnTo>
                      <a:lnTo>
                        <a:pt x="2361260" y="1393202"/>
                      </a:lnTo>
                      <a:lnTo>
                        <a:pt x="2347874" y="1393202"/>
                      </a:lnTo>
                      <a:lnTo>
                        <a:pt x="2339340" y="1391932"/>
                      </a:lnTo>
                      <a:lnTo>
                        <a:pt x="2336876" y="1391932"/>
                      </a:lnTo>
                      <a:lnTo>
                        <a:pt x="2335098" y="1393202"/>
                      </a:lnTo>
                      <a:lnTo>
                        <a:pt x="2334107" y="1393202"/>
                      </a:lnTo>
                      <a:lnTo>
                        <a:pt x="2333256" y="1394472"/>
                      </a:lnTo>
                      <a:lnTo>
                        <a:pt x="2333320" y="1437652"/>
                      </a:lnTo>
                      <a:lnTo>
                        <a:pt x="2333701" y="1440192"/>
                      </a:lnTo>
                      <a:lnTo>
                        <a:pt x="2334171" y="1442732"/>
                      </a:lnTo>
                      <a:lnTo>
                        <a:pt x="2335225" y="1445272"/>
                      </a:lnTo>
                      <a:lnTo>
                        <a:pt x="2352090" y="1460512"/>
                      </a:lnTo>
                      <a:lnTo>
                        <a:pt x="2353094" y="1460512"/>
                      </a:lnTo>
                      <a:lnTo>
                        <a:pt x="2330716" y="1465592"/>
                      </a:lnTo>
                      <a:lnTo>
                        <a:pt x="2323579" y="1465592"/>
                      </a:lnTo>
                      <a:lnTo>
                        <a:pt x="2304592" y="1464322"/>
                      </a:lnTo>
                      <a:lnTo>
                        <a:pt x="2299678" y="1464322"/>
                      </a:lnTo>
                      <a:lnTo>
                        <a:pt x="2294813" y="1463052"/>
                      </a:lnTo>
                      <a:lnTo>
                        <a:pt x="2289721" y="1463052"/>
                      </a:lnTo>
                      <a:lnTo>
                        <a:pt x="2288730" y="1461782"/>
                      </a:lnTo>
                      <a:lnTo>
                        <a:pt x="2286584" y="1460512"/>
                      </a:lnTo>
                      <a:lnTo>
                        <a:pt x="2285339" y="1457972"/>
                      </a:lnTo>
                      <a:lnTo>
                        <a:pt x="2284615" y="1457972"/>
                      </a:lnTo>
                      <a:lnTo>
                        <a:pt x="2282583" y="1456702"/>
                      </a:lnTo>
                      <a:lnTo>
                        <a:pt x="2222398" y="1456702"/>
                      </a:lnTo>
                      <a:lnTo>
                        <a:pt x="2219972" y="1457972"/>
                      </a:lnTo>
                      <a:lnTo>
                        <a:pt x="2219045" y="1457972"/>
                      </a:lnTo>
                      <a:lnTo>
                        <a:pt x="2216734" y="1455432"/>
                      </a:lnTo>
                      <a:lnTo>
                        <a:pt x="2215629" y="1454162"/>
                      </a:lnTo>
                      <a:lnTo>
                        <a:pt x="2214867" y="1454162"/>
                      </a:lnTo>
                      <a:lnTo>
                        <a:pt x="2213787" y="1452892"/>
                      </a:lnTo>
                      <a:lnTo>
                        <a:pt x="2212467" y="1451622"/>
                      </a:lnTo>
                      <a:lnTo>
                        <a:pt x="2211184" y="1451622"/>
                      </a:lnTo>
                      <a:lnTo>
                        <a:pt x="2210854" y="1450352"/>
                      </a:lnTo>
                      <a:lnTo>
                        <a:pt x="2207730" y="1451622"/>
                      </a:lnTo>
                      <a:lnTo>
                        <a:pt x="2204440" y="1451622"/>
                      </a:lnTo>
                      <a:lnTo>
                        <a:pt x="2203424" y="1452892"/>
                      </a:lnTo>
                      <a:lnTo>
                        <a:pt x="2199500" y="1455432"/>
                      </a:lnTo>
                      <a:lnTo>
                        <a:pt x="2187410" y="1455432"/>
                      </a:lnTo>
                      <a:lnTo>
                        <a:pt x="2187854" y="1456702"/>
                      </a:lnTo>
                      <a:lnTo>
                        <a:pt x="2189086" y="1456702"/>
                      </a:lnTo>
                      <a:lnTo>
                        <a:pt x="2196414" y="1457972"/>
                      </a:lnTo>
                      <a:lnTo>
                        <a:pt x="2200224" y="1456702"/>
                      </a:lnTo>
                      <a:lnTo>
                        <a:pt x="2204428" y="1454162"/>
                      </a:lnTo>
                      <a:lnTo>
                        <a:pt x="2206396" y="1454162"/>
                      </a:lnTo>
                      <a:lnTo>
                        <a:pt x="2206993" y="1452892"/>
                      </a:lnTo>
                      <a:lnTo>
                        <a:pt x="2210473" y="1452892"/>
                      </a:lnTo>
                      <a:lnTo>
                        <a:pt x="2211349" y="1454162"/>
                      </a:lnTo>
                      <a:lnTo>
                        <a:pt x="2214308" y="1456702"/>
                      </a:lnTo>
                      <a:lnTo>
                        <a:pt x="2215400" y="1456702"/>
                      </a:lnTo>
                      <a:lnTo>
                        <a:pt x="2218017" y="1459242"/>
                      </a:lnTo>
                      <a:lnTo>
                        <a:pt x="2219109" y="1459242"/>
                      </a:lnTo>
                      <a:lnTo>
                        <a:pt x="2219972" y="1460512"/>
                      </a:lnTo>
                      <a:lnTo>
                        <a:pt x="2222601" y="1459242"/>
                      </a:lnTo>
                      <a:lnTo>
                        <a:pt x="2283536" y="1459242"/>
                      </a:lnTo>
                      <a:lnTo>
                        <a:pt x="2283803" y="1460512"/>
                      </a:lnTo>
                      <a:lnTo>
                        <a:pt x="2285060" y="1461782"/>
                      </a:lnTo>
                      <a:lnTo>
                        <a:pt x="2286431" y="1463052"/>
                      </a:lnTo>
                      <a:lnTo>
                        <a:pt x="2287435" y="1463052"/>
                      </a:lnTo>
                      <a:lnTo>
                        <a:pt x="2288565" y="1464322"/>
                      </a:lnTo>
                      <a:lnTo>
                        <a:pt x="2290051" y="1465592"/>
                      </a:lnTo>
                      <a:lnTo>
                        <a:pt x="2304402" y="1465592"/>
                      </a:lnTo>
                      <a:lnTo>
                        <a:pt x="2319324" y="1468132"/>
                      </a:lnTo>
                      <a:lnTo>
                        <a:pt x="2328824" y="1468132"/>
                      </a:lnTo>
                      <a:lnTo>
                        <a:pt x="2330945" y="1466862"/>
                      </a:lnTo>
                      <a:lnTo>
                        <a:pt x="2357183" y="1463052"/>
                      </a:lnTo>
                      <a:lnTo>
                        <a:pt x="2364676" y="1460512"/>
                      </a:lnTo>
                      <a:lnTo>
                        <a:pt x="2373655" y="1460512"/>
                      </a:lnTo>
                      <a:lnTo>
                        <a:pt x="2375649" y="1461782"/>
                      </a:lnTo>
                      <a:lnTo>
                        <a:pt x="2376716" y="1461782"/>
                      </a:lnTo>
                      <a:lnTo>
                        <a:pt x="2377922" y="1463052"/>
                      </a:lnTo>
                      <a:lnTo>
                        <a:pt x="2378722" y="1463052"/>
                      </a:lnTo>
                      <a:lnTo>
                        <a:pt x="2373020" y="1464322"/>
                      </a:lnTo>
                      <a:lnTo>
                        <a:pt x="2367953" y="1465592"/>
                      </a:lnTo>
                      <a:lnTo>
                        <a:pt x="2362555" y="1469402"/>
                      </a:lnTo>
                      <a:lnTo>
                        <a:pt x="2362022" y="1469402"/>
                      </a:lnTo>
                      <a:lnTo>
                        <a:pt x="2358402" y="1473212"/>
                      </a:lnTo>
                      <a:lnTo>
                        <a:pt x="2357348" y="1473212"/>
                      </a:lnTo>
                      <a:lnTo>
                        <a:pt x="2357196" y="1471942"/>
                      </a:lnTo>
                      <a:lnTo>
                        <a:pt x="2356688" y="1471942"/>
                      </a:lnTo>
                      <a:lnTo>
                        <a:pt x="2355392" y="1469402"/>
                      </a:lnTo>
                      <a:lnTo>
                        <a:pt x="2355075" y="1468132"/>
                      </a:lnTo>
                      <a:lnTo>
                        <a:pt x="2354630" y="1468132"/>
                      </a:lnTo>
                      <a:lnTo>
                        <a:pt x="2354427" y="1466862"/>
                      </a:lnTo>
                      <a:lnTo>
                        <a:pt x="2352141" y="1466862"/>
                      </a:lnTo>
                      <a:lnTo>
                        <a:pt x="2320734" y="1470672"/>
                      </a:lnTo>
                      <a:lnTo>
                        <a:pt x="2319832" y="1470672"/>
                      </a:lnTo>
                      <a:lnTo>
                        <a:pt x="2319591" y="1471942"/>
                      </a:lnTo>
                      <a:lnTo>
                        <a:pt x="2319172" y="1471942"/>
                      </a:lnTo>
                      <a:lnTo>
                        <a:pt x="2319058" y="1473212"/>
                      </a:lnTo>
                      <a:lnTo>
                        <a:pt x="2318994" y="1489722"/>
                      </a:lnTo>
                      <a:lnTo>
                        <a:pt x="2319121" y="1524012"/>
                      </a:lnTo>
                      <a:lnTo>
                        <a:pt x="2319045" y="1525282"/>
                      </a:lnTo>
                      <a:lnTo>
                        <a:pt x="2317864" y="1525282"/>
                      </a:lnTo>
                      <a:lnTo>
                        <a:pt x="2315616" y="1526552"/>
                      </a:lnTo>
                      <a:lnTo>
                        <a:pt x="2307463" y="1525282"/>
                      </a:lnTo>
                      <a:lnTo>
                        <a:pt x="2305634" y="1525282"/>
                      </a:lnTo>
                      <a:lnTo>
                        <a:pt x="2305253" y="1526552"/>
                      </a:lnTo>
                      <a:lnTo>
                        <a:pt x="2304897" y="1526552"/>
                      </a:lnTo>
                      <a:lnTo>
                        <a:pt x="2304821" y="1527822"/>
                      </a:lnTo>
                      <a:lnTo>
                        <a:pt x="2304732" y="1567192"/>
                      </a:lnTo>
                      <a:lnTo>
                        <a:pt x="2304199" y="1568462"/>
                      </a:lnTo>
                      <a:lnTo>
                        <a:pt x="2304453" y="1568462"/>
                      </a:lnTo>
                      <a:lnTo>
                        <a:pt x="2304529" y="1571002"/>
                      </a:lnTo>
                      <a:lnTo>
                        <a:pt x="2304719" y="1574812"/>
                      </a:lnTo>
                      <a:lnTo>
                        <a:pt x="2304821" y="1621802"/>
                      </a:lnTo>
                      <a:lnTo>
                        <a:pt x="2305062" y="1624342"/>
                      </a:lnTo>
                      <a:lnTo>
                        <a:pt x="2304592" y="1624342"/>
                      </a:lnTo>
                      <a:lnTo>
                        <a:pt x="2300351" y="1625612"/>
                      </a:lnTo>
                      <a:lnTo>
                        <a:pt x="2298204" y="1625612"/>
                      </a:lnTo>
                      <a:lnTo>
                        <a:pt x="2296655" y="1626882"/>
                      </a:lnTo>
                      <a:lnTo>
                        <a:pt x="2295537" y="1628152"/>
                      </a:lnTo>
                      <a:lnTo>
                        <a:pt x="2294623" y="1629422"/>
                      </a:lnTo>
                      <a:lnTo>
                        <a:pt x="2294026" y="1630692"/>
                      </a:lnTo>
                      <a:lnTo>
                        <a:pt x="2293785" y="1630692"/>
                      </a:lnTo>
                      <a:lnTo>
                        <a:pt x="2293556" y="1631962"/>
                      </a:lnTo>
                      <a:lnTo>
                        <a:pt x="2290940" y="1631962"/>
                      </a:lnTo>
                      <a:lnTo>
                        <a:pt x="2281847" y="1630692"/>
                      </a:lnTo>
                      <a:lnTo>
                        <a:pt x="2278900" y="1630692"/>
                      </a:lnTo>
                      <a:lnTo>
                        <a:pt x="2272500" y="1629422"/>
                      </a:lnTo>
                      <a:lnTo>
                        <a:pt x="2271204" y="1629422"/>
                      </a:lnTo>
                      <a:lnTo>
                        <a:pt x="2270099" y="1628152"/>
                      </a:lnTo>
                      <a:lnTo>
                        <a:pt x="2269921" y="1628152"/>
                      </a:lnTo>
                      <a:lnTo>
                        <a:pt x="2269680" y="1626882"/>
                      </a:lnTo>
                      <a:lnTo>
                        <a:pt x="2268804" y="1625612"/>
                      </a:lnTo>
                      <a:lnTo>
                        <a:pt x="2269490" y="1625612"/>
                      </a:lnTo>
                      <a:lnTo>
                        <a:pt x="2269591" y="1623072"/>
                      </a:lnTo>
                      <a:lnTo>
                        <a:pt x="2269096" y="1623072"/>
                      </a:lnTo>
                      <a:lnTo>
                        <a:pt x="2268664" y="1621802"/>
                      </a:lnTo>
                      <a:lnTo>
                        <a:pt x="2266823" y="1621802"/>
                      </a:lnTo>
                      <a:lnTo>
                        <a:pt x="2266683" y="1620532"/>
                      </a:lnTo>
                      <a:lnTo>
                        <a:pt x="2266556" y="1620532"/>
                      </a:lnTo>
                      <a:lnTo>
                        <a:pt x="2266315" y="1619262"/>
                      </a:lnTo>
                      <a:lnTo>
                        <a:pt x="2266010" y="1619262"/>
                      </a:lnTo>
                      <a:lnTo>
                        <a:pt x="2262733" y="1617992"/>
                      </a:lnTo>
                      <a:lnTo>
                        <a:pt x="2261438" y="1617992"/>
                      </a:lnTo>
                      <a:lnTo>
                        <a:pt x="2260879" y="1619262"/>
                      </a:lnTo>
                      <a:lnTo>
                        <a:pt x="2259673" y="1619262"/>
                      </a:lnTo>
                      <a:lnTo>
                        <a:pt x="2259152" y="1620532"/>
                      </a:lnTo>
                      <a:lnTo>
                        <a:pt x="2258212" y="1621802"/>
                      </a:lnTo>
                      <a:lnTo>
                        <a:pt x="2257615" y="1623072"/>
                      </a:lnTo>
                      <a:lnTo>
                        <a:pt x="2255875" y="1625612"/>
                      </a:lnTo>
                      <a:lnTo>
                        <a:pt x="2255304" y="1625612"/>
                      </a:lnTo>
                      <a:lnTo>
                        <a:pt x="2254504" y="1626882"/>
                      </a:lnTo>
                      <a:lnTo>
                        <a:pt x="2256231" y="1628152"/>
                      </a:lnTo>
                      <a:lnTo>
                        <a:pt x="2256650" y="1626882"/>
                      </a:lnTo>
                      <a:lnTo>
                        <a:pt x="2257437" y="1626882"/>
                      </a:lnTo>
                      <a:lnTo>
                        <a:pt x="2259266" y="1624342"/>
                      </a:lnTo>
                      <a:lnTo>
                        <a:pt x="2259888" y="1623072"/>
                      </a:lnTo>
                      <a:lnTo>
                        <a:pt x="2261209" y="1621802"/>
                      </a:lnTo>
                      <a:lnTo>
                        <a:pt x="2261717" y="1620532"/>
                      </a:lnTo>
                      <a:lnTo>
                        <a:pt x="2264384" y="1620532"/>
                      </a:lnTo>
                      <a:lnTo>
                        <a:pt x="2264549" y="1621802"/>
                      </a:lnTo>
                      <a:lnTo>
                        <a:pt x="2264918" y="1621802"/>
                      </a:lnTo>
                      <a:lnTo>
                        <a:pt x="2265756" y="1623072"/>
                      </a:lnTo>
                      <a:lnTo>
                        <a:pt x="2267242" y="1624342"/>
                      </a:lnTo>
                      <a:lnTo>
                        <a:pt x="2266454" y="1624342"/>
                      </a:lnTo>
                      <a:lnTo>
                        <a:pt x="2266543" y="1626882"/>
                      </a:lnTo>
                      <a:lnTo>
                        <a:pt x="2266899" y="1626882"/>
                      </a:lnTo>
                      <a:lnTo>
                        <a:pt x="2267674" y="1628152"/>
                      </a:lnTo>
                      <a:lnTo>
                        <a:pt x="2267280" y="1629422"/>
                      </a:lnTo>
                      <a:lnTo>
                        <a:pt x="2268258" y="1630692"/>
                      </a:lnTo>
                      <a:lnTo>
                        <a:pt x="2271255" y="1630692"/>
                      </a:lnTo>
                      <a:lnTo>
                        <a:pt x="2278570" y="1633232"/>
                      </a:lnTo>
                      <a:lnTo>
                        <a:pt x="2295042" y="1633232"/>
                      </a:lnTo>
                      <a:lnTo>
                        <a:pt x="2295423" y="1631962"/>
                      </a:lnTo>
                      <a:lnTo>
                        <a:pt x="2295664" y="1631962"/>
                      </a:lnTo>
                      <a:lnTo>
                        <a:pt x="2295982" y="1630692"/>
                      </a:lnTo>
                      <a:lnTo>
                        <a:pt x="2296401" y="1630692"/>
                      </a:lnTo>
                      <a:lnTo>
                        <a:pt x="2297049" y="1629422"/>
                      </a:lnTo>
                      <a:lnTo>
                        <a:pt x="2297988" y="1628152"/>
                      </a:lnTo>
                      <a:lnTo>
                        <a:pt x="2299309" y="1628152"/>
                      </a:lnTo>
                      <a:lnTo>
                        <a:pt x="2300960" y="1626882"/>
                      </a:lnTo>
                      <a:lnTo>
                        <a:pt x="2305901" y="1626882"/>
                      </a:lnTo>
                      <a:lnTo>
                        <a:pt x="2307209" y="1624342"/>
                      </a:lnTo>
                      <a:lnTo>
                        <a:pt x="2306917" y="1620532"/>
                      </a:lnTo>
                      <a:lnTo>
                        <a:pt x="2306853" y="1574812"/>
                      </a:lnTo>
                      <a:lnTo>
                        <a:pt x="2306624" y="1571002"/>
                      </a:lnTo>
                      <a:lnTo>
                        <a:pt x="2309431" y="1572272"/>
                      </a:lnTo>
                      <a:lnTo>
                        <a:pt x="2311501" y="1574812"/>
                      </a:lnTo>
                      <a:lnTo>
                        <a:pt x="2313013" y="1576082"/>
                      </a:lnTo>
                      <a:lnTo>
                        <a:pt x="2313863" y="1578622"/>
                      </a:lnTo>
                      <a:lnTo>
                        <a:pt x="2316975" y="1586242"/>
                      </a:lnTo>
                      <a:lnTo>
                        <a:pt x="2316848" y="1590052"/>
                      </a:lnTo>
                      <a:lnTo>
                        <a:pt x="2316556" y="1590052"/>
                      </a:lnTo>
                      <a:lnTo>
                        <a:pt x="2315972" y="1591322"/>
                      </a:lnTo>
                      <a:lnTo>
                        <a:pt x="2315464" y="1591322"/>
                      </a:lnTo>
                      <a:lnTo>
                        <a:pt x="2315159" y="1592592"/>
                      </a:lnTo>
                      <a:lnTo>
                        <a:pt x="2314384" y="1593862"/>
                      </a:lnTo>
                      <a:lnTo>
                        <a:pt x="2313952" y="1595132"/>
                      </a:lnTo>
                      <a:lnTo>
                        <a:pt x="2313838" y="1597672"/>
                      </a:lnTo>
                      <a:lnTo>
                        <a:pt x="2314041" y="1598942"/>
                      </a:lnTo>
                      <a:lnTo>
                        <a:pt x="2314283" y="1600212"/>
                      </a:lnTo>
                      <a:lnTo>
                        <a:pt x="2314460" y="1600212"/>
                      </a:lnTo>
                      <a:lnTo>
                        <a:pt x="2315172" y="1602752"/>
                      </a:lnTo>
                      <a:lnTo>
                        <a:pt x="2316632" y="1601482"/>
                      </a:lnTo>
                      <a:lnTo>
                        <a:pt x="2318156" y="1601482"/>
                      </a:lnTo>
                      <a:lnTo>
                        <a:pt x="2318715" y="1600212"/>
                      </a:lnTo>
                      <a:lnTo>
                        <a:pt x="2319693" y="1601482"/>
                      </a:lnTo>
                      <a:lnTo>
                        <a:pt x="2330932" y="1601482"/>
                      </a:lnTo>
                      <a:lnTo>
                        <a:pt x="2333993" y="1598942"/>
                      </a:lnTo>
                      <a:lnTo>
                        <a:pt x="2335390" y="1597672"/>
                      </a:lnTo>
                      <a:lnTo>
                        <a:pt x="2335822" y="1597672"/>
                      </a:lnTo>
                      <a:lnTo>
                        <a:pt x="2343975" y="1590052"/>
                      </a:lnTo>
                      <a:lnTo>
                        <a:pt x="2344559" y="1588782"/>
                      </a:lnTo>
                      <a:lnTo>
                        <a:pt x="2345461" y="1587512"/>
                      </a:lnTo>
                      <a:lnTo>
                        <a:pt x="2345613" y="1587512"/>
                      </a:lnTo>
                      <a:lnTo>
                        <a:pt x="2345575" y="1586242"/>
                      </a:lnTo>
                      <a:lnTo>
                        <a:pt x="2346426" y="1584972"/>
                      </a:lnTo>
                      <a:lnTo>
                        <a:pt x="2346160" y="1583702"/>
                      </a:lnTo>
                      <a:lnTo>
                        <a:pt x="2346807" y="1583702"/>
                      </a:lnTo>
                      <a:lnTo>
                        <a:pt x="2347036" y="1582432"/>
                      </a:lnTo>
                      <a:lnTo>
                        <a:pt x="2347099" y="1581162"/>
                      </a:lnTo>
                      <a:lnTo>
                        <a:pt x="2347341" y="1579892"/>
                      </a:lnTo>
                      <a:lnTo>
                        <a:pt x="2347607" y="1579892"/>
                      </a:lnTo>
                      <a:lnTo>
                        <a:pt x="2349030" y="1577352"/>
                      </a:lnTo>
                      <a:lnTo>
                        <a:pt x="2352281" y="1577352"/>
                      </a:lnTo>
                      <a:lnTo>
                        <a:pt x="2354681" y="1578622"/>
                      </a:lnTo>
                      <a:lnTo>
                        <a:pt x="2356332" y="1578622"/>
                      </a:lnTo>
                      <a:lnTo>
                        <a:pt x="2361806" y="1581162"/>
                      </a:lnTo>
                      <a:lnTo>
                        <a:pt x="2363330" y="1582432"/>
                      </a:lnTo>
                      <a:lnTo>
                        <a:pt x="2370505" y="1584972"/>
                      </a:lnTo>
                      <a:lnTo>
                        <a:pt x="2372906" y="1586242"/>
                      </a:lnTo>
                      <a:lnTo>
                        <a:pt x="2374976" y="1586242"/>
                      </a:lnTo>
                      <a:lnTo>
                        <a:pt x="2378024" y="1584972"/>
                      </a:lnTo>
                      <a:lnTo>
                        <a:pt x="2382253" y="1584972"/>
                      </a:lnTo>
                      <a:lnTo>
                        <a:pt x="2383028" y="1583702"/>
                      </a:lnTo>
                      <a:lnTo>
                        <a:pt x="2384120" y="1583702"/>
                      </a:lnTo>
                      <a:lnTo>
                        <a:pt x="2386761" y="1581162"/>
                      </a:lnTo>
                      <a:lnTo>
                        <a:pt x="2387409" y="1579892"/>
                      </a:lnTo>
                      <a:lnTo>
                        <a:pt x="2388743" y="1578622"/>
                      </a:lnTo>
                      <a:lnTo>
                        <a:pt x="2389797" y="1574812"/>
                      </a:lnTo>
                      <a:lnTo>
                        <a:pt x="2390724" y="1571002"/>
                      </a:lnTo>
                      <a:lnTo>
                        <a:pt x="2390864" y="1568462"/>
                      </a:lnTo>
                      <a:lnTo>
                        <a:pt x="2392984" y="1568462"/>
                      </a:lnTo>
                      <a:lnTo>
                        <a:pt x="2397582" y="1567192"/>
                      </a:lnTo>
                      <a:lnTo>
                        <a:pt x="2398395" y="1567192"/>
                      </a:lnTo>
                      <a:lnTo>
                        <a:pt x="2401735" y="1564652"/>
                      </a:lnTo>
                      <a:lnTo>
                        <a:pt x="2403132" y="1563382"/>
                      </a:lnTo>
                      <a:lnTo>
                        <a:pt x="2404275" y="1562112"/>
                      </a:lnTo>
                      <a:lnTo>
                        <a:pt x="2405278" y="1559572"/>
                      </a:lnTo>
                      <a:lnTo>
                        <a:pt x="2405837" y="1555762"/>
                      </a:lnTo>
                      <a:lnTo>
                        <a:pt x="2406027" y="1555762"/>
                      </a:lnTo>
                      <a:lnTo>
                        <a:pt x="2406180" y="1554492"/>
                      </a:lnTo>
                      <a:lnTo>
                        <a:pt x="2406662" y="1551952"/>
                      </a:lnTo>
                      <a:lnTo>
                        <a:pt x="2414625" y="1546872"/>
                      </a:lnTo>
                      <a:lnTo>
                        <a:pt x="2418334" y="1544332"/>
                      </a:lnTo>
                      <a:lnTo>
                        <a:pt x="2420467" y="1541792"/>
                      </a:lnTo>
                      <a:lnTo>
                        <a:pt x="2422372" y="1540522"/>
                      </a:lnTo>
                      <a:lnTo>
                        <a:pt x="2424925" y="1536712"/>
                      </a:lnTo>
                      <a:lnTo>
                        <a:pt x="2428646" y="1536712"/>
                      </a:lnTo>
                      <a:lnTo>
                        <a:pt x="2430030" y="1535442"/>
                      </a:lnTo>
                      <a:lnTo>
                        <a:pt x="2432177" y="1535442"/>
                      </a:lnTo>
                      <a:lnTo>
                        <a:pt x="2433510" y="1534172"/>
                      </a:lnTo>
                      <a:lnTo>
                        <a:pt x="2434437" y="1534172"/>
                      </a:lnTo>
                      <a:lnTo>
                        <a:pt x="2435098" y="1532902"/>
                      </a:lnTo>
                      <a:lnTo>
                        <a:pt x="2435517" y="1531632"/>
                      </a:lnTo>
                      <a:lnTo>
                        <a:pt x="2435758" y="1531632"/>
                      </a:lnTo>
                      <a:lnTo>
                        <a:pt x="2436076" y="1530362"/>
                      </a:lnTo>
                      <a:lnTo>
                        <a:pt x="2445194" y="1530362"/>
                      </a:lnTo>
                      <a:lnTo>
                        <a:pt x="2456637" y="1531632"/>
                      </a:lnTo>
                      <a:lnTo>
                        <a:pt x="2461133" y="1531632"/>
                      </a:lnTo>
                      <a:lnTo>
                        <a:pt x="2463368" y="1532902"/>
                      </a:lnTo>
                      <a:lnTo>
                        <a:pt x="2464765" y="1532902"/>
                      </a:lnTo>
                      <a:lnTo>
                        <a:pt x="2465946" y="1534172"/>
                      </a:lnTo>
                      <a:lnTo>
                        <a:pt x="2466644" y="1534172"/>
                      </a:lnTo>
                      <a:lnTo>
                        <a:pt x="2467305" y="1535442"/>
                      </a:lnTo>
                      <a:lnTo>
                        <a:pt x="2469553" y="1541792"/>
                      </a:lnTo>
                      <a:lnTo>
                        <a:pt x="2469908" y="1544332"/>
                      </a:lnTo>
                      <a:lnTo>
                        <a:pt x="2470048" y="1544332"/>
                      </a:lnTo>
                      <a:lnTo>
                        <a:pt x="2470112" y="1545602"/>
                      </a:lnTo>
                      <a:lnTo>
                        <a:pt x="2470035" y="1549412"/>
                      </a:lnTo>
                      <a:lnTo>
                        <a:pt x="2475700" y="1558302"/>
                      </a:lnTo>
                      <a:lnTo>
                        <a:pt x="2475890" y="1563382"/>
                      </a:lnTo>
                      <a:lnTo>
                        <a:pt x="2476614" y="1571002"/>
                      </a:lnTo>
                      <a:lnTo>
                        <a:pt x="2476639" y="1581162"/>
                      </a:lnTo>
                      <a:lnTo>
                        <a:pt x="2476741" y="1582432"/>
                      </a:lnTo>
                      <a:lnTo>
                        <a:pt x="2476360" y="1583702"/>
                      </a:lnTo>
                      <a:lnTo>
                        <a:pt x="2476284" y="1584667"/>
                      </a:lnTo>
                      <a:lnTo>
                        <a:pt x="2475814" y="1584553"/>
                      </a:lnTo>
                      <a:lnTo>
                        <a:pt x="2474341" y="1584350"/>
                      </a:lnTo>
                      <a:lnTo>
                        <a:pt x="2473350" y="1583982"/>
                      </a:lnTo>
                      <a:lnTo>
                        <a:pt x="2473058" y="1583778"/>
                      </a:lnTo>
                      <a:lnTo>
                        <a:pt x="2470531" y="1581975"/>
                      </a:lnTo>
                      <a:lnTo>
                        <a:pt x="2469273" y="1581378"/>
                      </a:lnTo>
                      <a:lnTo>
                        <a:pt x="2459291" y="1594319"/>
                      </a:lnTo>
                      <a:lnTo>
                        <a:pt x="2459355" y="1597113"/>
                      </a:lnTo>
                      <a:lnTo>
                        <a:pt x="2459469" y="1598002"/>
                      </a:lnTo>
                      <a:lnTo>
                        <a:pt x="2459710" y="1598422"/>
                      </a:lnTo>
                      <a:lnTo>
                        <a:pt x="2459977" y="1598714"/>
                      </a:lnTo>
                      <a:lnTo>
                        <a:pt x="2460650" y="1599057"/>
                      </a:lnTo>
                      <a:lnTo>
                        <a:pt x="2461260" y="1599438"/>
                      </a:lnTo>
                      <a:lnTo>
                        <a:pt x="2461857" y="1599869"/>
                      </a:lnTo>
                      <a:lnTo>
                        <a:pt x="2462428" y="1600923"/>
                      </a:lnTo>
                      <a:lnTo>
                        <a:pt x="2462949" y="1601952"/>
                      </a:lnTo>
                      <a:lnTo>
                        <a:pt x="2465705" y="1605838"/>
                      </a:lnTo>
                      <a:lnTo>
                        <a:pt x="2466543" y="1606257"/>
                      </a:lnTo>
                      <a:lnTo>
                        <a:pt x="2467127" y="1606499"/>
                      </a:lnTo>
                      <a:lnTo>
                        <a:pt x="2478570" y="1607553"/>
                      </a:lnTo>
                      <a:lnTo>
                        <a:pt x="2478176" y="1605241"/>
                      </a:lnTo>
                      <a:lnTo>
                        <a:pt x="2478049" y="1604505"/>
                      </a:lnTo>
                      <a:lnTo>
                        <a:pt x="2478163" y="1601952"/>
                      </a:lnTo>
                      <a:lnTo>
                        <a:pt x="2478430" y="1600809"/>
                      </a:lnTo>
                      <a:lnTo>
                        <a:pt x="2478468" y="1601482"/>
                      </a:lnTo>
                      <a:lnTo>
                        <a:pt x="2490584" y="1601482"/>
                      </a:lnTo>
                      <a:lnTo>
                        <a:pt x="2490584" y="1598942"/>
                      </a:lnTo>
                      <a:lnTo>
                        <a:pt x="2480475" y="1598942"/>
                      </a:lnTo>
                      <a:lnTo>
                        <a:pt x="2480424" y="1598002"/>
                      </a:lnTo>
                      <a:lnTo>
                        <a:pt x="2479865" y="1586242"/>
                      </a:lnTo>
                      <a:lnTo>
                        <a:pt x="2479814" y="1585709"/>
                      </a:lnTo>
                      <a:lnTo>
                        <a:pt x="2478341" y="1585379"/>
                      </a:lnTo>
                      <a:lnTo>
                        <a:pt x="2478443" y="1583702"/>
                      </a:lnTo>
                      <a:lnTo>
                        <a:pt x="2478709" y="1582432"/>
                      </a:lnTo>
                      <a:lnTo>
                        <a:pt x="2478887" y="1582432"/>
                      </a:lnTo>
                      <a:lnTo>
                        <a:pt x="2478748" y="1581162"/>
                      </a:lnTo>
                      <a:lnTo>
                        <a:pt x="2478735" y="1571002"/>
                      </a:lnTo>
                      <a:lnTo>
                        <a:pt x="2478316" y="1566595"/>
                      </a:lnTo>
                      <a:lnTo>
                        <a:pt x="2478316" y="1598002"/>
                      </a:lnTo>
                      <a:lnTo>
                        <a:pt x="2477160" y="1597571"/>
                      </a:lnTo>
                      <a:lnTo>
                        <a:pt x="2476182" y="1600835"/>
                      </a:lnTo>
                      <a:lnTo>
                        <a:pt x="2476055" y="1601952"/>
                      </a:lnTo>
                      <a:lnTo>
                        <a:pt x="2476017" y="1604086"/>
                      </a:lnTo>
                      <a:lnTo>
                        <a:pt x="2476119" y="1605241"/>
                      </a:lnTo>
                      <a:lnTo>
                        <a:pt x="2467800" y="1604505"/>
                      </a:lnTo>
                      <a:lnTo>
                        <a:pt x="2467330" y="1604302"/>
                      </a:lnTo>
                      <a:lnTo>
                        <a:pt x="2467038" y="1604086"/>
                      </a:lnTo>
                      <a:lnTo>
                        <a:pt x="2464714" y="1600835"/>
                      </a:lnTo>
                      <a:lnTo>
                        <a:pt x="2464003" y="1599438"/>
                      </a:lnTo>
                      <a:lnTo>
                        <a:pt x="2463406" y="1598409"/>
                      </a:lnTo>
                      <a:lnTo>
                        <a:pt x="2462619" y="1597863"/>
                      </a:lnTo>
                      <a:lnTo>
                        <a:pt x="2462250" y="1597342"/>
                      </a:lnTo>
                      <a:lnTo>
                        <a:pt x="2461755" y="1597177"/>
                      </a:lnTo>
                      <a:lnTo>
                        <a:pt x="2461450" y="1597113"/>
                      </a:lnTo>
                      <a:lnTo>
                        <a:pt x="2461488" y="1594319"/>
                      </a:lnTo>
                      <a:lnTo>
                        <a:pt x="2461920" y="1593011"/>
                      </a:lnTo>
                      <a:lnTo>
                        <a:pt x="2465057" y="1587804"/>
                      </a:lnTo>
                      <a:lnTo>
                        <a:pt x="2466683" y="1586052"/>
                      </a:lnTo>
                      <a:lnTo>
                        <a:pt x="2468854" y="1584083"/>
                      </a:lnTo>
                      <a:lnTo>
                        <a:pt x="2469235" y="1583778"/>
                      </a:lnTo>
                      <a:lnTo>
                        <a:pt x="2469477" y="1583778"/>
                      </a:lnTo>
                      <a:lnTo>
                        <a:pt x="2472359" y="1585849"/>
                      </a:lnTo>
                      <a:lnTo>
                        <a:pt x="2473871" y="1586395"/>
                      </a:lnTo>
                      <a:lnTo>
                        <a:pt x="2475433" y="1586611"/>
                      </a:lnTo>
                      <a:lnTo>
                        <a:pt x="2476081" y="1586750"/>
                      </a:lnTo>
                      <a:lnTo>
                        <a:pt x="2475928" y="1587512"/>
                      </a:lnTo>
                      <a:lnTo>
                        <a:pt x="2477820" y="1587512"/>
                      </a:lnTo>
                      <a:lnTo>
                        <a:pt x="2478316" y="1598002"/>
                      </a:lnTo>
                      <a:lnTo>
                        <a:pt x="2478316" y="1566595"/>
                      </a:lnTo>
                      <a:lnTo>
                        <a:pt x="2478011" y="1563382"/>
                      </a:lnTo>
                      <a:lnTo>
                        <a:pt x="2477795" y="1557032"/>
                      </a:lnTo>
                      <a:lnTo>
                        <a:pt x="2472169" y="1548142"/>
                      </a:lnTo>
                      <a:lnTo>
                        <a:pt x="2472232" y="1545602"/>
                      </a:lnTo>
                      <a:lnTo>
                        <a:pt x="2472156" y="1544332"/>
                      </a:lnTo>
                      <a:lnTo>
                        <a:pt x="2471978" y="1544332"/>
                      </a:lnTo>
                      <a:lnTo>
                        <a:pt x="2471610" y="1541792"/>
                      </a:lnTo>
                      <a:lnTo>
                        <a:pt x="2469337" y="1535442"/>
                      </a:lnTo>
                      <a:lnTo>
                        <a:pt x="2468676" y="1532902"/>
                      </a:lnTo>
                      <a:lnTo>
                        <a:pt x="2469477" y="1532902"/>
                      </a:lnTo>
                      <a:lnTo>
                        <a:pt x="2470581" y="1531632"/>
                      </a:lnTo>
                      <a:lnTo>
                        <a:pt x="2476766" y="1525282"/>
                      </a:lnTo>
                      <a:lnTo>
                        <a:pt x="2480513" y="1520202"/>
                      </a:lnTo>
                      <a:lnTo>
                        <a:pt x="2482126" y="1518932"/>
                      </a:lnTo>
                      <a:lnTo>
                        <a:pt x="2483154" y="1517662"/>
                      </a:lnTo>
                      <a:lnTo>
                        <a:pt x="2486495" y="1517662"/>
                      </a:lnTo>
                      <a:lnTo>
                        <a:pt x="2485161" y="1516392"/>
                      </a:lnTo>
                      <a:lnTo>
                        <a:pt x="2483993" y="1513852"/>
                      </a:lnTo>
                      <a:lnTo>
                        <a:pt x="2483942" y="1512582"/>
                      </a:lnTo>
                      <a:lnTo>
                        <a:pt x="2485098" y="1508772"/>
                      </a:lnTo>
                      <a:lnTo>
                        <a:pt x="2485606" y="1506232"/>
                      </a:lnTo>
                      <a:lnTo>
                        <a:pt x="2487193" y="1506232"/>
                      </a:lnTo>
                      <a:lnTo>
                        <a:pt x="2488069" y="1504962"/>
                      </a:lnTo>
                      <a:lnTo>
                        <a:pt x="2489365" y="1503692"/>
                      </a:lnTo>
                      <a:lnTo>
                        <a:pt x="2491384" y="1501152"/>
                      </a:lnTo>
                      <a:lnTo>
                        <a:pt x="2492235" y="1499882"/>
                      </a:lnTo>
                      <a:lnTo>
                        <a:pt x="2492908" y="1497342"/>
                      </a:lnTo>
                      <a:lnTo>
                        <a:pt x="2493619" y="1494802"/>
                      </a:lnTo>
                      <a:lnTo>
                        <a:pt x="2493518" y="1493532"/>
                      </a:lnTo>
                      <a:lnTo>
                        <a:pt x="2493149" y="1492262"/>
                      </a:lnTo>
                      <a:lnTo>
                        <a:pt x="2492438" y="1490992"/>
                      </a:lnTo>
                      <a:lnTo>
                        <a:pt x="2491473" y="1490992"/>
                      </a:lnTo>
                      <a:lnTo>
                        <a:pt x="2491473" y="1494802"/>
                      </a:lnTo>
                      <a:lnTo>
                        <a:pt x="2490889" y="1497342"/>
                      </a:lnTo>
                      <a:lnTo>
                        <a:pt x="2490292" y="1498612"/>
                      </a:lnTo>
                      <a:lnTo>
                        <a:pt x="2489555" y="1499882"/>
                      </a:lnTo>
                      <a:lnTo>
                        <a:pt x="2488603" y="1501152"/>
                      </a:lnTo>
                      <a:lnTo>
                        <a:pt x="2487561" y="1502422"/>
                      </a:lnTo>
                      <a:lnTo>
                        <a:pt x="2486723" y="1503692"/>
                      </a:lnTo>
                      <a:lnTo>
                        <a:pt x="2485542" y="1503692"/>
                      </a:lnTo>
                      <a:lnTo>
                        <a:pt x="2483789" y="1504962"/>
                      </a:lnTo>
                      <a:lnTo>
                        <a:pt x="2483358" y="1507502"/>
                      </a:lnTo>
                      <a:lnTo>
                        <a:pt x="2483040" y="1508772"/>
                      </a:lnTo>
                      <a:lnTo>
                        <a:pt x="2481821" y="1512582"/>
                      </a:lnTo>
                      <a:lnTo>
                        <a:pt x="2481884" y="1513852"/>
                      </a:lnTo>
                      <a:lnTo>
                        <a:pt x="2482240" y="1515122"/>
                      </a:lnTo>
                      <a:lnTo>
                        <a:pt x="2482646" y="1516392"/>
                      </a:lnTo>
                      <a:lnTo>
                        <a:pt x="2481923" y="1516392"/>
                      </a:lnTo>
                      <a:lnTo>
                        <a:pt x="2480627" y="1517662"/>
                      </a:lnTo>
                      <a:lnTo>
                        <a:pt x="2478989" y="1518932"/>
                      </a:lnTo>
                      <a:lnTo>
                        <a:pt x="2475230" y="1524012"/>
                      </a:lnTo>
                      <a:lnTo>
                        <a:pt x="2469083" y="1530362"/>
                      </a:lnTo>
                      <a:lnTo>
                        <a:pt x="2467610" y="1531632"/>
                      </a:lnTo>
                      <a:lnTo>
                        <a:pt x="2466949" y="1531632"/>
                      </a:lnTo>
                      <a:lnTo>
                        <a:pt x="2465324" y="1530362"/>
                      </a:lnTo>
                      <a:lnTo>
                        <a:pt x="2461564" y="1530362"/>
                      </a:lnTo>
                      <a:lnTo>
                        <a:pt x="2456865" y="1529092"/>
                      </a:lnTo>
                      <a:lnTo>
                        <a:pt x="2440343" y="1529092"/>
                      </a:lnTo>
                      <a:lnTo>
                        <a:pt x="2437142" y="1525358"/>
                      </a:lnTo>
                      <a:lnTo>
                        <a:pt x="2437142" y="1529092"/>
                      </a:lnTo>
                      <a:lnTo>
                        <a:pt x="2434488" y="1529092"/>
                      </a:lnTo>
                      <a:lnTo>
                        <a:pt x="2433777" y="1530362"/>
                      </a:lnTo>
                      <a:lnTo>
                        <a:pt x="2433142" y="1531632"/>
                      </a:lnTo>
                      <a:lnTo>
                        <a:pt x="2432761" y="1532902"/>
                      </a:lnTo>
                      <a:lnTo>
                        <a:pt x="2431427" y="1532902"/>
                      </a:lnTo>
                      <a:lnTo>
                        <a:pt x="2429472" y="1534172"/>
                      </a:lnTo>
                      <a:lnTo>
                        <a:pt x="2425560" y="1534172"/>
                      </a:lnTo>
                      <a:lnTo>
                        <a:pt x="2423617" y="1535442"/>
                      </a:lnTo>
                      <a:lnTo>
                        <a:pt x="2420734" y="1539252"/>
                      </a:lnTo>
                      <a:lnTo>
                        <a:pt x="2418956" y="1540522"/>
                      </a:lnTo>
                      <a:lnTo>
                        <a:pt x="2416911" y="1543062"/>
                      </a:lnTo>
                      <a:lnTo>
                        <a:pt x="2413406" y="1545602"/>
                      </a:lnTo>
                      <a:lnTo>
                        <a:pt x="2404783" y="1550682"/>
                      </a:lnTo>
                      <a:lnTo>
                        <a:pt x="2404110" y="1554492"/>
                      </a:lnTo>
                      <a:lnTo>
                        <a:pt x="2403957" y="1554492"/>
                      </a:lnTo>
                      <a:lnTo>
                        <a:pt x="2403576" y="1557032"/>
                      </a:lnTo>
                      <a:lnTo>
                        <a:pt x="2402497" y="1560842"/>
                      </a:lnTo>
                      <a:lnTo>
                        <a:pt x="2401659" y="1560842"/>
                      </a:lnTo>
                      <a:lnTo>
                        <a:pt x="2400643" y="1562112"/>
                      </a:lnTo>
                      <a:lnTo>
                        <a:pt x="2399398" y="1563382"/>
                      </a:lnTo>
                      <a:lnTo>
                        <a:pt x="2397302" y="1564652"/>
                      </a:lnTo>
                      <a:lnTo>
                        <a:pt x="2396871" y="1565922"/>
                      </a:lnTo>
                      <a:lnTo>
                        <a:pt x="2392438" y="1565922"/>
                      </a:lnTo>
                      <a:lnTo>
                        <a:pt x="2390356" y="1567192"/>
                      </a:lnTo>
                      <a:lnTo>
                        <a:pt x="2389124" y="1567192"/>
                      </a:lnTo>
                      <a:lnTo>
                        <a:pt x="2388730" y="1568462"/>
                      </a:lnTo>
                      <a:lnTo>
                        <a:pt x="2388628" y="1571002"/>
                      </a:lnTo>
                      <a:lnTo>
                        <a:pt x="2387777" y="1574812"/>
                      </a:lnTo>
                      <a:lnTo>
                        <a:pt x="2386812" y="1577352"/>
                      </a:lnTo>
                      <a:lnTo>
                        <a:pt x="2385644" y="1578622"/>
                      </a:lnTo>
                      <a:lnTo>
                        <a:pt x="2385199" y="1579892"/>
                      </a:lnTo>
                      <a:lnTo>
                        <a:pt x="2382863" y="1582432"/>
                      </a:lnTo>
                      <a:lnTo>
                        <a:pt x="2377656" y="1582432"/>
                      </a:lnTo>
                      <a:lnTo>
                        <a:pt x="2374849" y="1583702"/>
                      </a:lnTo>
                      <a:lnTo>
                        <a:pt x="2373134" y="1583702"/>
                      </a:lnTo>
                      <a:lnTo>
                        <a:pt x="2371204" y="1582432"/>
                      </a:lnTo>
                      <a:lnTo>
                        <a:pt x="2362631" y="1579892"/>
                      </a:lnTo>
                      <a:lnTo>
                        <a:pt x="2357158" y="1577352"/>
                      </a:lnTo>
                      <a:lnTo>
                        <a:pt x="2355431" y="1576082"/>
                      </a:lnTo>
                      <a:lnTo>
                        <a:pt x="2353526" y="1576082"/>
                      </a:lnTo>
                      <a:lnTo>
                        <a:pt x="2350744" y="1574812"/>
                      </a:lnTo>
                      <a:lnTo>
                        <a:pt x="2347747" y="1576082"/>
                      </a:lnTo>
                      <a:lnTo>
                        <a:pt x="2345829" y="1578622"/>
                      </a:lnTo>
                      <a:lnTo>
                        <a:pt x="2345359" y="1579892"/>
                      </a:lnTo>
                      <a:lnTo>
                        <a:pt x="2345080" y="1579892"/>
                      </a:lnTo>
                      <a:lnTo>
                        <a:pt x="2345017" y="1582432"/>
                      </a:lnTo>
                      <a:lnTo>
                        <a:pt x="2344750" y="1582432"/>
                      </a:lnTo>
                      <a:lnTo>
                        <a:pt x="2344178" y="1583702"/>
                      </a:lnTo>
                      <a:lnTo>
                        <a:pt x="2343886" y="1583702"/>
                      </a:lnTo>
                      <a:lnTo>
                        <a:pt x="2343924" y="1584972"/>
                      </a:lnTo>
                      <a:lnTo>
                        <a:pt x="2344420" y="1583702"/>
                      </a:lnTo>
                      <a:lnTo>
                        <a:pt x="2344166" y="1584972"/>
                      </a:lnTo>
                      <a:lnTo>
                        <a:pt x="2343924" y="1584972"/>
                      </a:lnTo>
                      <a:lnTo>
                        <a:pt x="2343594" y="1584972"/>
                      </a:lnTo>
                      <a:lnTo>
                        <a:pt x="2343467" y="1586242"/>
                      </a:lnTo>
                      <a:lnTo>
                        <a:pt x="2343480" y="1587512"/>
                      </a:lnTo>
                      <a:lnTo>
                        <a:pt x="2342858" y="1587512"/>
                      </a:lnTo>
                      <a:lnTo>
                        <a:pt x="2342413" y="1588782"/>
                      </a:lnTo>
                      <a:lnTo>
                        <a:pt x="2334196" y="1595132"/>
                      </a:lnTo>
                      <a:lnTo>
                        <a:pt x="2333739" y="1596402"/>
                      </a:lnTo>
                      <a:lnTo>
                        <a:pt x="2332875" y="1596402"/>
                      </a:lnTo>
                      <a:lnTo>
                        <a:pt x="2330932" y="1598942"/>
                      </a:lnTo>
                      <a:lnTo>
                        <a:pt x="2316137" y="1598942"/>
                      </a:lnTo>
                      <a:lnTo>
                        <a:pt x="2316010" y="1597672"/>
                      </a:lnTo>
                      <a:lnTo>
                        <a:pt x="2316048" y="1595132"/>
                      </a:lnTo>
                      <a:lnTo>
                        <a:pt x="2316365" y="1593862"/>
                      </a:lnTo>
                      <a:lnTo>
                        <a:pt x="2316899" y="1593862"/>
                      </a:lnTo>
                      <a:lnTo>
                        <a:pt x="2317343" y="1592592"/>
                      </a:lnTo>
                      <a:lnTo>
                        <a:pt x="2317724" y="1592592"/>
                      </a:lnTo>
                      <a:lnTo>
                        <a:pt x="2318283" y="1591322"/>
                      </a:lnTo>
                      <a:lnTo>
                        <a:pt x="2318816" y="1591322"/>
                      </a:lnTo>
                      <a:lnTo>
                        <a:pt x="2319058" y="1590052"/>
                      </a:lnTo>
                      <a:lnTo>
                        <a:pt x="2319096" y="1586242"/>
                      </a:lnTo>
                      <a:lnTo>
                        <a:pt x="2315807" y="1577352"/>
                      </a:lnTo>
                      <a:lnTo>
                        <a:pt x="2314829" y="1576082"/>
                      </a:lnTo>
                      <a:lnTo>
                        <a:pt x="2313165" y="1573542"/>
                      </a:lnTo>
                      <a:lnTo>
                        <a:pt x="2310765" y="1571002"/>
                      </a:lnTo>
                      <a:lnTo>
                        <a:pt x="2306866" y="1568462"/>
                      </a:lnTo>
                      <a:lnTo>
                        <a:pt x="2306917" y="1527822"/>
                      </a:lnTo>
                      <a:lnTo>
                        <a:pt x="2320683" y="1527822"/>
                      </a:lnTo>
                      <a:lnTo>
                        <a:pt x="2321166" y="1526552"/>
                      </a:lnTo>
                      <a:lnTo>
                        <a:pt x="2321166" y="1525282"/>
                      </a:lnTo>
                      <a:lnTo>
                        <a:pt x="2321128" y="1473212"/>
                      </a:lnTo>
                      <a:lnTo>
                        <a:pt x="2351392" y="1468132"/>
                      </a:lnTo>
                      <a:lnTo>
                        <a:pt x="2352662" y="1468132"/>
                      </a:lnTo>
                      <a:lnTo>
                        <a:pt x="2353221" y="1469402"/>
                      </a:lnTo>
                      <a:lnTo>
                        <a:pt x="2353538" y="1470672"/>
                      </a:lnTo>
                      <a:lnTo>
                        <a:pt x="2354884" y="1473212"/>
                      </a:lnTo>
                      <a:lnTo>
                        <a:pt x="2355469" y="1473212"/>
                      </a:lnTo>
                      <a:lnTo>
                        <a:pt x="2355685" y="1474482"/>
                      </a:lnTo>
                      <a:lnTo>
                        <a:pt x="2356764" y="1474482"/>
                      </a:lnTo>
                      <a:lnTo>
                        <a:pt x="2357348" y="1475752"/>
                      </a:lnTo>
                      <a:lnTo>
                        <a:pt x="2359139" y="1475752"/>
                      </a:lnTo>
                      <a:lnTo>
                        <a:pt x="2360574" y="1474482"/>
                      </a:lnTo>
                      <a:lnTo>
                        <a:pt x="2363355" y="1470672"/>
                      </a:lnTo>
                      <a:lnTo>
                        <a:pt x="2363914" y="1470672"/>
                      </a:lnTo>
                      <a:lnTo>
                        <a:pt x="2369274" y="1466862"/>
                      </a:lnTo>
                      <a:lnTo>
                        <a:pt x="2374341" y="1465592"/>
                      </a:lnTo>
                      <a:lnTo>
                        <a:pt x="2380602" y="1465592"/>
                      </a:lnTo>
                      <a:lnTo>
                        <a:pt x="2386469" y="1475752"/>
                      </a:lnTo>
                      <a:lnTo>
                        <a:pt x="2390190" y="1482102"/>
                      </a:lnTo>
                      <a:lnTo>
                        <a:pt x="2391270" y="1484642"/>
                      </a:lnTo>
                      <a:lnTo>
                        <a:pt x="2391562" y="1485912"/>
                      </a:lnTo>
                      <a:lnTo>
                        <a:pt x="2392362" y="1488452"/>
                      </a:lnTo>
                      <a:lnTo>
                        <a:pt x="2392883" y="1489722"/>
                      </a:lnTo>
                      <a:lnTo>
                        <a:pt x="2393454" y="1489722"/>
                      </a:lnTo>
                      <a:lnTo>
                        <a:pt x="2395093" y="1492262"/>
                      </a:lnTo>
                      <a:lnTo>
                        <a:pt x="2396413" y="1493532"/>
                      </a:lnTo>
                      <a:lnTo>
                        <a:pt x="2399436" y="1494802"/>
                      </a:lnTo>
                      <a:lnTo>
                        <a:pt x="2401595" y="1496072"/>
                      </a:lnTo>
                      <a:lnTo>
                        <a:pt x="2403322" y="1497342"/>
                      </a:lnTo>
                      <a:lnTo>
                        <a:pt x="2406662" y="1498612"/>
                      </a:lnTo>
                      <a:lnTo>
                        <a:pt x="2408402" y="1498612"/>
                      </a:lnTo>
                      <a:lnTo>
                        <a:pt x="2408593" y="1499882"/>
                      </a:lnTo>
                      <a:lnTo>
                        <a:pt x="2408974" y="1499882"/>
                      </a:lnTo>
                      <a:lnTo>
                        <a:pt x="2409063" y="1501152"/>
                      </a:lnTo>
                      <a:lnTo>
                        <a:pt x="2409190" y="1501152"/>
                      </a:lnTo>
                      <a:lnTo>
                        <a:pt x="2409088" y="1503692"/>
                      </a:lnTo>
                      <a:lnTo>
                        <a:pt x="2410218" y="1504962"/>
                      </a:lnTo>
                      <a:lnTo>
                        <a:pt x="2415286" y="1504962"/>
                      </a:lnTo>
                      <a:lnTo>
                        <a:pt x="2415095" y="1511312"/>
                      </a:lnTo>
                      <a:lnTo>
                        <a:pt x="2416937" y="1515122"/>
                      </a:lnTo>
                      <a:lnTo>
                        <a:pt x="2418715" y="1520202"/>
                      </a:lnTo>
                      <a:lnTo>
                        <a:pt x="2420899" y="1521472"/>
                      </a:lnTo>
                      <a:lnTo>
                        <a:pt x="2425839" y="1522742"/>
                      </a:lnTo>
                      <a:lnTo>
                        <a:pt x="2426766" y="1522742"/>
                      </a:lnTo>
                      <a:lnTo>
                        <a:pt x="2433066" y="1524012"/>
                      </a:lnTo>
                      <a:lnTo>
                        <a:pt x="2434323" y="1524012"/>
                      </a:lnTo>
                      <a:lnTo>
                        <a:pt x="2434183" y="1525282"/>
                      </a:lnTo>
                      <a:lnTo>
                        <a:pt x="2434374" y="1525282"/>
                      </a:lnTo>
                      <a:lnTo>
                        <a:pt x="2434780" y="1526552"/>
                      </a:lnTo>
                      <a:lnTo>
                        <a:pt x="2435339" y="1526552"/>
                      </a:lnTo>
                      <a:lnTo>
                        <a:pt x="2435580" y="1527822"/>
                      </a:lnTo>
                      <a:lnTo>
                        <a:pt x="2437142" y="1529092"/>
                      </a:lnTo>
                      <a:lnTo>
                        <a:pt x="2437142" y="1525358"/>
                      </a:lnTo>
                      <a:lnTo>
                        <a:pt x="2436711" y="1525282"/>
                      </a:lnTo>
                      <a:lnTo>
                        <a:pt x="2436965" y="1524012"/>
                      </a:lnTo>
                      <a:lnTo>
                        <a:pt x="2436584" y="1524012"/>
                      </a:lnTo>
                      <a:lnTo>
                        <a:pt x="2436418" y="1522742"/>
                      </a:lnTo>
                      <a:lnTo>
                        <a:pt x="2435707" y="1522742"/>
                      </a:lnTo>
                      <a:lnTo>
                        <a:pt x="2434145" y="1521472"/>
                      </a:lnTo>
                      <a:lnTo>
                        <a:pt x="2427224" y="1520202"/>
                      </a:lnTo>
                      <a:lnTo>
                        <a:pt x="2421763" y="1520202"/>
                      </a:lnTo>
                      <a:lnTo>
                        <a:pt x="2420518" y="1518932"/>
                      </a:lnTo>
                      <a:lnTo>
                        <a:pt x="2418880" y="1513852"/>
                      </a:lnTo>
                      <a:lnTo>
                        <a:pt x="2418524" y="1513852"/>
                      </a:lnTo>
                      <a:lnTo>
                        <a:pt x="2417229" y="1511312"/>
                      </a:lnTo>
                      <a:lnTo>
                        <a:pt x="2417407" y="1506232"/>
                      </a:lnTo>
                      <a:lnTo>
                        <a:pt x="2417584" y="1504962"/>
                      </a:lnTo>
                      <a:lnTo>
                        <a:pt x="2417407" y="1504962"/>
                      </a:lnTo>
                      <a:lnTo>
                        <a:pt x="2416632" y="1503692"/>
                      </a:lnTo>
                      <a:lnTo>
                        <a:pt x="2411247" y="1503692"/>
                      </a:lnTo>
                      <a:lnTo>
                        <a:pt x="2411311" y="1501152"/>
                      </a:lnTo>
                      <a:lnTo>
                        <a:pt x="2411196" y="1499882"/>
                      </a:lnTo>
                      <a:lnTo>
                        <a:pt x="2410993" y="1499882"/>
                      </a:lnTo>
                      <a:lnTo>
                        <a:pt x="2410472" y="1498612"/>
                      </a:lnTo>
                      <a:lnTo>
                        <a:pt x="2410028" y="1497342"/>
                      </a:lnTo>
                      <a:lnTo>
                        <a:pt x="2408923" y="1497342"/>
                      </a:lnTo>
                      <a:lnTo>
                        <a:pt x="2407653" y="1496072"/>
                      </a:lnTo>
                      <a:lnTo>
                        <a:pt x="2404110" y="1494802"/>
                      </a:lnTo>
                      <a:lnTo>
                        <a:pt x="2402535" y="1494802"/>
                      </a:lnTo>
                      <a:lnTo>
                        <a:pt x="2400490" y="1493532"/>
                      </a:lnTo>
                      <a:lnTo>
                        <a:pt x="2397722" y="1490992"/>
                      </a:lnTo>
                      <a:lnTo>
                        <a:pt x="2396515" y="1490992"/>
                      </a:lnTo>
                      <a:lnTo>
                        <a:pt x="2395194" y="1488452"/>
                      </a:lnTo>
                      <a:lnTo>
                        <a:pt x="2394762" y="1488452"/>
                      </a:lnTo>
                      <a:lnTo>
                        <a:pt x="2394356" y="1487182"/>
                      </a:lnTo>
                      <a:lnTo>
                        <a:pt x="2392134" y="1480832"/>
                      </a:lnTo>
                      <a:lnTo>
                        <a:pt x="2387739" y="1473212"/>
                      </a:lnTo>
                      <a:lnTo>
                        <a:pt x="2383447" y="1465592"/>
                      </a:lnTo>
                      <a:lnTo>
                        <a:pt x="2385085" y="1466862"/>
                      </a:lnTo>
                      <a:lnTo>
                        <a:pt x="2384729" y="1465592"/>
                      </a:lnTo>
                      <a:lnTo>
                        <a:pt x="2397595" y="1468132"/>
                      </a:lnTo>
                      <a:lnTo>
                        <a:pt x="2398445" y="1469402"/>
                      </a:lnTo>
                      <a:lnTo>
                        <a:pt x="2402255" y="1469402"/>
                      </a:lnTo>
                      <a:lnTo>
                        <a:pt x="2402065" y="1468132"/>
                      </a:lnTo>
                      <a:lnTo>
                        <a:pt x="2402548" y="1469402"/>
                      </a:lnTo>
                      <a:lnTo>
                        <a:pt x="2402903" y="1468132"/>
                      </a:lnTo>
                      <a:lnTo>
                        <a:pt x="2405253" y="1468132"/>
                      </a:lnTo>
                      <a:lnTo>
                        <a:pt x="2406700" y="1466862"/>
                      </a:lnTo>
                      <a:lnTo>
                        <a:pt x="2407805" y="1466862"/>
                      </a:lnTo>
                      <a:lnTo>
                        <a:pt x="2408720" y="1465592"/>
                      </a:lnTo>
                      <a:lnTo>
                        <a:pt x="2408885" y="1465592"/>
                      </a:lnTo>
                      <a:lnTo>
                        <a:pt x="2408948" y="1464322"/>
                      </a:lnTo>
                      <a:lnTo>
                        <a:pt x="2410053" y="1463052"/>
                      </a:lnTo>
                      <a:lnTo>
                        <a:pt x="2414066" y="1459242"/>
                      </a:lnTo>
                      <a:lnTo>
                        <a:pt x="2414867" y="1459242"/>
                      </a:lnTo>
                      <a:lnTo>
                        <a:pt x="2415197" y="1457972"/>
                      </a:lnTo>
                      <a:lnTo>
                        <a:pt x="2415489" y="1457972"/>
                      </a:lnTo>
                      <a:lnTo>
                        <a:pt x="2416340" y="1455432"/>
                      </a:lnTo>
                      <a:lnTo>
                        <a:pt x="2417114" y="1454162"/>
                      </a:lnTo>
                      <a:lnTo>
                        <a:pt x="2417775" y="1454162"/>
                      </a:lnTo>
                      <a:lnTo>
                        <a:pt x="2418842" y="1452892"/>
                      </a:lnTo>
                      <a:lnTo>
                        <a:pt x="2419591" y="1452892"/>
                      </a:lnTo>
                      <a:lnTo>
                        <a:pt x="2420391" y="1451622"/>
                      </a:lnTo>
                      <a:lnTo>
                        <a:pt x="2422245" y="1451622"/>
                      </a:lnTo>
                      <a:lnTo>
                        <a:pt x="2423160" y="1450352"/>
                      </a:lnTo>
                      <a:lnTo>
                        <a:pt x="2423884" y="1450352"/>
                      </a:lnTo>
                      <a:lnTo>
                        <a:pt x="2433015" y="1446542"/>
                      </a:lnTo>
                      <a:lnTo>
                        <a:pt x="2433472" y="1442732"/>
                      </a:lnTo>
                      <a:lnTo>
                        <a:pt x="2433510" y="1441462"/>
                      </a:lnTo>
                      <a:lnTo>
                        <a:pt x="2434145" y="1438922"/>
                      </a:lnTo>
                      <a:lnTo>
                        <a:pt x="2434539" y="1437652"/>
                      </a:lnTo>
                      <a:lnTo>
                        <a:pt x="2435377" y="1437652"/>
                      </a:lnTo>
                      <a:lnTo>
                        <a:pt x="2442997" y="1433842"/>
                      </a:lnTo>
                      <a:lnTo>
                        <a:pt x="2447455" y="1432572"/>
                      </a:lnTo>
                      <a:lnTo>
                        <a:pt x="2451201" y="1433842"/>
                      </a:lnTo>
                      <a:lnTo>
                        <a:pt x="2453792" y="1433842"/>
                      </a:lnTo>
                      <a:lnTo>
                        <a:pt x="2453843" y="1437652"/>
                      </a:lnTo>
                      <a:lnTo>
                        <a:pt x="2454872" y="1437652"/>
                      </a:lnTo>
                      <a:lnTo>
                        <a:pt x="2455291" y="1438922"/>
                      </a:lnTo>
                      <a:lnTo>
                        <a:pt x="2461209" y="1438922"/>
                      </a:lnTo>
                      <a:lnTo>
                        <a:pt x="2461984" y="1440192"/>
                      </a:lnTo>
                      <a:lnTo>
                        <a:pt x="2464244" y="1440192"/>
                      </a:lnTo>
                      <a:lnTo>
                        <a:pt x="2479548" y="1445272"/>
                      </a:lnTo>
                      <a:lnTo>
                        <a:pt x="2486990" y="1449082"/>
                      </a:lnTo>
                      <a:lnTo>
                        <a:pt x="2490038" y="1449082"/>
                      </a:lnTo>
                      <a:lnTo>
                        <a:pt x="2490038" y="1450352"/>
                      </a:lnTo>
                      <a:lnTo>
                        <a:pt x="2490000" y="1451622"/>
                      </a:lnTo>
                      <a:lnTo>
                        <a:pt x="2490139" y="1451622"/>
                      </a:lnTo>
                      <a:lnTo>
                        <a:pt x="2490178" y="1452892"/>
                      </a:lnTo>
                      <a:lnTo>
                        <a:pt x="2491092" y="1457972"/>
                      </a:lnTo>
                      <a:lnTo>
                        <a:pt x="2491206" y="1471942"/>
                      </a:lnTo>
                      <a:lnTo>
                        <a:pt x="2490470" y="1473212"/>
                      </a:lnTo>
                      <a:lnTo>
                        <a:pt x="2490190" y="1473212"/>
                      </a:lnTo>
                      <a:lnTo>
                        <a:pt x="2489670" y="1474482"/>
                      </a:lnTo>
                      <a:lnTo>
                        <a:pt x="2489111" y="1474482"/>
                      </a:lnTo>
                      <a:lnTo>
                        <a:pt x="2488717" y="1477022"/>
                      </a:lnTo>
                      <a:lnTo>
                        <a:pt x="2487028" y="1479562"/>
                      </a:lnTo>
                      <a:lnTo>
                        <a:pt x="2486126" y="1479562"/>
                      </a:lnTo>
                      <a:lnTo>
                        <a:pt x="2487193" y="1480832"/>
                      </a:lnTo>
                      <a:lnTo>
                        <a:pt x="2487409" y="1482102"/>
                      </a:lnTo>
                      <a:lnTo>
                        <a:pt x="2488057" y="1482102"/>
                      </a:lnTo>
                      <a:lnTo>
                        <a:pt x="2488374" y="1483372"/>
                      </a:lnTo>
                      <a:lnTo>
                        <a:pt x="2488755" y="1483372"/>
                      </a:lnTo>
                      <a:lnTo>
                        <a:pt x="2489035" y="1484642"/>
                      </a:lnTo>
                      <a:lnTo>
                        <a:pt x="2488387" y="1489722"/>
                      </a:lnTo>
                      <a:lnTo>
                        <a:pt x="2488539" y="1490992"/>
                      </a:lnTo>
                      <a:lnTo>
                        <a:pt x="2488565" y="1492262"/>
                      </a:lnTo>
                      <a:lnTo>
                        <a:pt x="2488692" y="1492262"/>
                      </a:lnTo>
                      <a:lnTo>
                        <a:pt x="2489657" y="1493532"/>
                      </a:lnTo>
                      <a:lnTo>
                        <a:pt x="2491181" y="1493532"/>
                      </a:lnTo>
                      <a:lnTo>
                        <a:pt x="2491473" y="1494802"/>
                      </a:lnTo>
                      <a:lnTo>
                        <a:pt x="2491473" y="1490992"/>
                      </a:lnTo>
                      <a:lnTo>
                        <a:pt x="2490647" y="1490992"/>
                      </a:lnTo>
                      <a:lnTo>
                        <a:pt x="2490520" y="1489722"/>
                      </a:lnTo>
                      <a:lnTo>
                        <a:pt x="2491194" y="1484642"/>
                      </a:lnTo>
                      <a:lnTo>
                        <a:pt x="2490711" y="1482102"/>
                      </a:lnTo>
                      <a:lnTo>
                        <a:pt x="2490114" y="1482102"/>
                      </a:lnTo>
                      <a:lnTo>
                        <a:pt x="2489428" y="1480832"/>
                      </a:lnTo>
                      <a:lnTo>
                        <a:pt x="2488946" y="1480832"/>
                      </a:lnTo>
                      <a:lnTo>
                        <a:pt x="2489504" y="1479562"/>
                      </a:lnTo>
                      <a:lnTo>
                        <a:pt x="2490101" y="1479562"/>
                      </a:lnTo>
                      <a:lnTo>
                        <a:pt x="2490774" y="1478292"/>
                      </a:lnTo>
                      <a:lnTo>
                        <a:pt x="2491181" y="1475752"/>
                      </a:lnTo>
                      <a:lnTo>
                        <a:pt x="2491384" y="1475752"/>
                      </a:lnTo>
                      <a:lnTo>
                        <a:pt x="2491702" y="1474482"/>
                      </a:lnTo>
                      <a:lnTo>
                        <a:pt x="2493213" y="1473212"/>
                      </a:lnTo>
                      <a:lnTo>
                        <a:pt x="2493505" y="1471942"/>
                      </a:lnTo>
                      <a:lnTo>
                        <a:pt x="2493340" y="1471942"/>
                      </a:lnTo>
                      <a:lnTo>
                        <a:pt x="2493441" y="1459242"/>
                      </a:lnTo>
                      <a:lnTo>
                        <a:pt x="2492730" y="1455432"/>
                      </a:lnTo>
                      <a:lnTo>
                        <a:pt x="2492591" y="1454162"/>
                      </a:lnTo>
                      <a:lnTo>
                        <a:pt x="2492273" y="1452892"/>
                      </a:lnTo>
                      <a:lnTo>
                        <a:pt x="2492146" y="1451622"/>
                      </a:lnTo>
                      <a:lnTo>
                        <a:pt x="2492083" y="1450352"/>
                      </a:lnTo>
                      <a:lnTo>
                        <a:pt x="2492413" y="1449082"/>
                      </a:lnTo>
                      <a:lnTo>
                        <a:pt x="2492540" y="1449082"/>
                      </a:lnTo>
                      <a:lnTo>
                        <a:pt x="2492489" y="1447812"/>
                      </a:lnTo>
                      <a:lnTo>
                        <a:pt x="2487638" y="1447812"/>
                      </a:lnTo>
                      <a:lnTo>
                        <a:pt x="2484869" y="1446542"/>
                      </a:lnTo>
                      <a:lnTo>
                        <a:pt x="2480373" y="1444002"/>
                      </a:lnTo>
                      <a:lnTo>
                        <a:pt x="2464663" y="1437652"/>
                      </a:lnTo>
                      <a:lnTo>
                        <a:pt x="2457564" y="1437652"/>
                      </a:lnTo>
                      <a:lnTo>
                        <a:pt x="2456802" y="1436382"/>
                      </a:lnTo>
                      <a:lnTo>
                        <a:pt x="2455951" y="1436382"/>
                      </a:lnTo>
                      <a:lnTo>
                        <a:pt x="2455900" y="1432572"/>
                      </a:lnTo>
                      <a:lnTo>
                        <a:pt x="2455684" y="1431302"/>
                      </a:lnTo>
                      <a:lnTo>
                        <a:pt x="2453297" y="1424952"/>
                      </a:lnTo>
                      <a:lnTo>
                        <a:pt x="2453309" y="1423682"/>
                      </a:lnTo>
                      <a:lnTo>
                        <a:pt x="2494737" y="1409712"/>
                      </a:lnTo>
                      <a:lnTo>
                        <a:pt x="2494965" y="1409712"/>
                      </a:lnTo>
                      <a:lnTo>
                        <a:pt x="2495410" y="1410982"/>
                      </a:lnTo>
                      <a:lnTo>
                        <a:pt x="2496591" y="1412252"/>
                      </a:lnTo>
                      <a:lnTo>
                        <a:pt x="2499830" y="1417332"/>
                      </a:lnTo>
                      <a:lnTo>
                        <a:pt x="2500947" y="1417332"/>
                      </a:lnTo>
                      <a:lnTo>
                        <a:pt x="2507018" y="1416062"/>
                      </a:lnTo>
                      <a:lnTo>
                        <a:pt x="2510193" y="1414792"/>
                      </a:lnTo>
                      <a:lnTo>
                        <a:pt x="2511044" y="1414792"/>
                      </a:lnTo>
                      <a:lnTo>
                        <a:pt x="2513165" y="1421142"/>
                      </a:lnTo>
                      <a:lnTo>
                        <a:pt x="2513825" y="1423682"/>
                      </a:lnTo>
                      <a:lnTo>
                        <a:pt x="2513838" y="1424952"/>
                      </a:lnTo>
                      <a:lnTo>
                        <a:pt x="2512796" y="1427492"/>
                      </a:lnTo>
                      <a:lnTo>
                        <a:pt x="2512441" y="1427492"/>
                      </a:lnTo>
                      <a:lnTo>
                        <a:pt x="2511641" y="1431302"/>
                      </a:lnTo>
                      <a:lnTo>
                        <a:pt x="2511056" y="1432572"/>
                      </a:lnTo>
                      <a:lnTo>
                        <a:pt x="2509291" y="1433842"/>
                      </a:lnTo>
                      <a:lnTo>
                        <a:pt x="2508885" y="1435112"/>
                      </a:lnTo>
                      <a:lnTo>
                        <a:pt x="2508897" y="1437652"/>
                      </a:lnTo>
                      <a:lnTo>
                        <a:pt x="2511412" y="1441462"/>
                      </a:lnTo>
                      <a:lnTo>
                        <a:pt x="2512466" y="1442732"/>
                      </a:lnTo>
                      <a:lnTo>
                        <a:pt x="2513431" y="1444002"/>
                      </a:lnTo>
                      <a:lnTo>
                        <a:pt x="2517013" y="1447812"/>
                      </a:lnTo>
                      <a:lnTo>
                        <a:pt x="2519108" y="1449082"/>
                      </a:lnTo>
                      <a:lnTo>
                        <a:pt x="2519819" y="1450352"/>
                      </a:lnTo>
                      <a:lnTo>
                        <a:pt x="2520035" y="1452892"/>
                      </a:lnTo>
                      <a:lnTo>
                        <a:pt x="2520594" y="1454162"/>
                      </a:lnTo>
                      <a:lnTo>
                        <a:pt x="2521750" y="1455432"/>
                      </a:lnTo>
                      <a:lnTo>
                        <a:pt x="2526055" y="1455432"/>
                      </a:lnTo>
                      <a:lnTo>
                        <a:pt x="2525369" y="1452892"/>
                      </a:lnTo>
                      <a:lnTo>
                        <a:pt x="2523998" y="1447812"/>
                      </a:lnTo>
                      <a:lnTo>
                        <a:pt x="2523540" y="1446542"/>
                      </a:lnTo>
                      <a:lnTo>
                        <a:pt x="2523807" y="1445272"/>
                      </a:lnTo>
                      <a:lnTo>
                        <a:pt x="2525623" y="1442732"/>
                      </a:lnTo>
                      <a:lnTo>
                        <a:pt x="2525788" y="1441462"/>
                      </a:lnTo>
                      <a:lnTo>
                        <a:pt x="2526779" y="1441462"/>
                      </a:lnTo>
                      <a:lnTo>
                        <a:pt x="2528709" y="1440192"/>
                      </a:lnTo>
                      <a:lnTo>
                        <a:pt x="2531300" y="1440192"/>
                      </a:lnTo>
                      <a:lnTo>
                        <a:pt x="2532494" y="1438922"/>
                      </a:lnTo>
                      <a:lnTo>
                        <a:pt x="2533167" y="1437652"/>
                      </a:lnTo>
                      <a:lnTo>
                        <a:pt x="2533789" y="1431302"/>
                      </a:lnTo>
                      <a:lnTo>
                        <a:pt x="2533764" y="1428762"/>
                      </a:lnTo>
                      <a:lnTo>
                        <a:pt x="2533561" y="1427492"/>
                      </a:lnTo>
                      <a:lnTo>
                        <a:pt x="2533535" y="1426222"/>
                      </a:lnTo>
                      <a:lnTo>
                        <a:pt x="2533523" y="1424952"/>
                      </a:lnTo>
                      <a:lnTo>
                        <a:pt x="2533688" y="1424952"/>
                      </a:lnTo>
                      <a:lnTo>
                        <a:pt x="2534094" y="1422412"/>
                      </a:lnTo>
                      <a:close/>
                    </a:path>
                    <a:path w="2709545" h="2035175">
                      <a:moveTo>
                        <a:pt x="2582405" y="1272768"/>
                      </a:moveTo>
                      <a:lnTo>
                        <a:pt x="2580995" y="1271981"/>
                      </a:lnTo>
                      <a:lnTo>
                        <a:pt x="2574277" y="1267155"/>
                      </a:lnTo>
                      <a:lnTo>
                        <a:pt x="2572359" y="1265847"/>
                      </a:lnTo>
                      <a:lnTo>
                        <a:pt x="2571077" y="1264856"/>
                      </a:lnTo>
                      <a:lnTo>
                        <a:pt x="2562504" y="1258747"/>
                      </a:lnTo>
                      <a:lnTo>
                        <a:pt x="2559418" y="1255864"/>
                      </a:lnTo>
                      <a:lnTo>
                        <a:pt x="2559316" y="1255293"/>
                      </a:lnTo>
                      <a:lnTo>
                        <a:pt x="2559723" y="1253718"/>
                      </a:lnTo>
                      <a:lnTo>
                        <a:pt x="2559837" y="1252804"/>
                      </a:lnTo>
                      <a:lnTo>
                        <a:pt x="2559875" y="1251724"/>
                      </a:lnTo>
                      <a:lnTo>
                        <a:pt x="2559647" y="1251280"/>
                      </a:lnTo>
                      <a:lnTo>
                        <a:pt x="2559316" y="1250518"/>
                      </a:lnTo>
                      <a:lnTo>
                        <a:pt x="2558173" y="1249603"/>
                      </a:lnTo>
                      <a:lnTo>
                        <a:pt x="2557132" y="1248778"/>
                      </a:lnTo>
                      <a:lnTo>
                        <a:pt x="2556472" y="1249603"/>
                      </a:lnTo>
                      <a:lnTo>
                        <a:pt x="2556891" y="1248575"/>
                      </a:lnTo>
                      <a:lnTo>
                        <a:pt x="2556510" y="1248270"/>
                      </a:lnTo>
                      <a:lnTo>
                        <a:pt x="2553843" y="1245819"/>
                      </a:lnTo>
                      <a:lnTo>
                        <a:pt x="2507069" y="1219682"/>
                      </a:lnTo>
                      <a:lnTo>
                        <a:pt x="2506040" y="1221536"/>
                      </a:lnTo>
                      <a:lnTo>
                        <a:pt x="2552611" y="1247571"/>
                      </a:lnTo>
                      <a:lnTo>
                        <a:pt x="2555125" y="1249870"/>
                      </a:lnTo>
                      <a:lnTo>
                        <a:pt x="2557576" y="1251851"/>
                      </a:lnTo>
                      <a:lnTo>
                        <a:pt x="2557627" y="1253350"/>
                      </a:lnTo>
                      <a:lnTo>
                        <a:pt x="2557119" y="1255293"/>
                      </a:lnTo>
                      <a:lnTo>
                        <a:pt x="2557183" y="1256207"/>
                      </a:lnTo>
                      <a:lnTo>
                        <a:pt x="2557615" y="1257046"/>
                      </a:lnTo>
                      <a:lnTo>
                        <a:pt x="2558110" y="1257554"/>
                      </a:lnTo>
                      <a:lnTo>
                        <a:pt x="2561158" y="1260398"/>
                      </a:lnTo>
                      <a:lnTo>
                        <a:pt x="2570035" y="1266723"/>
                      </a:lnTo>
                      <a:lnTo>
                        <a:pt x="2571102" y="1267548"/>
                      </a:lnTo>
                      <a:lnTo>
                        <a:pt x="2573058" y="1268895"/>
                      </a:lnTo>
                      <a:lnTo>
                        <a:pt x="2578201" y="1272603"/>
                      </a:lnTo>
                      <a:lnTo>
                        <a:pt x="2580068" y="1273886"/>
                      </a:lnTo>
                      <a:lnTo>
                        <a:pt x="2580754" y="1273073"/>
                      </a:lnTo>
                      <a:lnTo>
                        <a:pt x="2580360" y="1274051"/>
                      </a:lnTo>
                      <a:lnTo>
                        <a:pt x="2580856" y="1273162"/>
                      </a:lnTo>
                      <a:lnTo>
                        <a:pt x="2581681" y="1273822"/>
                      </a:lnTo>
                      <a:lnTo>
                        <a:pt x="2582138" y="1273162"/>
                      </a:lnTo>
                      <a:lnTo>
                        <a:pt x="2582405" y="1272768"/>
                      </a:lnTo>
                      <a:close/>
                    </a:path>
                    <a:path w="2709545" h="2035175">
                      <a:moveTo>
                        <a:pt x="2599258" y="446811"/>
                      </a:moveTo>
                      <a:lnTo>
                        <a:pt x="2589644" y="444271"/>
                      </a:lnTo>
                      <a:lnTo>
                        <a:pt x="2589276" y="444271"/>
                      </a:lnTo>
                      <a:lnTo>
                        <a:pt x="2591066" y="443001"/>
                      </a:lnTo>
                      <a:lnTo>
                        <a:pt x="2594279" y="440461"/>
                      </a:lnTo>
                      <a:lnTo>
                        <a:pt x="2595168" y="437921"/>
                      </a:lnTo>
                      <a:lnTo>
                        <a:pt x="2595892" y="435381"/>
                      </a:lnTo>
                      <a:lnTo>
                        <a:pt x="2595537" y="434111"/>
                      </a:lnTo>
                      <a:lnTo>
                        <a:pt x="2595194" y="432841"/>
                      </a:lnTo>
                      <a:lnTo>
                        <a:pt x="2594508" y="430301"/>
                      </a:lnTo>
                      <a:lnTo>
                        <a:pt x="2589263" y="432841"/>
                      </a:lnTo>
                      <a:lnTo>
                        <a:pt x="2585021" y="429031"/>
                      </a:lnTo>
                      <a:lnTo>
                        <a:pt x="2581783" y="425221"/>
                      </a:lnTo>
                      <a:lnTo>
                        <a:pt x="2579370" y="425221"/>
                      </a:lnTo>
                      <a:lnTo>
                        <a:pt x="2577350" y="427761"/>
                      </a:lnTo>
                      <a:lnTo>
                        <a:pt x="2576601" y="426491"/>
                      </a:lnTo>
                      <a:lnTo>
                        <a:pt x="2576207" y="426491"/>
                      </a:lnTo>
                      <a:lnTo>
                        <a:pt x="2575331" y="425221"/>
                      </a:lnTo>
                      <a:lnTo>
                        <a:pt x="2574556" y="423951"/>
                      </a:lnTo>
                      <a:lnTo>
                        <a:pt x="2573782" y="422681"/>
                      </a:lnTo>
                      <a:lnTo>
                        <a:pt x="2566378" y="422681"/>
                      </a:lnTo>
                      <a:lnTo>
                        <a:pt x="2564981" y="423951"/>
                      </a:lnTo>
                      <a:lnTo>
                        <a:pt x="2563876" y="425221"/>
                      </a:lnTo>
                      <a:lnTo>
                        <a:pt x="2562707" y="422681"/>
                      </a:lnTo>
                      <a:lnTo>
                        <a:pt x="2560409" y="420141"/>
                      </a:lnTo>
                      <a:lnTo>
                        <a:pt x="2558173" y="417601"/>
                      </a:lnTo>
                      <a:lnTo>
                        <a:pt x="2557068" y="416331"/>
                      </a:lnTo>
                      <a:lnTo>
                        <a:pt x="2555570" y="415061"/>
                      </a:lnTo>
                      <a:lnTo>
                        <a:pt x="2555125" y="415061"/>
                      </a:lnTo>
                      <a:lnTo>
                        <a:pt x="2550960" y="416331"/>
                      </a:lnTo>
                      <a:lnTo>
                        <a:pt x="2544927" y="418871"/>
                      </a:lnTo>
                      <a:lnTo>
                        <a:pt x="2537523" y="416331"/>
                      </a:lnTo>
                      <a:lnTo>
                        <a:pt x="2534805" y="415061"/>
                      </a:lnTo>
                      <a:lnTo>
                        <a:pt x="2530906" y="417601"/>
                      </a:lnTo>
                      <a:lnTo>
                        <a:pt x="2529852" y="416331"/>
                      </a:lnTo>
                      <a:lnTo>
                        <a:pt x="2528633" y="416331"/>
                      </a:lnTo>
                      <a:lnTo>
                        <a:pt x="2528011" y="415061"/>
                      </a:lnTo>
                      <a:lnTo>
                        <a:pt x="2528354" y="412521"/>
                      </a:lnTo>
                      <a:lnTo>
                        <a:pt x="2527604" y="409981"/>
                      </a:lnTo>
                      <a:lnTo>
                        <a:pt x="2525636" y="407441"/>
                      </a:lnTo>
                      <a:lnTo>
                        <a:pt x="2527490" y="404901"/>
                      </a:lnTo>
                      <a:lnTo>
                        <a:pt x="2524734" y="403631"/>
                      </a:lnTo>
                      <a:lnTo>
                        <a:pt x="2521127" y="401091"/>
                      </a:lnTo>
                      <a:lnTo>
                        <a:pt x="2517698" y="401091"/>
                      </a:lnTo>
                      <a:lnTo>
                        <a:pt x="2516238" y="402361"/>
                      </a:lnTo>
                      <a:lnTo>
                        <a:pt x="2514892" y="401091"/>
                      </a:lnTo>
                      <a:lnTo>
                        <a:pt x="2513546" y="399821"/>
                      </a:lnTo>
                      <a:lnTo>
                        <a:pt x="2511983" y="399821"/>
                      </a:lnTo>
                      <a:lnTo>
                        <a:pt x="2510269" y="401091"/>
                      </a:lnTo>
                      <a:lnTo>
                        <a:pt x="2510205" y="399821"/>
                      </a:lnTo>
                      <a:lnTo>
                        <a:pt x="2510828" y="397281"/>
                      </a:lnTo>
                      <a:lnTo>
                        <a:pt x="2510167" y="394741"/>
                      </a:lnTo>
                      <a:lnTo>
                        <a:pt x="2509113" y="393471"/>
                      </a:lnTo>
                      <a:lnTo>
                        <a:pt x="2509723" y="393471"/>
                      </a:lnTo>
                      <a:lnTo>
                        <a:pt x="2510815" y="392201"/>
                      </a:lnTo>
                      <a:lnTo>
                        <a:pt x="2513533" y="392201"/>
                      </a:lnTo>
                      <a:lnTo>
                        <a:pt x="2513431" y="390931"/>
                      </a:lnTo>
                      <a:lnTo>
                        <a:pt x="2513266" y="390931"/>
                      </a:lnTo>
                      <a:lnTo>
                        <a:pt x="2512250" y="389661"/>
                      </a:lnTo>
                      <a:lnTo>
                        <a:pt x="2510726" y="388391"/>
                      </a:lnTo>
                      <a:lnTo>
                        <a:pt x="2509126" y="387121"/>
                      </a:lnTo>
                      <a:lnTo>
                        <a:pt x="2508707" y="387121"/>
                      </a:lnTo>
                      <a:lnTo>
                        <a:pt x="2508605" y="385851"/>
                      </a:lnTo>
                      <a:lnTo>
                        <a:pt x="2509024" y="384581"/>
                      </a:lnTo>
                      <a:lnTo>
                        <a:pt x="2507856" y="382041"/>
                      </a:lnTo>
                      <a:lnTo>
                        <a:pt x="2504186" y="379501"/>
                      </a:lnTo>
                      <a:lnTo>
                        <a:pt x="2503068" y="378231"/>
                      </a:lnTo>
                      <a:lnTo>
                        <a:pt x="2500414" y="378231"/>
                      </a:lnTo>
                      <a:lnTo>
                        <a:pt x="2492908" y="379501"/>
                      </a:lnTo>
                      <a:lnTo>
                        <a:pt x="2490114" y="380771"/>
                      </a:lnTo>
                      <a:lnTo>
                        <a:pt x="2484005" y="379501"/>
                      </a:lnTo>
                      <a:lnTo>
                        <a:pt x="2480678" y="384581"/>
                      </a:lnTo>
                      <a:lnTo>
                        <a:pt x="2475585" y="384581"/>
                      </a:lnTo>
                      <a:lnTo>
                        <a:pt x="2474772" y="382041"/>
                      </a:lnTo>
                      <a:lnTo>
                        <a:pt x="2474696" y="383311"/>
                      </a:lnTo>
                      <a:lnTo>
                        <a:pt x="2474493" y="382041"/>
                      </a:lnTo>
                      <a:lnTo>
                        <a:pt x="2474264" y="382041"/>
                      </a:lnTo>
                      <a:lnTo>
                        <a:pt x="2473236" y="380771"/>
                      </a:lnTo>
                      <a:lnTo>
                        <a:pt x="2472474" y="380771"/>
                      </a:lnTo>
                      <a:lnTo>
                        <a:pt x="2472728" y="378231"/>
                      </a:lnTo>
                      <a:lnTo>
                        <a:pt x="2473248" y="371881"/>
                      </a:lnTo>
                      <a:lnTo>
                        <a:pt x="2472055" y="370611"/>
                      </a:lnTo>
                      <a:lnTo>
                        <a:pt x="2470315" y="369341"/>
                      </a:lnTo>
                      <a:lnTo>
                        <a:pt x="2469248" y="368071"/>
                      </a:lnTo>
                      <a:lnTo>
                        <a:pt x="2468638" y="366801"/>
                      </a:lnTo>
                      <a:lnTo>
                        <a:pt x="2470353" y="366801"/>
                      </a:lnTo>
                      <a:lnTo>
                        <a:pt x="2471089" y="365531"/>
                      </a:lnTo>
                      <a:lnTo>
                        <a:pt x="2472474" y="365531"/>
                      </a:lnTo>
                      <a:lnTo>
                        <a:pt x="2474379" y="366801"/>
                      </a:lnTo>
                      <a:lnTo>
                        <a:pt x="2480868" y="366801"/>
                      </a:lnTo>
                      <a:lnTo>
                        <a:pt x="2482126" y="365531"/>
                      </a:lnTo>
                      <a:lnTo>
                        <a:pt x="2483091" y="365531"/>
                      </a:lnTo>
                      <a:lnTo>
                        <a:pt x="2484475" y="364261"/>
                      </a:lnTo>
                      <a:lnTo>
                        <a:pt x="2485872" y="364261"/>
                      </a:lnTo>
                      <a:lnTo>
                        <a:pt x="2487587" y="362991"/>
                      </a:lnTo>
                      <a:lnTo>
                        <a:pt x="2488196" y="361721"/>
                      </a:lnTo>
                      <a:lnTo>
                        <a:pt x="2489390" y="361721"/>
                      </a:lnTo>
                      <a:lnTo>
                        <a:pt x="2489492" y="359181"/>
                      </a:lnTo>
                      <a:lnTo>
                        <a:pt x="2488946" y="357911"/>
                      </a:lnTo>
                      <a:lnTo>
                        <a:pt x="2487460" y="357911"/>
                      </a:lnTo>
                      <a:lnTo>
                        <a:pt x="2487358" y="357619"/>
                      </a:lnTo>
                      <a:lnTo>
                        <a:pt x="2487358" y="360451"/>
                      </a:lnTo>
                      <a:lnTo>
                        <a:pt x="2486558" y="360451"/>
                      </a:lnTo>
                      <a:lnTo>
                        <a:pt x="2479903" y="365531"/>
                      </a:lnTo>
                      <a:lnTo>
                        <a:pt x="2474874" y="364261"/>
                      </a:lnTo>
                      <a:lnTo>
                        <a:pt x="2467889" y="364261"/>
                      </a:lnTo>
                      <a:lnTo>
                        <a:pt x="2467483" y="365531"/>
                      </a:lnTo>
                      <a:lnTo>
                        <a:pt x="2466683" y="365531"/>
                      </a:lnTo>
                      <a:lnTo>
                        <a:pt x="2466352" y="366801"/>
                      </a:lnTo>
                      <a:lnTo>
                        <a:pt x="2466175" y="366801"/>
                      </a:lnTo>
                      <a:lnTo>
                        <a:pt x="2466022" y="368071"/>
                      </a:lnTo>
                      <a:lnTo>
                        <a:pt x="2467051" y="368071"/>
                      </a:lnTo>
                      <a:lnTo>
                        <a:pt x="2467546" y="369341"/>
                      </a:lnTo>
                      <a:lnTo>
                        <a:pt x="2468753" y="370611"/>
                      </a:lnTo>
                      <a:lnTo>
                        <a:pt x="2470620" y="371881"/>
                      </a:lnTo>
                      <a:lnTo>
                        <a:pt x="2470785" y="373151"/>
                      </a:lnTo>
                      <a:lnTo>
                        <a:pt x="2470835" y="375691"/>
                      </a:lnTo>
                      <a:lnTo>
                        <a:pt x="2470632" y="378231"/>
                      </a:lnTo>
                      <a:lnTo>
                        <a:pt x="2470239" y="380771"/>
                      </a:lnTo>
                      <a:lnTo>
                        <a:pt x="2472639" y="383311"/>
                      </a:lnTo>
                      <a:lnTo>
                        <a:pt x="2467635" y="383311"/>
                      </a:lnTo>
                      <a:lnTo>
                        <a:pt x="2467368" y="384581"/>
                      </a:lnTo>
                      <a:lnTo>
                        <a:pt x="2461399" y="384581"/>
                      </a:lnTo>
                      <a:lnTo>
                        <a:pt x="2457805" y="389661"/>
                      </a:lnTo>
                      <a:lnTo>
                        <a:pt x="2457361" y="389661"/>
                      </a:lnTo>
                      <a:lnTo>
                        <a:pt x="2456599" y="390931"/>
                      </a:lnTo>
                      <a:lnTo>
                        <a:pt x="2455849" y="393471"/>
                      </a:lnTo>
                      <a:lnTo>
                        <a:pt x="2455532" y="393471"/>
                      </a:lnTo>
                      <a:lnTo>
                        <a:pt x="2456002" y="397281"/>
                      </a:lnTo>
                      <a:lnTo>
                        <a:pt x="2456357" y="398551"/>
                      </a:lnTo>
                      <a:lnTo>
                        <a:pt x="2454097" y="397281"/>
                      </a:lnTo>
                      <a:lnTo>
                        <a:pt x="2452471" y="396011"/>
                      </a:lnTo>
                      <a:lnTo>
                        <a:pt x="2447861" y="396011"/>
                      </a:lnTo>
                      <a:lnTo>
                        <a:pt x="2443048" y="397281"/>
                      </a:lnTo>
                      <a:lnTo>
                        <a:pt x="2439746" y="397281"/>
                      </a:lnTo>
                      <a:lnTo>
                        <a:pt x="2439314" y="396011"/>
                      </a:lnTo>
                      <a:lnTo>
                        <a:pt x="2438120" y="394741"/>
                      </a:lnTo>
                      <a:lnTo>
                        <a:pt x="2437155" y="392201"/>
                      </a:lnTo>
                      <a:lnTo>
                        <a:pt x="2435136" y="393471"/>
                      </a:lnTo>
                      <a:lnTo>
                        <a:pt x="2433637" y="393471"/>
                      </a:lnTo>
                      <a:lnTo>
                        <a:pt x="2432710" y="394741"/>
                      </a:lnTo>
                      <a:lnTo>
                        <a:pt x="2431199" y="394741"/>
                      </a:lnTo>
                      <a:lnTo>
                        <a:pt x="2430462" y="396011"/>
                      </a:lnTo>
                      <a:lnTo>
                        <a:pt x="2429903" y="396011"/>
                      </a:lnTo>
                      <a:lnTo>
                        <a:pt x="2426271" y="394741"/>
                      </a:lnTo>
                      <a:lnTo>
                        <a:pt x="2425192" y="393471"/>
                      </a:lnTo>
                      <a:lnTo>
                        <a:pt x="2424696" y="393471"/>
                      </a:lnTo>
                      <a:lnTo>
                        <a:pt x="2424315" y="392201"/>
                      </a:lnTo>
                      <a:lnTo>
                        <a:pt x="2422728" y="392201"/>
                      </a:lnTo>
                      <a:lnTo>
                        <a:pt x="2419121" y="393471"/>
                      </a:lnTo>
                      <a:lnTo>
                        <a:pt x="2418143" y="393471"/>
                      </a:lnTo>
                      <a:lnTo>
                        <a:pt x="2416746" y="394741"/>
                      </a:lnTo>
                      <a:lnTo>
                        <a:pt x="2415756" y="393471"/>
                      </a:lnTo>
                      <a:lnTo>
                        <a:pt x="2410498" y="392201"/>
                      </a:lnTo>
                      <a:lnTo>
                        <a:pt x="2385453" y="387121"/>
                      </a:lnTo>
                      <a:lnTo>
                        <a:pt x="2375662" y="387121"/>
                      </a:lnTo>
                      <a:lnTo>
                        <a:pt x="2374176" y="388391"/>
                      </a:lnTo>
                      <a:lnTo>
                        <a:pt x="2373503" y="388391"/>
                      </a:lnTo>
                      <a:lnTo>
                        <a:pt x="2372080" y="387121"/>
                      </a:lnTo>
                      <a:lnTo>
                        <a:pt x="2370632" y="388391"/>
                      </a:lnTo>
                      <a:lnTo>
                        <a:pt x="2367711" y="388391"/>
                      </a:lnTo>
                      <a:lnTo>
                        <a:pt x="2364409" y="392201"/>
                      </a:lnTo>
                      <a:lnTo>
                        <a:pt x="2363533" y="393471"/>
                      </a:lnTo>
                      <a:lnTo>
                        <a:pt x="2362504" y="393471"/>
                      </a:lnTo>
                      <a:lnTo>
                        <a:pt x="2362898" y="394741"/>
                      </a:lnTo>
                      <a:lnTo>
                        <a:pt x="2362238" y="393471"/>
                      </a:lnTo>
                      <a:lnTo>
                        <a:pt x="2360841" y="394741"/>
                      </a:lnTo>
                      <a:lnTo>
                        <a:pt x="2356955" y="394741"/>
                      </a:lnTo>
                      <a:lnTo>
                        <a:pt x="2357882" y="393471"/>
                      </a:lnTo>
                      <a:lnTo>
                        <a:pt x="2357704" y="393471"/>
                      </a:lnTo>
                      <a:lnTo>
                        <a:pt x="2357691" y="392201"/>
                      </a:lnTo>
                      <a:lnTo>
                        <a:pt x="2357856" y="390931"/>
                      </a:lnTo>
                      <a:lnTo>
                        <a:pt x="2358974" y="387121"/>
                      </a:lnTo>
                      <a:lnTo>
                        <a:pt x="2358771" y="384581"/>
                      </a:lnTo>
                      <a:lnTo>
                        <a:pt x="2358098" y="384581"/>
                      </a:lnTo>
                      <a:lnTo>
                        <a:pt x="2357551" y="383311"/>
                      </a:lnTo>
                      <a:lnTo>
                        <a:pt x="2356078" y="383311"/>
                      </a:lnTo>
                      <a:lnTo>
                        <a:pt x="2355227" y="382041"/>
                      </a:lnTo>
                      <a:lnTo>
                        <a:pt x="2352992" y="380771"/>
                      </a:lnTo>
                      <a:lnTo>
                        <a:pt x="2360574" y="374421"/>
                      </a:lnTo>
                      <a:lnTo>
                        <a:pt x="2361527" y="374421"/>
                      </a:lnTo>
                      <a:lnTo>
                        <a:pt x="2362746" y="373151"/>
                      </a:lnTo>
                      <a:lnTo>
                        <a:pt x="2363266" y="371881"/>
                      </a:lnTo>
                      <a:lnTo>
                        <a:pt x="2363863" y="368071"/>
                      </a:lnTo>
                      <a:lnTo>
                        <a:pt x="2362670" y="364261"/>
                      </a:lnTo>
                      <a:lnTo>
                        <a:pt x="2362111" y="361721"/>
                      </a:lnTo>
                      <a:lnTo>
                        <a:pt x="2359939" y="357911"/>
                      </a:lnTo>
                      <a:lnTo>
                        <a:pt x="2359406" y="356641"/>
                      </a:lnTo>
                      <a:lnTo>
                        <a:pt x="2358923" y="355371"/>
                      </a:lnTo>
                      <a:lnTo>
                        <a:pt x="2358390" y="354101"/>
                      </a:lnTo>
                      <a:lnTo>
                        <a:pt x="2358313" y="352831"/>
                      </a:lnTo>
                      <a:lnTo>
                        <a:pt x="2357628" y="351561"/>
                      </a:lnTo>
                      <a:lnTo>
                        <a:pt x="2357386" y="350291"/>
                      </a:lnTo>
                      <a:lnTo>
                        <a:pt x="2366581" y="350291"/>
                      </a:lnTo>
                      <a:lnTo>
                        <a:pt x="2367305" y="351561"/>
                      </a:lnTo>
                      <a:lnTo>
                        <a:pt x="2370036" y="351561"/>
                      </a:lnTo>
                      <a:lnTo>
                        <a:pt x="2371344" y="350291"/>
                      </a:lnTo>
                      <a:lnTo>
                        <a:pt x="2374392" y="350291"/>
                      </a:lnTo>
                      <a:lnTo>
                        <a:pt x="2375293" y="349021"/>
                      </a:lnTo>
                      <a:lnTo>
                        <a:pt x="2375535" y="349021"/>
                      </a:lnTo>
                      <a:lnTo>
                        <a:pt x="2376030" y="347751"/>
                      </a:lnTo>
                      <a:lnTo>
                        <a:pt x="2376170" y="346481"/>
                      </a:lnTo>
                      <a:lnTo>
                        <a:pt x="2379700" y="346481"/>
                      </a:lnTo>
                      <a:lnTo>
                        <a:pt x="2382926" y="343941"/>
                      </a:lnTo>
                      <a:lnTo>
                        <a:pt x="2383790" y="343941"/>
                      </a:lnTo>
                      <a:lnTo>
                        <a:pt x="2383917" y="345211"/>
                      </a:lnTo>
                      <a:lnTo>
                        <a:pt x="2384437" y="346481"/>
                      </a:lnTo>
                      <a:lnTo>
                        <a:pt x="2387587" y="346481"/>
                      </a:lnTo>
                      <a:lnTo>
                        <a:pt x="2389975" y="345211"/>
                      </a:lnTo>
                      <a:lnTo>
                        <a:pt x="2389251" y="343941"/>
                      </a:lnTo>
                      <a:lnTo>
                        <a:pt x="2389022" y="343941"/>
                      </a:lnTo>
                      <a:lnTo>
                        <a:pt x="2386482" y="341401"/>
                      </a:lnTo>
                      <a:lnTo>
                        <a:pt x="2386876" y="340131"/>
                      </a:lnTo>
                      <a:lnTo>
                        <a:pt x="2388946" y="333781"/>
                      </a:lnTo>
                      <a:lnTo>
                        <a:pt x="2389403" y="332511"/>
                      </a:lnTo>
                      <a:lnTo>
                        <a:pt x="2389848" y="332511"/>
                      </a:lnTo>
                      <a:lnTo>
                        <a:pt x="2390521" y="331241"/>
                      </a:lnTo>
                      <a:lnTo>
                        <a:pt x="2391943" y="331241"/>
                      </a:lnTo>
                      <a:lnTo>
                        <a:pt x="2392756" y="329971"/>
                      </a:lnTo>
                      <a:lnTo>
                        <a:pt x="2394140" y="329971"/>
                      </a:lnTo>
                      <a:lnTo>
                        <a:pt x="2394750" y="328701"/>
                      </a:lnTo>
                      <a:lnTo>
                        <a:pt x="2396807" y="328701"/>
                      </a:lnTo>
                      <a:lnTo>
                        <a:pt x="2401938" y="324891"/>
                      </a:lnTo>
                      <a:lnTo>
                        <a:pt x="2404072" y="323621"/>
                      </a:lnTo>
                      <a:lnTo>
                        <a:pt x="2402433" y="322351"/>
                      </a:lnTo>
                      <a:lnTo>
                        <a:pt x="2400465" y="321081"/>
                      </a:lnTo>
                      <a:lnTo>
                        <a:pt x="2399665" y="321081"/>
                      </a:lnTo>
                      <a:lnTo>
                        <a:pt x="2400211" y="319811"/>
                      </a:lnTo>
                      <a:lnTo>
                        <a:pt x="2401036" y="317271"/>
                      </a:lnTo>
                      <a:lnTo>
                        <a:pt x="2401646" y="316001"/>
                      </a:lnTo>
                      <a:lnTo>
                        <a:pt x="2402421" y="316001"/>
                      </a:lnTo>
                      <a:lnTo>
                        <a:pt x="2403487" y="314731"/>
                      </a:lnTo>
                      <a:lnTo>
                        <a:pt x="2405062" y="314731"/>
                      </a:lnTo>
                      <a:lnTo>
                        <a:pt x="2405494" y="313461"/>
                      </a:lnTo>
                      <a:lnTo>
                        <a:pt x="2406446" y="313461"/>
                      </a:lnTo>
                      <a:lnTo>
                        <a:pt x="2410066" y="312191"/>
                      </a:lnTo>
                      <a:lnTo>
                        <a:pt x="2410803" y="313461"/>
                      </a:lnTo>
                      <a:lnTo>
                        <a:pt x="2411844" y="313461"/>
                      </a:lnTo>
                      <a:lnTo>
                        <a:pt x="2416060" y="312191"/>
                      </a:lnTo>
                      <a:lnTo>
                        <a:pt x="2416238" y="310921"/>
                      </a:lnTo>
                      <a:lnTo>
                        <a:pt x="2416746" y="309651"/>
                      </a:lnTo>
                      <a:lnTo>
                        <a:pt x="2417483" y="309651"/>
                      </a:lnTo>
                      <a:lnTo>
                        <a:pt x="2418245" y="308381"/>
                      </a:lnTo>
                      <a:lnTo>
                        <a:pt x="2419451" y="307111"/>
                      </a:lnTo>
                      <a:lnTo>
                        <a:pt x="2421686" y="307111"/>
                      </a:lnTo>
                      <a:lnTo>
                        <a:pt x="2422817" y="305841"/>
                      </a:lnTo>
                      <a:lnTo>
                        <a:pt x="2423007" y="305841"/>
                      </a:lnTo>
                      <a:lnTo>
                        <a:pt x="2425522" y="308381"/>
                      </a:lnTo>
                      <a:lnTo>
                        <a:pt x="2429002" y="309651"/>
                      </a:lnTo>
                      <a:lnTo>
                        <a:pt x="2438069" y="309651"/>
                      </a:lnTo>
                      <a:lnTo>
                        <a:pt x="2439111" y="310921"/>
                      </a:lnTo>
                      <a:lnTo>
                        <a:pt x="2439390" y="312191"/>
                      </a:lnTo>
                      <a:lnTo>
                        <a:pt x="2439111" y="312191"/>
                      </a:lnTo>
                      <a:lnTo>
                        <a:pt x="2439124" y="313461"/>
                      </a:lnTo>
                      <a:lnTo>
                        <a:pt x="2439517" y="313461"/>
                      </a:lnTo>
                      <a:lnTo>
                        <a:pt x="2439670" y="314731"/>
                      </a:lnTo>
                      <a:lnTo>
                        <a:pt x="2443708" y="314731"/>
                      </a:lnTo>
                      <a:lnTo>
                        <a:pt x="2445905" y="313461"/>
                      </a:lnTo>
                      <a:lnTo>
                        <a:pt x="2447125" y="312191"/>
                      </a:lnTo>
                      <a:lnTo>
                        <a:pt x="2451455" y="312191"/>
                      </a:lnTo>
                      <a:lnTo>
                        <a:pt x="2453500" y="313461"/>
                      </a:lnTo>
                      <a:lnTo>
                        <a:pt x="2454402" y="313461"/>
                      </a:lnTo>
                      <a:lnTo>
                        <a:pt x="2458897" y="314731"/>
                      </a:lnTo>
                      <a:lnTo>
                        <a:pt x="2460498" y="316001"/>
                      </a:lnTo>
                      <a:lnTo>
                        <a:pt x="2461056" y="317271"/>
                      </a:lnTo>
                      <a:lnTo>
                        <a:pt x="2461247" y="319811"/>
                      </a:lnTo>
                      <a:lnTo>
                        <a:pt x="2459431" y="322351"/>
                      </a:lnTo>
                      <a:lnTo>
                        <a:pt x="2460333" y="324891"/>
                      </a:lnTo>
                      <a:lnTo>
                        <a:pt x="2461628" y="326161"/>
                      </a:lnTo>
                      <a:lnTo>
                        <a:pt x="2462250" y="326161"/>
                      </a:lnTo>
                      <a:lnTo>
                        <a:pt x="2462517" y="327431"/>
                      </a:lnTo>
                      <a:lnTo>
                        <a:pt x="2461209" y="328701"/>
                      </a:lnTo>
                      <a:lnTo>
                        <a:pt x="2459355" y="331241"/>
                      </a:lnTo>
                      <a:lnTo>
                        <a:pt x="2458796" y="333781"/>
                      </a:lnTo>
                      <a:lnTo>
                        <a:pt x="2462479" y="333781"/>
                      </a:lnTo>
                      <a:lnTo>
                        <a:pt x="2464981" y="335051"/>
                      </a:lnTo>
                      <a:lnTo>
                        <a:pt x="2464879" y="338861"/>
                      </a:lnTo>
                      <a:lnTo>
                        <a:pt x="2466606" y="342671"/>
                      </a:lnTo>
                      <a:lnTo>
                        <a:pt x="2473020" y="346481"/>
                      </a:lnTo>
                      <a:lnTo>
                        <a:pt x="2473909" y="347751"/>
                      </a:lnTo>
                      <a:lnTo>
                        <a:pt x="2474264" y="349021"/>
                      </a:lnTo>
                      <a:lnTo>
                        <a:pt x="2473833" y="350291"/>
                      </a:lnTo>
                      <a:lnTo>
                        <a:pt x="2472791" y="351561"/>
                      </a:lnTo>
                      <a:lnTo>
                        <a:pt x="2474417" y="354101"/>
                      </a:lnTo>
                      <a:lnTo>
                        <a:pt x="2482685" y="354101"/>
                      </a:lnTo>
                      <a:lnTo>
                        <a:pt x="2482621" y="355371"/>
                      </a:lnTo>
                      <a:lnTo>
                        <a:pt x="2482723" y="356641"/>
                      </a:lnTo>
                      <a:lnTo>
                        <a:pt x="2483701" y="357911"/>
                      </a:lnTo>
                      <a:lnTo>
                        <a:pt x="2487130" y="359181"/>
                      </a:lnTo>
                      <a:lnTo>
                        <a:pt x="2487358" y="360451"/>
                      </a:lnTo>
                      <a:lnTo>
                        <a:pt x="2487358" y="357619"/>
                      </a:lnTo>
                      <a:lnTo>
                        <a:pt x="2487028" y="356641"/>
                      </a:lnTo>
                      <a:lnTo>
                        <a:pt x="2485161" y="356641"/>
                      </a:lnTo>
                      <a:lnTo>
                        <a:pt x="2484767" y="355371"/>
                      </a:lnTo>
                      <a:lnTo>
                        <a:pt x="2485174" y="354101"/>
                      </a:lnTo>
                      <a:lnTo>
                        <a:pt x="2487218" y="352831"/>
                      </a:lnTo>
                      <a:lnTo>
                        <a:pt x="2479776" y="352831"/>
                      </a:lnTo>
                      <a:lnTo>
                        <a:pt x="2476931" y="351561"/>
                      </a:lnTo>
                      <a:lnTo>
                        <a:pt x="2475712" y="351561"/>
                      </a:lnTo>
                      <a:lnTo>
                        <a:pt x="2476131" y="350291"/>
                      </a:lnTo>
                      <a:lnTo>
                        <a:pt x="2476385" y="349021"/>
                      </a:lnTo>
                      <a:lnTo>
                        <a:pt x="2475992" y="346481"/>
                      </a:lnTo>
                      <a:lnTo>
                        <a:pt x="2475166" y="345211"/>
                      </a:lnTo>
                      <a:lnTo>
                        <a:pt x="2468321" y="341401"/>
                      </a:lnTo>
                      <a:lnTo>
                        <a:pt x="2467025" y="337591"/>
                      </a:lnTo>
                      <a:lnTo>
                        <a:pt x="2467140" y="333781"/>
                      </a:lnTo>
                      <a:lnTo>
                        <a:pt x="2464206" y="332511"/>
                      </a:lnTo>
                      <a:lnTo>
                        <a:pt x="2461628" y="331241"/>
                      </a:lnTo>
                      <a:lnTo>
                        <a:pt x="2462339" y="331241"/>
                      </a:lnTo>
                      <a:lnTo>
                        <a:pt x="2463622" y="328701"/>
                      </a:lnTo>
                      <a:lnTo>
                        <a:pt x="2464282" y="328701"/>
                      </a:lnTo>
                      <a:lnTo>
                        <a:pt x="2464574" y="327431"/>
                      </a:lnTo>
                      <a:lnTo>
                        <a:pt x="2465362" y="326161"/>
                      </a:lnTo>
                      <a:lnTo>
                        <a:pt x="2463050" y="323621"/>
                      </a:lnTo>
                      <a:lnTo>
                        <a:pt x="2462365" y="323621"/>
                      </a:lnTo>
                      <a:lnTo>
                        <a:pt x="2462098" y="322351"/>
                      </a:lnTo>
                      <a:lnTo>
                        <a:pt x="2461895" y="322351"/>
                      </a:lnTo>
                      <a:lnTo>
                        <a:pt x="2463419" y="321081"/>
                      </a:lnTo>
                      <a:lnTo>
                        <a:pt x="2463139" y="316001"/>
                      </a:lnTo>
                      <a:lnTo>
                        <a:pt x="2461323" y="313461"/>
                      </a:lnTo>
                      <a:lnTo>
                        <a:pt x="2455126" y="310921"/>
                      </a:lnTo>
                      <a:lnTo>
                        <a:pt x="2452776" y="310921"/>
                      </a:lnTo>
                      <a:lnTo>
                        <a:pt x="2451747" y="309651"/>
                      </a:lnTo>
                      <a:lnTo>
                        <a:pt x="2447925" y="309651"/>
                      </a:lnTo>
                      <a:lnTo>
                        <a:pt x="2447226" y="310921"/>
                      </a:lnTo>
                      <a:lnTo>
                        <a:pt x="2445562" y="310921"/>
                      </a:lnTo>
                      <a:lnTo>
                        <a:pt x="2444800" y="312191"/>
                      </a:lnTo>
                      <a:lnTo>
                        <a:pt x="2442629" y="312191"/>
                      </a:lnTo>
                      <a:lnTo>
                        <a:pt x="2441943" y="313461"/>
                      </a:lnTo>
                      <a:lnTo>
                        <a:pt x="2441333" y="313461"/>
                      </a:lnTo>
                      <a:lnTo>
                        <a:pt x="2441181" y="312191"/>
                      </a:lnTo>
                      <a:lnTo>
                        <a:pt x="2441448" y="312191"/>
                      </a:lnTo>
                      <a:lnTo>
                        <a:pt x="2441397" y="310921"/>
                      </a:lnTo>
                      <a:lnTo>
                        <a:pt x="2441270" y="310921"/>
                      </a:lnTo>
                      <a:lnTo>
                        <a:pt x="2440863" y="309651"/>
                      </a:lnTo>
                      <a:lnTo>
                        <a:pt x="2440292" y="308381"/>
                      </a:lnTo>
                      <a:lnTo>
                        <a:pt x="2439466" y="308381"/>
                      </a:lnTo>
                      <a:lnTo>
                        <a:pt x="2438755" y="307111"/>
                      </a:lnTo>
                      <a:lnTo>
                        <a:pt x="2436304" y="307111"/>
                      </a:lnTo>
                      <a:lnTo>
                        <a:pt x="2435682" y="308381"/>
                      </a:lnTo>
                      <a:lnTo>
                        <a:pt x="2430564" y="308381"/>
                      </a:lnTo>
                      <a:lnTo>
                        <a:pt x="2429586" y="307111"/>
                      </a:lnTo>
                      <a:lnTo>
                        <a:pt x="2425776" y="305841"/>
                      </a:lnTo>
                      <a:lnTo>
                        <a:pt x="2424379" y="304571"/>
                      </a:lnTo>
                      <a:lnTo>
                        <a:pt x="2424226" y="304571"/>
                      </a:lnTo>
                      <a:lnTo>
                        <a:pt x="2424049" y="302031"/>
                      </a:lnTo>
                      <a:lnTo>
                        <a:pt x="2423706" y="299491"/>
                      </a:lnTo>
                      <a:lnTo>
                        <a:pt x="2423477" y="299491"/>
                      </a:lnTo>
                      <a:lnTo>
                        <a:pt x="2423337" y="298221"/>
                      </a:lnTo>
                      <a:lnTo>
                        <a:pt x="2422474" y="296951"/>
                      </a:lnTo>
                      <a:lnTo>
                        <a:pt x="2420937" y="291871"/>
                      </a:lnTo>
                      <a:lnTo>
                        <a:pt x="2419654" y="290601"/>
                      </a:lnTo>
                      <a:lnTo>
                        <a:pt x="2417673" y="289331"/>
                      </a:lnTo>
                      <a:lnTo>
                        <a:pt x="2417000" y="289331"/>
                      </a:lnTo>
                      <a:lnTo>
                        <a:pt x="2417876" y="288061"/>
                      </a:lnTo>
                      <a:lnTo>
                        <a:pt x="2417457" y="285521"/>
                      </a:lnTo>
                      <a:lnTo>
                        <a:pt x="2418423" y="284251"/>
                      </a:lnTo>
                      <a:lnTo>
                        <a:pt x="2419324" y="282981"/>
                      </a:lnTo>
                      <a:lnTo>
                        <a:pt x="2418740" y="280441"/>
                      </a:lnTo>
                      <a:lnTo>
                        <a:pt x="2417305" y="280441"/>
                      </a:lnTo>
                      <a:lnTo>
                        <a:pt x="2415362" y="279171"/>
                      </a:lnTo>
                      <a:lnTo>
                        <a:pt x="2413266" y="277901"/>
                      </a:lnTo>
                      <a:lnTo>
                        <a:pt x="2413050" y="276631"/>
                      </a:lnTo>
                      <a:lnTo>
                        <a:pt x="2412593" y="276631"/>
                      </a:lnTo>
                      <a:lnTo>
                        <a:pt x="2412784" y="275361"/>
                      </a:lnTo>
                      <a:lnTo>
                        <a:pt x="2412949" y="275361"/>
                      </a:lnTo>
                      <a:lnTo>
                        <a:pt x="2413254" y="274091"/>
                      </a:lnTo>
                      <a:lnTo>
                        <a:pt x="2413508" y="274091"/>
                      </a:lnTo>
                      <a:lnTo>
                        <a:pt x="2414016" y="272821"/>
                      </a:lnTo>
                      <a:lnTo>
                        <a:pt x="2414727" y="272821"/>
                      </a:lnTo>
                      <a:lnTo>
                        <a:pt x="2414879" y="271551"/>
                      </a:lnTo>
                      <a:lnTo>
                        <a:pt x="2418219" y="271551"/>
                      </a:lnTo>
                      <a:lnTo>
                        <a:pt x="2418486" y="270281"/>
                      </a:lnTo>
                      <a:lnTo>
                        <a:pt x="2418334" y="269011"/>
                      </a:lnTo>
                      <a:lnTo>
                        <a:pt x="2417534" y="266471"/>
                      </a:lnTo>
                      <a:lnTo>
                        <a:pt x="2413508" y="263931"/>
                      </a:lnTo>
                      <a:lnTo>
                        <a:pt x="2413546" y="260121"/>
                      </a:lnTo>
                      <a:lnTo>
                        <a:pt x="2413978" y="255041"/>
                      </a:lnTo>
                      <a:lnTo>
                        <a:pt x="2413266" y="251231"/>
                      </a:lnTo>
                      <a:lnTo>
                        <a:pt x="2413673" y="251231"/>
                      </a:lnTo>
                      <a:lnTo>
                        <a:pt x="2415057" y="249961"/>
                      </a:lnTo>
                      <a:lnTo>
                        <a:pt x="2417622" y="247421"/>
                      </a:lnTo>
                      <a:lnTo>
                        <a:pt x="2419413" y="242341"/>
                      </a:lnTo>
                      <a:lnTo>
                        <a:pt x="2421839" y="241071"/>
                      </a:lnTo>
                      <a:lnTo>
                        <a:pt x="2424061" y="239801"/>
                      </a:lnTo>
                      <a:lnTo>
                        <a:pt x="2422436" y="239801"/>
                      </a:lnTo>
                      <a:lnTo>
                        <a:pt x="2422817" y="238531"/>
                      </a:lnTo>
                      <a:lnTo>
                        <a:pt x="2423566" y="237261"/>
                      </a:lnTo>
                      <a:lnTo>
                        <a:pt x="2420772" y="235991"/>
                      </a:lnTo>
                      <a:lnTo>
                        <a:pt x="2419578" y="237261"/>
                      </a:lnTo>
                      <a:lnTo>
                        <a:pt x="2420785" y="238531"/>
                      </a:lnTo>
                      <a:lnTo>
                        <a:pt x="2420620" y="238531"/>
                      </a:lnTo>
                      <a:lnTo>
                        <a:pt x="2418499" y="239801"/>
                      </a:lnTo>
                      <a:lnTo>
                        <a:pt x="2419400" y="239801"/>
                      </a:lnTo>
                      <a:lnTo>
                        <a:pt x="2418384" y="241071"/>
                      </a:lnTo>
                      <a:lnTo>
                        <a:pt x="2417216" y="241071"/>
                      </a:lnTo>
                      <a:lnTo>
                        <a:pt x="2415781" y="246151"/>
                      </a:lnTo>
                      <a:lnTo>
                        <a:pt x="2413495" y="248691"/>
                      </a:lnTo>
                      <a:lnTo>
                        <a:pt x="2411577" y="249961"/>
                      </a:lnTo>
                      <a:lnTo>
                        <a:pt x="2411044" y="251231"/>
                      </a:lnTo>
                      <a:lnTo>
                        <a:pt x="2411831" y="255041"/>
                      </a:lnTo>
                      <a:lnTo>
                        <a:pt x="2411450" y="260121"/>
                      </a:lnTo>
                      <a:lnTo>
                        <a:pt x="2411450" y="263931"/>
                      </a:lnTo>
                      <a:lnTo>
                        <a:pt x="2414511" y="266471"/>
                      </a:lnTo>
                      <a:lnTo>
                        <a:pt x="2415768" y="267741"/>
                      </a:lnTo>
                      <a:lnTo>
                        <a:pt x="2416149" y="269011"/>
                      </a:lnTo>
                      <a:lnTo>
                        <a:pt x="2415502" y="269011"/>
                      </a:lnTo>
                      <a:lnTo>
                        <a:pt x="2414778" y="270281"/>
                      </a:lnTo>
                      <a:lnTo>
                        <a:pt x="2413762" y="270281"/>
                      </a:lnTo>
                      <a:lnTo>
                        <a:pt x="2412733" y="271551"/>
                      </a:lnTo>
                      <a:lnTo>
                        <a:pt x="2412073" y="271551"/>
                      </a:lnTo>
                      <a:lnTo>
                        <a:pt x="2411641" y="272821"/>
                      </a:lnTo>
                      <a:lnTo>
                        <a:pt x="2411361" y="272821"/>
                      </a:lnTo>
                      <a:lnTo>
                        <a:pt x="2411031" y="274091"/>
                      </a:lnTo>
                      <a:lnTo>
                        <a:pt x="2410739" y="275361"/>
                      </a:lnTo>
                      <a:lnTo>
                        <a:pt x="2410574" y="275361"/>
                      </a:lnTo>
                      <a:lnTo>
                        <a:pt x="2410485" y="276631"/>
                      </a:lnTo>
                      <a:lnTo>
                        <a:pt x="2408174" y="275361"/>
                      </a:lnTo>
                      <a:lnTo>
                        <a:pt x="2405875" y="274091"/>
                      </a:lnTo>
                      <a:lnTo>
                        <a:pt x="2403271" y="274091"/>
                      </a:lnTo>
                      <a:lnTo>
                        <a:pt x="2403030" y="275361"/>
                      </a:lnTo>
                      <a:lnTo>
                        <a:pt x="2397518" y="275361"/>
                      </a:lnTo>
                      <a:lnTo>
                        <a:pt x="2396794" y="274091"/>
                      </a:lnTo>
                      <a:lnTo>
                        <a:pt x="2394191" y="271551"/>
                      </a:lnTo>
                      <a:lnTo>
                        <a:pt x="2393480" y="271551"/>
                      </a:lnTo>
                      <a:lnTo>
                        <a:pt x="2393391" y="270281"/>
                      </a:lnTo>
                      <a:lnTo>
                        <a:pt x="2393975" y="270281"/>
                      </a:lnTo>
                      <a:lnTo>
                        <a:pt x="2390952" y="269011"/>
                      </a:lnTo>
                      <a:lnTo>
                        <a:pt x="2387066" y="267741"/>
                      </a:lnTo>
                      <a:lnTo>
                        <a:pt x="2386253" y="267741"/>
                      </a:lnTo>
                      <a:lnTo>
                        <a:pt x="2384501" y="266471"/>
                      </a:lnTo>
                      <a:lnTo>
                        <a:pt x="2380665" y="266471"/>
                      </a:lnTo>
                      <a:lnTo>
                        <a:pt x="2378811" y="265201"/>
                      </a:lnTo>
                      <a:lnTo>
                        <a:pt x="2376665" y="265201"/>
                      </a:lnTo>
                      <a:lnTo>
                        <a:pt x="2375573" y="266471"/>
                      </a:lnTo>
                      <a:lnTo>
                        <a:pt x="2373541" y="266471"/>
                      </a:lnTo>
                      <a:lnTo>
                        <a:pt x="2372537" y="267741"/>
                      </a:lnTo>
                      <a:lnTo>
                        <a:pt x="2367064" y="269011"/>
                      </a:lnTo>
                      <a:lnTo>
                        <a:pt x="2367597" y="270281"/>
                      </a:lnTo>
                      <a:lnTo>
                        <a:pt x="2372995" y="269011"/>
                      </a:lnTo>
                      <a:lnTo>
                        <a:pt x="2375103" y="269011"/>
                      </a:lnTo>
                      <a:lnTo>
                        <a:pt x="2376309" y="267741"/>
                      </a:lnTo>
                      <a:lnTo>
                        <a:pt x="2383663" y="267741"/>
                      </a:lnTo>
                      <a:lnTo>
                        <a:pt x="2384844" y="269011"/>
                      </a:lnTo>
                      <a:lnTo>
                        <a:pt x="2386253" y="269011"/>
                      </a:lnTo>
                      <a:lnTo>
                        <a:pt x="2389898" y="271551"/>
                      </a:lnTo>
                      <a:lnTo>
                        <a:pt x="2391676" y="271551"/>
                      </a:lnTo>
                      <a:lnTo>
                        <a:pt x="2391867" y="272821"/>
                      </a:lnTo>
                      <a:lnTo>
                        <a:pt x="2392591" y="274091"/>
                      </a:lnTo>
                      <a:lnTo>
                        <a:pt x="2395423" y="276631"/>
                      </a:lnTo>
                      <a:lnTo>
                        <a:pt x="2396299" y="276631"/>
                      </a:lnTo>
                      <a:lnTo>
                        <a:pt x="2397163" y="277901"/>
                      </a:lnTo>
                      <a:lnTo>
                        <a:pt x="2400947" y="277901"/>
                      </a:lnTo>
                      <a:lnTo>
                        <a:pt x="2402484" y="276631"/>
                      </a:lnTo>
                      <a:lnTo>
                        <a:pt x="2405202" y="276631"/>
                      </a:lnTo>
                      <a:lnTo>
                        <a:pt x="2407437" y="277901"/>
                      </a:lnTo>
                      <a:lnTo>
                        <a:pt x="2410244" y="277901"/>
                      </a:lnTo>
                      <a:lnTo>
                        <a:pt x="2410104" y="279171"/>
                      </a:lnTo>
                      <a:lnTo>
                        <a:pt x="2411272" y="277901"/>
                      </a:lnTo>
                      <a:lnTo>
                        <a:pt x="2411488" y="279171"/>
                      </a:lnTo>
                      <a:lnTo>
                        <a:pt x="2412847" y="279171"/>
                      </a:lnTo>
                      <a:lnTo>
                        <a:pt x="2414397" y="280441"/>
                      </a:lnTo>
                      <a:lnTo>
                        <a:pt x="2415146" y="281711"/>
                      </a:lnTo>
                      <a:lnTo>
                        <a:pt x="2416899" y="281711"/>
                      </a:lnTo>
                      <a:lnTo>
                        <a:pt x="2416835" y="282981"/>
                      </a:lnTo>
                      <a:lnTo>
                        <a:pt x="2416441" y="284251"/>
                      </a:lnTo>
                      <a:lnTo>
                        <a:pt x="2415146" y="285521"/>
                      </a:lnTo>
                      <a:lnTo>
                        <a:pt x="2415590" y="286791"/>
                      </a:lnTo>
                      <a:lnTo>
                        <a:pt x="2415590" y="288061"/>
                      </a:lnTo>
                      <a:lnTo>
                        <a:pt x="2414917" y="289331"/>
                      </a:lnTo>
                      <a:lnTo>
                        <a:pt x="2412936" y="294411"/>
                      </a:lnTo>
                      <a:lnTo>
                        <a:pt x="2416225" y="291871"/>
                      </a:lnTo>
                      <a:lnTo>
                        <a:pt x="2418270" y="291871"/>
                      </a:lnTo>
                      <a:lnTo>
                        <a:pt x="2419108" y="293141"/>
                      </a:lnTo>
                      <a:lnTo>
                        <a:pt x="2420480" y="298221"/>
                      </a:lnTo>
                      <a:lnTo>
                        <a:pt x="2420709" y="298221"/>
                      </a:lnTo>
                      <a:lnTo>
                        <a:pt x="2421483" y="299491"/>
                      </a:lnTo>
                      <a:lnTo>
                        <a:pt x="2421661" y="300761"/>
                      </a:lnTo>
                      <a:lnTo>
                        <a:pt x="2421966" y="303301"/>
                      </a:lnTo>
                      <a:lnTo>
                        <a:pt x="2422080" y="304571"/>
                      </a:lnTo>
                      <a:lnTo>
                        <a:pt x="2419096" y="304571"/>
                      </a:lnTo>
                      <a:lnTo>
                        <a:pt x="2418003" y="305841"/>
                      </a:lnTo>
                      <a:lnTo>
                        <a:pt x="2416772" y="307111"/>
                      </a:lnTo>
                      <a:lnTo>
                        <a:pt x="2416073" y="308381"/>
                      </a:lnTo>
                      <a:lnTo>
                        <a:pt x="2415286" y="308381"/>
                      </a:lnTo>
                      <a:lnTo>
                        <a:pt x="2414232" y="309651"/>
                      </a:lnTo>
                      <a:lnTo>
                        <a:pt x="2414092" y="310921"/>
                      </a:lnTo>
                      <a:lnTo>
                        <a:pt x="2404770" y="310921"/>
                      </a:lnTo>
                      <a:lnTo>
                        <a:pt x="2403983" y="312191"/>
                      </a:lnTo>
                      <a:lnTo>
                        <a:pt x="2403487" y="312191"/>
                      </a:lnTo>
                      <a:lnTo>
                        <a:pt x="2402954" y="313461"/>
                      </a:lnTo>
                      <a:lnTo>
                        <a:pt x="2398433" y="313461"/>
                      </a:lnTo>
                      <a:lnTo>
                        <a:pt x="2393797" y="309651"/>
                      </a:lnTo>
                      <a:lnTo>
                        <a:pt x="2391016" y="307111"/>
                      </a:lnTo>
                      <a:lnTo>
                        <a:pt x="2389860" y="307111"/>
                      </a:lnTo>
                      <a:lnTo>
                        <a:pt x="2387625" y="304571"/>
                      </a:lnTo>
                      <a:lnTo>
                        <a:pt x="2385974" y="304571"/>
                      </a:lnTo>
                      <a:lnTo>
                        <a:pt x="2385352" y="303301"/>
                      </a:lnTo>
                      <a:lnTo>
                        <a:pt x="2379522" y="303301"/>
                      </a:lnTo>
                      <a:lnTo>
                        <a:pt x="2377694" y="300761"/>
                      </a:lnTo>
                      <a:lnTo>
                        <a:pt x="2377389" y="299491"/>
                      </a:lnTo>
                      <a:lnTo>
                        <a:pt x="2377071" y="299491"/>
                      </a:lnTo>
                      <a:lnTo>
                        <a:pt x="2376830" y="298221"/>
                      </a:lnTo>
                      <a:lnTo>
                        <a:pt x="2374163" y="298221"/>
                      </a:lnTo>
                      <a:lnTo>
                        <a:pt x="2373503" y="299491"/>
                      </a:lnTo>
                      <a:lnTo>
                        <a:pt x="2372144" y="299491"/>
                      </a:lnTo>
                      <a:lnTo>
                        <a:pt x="2370696" y="300761"/>
                      </a:lnTo>
                      <a:lnTo>
                        <a:pt x="2366340" y="300761"/>
                      </a:lnTo>
                      <a:lnTo>
                        <a:pt x="2365070" y="302031"/>
                      </a:lnTo>
                      <a:lnTo>
                        <a:pt x="2362936" y="300761"/>
                      </a:lnTo>
                      <a:lnTo>
                        <a:pt x="2360155" y="300761"/>
                      </a:lnTo>
                      <a:lnTo>
                        <a:pt x="2359964" y="299491"/>
                      </a:lnTo>
                      <a:lnTo>
                        <a:pt x="2351417" y="299491"/>
                      </a:lnTo>
                      <a:lnTo>
                        <a:pt x="2350439" y="300761"/>
                      </a:lnTo>
                      <a:lnTo>
                        <a:pt x="2349881" y="300761"/>
                      </a:lnTo>
                      <a:lnTo>
                        <a:pt x="2349182" y="299491"/>
                      </a:lnTo>
                      <a:lnTo>
                        <a:pt x="2334349" y="299491"/>
                      </a:lnTo>
                      <a:lnTo>
                        <a:pt x="2330526" y="300761"/>
                      </a:lnTo>
                      <a:lnTo>
                        <a:pt x="2326246" y="302031"/>
                      </a:lnTo>
                      <a:lnTo>
                        <a:pt x="2323388" y="303301"/>
                      </a:lnTo>
                      <a:lnTo>
                        <a:pt x="2323134" y="303301"/>
                      </a:lnTo>
                      <a:lnTo>
                        <a:pt x="2322931" y="304571"/>
                      </a:lnTo>
                      <a:lnTo>
                        <a:pt x="2320950" y="305841"/>
                      </a:lnTo>
                      <a:lnTo>
                        <a:pt x="2320264" y="305841"/>
                      </a:lnTo>
                      <a:lnTo>
                        <a:pt x="2321369" y="308381"/>
                      </a:lnTo>
                      <a:lnTo>
                        <a:pt x="2322118" y="307111"/>
                      </a:lnTo>
                      <a:lnTo>
                        <a:pt x="2324112" y="305841"/>
                      </a:lnTo>
                      <a:lnTo>
                        <a:pt x="2324722" y="305841"/>
                      </a:lnTo>
                      <a:lnTo>
                        <a:pt x="2327135" y="304571"/>
                      </a:lnTo>
                      <a:lnTo>
                        <a:pt x="2331135" y="302031"/>
                      </a:lnTo>
                      <a:lnTo>
                        <a:pt x="2334641" y="300761"/>
                      </a:lnTo>
                      <a:lnTo>
                        <a:pt x="2342959" y="300761"/>
                      </a:lnTo>
                      <a:lnTo>
                        <a:pt x="2344001" y="302031"/>
                      </a:lnTo>
                      <a:lnTo>
                        <a:pt x="2346185" y="302031"/>
                      </a:lnTo>
                      <a:lnTo>
                        <a:pt x="2347010" y="300761"/>
                      </a:lnTo>
                      <a:lnTo>
                        <a:pt x="2347899" y="300761"/>
                      </a:lnTo>
                      <a:lnTo>
                        <a:pt x="2348090" y="302031"/>
                      </a:lnTo>
                      <a:lnTo>
                        <a:pt x="2349335" y="303301"/>
                      </a:lnTo>
                      <a:lnTo>
                        <a:pt x="2350820" y="302031"/>
                      </a:lnTo>
                      <a:lnTo>
                        <a:pt x="2360345" y="302031"/>
                      </a:lnTo>
                      <a:lnTo>
                        <a:pt x="2362276" y="303301"/>
                      </a:lnTo>
                      <a:lnTo>
                        <a:pt x="2371547" y="303301"/>
                      </a:lnTo>
                      <a:lnTo>
                        <a:pt x="2372080" y="302031"/>
                      </a:lnTo>
                      <a:lnTo>
                        <a:pt x="2373363" y="302031"/>
                      </a:lnTo>
                      <a:lnTo>
                        <a:pt x="2374481" y="300761"/>
                      </a:lnTo>
                      <a:lnTo>
                        <a:pt x="2375687" y="300761"/>
                      </a:lnTo>
                      <a:lnTo>
                        <a:pt x="2376627" y="302031"/>
                      </a:lnTo>
                      <a:lnTo>
                        <a:pt x="2378138" y="304571"/>
                      </a:lnTo>
                      <a:lnTo>
                        <a:pt x="2379027" y="305841"/>
                      </a:lnTo>
                      <a:lnTo>
                        <a:pt x="2386469" y="305841"/>
                      </a:lnTo>
                      <a:lnTo>
                        <a:pt x="2388451" y="308381"/>
                      </a:lnTo>
                      <a:lnTo>
                        <a:pt x="2388844" y="308381"/>
                      </a:lnTo>
                      <a:lnTo>
                        <a:pt x="2389924" y="309651"/>
                      </a:lnTo>
                      <a:lnTo>
                        <a:pt x="2391054" y="309651"/>
                      </a:lnTo>
                      <a:lnTo>
                        <a:pt x="2391651" y="310921"/>
                      </a:lnTo>
                      <a:lnTo>
                        <a:pt x="2392451" y="310921"/>
                      </a:lnTo>
                      <a:lnTo>
                        <a:pt x="2393873" y="312191"/>
                      </a:lnTo>
                      <a:lnTo>
                        <a:pt x="2394851" y="313461"/>
                      </a:lnTo>
                      <a:lnTo>
                        <a:pt x="2397391" y="314731"/>
                      </a:lnTo>
                      <a:lnTo>
                        <a:pt x="2398928" y="316001"/>
                      </a:lnTo>
                      <a:lnTo>
                        <a:pt x="2399080" y="316001"/>
                      </a:lnTo>
                      <a:lnTo>
                        <a:pt x="2398255" y="318541"/>
                      </a:lnTo>
                      <a:lnTo>
                        <a:pt x="2396985" y="321081"/>
                      </a:lnTo>
                      <a:lnTo>
                        <a:pt x="2398280" y="322351"/>
                      </a:lnTo>
                      <a:lnTo>
                        <a:pt x="2399169" y="322351"/>
                      </a:lnTo>
                      <a:lnTo>
                        <a:pt x="2399436" y="323621"/>
                      </a:lnTo>
                      <a:lnTo>
                        <a:pt x="2400135" y="323621"/>
                      </a:lnTo>
                      <a:lnTo>
                        <a:pt x="2395715" y="326161"/>
                      </a:lnTo>
                      <a:lnTo>
                        <a:pt x="2393124" y="327431"/>
                      </a:lnTo>
                      <a:lnTo>
                        <a:pt x="2391854" y="328701"/>
                      </a:lnTo>
                      <a:lnTo>
                        <a:pt x="2389479" y="329971"/>
                      </a:lnTo>
                      <a:lnTo>
                        <a:pt x="2388273" y="329971"/>
                      </a:lnTo>
                      <a:lnTo>
                        <a:pt x="2387523" y="331241"/>
                      </a:lnTo>
                      <a:lnTo>
                        <a:pt x="2386876" y="333781"/>
                      </a:lnTo>
                      <a:lnTo>
                        <a:pt x="2384298" y="341401"/>
                      </a:lnTo>
                      <a:lnTo>
                        <a:pt x="2382863" y="341401"/>
                      </a:lnTo>
                      <a:lnTo>
                        <a:pt x="2381961" y="342671"/>
                      </a:lnTo>
                      <a:lnTo>
                        <a:pt x="2378811" y="343941"/>
                      </a:lnTo>
                      <a:lnTo>
                        <a:pt x="2374544" y="343941"/>
                      </a:lnTo>
                      <a:lnTo>
                        <a:pt x="2374315" y="345211"/>
                      </a:lnTo>
                      <a:lnTo>
                        <a:pt x="2374188" y="345211"/>
                      </a:lnTo>
                      <a:lnTo>
                        <a:pt x="2373934" y="346481"/>
                      </a:lnTo>
                      <a:lnTo>
                        <a:pt x="2373934" y="347751"/>
                      </a:lnTo>
                      <a:lnTo>
                        <a:pt x="2372283" y="347751"/>
                      </a:lnTo>
                      <a:lnTo>
                        <a:pt x="2370836" y="349021"/>
                      </a:lnTo>
                      <a:lnTo>
                        <a:pt x="2366187" y="349021"/>
                      </a:lnTo>
                      <a:lnTo>
                        <a:pt x="2364600" y="347751"/>
                      </a:lnTo>
                      <a:lnTo>
                        <a:pt x="2356637" y="347751"/>
                      </a:lnTo>
                      <a:lnTo>
                        <a:pt x="2356193" y="346481"/>
                      </a:lnTo>
                      <a:lnTo>
                        <a:pt x="2355989" y="346481"/>
                      </a:lnTo>
                      <a:lnTo>
                        <a:pt x="2355431" y="345211"/>
                      </a:lnTo>
                      <a:lnTo>
                        <a:pt x="2354872" y="343941"/>
                      </a:lnTo>
                      <a:lnTo>
                        <a:pt x="2354503" y="343941"/>
                      </a:lnTo>
                      <a:lnTo>
                        <a:pt x="2353678" y="342671"/>
                      </a:lnTo>
                      <a:lnTo>
                        <a:pt x="2352649" y="342671"/>
                      </a:lnTo>
                      <a:lnTo>
                        <a:pt x="2351697" y="341401"/>
                      </a:lnTo>
                      <a:lnTo>
                        <a:pt x="2351151" y="341401"/>
                      </a:lnTo>
                      <a:lnTo>
                        <a:pt x="2350084" y="340131"/>
                      </a:lnTo>
                      <a:lnTo>
                        <a:pt x="2346642" y="340131"/>
                      </a:lnTo>
                      <a:lnTo>
                        <a:pt x="2346172" y="333781"/>
                      </a:lnTo>
                      <a:lnTo>
                        <a:pt x="2346337" y="333781"/>
                      </a:lnTo>
                      <a:lnTo>
                        <a:pt x="2346515" y="332511"/>
                      </a:lnTo>
                      <a:lnTo>
                        <a:pt x="2347366" y="332511"/>
                      </a:lnTo>
                      <a:lnTo>
                        <a:pt x="2344064" y="327431"/>
                      </a:lnTo>
                      <a:lnTo>
                        <a:pt x="2343797" y="327431"/>
                      </a:lnTo>
                      <a:lnTo>
                        <a:pt x="2343378" y="326161"/>
                      </a:lnTo>
                      <a:lnTo>
                        <a:pt x="2336279" y="326161"/>
                      </a:lnTo>
                      <a:lnTo>
                        <a:pt x="2336520" y="327431"/>
                      </a:lnTo>
                      <a:lnTo>
                        <a:pt x="2336025" y="326161"/>
                      </a:lnTo>
                      <a:lnTo>
                        <a:pt x="2334564" y="326161"/>
                      </a:lnTo>
                      <a:lnTo>
                        <a:pt x="2327643" y="323621"/>
                      </a:lnTo>
                      <a:lnTo>
                        <a:pt x="2325116" y="322351"/>
                      </a:lnTo>
                      <a:lnTo>
                        <a:pt x="2324227" y="322351"/>
                      </a:lnTo>
                      <a:lnTo>
                        <a:pt x="2323160" y="323621"/>
                      </a:lnTo>
                      <a:lnTo>
                        <a:pt x="2324328" y="324891"/>
                      </a:lnTo>
                      <a:lnTo>
                        <a:pt x="2326741" y="326161"/>
                      </a:lnTo>
                      <a:lnTo>
                        <a:pt x="2331859" y="327431"/>
                      </a:lnTo>
                      <a:lnTo>
                        <a:pt x="2333790" y="328701"/>
                      </a:lnTo>
                      <a:lnTo>
                        <a:pt x="2337866" y="328701"/>
                      </a:lnTo>
                      <a:lnTo>
                        <a:pt x="2339962" y="327431"/>
                      </a:lnTo>
                      <a:lnTo>
                        <a:pt x="2341956" y="327431"/>
                      </a:lnTo>
                      <a:lnTo>
                        <a:pt x="2342286" y="328701"/>
                      </a:lnTo>
                      <a:lnTo>
                        <a:pt x="2343302" y="329971"/>
                      </a:lnTo>
                      <a:lnTo>
                        <a:pt x="2343658" y="329971"/>
                      </a:lnTo>
                      <a:lnTo>
                        <a:pt x="2345042" y="332511"/>
                      </a:lnTo>
                      <a:lnTo>
                        <a:pt x="2344839" y="332511"/>
                      </a:lnTo>
                      <a:lnTo>
                        <a:pt x="2344255" y="333781"/>
                      </a:lnTo>
                      <a:lnTo>
                        <a:pt x="2344051" y="333781"/>
                      </a:lnTo>
                      <a:lnTo>
                        <a:pt x="2344534" y="340131"/>
                      </a:lnTo>
                      <a:lnTo>
                        <a:pt x="2313711" y="340131"/>
                      </a:lnTo>
                      <a:lnTo>
                        <a:pt x="2302789" y="338861"/>
                      </a:lnTo>
                      <a:lnTo>
                        <a:pt x="2301710" y="338861"/>
                      </a:lnTo>
                      <a:lnTo>
                        <a:pt x="2301595" y="340131"/>
                      </a:lnTo>
                      <a:lnTo>
                        <a:pt x="2302560" y="340131"/>
                      </a:lnTo>
                      <a:lnTo>
                        <a:pt x="2324252" y="342671"/>
                      </a:lnTo>
                      <a:lnTo>
                        <a:pt x="2334552" y="342671"/>
                      </a:lnTo>
                      <a:lnTo>
                        <a:pt x="2344432" y="341401"/>
                      </a:lnTo>
                      <a:lnTo>
                        <a:pt x="2347391" y="341401"/>
                      </a:lnTo>
                      <a:lnTo>
                        <a:pt x="2348217" y="342671"/>
                      </a:lnTo>
                      <a:lnTo>
                        <a:pt x="2350706" y="342671"/>
                      </a:lnTo>
                      <a:lnTo>
                        <a:pt x="2352078" y="343941"/>
                      </a:lnTo>
                      <a:lnTo>
                        <a:pt x="2352649" y="345211"/>
                      </a:lnTo>
                      <a:lnTo>
                        <a:pt x="2353399" y="346481"/>
                      </a:lnTo>
                      <a:lnTo>
                        <a:pt x="2353881" y="346481"/>
                      </a:lnTo>
                      <a:lnTo>
                        <a:pt x="2354300" y="347751"/>
                      </a:lnTo>
                      <a:lnTo>
                        <a:pt x="2354796" y="349021"/>
                      </a:lnTo>
                      <a:lnTo>
                        <a:pt x="2355824" y="352831"/>
                      </a:lnTo>
                      <a:lnTo>
                        <a:pt x="2356751" y="355371"/>
                      </a:lnTo>
                      <a:lnTo>
                        <a:pt x="2358009" y="357911"/>
                      </a:lnTo>
                      <a:lnTo>
                        <a:pt x="2360117" y="362991"/>
                      </a:lnTo>
                      <a:lnTo>
                        <a:pt x="2361158" y="366801"/>
                      </a:lnTo>
                      <a:lnTo>
                        <a:pt x="2361539" y="369341"/>
                      </a:lnTo>
                      <a:lnTo>
                        <a:pt x="2361069" y="370611"/>
                      </a:lnTo>
                      <a:lnTo>
                        <a:pt x="2361095" y="371881"/>
                      </a:lnTo>
                      <a:lnTo>
                        <a:pt x="2360777" y="371881"/>
                      </a:lnTo>
                      <a:lnTo>
                        <a:pt x="2359050" y="373151"/>
                      </a:lnTo>
                      <a:lnTo>
                        <a:pt x="2349296" y="382041"/>
                      </a:lnTo>
                      <a:lnTo>
                        <a:pt x="2351214" y="383311"/>
                      </a:lnTo>
                      <a:lnTo>
                        <a:pt x="2354173" y="384581"/>
                      </a:lnTo>
                      <a:lnTo>
                        <a:pt x="2356320" y="385851"/>
                      </a:lnTo>
                      <a:lnTo>
                        <a:pt x="2356751" y="385851"/>
                      </a:lnTo>
                      <a:lnTo>
                        <a:pt x="2356955" y="387121"/>
                      </a:lnTo>
                      <a:lnTo>
                        <a:pt x="2355773" y="390931"/>
                      </a:lnTo>
                      <a:lnTo>
                        <a:pt x="2355608" y="392201"/>
                      </a:lnTo>
                      <a:lnTo>
                        <a:pt x="2355723" y="394741"/>
                      </a:lnTo>
                      <a:lnTo>
                        <a:pt x="2356256" y="396011"/>
                      </a:lnTo>
                      <a:lnTo>
                        <a:pt x="2357424" y="398551"/>
                      </a:lnTo>
                      <a:lnTo>
                        <a:pt x="2360053" y="404901"/>
                      </a:lnTo>
                      <a:lnTo>
                        <a:pt x="2361666" y="407441"/>
                      </a:lnTo>
                      <a:lnTo>
                        <a:pt x="2362568" y="407441"/>
                      </a:lnTo>
                      <a:lnTo>
                        <a:pt x="2362263" y="408711"/>
                      </a:lnTo>
                      <a:lnTo>
                        <a:pt x="2361438" y="408711"/>
                      </a:lnTo>
                      <a:lnTo>
                        <a:pt x="2361450" y="409981"/>
                      </a:lnTo>
                      <a:lnTo>
                        <a:pt x="2361946" y="411251"/>
                      </a:lnTo>
                      <a:lnTo>
                        <a:pt x="2362187" y="411251"/>
                      </a:lnTo>
                      <a:lnTo>
                        <a:pt x="2363508" y="412521"/>
                      </a:lnTo>
                      <a:lnTo>
                        <a:pt x="2363533" y="413791"/>
                      </a:lnTo>
                      <a:lnTo>
                        <a:pt x="2362708" y="416331"/>
                      </a:lnTo>
                      <a:lnTo>
                        <a:pt x="2361577" y="417601"/>
                      </a:lnTo>
                      <a:lnTo>
                        <a:pt x="2356878" y="418871"/>
                      </a:lnTo>
                      <a:lnTo>
                        <a:pt x="2356320" y="418871"/>
                      </a:lnTo>
                      <a:lnTo>
                        <a:pt x="2354846" y="420141"/>
                      </a:lnTo>
                      <a:lnTo>
                        <a:pt x="2351608" y="423951"/>
                      </a:lnTo>
                      <a:lnTo>
                        <a:pt x="2342731" y="432841"/>
                      </a:lnTo>
                      <a:lnTo>
                        <a:pt x="2343480" y="437921"/>
                      </a:lnTo>
                      <a:lnTo>
                        <a:pt x="2343480" y="439191"/>
                      </a:lnTo>
                      <a:lnTo>
                        <a:pt x="2343658" y="440461"/>
                      </a:lnTo>
                      <a:lnTo>
                        <a:pt x="2340521" y="440461"/>
                      </a:lnTo>
                      <a:lnTo>
                        <a:pt x="2340521" y="443001"/>
                      </a:lnTo>
                      <a:lnTo>
                        <a:pt x="2335542" y="449351"/>
                      </a:lnTo>
                      <a:lnTo>
                        <a:pt x="2338171" y="446811"/>
                      </a:lnTo>
                      <a:lnTo>
                        <a:pt x="2337384" y="448081"/>
                      </a:lnTo>
                      <a:lnTo>
                        <a:pt x="2336558" y="449351"/>
                      </a:lnTo>
                      <a:lnTo>
                        <a:pt x="2335987" y="450621"/>
                      </a:lnTo>
                      <a:lnTo>
                        <a:pt x="2335733" y="450621"/>
                      </a:lnTo>
                      <a:lnTo>
                        <a:pt x="2335682" y="451891"/>
                      </a:lnTo>
                      <a:lnTo>
                        <a:pt x="2335593" y="453161"/>
                      </a:lnTo>
                      <a:lnTo>
                        <a:pt x="2332723" y="454431"/>
                      </a:lnTo>
                      <a:lnTo>
                        <a:pt x="2330488" y="454431"/>
                      </a:lnTo>
                      <a:lnTo>
                        <a:pt x="2329446" y="451891"/>
                      </a:lnTo>
                      <a:lnTo>
                        <a:pt x="2328748" y="451891"/>
                      </a:lnTo>
                      <a:lnTo>
                        <a:pt x="2328329" y="450621"/>
                      </a:lnTo>
                      <a:lnTo>
                        <a:pt x="2316010" y="450621"/>
                      </a:lnTo>
                      <a:lnTo>
                        <a:pt x="2313368" y="451891"/>
                      </a:lnTo>
                      <a:lnTo>
                        <a:pt x="2311577" y="453161"/>
                      </a:lnTo>
                      <a:lnTo>
                        <a:pt x="2308301" y="455701"/>
                      </a:lnTo>
                      <a:lnTo>
                        <a:pt x="2307513" y="455701"/>
                      </a:lnTo>
                      <a:lnTo>
                        <a:pt x="2306790" y="456971"/>
                      </a:lnTo>
                      <a:lnTo>
                        <a:pt x="2304986" y="456971"/>
                      </a:lnTo>
                      <a:lnTo>
                        <a:pt x="2304046" y="458241"/>
                      </a:lnTo>
                      <a:lnTo>
                        <a:pt x="2302637" y="456971"/>
                      </a:lnTo>
                      <a:lnTo>
                        <a:pt x="2296337" y="456971"/>
                      </a:lnTo>
                      <a:lnTo>
                        <a:pt x="2292096" y="459511"/>
                      </a:lnTo>
                      <a:lnTo>
                        <a:pt x="2290673" y="459511"/>
                      </a:lnTo>
                      <a:lnTo>
                        <a:pt x="2289721" y="460781"/>
                      </a:lnTo>
                      <a:lnTo>
                        <a:pt x="2288260" y="460781"/>
                      </a:lnTo>
                      <a:lnTo>
                        <a:pt x="2287854" y="462051"/>
                      </a:lnTo>
                      <a:lnTo>
                        <a:pt x="2287320" y="462051"/>
                      </a:lnTo>
                      <a:lnTo>
                        <a:pt x="2287409" y="463321"/>
                      </a:lnTo>
                      <a:lnTo>
                        <a:pt x="2287816" y="464591"/>
                      </a:lnTo>
                      <a:lnTo>
                        <a:pt x="2282901" y="464591"/>
                      </a:lnTo>
                      <a:lnTo>
                        <a:pt x="2279497" y="465861"/>
                      </a:lnTo>
                      <a:lnTo>
                        <a:pt x="2275128" y="464591"/>
                      </a:lnTo>
                      <a:lnTo>
                        <a:pt x="2272385" y="464591"/>
                      </a:lnTo>
                      <a:lnTo>
                        <a:pt x="2269452" y="462051"/>
                      </a:lnTo>
                      <a:lnTo>
                        <a:pt x="2267991" y="460781"/>
                      </a:lnTo>
                      <a:lnTo>
                        <a:pt x="2267064" y="460781"/>
                      </a:lnTo>
                      <a:lnTo>
                        <a:pt x="2266594" y="459511"/>
                      </a:lnTo>
                      <a:lnTo>
                        <a:pt x="2266061" y="459511"/>
                      </a:lnTo>
                      <a:lnTo>
                        <a:pt x="2265756" y="460781"/>
                      </a:lnTo>
                      <a:lnTo>
                        <a:pt x="2265527" y="459511"/>
                      </a:lnTo>
                      <a:lnTo>
                        <a:pt x="2264841" y="459511"/>
                      </a:lnTo>
                      <a:lnTo>
                        <a:pt x="2264537" y="458241"/>
                      </a:lnTo>
                      <a:lnTo>
                        <a:pt x="2263914" y="458241"/>
                      </a:lnTo>
                      <a:lnTo>
                        <a:pt x="2263914" y="462051"/>
                      </a:lnTo>
                      <a:lnTo>
                        <a:pt x="2263165" y="464591"/>
                      </a:lnTo>
                      <a:lnTo>
                        <a:pt x="2263025" y="464591"/>
                      </a:lnTo>
                      <a:lnTo>
                        <a:pt x="2262848" y="465861"/>
                      </a:lnTo>
                      <a:lnTo>
                        <a:pt x="2259571" y="465861"/>
                      </a:lnTo>
                      <a:lnTo>
                        <a:pt x="2258301" y="464870"/>
                      </a:lnTo>
                      <a:lnTo>
                        <a:pt x="2258301" y="468147"/>
                      </a:lnTo>
                      <a:lnTo>
                        <a:pt x="2256866" y="467131"/>
                      </a:lnTo>
                      <a:lnTo>
                        <a:pt x="2258085" y="467131"/>
                      </a:lnTo>
                      <a:lnTo>
                        <a:pt x="2258301" y="468147"/>
                      </a:lnTo>
                      <a:lnTo>
                        <a:pt x="2258301" y="464870"/>
                      </a:lnTo>
                      <a:lnTo>
                        <a:pt x="2257958" y="464591"/>
                      </a:lnTo>
                      <a:lnTo>
                        <a:pt x="2257209" y="464591"/>
                      </a:lnTo>
                      <a:lnTo>
                        <a:pt x="2256167" y="465861"/>
                      </a:lnTo>
                      <a:lnTo>
                        <a:pt x="2255494" y="465861"/>
                      </a:lnTo>
                      <a:lnTo>
                        <a:pt x="2252180" y="468401"/>
                      </a:lnTo>
                      <a:lnTo>
                        <a:pt x="2255062" y="468401"/>
                      </a:lnTo>
                      <a:lnTo>
                        <a:pt x="2256409" y="469671"/>
                      </a:lnTo>
                      <a:lnTo>
                        <a:pt x="2256879" y="469671"/>
                      </a:lnTo>
                      <a:lnTo>
                        <a:pt x="2256828" y="470941"/>
                      </a:lnTo>
                      <a:lnTo>
                        <a:pt x="2253945" y="472211"/>
                      </a:lnTo>
                      <a:lnTo>
                        <a:pt x="2253919" y="474751"/>
                      </a:lnTo>
                      <a:lnTo>
                        <a:pt x="2254605" y="478561"/>
                      </a:lnTo>
                      <a:lnTo>
                        <a:pt x="2252281" y="478561"/>
                      </a:lnTo>
                      <a:lnTo>
                        <a:pt x="2251481" y="479831"/>
                      </a:lnTo>
                      <a:lnTo>
                        <a:pt x="2249881" y="481101"/>
                      </a:lnTo>
                      <a:lnTo>
                        <a:pt x="2249360" y="481101"/>
                      </a:lnTo>
                      <a:lnTo>
                        <a:pt x="2248674" y="482371"/>
                      </a:lnTo>
                      <a:lnTo>
                        <a:pt x="2247950" y="482371"/>
                      </a:lnTo>
                      <a:lnTo>
                        <a:pt x="2247785" y="483641"/>
                      </a:lnTo>
                      <a:lnTo>
                        <a:pt x="2247646" y="483641"/>
                      </a:lnTo>
                      <a:lnTo>
                        <a:pt x="2247658" y="484911"/>
                      </a:lnTo>
                      <a:lnTo>
                        <a:pt x="2246693" y="483641"/>
                      </a:lnTo>
                      <a:lnTo>
                        <a:pt x="2243709" y="483641"/>
                      </a:lnTo>
                      <a:lnTo>
                        <a:pt x="2243137" y="484911"/>
                      </a:lnTo>
                      <a:lnTo>
                        <a:pt x="2232837" y="484911"/>
                      </a:lnTo>
                      <a:lnTo>
                        <a:pt x="2232342" y="486181"/>
                      </a:lnTo>
                      <a:lnTo>
                        <a:pt x="2231199" y="487451"/>
                      </a:lnTo>
                      <a:lnTo>
                        <a:pt x="2230729" y="487451"/>
                      </a:lnTo>
                      <a:lnTo>
                        <a:pt x="2229980" y="488721"/>
                      </a:lnTo>
                      <a:lnTo>
                        <a:pt x="2229129" y="488721"/>
                      </a:lnTo>
                      <a:lnTo>
                        <a:pt x="2228265" y="489991"/>
                      </a:lnTo>
                      <a:lnTo>
                        <a:pt x="2227338" y="489991"/>
                      </a:lnTo>
                      <a:lnTo>
                        <a:pt x="2227084" y="488721"/>
                      </a:lnTo>
                      <a:lnTo>
                        <a:pt x="2222436" y="488721"/>
                      </a:lnTo>
                      <a:lnTo>
                        <a:pt x="2220417" y="487451"/>
                      </a:lnTo>
                      <a:lnTo>
                        <a:pt x="2214791" y="487451"/>
                      </a:lnTo>
                      <a:lnTo>
                        <a:pt x="2213699" y="486181"/>
                      </a:lnTo>
                      <a:lnTo>
                        <a:pt x="2204478" y="486181"/>
                      </a:lnTo>
                      <a:lnTo>
                        <a:pt x="2201291" y="484911"/>
                      </a:lnTo>
                      <a:lnTo>
                        <a:pt x="2197709" y="484911"/>
                      </a:lnTo>
                      <a:lnTo>
                        <a:pt x="2195880" y="482371"/>
                      </a:lnTo>
                      <a:lnTo>
                        <a:pt x="2195182" y="481101"/>
                      </a:lnTo>
                      <a:lnTo>
                        <a:pt x="2194814" y="481101"/>
                      </a:lnTo>
                      <a:lnTo>
                        <a:pt x="2196046" y="477291"/>
                      </a:lnTo>
                      <a:lnTo>
                        <a:pt x="2192477" y="477291"/>
                      </a:lnTo>
                      <a:lnTo>
                        <a:pt x="2188438" y="478561"/>
                      </a:lnTo>
                      <a:lnTo>
                        <a:pt x="2186381" y="478561"/>
                      </a:lnTo>
                      <a:lnTo>
                        <a:pt x="2180679" y="479831"/>
                      </a:lnTo>
                      <a:lnTo>
                        <a:pt x="2178253" y="479831"/>
                      </a:lnTo>
                      <a:lnTo>
                        <a:pt x="2177504" y="481101"/>
                      </a:lnTo>
                      <a:lnTo>
                        <a:pt x="2177364" y="482371"/>
                      </a:lnTo>
                      <a:lnTo>
                        <a:pt x="2174646" y="482371"/>
                      </a:lnTo>
                      <a:lnTo>
                        <a:pt x="2170734" y="481101"/>
                      </a:lnTo>
                      <a:lnTo>
                        <a:pt x="2170138" y="481101"/>
                      </a:lnTo>
                      <a:lnTo>
                        <a:pt x="2169782" y="479831"/>
                      </a:lnTo>
                      <a:lnTo>
                        <a:pt x="2168398" y="479831"/>
                      </a:lnTo>
                      <a:lnTo>
                        <a:pt x="2168321" y="479602"/>
                      </a:lnTo>
                      <a:lnTo>
                        <a:pt x="2168321" y="482371"/>
                      </a:lnTo>
                      <a:lnTo>
                        <a:pt x="2168321" y="484911"/>
                      </a:lnTo>
                      <a:lnTo>
                        <a:pt x="2168233" y="486181"/>
                      </a:lnTo>
                      <a:lnTo>
                        <a:pt x="2162746" y="486181"/>
                      </a:lnTo>
                      <a:lnTo>
                        <a:pt x="2162581" y="487451"/>
                      </a:lnTo>
                      <a:lnTo>
                        <a:pt x="2162264" y="487451"/>
                      </a:lnTo>
                      <a:lnTo>
                        <a:pt x="2162289" y="488721"/>
                      </a:lnTo>
                      <a:lnTo>
                        <a:pt x="2162505" y="489991"/>
                      </a:lnTo>
                      <a:lnTo>
                        <a:pt x="2162873" y="491261"/>
                      </a:lnTo>
                      <a:lnTo>
                        <a:pt x="2163178" y="491261"/>
                      </a:lnTo>
                      <a:lnTo>
                        <a:pt x="2163292" y="492531"/>
                      </a:lnTo>
                      <a:lnTo>
                        <a:pt x="2161235" y="492531"/>
                      </a:lnTo>
                      <a:lnTo>
                        <a:pt x="2155850" y="489991"/>
                      </a:lnTo>
                      <a:lnTo>
                        <a:pt x="2153323" y="487451"/>
                      </a:lnTo>
                      <a:lnTo>
                        <a:pt x="2151621" y="487451"/>
                      </a:lnTo>
                      <a:lnTo>
                        <a:pt x="2151265" y="489991"/>
                      </a:lnTo>
                      <a:lnTo>
                        <a:pt x="2150973" y="492531"/>
                      </a:lnTo>
                      <a:lnTo>
                        <a:pt x="2150021" y="493801"/>
                      </a:lnTo>
                      <a:lnTo>
                        <a:pt x="2149348" y="495071"/>
                      </a:lnTo>
                      <a:lnTo>
                        <a:pt x="2148687" y="495071"/>
                      </a:lnTo>
                      <a:lnTo>
                        <a:pt x="2148382" y="496341"/>
                      </a:lnTo>
                      <a:lnTo>
                        <a:pt x="2147849" y="497611"/>
                      </a:lnTo>
                      <a:lnTo>
                        <a:pt x="2146922" y="495071"/>
                      </a:lnTo>
                      <a:lnTo>
                        <a:pt x="2144357" y="495071"/>
                      </a:lnTo>
                      <a:lnTo>
                        <a:pt x="2141639" y="493801"/>
                      </a:lnTo>
                      <a:lnTo>
                        <a:pt x="2141423" y="492531"/>
                      </a:lnTo>
                      <a:lnTo>
                        <a:pt x="2141296" y="492531"/>
                      </a:lnTo>
                      <a:lnTo>
                        <a:pt x="2141461" y="491261"/>
                      </a:lnTo>
                      <a:lnTo>
                        <a:pt x="2141639" y="489991"/>
                      </a:lnTo>
                      <a:lnTo>
                        <a:pt x="2141690" y="488721"/>
                      </a:lnTo>
                      <a:lnTo>
                        <a:pt x="2139327" y="488721"/>
                      </a:lnTo>
                      <a:lnTo>
                        <a:pt x="2136787" y="489991"/>
                      </a:lnTo>
                      <a:lnTo>
                        <a:pt x="2134730" y="493801"/>
                      </a:lnTo>
                      <a:lnTo>
                        <a:pt x="2133790" y="495071"/>
                      </a:lnTo>
                      <a:lnTo>
                        <a:pt x="2131695" y="497611"/>
                      </a:lnTo>
                      <a:lnTo>
                        <a:pt x="2120442" y="497611"/>
                      </a:lnTo>
                      <a:lnTo>
                        <a:pt x="2119934" y="496341"/>
                      </a:lnTo>
                      <a:lnTo>
                        <a:pt x="2119338" y="496341"/>
                      </a:lnTo>
                      <a:lnTo>
                        <a:pt x="2118703" y="495071"/>
                      </a:lnTo>
                      <a:lnTo>
                        <a:pt x="2118436" y="495071"/>
                      </a:lnTo>
                      <a:lnTo>
                        <a:pt x="2118385" y="491261"/>
                      </a:lnTo>
                      <a:lnTo>
                        <a:pt x="2117877" y="489991"/>
                      </a:lnTo>
                      <a:lnTo>
                        <a:pt x="2117369" y="488721"/>
                      </a:lnTo>
                      <a:lnTo>
                        <a:pt x="2112200" y="488721"/>
                      </a:lnTo>
                      <a:lnTo>
                        <a:pt x="2110092" y="489991"/>
                      </a:lnTo>
                      <a:lnTo>
                        <a:pt x="2108212" y="491261"/>
                      </a:lnTo>
                      <a:lnTo>
                        <a:pt x="2108111" y="489991"/>
                      </a:lnTo>
                      <a:lnTo>
                        <a:pt x="2107768" y="489991"/>
                      </a:lnTo>
                      <a:lnTo>
                        <a:pt x="2108898" y="487451"/>
                      </a:lnTo>
                      <a:lnTo>
                        <a:pt x="2112975" y="483641"/>
                      </a:lnTo>
                      <a:lnTo>
                        <a:pt x="2113343" y="481101"/>
                      </a:lnTo>
                      <a:lnTo>
                        <a:pt x="2113584" y="481101"/>
                      </a:lnTo>
                      <a:lnTo>
                        <a:pt x="2113965" y="479831"/>
                      </a:lnTo>
                      <a:lnTo>
                        <a:pt x="2115909" y="479831"/>
                      </a:lnTo>
                      <a:lnTo>
                        <a:pt x="2117864" y="478561"/>
                      </a:lnTo>
                      <a:lnTo>
                        <a:pt x="2120455" y="474751"/>
                      </a:lnTo>
                      <a:lnTo>
                        <a:pt x="2122601" y="473481"/>
                      </a:lnTo>
                      <a:lnTo>
                        <a:pt x="2125103" y="473481"/>
                      </a:lnTo>
                      <a:lnTo>
                        <a:pt x="2126056" y="472211"/>
                      </a:lnTo>
                      <a:lnTo>
                        <a:pt x="2127491" y="472211"/>
                      </a:lnTo>
                      <a:lnTo>
                        <a:pt x="2127745" y="470941"/>
                      </a:lnTo>
                      <a:lnTo>
                        <a:pt x="2131466" y="470941"/>
                      </a:lnTo>
                      <a:lnTo>
                        <a:pt x="2131796" y="469671"/>
                      </a:lnTo>
                      <a:lnTo>
                        <a:pt x="2132228" y="469671"/>
                      </a:lnTo>
                      <a:lnTo>
                        <a:pt x="2132749" y="470941"/>
                      </a:lnTo>
                      <a:lnTo>
                        <a:pt x="2135238" y="470941"/>
                      </a:lnTo>
                      <a:lnTo>
                        <a:pt x="2136495" y="469671"/>
                      </a:lnTo>
                      <a:lnTo>
                        <a:pt x="2141905" y="469671"/>
                      </a:lnTo>
                      <a:lnTo>
                        <a:pt x="2142693" y="470941"/>
                      </a:lnTo>
                      <a:lnTo>
                        <a:pt x="2143163" y="469671"/>
                      </a:lnTo>
                      <a:lnTo>
                        <a:pt x="2143429" y="469671"/>
                      </a:lnTo>
                      <a:lnTo>
                        <a:pt x="2143734" y="468401"/>
                      </a:lnTo>
                      <a:lnTo>
                        <a:pt x="2151469" y="468401"/>
                      </a:lnTo>
                      <a:lnTo>
                        <a:pt x="2154377" y="469671"/>
                      </a:lnTo>
                      <a:lnTo>
                        <a:pt x="2155545" y="470941"/>
                      </a:lnTo>
                      <a:lnTo>
                        <a:pt x="2155875" y="470941"/>
                      </a:lnTo>
                      <a:lnTo>
                        <a:pt x="2156764" y="472211"/>
                      </a:lnTo>
                      <a:lnTo>
                        <a:pt x="2155113" y="474751"/>
                      </a:lnTo>
                      <a:lnTo>
                        <a:pt x="2154974" y="474751"/>
                      </a:lnTo>
                      <a:lnTo>
                        <a:pt x="2155875" y="477291"/>
                      </a:lnTo>
                      <a:lnTo>
                        <a:pt x="2156041" y="477291"/>
                      </a:lnTo>
                      <a:lnTo>
                        <a:pt x="2155863" y="478561"/>
                      </a:lnTo>
                      <a:lnTo>
                        <a:pt x="2155837" y="479831"/>
                      </a:lnTo>
                      <a:lnTo>
                        <a:pt x="2157057" y="479831"/>
                      </a:lnTo>
                      <a:lnTo>
                        <a:pt x="2157692" y="478561"/>
                      </a:lnTo>
                      <a:lnTo>
                        <a:pt x="2157311" y="479831"/>
                      </a:lnTo>
                      <a:lnTo>
                        <a:pt x="2157895" y="479831"/>
                      </a:lnTo>
                      <a:lnTo>
                        <a:pt x="2163635" y="483641"/>
                      </a:lnTo>
                      <a:lnTo>
                        <a:pt x="2165566" y="483641"/>
                      </a:lnTo>
                      <a:lnTo>
                        <a:pt x="2167572" y="481101"/>
                      </a:lnTo>
                      <a:lnTo>
                        <a:pt x="2168042" y="481101"/>
                      </a:lnTo>
                      <a:lnTo>
                        <a:pt x="2168245" y="482371"/>
                      </a:lnTo>
                      <a:lnTo>
                        <a:pt x="2168321" y="479602"/>
                      </a:lnTo>
                      <a:lnTo>
                        <a:pt x="2167979" y="478561"/>
                      </a:lnTo>
                      <a:lnTo>
                        <a:pt x="2166670" y="478561"/>
                      </a:lnTo>
                      <a:lnTo>
                        <a:pt x="2165172" y="481101"/>
                      </a:lnTo>
                      <a:lnTo>
                        <a:pt x="2164334" y="481101"/>
                      </a:lnTo>
                      <a:lnTo>
                        <a:pt x="2158479" y="478561"/>
                      </a:lnTo>
                      <a:lnTo>
                        <a:pt x="2158327" y="478561"/>
                      </a:lnTo>
                      <a:lnTo>
                        <a:pt x="2158123" y="477291"/>
                      </a:lnTo>
                      <a:lnTo>
                        <a:pt x="2157869" y="476021"/>
                      </a:lnTo>
                      <a:lnTo>
                        <a:pt x="2157361" y="474751"/>
                      </a:lnTo>
                      <a:lnTo>
                        <a:pt x="2158187" y="473481"/>
                      </a:lnTo>
                      <a:lnTo>
                        <a:pt x="2158479" y="473481"/>
                      </a:lnTo>
                      <a:lnTo>
                        <a:pt x="2158619" y="472211"/>
                      </a:lnTo>
                      <a:lnTo>
                        <a:pt x="2158606" y="470941"/>
                      </a:lnTo>
                      <a:lnTo>
                        <a:pt x="2161311" y="470941"/>
                      </a:lnTo>
                      <a:lnTo>
                        <a:pt x="2162340" y="472211"/>
                      </a:lnTo>
                      <a:lnTo>
                        <a:pt x="2164194" y="472211"/>
                      </a:lnTo>
                      <a:lnTo>
                        <a:pt x="2164461" y="473481"/>
                      </a:lnTo>
                      <a:lnTo>
                        <a:pt x="2164689" y="473481"/>
                      </a:lnTo>
                      <a:lnTo>
                        <a:pt x="2162632" y="477291"/>
                      </a:lnTo>
                      <a:lnTo>
                        <a:pt x="2168931" y="473481"/>
                      </a:lnTo>
                      <a:lnTo>
                        <a:pt x="2170188" y="473481"/>
                      </a:lnTo>
                      <a:lnTo>
                        <a:pt x="2170417" y="470941"/>
                      </a:lnTo>
                      <a:lnTo>
                        <a:pt x="2174849" y="470941"/>
                      </a:lnTo>
                      <a:lnTo>
                        <a:pt x="2175332" y="472211"/>
                      </a:lnTo>
                      <a:lnTo>
                        <a:pt x="2175726" y="473481"/>
                      </a:lnTo>
                      <a:lnTo>
                        <a:pt x="2181453" y="473481"/>
                      </a:lnTo>
                      <a:lnTo>
                        <a:pt x="2183625" y="472211"/>
                      </a:lnTo>
                      <a:lnTo>
                        <a:pt x="2183930" y="470941"/>
                      </a:lnTo>
                      <a:lnTo>
                        <a:pt x="2184146" y="470941"/>
                      </a:lnTo>
                      <a:lnTo>
                        <a:pt x="2186101" y="469671"/>
                      </a:lnTo>
                      <a:lnTo>
                        <a:pt x="2193226" y="469671"/>
                      </a:lnTo>
                      <a:lnTo>
                        <a:pt x="2195118" y="468401"/>
                      </a:lnTo>
                      <a:lnTo>
                        <a:pt x="2197709" y="468401"/>
                      </a:lnTo>
                      <a:lnTo>
                        <a:pt x="2198459" y="469671"/>
                      </a:lnTo>
                      <a:lnTo>
                        <a:pt x="2199589" y="469671"/>
                      </a:lnTo>
                      <a:lnTo>
                        <a:pt x="2201075" y="468401"/>
                      </a:lnTo>
                      <a:lnTo>
                        <a:pt x="2206002" y="473481"/>
                      </a:lnTo>
                      <a:lnTo>
                        <a:pt x="2207298" y="470941"/>
                      </a:lnTo>
                      <a:lnTo>
                        <a:pt x="2207272" y="469671"/>
                      </a:lnTo>
                      <a:lnTo>
                        <a:pt x="2207247" y="467131"/>
                      </a:lnTo>
                      <a:lnTo>
                        <a:pt x="2207095" y="465861"/>
                      </a:lnTo>
                      <a:lnTo>
                        <a:pt x="2206142" y="465861"/>
                      </a:lnTo>
                      <a:lnTo>
                        <a:pt x="2206548" y="464591"/>
                      </a:lnTo>
                      <a:lnTo>
                        <a:pt x="2206853" y="464591"/>
                      </a:lnTo>
                      <a:lnTo>
                        <a:pt x="2206002" y="463321"/>
                      </a:lnTo>
                      <a:lnTo>
                        <a:pt x="2203627" y="460781"/>
                      </a:lnTo>
                      <a:lnTo>
                        <a:pt x="2203259" y="459511"/>
                      </a:lnTo>
                      <a:lnTo>
                        <a:pt x="2203640" y="459511"/>
                      </a:lnTo>
                      <a:lnTo>
                        <a:pt x="2204605" y="458241"/>
                      </a:lnTo>
                      <a:lnTo>
                        <a:pt x="2207882" y="456971"/>
                      </a:lnTo>
                      <a:lnTo>
                        <a:pt x="2210422" y="456971"/>
                      </a:lnTo>
                      <a:lnTo>
                        <a:pt x="2211171" y="455701"/>
                      </a:lnTo>
                      <a:lnTo>
                        <a:pt x="2212238" y="455701"/>
                      </a:lnTo>
                      <a:lnTo>
                        <a:pt x="2212848" y="454431"/>
                      </a:lnTo>
                      <a:lnTo>
                        <a:pt x="2212835" y="451891"/>
                      </a:lnTo>
                      <a:lnTo>
                        <a:pt x="2214270" y="451891"/>
                      </a:lnTo>
                      <a:lnTo>
                        <a:pt x="2215616" y="453161"/>
                      </a:lnTo>
                      <a:lnTo>
                        <a:pt x="2216734" y="453161"/>
                      </a:lnTo>
                      <a:lnTo>
                        <a:pt x="2217204" y="451891"/>
                      </a:lnTo>
                      <a:lnTo>
                        <a:pt x="2217547" y="449351"/>
                      </a:lnTo>
                      <a:lnTo>
                        <a:pt x="2218728" y="449351"/>
                      </a:lnTo>
                      <a:lnTo>
                        <a:pt x="2222690" y="451891"/>
                      </a:lnTo>
                      <a:lnTo>
                        <a:pt x="2230958" y="451891"/>
                      </a:lnTo>
                      <a:lnTo>
                        <a:pt x="2231644" y="450621"/>
                      </a:lnTo>
                      <a:lnTo>
                        <a:pt x="2234628" y="448081"/>
                      </a:lnTo>
                      <a:lnTo>
                        <a:pt x="2234996" y="445541"/>
                      </a:lnTo>
                      <a:lnTo>
                        <a:pt x="2234971" y="444271"/>
                      </a:lnTo>
                      <a:lnTo>
                        <a:pt x="2235327" y="444271"/>
                      </a:lnTo>
                      <a:lnTo>
                        <a:pt x="2235962" y="445541"/>
                      </a:lnTo>
                      <a:lnTo>
                        <a:pt x="2242210" y="445541"/>
                      </a:lnTo>
                      <a:lnTo>
                        <a:pt x="2244699" y="446811"/>
                      </a:lnTo>
                      <a:lnTo>
                        <a:pt x="2252243" y="449351"/>
                      </a:lnTo>
                      <a:lnTo>
                        <a:pt x="2253437" y="449351"/>
                      </a:lnTo>
                      <a:lnTo>
                        <a:pt x="2255494" y="448081"/>
                      </a:lnTo>
                      <a:lnTo>
                        <a:pt x="2257717" y="448081"/>
                      </a:lnTo>
                      <a:lnTo>
                        <a:pt x="2260536" y="449351"/>
                      </a:lnTo>
                      <a:lnTo>
                        <a:pt x="2261006" y="450621"/>
                      </a:lnTo>
                      <a:lnTo>
                        <a:pt x="2261070" y="451891"/>
                      </a:lnTo>
                      <a:lnTo>
                        <a:pt x="2259838" y="453161"/>
                      </a:lnTo>
                      <a:lnTo>
                        <a:pt x="2259723" y="455701"/>
                      </a:lnTo>
                      <a:lnTo>
                        <a:pt x="2260422" y="455701"/>
                      </a:lnTo>
                      <a:lnTo>
                        <a:pt x="2260600" y="456971"/>
                      </a:lnTo>
                      <a:lnTo>
                        <a:pt x="2261209" y="456971"/>
                      </a:lnTo>
                      <a:lnTo>
                        <a:pt x="2261324" y="458241"/>
                      </a:lnTo>
                      <a:lnTo>
                        <a:pt x="2261946" y="459511"/>
                      </a:lnTo>
                      <a:lnTo>
                        <a:pt x="2262949" y="459511"/>
                      </a:lnTo>
                      <a:lnTo>
                        <a:pt x="2263203" y="460781"/>
                      </a:lnTo>
                      <a:lnTo>
                        <a:pt x="2263521" y="460781"/>
                      </a:lnTo>
                      <a:lnTo>
                        <a:pt x="2263914" y="462051"/>
                      </a:lnTo>
                      <a:lnTo>
                        <a:pt x="2263914" y="458241"/>
                      </a:lnTo>
                      <a:lnTo>
                        <a:pt x="2263381" y="458241"/>
                      </a:lnTo>
                      <a:lnTo>
                        <a:pt x="2263254" y="455701"/>
                      </a:lnTo>
                      <a:lnTo>
                        <a:pt x="2262340" y="455701"/>
                      </a:lnTo>
                      <a:lnTo>
                        <a:pt x="2262073" y="454431"/>
                      </a:lnTo>
                      <a:lnTo>
                        <a:pt x="2261920" y="454431"/>
                      </a:lnTo>
                      <a:lnTo>
                        <a:pt x="2262682" y="453161"/>
                      </a:lnTo>
                      <a:lnTo>
                        <a:pt x="2263317" y="453161"/>
                      </a:lnTo>
                      <a:lnTo>
                        <a:pt x="2263178" y="450621"/>
                      </a:lnTo>
                      <a:lnTo>
                        <a:pt x="2263546" y="449351"/>
                      </a:lnTo>
                      <a:lnTo>
                        <a:pt x="2264245" y="448081"/>
                      </a:lnTo>
                      <a:lnTo>
                        <a:pt x="2265019" y="448081"/>
                      </a:lnTo>
                      <a:lnTo>
                        <a:pt x="2264245" y="446811"/>
                      </a:lnTo>
                      <a:lnTo>
                        <a:pt x="2266518" y="446811"/>
                      </a:lnTo>
                      <a:lnTo>
                        <a:pt x="2268385" y="448081"/>
                      </a:lnTo>
                      <a:lnTo>
                        <a:pt x="2269464" y="448081"/>
                      </a:lnTo>
                      <a:lnTo>
                        <a:pt x="2271776" y="446811"/>
                      </a:lnTo>
                      <a:lnTo>
                        <a:pt x="2273249" y="446811"/>
                      </a:lnTo>
                      <a:lnTo>
                        <a:pt x="2279815" y="440461"/>
                      </a:lnTo>
                      <a:lnTo>
                        <a:pt x="2280196" y="440461"/>
                      </a:lnTo>
                      <a:lnTo>
                        <a:pt x="2280729" y="439191"/>
                      </a:lnTo>
                      <a:lnTo>
                        <a:pt x="2281136" y="439191"/>
                      </a:lnTo>
                      <a:lnTo>
                        <a:pt x="2282164" y="437921"/>
                      </a:lnTo>
                      <a:lnTo>
                        <a:pt x="2286393" y="436651"/>
                      </a:lnTo>
                      <a:lnTo>
                        <a:pt x="2287968" y="435381"/>
                      </a:lnTo>
                      <a:lnTo>
                        <a:pt x="2290940" y="435381"/>
                      </a:lnTo>
                      <a:lnTo>
                        <a:pt x="2291892" y="436651"/>
                      </a:lnTo>
                      <a:lnTo>
                        <a:pt x="2295398" y="436651"/>
                      </a:lnTo>
                      <a:lnTo>
                        <a:pt x="2296769" y="435381"/>
                      </a:lnTo>
                      <a:lnTo>
                        <a:pt x="2298141" y="434111"/>
                      </a:lnTo>
                      <a:lnTo>
                        <a:pt x="2298509" y="434111"/>
                      </a:lnTo>
                      <a:lnTo>
                        <a:pt x="2299106" y="435381"/>
                      </a:lnTo>
                      <a:lnTo>
                        <a:pt x="2299995" y="436651"/>
                      </a:lnTo>
                      <a:lnTo>
                        <a:pt x="2301544" y="436651"/>
                      </a:lnTo>
                      <a:lnTo>
                        <a:pt x="2301278" y="437921"/>
                      </a:lnTo>
                      <a:lnTo>
                        <a:pt x="2301519" y="439191"/>
                      </a:lnTo>
                      <a:lnTo>
                        <a:pt x="2301722" y="439191"/>
                      </a:lnTo>
                      <a:lnTo>
                        <a:pt x="2302078" y="440461"/>
                      </a:lnTo>
                      <a:lnTo>
                        <a:pt x="2305659" y="440461"/>
                      </a:lnTo>
                      <a:lnTo>
                        <a:pt x="2308034" y="439191"/>
                      </a:lnTo>
                      <a:lnTo>
                        <a:pt x="2308910" y="437921"/>
                      </a:lnTo>
                      <a:lnTo>
                        <a:pt x="2314041" y="437921"/>
                      </a:lnTo>
                      <a:lnTo>
                        <a:pt x="2319121" y="439191"/>
                      </a:lnTo>
                      <a:lnTo>
                        <a:pt x="2323007" y="437921"/>
                      </a:lnTo>
                      <a:lnTo>
                        <a:pt x="2324303" y="436651"/>
                      </a:lnTo>
                      <a:lnTo>
                        <a:pt x="2328443" y="436651"/>
                      </a:lnTo>
                      <a:lnTo>
                        <a:pt x="2330488" y="437921"/>
                      </a:lnTo>
                      <a:lnTo>
                        <a:pt x="2333371" y="439191"/>
                      </a:lnTo>
                      <a:lnTo>
                        <a:pt x="2335822" y="440461"/>
                      </a:lnTo>
                      <a:lnTo>
                        <a:pt x="2336723" y="441731"/>
                      </a:lnTo>
                      <a:lnTo>
                        <a:pt x="2339848" y="441731"/>
                      </a:lnTo>
                      <a:lnTo>
                        <a:pt x="2340521" y="443001"/>
                      </a:lnTo>
                      <a:lnTo>
                        <a:pt x="2340521" y="440461"/>
                      </a:lnTo>
                      <a:lnTo>
                        <a:pt x="2339556" y="440461"/>
                      </a:lnTo>
                      <a:lnTo>
                        <a:pt x="2338044" y="439191"/>
                      </a:lnTo>
                      <a:lnTo>
                        <a:pt x="2337028" y="439191"/>
                      </a:lnTo>
                      <a:lnTo>
                        <a:pt x="2332952" y="436651"/>
                      </a:lnTo>
                      <a:lnTo>
                        <a:pt x="2329815" y="434111"/>
                      </a:lnTo>
                      <a:lnTo>
                        <a:pt x="2325001" y="434111"/>
                      </a:lnTo>
                      <a:lnTo>
                        <a:pt x="2323782" y="435381"/>
                      </a:lnTo>
                      <a:lnTo>
                        <a:pt x="2322296" y="435381"/>
                      </a:lnTo>
                      <a:lnTo>
                        <a:pt x="2319934" y="436651"/>
                      </a:lnTo>
                      <a:lnTo>
                        <a:pt x="2317254" y="436651"/>
                      </a:lnTo>
                      <a:lnTo>
                        <a:pt x="2314448" y="435381"/>
                      </a:lnTo>
                      <a:lnTo>
                        <a:pt x="2309901" y="435381"/>
                      </a:lnTo>
                      <a:lnTo>
                        <a:pt x="2308060" y="436651"/>
                      </a:lnTo>
                      <a:lnTo>
                        <a:pt x="2307069" y="436651"/>
                      </a:lnTo>
                      <a:lnTo>
                        <a:pt x="2304808" y="437921"/>
                      </a:lnTo>
                      <a:lnTo>
                        <a:pt x="2304072" y="437921"/>
                      </a:lnTo>
                      <a:lnTo>
                        <a:pt x="2303399" y="439191"/>
                      </a:lnTo>
                      <a:lnTo>
                        <a:pt x="2302713" y="439191"/>
                      </a:lnTo>
                      <a:lnTo>
                        <a:pt x="2303538" y="437921"/>
                      </a:lnTo>
                      <a:lnTo>
                        <a:pt x="2303665" y="436651"/>
                      </a:lnTo>
                      <a:lnTo>
                        <a:pt x="2303640" y="434111"/>
                      </a:lnTo>
                      <a:lnTo>
                        <a:pt x="2300846" y="434111"/>
                      </a:lnTo>
                      <a:lnTo>
                        <a:pt x="2300427" y="432841"/>
                      </a:lnTo>
                      <a:lnTo>
                        <a:pt x="2299424" y="431571"/>
                      </a:lnTo>
                      <a:lnTo>
                        <a:pt x="2297963" y="431571"/>
                      </a:lnTo>
                      <a:lnTo>
                        <a:pt x="2294648" y="434111"/>
                      </a:lnTo>
                      <a:lnTo>
                        <a:pt x="2291727" y="434111"/>
                      </a:lnTo>
                      <a:lnTo>
                        <a:pt x="2290064" y="432841"/>
                      </a:lnTo>
                      <a:lnTo>
                        <a:pt x="2289733" y="432841"/>
                      </a:lnTo>
                      <a:lnTo>
                        <a:pt x="2289022" y="431571"/>
                      </a:lnTo>
                      <a:lnTo>
                        <a:pt x="2288425" y="430301"/>
                      </a:lnTo>
                      <a:lnTo>
                        <a:pt x="2287752" y="429666"/>
                      </a:lnTo>
                      <a:lnTo>
                        <a:pt x="2287752" y="432841"/>
                      </a:lnTo>
                      <a:lnTo>
                        <a:pt x="2286863" y="434111"/>
                      </a:lnTo>
                      <a:lnTo>
                        <a:pt x="2285466" y="434111"/>
                      </a:lnTo>
                      <a:lnTo>
                        <a:pt x="2280767" y="436651"/>
                      </a:lnTo>
                      <a:lnTo>
                        <a:pt x="2279370" y="437921"/>
                      </a:lnTo>
                      <a:lnTo>
                        <a:pt x="2278938" y="437921"/>
                      </a:lnTo>
                      <a:lnTo>
                        <a:pt x="2278621" y="439191"/>
                      </a:lnTo>
                      <a:lnTo>
                        <a:pt x="2277783" y="439191"/>
                      </a:lnTo>
                      <a:lnTo>
                        <a:pt x="2277567" y="441731"/>
                      </a:lnTo>
                      <a:lnTo>
                        <a:pt x="2277186" y="441731"/>
                      </a:lnTo>
                      <a:lnTo>
                        <a:pt x="2276106" y="443001"/>
                      </a:lnTo>
                      <a:lnTo>
                        <a:pt x="2272436" y="444271"/>
                      </a:lnTo>
                      <a:lnTo>
                        <a:pt x="2271230" y="445541"/>
                      </a:lnTo>
                      <a:lnTo>
                        <a:pt x="2268842" y="445541"/>
                      </a:lnTo>
                      <a:lnTo>
                        <a:pt x="2266988" y="444271"/>
                      </a:lnTo>
                      <a:lnTo>
                        <a:pt x="2265311" y="444271"/>
                      </a:lnTo>
                      <a:lnTo>
                        <a:pt x="2264765" y="445541"/>
                      </a:lnTo>
                      <a:lnTo>
                        <a:pt x="2264549" y="445541"/>
                      </a:lnTo>
                      <a:lnTo>
                        <a:pt x="2263457" y="446811"/>
                      </a:lnTo>
                      <a:lnTo>
                        <a:pt x="2263127" y="446811"/>
                      </a:lnTo>
                      <a:lnTo>
                        <a:pt x="2262162" y="448081"/>
                      </a:lnTo>
                      <a:lnTo>
                        <a:pt x="2261133" y="448081"/>
                      </a:lnTo>
                      <a:lnTo>
                        <a:pt x="2260092" y="446811"/>
                      </a:lnTo>
                      <a:lnTo>
                        <a:pt x="2258339" y="446811"/>
                      </a:lnTo>
                      <a:lnTo>
                        <a:pt x="2257209" y="445541"/>
                      </a:lnTo>
                      <a:lnTo>
                        <a:pt x="2255151" y="445541"/>
                      </a:lnTo>
                      <a:lnTo>
                        <a:pt x="2252243" y="446811"/>
                      </a:lnTo>
                      <a:lnTo>
                        <a:pt x="2245360" y="444271"/>
                      </a:lnTo>
                      <a:lnTo>
                        <a:pt x="2240267" y="444271"/>
                      </a:lnTo>
                      <a:lnTo>
                        <a:pt x="2239073" y="443001"/>
                      </a:lnTo>
                      <a:lnTo>
                        <a:pt x="2236254" y="443001"/>
                      </a:lnTo>
                      <a:lnTo>
                        <a:pt x="2235746" y="441731"/>
                      </a:lnTo>
                      <a:lnTo>
                        <a:pt x="2233879" y="441731"/>
                      </a:lnTo>
                      <a:lnTo>
                        <a:pt x="2232990" y="443001"/>
                      </a:lnTo>
                      <a:lnTo>
                        <a:pt x="2232888" y="445541"/>
                      </a:lnTo>
                      <a:lnTo>
                        <a:pt x="2232622" y="446811"/>
                      </a:lnTo>
                      <a:lnTo>
                        <a:pt x="2230018" y="449351"/>
                      </a:lnTo>
                      <a:lnTo>
                        <a:pt x="2223262" y="449351"/>
                      </a:lnTo>
                      <a:lnTo>
                        <a:pt x="2219591" y="448081"/>
                      </a:lnTo>
                      <a:lnTo>
                        <a:pt x="2218766" y="446811"/>
                      </a:lnTo>
                      <a:lnTo>
                        <a:pt x="2217890" y="446811"/>
                      </a:lnTo>
                      <a:lnTo>
                        <a:pt x="2217077" y="445541"/>
                      </a:lnTo>
                      <a:lnTo>
                        <a:pt x="2214422" y="443001"/>
                      </a:lnTo>
                      <a:lnTo>
                        <a:pt x="2212340" y="443001"/>
                      </a:lnTo>
                      <a:lnTo>
                        <a:pt x="2211565" y="441731"/>
                      </a:lnTo>
                      <a:lnTo>
                        <a:pt x="2209711" y="440461"/>
                      </a:lnTo>
                      <a:lnTo>
                        <a:pt x="2208377" y="439191"/>
                      </a:lnTo>
                      <a:lnTo>
                        <a:pt x="2204186" y="435381"/>
                      </a:lnTo>
                      <a:lnTo>
                        <a:pt x="2203386" y="435381"/>
                      </a:lnTo>
                      <a:lnTo>
                        <a:pt x="2201545" y="434111"/>
                      </a:lnTo>
                      <a:lnTo>
                        <a:pt x="2201151" y="434111"/>
                      </a:lnTo>
                      <a:lnTo>
                        <a:pt x="2200567" y="432841"/>
                      </a:lnTo>
                      <a:lnTo>
                        <a:pt x="2198611" y="430301"/>
                      </a:lnTo>
                      <a:lnTo>
                        <a:pt x="2198332" y="430301"/>
                      </a:lnTo>
                      <a:lnTo>
                        <a:pt x="2198306" y="429031"/>
                      </a:lnTo>
                      <a:lnTo>
                        <a:pt x="2199716" y="426491"/>
                      </a:lnTo>
                      <a:lnTo>
                        <a:pt x="2199652" y="425221"/>
                      </a:lnTo>
                      <a:lnTo>
                        <a:pt x="2199043" y="425221"/>
                      </a:lnTo>
                      <a:lnTo>
                        <a:pt x="2197570" y="423951"/>
                      </a:lnTo>
                      <a:lnTo>
                        <a:pt x="2196554" y="422681"/>
                      </a:lnTo>
                      <a:lnTo>
                        <a:pt x="2196363" y="422681"/>
                      </a:lnTo>
                      <a:lnTo>
                        <a:pt x="2196465" y="421411"/>
                      </a:lnTo>
                      <a:lnTo>
                        <a:pt x="2197176" y="421411"/>
                      </a:lnTo>
                      <a:lnTo>
                        <a:pt x="2197366" y="420141"/>
                      </a:lnTo>
                      <a:lnTo>
                        <a:pt x="2198408" y="418871"/>
                      </a:lnTo>
                      <a:lnTo>
                        <a:pt x="2199259" y="418871"/>
                      </a:lnTo>
                      <a:lnTo>
                        <a:pt x="2200046" y="417601"/>
                      </a:lnTo>
                      <a:lnTo>
                        <a:pt x="2201062" y="417601"/>
                      </a:lnTo>
                      <a:lnTo>
                        <a:pt x="2204656" y="418871"/>
                      </a:lnTo>
                      <a:lnTo>
                        <a:pt x="2206307" y="417601"/>
                      </a:lnTo>
                      <a:lnTo>
                        <a:pt x="2207971" y="416331"/>
                      </a:lnTo>
                      <a:lnTo>
                        <a:pt x="2209787" y="415061"/>
                      </a:lnTo>
                      <a:lnTo>
                        <a:pt x="2212683" y="413791"/>
                      </a:lnTo>
                      <a:lnTo>
                        <a:pt x="2215680" y="412521"/>
                      </a:lnTo>
                      <a:lnTo>
                        <a:pt x="2217407" y="411251"/>
                      </a:lnTo>
                      <a:lnTo>
                        <a:pt x="2219591" y="411251"/>
                      </a:lnTo>
                      <a:lnTo>
                        <a:pt x="2219236" y="409981"/>
                      </a:lnTo>
                      <a:lnTo>
                        <a:pt x="2220023" y="411251"/>
                      </a:lnTo>
                      <a:lnTo>
                        <a:pt x="2224011" y="409981"/>
                      </a:lnTo>
                      <a:lnTo>
                        <a:pt x="2224722" y="408711"/>
                      </a:lnTo>
                      <a:lnTo>
                        <a:pt x="2225675" y="408711"/>
                      </a:lnTo>
                      <a:lnTo>
                        <a:pt x="2225738" y="407441"/>
                      </a:lnTo>
                      <a:lnTo>
                        <a:pt x="2225598" y="406171"/>
                      </a:lnTo>
                      <a:lnTo>
                        <a:pt x="2227097" y="406171"/>
                      </a:lnTo>
                      <a:lnTo>
                        <a:pt x="2227872" y="407441"/>
                      </a:lnTo>
                      <a:lnTo>
                        <a:pt x="2229497" y="408711"/>
                      </a:lnTo>
                      <a:lnTo>
                        <a:pt x="2230805" y="408711"/>
                      </a:lnTo>
                      <a:lnTo>
                        <a:pt x="2231174" y="409981"/>
                      </a:lnTo>
                      <a:lnTo>
                        <a:pt x="2232901" y="408711"/>
                      </a:lnTo>
                      <a:lnTo>
                        <a:pt x="2234603" y="408711"/>
                      </a:lnTo>
                      <a:lnTo>
                        <a:pt x="2235174" y="407441"/>
                      </a:lnTo>
                      <a:lnTo>
                        <a:pt x="2235479" y="407441"/>
                      </a:lnTo>
                      <a:lnTo>
                        <a:pt x="2235530" y="406171"/>
                      </a:lnTo>
                      <a:lnTo>
                        <a:pt x="2236101" y="406171"/>
                      </a:lnTo>
                      <a:lnTo>
                        <a:pt x="2236317" y="407441"/>
                      </a:lnTo>
                      <a:lnTo>
                        <a:pt x="2237117" y="408711"/>
                      </a:lnTo>
                      <a:lnTo>
                        <a:pt x="2237765" y="408711"/>
                      </a:lnTo>
                      <a:lnTo>
                        <a:pt x="2238210" y="409981"/>
                      </a:lnTo>
                      <a:lnTo>
                        <a:pt x="2239035" y="409981"/>
                      </a:lnTo>
                      <a:lnTo>
                        <a:pt x="2239657" y="411251"/>
                      </a:lnTo>
                      <a:lnTo>
                        <a:pt x="2241296" y="411251"/>
                      </a:lnTo>
                      <a:lnTo>
                        <a:pt x="2249728" y="413791"/>
                      </a:lnTo>
                      <a:lnTo>
                        <a:pt x="2252815" y="413791"/>
                      </a:lnTo>
                      <a:lnTo>
                        <a:pt x="2252751" y="415061"/>
                      </a:lnTo>
                      <a:lnTo>
                        <a:pt x="2250986" y="415061"/>
                      </a:lnTo>
                      <a:lnTo>
                        <a:pt x="2250694" y="416331"/>
                      </a:lnTo>
                      <a:lnTo>
                        <a:pt x="2250363" y="417601"/>
                      </a:lnTo>
                      <a:lnTo>
                        <a:pt x="2251824" y="418871"/>
                      </a:lnTo>
                      <a:lnTo>
                        <a:pt x="2252218" y="418871"/>
                      </a:lnTo>
                      <a:lnTo>
                        <a:pt x="2253361" y="420141"/>
                      </a:lnTo>
                      <a:lnTo>
                        <a:pt x="2253665" y="420141"/>
                      </a:lnTo>
                      <a:lnTo>
                        <a:pt x="2255634" y="422681"/>
                      </a:lnTo>
                      <a:lnTo>
                        <a:pt x="2257412" y="422681"/>
                      </a:lnTo>
                      <a:lnTo>
                        <a:pt x="2258593" y="423951"/>
                      </a:lnTo>
                      <a:lnTo>
                        <a:pt x="2261819" y="421411"/>
                      </a:lnTo>
                      <a:lnTo>
                        <a:pt x="2262632" y="421411"/>
                      </a:lnTo>
                      <a:lnTo>
                        <a:pt x="2265451" y="423951"/>
                      </a:lnTo>
                      <a:lnTo>
                        <a:pt x="2264118" y="420141"/>
                      </a:lnTo>
                      <a:lnTo>
                        <a:pt x="2263546" y="417601"/>
                      </a:lnTo>
                      <a:lnTo>
                        <a:pt x="2268461" y="420141"/>
                      </a:lnTo>
                      <a:lnTo>
                        <a:pt x="2270722" y="420141"/>
                      </a:lnTo>
                      <a:lnTo>
                        <a:pt x="2270442" y="421411"/>
                      </a:lnTo>
                      <a:lnTo>
                        <a:pt x="2270277" y="422681"/>
                      </a:lnTo>
                      <a:lnTo>
                        <a:pt x="2271001" y="422681"/>
                      </a:lnTo>
                      <a:lnTo>
                        <a:pt x="2271547" y="423951"/>
                      </a:lnTo>
                      <a:lnTo>
                        <a:pt x="2272334" y="423951"/>
                      </a:lnTo>
                      <a:lnTo>
                        <a:pt x="2273681" y="425221"/>
                      </a:lnTo>
                      <a:lnTo>
                        <a:pt x="2274811" y="426491"/>
                      </a:lnTo>
                      <a:lnTo>
                        <a:pt x="2276538" y="426491"/>
                      </a:lnTo>
                      <a:lnTo>
                        <a:pt x="2277021" y="425221"/>
                      </a:lnTo>
                      <a:lnTo>
                        <a:pt x="2279345" y="425221"/>
                      </a:lnTo>
                      <a:lnTo>
                        <a:pt x="2279878" y="426491"/>
                      </a:lnTo>
                      <a:lnTo>
                        <a:pt x="2284399" y="429031"/>
                      </a:lnTo>
                      <a:lnTo>
                        <a:pt x="2286736" y="431571"/>
                      </a:lnTo>
                      <a:lnTo>
                        <a:pt x="2287295" y="432841"/>
                      </a:lnTo>
                      <a:lnTo>
                        <a:pt x="2287752" y="432841"/>
                      </a:lnTo>
                      <a:lnTo>
                        <a:pt x="2287752" y="429666"/>
                      </a:lnTo>
                      <a:lnTo>
                        <a:pt x="2287105" y="429031"/>
                      </a:lnTo>
                      <a:lnTo>
                        <a:pt x="2285847" y="426491"/>
                      </a:lnTo>
                      <a:lnTo>
                        <a:pt x="2283396" y="425221"/>
                      </a:lnTo>
                      <a:lnTo>
                        <a:pt x="2280945" y="423951"/>
                      </a:lnTo>
                      <a:lnTo>
                        <a:pt x="2279891" y="423951"/>
                      </a:lnTo>
                      <a:lnTo>
                        <a:pt x="2278164" y="422681"/>
                      </a:lnTo>
                      <a:lnTo>
                        <a:pt x="2277249" y="422681"/>
                      </a:lnTo>
                      <a:lnTo>
                        <a:pt x="2275954" y="423951"/>
                      </a:lnTo>
                      <a:lnTo>
                        <a:pt x="2274951" y="423951"/>
                      </a:lnTo>
                      <a:lnTo>
                        <a:pt x="2274100" y="422681"/>
                      </a:lnTo>
                      <a:lnTo>
                        <a:pt x="2273477" y="422681"/>
                      </a:lnTo>
                      <a:lnTo>
                        <a:pt x="2274201" y="421411"/>
                      </a:lnTo>
                      <a:lnTo>
                        <a:pt x="2274341" y="420141"/>
                      </a:lnTo>
                      <a:lnTo>
                        <a:pt x="2274112" y="418871"/>
                      </a:lnTo>
                      <a:lnTo>
                        <a:pt x="2273782" y="415061"/>
                      </a:lnTo>
                      <a:lnTo>
                        <a:pt x="2272322" y="417601"/>
                      </a:lnTo>
                      <a:lnTo>
                        <a:pt x="2269502" y="417601"/>
                      </a:lnTo>
                      <a:lnTo>
                        <a:pt x="2265388" y="416331"/>
                      </a:lnTo>
                      <a:lnTo>
                        <a:pt x="2261844" y="415061"/>
                      </a:lnTo>
                      <a:lnTo>
                        <a:pt x="2259711" y="415061"/>
                      </a:lnTo>
                      <a:lnTo>
                        <a:pt x="2261578" y="418871"/>
                      </a:lnTo>
                      <a:lnTo>
                        <a:pt x="2261425" y="418871"/>
                      </a:lnTo>
                      <a:lnTo>
                        <a:pt x="2260930" y="420141"/>
                      </a:lnTo>
                      <a:lnTo>
                        <a:pt x="2258491" y="421411"/>
                      </a:lnTo>
                      <a:lnTo>
                        <a:pt x="2257729" y="421411"/>
                      </a:lnTo>
                      <a:lnTo>
                        <a:pt x="2257056" y="420141"/>
                      </a:lnTo>
                      <a:lnTo>
                        <a:pt x="2255101" y="418871"/>
                      </a:lnTo>
                      <a:lnTo>
                        <a:pt x="2254427" y="417601"/>
                      </a:lnTo>
                      <a:lnTo>
                        <a:pt x="2253602" y="417601"/>
                      </a:lnTo>
                      <a:lnTo>
                        <a:pt x="2252916" y="416331"/>
                      </a:lnTo>
                      <a:lnTo>
                        <a:pt x="2254059" y="416331"/>
                      </a:lnTo>
                      <a:lnTo>
                        <a:pt x="2254720" y="415061"/>
                      </a:lnTo>
                      <a:lnTo>
                        <a:pt x="2254935" y="415061"/>
                      </a:lnTo>
                      <a:lnTo>
                        <a:pt x="2254935" y="413791"/>
                      </a:lnTo>
                      <a:lnTo>
                        <a:pt x="2254770" y="412521"/>
                      </a:lnTo>
                      <a:lnTo>
                        <a:pt x="2254313" y="411251"/>
                      </a:lnTo>
                      <a:lnTo>
                        <a:pt x="2250046" y="411251"/>
                      </a:lnTo>
                      <a:lnTo>
                        <a:pt x="2241334" y="408711"/>
                      </a:lnTo>
                      <a:lnTo>
                        <a:pt x="2239810" y="408711"/>
                      </a:lnTo>
                      <a:lnTo>
                        <a:pt x="2237638" y="404901"/>
                      </a:lnTo>
                      <a:lnTo>
                        <a:pt x="2234882" y="404901"/>
                      </a:lnTo>
                      <a:lnTo>
                        <a:pt x="2235162" y="403631"/>
                      </a:lnTo>
                      <a:lnTo>
                        <a:pt x="2235289" y="403631"/>
                      </a:lnTo>
                      <a:lnTo>
                        <a:pt x="2235416" y="402361"/>
                      </a:lnTo>
                      <a:lnTo>
                        <a:pt x="2235428" y="399821"/>
                      </a:lnTo>
                      <a:lnTo>
                        <a:pt x="2235276" y="398551"/>
                      </a:lnTo>
                      <a:lnTo>
                        <a:pt x="2234552" y="397281"/>
                      </a:lnTo>
                      <a:lnTo>
                        <a:pt x="2231733" y="396011"/>
                      </a:lnTo>
                      <a:lnTo>
                        <a:pt x="2231555" y="394741"/>
                      </a:lnTo>
                      <a:lnTo>
                        <a:pt x="2231288" y="393471"/>
                      </a:lnTo>
                      <a:lnTo>
                        <a:pt x="2230945" y="392201"/>
                      </a:lnTo>
                      <a:lnTo>
                        <a:pt x="2229523" y="390931"/>
                      </a:lnTo>
                      <a:lnTo>
                        <a:pt x="2230640" y="388391"/>
                      </a:lnTo>
                      <a:lnTo>
                        <a:pt x="2231034" y="387121"/>
                      </a:lnTo>
                      <a:lnTo>
                        <a:pt x="2230971" y="383311"/>
                      </a:lnTo>
                      <a:lnTo>
                        <a:pt x="2230856" y="382041"/>
                      </a:lnTo>
                      <a:lnTo>
                        <a:pt x="2230043" y="382041"/>
                      </a:lnTo>
                      <a:lnTo>
                        <a:pt x="2229942" y="380771"/>
                      </a:lnTo>
                      <a:lnTo>
                        <a:pt x="2228697" y="379501"/>
                      </a:lnTo>
                      <a:lnTo>
                        <a:pt x="2230183" y="376961"/>
                      </a:lnTo>
                      <a:lnTo>
                        <a:pt x="2229624" y="374421"/>
                      </a:lnTo>
                      <a:lnTo>
                        <a:pt x="2229205" y="374421"/>
                      </a:lnTo>
                      <a:lnTo>
                        <a:pt x="2228126" y="373151"/>
                      </a:lnTo>
                      <a:lnTo>
                        <a:pt x="2227084" y="373151"/>
                      </a:lnTo>
                      <a:lnTo>
                        <a:pt x="2224252" y="370611"/>
                      </a:lnTo>
                      <a:lnTo>
                        <a:pt x="2224036" y="369341"/>
                      </a:lnTo>
                      <a:lnTo>
                        <a:pt x="2223363" y="369341"/>
                      </a:lnTo>
                      <a:lnTo>
                        <a:pt x="2224176" y="368071"/>
                      </a:lnTo>
                      <a:lnTo>
                        <a:pt x="2225065" y="368071"/>
                      </a:lnTo>
                      <a:lnTo>
                        <a:pt x="2226145" y="366801"/>
                      </a:lnTo>
                      <a:lnTo>
                        <a:pt x="2226830" y="361721"/>
                      </a:lnTo>
                      <a:lnTo>
                        <a:pt x="2226348" y="359181"/>
                      </a:lnTo>
                      <a:lnTo>
                        <a:pt x="2225840" y="357911"/>
                      </a:lnTo>
                      <a:lnTo>
                        <a:pt x="2225573" y="356641"/>
                      </a:lnTo>
                      <a:lnTo>
                        <a:pt x="2224532" y="352831"/>
                      </a:lnTo>
                      <a:lnTo>
                        <a:pt x="2222500" y="354101"/>
                      </a:lnTo>
                      <a:lnTo>
                        <a:pt x="2223541" y="357911"/>
                      </a:lnTo>
                      <a:lnTo>
                        <a:pt x="2223808" y="357911"/>
                      </a:lnTo>
                      <a:lnTo>
                        <a:pt x="2224646" y="361721"/>
                      </a:lnTo>
                      <a:lnTo>
                        <a:pt x="2224214" y="365531"/>
                      </a:lnTo>
                      <a:lnTo>
                        <a:pt x="2223541" y="366801"/>
                      </a:lnTo>
                      <a:lnTo>
                        <a:pt x="2221890" y="366801"/>
                      </a:lnTo>
                      <a:lnTo>
                        <a:pt x="2221357" y="368071"/>
                      </a:lnTo>
                      <a:lnTo>
                        <a:pt x="2221001" y="369341"/>
                      </a:lnTo>
                      <a:lnTo>
                        <a:pt x="2221738" y="370611"/>
                      </a:lnTo>
                      <a:lnTo>
                        <a:pt x="2222944" y="371881"/>
                      </a:lnTo>
                      <a:lnTo>
                        <a:pt x="2223808" y="373151"/>
                      </a:lnTo>
                      <a:lnTo>
                        <a:pt x="2225751" y="374421"/>
                      </a:lnTo>
                      <a:lnTo>
                        <a:pt x="2227351" y="375691"/>
                      </a:lnTo>
                      <a:lnTo>
                        <a:pt x="2227846" y="375691"/>
                      </a:lnTo>
                      <a:lnTo>
                        <a:pt x="2226475" y="378231"/>
                      </a:lnTo>
                      <a:lnTo>
                        <a:pt x="2226564" y="380771"/>
                      </a:lnTo>
                      <a:lnTo>
                        <a:pt x="2227097" y="380771"/>
                      </a:lnTo>
                      <a:lnTo>
                        <a:pt x="2228075" y="382041"/>
                      </a:lnTo>
                      <a:lnTo>
                        <a:pt x="2228354" y="383311"/>
                      </a:lnTo>
                      <a:lnTo>
                        <a:pt x="2228875" y="383311"/>
                      </a:lnTo>
                      <a:lnTo>
                        <a:pt x="2229078" y="385851"/>
                      </a:lnTo>
                      <a:lnTo>
                        <a:pt x="2228939" y="387121"/>
                      </a:lnTo>
                      <a:lnTo>
                        <a:pt x="2227097" y="390931"/>
                      </a:lnTo>
                      <a:lnTo>
                        <a:pt x="2229027" y="393471"/>
                      </a:lnTo>
                      <a:lnTo>
                        <a:pt x="2229243" y="394741"/>
                      </a:lnTo>
                      <a:lnTo>
                        <a:pt x="2229497" y="396011"/>
                      </a:lnTo>
                      <a:lnTo>
                        <a:pt x="2232850" y="398551"/>
                      </a:lnTo>
                      <a:lnTo>
                        <a:pt x="2233320" y="399821"/>
                      </a:lnTo>
                      <a:lnTo>
                        <a:pt x="2233701" y="401091"/>
                      </a:lnTo>
                      <a:lnTo>
                        <a:pt x="2233320" y="403631"/>
                      </a:lnTo>
                      <a:lnTo>
                        <a:pt x="2232126" y="404901"/>
                      </a:lnTo>
                      <a:lnTo>
                        <a:pt x="2232609" y="406171"/>
                      </a:lnTo>
                      <a:lnTo>
                        <a:pt x="2229142" y="406171"/>
                      </a:lnTo>
                      <a:lnTo>
                        <a:pt x="2227986" y="404901"/>
                      </a:lnTo>
                      <a:lnTo>
                        <a:pt x="2225205" y="404901"/>
                      </a:lnTo>
                      <a:lnTo>
                        <a:pt x="2222766" y="402361"/>
                      </a:lnTo>
                      <a:lnTo>
                        <a:pt x="2223579" y="407441"/>
                      </a:lnTo>
                      <a:lnTo>
                        <a:pt x="2221700" y="407441"/>
                      </a:lnTo>
                      <a:lnTo>
                        <a:pt x="2218880" y="408711"/>
                      </a:lnTo>
                      <a:lnTo>
                        <a:pt x="2216632" y="409981"/>
                      </a:lnTo>
                      <a:lnTo>
                        <a:pt x="2214905" y="409981"/>
                      </a:lnTo>
                      <a:lnTo>
                        <a:pt x="2211705" y="411251"/>
                      </a:lnTo>
                      <a:lnTo>
                        <a:pt x="2208644" y="413791"/>
                      </a:lnTo>
                      <a:lnTo>
                        <a:pt x="2206879" y="415061"/>
                      </a:lnTo>
                      <a:lnTo>
                        <a:pt x="2204453" y="416331"/>
                      </a:lnTo>
                      <a:lnTo>
                        <a:pt x="2198293" y="416331"/>
                      </a:lnTo>
                      <a:lnTo>
                        <a:pt x="2196985" y="417601"/>
                      </a:lnTo>
                      <a:lnTo>
                        <a:pt x="2195626" y="418871"/>
                      </a:lnTo>
                      <a:lnTo>
                        <a:pt x="2195449" y="420141"/>
                      </a:lnTo>
                      <a:lnTo>
                        <a:pt x="2194852" y="420141"/>
                      </a:lnTo>
                      <a:lnTo>
                        <a:pt x="2193480" y="417601"/>
                      </a:lnTo>
                      <a:lnTo>
                        <a:pt x="2189188" y="413791"/>
                      </a:lnTo>
                      <a:lnTo>
                        <a:pt x="2191905" y="420141"/>
                      </a:lnTo>
                      <a:lnTo>
                        <a:pt x="2193975" y="423951"/>
                      </a:lnTo>
                      <a:lnTo>
                        <a:pt x="2196528" y="425221"/>
                      </a:lnTo>
                      <a:lnTo>
                        <a:pt x="2197290" y="426491"/>
                      </a:lnTo>
                      <a:lnTo>
                        <a:pt x="2195677" y="429031"/>
                      </a:lnTo>
                      <a:lnTo>
                        <a:pt x="2196223" y="430301"/>
                      </a:lnTo>
                      <a:lnTo>
                        <a:pt x="2196439" y="431571"/>
                      </a:lnTo>
                      <a:lnTo>
                        <a:pt x="2197366" y="432841"/>
                      </a:lnTo>
                      <a:lnTo>
                        <a:pt x="2198967" y="434111"/>
                      </a:lnTo>
                      <a:lnTo>
                        <a:pt x="2199944" y="435381"/>
                      </a:lnTo>
                      <a:lnTo>
                        <a:pt x="2202103" y="436651"/>
                      </a:lnTo>
                      <a:lnTo>
                        <a:pt x="2204288" y="439191"/>
                      </a:lnTo>
                      <a:lnTo>
                        <a:pt x="2207018" y="440461"/>
                      </a:lnTo>
                      <a:lnTo>
                        <a:pt x="2208238" y="441731"/>
                      </a:lnTo>
                      <a:lnTo>
                        <a:pt x="2210219" y="444271"/>
                      </a:lnTo>
                      <a:lnTo>
                        <a:pt x="2211717" y="444271"/>
                      </a:lnTo>
                      <a:lnTo>
                        <a:pt x="2212848" y="445541"/>
                      </a:lnTo>
                      <a:lnTo>
                        <a:pt x="2215451" y="446811"/>
                      </a:lnTo>
                      <a:lnTo>
                        <a:pt x="2216124" y="448081"/>
                      </a:lnTo>
                      <a:lnTo>
                        <a:pt x="2215870" y="448081"/>
                      </a:lnTo>
                      <a:lnTo>
                        <a:pt x="2215705" y="449351"/>
                      </a:lnTo>
                      <a:lnTo>
                        <a:pt x="2215438" y="449351"/>
                      </a:lnTo>
                      <a:lnTo>
                        <a:pt x="2215235" y="450621"/>
                      </a:lnTo>
                      <a:lnTo>
                        <a:pt x="2213546" y="450621"/>
                      </a:lnTo>
                      <a:lnTo>
                        <a:pt x="2213152" y="449351"/>
                      </a:lnTo>
                      <a:lnTo>
                        <a:pt x="2212492" y="449351"/>
                      </a:lnTo>
                      <a:lnTo>
                        <a:pt x="2211794" y="450621"/>
                      </a:lnTo>
                      <a:lnTo>
                        <a:pt x="2210943" y="450621"/>
                      </a:lnTo>
                      <a:lnTo>
                        <a:pt x="2210727" y="451891"/>
                      </a:lnTo>
                      <a:lnTo>
                        <a:pt x="2210727" y="454431"/>
                      </a:lnTo>
                      <a:lnTo>
                        <a:pt x="2210054" y="454431"/>
                      </a:lnTo>
                      <a:lnTo>
                        <a:pt x="2208403" y="455701"/>
                      </a:lnTo>
                      <a:lnTo>
                        <a:pt x="2206142" y="455701"/>
                      </a:lnTo>
                      <a:lnTo>
                        <a:pt x="2202967" y="456971"/>
                      </a:lnTo>
                      <a:lnTo>
                        <a:pt x="2201316" y="458241"/>
                      </a:lnTo>
                      <a:lnTo>
                        <a:pt x="2200872" y="460781"/>
                      </a:lnTo>
                      <a:lnTo>
                        <a:pt x="2201672" y="460781"/>
                      </a:lnTo>
                      <a:lnTo>
                        <a:pt x="2204288" y="464591"/>
                      </a:lnTo>
                      <a:lnTo>
                        <a:pt x="2204440" y="464591"/>
                      </a:lnTo>
                      <a:lnTo>
                        <a:pt x="2203577" y="465861"/>
                      </a:lnTo>
                      <a:lnTo>
                        <a:pt x="2202802" y="467131"/>
                      </a:lnTo>
                      <a:lnTo>
                        <a:pt x="2205126" y="467131"/>
                      </a:lnTo>
                      <a:lnTo>
                        <a:pt x="2205126" y="469671"/>
                      </a:lnTo>
                      <a:lnTo>
                        <a:pt x="2202180" y="467131"/>
                      </a:lnTo>
                      <a:lnTo>
                        <a:pt x="2201697" y="465861"/>
                      </a:lnTo>
                      <a:lnTo>
                        <a:pt x="2200872" y="465861"/>
                      </a:lnTo>
                      <a:lnTo>
                        <a:pt x="2200529" y="467131"/>
                      </a:lnTo>
                      <a:lnTo>
                        <a:pt x="2198446" y="467131"/>
                      </a:lnTo>
                      <a:lnTo>
                        <a:pt x="2197341" y="465861"/>
                      </a:lnTo>
                      <a:lnTo>
                        <a:pt x="2195690" y="465861"/>
                      </a:lnTo>
                      <a:lnTo>
                        <a:pt x="2192515" y="467131"/>
                      </a:lnTo>
                      <a:lnTo>
                        <a:pt x="2191499" y="467131"/>
                      </a:lnTo>
                      <a:lnTo>
                        <a:pt x="2190826" y="468401"/>
                      </a:lnTo>
                      <a:lnTo>
                        <a:pt x="2183168" y="468401"/>
                      </a:lnTo>
                      <a:lnTo>
                        <a:pt x="2182088" y="469671"/>
                      </a:lnTo>
                      <a:lnTo>
                        <a:pt x="2181999" y="470941"/>
                      </a:lnTo>
                      <a:lnTo>
                        <a:pt x="2177211" y="470941"/>
                      </a:lnTo>
                      <a:lnTo>
                        <a:pt x="2176462" y="469671"/>
                      </a:lnTo>
                      <a:lnTo>
                        <a:pt x="2168309" y="468401"/>
                      </a:lnTo>
                      <a:lnTo>
                        <a:pt x="2168360" y="470941"/>
                      </a:lnTo>
                      <a:lnTo>
                        <a:pt x="2167979" y="472211"/>
                      </a:lnTo>
                      <a:lnTo>
                        <a:pt x="2166061" y="472211"/>
                      </a:lnTo>
                      <a:lnTo>
                        <a:pt x="2165616" y="470941"/>
                      </a:lnTo>
                      <a:lnTo>
                        <a:pt x="2163546" y="469671"/>
                      </a:lnTo>
                      <a:lnTo>
                        <a:pt x="2162492" y="469671"/>
                      </a:lnTo>
                      <a:lnTo>
                        <a:pt x="2161641" y="468401"/>
                      </a:lnTo>
                      <a:lnTo>
                        <a:pt x="2155253" y="468401"/>
                      </a:lnTo>
                      <a:lnTo>
                        <a:pt x="2153158" y="467131"/>
                      </a:lnTo>
                      <a:lnTo>
                        <a:pt x="2145931" y="467131"/>
                      </a:lnTo>
                      <a:lnTo>
                        <a:pt x="2145017" y="465861"/>
                      </a:lnTo>
                      <a:lnTo>
                        <a:pt x="2144496" y="465861"/>
                      </a:lnTo>
                      <a:lnTo>
                        <a:pt x="2143760" y="464591"/>
                      </a:lnTo>
                      <a:lnTo>
                        <a:pt x="2143239" y="463321"/>
                      </a:lnTo>
                      <a:lnTo>
                        <a:pt x="2141829" y="464591"/>
                      </a:lnTo>
                      <a:lnTo>
                        <a:pt x="2140191" y="464591"/>
                      </a:lnTo>
                      <a:lnTo>
                        <a:pt x="2139581" y="465861"/>
                      </a:lnTo>
                      <a:lnTo>
                        <a:pt x="2139607" y="467131"/>
                      </a:lnTo>
                      <a:lnTo>
                        <a:pt x="2140051" y="468401"/>
                      </a:lnTo>
                      <a:lnTo>
                        <a:pt x="2129091" y="468401"/>
                      </a:lnTo>
                      <a:lnTo>
                        <a:pt x="2128647" y="467131"/>
                      </a:lnTo>
                      <a:lnTo>
                        <a:pt x="2128583" y="465861"/>
                      </a:lnTo>
                      <a:lnTo>
                        <a:pt x="2128634" y="462051"/>
                      </a:lnTo>
                      <a:lnTo>
                        <a:pt x="2128748" y="460781"/>
                      </a:lnTo>
                      <a:lnTo>
                        <a:pt x="2128990" y="459511"/>
                      </a:lnTo>
                      <a:lnTo>
                        <a:pt x="2129713" y="458241"/>
                      </a:lnTo>
                      <a:lnTo>
                        <a:pt x="2130374" y="456971"/>
                      </a:lnTo>
                      <a:lnTo>
                        <a:pt x="2131441" y="455701"/>
                      </a:lnTo>
                      <a:lnTo>
                        <a:pt x="2133308" y="451891"/>
                      </a:lnTo>
                      <a:lnTo>
                        <a:pt x="2134920" y="448081"/>
                      </a:lnTo>
                      <a:lnTo>
                        <a:pt x="2139111" y="443001"/>
                      </a:lnTo>
                      <a:lnTo>
                        <a:pt x="2136851" y="443001"/>
                      </a:lnTo>
                      <a:lnTo>
                        <a:pt x="2132914" y="441731"/>
                      </a:lnTo>
                      <a:lnTo>
                        <a:pt x="2129129" y="441731"/>
                      </a:lnTo>
                      <a:lnTo>
                        <a:pt x="2128824" y="440461"/>
                      </a:lnTo>
                      <a:lnTo>
                        <a:pt x="2125700" y="439191"/>
                      </a:lnTo>
                      <a:lnTo>
                        <a:pt x="2117267" y="439191"/>
                      </a:lnTo>
                      <a:lnTo>
                        <a:pt x="2116493" y="437921"/>
                      </a:lnTo>
                      <a:lnTo>
                        <a:pt x="2113750" y="435381"/>
                      </a:lnTo>
                      <a:lnTo>
                        <a:pt x="2111629" y="434111"/>
                      </a:lnTo>
                      <a:lnTo>
                        <a:pt x="2111425" y="434111"/>
                      </a:lnTo>
                      <a:lnTo>
                        <a:pt x="2111629" y="432841"/>
                      </a:lnTo>
                      <a:lnTo>
                        <a:pt x="2113788" y="429031"/>
                      </a:lnTo>
                      <a:lnTo>
                        <a:pt x="2112619" y="427761"/>
                      </a:lnTo>
                      <a:lnTo>
                        <a:pt x="2111756" y="426491"/>
                      </a:lnTo>
                      <a:lnTo>
                        <a:pt x="2111298" y="426491"/>
                      </a:lnTo>
                      <a:lnTo>
                        <a:pt x="2111298" y="429031"/>
                      </a:lnTo>
                      <a:lnTo>
                        <a:pt x="2110041" y="431571"/>
                      </a:lnTo>
                      <a:lnTo>
                        <a:pt x="2109787" y="432841"/>
                      </a:lnTo>
                      <a:lnTo>
                        <a:pt x="2104580" y="432841"/>
                      </a:lnTo>
                      <a:lnTo>
                        <a:pt x="2104682" y="431571"/>
                      </a:lnTo>
                      <a:lnTo>
                        <a:pt x="2104669" y="430301"/>
                      </a:lnTo>
                      <a:lnTo>
                        <a:pt x="2104326" y="429031"/>
                      </a:lnTo>
                      <a:lnTo>
                        <a:pt x="2103183" y="427761"/>
                      </a:lnTo>
                      <a:lnTo>
                        <a:pt x="2103272" y="426491"/>
                      </a:lnTo>
                      <a:lnTo>
                        <a:pt x="2103666" y="425221"/>
                      </a:lnTo>
                      <a:lnTo>
                        <a:pt x="2104326" y="423951"/>
                      </a:lnTo>
                      <a:lnTo>
                        <a:pt x="2104821" y="423951"/>
                      </a:lnTo>
                      <a:lnTo>
                        <a:pt x="2105240" y="422681"/>
                      </a:lnTo>
                      <a:lnTo>
                        <a:pt x="2106295" y="422681"/>
                      </a:lnTo>
                      <a:lnTo>
                        <a:pt x="2106422" y="423951"/>
                      </a:lnTo>
                      <a:lnTo>
                        <a:pt x="2106765" y="426491"/>
                      </a:lnTo>
                      <a:lnTo>
                        <a:pt x="2107666" y="427761"/>
                      </a:lnTo>
                      <a:lnTo>
                        <a:pt x="2109736" y="429031"/>
                      </a:lnTo>
                      <a:lnTo>
                        <a:pt x="2111298" y="429031"/>
                      </a:lnTo>
                      <a:lnTo>
                        <a:pt x="2111298" y="426491"/>
                      </a:lnTo>
                      <a:lnTo>
                        <a:pt x="2110409" y="426491"/>
                      </a:lnTo>
                      <a:lnTo>
                        <a:pt x="2108962" y="425221"/>
                      </a:lnTo>
                      <a:lnTo>
                        <a:pt x="2108746" y="425221"/>
                      </a:lnTo>
                      <a:lnTo>
                        <a:pt x="2108568" y="423951"/>
                      </a:lnTo>
                      <a:lnTo>
                        <a:pt x="2108517" y="422681"/>
                      </a:lnTo>
                      <a:lnTo>
                        <a:pt x="2109444" y="423951"/>
                      </a:lnTo>
                      <a:lnTo>
                        <a:pt x="2108581" y="422681"/>
                      </a:lnTo>
                      <a:lnTo>
                        <a:pt x="2109076" y="422681"/>
                      </a:lnTo>
                      <a:lnTo>
                        <a:pt x="2110092" y="421411"/>
                      </a:lnTo>
                      <a:lnTo>
                        <a:pt x="2112403" y="418871"/>
                      </a:lnTo>
                      <a:lnTo>
                        <a:pt x="2111387" y="416331"/>
                      </a:lnTo>
                      <a:lnTo>
                        <a:pt x="2110473" y="415061"/>
                      </a:lnTo>
                      <a:lnTo>
                        <a:pt x="2109432" y="413791"/>
                      </a:lnTo>
                      <a:lnTo>
                        <a:pt x="2107908" y="411251"/>
                      </a:lnTo>
                      <a:lnTo>
                        <a:pt x="2107692" y="411251"/>
                      </a:lnTo>
                      <a:lnTo>
                        <a:pt x="2106447" y="409981"/>
                      </a:lnTo>
                      <a:lnTo>
                        <a:pt x="2106587" y="409981"/>
                      </a:lnTo>
                      <a:lnTo>
                        <a:pt x="2106968" y="408711"/>
                      </a:lnTo>
                      <a:lnTo>
                        <a:pt x="2107412" y="408711"/>
                      </a:lnTo>
                      <a:lnTo>
                        <a:pt x="2107412" y="407441"/>
                      </a:lnTo>
                      <a:lnTo>
                        <a:pt x="2107285" y="407441"/>
                      </a:lnTo>
                      <a:lnTo>
                        <a:pt x="2107120" y="406171"/>
                      </a:lnTo>
                      <a:lnTo>
                        <a:pt x="2105685" y="406171"/>
                      </a:lnTo>
                      <a:lnTo>
                        <a:pt x="2105190" y="404901"/>
                      </a:lnTo>
                      <a:lnTo>
                        <a:pt x="2106041" y="404901"/>
                      </a:lnTo>
                      <a:lnTo>
                        <a:pt x="2107831" y="403631"/>
                      </a:lnTo>
                      <a:lnTo>
                        <a:pt x="2112314" y="402361"/>
                      </a:lnTo>
                      <a:lnTo>
                        <a:pt x="2107692" y="402361"/>
                      </a:lnTo>
                      <a:lnTo>
                        <a:pt x="2107831" y="401091"/>
                      </a:lnTo>
                      <a:lnTo>
                        <a:pt x="2108327" y="401091"/>
                      </a:lnTo>
                      <a:lnTo>
                        <a:pt x="2109889" y="398551"/>
                      </a:lnTo>
                      <a:lnTo>
                        <a:pt x="2110054" y="397281"/>
                      </a:lnTo>
                      <a:lnTo>
                        <a:pt x="2106853" y="392201"/>
                      </a:lnTo>
                      <a:lnTo>
                        <a:pt x="2105774" y="390931"/>
                      </a:lnTo>
                      <a:lnTo>
                        <a:pt x="2106168" y="390931"/>
                      </a:lnTo>
                      <a:lnTo>
                        <a:pt x="2107133" y="389661"/>
                      </a:lnTo>
                      <a:lnTo>
                        <a:pt x="2108682" y="389661"/>
                      </a:lnTo>
                      <a:lnTo>
                        <a:pt x="2109063" y="388391"/>
                      </a:lnTo>
                      <a:lnTo>
                        <a:pt x="2108949" y="389661"/>
                      </a:lnTo>
                      <a:lnTo>
                        <a:pt x="2110536" y="390931"/>
                      </a:lnTo>
                      <a:lnTo>
                        <a:pt x="2112111" y="390931"/>
                      </a:lnTo>
                      <a:lnTo>
                        <a:pt x="2114181" y="389661"/>
                      </a:lnTo>
                      <a:lnTo>
                        <a:pt x="2116886" y="389661"/>
                      </a:lnTo>
                      <a:lnTo>
                        <a:pt x="2117585" y="388391"/>
                      </a:lnTo>
                      <a:lnTo>
                        <a:pt x="2117941" y="388391"/>
                      </a:lnTo>
                      <a:lnTo>
                        <a:pt x="2118639" y="387121"/>
                      </a:lnTo>
                      <a:lnTo>
                        <a:pt x="2117610" y="385851"/>
                      </a:lnTo>
                      <a:lnTo>
                        <a:pt x="2117153" y="385851"/>
                      </a:lnTo>
                      <a:lnTo>
                        <a:pt x="2118487" y="384581"/>
                      </a:lnTo>
                      <a:lnTo>
                        <a:pt x="2121458" y="383311"/>
                      </a:lnTo>
                      <a:lnTo>
                        <a:pt x="2121878" y="378231"/>
                      </a:lnTo>
                      <a:lnTo>
                        <a:pt x="2120112" y="378231"/>
                      </a:lnTo>
                      <a:lnTo>
                        <a:pt x="2118258" y="376961"/>
                      </a:lnTo>
                      <a:lnTo>
                        <a:pt x="2117204" y="376961"/>
                      </a:lnTo>
                      <a:lnTo>
                        <a:pt x="2117267" y="375691"/>
                      </a:lnTo>
                      <a:lnTo>
                        <a:pt x="2119376" y="375691"/>
                      </a:lnTo>
                      <a:lnTo>
                        <a:pt x="2121674" y="374421"/>
                      </a:lnTo>
                      <a:lnTo>
                        <a:pt x="2121814" y="371881"/>
                      </a:lnTo>
                      <a:lnTo>
                        <a:pt x="2122017" y="370611"/>
                      </a:lnTo>
                      <a:lnTo>
                        <a:pt x="2122995" y="369341"/>
                      </a:lnTo>
                      <a:lnTo>
                        <a:pt x="2123186" y="368071"/>
                      </a:lnTo>
                      <a:lnTo>
                        <a:pt x="2123490" y="366801"/>
                      </a:lnTo>
                      <a:lnTo>
                        <a:pt x="2123643" y="366801"/>
                      </a:lnTo>
                      <a:lnTo>
                        <a:pt x="2123732" y="365531"/>
                      </a:lnTo>
                      <a:lnTo>
                        <a:pt x="2123694" y="362991"/>
                      </a:lnTo>
                      <a:lnTo>
                        <a:pt x="2121585" y="362991"/>
                      </a:lnTo>
                      <a:lnTo>
                        <a:pt x="2121687" y="364261"/>
                      </a:lnTo>
                      <a:lnTo>
                        <a:pt x="2121547" y="365531"/>
                      </a:lnTo>
                      <a:lnTo>
                        <a:pt x="2121446" y="366801"/>
                      </a:lnTo>
                      <a:lnTo>
                        <a:pt x="2121166" y="368071"/>
                      </a:lnTo>
                      <a:lnTo>
                        <a:pt x="2121001" y="368071"/>
                      </a:lnTo>
                      <a:lnTo>
                        <a:pt x="2120341" y="369341"/>
                      </a:lnTo>
                      <a:lnTo>
                        <a:pt x="2119960" y="370611"/>
                      </a:lnTo>
                      <a:lnTo>
                        <a:pt x="2119782" y="371881"/>
                      </a:lnTo>
                      <a:lnTo>
                        <a:pt x="2119655" y="373151"/>
                      </a:lnTo>
                      <a:lnTo>
                        <a:pt x="2115959" y="373151"/>
                      </a:lnTo>
                      <a:lnTo>
                        <a:pt x="2113686" y="374421"/>
                      </a:lnTo>
                      <a:lnTo>
                        <a:pt x="2115362" y="375691"/>
                      </a:lnTo>
                      <a:lnTo>
                        <a:pt x="2113826" y="378231"/>
                      </a:lnTo>
                      <a:lnTo>
                        <a:pt x="2115769" y="378231"/>
                      </a:lnTo>
                      <a:lnTo>
                        <a:pt x="2117661" y="379501"/>
                      </a:lnTo>
                      <a:lnTo>
                        <a:pt x="2119617" y="379501"/>
                      </a:lnTo>
                      <a:lnTo>
                        <a:pt x="2119452" y="382041"/>
                      </a:lnTo>
                      <a:lnTo>
                        <a:pt x="2116823" y="383311"/>
                      </a:lnTo>
                      <a:lnTo>
                        <a:pt x="2115832" y="383311"/>
                      </a:lnTo>
                      <a:lnTo>
                        <a:pt x="2114854" y="384581"/>
                      </a:lnTo>
                      <a:lnTo>
                        <a:pt x="2113902" y="387121"/>
                      </a:lnTo>
                      <a:lnTo>
                        <a:pt x="2115223" y="387121"/>
                      </a:lnTo>
                      <a:lnTo>
                        <a:pt x="2115540" y="387121"/>
                      </a:lnTo>
                      <a:lnTo>
                        <a:pt x="2115845" y="388391"/>
                      </a:lnTo>
                      <a:lnTo>
                        <a:pt x="2115223" y="387121"/>
                      </a:lnTo>
                      <a:lnTo>
                        <a:pt x="2114550" y="388391"/>
                      </a:lnTo>
                      <a:lnTo>
                        <a:pt x="2109127" y="388391"/>
                      </a:lnTo>
                      <a:lnTo>
                        <a:pt x="2108619" y="387121"/>
                      </a:lnTo>
                      <a:lnTo>
                        <a:pt x="2107095" y="387121"/>
                      </a:lnTo>
                      <a:lnTo>
                        <a:pt x="2106142" y="388391"/>
                      </a:lnTo>
                      <a:lnTo>
                        <a:pt x="2104631" y="388391"/>
                      </a:lnTo>
                      <a:lnTo>
                        <a:pt x="2103462" y="389661"/>
                      </a:lnTo>
                      <a:lnTo>
                        <a:pt x="2103678" y="392201"/>
                      </a:lnTo>
                      <a:lnTo>
                        <a:pt x="2103894" y="392201"/>
                      </a:lnTo>
                      <a:lnTo>
                        <a:pt x="2105202" y="393471"/>
                      </a:lnTo>
                      <a:lnTo>
                        <a:pt x="2107869" y="397281"/>
                      </a:lnTo>
                      <a:lnTo>
                        <a:pt x="2106676" y="399821"/>
                      </a:lnTo>
                      <a:lnTo>
                        <a:pt x="2106028" y="399821"/>
                      </a:lnTo>
                      <a:lnTo>
                        <a:pt x="2105622" y="401091"/>
                      </a:lnTo>
                      <a:lnTo>
                        <a:pt x="2105406" y="402361"/>
                      </a:lnTo>
                      <a:lnTo>
                        <a:pt x="2105622" y="402361"/>
                      </a:lnTo>
                      <a:lnTo>
                        <a:pt x="2105088" y="403479"/>
                      </a:lnTo>
                      <a:lnTo>
                        <a:pt x="2105088" y="407441"/>
                      </a:lnTo>
                      <a:lnTo>
                        <a:pt x="2104732" y="408711"/>
                      </a:lnTo>
                      <a:lnTo>
                        <a:pt x="2102192" y="408711"/>
                      </a:lnTo>
                      <a:lnTo>
                        <a:pt x="2102573" y="407441"/>
                      </a:lnTo>
                      <a:lnTo>
                        <a:pt x="2102904" y="406171"/>
                      </a:lnTo>
                      <a:lnTo>
                        <a:pt x="2103107" y="406171"/>
                      </a:lnTo>
                      <a:lnTo>
                        <a:pt x="2103602" y="407441"/>
                      </a:lnTo>
                      <a:lnTo>
                        <a:pt x="2105088" y="407441"/>
                      </a:lnTo>
                      <a:lnTo>
                        <a:pt x="2105088" y="403479"/>
                      </a:lnTo>
                      <a:lnTo>
                        <a:pt x="2105012" y="403631"/>
                      </a:lnTo>
                      <a:lnTo>
                        <a:pt x="2103945" y="403631"/>
                      </a:lnTo>
                      <a:lnTo>
                        <a:pt x="2103869" y="402361"/>
                      </a:lnTo>
                      <a:lnTo>
                        <a:pt x="2103031" y="402361"/>
                      </a:lnTo>
                      <a:lnTo>
                        <a:pt x="2102586" y="401091"/>
                      </a:lnTo>
                      <a:lnTo>
                        <a:pt x="2100529" y="401091"/>
                      </a:lnTo>
                      <a:lnTo>
                        <a:pt x="2099830" y="399821"/>
                      </a:lnTo>
                      <a:lnTo>
                        <a:pt x="2099627" y="399821"/>
                      </a:lnTo>
                      <a:lnTo>
                        <a:pt x="2098382" y="398551"/>
                      </a:lnTo>
                      <a:lnTo>
                        <a:pt x="2096706" y="399821"/>
                      </a:lnTo>
                      <a:lnTo>
                        <a:pt x="2094318" y="399821"/>
                      </a:lnTo>
                      <a:lnTo>
                        <a:pt x="2093899" y="398551"/>
                      </a:lnTo>
                      <a:lnTo>
                        <a:pt x="2093645" y="398551"/>
                      </a:lnTo>
                      <a:lnTo>
                        <a:pt x="2093620" y="397281"/>
                      </a:lnTo>
                      <a:lnTo>
                        <a:pt x="2092655" y="396011"/>
                      </a:lnTo>
                      <a:lnTo>
                        <a:pt x="2090648" y="396011"/>
                      </a:lnTo>
                      <a:lnTo>
                        <a:pt x="2087753" y="394741"/>
                      </a:lnTo>
                      <a:lnTo>
                        <a:pt x="2087156" y="396011"/>
                      </a:lnTo>
                      <a:lnTo>
                        <a:pt x="2085390" y="396011"/>
                      </a:lnTo>
                      <a:lnTo>
                        <a:pt x="2084235" y="394741"/>
                      </a:lnTo>
                      <a:lnTo>
                        <a:pt x="2082380" y="396011"/>
                      </a:lnTo>
                      <a:lnTo>
                        <a:pt x="2081187" y="397281"/>
                      </a:lnTo>
                      <a:lnTo>
                        <a:pt x="2079815" y="397281"/>
                      </a:lnTo>
                      <a:lnTo>
                        <a:pt x="2080221" y="399821"/>
                      </a:lnTo>
                      <a:lnTo>
                        <a:pt x="2082431" y="399821"/>
                      </a:lnTo>
                      <a:lnTo>
                        <a:pt x="2083752" y="398551"/>
                      </a:lnTo>
                      <a:lnTo>
                        <a:pt x="2084184" y="397281"/>
                      </a:lnTo>
                      <a:lnTo>
                        <a:pt x="2085619" y="398551"/>
                      </a:lnTo>
                      <a:lnTo>
                        <a:pt x="2087613" y="398551"/>
                      </a:lnTo>
                      <a:lnTo>
                        <a:pt x="2088007" y="397281"/>
                      </a:lnTo>
                      <a:lnTo>
                        <a:pt x="2088324" y="397281"/>
                      </a:lnTo>
                      <a:lnTo>
                        <a:pt x="2090750" y="398551"/>
                      </a:lnTo>
                      <a:lnTo>
                        <a:pt x="2091601" y="398551"/>
                      </a:lnTo>
                      <a:lnTo>
                        <a:pt x="2092845" y="401091"/>
                      </a:lnTo>
                      <a:lnTo>
                        <a:pt x="2093595" y="401091"/>
                      </a:lnTo>
                      <a:lnTo>
                        <a:pt x="2094026" y="402361"/>
                      </a:lnTo>
                      <a:lnTo>
                        <a:pt x="2097176" y="402361"/>
                      </a:lnTo>
                      <a:lnTo>
                        <a:pt x="2097976" y="401091"/>
                      </a:lnTo>
                      <a:lnTo>
                        <a:pt x="2098192" y="401091"/>
                      </a:lnTo>
                      <a:lnTo>
                        <a:pt x="2098395" y="402361"/>
                      </a:lnTo>
                      <a:lnTo>
                        <a:pt x="2099297" y="402361"/>
                      </a:lnTo>
                      <a:lnTo>
                        <a:pt x="2100211" y="403631"/>
                      </a:lnTo>
                      <a:lnTo>
                        <a:pt x="2101862" y="403631"/>
                      </a:lnTo>
                      <a:lnTo>
                        <a:pt x="2100249" y="406171"/>
                      </a:lnTo>
                      <a:lnTo>
                        <a:pt x="2099983" y="408711"/>
                      </a:lnTo>
                      <a:lnTo>
                        <a:pt x="2099881" y="411251"/>
                      </a:lnTo>
                      <a:lnTo>
                        <a:pt x="2104707" y="411251"/>
                      </a:lnTo>
                      <a:lnTo>
                        <a:pt x="2105520" y="412521"/>
                      </a:lnTo>
                      <a:lnTo>
                        <a:pt x="2106523" y="413791"/>
                      </a:lnTo>
                      <a:lnTo>
                        <a:pt x="2107742" y="415061"/>
                      </a:lnTo>
                      <a:lnTo>
                        <a:pt x="2108670" y="416331"/>
                      </a:lnTo>
                      <a:lnTo>
                        <a:pt x="2109762" y="418871"/>
                      </a:lnTo>
                      <a:lnTo>
                        <a:pt x="2108631" y="418871"/>
                      </a:lnTo>
                      <a:lnTo>
                        <a:pt x="2107615" y="420141"/>
                      </a:lnTo>
                      <a:lnTo>
                        <a:pt x="2103894" y="420141"/>
                      </a:lnTo>
                      <a:lnTo>
                        <a:pt x="2104694" y="421411"/>
                      </a:lnTo>
                      <a:lnTo>
                        <a:pt x="2103640" y="421411"/>
                      </a:lnTo>
                      <a:lnTo>
                        <a:pt x="2103183" y="422681"/>
                      </a:lnTo>
                      <a:lnTo>
                        <a:pt x="2102535" y="422681"/>
                      </a:lnTo>
                      <a:lnTo>
                        <a:pt x="2102383" y="423951"/>
                      </a:lnTo>
                      <a:lnTo>
                        <a:pt x="2101811" y="423951"/>
                      </a:lnTo>
                      <a:lnTo>
                        <a:pt x="2101380" y="425221"/>
                      </a:lnTo>
                      <a:lnTo>
                        <a:pt x="2101215" y="426491"/>
                      </a:lnTo>
                      <a:lnTo>
                        <a:pt x="2100414" y="427761"/>
                      </a:lnTo>
                      <a:lnTo>
                        <a:pt x="2102408" y="430301"/>
                      </a:lnTo>
                      <a:lnTo>
                        <a:pt x="2102561" y="430301"/>
                      </a:lnTo>
                      <a:lnTo>
                        <a:pt x="2102650" y="431571"/>
                      </a:lnTo>
                      <a:lnTo>
                        <a:pt x="2100935" y="431571"/>
                      </a:lnTo>
                      <a:lnTo>
                        <a:pt x="2100122" y="432841"/>
                      </a:lnTo>
                      <a:lnTo>
                        <a:pt x="2098560" y="432841"/>
                      </a:lnTo>
                      <a:lnTo>
                        <a:pt x="2098116" y="431571"/>
                      </a:lnTo>
                      <a:lnTo>
                        <a:pt x="2096427" y="430301"/>
                      </a:lnTo>
                      <a:lnTo>
                        <a:pt x="2093861" y="429031"/>
                      </a:lnTo>
                      <a:lnTo>
                        <a:pt x="2091969" y="427761"/>
                      </a:lnTo>
                      <a:lnTo>
                        <a:pt x="2090051" y="427761"/>
                      </a:lnTo>
                      <a:lnTo>
                        <a:pt x="2089835" y="426491"/>
                      </a:lnTo>
                      <a:lnTo>
                        <a:pt x="2089556" y="425221"/>
                      </a:lnTo>
                      <a:lnTo>
                        <a:pt x="2089467" y="423951"/>
                      </a:lnTo>
                      <a:lnTo>
                        <a:pt x="2089289" y="421411"/>
                      </a:lnTo>
                      <a:lnTo>
                        <a:pt x="2089035" y="420141"/>
                      </a:lnTo>
                      <a:lnTo>
                        <a:pt x="2087079" y="421411"/>
                      </a:lnTo>
                      <a:lnTo>
                        <a:pt x="2083866" y="423951"/>
                      </a:lnTo>
                      <a:lnTo>
                        <a:pt x="2082380" y="425221"/>
                      </a:lnTo>
                      <a:lnTo>
                        <a:pt x="2080348" y="423951"/>
                      </a:lnTo>
                      <a:lnTo>
                        <a:pt x="2080666" y="423951"/>
                      </a:lnTo>
                      <a:lnTo>
                        <a:pt x="2080768" y="422681"/>
                      </a:lnTo>
                      <a:lnTo>
                        <a:pt x="2080641" y="421411"/>
                      </a:lnTo>
                      <a:lnTo>
                        <a:pt x="2081542" y="420141"/>
                      </a:lnTo>
                      <a:lnTo>
                        <a:pt x="2080425" y="418871"/>
                      </a:lnTo>
                      <a:lnTo>
                        <a:pt x="2079320" y="417601"/>
                      </a:lnTo>
                      <a:lnTo>
                        <a:pt x="2077326" y="416331"/>
                      </a:lnTo>
                      <a:lnTo>
                        <a:pt x="2074633" y="416331"/>
                      </a:lnTo>
                      <a:lnTo>
                        <a:pt x="2073948" y="417601"/>
                      </a:lnTo>
                      <a:lnTo>
                        <a:pt x="2073376" y="417601"/>
                      </a:lnTo>
                      <a:lnTo>
                        <a:pt x="2073109" y="416331"/>
                      </a:lnTo>
                      <a:lnTo>
                        <a:pt x="2072640" y="415061"/>
                      </a:lnTo>
                      <a:lnTo>
                        <a:pt x="2071027" y="413791"/>
                      </a:lnTo>
                      <a:lnTo>
                        <a:pt x="2067648" y="413791"/>
                      </a:lnTo>
                      <a:lnTo>
                        <a:pt x="2067077" y="411251"/>
                      </a:lnTo>
                      <a:lnTo>
                        <a:pt x="2066721" y="411251"/>
                      </a:lnTo>
                      <a:lnTo>
                        <a:pt x="2066467" y="409981"/>
                      </a:lnTo>
                      <a:lnTo>
                        <a:pt x="2065604" y="408711"/>
                      </a:lnTo>
                      <a:lnTo>
                        <a:pt x="2062797" y="408711"/>
                      </a:lnTo>
                      <a:lnTo>
                        <a:pt x="2062099" y="409981"/>
                      </a:lnTo>
                      <a:lnTo>
                        <a:pt x="2060359" y="409981"/>
                      </a:lnTo>
                      <a:lnTo>
                        <a:pt x="2059266" y="408711"/>
                      </a:lnTo>
                      <a:lnTo>
                        <a:pt x="2058911" y="408711"/>
                      </a:lnTo>
                      <a:lnTo>
                        <a:pt x="2057984" y="407441"/>
                      </a:lnTo>
                      <a:lnTo>
                        <a:pt x="2057438" y="406171"/>
                      </a:lnTo>
                      <a:lnTo>
                        <a:pt x="2056815" y="403631"/>
                      </a:lnTo>
                      <a:lnTo>
                        <a:pt x="2054796" y="404901"/>
                      </a:lnTo>
                      <a:lnTo>
                        <a:pt x="2055215" y="406171"/>
                      </a:lnTo>
                      <a:lnTo>
                        <a:pt x="2055507" y="407441"/>
                      </a:lnTo>
                      <a:lnTo>
                        <a:pt x="2056244" y="408711"/>
                      </a:lnTo>
                      <a:lnTo>
                        <a:pt x="2057298" y="409981"/>
                      </a:lnTo>
                      <a:lnTo>
                        <a:pt x="2057679" y="409981"/>
                      </a:lnTo>
                      <a:lnTo>
                        <a:pt x="2058974" y="411251"/>
                      </a:lnTo>
                      <a:lnTo>
                        <a:pt x="2059546" y="411251"/>
                      </a:lnTo>
                      <a:lnTo>
                        <a:pt x="2060600" y="412521"/>
                      </a:lnTo>
                      <a:lnTo>
                        <a:pt x="2062810" y="411251"/>
                      </a:lnTo>
                      <a:lnTo>
                        <a:pt x="2064867" y="411251"/>
                      </a:lnTo>
                      <a:lnTo>
                        <a:pt x="2064943" y="412521"/>
                      </a:lnTo>
                      <a:lnTo>
                        <a:pt x="2065832" y="415061"/>
                      </a:lnTo>
                      <a:lnTo>
                        <a:pt x="2066658" y="416331"/>
                      </a:lnTo>
                      <a:lnTo>
                        <a:pt x="2071090" y="416331"/>
                      </a:lnTo>
                      <a:lnTo>
                        <a:pt x="2071573" y="418871"/>
                      </a:lnTo>
                      <a:lnTo>
                        <a:pt x="2072220" y="420141"/>
                      </a:lnTo>
                      <a:lnTo>
                        <a:pt x="2073719" y="418871"/>
                      </a:lnTo>
                      <a:lnTo>
                        <a:pt x="2077618" y="418871"/>
                      </a:lnTo>
                      <a:lnTo>
                        <a:pt x="2078532" y="420141"/>
                      </a:lnTo>
                      <a:lnTo>
                        <a:pt x="2078558" y="421411"/>
                      </a:lnTo>
                      <a:lnTo>
                        <a:pt x="2078634" y="422681"/>
                      </a:lnTo>
                      <a:lnTo>
                        <a:pt x="2078393" y="423951"/>
                      </a:lnTo>
                      <a:lnTo>
                        <a:pt x="2078151" y="423951"/>
                      </a:lnTo>
                      <a:lnTo>
                        <a:pt x="2077466" y="425221"/>
                      </a:lnTo>
                      <a:lnTo>
                        <a:pt x="2082292" y="427761"/>
                      </a:lnTo>
                      <a:lnTo>
                        <a:pt x="2084857" y="425221"/>
                      </a:lnTo>
                      <a:lnTo>
                        <a:pt x="2087308" y="423951"/>
                      </a:lnTo>
                      <a:lnTo>
                        <a:pt x="2087549" y="426491"/>
                      </a:lnTo>
                      <a:lnTo>
                        <a:pt x="2087892" y="429031"/>
                      </a:lnTo>
                      <a:lnTo>
                        <a:pt x="2090458" y="429031"/>
                      </a:lnTo>
                      <a:lnTo>
                        <a:pt x="2091080" y="430301"/>
                      </a:lnTo>
                      <a:lnTo>
                        <a:pt x="2092820" y="430301"/>
                      </a:lnTo>
                      <a:lnTo>
                        <a:pt x="2095182" y="431571"/>
                      </a:lnTo>
                      <a:lnTo>
                        <a:pt x="2096363" y="432841"/>
                      </a:lnTo>
                      <a:lnTo>
                        <a:pt x="2097112" y="434111"/>
                      </a:lnTo>
                      <a:lnTo>
                        <a:pt x="2098167" y="435381"/>
                      </a:lnTo>
                      <a:lnTo>
                        <a:pt x="2098763" y="435381"/>
                      </a:lnTo>
                      <a:lnTo>
                        <a:pt x="2099348" y="434111"/>
                      </a:lnTo>
                      <a:lnTo>
                        <a:pt x="2103678" y="434111"/>
                      </a:lnTo>
                      <a:lnTo>
                        <a:pt x="2104720" y="435381"/>
                      </a:lnTo>
                      <a:lnTo>
                        <a:pt x="2109266" y="435381"/>
                      </a:lnTo>
                      <a:lnTo>
                        <a:pt x="2111540" y="436651"/>
                      </a:lnTo>
                      <a:lnTo>
                        <a:pt x="2112607" y="436651"/>
                      </a:lnTo>
                      <a:lnTo>
                        <a:pt x="2113394" y="437921"/>
                      </a:lnTo>
                      <a:lnTo>
                        <a:pt x="2115337" y="440461"/>
                      </a:lnTo>
                      <a:lnTo>
                        <a:pt x="2119122" y="441731"/>
                      </a:lnTo>
                      <a:lnTo>
                        <a:pt x="2126221" y="441731"/>
                      </a:lnTo>
                      <a:lnTo>
                        <a:pt x="2127770" y="443001"/>
                      </a:lnTo>
                      <a:lnTo>
                        <a:pt x="2131936" y="443001"/>
                      </a:lnTo>
                      <a:lnTo>
                        <a:pt x="2135441" y="444271"/>
                      </a:lnTo>
                      <a:lnTo>
                        <a:pt x="2132774" y="448081"/>
                      </a:lnTo>
                      <a:lnTo>
                        <a:pt x="2131250" y="450621"/>
                      </a:lnTo>
                      <a:lnTo>
                        <a:pt x="2129383" y="454431"/>
                      </a:lnTo>
                      <a:lnTo>
                        <a:pt x="2129193" y="455701"/>
                      </a:lnTo>
                      <a:lnTo>
                        <a:pt x="2128494" y="456971"/>
                      </a:lnTo>
                      <a:lnTo>
                        <a:pt x="2127885" y="458241"/>
                      </a:lnTo>
                      <a:lnTo>
                        <a:pt x="2127034" y="459511"/>
                      </a:lnTo>
                      <a:lnTo>
                        <a:pt x="2126653" y="460781"/>
                      </a:lnTo>
                      <a:lnTo>
                        <a:pt x="2126488" y="467131"/>
                      </a:lnTo>
                      <a:lnTo>
                        <a:pt x="2126907" y="468401"/>
                      </a:lnTo>
                      <a:lnTo>
                        <a:pt x="2126767" y="468401"/>
                      </a:lnTo>
                      <a:lnTo>
                        <a:pt x="2126157" y="469671"/>
                      </a:lnTo>
                      <a:lnTo>
                        <a:pt x="2125853" y="469671"/>
                      </a:lnTo>
                      <a:lnTo>
                        <a:pt x="2125688" y="470941"/>
                      </a:lnTo>
                      <a:lnTo>
                        <a:pt x="2122957" y="470941"/>
                      </a:lnTo>
                      <a:lnTo>
                        <a:pt x="2121662" y="469671"/>
                      </a:lnTo>
                      <a:lnTo>
                        <a:pt x="2119160" y="469671"/>
                      </a:lnTo>
                      <a:lnTo>
                        <a:pt x="2116201" y="473481"/>
                      </a:lnTo>
                      <a:lnTo>
                        <a:pt x="2118169" y="474751"/>
                      </a:lnTo>
                      <a:lnTo>
                        <a:pt x="2118410" y="474751"/>
                      </a:lnTo>
                      <a:lnTo>
                        <a:pt x="2117344" y="476021"/>
                      </a:lnTo>
                      <a:lnTo>
                        <a:pt x="2116290" y="476021"/>
                      </a:lnTo>
                      <a:lnTo>
                        <a:pt x="2114804" y="477291"/>
                      </a:lnTo>
                      <a:lnTo>
                        <a:pt x="2112734" y="478561"/>
                      </a:lnTo>
                      <a:lnTo>
                        <a:pt x="2111743" y="479831"/>
                      </a:lnTo>
                      <a:lnTo>
                        <a:pt x="2111375" y="479831"/>
                      </a:lnTo>
                      <a:lnTo>
                        <a:pt x="2110994" y="482371"/>
                      </a:lnTo>
                      <a:lnTo>
                        <a:pt x="2107171" y="486181"/>
                      </a:lnTo>
                      <a:lnTo>
                        <a:pt x="2105444" y="489991"/>
                      </a:lnTo>
                      <a:lnTo>
                        <a:pt x="2105583" y="489991"/>
                      </a:lnTo>
                      <a:lnTo>
                        <a:pt x="2106206" y="491261"/>
                      </a:lnTo>
                      <a:lnTo>
                        <a:pt x="2106117" y="492531"/>
                      </a:lnTo>
                      <a:lnTo>
                        <a:pt x="2104263" y="493801"/>
                      </a:lnTo>
                      <a:lnTo>
                        <a:pt x="2104199" y="495071"/>
                      </a:lnTo>
                      <a:lnTo>
                        <a:pt x="2105609" y="496341"/>
                      </a:lnTo>
                      <a:lnTo>
                        <a:pt x="2106041" y="496341"/>
                      </a:lnTo>
                      <a:lnTo>
                        <a:pt x="2109419" y="492531"/>
                      </a:lnTo>
                      <a:lnTo>
                        <a:pt x="2110638" y="491261"/>
                      </a:lnTo>
                      <a:lnTo>
                        <a:pt x="2113381" y="491261"/>
                      </a:lnTo>
                      <a:lnTo>
                        <a:pt x="2114105" y="489991"/>
                      </a:lnTo>
                      <a:lnTo>
                        <a:pt x="2115693" y="489991"/>
                      </a:lnTo>
                      <a:lnTo>
                        <a:pt x="2116086" y="491261"/>
                      </a:lnTo>
                      <a:lnTo>
                        <a:pt x="2116302" y="491261"/>
                      </a:lnTo>
                      <a:lnTo>
                        <a:pt x="2116328" y="495071"/>
                      </a:lnTo>
                      <a:lnTo>
                        <a:pt x="2117598" y="497611"/>
                      </a:lnTo>
                      <a:lnTo>
                        <a:pt x="2118347" y="497611"/>
                      </a:lnTo>
                      <a:lnTo>
                        <a:pt x="2118664" y="498881"/>
                      </a:lnTo>
                      <a:lnTo>
                        <a:pt x="2116378" y="500151"/>
                      </a:lnTo>
                      <a:lnTo>
                        <a:pt x="2116074" y="501421"/>
                      </a:lnTo>
                      <a:lnTo>
                        <a:pt x="2116290" y="502691"/>
                      </a:lnTo>
                      <a:lnTo>
                        <a:pt x="2120163" y="507771"/>
                      </a:lnTo>
                      <a:lnTo>
                        <a:pt x="2121077" y="509041"/>
                      </a:lnTo>
                      <a:lnTo>
                        <a:pt x="2120531" y="509041"/>
                      </a:lnTo>
                      <a:lnTo>
                        <a:pt x="2120265" y="510311"/>
                      </a:lnTo>
                      <a:lnTo>
                        <a:pt x="2120455" y="510311"/>
                      </a:lnTo>
                      <a:lnTo>
                        <a:pt x="2119579" y="511581"/>
                      </a:lnTo>
                      <a:lnTo>
                        <a:pt x="2114613" y="511581"/>
                      </a:lnTo>
                      <a:lnTo>
                        <a:pt x="2112645" y="512851"/>
                      </a:lnTo>
                      <a:lnTo>
                        <a:pt x="2119134" y="520471"/>
                      </a:lnTo>
                      <a:lnTo>
                        <a:pt x="2117941" y="521741"/>
                      </a:lnTo>
                      <a:lnTo>
                        <a:pt x="2116963" y="524281"/>
                      </a:lnTo>
                      <a:lnTo>
                        <a:pt x="2117306" y="526821"/>
                      </a:lnTo>
                      <a:lnTo>
                        <a:pt x="2117991" y="528091"/>
                      </a:lnTo>
                      <a:lnTo>
                        <a:pt x="2128456" y="531901"/>
                      </a:lnTo>
                      <a:lnTo>
                        <a:pt x="2126945" y="535711"/>
                      </a:lnTo>
                      <a:lnTo>
                        <a:pt x="2126551" y="536981"/>
                      </a:lnTo>
                      <a:lnTo>
                        <a:pt x="2128875" y="536981"/>
                      </a:lnTo>
                      <a:lnTo>
                        <a:pt x="2130412" y="533171"/>
                      </a:lnTo>
                      <a:lnTo>
                        <a:pt x="2131301" y="530631"/>
                      </a:lnTo>
                      <a:lnTo>
                        <a:pt x="2119630" y="525551"/>
                      </a:lnTo>
                      <a:lnTo>
                        <a:pt x="2119338" y="525551"/>
                      </a:lnTo>
                      <a:lnTo>
                        <a:pt x="2119122" y="524281"/>
                      </a:lnTo>
                      <a:lnTo>
                        <a:pt x="2120239" y="521741"/>
                      </a:lnTo>
                      <a:lnTo>
                        <a:pt x="2122157" y="520471"/>
                      </a:lnTo>
                      <a:lnTo>
                        <a:pt x="2116404" y="514121"/>
                      </a:lnTo>
                      <a:lnTo>
                        <a:pt x="2119299" y="512851"/>
                      </a:lnTo>
                      <a:lnTo>
                        <a:pt x="2121433" y="512851"/>
                      </a:lnTo>
                      <a:lnTo>
                        <a:pt x="2122640" y="511581"/>
                      </a:lnTo>
                      <a:lnTo>
                        <a:pt x="2122728" y="510311"/>
                      </a:lnTo>
                      <a:lnTo>
                        <a:pt x="2122538" y="510311"/>
                      </a:lnTo>
                      <a:lnTo>
                        <a:pt x="2123427" y="509041"/>
                      </a:lnTo>
                      <a:lnTo>
                        <a:pt x="2123211" y="507771"/>
                      </a:lnTo>
                      <a:lnTo>
                        <a:pt x="2121662" y="506501"/>
                      </a:lnTo>
                      <a:lnTo>
                        <a:pt x="2118334" y="501421"/>
                      </a:lnTo>
                      <a:lnTo>
                        <a:pt x="2119820" y="500151"/>
                      </a:lnTo>
                      <a:lnTo>
                        <a:pt x="2125446" y="500151"/>
                      </a:lnTo>
                      <a:lnTo>
                        <a:pt x="2126805" y="498881"/>
                      </a:lnTo>
                      <a:lnTo>
                        <a:pt x="2128990" y="498881"/>
                      </a:lnTo>
                      <a:lnTo>
                        <a:pt x="2130221" y="500151"/>
                      </a:lnTo>
                      <a:lnTo>
                        <a:pt x="2133015" y="500151"/>
                      </a:lnTo>
                      <a:lnTo>
                        <a:pt x="2133257" y="498881"/>
                      </a:lnTo>
                      <a:lnTo>
                        <a:pt x="2134095" y="498881"/>
                      </a:lnTo>
                      <a:lnTo>
                        <a:pt x="2135619" y="496341"/>
                      </a:lnTo>
                      <a:lnTo>
                        <a:pt x="2136737" y="493801"/>
                      </a:lnTo>
                      <a:lnTo>
                        <a:pt x="2138134" y="491261"/>
                      </a:lnTo>
                      <a:lnTo>
                        <a:pt x="2139365" y="491261"/>
                      </a:lnTo>
                      <a:lnTo>
                        <a:pt x="2139213" y="492531"/>
                      </a:lnTo>
                      <a:lnTo>
                        <a:pt x="2139912" y="495071"/>
                      </a:lnTo>
                      <a:lnTo>
                        <a:pt x="2141055" y="495071"/>
                      </a:lnTo>
                      <a:lnTo>
                        <a:pt x="2143302" y="496341"/>
                      </a:lnTo>
                      <a:lnTo>
                        <a:pt x="2143925" y="496341"/>
                      </a:lnTo>
                      <a:lnTo>
                        <a:pt x="2145271" y="497611"/>
                      </a:lnTo>
                      <a:lnTo>
                        <a:pt x="2146084" y="498881"/>
                      </a:lnTo>
                      <a:lnTo>
                        <a:pt x="2146147" y="500151"/>
                      </a:lnTo>
                      <a:lnTo>
                        <a:pt x="2145373" y="503961"/>
                      </a:lnTo>
                      <a:lnTo>
                        <a:pt x="2148357" y="501421"/>
                      </a:lnTo>
                      <a:lnTo>
                        <a:pt x="2149627" y="500151"/>
                      </a:lnTo>
                      <a:lnTo>
                        <a:pt x="2150338" y="496341"/>
                      </a:lnTo>
                      <a:lnTo>
                        <a:pt x="2151672" y="495071"/>
                      </a:lnTo>
                      <a:lnTo>
                        <a:pt x="2152904" y="493801"/>
                      </a:lnTo>
                      <a:lnTo>
                        <a:pt x="2153158" y="492531"/>
                      </a:lnTo>
                      <a:lnTo>
                        <a:pt x="2153335" y="489991"/>
                      </a:lnTo>
                      <a:lnTo>
                        <a:pt x="2155723" y="491261"/>
                      </a:lnTo>
                      <a:lnTo>
                        <a:pt x="2161565" y="495071"/>
                      </a:lnTo>
                      <a:lnTo>
                        <a:pt x="2164791" y="495071"/>
                      </a:lnTo>
                      <a:lnTo>
                        <a:pt x="2165185" y="493801"/>
                      </a:lnTo>
                      <a:lnTo>
                        <a:pt x="2165680" y="493801"/>
                      </a:lnTo>
                      <a:lnTo>
                        <a:pt x="2166455" y="492531"/>
                      </a:lnTo>
                      <a:lnTo>
                        <a:pt x="2165553" y="491261"/>
                      </a:lnTo>
                      <a:lnTo>
                        <a:pt x="2166048" y="491261"/>
                      </a:lnTo>
                      <a:lnTo>
                        <a:pt x="2166175" y="489991"/>
                      </a:lnTo>
                      <a:lnTo>
                        <a:pt x="2165743" y="489991"/>
                      </a:lnTo>
                      <a:lnTo>
                        <a:pt x="2165350" y="488721"/>
                      </a:lnTo>
                      <a:lnTo>
                        <a:pt x="2164410" y="488721"/>
                      </a:lnTo>
                      <a:lnTo>
                        <a:pt x="2164524" y="487451"/>
                      </a:lnTo>
                      <a:lnTo>
                        <a:pt x="2165769" y="487451"/>
                      </a:lnTo>
                      <a:lnTo>
                        <a:pt x="2168931" y="488721"/>
                      </a:lnTo>
                      <a:lnTo>
                        <a:pt x="2170226" y="489991"/>
                      </a:lnTo>
                      <a:lnTo>
                        <a:pt x="2170303" y="487451"/>
                      </a:lnTo>
                      <a:lnTo>
                        <a:pt x="2170404" y="486181"/>
                      </a:lnTo>
                      <a:lnTo>
                        <a:pt x="2170480" y="483641"/>
                      </a:lnTo>
                      <a:lnTo>
                        <a:pt x="2174176" y="484911"/>
                      </a:lnTo>
                      <a:lnTo>
                        <a:pt x="2178088" y="484911"/>
                      </a:lnTo>
                      <a:lnTo>
                        <a:pt x="2178481" y="483641"/>
                      </a:lnTo>
                      <a:lnTo>
                        <a:pt x="2179091" y="483641"/>
                      </a:lnTo>
                      <a:lnTo>
                        <a:pt x="2179472" y="482371"/>
                      </a:lnTo>
                      <a:lnTo>
                        <a:pt x="2179993" y="481101"/>
                      </a:lnTo>
                      <a:lnTo>
                        <a:pt x="2186762" y="481101"/>
                      </a:lnTo>
                      <a:lnTo>
                        <a:pt x="2192655" y="479869"/>
                      </a:lnTo>
                      <a:lnTo>
                        <a:pt x="2192540" y="481101"/>
                      </a:lnTo>
                      <a:lnTo>
                        <a:pt x="2193213" y="482371"/>
                      </a:lnTo>
                      <a:lnTo>
                        <a:pt x="2194268" y="483641"/>
                      </a:lnTo>
                      <a:lnTo>
                        <a:pt x="2196668" y="486181"/>
                      </a:lnTo>
                      <a:lnTo>
                        <a:pt x="2198789" y="486181"/>
                      </a:lnTo>
                      <a:lnTo>
                        <a:pt x="2200656" y="487451"/>
                      </a:lnTo>
                      <a:lnTo>
                        <a:pt x="2200808" y="486181"/>
                      </a:lnTo>
                      <a:lnTo>
                        <a:pt x="2200948" y="487451"/>
                      </a:lnTo>
                      <a:lnTo>
                        <a:pt x="2204085" y="487451"/>
                      </a:lnTo>
                      <a:lnTo>
                        <a:pt x="2212479" y="488721"/>
                      </a:lnTo>
                      <a:lnTo>
                        <a:pt x="2214372" y="488721"/>
                      </a:lnTo>
                      <a:lnTo>
                        <a:pt x="2213838" y="489991"/>
                      </a:lnTo>
                      <a:lnTo>
                        <a:pt x="2211006" y="491261"/>
                      </a:lnTo>
                      <a:lnTo>
                        <a:pt x="2209381" y="492531"/>
                      </a:lnTo>
                      <a:lnTo>
                        <a:pt x="2213470" y="495071"/>
                      </a:lnTo>
                      <a:lnTo>
                        <a:pt x="2212683" y="495071"/>
                      </a:lnTo>
                      <a:lnTo>
                        <a:pt x="2210600" y="496341"/>
                      </a:lnTo>
                      <a:lnTo>
                        <a:pt x="2212784" y="497611"/>
                      </a:lnTo>
                      <a:lnTo>
                        <a:pt x="2213241" y="498881"/>
                      </a:lnTo>
                      <a:lnTo>
                        <a:pt x="2213267" y="500151"/>
                      </a:lnTo>
                      <a:lnTo>
                        <a:pt x="2213229" y="501421"/>
                      </a:lnTo>
                      <a:lnTo>
                        <a:pt x="2213762" y="501421"/>
                      </a:lnTo>
                      <a:lnTo>
                        <a:pt x="2214118" y="502691"/>
                      </a:lnTo>
                      <a:lnTo>
                        <a:pt x="2215184" y="502691"/>
                      </a:lnTo>
                      <a:lnTo>
                        <a:pt x="2216391" y="503961"/>
                      </a:lnTo>
                      <a:lnTo>
                        <a:pt x="2214969" y="503961"/>
                      </a:lnTo>
                      <a:lnTo>
                        <a:pt x="2214537" y="505231"/>
                      </a:lnTo>
                      <a:lnTo>
                        <a:pt x="2214194" y="505231"/>
                      </a:lnTo>
                      <a:lnTo>
                        <a:pt x="2214448" y="506501"/>
                      </a:lnTo>
                      <a:lnTo>
                        <a:pt x="2213051" y="506501"/>
                      </a:lnTo>
                      <a:lnTo>
                        <a:pt x="2213064" y="507771"/>
                      </a:lnTo>
                      <a:lnTo>
                        <a:pt x="2219566" y="507771"/>
                      </a:lnTo>
                      <a:lnTo>
                        <a:pt x="2222893" y="509041"/>
                      </a:lnTo>
                      <a:lnTo>
                        <a:pt x="2226310" y="507771"/>
                      </a:lnTo>
                      <a:lnTo>
                        <a:pt x="2228126" y="505231"/>
                      </a:lnTo>
                      <a:lnTo>
                        <a:pt x="2229459" y="506501"/>
                      </a:lnTo>
                      <a:lnTo>
                        <a:pt x="2231186" y="507771"/>
                      </a:lnTo>
                      <a:lnTo>
                        <a:pt x="2236520" y="507771"/>
                      </a:lnTo>
                      <a:lnTo>
                        <a:pt x="2237105" y="509041"/>
                      </a:lnTo>
                      <a:lnTo>
                        <a:pt x="2237956" y="509041"/>
                      </a:lnTo>
                      <a:lnTo>
                        <a:pt x="2238476" y="507771"/>
                      </a:lnTo>
                      <a:lnTo>
                        <a:pt x="2239416" y="507771"/>
                      </a:lnTo>
                      <a:lnTo>
                        <a:pt x="2239835" y="506501"/>
                      </a:lnTo>
                      <a:lnTo>
                        <a:pt x="2239619" y="505231"/>
                      </a:lnTo>
                      <a:lnTo>
                        <a:pt x="2239772" y="505231"/>
                      </a:lnTo>
                      <a:lnTo>
                        <a:pt x="2240673" y="503961"/>
                      </a:lnTo>
                      <a:lnTo>
                        <a:pt x="2240432" y="502691"/>
                      </a:lnTo>
                      <a:lnTo>
                        <a:pt x="2240026" y="502691"/>
                      </a:lnTo>
                      <a:lnTo>
                        <a:pt x="2243010" y="501421"/>
                      </a:lnTo>
                      <a:lnTo>
                        <a:pt x="2244750" y="498881"/>
                      </a:lnTo>
                      <a:lnTo>
                        <a:pt x="2245169" y="498881"/>
                      </a:lnTo>
                      <a:lnTo>
                        <a:pt x="2245436" y="497611"/>
                      </a:lnTo>
                      <a:lnTo>
                        <a:pt x="2245296" y="496341"/>
                      </a:lnTo>
                      <a:lnTo>
                        <a:pt x="2244814" y="496341"/>
                      </a:lnTo>
                      <a:lnTo>
                        <a:pt x="2244356" y="495071"/>
                      </a:lnTo>
                      <a:lnTo>
                        <a:pt x="2244979" y="495071"/>
                      </a:lnTo>
                      <a:lnTo>
                        <a:pt x="2245728" y="493801"/>
                      </a:lnTo>
                      <a:lnTo>
                        <a:pt x="2249246" y="493801"/>
                      </a:lnTo>
                      <a:lnTo>
                        <a:pt x="2249982" y="492531"/>
                      </a:lnTo>
                      <a:lnTo>
                        <a:pt x="2250414" y="491261"/>
                      </a:lnTo>
                      <a:lnTo>
                        <a:pt x="2250783" y="491261"/>
                      </a:lnTo>
                      <a:lnTo>
                        <a:pt x="2252268" y="492531"/>
                      </a:lnTo>
                      <a:lnTo>
                        <a:pt x="2253919" y="492531"/>
                      </a:lnTo>
                      <a:lnTo>
                        <a:pt x="2253411" y="489991"/>
                      </a:lnTo>
                      <a:lnTo>
                        <a:pt x="2253208" y="488721"/>
                      </a:lnTo>
                      <a:lnTo>
                        <a:pt x="2253450" y="488721"/>
                      </a:lnTo>
                      <a:lnTo>
                        <a:pt x="2254339" y="489991"/>
                      </a:lnTo>
                      <a:lnTo>
                        <a:pt x="2256599" y="489991"/>
                      </a:lnTo>
                      <a:lnTo>
                        <a:pt x="2258999" y="491261"/>
                      </a:lnTo>
                      <a:lnTo>
                        <a:pt x="2260536" y="493801"/>
                      </a:lnTo>
                      <a:lnTo>
                        <a:pt x="2262136" y="496341"/>
                      </a:lnTo>
                      <a:lnTo>
                        <a:pt x="2265718" y="498881"/>
                      </a:lnTo>
                      <a:lnTo>
                        <a:pt x="2268182" y="498881"/>
                      </a:lnTo>
                      <a:lnTo>
                        <a:pt x="2273757" y="502691"/>
                      </a:lnTo>
                      <a:lnTo>
                        <a:pt x="2283891" y="502691"/>
                      </a:lnTo>
                      <a:lnTo>
                        <a:pt x="2287549" y="501421"/>
                      </a:lnTo>
                      <a:lnTo>
                        <a:pt x="2286012" y="503961"/>
                      </a:lnTo>
                      <a:lnTo>
                        <a:pt x="2288781" y="501421"/>
                      </a:lnTo>
                      <a:lnTo>
                        <a:pt x="2289111" y="501421"/>
                      </a:lnTo>
                      <a:lnTo>
                        <a:pt x="2289403" y="502691"/>
                      </a:lnTo>
                      <a:lnTo>
                        <a:pt x="2289086" y="505231"/>
                      </a:lnTo>
                      <a:lnTo>
                        <a:pt x="2288946" y="505231"/>
                      </a:lnTo>
                      <a:lnTo>
                        <a:pt x="2289873" y="506501"/>
                      </a:lnTo>
                      <a:lnTo>
                        <a:pt x="2290280" y="506501"/>
                      </a:lnTo>
                      <a:lnTo>
                        <a:pt x="2289162" y="507771"/>
                      </a:lnTo>
                      <a:lnTo>
                        <a:pt x="2294191" y="510311"/>
                      </a:lnTo>
                      <a:lnTo>
                        <a:pt x="2293556" y="510311"/>
                      </a:lnTo>
                      <a:lnTo>
                        <a:pt x="2293048" y="511581"/>
                      </a:lnTo>
                      <a:lnTo>
                        <a:pt x="2291829" y="511581"/>
                      </a:lnTo>
                      <a:lnTo>
                        <a:pt x="2291524" y="512851"/>
                      </a:lnTo>
                      <a:lnTo>
                        <a:pt x="2291677" y="514121"/>
                      </a:lnTo>
                      <a:lnTo>
                        <a:pt x="2291753" y="515391"/>
                      </a:lnTo>
                      <a:lnTo>
                        <a:pt x="2291461" y="516661"/>
                      </a:lnTo>
                      <a:lnTo>
                        <a:pt x="2289594" y="516661"/>
                      </a:lnTo>
                      <a:lnTo>
                        <a:pt x="2289238" y="515391"/>
                      </a:lnTo>
                      <a:lnTo>
                        <a:pt x="2290038" y="514121"/>
                      </a:lnTo>
                      <a:lnTo>
                        <a:pt x="2288006" y="514121"/>
                      </a:lnTo>
                      <a:lnTo>
                        <a:pt x="2284971" y="512851"/>
                      </a:lnTo>
                      <a:lnTo>
                        <a:pt x="2279523" y="512851"/>
                      </a:lnTo>
                      <a:lnTo>
                        <a:pt x="2267381" y="511581"/>
                      </a:lnTo>
                      <a:lnTo>
                        <a:pt x="2264448" y="511581"/>
                      </a:lnTo>
                      <a:lnTo>
                        <a:pt x="2263203" y="510311"/>
                      </a:lnTo>
                      <a:lnTo>
                        <a:pt x="2262289" y="510311"/>
                      </a:lnTo>
                      <a:lnTo>
                        <a:pt x="2261298" y="509041"/>
                      </a:lnTo>
                      <a:lnTo>
                        <a:pt x="2260625" y="510311"/>
                      </a:lnTo>
                      <a:lnTo>
                        <a:pt x="2255316" y="510311"/>
                      </a:lnTo>
                      <a:lnTo>
                        <a:pt x="2254618" y="511632"/>
                      </a:lnTo>
                      <a:lnTo>
                        <a:pt x="2253843" y="512851"/>
                      </a:lnTo>
                      <a:lnTo>
                        <a:pt x="2253323" y="514121"/>
                      </a:lnTo>
                      <a:lnTo>
                        <a:pt x="2252091" y="512851"/>
                      </a:lnTo>
                      <a:lnTo>
                        <a:pt x="2250859" y="511581"/>
                      </a:lnTo>
                      <a:lnTo>
                        <a:pt x="2249055" y="510311"/>
                      </a:lnTo>
                      <a:lnTo>
                        <a:pt x="2246261" y="510311"/>
                      </a:lnTo>
                      <a:lnTo>
                        <a:pt x="2245156" y="511581"/>
                      </a:lnTo>
                      <a:lnTo>
                        <a:pt x="2244725" y="511581"/>
                      </a:lnTo>
                      <a:lnTo>
                        <a:pt x="2244547" y="514121"/>
                      </a:lnTo>
                      <a:lnTo>
                        <a:pt x="2244077" y="516661"/>
                      </a:lnTo>
                      <a:lnTo>
                        <a:pt x="2243455" y="519201"/>
                      </a:lnTo>
                      <a:lnTo>
                        <a:pt x="2244966" y="520471"/>
                      </a:lnTo>
                      <a:lnTo>
                        <a:pt x="2245753" y="520471"/>
                      </a:lnTo>
                      <a:lnTo>
                        <a:pt x="2246249" y="521741"/>
                      </a:lnTo>
                      <a:lnTo>
                        <a:pt x="2247455" y="521741"/>
                      </a:lnTo>
                      <a:lnTo>
                        <a:pt x="2248065" y="523011"/>
                      </a:lnTo>
                      <a:lnTo>
                        <a:pt x="2248306" y="523011"/>
                      </a:lnTo>
                      <a:lnTo>
                        <a:pt x="2250046" y="526821"/>
                      </a:lnTo>
                      <a:lnTo>
                        <a:pt x="2250922" y="529361"/>
                      </a:lnTo>
                      <a:lnTo>
                        <a:pt x="2251608" y="530631"/>
                      </a:lnTo>
                      <a:lnTo>
                        <a:pt x="2253018" y="531901"/>
                      </a:lnTo>
                      <a:lnTo>
                        <a:pt x="2253627" y="533171"/>
                      </a:lnTo>
                      <a:lnTo>
                        <a:pt x="2254491" y="533171"/>
                      </a:lnTo>
                      <a:lnTo>
                        <a:pt x="2255482" y="534441"/>
                      </a:lnTo>
                      <a:lnTo>
                        <a:pt x="2256828" y="535711"/>
                      </a:lnTo>
                      <a:lnTo>
                        <a:pt x="2257425" y="535711"/>
                      </a:lnTo>
                      <a:lnTo>
                        <a:pt x="2265934" y="542061"/>
                      </a:lnTo>
                      <a:lnTo>
                        <a:pt x="2266365" y="543331"/>
                      </a:lnTo>
                      <a:lnTo>
                        <a:pt x="2268766" y="548411"/>
                      </a:lnTo>
                      <a:lnTo>
                        <a:pt x="2270861" y="549681"/>
                      </a:lnTo>
                      <a:lnTo>
                        <a:pt x="2271128" y="550951"/>
                      </a:lnTo>
                      <a:lnTo>
                        <a:pt x="2270531" y="550951"/>
                      </a:lnTo>
                      <a:lnTo>
                        <a:pt x="2271179" y="552221"/>
                      </a:lnTo>
                      <a:lnTo>
                        <a:pt x="2273262" y="552221"/>
                      </a:lnTo>
                      <a:lnTo>
                        <a:pt x="2273427" y="550951"/>
                      </a:lnTo>
                      <a:lnTo>
                        <a:pt x="2273566" y="550951"/>
                      </a:lnTo>
                      <a:lnTo>
                        <a:pt x="2273452" y="549681"/>
                      </a:lnTo>
                      <a:lnTo>
                        <a:pt x="2273300" y="549681"/>
                      </a:lnTo>
                      <a:lnTo>
                        <a:pt x="2272258" y="548411"/>
                      </a:lnTo>
                      <a:lnTo>
                        <a:pt x="2270391" y="547141"/>
                      </a:lnTo>
                      <a:lnTo>
                        <a:pt x="2268321" y="543331"/>
                      </a:lnTo>
                      <a:lnTo>
                        <a:pt x="2267648" y="540791"/>
                      </a:lnTo>
                      <a:lnTo>
                        <a:pt x="2264638" y="539521"/>
                      </a:lnTo>
                      <a:lnTo>
                        <a:pt x="2264245" y="538251"/>
                      </a:lnTo>
                      <a:lnTo>
                        <a:pt x="2263838" y="538251"/>
                      </a:lnTo>
                      <a:lnTo>
                        <a:pt x="2258618" y="534441"/>
                      </a:lnTo>
                      <a:lnTo>
                        <a:pt x="2258174" y="534441"/>
                      </a:lnTo>
                      <a:lnTo>
                        <a:pt x="2256879" y="533171"/>
                      </a:lnTo>
                      <a:lnTo>
                        <a:pt x="2255939" y="531901"/>
                      </a:lnTo>
                      <a:lnTo>
                        <a:pt x="2255075" y="530631"/>
                      </a:lnTo>
                      <a:lnTo>
                        <a:pt x="2254440" y="530631"/>
                      </a:lnTo>
                      <a:lnTo>
                        <a:pt x="2253373" y="529361"/>
                      </a:lnTo>
                      <a:lnTo>
                        <a:pt x="2252840" y="528091"/>
                      </a:lnTo>
                      <a:lnTo>
                        <a:pt x="2252434" y="526821"/>
                      </a:lnTo>
                      <a:lnTo>
                        <a:pt x="2252002" y="526821"/>
                      </a:lnTo>
                      <a:lnTo>
                        <a:pt x="2250821" y="523011"/>
                      </a:lnTo>
                      <a:lnTo>
                        <a:pt x="2250097" y="521741"/>
                      </a:lnTo>
                      <a:lnTo>
                        <a:pt x="2249640" y="520471"/>
                      </a:lnTo>
                      <a:lnTo>
                        <a:pt x="2248598" y="520471"/>
                      </a:lnTo>
                      <a:lnTo>
                        <a:pt x="2247646" y="519201"/>
                      </a:lnTo>
                      <a:lnTo>
                        <a:pt x="2246312" y="519201"/>
                      </a:lnTo>
                      <a:lnTo>
                        <a:pt x="2245868" y="517931"/>
                      </a:lnTo>
                      <a:lnTo>
                        <a:pt x="2246363" y="515391"/>
                      </a:lnTo>
                      <a:lnTo>
                        <a:pt x="2246642" y="514121"/>
                      </a:lnTo>
                      <a:lnTo>
                        <a:pt x="2246782" y="512851"/>
                      </a:lnTo>
                      <a:lnTo>
                        <a:pt x="2249741" y="512851"/>
                      </a:lnTo>
                      <a:lnTo>
                        <a:pt x="2252497" y="515391"/>
                      </a:lnTo>
                      <a:lnTo>
                        <a:pt x="2253792" y="516661"/>
                      </a:lnTo>
                      <a:lnTo>
                        <a:pt x="2254669" y="515391"/>
                      </a:lnTo>
                      <a:lnTo>
                        <a:pt x="2255609" y="514121"/>
                      </a:lnTo>
                      <a:lnTo>
                        <a:pt x="2256205" y="512851"/>
                      </a:lnTo>
                      <a:lnTo>
                        <a:pt x="2261273" y="512851"/>
                      </a:lnTo>
                      <a:lnTo>
                        <a:pt x="2261514" y="511632"/>
                      </a:lnTo>
                      <a:lnTo>
                        <a:pt x="2263635" y="512851"/>
                      </a:lnTo>
                      <a:lnTo>
                        <a:pt x="2265248" y="514121"/>
                      </a:lnTo>
                      <a:lnTo>
                        <a:pt x="2267051" y="514121"/>
                      </a:lnTo>
                      <a:lnTo>
                        <a:pt x="2279345" y="515391"/>
                      </a:lnTo>
                      <a:lnTo>
                        <a:pt x="2285022" y="515391"/>
                      </a:lnTo>
                      <a:lnTo>
                        <a:pt x="2286660" y="516661"/>
                      </a:lnTo>
                      <a:lnTo>
                        <a:pt x="2287219" y="516661"/>
                      </a:lnTo>
                      <a:lnTo>
                        <a:pt x="2287765" y="517931"/>
                      </a:lnTo>
                      <a:lnTo>
                        <a:pt x="2289137" y="517931"/>
                      </a:lnTo>
                      <a:lnTo>
                        <a:pt x="2290508" y="519201"/>
                      </a:lnTo>
                      <a:lnTo>
                        <a:pt x="2294966" y="519201"/>
                      </a:lnTo>
                      <a:lnTo>
                        <a:pt x="2294090" y="520471"/>
                      </a:lnTo>
                      <a:lnTo>
                        <a:pt x="2293721" y="521741"/>
                      </a:lnTo>
                      <a:lnTo>
                        <a:pt x="2292464" y="523011"/>
                      </a:lnTo>
                      <a:lnTo>
                        <a:pt x="2292223" y="524281"/>
                      </a:lnTo>
                      <a:lnTo>
                        <a:pt x="2292032" y="525551"/>
                      </a:lnTo>
                      <a:lnTo>
                        <a:pt x="2291994" y="526821"/>
                      </a:lnTo>
                      <a:lnTo>
                        <a:pt x="2293112" y="528091"/>
                      </a:lnTo>
                      <a:lnTo>
                        <a:pt x="2293416" y="529361"/>
                      </a:lnTo>
                      <a:lnTo>
                        <a:pt x="2295715" y="529361"/>
                      </a:lnTo>
                      <a:lnTo>
                        <a:pt x="2297265" y="531901"/>
                      </a:lnTo>
                      <a:lnTo>
                        <a:pt x="2297874" y="531901"/>
                      </a:lnTo>
                      <a:lnTo>
                        <a:pt x="2298230" y="533171"/>
                      </a:lnTo>
                      <a:lnTo>
                        <a:pt x="2296795" y="533171"/>
                      </a:lnTo>
                      <a:lnTo>
                        <a:pt x="2295956" y="531901"/>
                      </a:lnTo>
                      <a:lnTo>
                        <a:pt x="2295614" y="531901"/>
                      </a:lnTo>
                      <a:lnTo>
                        <a:pt x="2292807" y="530631"/>
                      </a:lnTo>
                      <a:lnTo>
                        <a:pt x="2294547" y="534441"/>
                      </a:lnTo>
                      <a:lnTo>
                        <a:pt x="2297303" y="536981"/>
                      </a:lnTo>
                      <a:lnTo>
                        <a:pt x="2297506" y="538251"/>
                      </a:lnTo>
                      <a:lnTo>
                        <a:pt x="2297036" y="539521"/>
                      </a:lnTo>
                      <a:lnTo>
                        <a:pt x="2294547" y="539521"/>
                      </a:lnTo>
                      <a:lnTo>
                        <a:pt x="2294128" y="540791"/>
                      </a:lnTo>
                      <a:lnTo>
                        <a:pt x="2293201" y="540791"/>
                      </a:lnTo>
                      <a:lnTo>
                        <a:pt x="2291804" y="539521"/>
                      </a:lnTo>
                      <a:lnTo>
                        <a:pt x="2291105" y="539521"/>
                      </a:lnTo>
                      <a:lnTo>
                        <a:pt x="2290686" y="540791"/>
                      </a:lnTo>
                      <a:lnTo>
                        <a:pt x="2290140" y="540791"/>
                      </a:lnTo>
                      <a:lnTo>
                        <a:pt x="2289175" y="542061"/>
                      </a:lnTo>
                      <a:lnTo>
                        <a:pt x="2290013" y="543331"/>
                      </a:lnTo>
                      <a:lnTo>
                        <a:pt x="2288870" y="543331"/>
                      </a:lnTo>
                      <a:lnTo>
                        <a:pt x="2287638" y="544601"/>
                      </a:lnTo>
                      <a:lnTo>
                        <a:pt x="2287054" y="544601"/>
                      </a:lnTo>
                      <a:lnTo>
                        <a:pt x="2286431" y="545871"/>
                      </a:lnTo>
                      <a:lnTo>
                        <a:pt x="2285796" y="545871"/>
                      </a:lnTo>
                      <a:lnTo>
                        <a:pt x="2284590" y="547141"/>
                      </a:lnTo>
                      <a:lnTo>
                        <a:pt x="2283168" y="549681"/>
                      </a:lnTo>
                      <a:lnTo>
                        <a:pt x="2283269" y="552221"/>
                      </a:lnTo>
                      <a:lnTo>
                        <a:pt x="2283980" y="554761"/>
                      </a:lnTo>
                      <a:lnTo>
                        <a:pt x="2284311" y="556031"/>
                      </a:lnTo>
                      <a:lnTo>
                        <a:pt x="2284120" y="557301"/>
                      </a:lnTo>
                      <a:lnTo>
                        <a:pt x="2282571" y="557301"/>
                      </a:lnTo>
                      <a:lnTo>
                        <a:pt x="2282685" y="558571"/>
                      </a:lnTo>
                      <a:lnTo>
                        <a:pt x="2282863" y="559841"/>
                      </a:lnTo>
                      <a:lnTo>
                        <a:pt x="2283650" y="559841"/>
                      </a:lnTo>
                      <a:lnTo>
                        <a:pt x="2283777" y="558571"/>
                      </a:lnTo>
                      <a:lnTo>
                        <a:pt x="2285885" y="558571"/>
                      </a:lnTo>
                      <a:lnTo>
                        <a:pt x="2286533" y="556031"/>
                      </a:lnTo>
                      <a:lnTo>
                        <a:pt x="2286355" y="554761"/>
                      </a:lnTo>
                      <a:lnTo>
                        <a:pt x="2286152" y="554761"/>
                      </a:lnTo>
                      <a:lnTo>
                        <a:pt x="2286063" y="553491"/>
                      </a:lnTo>
                      <a:lnTo>
                        <a:pt x="2285441" y="552221"/>
                      </a:lnTo>
                      <a:lnTo>
                        <a:pt x="2285327" y="550951"/>
                      </a:lnTo>
                      <a:lnTo>
                        <a:pt x="2286025" y="548411"/>
                      </a:lnTo>
                      <a:lnTo>
                        <a:pt x="2287308" y="547141"/>
                      </a:lnTo>
                      <a:lnTo>
                        <a:pt x="2288362" y="547141"/>
                      </a:lnTo>
                      <a:lnTo>
                        <a:pt x="2289810" y="545871"/>
                      </a:lnTo>
                      <a:lnTo>
                        <a:pt x="2294445" y="545871"/>
                      </a:lnTo>
                      <a:lnTo>
                        <a:pt x="2293074" y="543331"/>
                      </a:lnTo>
                      <a:lnTo>
                        <a:pt x="2292172" y="542061"/>
                      </a:lnTo>
                      <a:lnTo>
                        <a:pt x="2294572" y="542061"/>
                      </a:lnTo>
                      <a:lnTo>
                        <a:pt x="2308631" y="553491"/>
                      </a:lnTo>
                      <a:lnTo>
                        <a:pt x="2306066" y="553491"/>
                      </a:lnTo>
                      <a:lnTo>
                        <a:pt x="2305723" y="554761"/>
                      </a:lnTo>
                      <a:lnTo>
                        <a:pt x="2305329" y="554761"/>
                      </a:lnTo>
                      <a:lnTo>
                        <a:pt x="2305469" y="556031"/>
                      </a:lnTo>
                      <a:lnTo>
                        <a:pt x="2305583" y="557301"/>
                      </a:lnTo>
                      <a:lnTo>
                        <a:pt x="2304465" y="558571"/>
                      </a:lnTo>
                      <a:lnTo>
                        <a:pt x="2303589" y="558571"/>
                      </a:lnTo>
                      <a:lnTo>
                        <a:pt x="2302789" y="556031"/>
                      </a:lnTo>
                      <a:lnTo>
                        <a:pt x="2301951" y="554761"/>
                      </a:lnTo>
                      <a:lnTo>
                        <a:pt x="2300465" y="556031"/>
                      </a:lnTo>
                      <a:lnTo>
                        <a:pt x="2300020" y="556031"/>
                      </a:lnTo>
                      <a:lnTo>
                        <a:pt x="2299030" y="557301"/>
                      </a:lnTo>
                      <a:lnTo>
                        <a:pt x="2296845" y="561111"/>
                      </a:lnTo>
                      <a:lnTo>
                        <a:pt x="2296477" y="561111"/>
                      </a:lnTo>
                      <a:lnTo>
                        <a:pt x="2294966" y="563651"/>
                      </a:lnTo>
                      <a:lnTo>
                        <a:pt x="2294813" y="563651"/>
                      </a:lnTo>
                      <a:lnTo>
                        <a:pt x="2294382" y="564921"/>
                      </a:lnTo>
                      <a:lnTo>
                        <a:pt x="2295474" y="566191"/>
                      </a:lnTo>
                      <a:lnTo>
                        <a:pt x="2295868" y="566191"/>
                      </a:lnTo>
                      <a:lnTo>
                        <a:pt x="2295791" y="570001"/>
                      </a:lnTo>
                      <a:lnTo>
                        <a:pt x="2295652" y="571271"/>
                      </a:lnTo>
                      <a:lnTo>
                        <a:pt x="2297760" y="571271"/>
                      </a:lnTo>
                      <a:lnTo>
                        <a:pt x="2297849" y="568731"/>
                      </a:lnTo>
                      <a:lnTo>
                        <a:pt x="2298027" y="566191"/>
                      </a:lnTo>
                      <a:lnTo>
                        <a:pt x="2296985" y="564921"/>
                      </a:lnTo>
                      <a:lnTo>
                        <a:pt x="2298115" y="563651"/>
                      </a:lnTo>
                      <a:lnTo>
                        <a:pt x="2298344" y="562381"/>
                      </a:lnTo>
                      <a:lnTo>
                        <a:pt x="2298611" y="562381"/>
                      </a:lnTo>
                      <a:lnTo>
                        <a:pt x="2300490" y="559841"/>
                      </a:lnTo>
                      <a:lnTo>
                        <a:pt x="2301240" y="558571"/>
                      </a:lnTo>
                      <a:lnTo>
                        <a:pt x="2302383" y="561111"/>
                      </a:lnTo>
                      <a:lnTo>
                        <a:pt x="2303208" y="561111"/>
                      </a:lnTo>
                      <a:lnTo>
                        <a:pt x="2306370" y="559841"/>
                      </a:lnTo>
                      <a:lnTo>
                        <a:pt x="2306713" y="559841"/>
                      </a:lnTo>
                      <a:lnTo>
                        <a:pt x="2307806" y="561111"/>
                      </a:lnTo>
                      <a:lnTo>
                        <a:pt x="2308860" y="562381"/>
                      </a:lnTo>
                      <a:lnTo>
                        <a:pt x="2309799" y="562381"/>
                      </a:lnTo>
                      <a:lnTo>
                        <a:pt x="2310511" y="563651"/>
                      </a:lnTo>
                      <a:lnTo>
                        <a:pt x="2311146" y="563651"/>
                      </a:lnTo>
                      <a:lnTo>
                        <a:pt x="2311755" y="564921"/>
                      </a:lnTo>
                      <a:lnTo>
                        <a:pt x="2312390" y="564921"/>
                      </a:lnTo>
                      <a:lnTo>
                        <a:pt x="2312606" y="566191"/>
                      </a:lnTo>
                      <a:lnTo>
                        <a:pt x="2313114" y="570001"/>
                      </a:lnTo>
                      <a:lnTo>
                        <a:pt x="2312974" y="570001"/>
                      </a:lnTo>
                      <a:lnTo>
                        <a:pt x="2312797" y="571271"/>
                      </a:lnTo>
                      <a:lnTo>
                        <a:pt x="2312797" y="573811"/>
                      </a:lnTo>
                      <a:lnTo>
                        <a:pt x="2312505" y="573811"/>
                      </a:lnTo>
                      <a:lnTo>
                        <a:pt x="2311019" y="575081"/>
                      </a:lnTo>
                      <a:lnTo>
                        <a:pt x="2311539" y="576351"/>
                      </a:lnTo>
                      <a:lnTo>
                        <a:pt x="2312784" y="577621"/>
                      </a:lnTo>
                      <a:lnTo>
                        <a:pt x="2312797" y="578891"/>
                      </a:lnTo>
                      <a:lnTo>
                        <a:pt x="2311984" y="580161"/>
                      </a:lnTo>
                      <a:lnTo>
                        <a:pt x="2312212" y="581431"/>
                      </a:lnTo>
                      <a:lnTo>
                        <a:pt x="2312784" y="582701"/>
                      </a:lnTo>
                      <a:lnTo>
                        <a:pt x="2313368" y="582701"/>
                      </a:lnTo>
                      <a:lnTo>
                        <a:pt x="2313876" y="583971"/>
                      </a:lnTo>
                      <a:lnTo>
                        <a:pt x="2314575" y="583971"/>
                      </a:lnTo>
                      <a:lnTo>
                        <a:pt x="2315095" y="585241"/>
                      </a:lnTo>
                      <a:lnTo>
                        <a:pt x="2317191" y="587781"/>
                      </a:lnTo>
                      <a:lnTo>
                        <a:pt x="2318588" y="587781"/>
                      </a:lnTo>
                      <a:lnTo>
                        <a:pt x="2318702" y="589051"/>
                      </a:lnTo>
                      <a:lnTo>
                        <a:pt x="2319540" y="591591"/>
                      </a:lnTo>
                      <a:lnTo>
                        <a:pt x="2317064" y="592861"/>
                      </a:lnTo>
                      <a:lnTo>
                        <a:pt x="2315667" y="595401"/>
                      </a:lnTo>
                      <a:lnTo>
                        <a:pt x="2314752" y="597941"/>
                      </a:lnTo>
                      <a:lnTo>
                        <a:pt x="2314460" y="597941"/>
                      </a:lnTo>
                      <a:lnTo>
                        <a:pt x="2314206" y="599211"/>
                      </a:lnTo>
                      <a:lnTo>
                        <a:pt x="2312517" y="599211"/>
                      </a:lnTo>
                      <a:lnTo>
                        <a:pt x="2311400" y="600481"/>
                      </a:lnTo>
                      <a:lnTo>
                        <a:pt x="2310219" y="600481"/>
                      </a:lnTo>
                      <a:lnTo>
                        <a:pt x="2309571" y="601751"/>
                      </a:lnTo>
                      <a:lnTo>
                        <a:pt x="2309418" y="601751"/>
                      </a:lnTo>
                      <a:lnTo>
                        <a:pt x="2309393" y="603021"/>
                      </a:lnTo>
                      <a:lnTo>
                        <a:pt x="2309685" y="603021"/>
                      </a:lnTo>
                      <a:lnTo>
                        <a:pt x="2309952" y="604291"/>
                      </a:lnTo>
                      <a:lnTo>
                        <a:pt x="2309203" y="604291"/>
                      </a:lnTo>
                      <a:lnTo>
                        <a:pt x="2308872" y="605561"/>
                      </a:lnTo>
                      <a:lnTo>
                        <a:pt x="2308745" y="605561"/>
                      </a:lnTo>
                      <a:lnTo>
                        <a:pt x="2308618" y="606831"/>
                      </a:lnTo>
                      <a:lnTo>
                        <a:pt x="2305393" y="606831"/>
                      </a:lnTo>
                      <a:lnTo>
                        <a:pt x="2305481" y="608101"/>
                      </a:lnTo>
                      <a:lnTo>
                        <a:pt x="2310523" y="608101"/>
                      </a:lnTo>
                      <a:lnTo>
                        <a:pt x="2310815" y="606831"/>
                      </a:lnTo>
                      <a:lnTo>
                        <a:pt x="2310904" y="605561"/>
                      </a:lnTo>
                      <a:lnTo>
                        <a:pt x="2311146" y="605561"/>
                      </a:lnTo>
                      <a:lnTo>
                        <a:pt x="2313444" y="606831"/>
                      </a:lnTo>
                      <a:lnTo>
                        <a:pt x="2312479" y="604291"/>
                      </a:lnTo>
                      <a:lnTo>
                        <a:pt x="2311958" y="603021"/>
                      </a:lnTo>
                      <a:lnTo>
                        <a:pt x="2311603" y="603021"/>
                      </a:lnTo>
                      <a:lnTo>
                        <a:pt x="2312517" y="601751"/>
                      </a:lnTo>
                      <a:lnTo>
                        <a:pt x="2315159" y="601751"/>
                      </a:lnTo>
                      <a:lnTo>
                        <a:pt x="2316188" y="599211"/>
                      </a:lnTo>
                      <a:lnTo>
                        <a:pt x="2317572" y="595401"/>
                      </a:lnTo>
                      <a:lnTo>
                        <a:pt x="2318537" y="594131"/>
                      </a:lnTo>
                      <a:lnTo>
                        <a:pt x="2320988" y="592861"/>
                      </a:lnTo>
                      <a:lnTo>
                        <a:pt x="2322068" y="591591"/>
                      </a:lnTo>
                      <a:lnTo>
                        <a:pt x="2320950" y="589051"/>
                      </a:lnTo>
                      <a:lnTo>
                        <a:pt x="2321229" y="589051"/>
                      </a:lnTo>
                      <a:lnTo>
                        <a:pt x="2322398" y="587781"/>
                      </a:lnTo>
                      <a:lnTo>
                        <a:pt x="2331415" y="587781"/>
                      </a:lnTo>
                      <a:lnTo>
                        <a:pt x="2331923" y="586511"/>
                      </a:lnTo>
                      <a:lnTo>
                        <a:pt x="2332698" y="586511"/>
                      </a:lnTo>
                      <a:lnTo>
                        <a:pt x="2333040" y="585241"/>
                      </a:lnTo>
                      <a:lnTo>
                        <a:pt x="2333675" y="583971"/>
                      </a:lnTo>
                      <a:lnTo>
                        <a:pt x="2336914" y="583971"/>
                      </a:lnTo>
                      <a:lnTo>
                        <a:pt x="2337663" y="582701"/>
                      </a:lnTo>
                      <a:lnTo>
                        <a:pt x="2340267" y="583971"/>
                      </a:lnTo>
                      <a:lnTo>
                        <a:pt x="2343696" y="583971"/>
                      </a:lnTo>
                      <a:lnTo>
                        <a:pt x="2344890" y="582701"/>
                      </a:lnTo>
                      <a:lnTo>
                        <a:pt x="2345931" y="580161"/>
                      </a:lnTo>
                      <a:lnTo>
                        <a:pt x="2357818" y="580161"/>
                      </a:lnTo>
                      <a:lnTo>
                        <a:pt x="2358136" y="578891"/>
                      </a:lnTo>
                      <a:lnTo>
                        <a:pt x="2361996" y="577621"/>
                      </a:lnTo>
                      <a:lnTo>
                        <a:pt x="2364041" y="577621"/>
                      </a:lnTo>
                      <a:lnTo>
                        <a:pt x="2365337" y="576351"/>
                      </a:lnTo>
                      <a:lnTo>
                        <a:pt x="2371026" y="576351"/>
                      </a:lnTo>
                      <a:lnTo>
                        <a:pt x="2372969" y="578891"/>
                      </a:lnTo>
                      <a:lnTo>
                        <a:pt x="2374176" y="580161"/>
                      </a:lnTo>
                      <a:lnTo>
                        <a:pt x="2379294" y="580161"/>
                      </a:lnTo>
                      <a:lnTo>
                        <a:pt x="2379853" y="581431"/>
                      </a:lnTo>
                      <a:lnTo>
                        <a:pt x="2389327" y="581431"/>
                      </a:lnTo>
                      <a:lnTo>
                        <a:pt x="2391918" y="580161"/>
                      </a:lnTo>
                      <a:lnTo>
                        <a:pt x="2393594" y="580161"/>
                      </a:lnTo>
                      <a:lnTo>
                        <a:pt x="2394521" y="578891"/>
                      </a:lnTo>
                      <a:lnTo>
                        <a:pt x="2394724" y="578891"/>
                      </a:lnTo>
                      <a:lnTo>
                        <a:pt x="2395029" y="576351"/>
                      </a:lnTo>
                      <a:lnTo>
                        <a:pt x="2394826" y="575081"/>
                      </a:lnTo>
                      <a:lnTo>
                        <a:pt x="2394750" y="573811"/>
                      </a:lnTo>
                      <a:lnTo>
                        <a:pt x="2397455" y="573811"/>
                      </a:lnTo>
                      <a:lnTo>
                        <a:pt x="2398306" y="575081"/>
                      </a:lnTo>
                      <a:lnTo>
                        <a:pt x="2399322" y="575081"/>
                      </a:lnTo>
                      <a:lnTo>
                        <a:pt x="2399944" y="576351"/>
                      </a:lnTo>
                      <a:lnTo>
                        <a:pt x="2399690" y="576351"/>
                      </a:lnTo>
                      <a:lnTo>
                        <a:pt x="2399360" y="577621"/>
                      </a:lnTo>
                      <a:lnTo>
                        <a:pt x="2398750" y="577621"/>
                      </a:lnTo>
                      <a:lnTo>
                        <a:pt x="2397760" y="578891"/>
                      </a:lnTo>
                      <a:lnTo>
                        <a:pt x="2397023" y="578891"/>
                      </a:lnTo>
                      <a:lnTo>
                        <a:pt x="2396274" y="580161"/>
                      </a:lnTo>
                      <a:lnTo>
                        <a:pt x="2395715" y="580161"/>
                      </a:lnTo>
                      <a:lnTo>
                        <a:pt x="2395207" y="581431"/>
                      </a:lnTo>
                      <a:lnTo>
                        <a:pt x="2395448" y="582701"/>
                      </a:lnTo>
                      <a:lnTo>
                        <a:pt x="2395537" y="583971"/>
                      </a:lnTo>
                      <a:lnTo>
                        <a:pt x="2395207" y="583971"/>
                      </a:lnTo>
                      <a:lnTo>
                        <a:pt x="2395029" y="585241"/>
                      </a:lnTo>
                      <a:lnTo>
                        <a:pt x="2393721" y="586511"/>
                      </a:lnTo>
                      <a:lnTo>
                        <a:pt x="2392248" y="587781"/>
                      </a:lnTo>
                      <a:lnTo>
                        <a:pt x="2391486" y="589051"/>
                      </a:lnTo>
                      <a:lnTo>
                        <a:pt x="2392819" y="590321"/>
                      </a:lnTo>
                      <a:lnTo>
                        <a:pt x="2393772" y="590321"/>
                      </a:lnTo>
                      <a:lnTo>
                        <a:pt x="2395372" y="587781"/>
                      </a:lnTo>
                      <a:lnTo>
                        <a:pt x="2396858" y="586511"/>
                      </a:lnTo>
                      <a:lnTo>
                        <a:pt x="2397061" y="585241"/>
                      </a:lnTo>
                      <a:lnTo>
                        <a:pt x="2397836" y="583971"/>
                      </a:lnTo>
                      <a:lnTo>
                        <a:pt x="2397556" y="582701"/>
                      </a:lnTo>
                      <a:lnTo>
                        <a:pt x="2397404" y="581431"/>
                      </a:lnTo>
                      <a:lnTo>
                        <a:pt x="2397607" y="581431"/>
                      </a:lnTo>
                      <a:lnTo>
                        <a:pt x="2398166" y="580161"/>
                      </a:lnTo>
                      <a:lnTo>
                        <a:pt x="2398699" y="580161"/>
                      </a:lnTo>
                      <a:lnTo>
                        <a:pt x="2400985" y="578891"/>
                      </a:lnTo>
                      <a:lnTo>
                        <a:pt x="2401544" y="577621"/>
                      </a:lnTo>
                      <a:lnTo>
                        <a:pt x="2402167" y="576351"/>
                      </a:lnTo>
                      <a:lnTo>
                        <a:pt x="2402001" y="575081"/>
                      </a:lnTo>
                      <a:lnTo>
                        <a:pt x="2401138" y="575081"/>
                      </a:lnTo>
                      <a:lnTo>
                        <a:pt x="2400884" y="573811"/>
                      </a:lnTo>
                      <a:lnTo>
                        <a:pt x="2400058" y="573811"/>
                      </a:lnTo>
                      <a:lnTo>
                        <a:pt x="2399233" y="572541"/>
                      </a:lnTo>
                      <a:lnTo>
                        <a:pt x="2398788" y="572541"/>
                      </a:lnTo>
                      <a:lnTo>
                        <a:pt x="2399830" y="571271"/>
                      </a:lnTo>
                      <a:lnTo>
                        <a:pt x="2400554" y="571271"/>
                      </a:lnTo>
                      <a:lnTo>
                        <a:pt x="2400655" y="570001"/>
                      </a:lnTo>
                      <a:lnTo>
                        <a:pt x="2405850" y="568731"/>
                      </a:lnTo>
                      <a:lnTo>
                        <a:pt x="2410256" y="567461"/>
                      </a:lnTo>
                      <a:lnTo>
                        <a:pt x="2411018" y="568731"/>
                      </a:lnTo>
                      <a:lnTo>
                        <a:pt x="2412111" y="568731"/>
                      </a:lnTo>
                      <a:lnTo>
                        <a:pt x="2413228" y="570001"/>
                      </a:lnTo>
                      <a:lnTo>
                        <a:pt x="2414625" y="570001"/>
                      </a:lnTo>
                      <a:lnTo>
                        <a:pt x="2420924" y="568731"/>
                      </a:lnTo>
                      <a:lnTo>
                        <a:pt x="2420620" y="567461"/>
                      </a:lnTo>
                      <a:lnTo>
                        <a:pt x="2412796" y="567461"/>
                      </a:lnTo>
                      <a:lnTo>
                        <a:pt x="2412504" y="566191"/>
                      </a:lnTo>
                      <a:lnTo>
                        <a:pt x="2411438" y="566191"/>
                      </a:lnTo>
                      <a:lnTo>
                        <a:pt x="2410790" y="564921"/>
                      </a:lnTo>
                      <a:lnTo>
                        <a:pt x="2405227" y="566191"/>
                      </a:lnTo>
                      <a:lnTo>
                        <a:pt x="2399258" y="568731"/>
                      </a:lnTo>
                      <a:lnTo>
                        <a:pt x="2398903" y="568731"/>
                      </a:lnTo>
                      <a:lnTo>
                        <a:pt x="2398598" y="570001"/>
                      </a:lnTo>
                      <a:lnTo>
                        <a:pt x="2396909" y="571271"/>
                      </a:lnTo>
                      <a:lnTo>
                        <a:pt x="2393378" y="571271"/>
                      </a:lnTo>
                      <a:lnTo>
                        <a:pt x="2392718" y="572541"/>
                      </a:lnTo>
                      <a:lnTo>
                        <a:pt x="2391753" y="572541"/>
                      </a:lnTo>
                      <a:lnTo>
                        <a:pt x="2391575" y="573811"/>
                      </a:lnTo>
                      <a:lnTo>
                        <a:pt x="2391753" y="573811"/>
                      </a:lnTo>
                      <a:lnTo>
                        <a:pt x="2392121" y="575081"/>
                      </a:lnTo>
                      <a:lnTo>
                        <a:pt x="2392769" y="575081"/>
                      </a:lnTo>
                      <a:lnTo>
                        <a:pt x="2392857" y="576351"/>
                      </a:lnTo>
                      <a:lnTo>
                        <a:pt x="2392667" y="577621"/>
                      </a:lnTo>
                      <a:lnTo>
                        <a:pt x="2392083" y="577621"/>
                      </a:lnTo>
                      <a:lnTo>
                        <a:pt x="2390952" y="578891"/>
                      </a:lnTo>
                      <a:lnTo>
                        <a:pt x="2377605" y="578891"/>
                      </a:lnTo>
                      <a:lnTo>
                        <a:pt x="2375814" y="577621"/>
                      </a:lnTo>
                      <a:lnTo>
                        <a:pt x="2374354" y="577621"/>
                      </a:lnTo>
                      <a:lnTo>
                        <a:pt x="2373312" y="576351"/>
                      </a:lnTo>
                      <a:lnTo>
                        <a:pt x="2372283" y="575081"/>
                      </a:lnTo>
                      <a:lnTo>
                        <a:pt x="2371445" y="575081"/>
                      </a:lnTo>
                      <a:lnTo>
                        <a:pt x="2370886" y="573811"/>
                      </a:lnTo>
                      <a:lnTo>
                        <a:pt x="2369388" y="573811"/>
                      </a:lnTo>
                      <a:lnTo>
                        <a:pt x="2366734" y="575081"/>
                      </a:lnTo>
                      <a:lnTo>
                        <a:pt x="2363368" y="575081"/>
                      </a:lnTo>
                      <a:lnTo>
                        <a:pt x="2362060" y="576351"/>
                      </a:lnTo>
                      <a:lnTo>
                        <a:pt x="2358212" y="577621"/>
                      </a:lnTo>
                      <a:lnTo>
                        <a:pt x="2349131" y="577621"/>
                      </a:lnTo>
                      <a:lnTo>
                        <a:pt x="2349716" y="575081"/>
                      </a:lnTo>
                      <a:lnTo>
                        <a:pt x="2350033" y="573811"/>
                      </a:lnTo>
                      <a:lnTo>
                        <a:pt x="2350363" y="571271"/>
                      </a:lnTo>
                      <a:lnTo>
                        <a:pt x="2348077" y="568731"/>
                      </a:lnTo>
                      <a:lnTo>
                        <a:pt x="2348014" y="572541"/>
                      </a:lnTo>
                      <a:lnTo>
                        <a:pt x="2347938" y="573811"/>
                      </a:lnTo>
                      <a:lnTo>
                        <a:pt x="2346934" y="577621"/>
                      </a:lnTo>
                      <a:lnTo>
                        <a:pt x="2345664" y="577621"/>
                      </a:lnTo>
                      <a:lnTo>
                        <a:pt x="2345017" y="578891"/>
                      </a:lnTo>
                      <a:lnTo>
                        <a:pt x="2344153" y="578891"/>
                      </a:lnTo>
                      <a:lnTo>
                        <a:pt x="2343188" y="581431"/>
                      </a:lnTo>
                      <a:lnTo>
                        <a:pt x="2333942" y="581431"/>
                      </a:lnTo>
                      <a:lnTo>
                        <a:pt x="2332952" y="582701"/>
                      </a:lnTo>
                      <a:lnTo>
                        <a:pt x="2331923" y="582701"/>
                      </a:lnTo>
                      <a:lnTo>
                        <a:pt x="2331199" y="585241"/>
                      </a:lnTo>
                      <a:lnTo>
                        <a:pt x="2325992" y="585241"/>
                      </a:lnTo>
                      <a:lnTo>
                        <a:pt x="2324062" y="586511"/>
                      </a:lnTo>
                      <a:lnTo>
                        <a:pt x="2319921" y="586511"/>
                      </a:lnTo>
                      <a:lnTo>
                        <a:pt x="2319578" y="585241"/>
                      </a:lnTo>
                      <a:lnTo>
                        <a:pt x="2317851" y="585241"/>
                      </a:lnTo>
                      <a:lnTo>
                        <a:pt x="2316708" y="583971"/>
                      </a:lnTo>
                      <a:lnTo>
                        <a:pt x="2315756" y="582701"/>
                      </a:lnTo>
                      <a:lnTo>
                        <a:pt x="2315235" y="582701"/>
                      </a:lnTo>
                      <a:lnTo>
                        <a:pt x="2314879" y="581431"/>
                      </a:lnTo>
                      <a:lnTo>
                        <a:pt x="2314537" y="581431"/>
                      </a:lnTo>
                      <a:lnTo>
                        <a:pt x="2314244" y="580161"/>
                      </a:lnTo>
                      <a:lnTo>
                        <a:pt x="2314956" y="578891"/>
                      </a:lnTo>
                      <a:lnTo>
                        <a:pt x="2314867" y="577621"/>
                      </a:lnTo>
                      <a:lnTo>
                        <a:pt x="2313965" y="576351"/>
                      </a:lnTo>
                      <a:lnTo>
                        <a:pt x="2314244" y="576351"/>
                      </a:lnTo>
                      <a:lnTo>
                        <a:pt x="2314816" y="575081"/>
                      </a:lnTo>
                      <a:lnTo>
                        <a:pt x="2314930" y="572541"/>
                      </a:lnTo>
                      <a:lnTo>
                        <a:pt x="2314994" y="571271"/>
                      </a:lnTo>
                      <a:lnTo>
                        <a:pt x="2317432" y="571271"/>
                      </a:lnTo>
                      <a:lnTo>
                        <a:pt x="2317648" y="570001"/>
                      </a:lnTo>
                      <a:lnTo>
                        <a:pt x="2318118" y="570001"/>
                      </a:lnTo>
                      <a:lnTo>
                        <a:pt x="2319185" y="567461"/>
                      </a:lnTo>
                      <a:lnTo>
                        <a:pt x="2319502" y="567461"/>
                      </a:lnTo>
                      <a:lnTo>
                        <a:pt x="2319858" y="566191"/>
                      </a:lnTo>
                      <a:lnTo>
                        <a:pt x="2320480" y="566191"/>
                      </a:lnTo>
                      <a:lnTo>
                        <a:pt x="2320302" y="564921"/>
                      </a:lnTo>
                      <a:lnTo>
                        <a:pt x="2320760" y="566191"/>
                      </a:lnTo>
                      <a:lnTo>
                        <a:pt x="2321141" y="566191"/>
                      </a:lnTo>
                      <a:lnTo>
                        <a:pt x="2324214" y="567461"/>
                      </a:lnTo>
                      <a:lnTo>
                        <a:pt x="2326119" y="566191"/>
                      </a:lnTo>
                      <a:lnTo>
                        <a:pt x="2326259" y="564921"/>
                      </a:lnTo>
                      <a:lnTo>
                        <a:pt x="2329662" y="564921"/>
                      </a:lnTo>
                      <a:lnTo>
                        <a:pt x="2333536" y="563651"/>
                      </a:lnTo>
                      <a:lnTo>
                        <a:pt x="2339162" y="563651"/>
                      </a:lnTo>
                      <a:lnTo>
                        <a:pt x="2340241" y="564921"/>
                      </a:lnTo>
                      <a:lnTo>
                        <a:pt x="2343315" y="567461"/>
                      </a:lnTo>
                      <a:lnTo>
                        <a:pt x="2343988" y="566191"/>
                      </a:lnTo>
                      <a:lnTo>
                        <a:pt x="2343518" y="567461"/>
                      </a:lnTo>
                      <a:lnTo>
                        <a:pt x="2347785" y="571271"/>
                      </a:lnTo>
                      <a:lnTo>
                        <a:pt x="2348014" y="572541"/>
                      </a:lnTo>
                      <a:lnTo>
                        <a:pt x="2348014" y="568706"/>
                      </a:lnTo>
                      <a:lnTo>
                        <a:pt x="2345690" y="567461"/>
                      </a:lnTo>
                      <a:lnTo>
                        <a:pt x="2344902" y="566191"/>
                      </a:lnTo>
                      <a:lnTo>
                        <a:pt x="2344178" y="567461"/>
                      </a:lnTo>
                      <a:lnTo>
                        <a:pt x="2344674" y="566191"/>
                      </a:lnTo>
                      <a:lnTo>
                        <a:pt x="2342324" y="563651"/>
                      </a:lnTo>
                      <a:lnTo>
                        <a:pt x="2341410" y="562381"/>
                      </a:lnTo>
                      <a:lnTo>
                        <a:pt x="2341118" y="562381"/>
                      </a:lnTo>
                      <a:lnTo>
                        <a:pt x="2343353" y="561111"/>
                      </a:lnTo>
                      <a:lnTo>
                        <a:pt x="2343391" y="558571"/>
                      </a:lnTo>
                      <a:lnTo>
                        <a:pt x="2343061" y="558571"/>
                      </a:lnTo>
                      <a:lnTo>
                        <a:pt x="2342680" y="557301"/>
                      </a:lnTo>
                      <a:lnTo>
                        <a:pt x="2341842" y="556031"/>
                      </a:lnTo>
                      <a:lnTo>
                        <a:pt x="2341867" y="554761"/>
                      </a:lnTo>
                      <a:lnTo>
                        <a:pt x="2342070" y="553491"/>
                      </a:lnTo>
                      <a:lnTo>
                        <a:pt x="2343277" y="553491"/>
                      </a:lnTo>
                      <a:lnTo>
                        <a:pt x="2345004" y="552221"/>
                      </a:lnTo>
                      <a:lnTo>
                        <a:pt x="2349500" y="548411"/>
                      </a:lnTo>
                      <a:lnTo>
                        <a:pt x="2350503" y="547141"/>
                      </a:lnTo>
                      <a:lnTo>
                        <a:pt x="2348827" y="545871"/>
                      </a:lnTo>
                      <a:lnTo>
                        <a:pt x="2347099" y="545033"/>
                      </a:lnTo>
                      <a:lnTo>
                        <a:pt x="2347099" y="547141"/>
                      </a:lnTo>
                      <a:lnTo>
                        <a:pt x="2343670" y="550951"/>
                      </a:lnTo>
                      <a:lnTo>
                        <a:pt x="2342108" y="550951"/>
                      </a:lnTo>
                      <a:lnTo>
                        <a:pt x="2340978" y="552221"/>
                      </a:lnTo>
                      <a:lnTo>
                        <a:pt x="2340445" y="552221"/>
                      </a:lnTo>
                      <a:lnTo>
                        <a:pt x="2340267" y="553491"/>
                      </a:lnTo>
                      <a:lnTo>
                        <a:pt x="2339644" y="553491"/>
                      </a:lnTo>
                      <a:lnTo>
                        <a:pt x="2339670" y="556031"/>
                      </a:lnTo>
                      <a:lnTo>
                        <a:pt x="2339822" y="556031"/>
                      </a:lnTo>
                      <a:lnTo>
                        <a:pt x="2340686" y="558571"/>
                      </a:lnTo>
                      <a:lnTo>
                        <a:pt x="2340927" y="558571"/>
                      </a:lnTo>
                      <a:lnTo>
                        <a:pt x="2341207" y="559841"/>
                      </a:lnTo>
                      <a:lnTo>
                        <a:pt x="2339416" y="561111"/>
                      </a:lnTo>
                      <a:lnTo>
                        <a:pt x="2335593" y="561111"/>
                      </a:lnTo>
                      <a:lnTo>
                        <a:pt x="2330145" y="562292"/>
                      </a:lnTo>
                      <a:lnTo>
                        <a:pt x="2331097" y="561111"/>
                      </a:lnTo>
                      <a:lnTo>
                        <a:pt x="2332494" y="558571"/>
                      </a:lnTo>
                      <a:lnTo>
                        <a:pt x="2332088" y="556031"/>
                      </a:lnTo>
                      <a:lnTo>
                        <a:pt x="2330742" y="556031"/>
                      </a:lnTo>
                      <a:lnTo>
                        <a:pt x="2330208" y="555675"/>
                      </a:lnTo>
                      <a:lnTo>
                        <a:pt x="2330208" y="557301"/>
                      </a:lnTo>
                      <a:lnTo>
                        <a:pt x="2329662" y="559841"/>
                      </a:lnTo>
                      <a:lnTo>
                        <a:pt x="2328164" y="561111"/>
                      </a:lnTo>
                      <a:lnTo>
                        <a:pt x="2327554" y="562381"/>
                      </a:lnTo>
                      <a:lnTo>
                        <a:pt x="2326043" y="562381"/>
                      </a:lnTo>
                      <a:lnTo>
                        <a:pt x="2324379" y="563651"/>
                      </a:lnTo>
                      <a:lnTo>
                        <a:pt x="2324189" y="564921"/>
                      </a:lnTo>
                      <a:lnTo>
                        <a:pt x="2321712" y="564921"/>
                      </a:lnTo>
                      <a:lnTo>
                        <a:pt x="2320582" y="563651"/>
                      </a:lnTo>
                      <a:lnTo>
                        <a:pt x="2319832" y="564921"/>
                      </a:lnTo>
                      <a:lnTo>
                        <a:pt x="2318207" y="564921"/>
                      </a:lnTo>
                      <a:lnTo>
                        <a:pt x="2317445" y="566191"/>
                      </a:lnTo>
                      <a:lnTo>
                        <a:pt x="2316353" y="568731"/>
                      </a:lnTo>
                      <a:lnTo>
                        <a:pt x="2315718" y="568731"/>
                      </a:lnTo>
                      <a:lnTo>
                        <a:pt x="2315553" y="570001"/>
                      </a:lnTo>
                      <a:lnTo>
                        <a:pt x="2315197" y="570001"/>
                      </a:lnTo>
                      <a:lnTo>
                        <a:pt x="2314702" y="564921"/>
                      </a:lnTo>
                      <a:lnTo>
                        <a:pt x="2314219" y="563651"/>
                      </a:lnTo>
                      <a:lnTo>
                        <a:pt x="2313673" y="563651"/>
                      </a:lnTo>
                      <a:lnTo>
                        <a:pt x="2313292" y="562381"/>
                      </a:lnTo>
                      <a:lnTo>
                        <a:pt x="2312365" y="562381"/>
                      </a:lnTo>
                      <a:lnTo>
                        <a:pt x="2310841" y="561111"/>
                      </a:lnTo>
                      <a:lnTo>
                        <a:pt x="2309025" y="559841"/>
                      </a:lnTo>
                      <a:lnTo>
                        <a:pt x="2308085" y="558571"/>
                      </a:lnTo>
                      <a:lnTo>
                        <a:pt x="2307679" y="557301"/>
                      </a:lnTo>
                      <a:lnTo>
                        <a:pt x="2307513" y="556031"/>
                      </a:lnTo>
                      <a:lnTo>
                        <a:pt x="2308110" y="554761"/>
                      </a:lnTo>
                      <a:lnTo>
                        <a:pt x="2311463" y="554761"/>
                      </a:lnTo>
                      <a:lnTo>
                        <a:pt x="2313444" y="553491"/>
                      </a:lnTo>
                      <a:lnTo>
                        <a:pt x="2313279" y="553491"/>
                      </a:lnTo>
                      <a:lnTo>
                        <a:pt x="2313419" y="552221"/>
                      </a:lnTo>
                      <a:lnTo>
                        <a:pt x="2314638" y="552221"/>
                      </a:lnTo>
                      <a:lnTo>
                        <a:pt x="2316048" y="550951"/>
                      </a:lnTo>
                      <a:lnTo>
                        <a:pt x="2316810" y="550951"/>
                      </a:lnTo>
                      <a:lnTo>
                        <a:pt x="2317343" y="549681"/>
                      </a:lnTo>
                      <a:lnTo>
                        <a:pt x="2316137" y="547141"/>
                      </a:lnTo>
                      <a:lnTo>
                        <a:pt x="2320937" y="547141"/>
                      </a:lnTo>
                      <a:lnTo>
                        <a:pt x="2321166" y="548411"/>
                      </a:lnTo>
                      <a:lnTo>
                        <a:pt x="2321166" y="549681"/>
                      </a:lnTo>
                      <a:lnTo>
                        <a:pt x="2322347" y="552221"/>
                      </a:lnTo>
                      <a:lnTo>
                        <a:pt x="2325243" y="552221"/>
                      </a:lnTo>
                      <a:lnTo>
                        <a:pt x="2325852" y="554761"/>
                      </a:lnTo>
                      <a:lnTo>
                        <a:pt x="2327059" y="557301"/>
                      </a:lnTo>
                      <a:lnTo>
                        <a:pt x="2330208" y="557301"/>
                      </a:lnTo>
                      <a:lnTo>
                        <a:pt x="2330208" y="555675"/>
                      </a:lnTo>
                      <a:lnTo>
                        <a:pt x="2328900" y="554761"/>
                      </a:lnTo>
                      <a:lnTo>
                        <a:pt x="2328418" y="554761"/>
                      </a:lnTo>
                      <a:lnTo>
                        <a:pt x="2327821" y="553491"/>
                      </a:lnTo>
                      <a:lnTo>
                        <a:pt x="2326868" y="549681"/>
                      </a:lnTo>
                      <a:lnTo>
                        <a:pt x="2323287" y="549681"/>
                      </a:lnTo>
                      <a:lnTo>
                        <a:pt x="2323287" y="547141"/>
                      </a:lnTo>
                      <a:lnTo>
                        <a:pt x="2322652" y="545871"/>
                      </a:lnTo>
                      <a:lnTo>
                        <a:pt x="2318791" y="544601"/>
                      </a:lnTo>
                      <a:lnTo>
                        <a:pt x="2315210" y="544601"/>
                      </a:lnTo>
                      <a:lnTo>
                        <a:pt x="2314943" y="545871"/>
                      </a:lnTo>
                      <a:lnTo>
                        <a:pt x="2313902" y="545871"/>
                      </a:lnTo>
                      <a:lnTo>
                        <a:pt x="2313546" y="547141"/>
                      </a:lnTo>
                      <a:lnTo>
                        <a:pt x="2313851" y="548411"/>
                      </a:lnTo>
                      <a:lnTo>
                        <a:pt x="2314333" y="548411"/>
                      </a:lnTo>
                      <a:lnTo>
                        <a:pt x="2314829" y="549681"/>
                      </a:lnTo>
                      <a:lnTo>
                        <a:pt x="2311285" y="549681"/>
                      </a:lnTo>
                      <a:lnTo>
                        <a:pt x="2311298" y="552221"/>
                      </a:lnTo>
                      <a:lnTo>
                        <a:pt x="2311120" y="552221"/>
                      </a:lnTo>
                      <a:lnTo>
                        <a:pt x="2296795" y="542061"/>
                      </a:lnTo>
                      <a:lnTo>
                        <a:pt x="2297239" y="540791"/>
                      </a:lnTo>
                      <a:lnTo>
                        <a:pt x="2298890" y="540791"/>
                      </a:lnTo>
                      <a:lnTo>
                        <a:pt x="2299360" y="539521"/>
                      </a:lnTo>
                      <a:lnTo>
                        <a:pt x="2299589" y="539521"/>
                      </a:lnTo>
                      <a:lnTo>
                        <a:pt x="2299703" y="538251"/>
                      </a:lnTo>
                      <a:lnTo>
                        <a:pt x="2299678" y="536981"/>
                      </a:lnTo>
                      <a:lnTo>
                        <a:pt x="2299284" y="536981"/>
                      </a:lnTo>
                      <a:lnTo>
                        <a:pt x="2298941" y="535711"/>
                      </a:lnTo>
                      <a:lnTo>
                        <a:pt x="2298128" y="535711"/>
                      </a:lnTo>
                      <a:lnTo>
                        <a:pt x="2297887" y="534441"/>
                      </a:lnTo>
                      <a:lnTo>
                        <a:pt x="2300478" y="534441"/>
                      </a:lnTo>
                      <a:lnTo>
                        <a:pt x="2300655" y="533171"/>
                      </a:lnTo>
                      <a:lnTo>
                        <a:pt x="2301176" y="533171"/>
                      </a:lnTo>
                      <a:lnTo>
                        <a:pt x="2301341" y="531901"/>
                      </a:lnTo>
                      <a:lnTo>
                        <a:pt x="2301163" y="531901"/>
                      </a:lnTo>
                      <a:lnTo>
                        <a:pt x="2299995" y="530631"/>
                      </a:lnTo>
                      <a:lnTo>
                        <a:pt x="2299182" y="530631"/>
                      </a:lnTo>
                      <a:lnTo>
                        <a:pt x="2297671" y="528091"/>
                      </a:lnTo>
                      <a:lnTo>
                        <a:pt x="2296541" y="528091"/>
                      </a:lnTo>
                      <a:lnTo>
                        <a:pt x="2296261" y="526821"/>
                      </a:lnTo>
                      <a:lnTo>
                        <a:pt x="2294229" y="526821"/>
                      </a:lnTo>
                      <a:lnTo>
                        <a:pt x="2294331" y="524281"/>
                      </a:lnTo>
                      <a:lnTo>
                        <a:pt x="2295118" y="523011"/>
                      </a:lnTo>
                      <a:lnTo>
                        <a:pt x="2295525" y="523011"/>
                      </a:lnTo>
                      <a:lnTo>
                        <a:pt x="2296325" y="520471"/>
                      </a:lnTo>
                      <a:lnTo>
                        <a:pt x="2296553" y="520471"/>
                      </a:lnTo>
                      <a:lnTo>
                        <a:pt x="2298154" y="516661"/>
                      </a:lnTo>
                      <a:lnTo>
                        <a:pt x="2293785" y="516661"/>
                      </a:lnTo>
                      <a:lnTo>
                        <a:pt x="2293823" y="512851"/>
                      </a:lnTo>
                      <a:lnTo>
                        <a:pt x="2297138" y="512851"/>
                      </a:lnTo>
                      <a:lnTo>
                        <a:pt x="2299957" y="511581"/>
                      </a:lnTo>
                      <a:lnTo>
                        <a:pt x="2293455" y="507771"/>
                      </a:lnTo>
                      <a:lnTo>
                        <a:pt x="2293632" y="507771"/>
                      </a:lnTo>
                      <a:lnTo>
                        <a:pt x="2293734" y="506501"/>
                      </a:lnTo>
                      <a:lnTo>
                        <a:pt x="2292477" y="505231"/>
                      </a:lnTo>
                      <a:lnTo>
                        <a:pt x="2291194" y="505231"/>
                      </a:lnTo>
                      <a:lnTo>
                        <a:pt x="2291550" y="501421"/>
                      </a:lnTo>
                      <a:lnTo>
                        <a:pt x="2291296" y="501421"/>
                      </a:lnTo>
                      <a:lnTo>
                        <a:pt x="2290648" y="500151"/>
                      </a:lnTo>
                      <a:lnTo>
                        <a:pt x="2290902" y="500151"/>
                      </a:lnTo>
                      <a:lnTo>
                        <a:pt x="2300935" y="496341"/>
                      </a:lnTo>
                      <a:lnTo>
                        <a:pt x="2301811" y="495071"/>
                      </a:lnTo>
                      <a:lnTo>
                        <a:pt x="2305062" y="495071"/>
                      </a:lnTo>
                      <a:lnTo>
                        <a:pt x="2308021" y="496341"/>
                      </a:lnTo>
                      <a:lnTo>
                        <a:pt x="2308987" y="496341"/>
                      </a:lnTo>
                      <a:lnTo>
                        <a:pt x="2314397" y="503961"/>
                      </a:lnTo>
                      <a:lnTo>
                        <a:pt x="2315870" y="505231"/>
                      </a:lnTo>
                      <a:lnTo>
                        <a:pt x="2316149" y="505231"/>
                      </a:lnTo>
                      <a:lnTo>
                        <a:pt x="2315794" y="506501"/>
                      </a:lnTo>
                      <a:lnTo>
                        <a:pt x="2316035" y="507771"/>
                      </a:lnTo>
                      <a:lnTo>
                        <a:pt x="2316759" y="507771"/>
                      </a:lnTo>
                      <a:lnTo>
                        <a:pt x="2317102" y="509041"/>
                      </a:lnTo>
                      <a:lnTo>
                        <a:pt x="2318664" y="509041"/>
                      </a:lnTo>
                      <a:lnTo>
                        <a:pt x="2320112" y="510311"/>
                      </a:lnTo>
                      <a:lnTo>
                        <a:pt x="2321649" y="510311"/>
                      </a:lnTo>
                      <a:lnTo>
                        <a:pt x="2326043" y="512851"/>
                      </a:lnTo>
                      <a:lnTo>
                        <a:pt x="2326246" y="514121"/>
                      </a:lnTo>
                      <a:lnTo>
                        <a:pt x="2326462" y="515391"/>
                      </a:lnTo>
                      <a:lnTo>
                        <a:pt x="2326805" y="516661"/>
                      </a:lnTo>
                      <a:lnTo>
                        <a:pt x="2326665" y="516661"/>
                      </a:lnTo>
                      <a:lnTo>
                        <a:pt x="2322690" y="519201"/>
                      </a:lnTo>
                      <a:lnTo>
                        <a:pt x="2332977" y="523011"/>
                      </a:lnTo>
                      <a:lnTo>
                        <a:pt x="2334095" y="524281"/>
                      </a:lnTo>
                      <a:lnTo>
                        <a:pt x="2334933" y="524281"/>
                      </a:lnTo>
                      <a:lnTo>
                        <a:pt x="2335898" y="525551"/>
                      </a:lnTo>
                      <a:lnTo>
                        <a:pt x="2338209" y="525551"/>
                      </a:lnTo>
                      <a:lnTo>
                        <a:pt x="2338692" y="524281"/>
                      </a:lnTo>
                      <a:lnTo>
                        <a:pt x="2339213" y="524281"/>
                      </a:lnTo>
                      <a:lnTo>
                        <a:pt x="2340025" y="523011"/>
                      </a:lnTo>
                      <a:lnTo>
                        <a:pt x="2341321" y="523011"/>
                      </a:lnTo>
                      <a:lnTo>
                        <a:pt x="2341918" y="521741"/>
                      </a:lnTo>
                      <a:lnTo>
                        <a:pt x="2342172" y="521741"/>
                      </a:lnTo>
                      <a:lnTo>
                        <a:pt x="2342718" y="523011"/>
                      </a:lnTo>
                      <a:lnTo>
                        <a:pt x="2341803" y="523011"/>
                      </a:lnTo>
                      <a:lnTo>
                        <a:pt x="2341321" y="524281"/>
                      </a:lnTo>
                      <a:lnTo>
                        <a:pt x="2340864" y="524281"/>
                      </a:lnTo>
                      <a:lnTo>
                        <a:pt x="2340673" y="525551"/>
                      </a:lnTo>
                      <a:lnTo>
                        <a:pt x="2340737" y="526821"/>
                      </a:lnTo>
                      <a:lnTo>
                        <a:pt x="2341359" y="528091"/>
                      </a:lnTo>
                      <a:lnTo>
                        <a:pt x="2342604" y="529361"/>
                      </a:lnTo>
                      <a:lnTo>
                        <a:pt x="2342731" y="529361"/>
                      </a:lnTo>
                      <a:lnTo>
                        <a:pt x="2342578" y="530631"/>
                      </a:lnTo>
                      <a:lnTo>
                        <a:pt x="2342096" y="530631"/>
                      </a:lnTo>
                      <a:lnTo>
                        <a:pt x="2339162" y="535711"/>
                      </a:lnTo>
                      <a:lnTo>
                        <a:pt x="2339048" y="536981"/>
                      </a:lnTo>
                      <a:lnTo>
                        <a:pt x="2338895" y="536981"/>
                      </a:lnTo>
                      <a:lnTo>
                        <a:pt x="2339302" y="538251"/>
                      </a:lnTo>
                      <a:lnTo>
                        <a:pt x="2340406" y="540791"/>
                      </a:lnTo>
                      <a:lnTo>
                        <a:pt x="2341448" y="543331"/>
                      </a:lnTo>
                      <a:lnTo>
                        <a:pt x="2341956" y="543331"/>
                      </a:lnTo>
                      <a:lnTo>
                        <a:pt x="2343150" y="544601"/>
                      </a:lnTo>
                      <a:lnTo>
                        <a:pt x="2343734" y="544601"/>
                      </a:lnTo>
                      <a:lnTo>
                        <a:pt x="2345055" y="545871"/>
                      </a:lnTo>
                      <a:lnTo>
                        <a:pt x="2347099" y="547141"/>
                      </a:lnTo>
                      <a:lnTo>
                        <a:pt x="2347099" y="545033"/>
                      </a:lnTo>
                      <a:lnTo>
                        <a:pt x="2346248" y="544601"/>
                      </a:lnTo>
                      <a:lnTo>
                        <a:pt x="2345575" y="543331"/>
                      </a:lnTo>
                      <a:lnTo>
                        <a:pt x="2344521" y="543331"/>
                      </a:lnTo>
                      <a:lnTo>
                        <a:pt x="2343505" y="542061"/>
                      </a:lnTo>
                      <a:lnTo>
                        <a:pt x="2343112" y="542061"/>
                      </a:lnTo>
                      <a:lnTo>
                        <a:pt x="2342324" y="540791"/>
                      </a:lnTo>
                      <a:lnTo>
                        <a:pt x="2341283" y="536981"/>
                      </a:lnTo>
                      <a:lnTo>
                        <a:pt x="2341143" y="536981"/>
                      </a:lnTo>
                      <a:lnTo>
                        <a:pt x="2343137" y="533171"/>
                      </a:lnTo>
                      <a:lnTo>
                        <a:pt x="2343277" y="533171"/>
                      </a:lnTo>
                      <a:lnTo>
                        <a:pt x="2344470" y="530631"/>
                      </a:lnTo>
                      <a:lnTo>
                        <a:pt x="2344636" y="530631"/>
                      </a:lnTo>
                      <a:lnTo>
                        <a:pt x="2346998" y="531901"/>
                      </a:lnTo>
                      <a:lnTo>
                        <a:pt x="2347442" y="531901"/>
                      </a:lnTo>
                      <a:lnTo>
                        <a:pt x="2346363" y="534441"/>
                      </a:lnTo>
                      <a:lnTo>
                        <a:pt x="2346083" y="535711"/>
                      </a:lnTo>
                      <a:lnTo>
                        <a:pt x="2345931" y="535711"/>
                      </a:lnTo>
                      <a:lnTo>
                        <a:pt x="2346782" y="536981"/>
                      </a:lnTo>
                      <a:lnTo>
                        <a:pt x="2348407" y="536981"/>
                      </a:lnTo>
                      <a:lnTo>
                        <a:pt x="2349233" y="538251"/>
                      </a:lnTo>
                      <a:lnTo>
                        <a:pt x="2350363" y="538251"/>
                      </a:lnTo>
                      <a:lnTo>
                        <a:pt x="2351582" y="536981"/>
                      </a:lnTo>
                      <a:lnTo>
                        <a:pt x="2354326" y="536981"/>
                      </a:lnTo>
                      <a:lnTo>
                        <a:pt x="2357577" y="538251"/>
                      </a:lnTo>
                      <a:lnTo>
                        <a:pt x="2362885" y="539521"/>
                      </a:lnTo>
                      <a:lnTo>
                        <a:pt x="2368994" y="539521"/>
                      </a:lnTo>
                      <a:lnTo>
                        <a:pt x="2371293" y="538251"/>
                      </a:lnTo>
                      <a:lnTo>
                        <a:pt x="2371725" y="538251"/>
                      </a:lnTo>
                      <a:lnTo>
                        <a:pt x="2375535" y="539521"/>
                      </a:lnTo>
                      <a:lnTo>
                        <a:pt x="2376500" y="539521"/>
                      </a:lnTo>
                      <a:lnTo>
                        <a:pt x="2381351" y="540791"/>
                      </a:lnTo>
                      <a:lnTo>
                        <a:pt x="2387485" y="540791"/>
                      </a:lnTo>
                      <a:lnTo>
                        <a:pt x="2394369" y="535711"/>
                      </a:lnTo>
                      <a:lnTo>
                        <a:pt x="2395893" y="534441"/>
                      </a:lnTo>
                      <a:lnTo>
                        <a:pt x="2396833" y="534441"/>
                      </a:lnTo>
                      <a:lnTo>
                        <a:pt x="2397734" y="533171"/>
                      </a:lnTo>
                      <a:lnTo>
                        <a:pt x="2408542" y="531901"/>
                      </a:lnTo>
                      <a:lnTo>
                        <a:pt x="2410295" y="531901"/>
                      </a:lnTo>
                      <a:lnTo>
                        <a:pt x="2414651" y="534441"/>
                      </a:lnTo>
                      <a:lnTo>
                        <a:pt x="2428811" y="538251"/>
                      </a:lnTo>
                      <a:lnTo>
                        <a:pt x="2429484" y="536981"/>
                      </a:lnTo>
                      <a:lnTo>
                        <a:pt x="2415362" y="531901"/>
                      </a:lnTo>
                      <a:lnTo>
                        <a:pt x="2410917" y="530631"/>
                      </a:lnTo>
                      <a:lnTo>
                        <a:pt x="2410587" y="530631"/>
                      </a:lnTo>
                      <a:lnTo>
                        <a:pt x="2409533" y="529361"/>
                      </a:lnTo>
                      <a:lnTo>
                        <a:pt x="2408402" y="529361"/>
                      </a:lnTo>
                      <a:lnTo>
                        <a:pt x="2396947" y="531901"/>
                      </a:lnTo>
                      <a:lnTo>
                        <a:pt x="2394699" y="533171"/>
                      </a:lnTo>
                      <a:lnTo>
                        <a:pt x="2394102" y="533171"/>
                      </a:lnTo>
                      <a:lnTo>
                        <a:pt x="2393226" y="534441"/>
                      </a:lnTo>
                      <a:lnTo>
                        <a:pt x="2386787" y="538251"/>
                      </a:lnTo>
                      <a:lnTo>
                        <a:pt x="2382647" y="538251"/>
                      </a:lnTo>
                      <a:lnTo>
                        <a:pt x="2376843" y="536981"/>
                      </a:lnTo>
                      <a:lnTo>
                        <a:pt x="2372880" y="536981"/>
                      </a:lnTo>
                      <a:lnTo>
                        <a:pt x="2371521" y="535711"/>
                      </a:lnTo>
                      <a:lnTo>
                        <a:pt x="2368575" y="536981"/>
                      </a:lnTo>
                      <a:lnTo>
                        <a:pt x="2363241" y="536981"/>
                      </a:lnTo>
                      <a:lnTo>
                        <a:pt x="2358098" y="535711"/>
                      </a:lnTo>
                      <a:lnTo>
                        <a:pt x="2354453" y="534441"/>
                      </a:lnTo>
                      <a:lnTo>
                        <a:pt x="2352408" y="534441"/>
                      </a:lnTo>
                      <a:lnTo>
                        <a:pt x="2350706" y="535711"/>
                      </a:lnTo>
                      <a:lnTo>
                        <a:pt x="2348280" y="535711"/>
                      </a:lnTo>
                      <a:lnTo>
                        <a:pt x="2348357" y="534441"/>
                      </a:lnTo>
                      <a:lnTo>
                        <a:pt x="2349474" y="533171"/>
                      </a:lnTo>
                      <a:lnTo>
                        <a:pt x="2349754" y="531901"/>
                      </a:lnTo>
                      <a:lnTo>
                        <a:pt x="2350262" y="530631"/>
                      </a:lnTo>
                      <a:lnTo>
                        <a:pt x="2345283" y="528091"/>
                      </a:lnTo>
                      <a:lnTo>
                        <a:pt x="2344051" y="528091"/>
                      </a:lnTo>
                      <a:lnTo>
                        <a:pt x="2343264" y="526821"/>
                      </a:lnTo>
                      <a:lnTo>
                        <a:pt x="2342870" y="526821"/>
                      </a:lnTo>
                      <a:lnTo>
                        <a:pt x="2342870" y="525551"/>
                      </a:lnTo>
                      <a:lnTo>
                        <a:pt x="2343277" y="525551"/>
                      </a:lnTo>
                      <a:lnTo>
                        <a:pt x="2343353" y="524281"/>
                      </a:lnTo>
                      <a:lnTo>
                        <a:pt x="2346172" y="524281"/>
                      </a:lnTo>
                      <a:lnTo>
                        <a:pt x="2346134" y="523011"/>
                      </a:lnTo>
                      <a:lnTo>
                        <a:pt x="2345994" y="523011"/>
                      </a:lnTo>
                      <a:lnTo>
                        <a:pt x="2345791" y="521741"/>
                      </a:lnTo>
                      <a:lnTo>
                        <a:pt x="2345194" y="521741"/>
                      </a:lnTo>
                      <a:lnTo>
                        <a:pt x="2344432" y="520471"/>
                      </a:lnTo>
                      <a:lnTo>
                        <a:pt x="2339657" y="520471"/>
                      </a:lnTo>
                      <a:lnTo>
                        <a:pt x="2338578" y="521741"/>
                      </a:lnTo>
                      <a:lnTo>
                        <a:pt x="2337295" y="523011"/>
                      </a:lnTo>
                      <a:lnTo>
                        <a:pt x="2336139" y="523011"/>
                      </a:lnTo>
                      <a:lnTo>
                        <a:pt x="2335212" y="521741"/>
                      </a:lnTo>
                      <a:lnTo>
                        <a:pt x="2333917" y="521741"/>
                      </a:lnTo>
                      <a:lnTo>
                        <a:pt x="2327783" y="519201"/>
                      </a:lnTo>
                      <a:lnTo>
                        <a:pt x="2328862" y="517931"/>
                      </a:lnTo>
                      <a:lnTo>
                        <a:pt x="2329065" y="516661"/>
                      </a:lnTo>
                      <a:lnTo>
                        <a:pt x="2328570" y="514121"/>
                      </a:lnTo>
                      <a:lnTo>
                        <a:pt x="2328430" y="512851"/>
                      </a:lnTo>
                      <a:lnTo>
                        <a:pt x="2328126" y="512851"/>
                      </a:lnTo>
                      <a:lnTo>
                        <a:pt x="2327579" y="511581"/>
                      </a:lnTo>
                      <a:lnTo>
                        <a:pt x="2322677" y="509041"/>
                      </a:lnTo>
                      <a:lnTo>
                        <a:pt x="2322372" y="509041"/>
                      </a:lnTo>
                      <a:lnTo>
                        <a:pt x="2319007" y="507771"/>
                      </a:lnTo>
                      <a:lnTo>
                        <a:pt x="2318194" y="506501"/>
                      </a:lnTo>
                      <a:lnTo>
                        <a:pt x="2318321" y="505231"/>
                      </a:lnTo>
                      <a:lnTo>
                        <a:pt x="2318156" y="505231"/>
                      </a:lnTo>
                      <a:lnTo>
                        <a:pt x="2317597" y="503961"/>
                      </a:lnTo>
                      <a:lnTo>
                        <a:pt x="2316022" y="502691"/>
                      </a:lnTo>
                      <a:lnTo>
                        <a:pt x="2311476" y="496341"/>
                      </a:lnTo>
                      <a:lnTo>
                        <a:pt x="2315235" y="496341"/>
                      </a:lnTo>
                      <a:lnTo>
                        <a:pt x="2316226" y="495071"/>
                      </a:lnTo>
                      <a:lnTo>
                        <a:pt x="2317026" y="495071"/>
                      </a:lnTo>
                      <a:lnTo>
                        <a:pt x="2317927" y="493801"/>
                      </a:lnTo>
                      <a:lnTo>
                        <a:pt x="2323160" y="493801"/>
                      </a:lnTo>
                      <a:lnTo>
                        <a:pt x="2325992" y="489991"/>
                      </a:lnTo>
                      <a:lnTo>
                        <a:pt x="2326754" y="488721"/>
                      </a:lnTo>
                      <a:lnTo>
                        <a:pt x="2327605" y="486181"/>
                      </a:lnTo>
                      <a:lnTo>
                        <a:pt x="2328430" y="484911"/>
                      </a:lnTo>
                      <a:lnTo>
                        <a:pt x="2329904" y="481101"/>
                      </a:lnTo>
                      <a:lnTo>
                        <a:pt x="2330513" y="479831"/>
                      </a:lnTo>
                      <a:lnTo>
                        <a:pt x="2331008" y="478561"/>
                      </a:lnTo>
                      <a:lnTo>
                        <a:pt x="2332063" y="477291"/>
                      </a:lnTo>
                      <a:lnTo>
                        <a:pt x="2334780" y="473481"/>
                      </a:lnTo>
                      <a:lnTo>
                        <a:pt x="2336139" y="470941"/>
                      </a:lnTo>
                      <a:lnTo>
                        <a:pt x="2336939" y="469671"/>
                      </a:lnTo>
                      <a:lnTo>
                        <a:pt x="2337320" y="469671"/>
                      </a:lnTo>
                      <a:lnTo>
                        <a:pt x="2347328" y="463321"/>
                      </a:lnTo>
                      <a:lnTo>
                        <a:pt x="2348509" y="463321"/>
                      </a:lnTo>
                      <a:lnTo>
                        <a:pt x="2349169" y="462051"/>
                      </a:lnTo>
                      <a:lnTo>
                        <a:pt x="2350135" y="462051"/>
                      </a:lnTo>
                      <a:lnTo>
                        <a:pt x="2350490" y="460781"/>
                      </a:lnTo>
                      <a:lnTo>
                        <a:pt x="2352573" y="460781"/>
                      </a:lnTo>
                      <a:lnTo>
                        <a:pt x="2355380" y="463321"/>
                      </a:lnTo>
                      <a:lnTo>
                        <a:pt x="2356916" y="462051"/>
                      </a:lnTo>
                      <a:lnTo>
                        <a:pt x="2357361" y="462051"/>
                      </a:lnTo>
                      <a:lnTo>
                        <a:pt x="2360841" y="463321"/>
                      </a:lnTo>
                      <a:lnTo>
                        <a:pt x="2371699" y="463321"/>
                      </a:lnTo>
                      <a:lnTo>
                        <a:pt x="2373185" y="465861"/>
                      </a:lnTo>
                      <a:lnTo>
                        <a:pt x="2374989" y="467131"/>
                      </a:lnTo>
                      <a:lnTo>
                        <a:pt x="2378506" y="467131"/>
                      </a:lnTo>
                      <a:lnTo>
                        <a:pt x="2380551" y="465861"/>
                      </a:lnTo>
                      <a:lnTo>
                        <a:pt x="2382126" y="464591"/>
                      </a:lnTo>
                      <a:lnTo>
                        <a:pt x="2384425" y="464591"/>
                      </a:lnTo>
                      <a:lnTo>
                        <a:pt x="2385225" y="463321"/>
                      </a:lnTo>
                      <a:lnTo>
                        <a:pt x="2393188" y="463321"/>
                      </a:lnTo>
                      <a:lnTo>
                        <a:pt x="2393962" y="462051"/>
                      </a:lnTo>
                      <a:lnTo>
                        <a:pt x="2400998" y="458241"/>
                      </a:lnTo>
                      <a:lnTo>
                        <a:pt x="2403792" y="459511"/>
                      </a:lnTo>
                      <a:lnTo>
                        <a:pt x="2405761" y="459511"/>
                      </a:lnTo>
                      <a:lnTo>
                        <a:pt x="2406396" y="460781"/>
                      </a:lnTo>
                      <a:lnTo>
                        <a:pt x="2407577" y="463321"/>
                      </a:lnTo>
                      <a:lnTo>
                        <a:pt x="2407907" y="463321"/>
                      </a:lnTo>
                      <a:lnTo>
                        <a:pt x="2419045" y="478561"/>
                      </a:lnTo>
                      <a:lnTo>
                        <a:pt x="2420442" y="481101"/>
                      </a:lnTo>
                      <a:lnTo>
                        <a:pt x="2421140" y="483641"/>
                      </a:lnTo>
                      <a:lnTo>
                        <a:pt x="2421966" y="484911"/>
                      </a:lnTo>
                      <a:lnTo>
                        <a:pt x="2422271" y="486181"/>
                      </a:lnTo>
                      <a:lnTo>
                        <a:pt x="2422461" y="486181"/>
                      </a:lnTo>
                      <a:lnTo>
                        <a:pt x="2422906" y="488721"/>
                      </a:lnTo>
                      <a:lnTo>
                        <a:pt x="2422906" y="489991"/>
                      </a:lnTo>
                      <a:lnTo>
                        <a:pt x="2421394" y="493801"/>
                      </a:lnTo>
                      <a:lnTo>
                        <a:pt x="2420734" y="496341"/>
                      </a:lnTo>
                      <a:lnTo>
                        <a:pt x="2420594" y="500151"/>
                      </a:lnTo>
                      <a:lnTo>
                        <a:pt x="2420213" y="502691"/>
                      </a:lnTo>
                      <a:lnTo>
                        <a:pt x="2420264" y="503961"/>
                      </a:lnTo>
                      <a:lnTo>
                        <a:pt x="2420391" y="505231"/>
                      </a:lnTo>
                      <a:lnTo>
                        <a:pt x="2420721" y="506501"/>
                      </a:lnTo>
                      <a:lnTo>
                        <a:pt x="2421318" y="506501"/>
                      </a:lnTo>
                      <a:lnTo>
                        <a:pt x="2421661" y="507771"/>
                      </a:lnTo>
                      <a:lnTo>
                        <a:pt x="2423236" y="509041"/>
                      </a:lnTo>
                      <a:lnTo>
                        <a:pt x="2425738" y="510311"/>
                      </a:lnTo>
                      <a:lnTo>
                        <a:pt x="2426589" y="511581"/>
                      </a:lnTo>
                      <a:lnTo>
                        <a:pt x="2428621" y="511581"/>
                      </a:lnTo>
                      <a:lnTo>
                        <a:pt x="2430386" y="512851"/>
                      </a:lnTo>
                      <a:lnTo>
                        <a:pt x="2432240" y="512851"/>
                      </a:lnTo>
                      <a:lnTo>
                        <a:pt x="2433574" y="511581"/>
                      </a:lnTo>
                      <a:lnTo>
                        <a:pt x="2434005" y="511581"/>
                      </a:lnTo>
                      <a:lnTo>
                        <a:pt x="2435542" y="510311"/>
                      </a:lnTo>
                      <a:lnTo>
                        <a:pt x="2437041" y="510311"/>
                      </a:lnTo>
                      <a:lnTo>
                        <a:pt x="2439403" y="509041"/>
                      </a:lnTo>
                      <a:lnTo>
                        <a:pt x="2442629" y="509041"/>
                      </a:lnTo>
                      <a:lnTo>
                        <a:pt x="2443162" y="510311"/>
                      </a:lnTo>
                      <a:lnTo>
                        <a:pt x="2443823" y="511581"/>
                      </a:lnTo>
                      <a:lnTo>
                        <a:pt x="2445740" y="510311"/>
                      </a:lnTo>
                      <a:lnTo>
                        <a:pt x="2445016" y="509041"/>
                      </a:lnTo>
                      <a:lnTo>
                        <a:pt x="2443899" y="507771"/>
                      </a:lnTo>
                      <a:lnTo>
                        <a:pt x="2441943" y="506501"/>
                      </a:lnTo>
                      <a:lnTo>
                        <a:pt x="2438984" y="506501"/>
                      </a:lnTo>
                      <a:lnTo>
                        <a:pt x="2433091" y="509041"/>
                      </a:lnTo>
                      <a:lnTo>
                        <a:pt x="2431034" y="509041"/>
                      </a:lnTo>
                      <a:lnTo>
                        <a:pt x="2429179" y="510311"/>
                      </a:lnTo>
                      <a:lnTo>
                        <a:pt x="2428151" y="509041"/>
                      </a:lnTo>
                      <a:lnTo>
                        <a:pt x="2426906" y="509041"/>
                      </a:lnTo>
                      <a:lnTo>
                        <a:pt x="2425154" y="507771"/>
                      </a:lnTo>
                      <a:lnTo>
                        <a:pt x="2426055" y="506501"/>
                      </a:lnTo>
                      <a:lnTo>
                        <a:pt x="2430145" y="505231"/>
                      </a:lnTo>
                      <a:lnTo>
                        <a:pt x="2428519" y="503961"/>
                      </a:lnTo>
                      <a:lnTo>
                        <a:pt x="2428875" y="503961"/>
                      </a:lnTo>
                      <a:lnTo>
                        <a:pt x="2430805" y="501421"/>
                      </a:lnTo>
                      <a:lnTo>
                        <a:pt x="2431707" y="501421"/>
                      </a:lnTo>
                      <a:lnTo>
                        <a:pt x="2432139" y="500151"/>
                      </a:lnTo>
                      <a:lnTo>
                        <a:pt x="2432786" y="498881"/>
                      </a:lnTo>
                      <a:lnTo>
                        <a:pt x="2434209" y="498881"/>
                      </a:lnTo>
                      <a:lnTo>
                        <a:pt x="2434806" y="496341"/>
                      </a:lnTo>
                      <a:lnTo>
                        <a:pt x="2435339" y="495071"/>
                      </a:lnTo>
                      <a:lnTo>
                        <a:pt x="2435669" y="493801"/>
                      </a:lnTo>
                      <a:lnTo>
                        <a:pt x="2435542" y="493801"/>
                      </a:lnTo>
                      <a:lnTo>
                        <a:pt x="2435339" y="492531"/>
                      </a:lnTo>
                      <a:lnTo>
                        <a:pt x="2435555" y="489991"/>
                      </a:lnTo>
                      <a:lnTo>
                        <a:pt x="2435999" y="491261"/>
                      </a:lnTo>
                      <a:lnTo>
                        <a:pt x="2436507" y="491261"/>
                      </a:lnTo>
                      <a:lnTo>
                        <a:pt x="2437015" y="492531"/>
                      </a:lnTo>
                      <a:lnTo>
                        <a:pt x="2438755" y="492531"/>
                      </a:lnTo>
                      <a:lnTo>
                        <a:pt x="2439276" y="491261"/>
                      </a:lnTo>
                      <a:lnTo>
                        <a:pt x="2440559" y="491261"/>
                      </a:lnTo>
                      <a:lnTo>
                        <a:pt x="2440965" y="489991"/>
                      </a:lnTo>
                      <a:lnTo>
                        <a:pt x="2441130" y="489991"/>
                      </a:lnTo>
                      <a:lnTo>
                        <a:pt x="2441575" y="491261"/>
                      </a:lnTo>
                      <a:lnTo>
                        <a:pt x="2442083" y="491261"/>
                      </a:lnTo>
                      <a:lnTo>
                        <a:pt x="2443442" y="492531"/>
                      </a:lnTo>
                      <a:lnTo>
                        <a:pt x="2448687" y="492531"/>
                      </a:lnTo>
                      <a:lnTo>
                        <a:pt x="2450160" y="491261"/>
                      </a:lnTo>
                      <a:lnTo>
                        <a:pt x="2451633" y="491261"/>
                      </a:lnTo>
                      <a:lnTo>
                        <a:pt x="2451684" y="489991"/>
                      </a:lnTo>
                      <a:lnTo>
                        <a:pt x="2451354" y="489991"/>
                      </a:lnTo>
                      <a:lnTo>
                        <a:pt x="2451112" y="488721"/>
                      </a:lnTo>
                      <a:lnTo>
                        <a:pt x="2449665" y="488721"/>
                      </a:lnTo>
                      <a:lnTo>
                        <a:pt x="2448687" y="487451"/>
                      </a:lnTo>
                      <a:lnTo>
                        <a:pt x="2449512" y="484911"/>
                      </a:lnTo>
                      <a:lnTo>
                        <a:pt x="2448928" y="482371"/>
                      </a:lnTo>
                      <a:lnTo>
                        <a:pt x="2448636" y="482371"/>
                      </a:lnTo>
                      <a:lnTo>
                        <a:pt x="2448636" y="489991"/>
                      </a:lnTo>
                      <a:lnTo>
                        <a:pt x="2443403" y="489991"/>
                      </a:lnTo>
                      <a:lnTo>
                        <a:pt x="2443086" y="488721"/>
                      </a:lnTo>
                      <a:lnTo>
                        <a:pt x="2439809" y="488721"/>
                      </a:lnTo>
                      <a:lnTo>
                        <a:pt x="2438806" y="489991"/>
                      </a:lnTo>
                      <a:lnTo>
                        <a:pt x="2437904" y="489991"/>
                      </a:lnTo>
                      <a:lnTo>
                        <a:pt x="2437041" y="488721"/>
                      </a:lnTo>
                      <a:lnTo>
                        <a:pt x="2436482" y="488721"/>
                      </a:lnTo>
                      <a:lnTo>
                        <a:pt x="2435987" y="487451"/>
                      </a:lnTo>
                      <a:lnTo>
                        <a:pt x="2435060" y="487451"/>
                      </a:lnTo>
                      <a:lnTo>
                        <a:pt x="2433574" y="488721"/>
                      </a:lnTo>
                      <a:lnTo>
                        <a:pt x="2433358" y="491261"/>
                      </a:lnTo>
                      <a:lnTo>
                        <a:pt x="2433231" y="491261"/>
                      </a:lnTo>
                      <a:lnTo>
                        <a:pt x="2433218" y="493801"/>
                      </a:lnTo>
                      <a:lnTo>
                        <a:pt x="2433409" y="493801"/>
                      </a:lnTo>
                      <a:lnTo>
                        <a:pt x="2432786" y="496341"/>
                      </a:lnTo>
                      <a:lnTo>
                        <a:pt x="2432520" y="496341"/>
                      </a:lnTo>
                      <a:lnTo>
                        <a:pt x="2431872" y="497611"/>
                      </a:lnTo>
                      <a:lnTo>
                        <a:pt x="2430996" y="497611"/>
                      </a:lnTo>
                      <a:lnTo>
                        <a:pt x="2430500" y="498881"/>
                      </a:lnTo>
                      <a:lnTo>
                        <a:pt x="2430272" y="498881"/>
                      </a:lnTo>
                      <a:lnTo>
                        <a:pt x="2429853" y="500151"/>
                      </a:lnTo>
                      <a:lnTo>
                        <a:pt x="2429357" y="500151"/>
                      </a:lnTo>
                      <a:lnTo>
                        <a:pt x="2427338" y="501421"/>
                      </a:lnTo>
                      <a:lnTo>
                        <a:pt x="2426868" y="502691"/>
                      </a:lnTo>
                      <a:lnTo>
                        <a:pt x="2426474" y="502691"/>
                      </a:lnTo>
                      <a:lnTo>
                        <a:pt x="2426360" y="503961"/>
                      </a:lnTo>
                      <a:lnTo>
                        <a:pt x="2426525" y="503961"/>
                      </a:lnTo>
                      <a:lnTo>
                        <a:pt x="2426017" y="505231"/>
                      </a:lnTo>
                      <a:lnTo>
                        <a:pt x="2423922" y="505231"/>
                      </a:lnTo>
                      <a:lnTo>
                        <a:pt x="2423439" y="506501"/>
                      </a:lnTo>
                      <a:lnTo>
                        <a:pt x="2422944" y="505231"/>
                      </a:lnTo>
                      <a:lnTo>
                        <a:pt x="2422461" y="505231"/>
                      </a:lnTo>
                      <a:lnTo>
                        <a:pt x="2422347" y="502691"/>
                      </a:lnTo>
                      <a:lnTo>
                        <a:pt x="2422702" y="500151"/>
                      </a:lnTo>
                      <a:lnTo>
                        <a:pt x="2422842" y="496341"/>
                      </a:lnTo>
                      <a:lnTo>
                        <a:pt x="2423439" y="495071"/>
                      </a:lnTo>
                      <a:lnTo>
                        <a:pt x="2425052" y="489991"/>
                      </a:lnTo>
                      <a:lnTo>
                        <a:pt x="2425065" y="488721"/>
                      </a:lnTo>
                      <a:lnTo>
                        <a:pt x="2424519" y="486181"/>
                      </a:lnTo>
                      <a:lnTo>
                        <a:pt x="2424303" y="484911"/>
                      </a:lnTo>
                      <a:lnTo>
                        <a:pt x="2423934" y="484911"/>
                      </a:lnTo>
                      <a:lnTo>
                        <a:pt x="2423147" y="482371"/>
                      </a:lnTo>
                      <a:lnTo>
                        <a:pt x="2422398" y="479831"/>
                      </a:lnTo>
                      <a:lnTo>
                        <a:pt x="2420607" y="477291"/>
                      </a:lnTo>
                      <a:lnTo>
                        <a:pt x="2417216" y="474751"/>
                      </a:lnTo>
                      <a:lnTo>
                        <a:pt x="2415514" y="472211"/>
                      </a:lnTo>
                      <a:lnTo>
                        <a:pt x="2412047" y="467131"/>
                      </a:lnTo>
                      <a:lnTo>
                        <a:pt x="2409774" y="463321"/>
                      </a:lnTo>
                      <a:lnTo>
                        <a:pt x="2409418" y="462051"/>
                      </a:lnTo>
                      <a:lnTo>
                        <a:pt x="2408174" y="459511"/>
                      </a:lnTo>
                      <a:lnTo>
                        <a:pt x="2407208" y="458241"/>
                      </a:lnTo>
                      <a:lnTo>
                        <a:pt x="2405557" y="458241"/>
                      </a:lnTo>
                      <a:lnTo>
                        <a:pt x="2402979" y="456971"/>
                      </a:lnTo>
                      <a:lnTo>
                        <a:pt x="2403983" y="455701"/>
                      </a:lnTo>
                      <a:lnTo>
                        <a:pt x="2411488" y="455701"/>
                      </a:lnTo>
                      <a:lnTo>
                        <a:pt x="2413495" y="454431"/>
                      </a:lnTo>
                      <a:lnTo>
                        <a:pt x="2414981" y="454431"/>
                      </a:lnTo>
                      <a:lnTo>
                        <a:pt x="2418537" y="455701"/>
                      </a:lnTo>
                      <a:lnTo>
                        <a:pt x="2425623" y="459511"/>
                      </a:lnTo>
                      <a:lnTo>
                        <a:pt x="2427909" y="460781"/>
                      </a:lnTo>
                      <a:lnTo>
                        <a:pt x="2429510" y="460781"/>
                      </a:lnTo>
                      <a:lnTo>
                        <a:pt x="2431250" y="462051"/>
                      </a:lnTo>
                      <a:lnTo>
                        <a:pt x="2433053" y="463321"/>
                      </a:lnTo>
                      <a:lnTo>
                        <a:pt x="2436901" y="463321"/>
                      </a:lnTo>
                      <a:lnTo>
                        <a:pt x="2437231" y="464591"/>
                      </a:lnTo>
                      <a:lnTo>
                        <a:pt x="2436863" y="467131"/>
                      </a:lnTo>
                      <a:lnTo>
                        <a:pt x="2436507" y="468401"/>
                      </a:lnTo>
                      <a:lnTo>
                        <a:pt x="2435822" y="468401"/>
                      </a:lnTo>
                      <a:lnTo>
                        <a:pt x="2435593" y="469671"/>
                      </a:lnTo>
                      <a:lnTo>
                        <a:pt x="2435504" y="470941"/>
                      </a:lnTo>
                      <a:lnTo>
                        <a:pt x="2436063" y="470941"/>
                      </a:lnTo>
                      <a:lnTo>
                        <a:pt x="2437320" y="473481"/>
                      </a:lnTo>
                      <a:lnTo>
                        <a:pt x="2438222" y="473481"/>
                      </a:lnTo>
                      <a:lnTo>
                        <a:pt x="2439289" y="474751"/>
                      </a:lnTo>
                      <a:lnTo>
                        <a:pt x="2441841" y="474751"/>
                      </a:lnTo>
                      <a:lnTo>
                        <a:pt x="2441879" y="476021"/>
                      </a:lnTo>
                      <a:lnTo>
                        <a:pt x="2441613" y="476021"/>
                      </a:lnTo>
                      <a:lnTo>
                        <a:pt x="2439733" y="477291"/>
                      </a:lnTo>
                      <a:lnTo>
                        <a:pt x="2442273" y="479869"/>
                      </a:lnTo>
                      <a:lnTo>
                        <a:pt x="2443607" y="481101"/>
                      </a:lnTo>
                      <a:lnTo>
                        <a:pt x="2445347" y="482371"/>
                      </a:lnTo>
                      <a:lnTo>
                        <a:pt x="2445778" y="483641"/>
                      </a:lnTo>
                      <a:lnTo>
                        <a:pt x="2447023" y="483641"/>
                      </a:lnTo>
                      <a:lnTo>
                        <a:pt x="2447302" y="484911"/>
                      </a:lnTo>
                      <a:lnTo>
                        <a:pt x="2446553" y="487451"/>
                      </a:lnTo>
                      <a:lnTo>
                        <a:pt x="2446401" y="488721"/>
                      </a:lnTo>
                      <a:lnTo>
                        <a:pt x="2448636" y="489991"/>
                      </a:lnTo>
                      <a:lnTo>
                        <a:pt x="2448636" y="482371"/>
                      </a:lnTo>
                      <a:lnTo>
                        <a:pt x="2448064" y="482371"/>
                      </a:lnTo>
                      <a:lnTo>
                        <a:pt x="2447709" y="481101"/>
                      </a:lnTo>
                      <a:lnTo>
                        <a:pt x="2446655" y="481101"/>
                      </a:lnTo>
                      <a:lnTo>
                        <a:pt x="2445969" y="482371"/>
                      </a:lnTo>
                      <a:lnTo>
                        <a:pt x="2446413" y="481101"/>
                      </a:lnTo>
                      <a:lnTo>
                        <a:pt x="2444280" y="478561"/>
                      </a:lnTo>
                      <a:lnTo>
                        <a:pt x="2443264" y="477291"/>
                      </a:lnTo>
                      <a:lnTo>
                        <a:pt x="2443759" y="477291"/>
                      </a:lnTo>
                      <a:lnTo>
                        <a:pt x="2444013" y="476021"/>
                      </a:lnTo>
                      <a:lnTo>
                        <a:pt x="2444051" y="473481"/>
                      </a:lnTo>
                      <a:lnTo>
                        <a:pt x="2443721" y="473481"/>
                      </a:lnTo>
                      <a:lnTo>
                        <a:pt x="2442667" y="472211"/>
                      </a:lnTo>
                      <a:lnTo>
                        <a:pt x="2441143" y="472211"/>
                      </a:lnTo>
                      <a:lnTo>
                        <a:pt x="2440851" y="473481"/>
                      </a:lnTo>
                      <a:lnTo>
                        <a:pt x="2440241" y="472211"/>
                      </a:lnTo>
                      <a:lnTo>
                        <a:pt x="2439479" y="472211"/>
                      </a:lnTo>
                      <a:lnTo>
                        <a:pt x="2438870" y="470941"/>
                      </a:lnTo>
                      <a:lnTo>
                        <a:pt x="2438235" y="470941"/>
                      </a:lnTo>
                      <a:lnTo>
                        <a:pt x="2437765" y="469671"/>
                      </a:lnTo>
                      <a:lnTo>
                        <a:pt x="2438336" y="469671"/>
                      </a:lnTo>
                      <a:lnTo>
                        <a:pt x="2439492" y="465861"/>
                      </a:lnTo>
                      <a:lnTo>
                        <a:pt x="2438908" y="463321"/>
                      </a:lnTo>
                      <a:lnTo>
                        <a:pt x="2438743" y="462051"/>
                      </a:lnTo>
                      <a:lnTo>
                        <a:pt x="2438590" y="462051"/>
                      </a:lnTo>
                      <a:lnTo>
                        <a:pt x="2438031" y="460781"/>
                      </a:lnTo>
                      <a:lnTo>
                        <a:pt x="2432151" y="460781"/>
                      </a:lnTo>
                      <a:lnTo>
                        <a:pt x="2430348" y="459511"/>
                      </a:lnTo>
                      <a:lnTo>
                        <a:pt x="2428748" y="458241"/>
                      </a:lnTo>
                      <a:lnTo>
                        <a:pt x="2426487" y="456971"/>
                      </a:lnTo>
                      <a:lnTo>
                        <a:pt x="2421712" y="454431"/>
                      </a:lnTo>
                      <a:lnTo>
                        <a:pt x="2419337" y="453161"/>
                      </a:lnTo>
                      <a:lnTo>
                        <a:pt x="2415121" y="453161"/>
                      </a:lnTo>
                      <a:lnTo>
                        <a:pt x="2414066" y="451891"/>
                      </a:lnTo>
                      <a:lnTo>
                        <a:pt x="2413368" y="451891"/>
                      </a:lnTo>
                      <a:lnTo>
                        <a:pt x="2410891" y="453161"/>
                      </a:lnTo>
                      <a:lnTo>
                        <a:pt x="2405354" y="453161"/>
                      </a:lnTo>
                      <a:lnTo>
                        <a:pt x="2403005" y="454431"/>
                      </a:lnTo>
                      <a:lnTo>
                        <a:pt x="2399779" y="455701"/>
                      </a:lnTo>
                      <a:lnTo>
                        <a:pt x="2392896" y="460781"/>
                      </a:lnTo>
                      <a:lnTo>
                        <a:pt x="2392464" y="460781"/>
                      </a:lnTo>
                      <a:lnTo>
                        <a:pt x="2390876" y="462051"/>
                      </a:lnTo>
                      <a:lnTo>
                        <a:pt x="2381339" y="462051"/>
                      </a:lnTo>
                      <a:lnTo>
                        <a:pt x="2379294" y="463321"/>
                      </a:lnTo>
                      <a:lnTo>
                        <a:pt x="2376678" y="465861"/>
                      </a:lnTo>
                      <a:lnTo>
                        <a:pt x="2376132" y="465861"/>
                      </a:lnTo>
                      <a:lnTo>
                        <a:pt x="2374620" y="464591"/>
                      </a:lnTo>
                      <a:lnTo>
                        <a:pt x="2372957" y="462051"/>
                      </a:lnTo>
                      <a:lnTo>
                        <a:pt x="2370328" y="460781"/>
                      </a:lnTo>
                      <a:lnTo>
                        <a:pt x="2358301" y="460781"/>
                      </a:lnTo>
                      <a:lnTo>
                        <a:pt x="2356701" y="459511"/>
                      </a:lnTo>
                      <a:lnTo>
                        <a:pt x="2355481" y="460781"/>
                      </a:lnTo>
                      <a:lnTo>
                        <a:pt x="2353653" y="459511"/>
                      </a:lnTo>
                      <a:lnTo>
                        <a:pt x="2349068" y="459511"/>
                      </a:lnTo>
                      <a:lnTo>
                        <a:pt x="2347430" y="460781"/>
                      </a:lnTo>
                      <a:lnTo>
                        <a:pt x="2345867" y="460781"/>
                      </a:lnTo>
                      <a:lnTo>
                        <a:pt x="2345245" y="460082"/>
                      </a:lnTo>
                      <a:lnTo>
                        <a:pt x="2345245" y="462051"/>
                      </a:lnTo>
                      <a:lnTo>
                        <a:pt x="2338222" y="467131"/>
                      </a:lnTo>
                      <a:lnTo>
                        <a:pt x="2336152" y="468401"/>
                      </a:lnTo>
                      <a:lnTo>
                        <a:pt x="2334666" y="468401"/>
                      </a:lnTo>
                      <a:lnTo>
                        <a:pt x="2333828" y="470941"/>
                      </a:lnTo>
                      <a:lnTo>
                        <a:pt x="2332977" y="472211"/>
                      </a:lnTo>
                      <a:lnTo>
                        <a:pt x="2331643" y="473481"/>
                      </a:lnTo>
                      <a:lnTo>
                        <a:pt x="2330246" y="476021"/>
                      </a:lnTo>
                      <a:lnTo>
                        <a:pt x="2329154" y="478561"/>
                      </a:lnTo>
                      <a:lnTo>
                        <a:pt x="2328672" y="478561"/>
                      </a:lnTo>
                      <a:lnTo>
                        <a:pt x="2327948" y="479869"/>
                      </a:lnTo>
                      <a:lnTo>
                        <a:pt x="2326081" y="484911"/>
                      </a:lnTo>
                      <a:lnTo>
                        <a:pt x="2325674" y="486181"/>
                      </a:lnTo>
                      <a:lnTo>
                        <a:pt x="2324912" y="487451"/>
                      </a:lnTo>
                      <a:lnTo>
                        <a:pt x="2324214" y="488721"/>
                      </a:lnTo>
                      <a:lnTo>
                        <a:pt x="2322499" y="491261"/>
                      </a:lnTo>
                      <a:lnTo>
                        <a:pt x="2317546" y="491261"/>
                      </a:lnTo>
                      <a:lnTo>
                        <a:pt x="2316924" y="492531"/>
                      </a:lnTo>
                      <a:lnTo>
                        <a:pt x="2315959" y="492531"/>
                      </a:lnTo>
                      <a:lnTo>
                        <a:pt x="2315578" y="493801"/>
                      </a:lnTo>
                      <a:lnTo>
                        <a:pt x="2314752" y="493801"/>
                      </a:lnTo>
                      <a:lnTo>
                        <a:pt x="2309736" y="495071"/>
                      </a:lnTo>
                      <a:lnTo>
                        <a:pt x="2309317" y="493801"/>
                      </a:lnTo>
                      <a:lnTo>
                        <a:pt x="2301722" y="493801"/>
                      </a:lnTo>
                      <a:lnTo>
                        <a:pt x="2292807" y="496341"/>
                      </a:lnTo>
                      <a:lnTo>
                        <a:pt x="2294661" y="493801"/>
                      </a:lnTo>
                      <a:lnTo>
                        <a:pt x="2289746" y="497611"/>
                      </a:lnTo>
                      <a:lnTo>
                        <a:pt x="2288844" y="497611"/>
                      </a:lnTo>
                      <a:lnTo>
                        <a:pt x="2285098" y="500151"/>
                      </a:lnTo>
                      <a:lnTo>
                        <a:pt x="2282317" y="500151"/>
                      </a:lnTo>
                      <a:lnTo>
                        <a:pt x="2281110" y="501421"/>
                      </a:lnTo>
                      <a:lnTo>
                        <a:pt x="2279307" y="501421"/>
                      </a:lnTo>
                      <a:lnTo>
                        <a:pt x="2276843" y="500151"/>
                      </a:lnTo>
                      <a:lnTo>
                        <a:pt x="2274392" y="500151"/>
                      </a:lnTo>
                      <a:lnTo>
                        <a:pt x="2260612" y="489991"/>
                      </a:lnTo>
                      <a:lnTo>
                        <a:pt x="2259368" y="488721"/>
                      </a:lnTo>
                      <a:lnTo>
                        <a:pt x="2257666" y="488721"/>
                      </a:lnTo>
                      <a:lnTo>
                        <a:pt x="2255367" y="487451"/>
                      </a:lnTo>
                      <a:lnTo>
                        <a:pt x="2255164" y="486181"/>
                      </a:lnTo>
                      <a:lnTo>
                        <a:pt x="2255139" y="484911"/>
                      </a:lnTo>
                      <a:lnTo>
                        <a:pt x="2254567" y="484911"/>
                      </a:lnTo>
                      <a:lnTo>
                        <a:pt x="2254262" y="483641"/>
                      </a:lnTo>
                      <a:lnTo>
                        <a:pt x="2254008" y="482371"/>
                      </a:lnTo>
                      <a:lnTo>
                        <a:pt x="2253716" y="482371"/>
                      </a:lnTo>
                      <a:lnTo>
                        <a:pt x="2253272" y="481101"/>
                      </a:lnTo>
                      <a:lnTo>
                        <a:pt x="2253183" y="487451"/>
                      </a:lnTo>
                      <a:lnTo>
                        <a:pt x="2251786" y="487451"/>
                      </a:lnTo>
                      <a:lnTo>
                        <a:pt x="2251151" y="488721"/>
                      </a:lnTo>
                      <a:lnTo>
                        <a:pt x="2251214" y="489991"/>
                      </a:lnTo>
                      <a:lnTo>
                        <a:pt x="2248509" y="489991"/>
                      </a:lnTo>
                      <a:lnTo>
                        <a:pt x="2248433" y="491261"/>
                      </a:lnTo>
                      <a:lnTo>
                        <a:pt x="2246909" y="491261"/>
                      </a:lnTo>
                      <a:lnTo>
                        <a:pt x="2245258" y="492531"/>
                      </a:lnTo>
                      <a:lnTo>
                        <a:pt x="2243264" y="492531"/>
                      </a:lnTo>
                      <a:lnTo>
                        <a:pt x="2242959" y="493801"/>
                      </a:lnTo>
                      <a:lnTo>
                        <a:pt x="2242553" y="493801"/>
                      </a:lnTo>
                      <a:lnTo>
                        <a:pt x="2242070" y="495071"/>
                      </a:lnTo>
                      <a:lnTo>
                        <a:pt x="2242274" y="496341"/>
                      </a:lnTo>
                      <a:lnTo>
                        <a:pt x="2242769" y="497611"/>
                      </a:lnTo>
                      <a:lnTo>
                        <a:pt x="2243086" y="497611"/>
                      </a:lnTo>
                      <a:lnTo>
                        <a:pt x="2242489" y="498881"/>
                      </a:lnTo>
                      <a:lnTo>
                        <a:pt x="2241677" y="498881"/>
                      </a:lnTo>
                      <a:lnTo>
                        <a:pt x="2238159" y="501421"/>
                      </a:lnTo>
                      <a:lnTo>
                        <a:pt x="2235911" y="502691"/>
                      </a:lnTo>
                      <a:lnTo>
                        <a:pt x="2238083" y="503961"/>
                      </a:lnTo>
                      <a:lnTo>
                        <a:pt x="2237841" y="503961"/>
                      </a:lnTo>
                      <a:lnTo>
                        <a:pt x="2237600" y="505231"/>
                      </a:lnTo>
                      <a:lnTo>
                        <a:pt x="2237371" y="505231"/>
                      </a:lnTo>
                      <a:lnTo>
                        <a:pt x="2237270" y="506501"/>
                      </a:lnTo>
                      <a:lnTo>
                        <a:pt x="2236368" y="506501"/>
                      </a:lnTo>
                      <a:lnTo>
                        <a:pt x="2235543" y="505231"/>
                      </a:lnTo>
                      <a:lnTo>
                        <a:pt x="2230767" y="505231"/>
                      </a:lnTo>
                      <a:lnTo>
                        <a:pt x="2229116" y="502691"/>
                      </a:lnTo>
                      <a:lnTo>
                        <a:pt x="2227770" y="501421"/>
                      </a:lnTo>
                      <a:lnTo>
                        <a:pt x="2226246" y="505231"/>
                      </a:lnTo>
                      <a:lnTo>
                        <a:pt x="2223008" y="506501"/>
                      </a:lnTo>
                      <a:lnTo>
                        <a:pt x="2220811" y="505231"/>
                      </a:lnTo>
                      <a:lnTo>
                        <a:pt x="2219401" y="505231"/>
                      </a:lnTo>
                      <a:lnTo>
                        <a:pt x="2219693" y="503961"/>
                      </a:lnTo>
                      <a:lnTo>
                        <a:pt x="2219083" y="503961"/>
                      </a:lnTo>
                      <a:lnTo>
                        <a:pt x="2218842" y="502691"/>
                      </a:lnTo>
                      <a:lnTo>
                        <a:pt x="2218296" y="502691"/>
                      </a:lnTo>
                      <a:lnTo>
                        <a:pt x="2217788" y="501421"/>
                      </a:lnTo>
                      <a:lnTo>
                        <a:pt x="2216315" y="501421"/>
                      </a:lnTo>
                      <a:lnTo>
                        <a:pt x="2215299" y="500151"/>
                      </a:lnTo>
                      <a:lnTo>
                        <a:pt x="2215489" y="498881"/>
                      </a:lnTo>
                      <a:lnTo>
                        <a:pt x="2215350" y="497611"/>
                      </a:lnTo>
                      <a:lnTo>
                        <a:pt x="2214892" y="497611"/>
                      </a:lnTo>
                      <a:lnTo>
                        <a:pt x="2214511" y="496341"/>
                      </a:lnTo>
                      <a:lnTo>
                        <a:pt x="2214829" y="496341"/>
                      </a:lnTo>
                      <a:lnTo>
                        <a:pt x="2215921" y="495071"/>
                      </a:lnTo>
                      <a:lnTo>
                        <a:pt x="2216950" y="493801"/>
                      </a:lnTo>
                      <a:lnTo>
                        <a:pt x="2214943" y="493801"/>
                      </a:lnTo>
                      <a:lnTo>
                        <a:pt x="2213495" y="492531"/>
                      </a:lnTo>
                      <a:lnTo>
                        <a:pt x="2214727" y="491261"/>
                      </a:lnTo>
                      <a:lnTo>
                        <a:pt x="2216061" y="491261"/>
                      </a:lnTo>
                      <a:lnTo>
                        <a:pt x="2216632" y="489991"/>
                      </a:lnTo>
                      <a:lnTo>
                        <a:pt x="2220163" y="489991"/>
                      </a:lnTo>
                      <a:lnTo>
                        <a:pt x="2221966" y="491261"/>
                      </a:lnTo>
                      <a:lnTo>
                        <a:pt x="2227872" y="491261"/>
                      </a:lnTo>
                      <a:lnTo>
                        <a:pt x="2227923" y="492531"/>
                      </a:lnTo>
                      <a:lnTo>
                        <a:pt x="2228786" y="491261"/>
                      </a:lnTo>
                      <a:lnTo>
                        <a:pt x="2231275" y="489991"/>
                      </a:lnTo>
                      <a:lnTo>
                        <a:pt x="2232025" y="489991"/>
                      </a:lnTo>
                      <a:lnTo>
                        <a:pt x="2232774" y="488721"/>
                      </a:lnTo>
                      <a:lnTo>
                        <a:pt x="2233879" y="487451"/>
                      </a:lnTo>
                      <a:lnTo>
                        <a:pt x="2242896" y="487451"/>
                      </a:lnTo>
                      <a:lnTo>
                        <a:pt x="2244293" y="486181"/>
                      </a:lnTo>
                      <a:lnTo>
                        <a:pt x="2247481" y="486181"/>
                      </a:lnTo>
                      <a:lnTo>
                        <a:pt x="2248433" y="487451"/>
                      </a:lnTo>
                      <a:lnTo>
                        <a:pt x="2250821" y="487451"/>
                      </a:lnTo>
                      <a:lnTo>
                        <a:pt x="2250300" y="486181"/>
                      </a:lnTo>
                      <a:lnTo>
                        <a:pt x="2249792" y="484911"/>
                      </a:lnTo>
                      <a:lnTo>
                        <a:pt x="2249741" y="483641"/>
                      </a:lnTo>
                      <a:lnTo>
                        <a:pt x="2252002" y="483641"/>
                      </a:lnTo>
                      <a:lnTo>
                        <a:pt x="2252243" y="484911"/>
                      </a:lnTo>
                      <a:lnTo>
                        <a:pt x="2252599" y="484911"/>
                      </a:lnTo>
                      <a:lnTo>
                        <a:pt x="2253056" y="486181"/>
                      </a:lnTo>
                      <a:lnTo>
                        <a:pt x="2253183" y="487451"/>
                      </a:lnTo>
                      <a:lnTo>
                        <a:pt x="2253183" y="481101"/>
                      </a:lnTo>
                      <a:lnTo>
                        <a:pt x="2253297" y="479831"/>
                      </a:lnTo>
                      <a:lnTo>
                        <a:pt x="2253805" y="479831"/>
                      </a:lnTo>
                      <a:lnTo>
                        <a:pt x="2255316" y="481101"/>
                      </a:lnTo>
                      <a:lnTo>
                        <a:pt x="2256891" y="481101"/>
                      </a:lnTo>
                      <a:lnTo>
                        <a:pt x="2256866" y="479831"/>
                      </a:lnTo>
                      <a:lnTo>
                        <a:pt x="2256840" y="478561"/>
                      </a:lnTo>
                      <a:lnTo>
                        <a:pt x="2256117" y="474751"/>
                      </a:lnTo>
                      <a:lnTo>
                        <a:pt x="2256040" y="473481"/>
                      </a:lnTo>
                      <a:lnTo>
                        <a:pt x="2256218" y="473481"/>
                      </a:lnTo>
                      <a:lnTo>
                        <a:pt x="2258885" y="472211"/>
                      </a:lnTo>
                      <a:lnTo>
                        <a:pt x="2258936" y="470941"/>
                      </a:lnTo>
                      <a:lnTo>
                        <a:pt x="2259012" y="469671"/>
                      </a:lnTo>
                      <a:lnTo>
                        <a:pt x="2258669" y="468401"/>
                      </a:lnTo>
                      <a:lnTo>
                        <a:pt x="2261806" y="468401"/>
                      </a:lnTo>
                      <a:lnTo>
                        <a:pt x="2265984" y="467131"/>
                      </a:lnTo>
                      <a:lnTo>
                        <a:pt x="2264918" y="465861"/>
                      </a:lnTo>
                      <a:lnTo>
                        <a:pt x="2265210" y="464591"/>
                      </a:lnTo>
                      <a:lnTo>
                        <a:pt x="2265692" y="463321"/>
                      </a:lnTo>
                      <a:lnTo>
                        <a:pt x="2265819" y="463321"/>
                      </a:lnTo>
                      <a:lnTo>
                        <a:pt x="2265934" y="462051"/>
                      </a:lnTo>
                      <a:lnTo>
                        <a:pt x="2266404" y="462051"/>
                      </a:lnTo>
                      <a:lnTo>
                        <a:pt x="2267928" y="463321"/>
                      </a:lnTo>
                      <a:lnTo>
                        <a:pt x="2272639" y="467131"/>
                      </a:lnTo>
                      <a:lnTo>
                        <a:pt x="2284895" y="467131"/>
                      </a:lnTo>
                      <a:lnTo>
                        <a:pt x="2287498" y="465861"/>
                      </a:lnTo>
                      <a:lnTo>
                        <a:pt x="2290838" y="465861"/>
                      </a:lnTo>
                      <a:lnTo>
                        <a:pt x="2289606" y="463321"/>
                      </a:lnTo>
                      <a:lnTo>
                        <a:pt x="2289733" y="463321"/>
                      </a:lnTo>
                      <a:lnTo>
                        <a:pt x="2291054" y="462051"/>
                      </a:lnTo>
                      <a:lnTo>
                        <a:pt x="2291740" y="460781"/>
                      </a:lnTo>
                      <a:lnTo>
                        <a:pt x="2295360" y="459511"/>
                      </a:lnTo>
                      <a:lnTo>
                        <a:pt x="2306028" y="459511"/>
                      </a:lnTo>
                      <a:lnTo>
                        <a:pt x="2307844" y="458241"/>
                      </a:lnTo>
                      <a:lnTo>
                        <a:pt x="2308758" y="458241"/>
                      </a:lnTo>
                      <a:lnTo>
                        <a:pt x="2309685" y="456971"/>
                      </a:lnTo>
                      <a:lnTo>
                        <a:pt x="2312733" y="454431"/>
                      </a:lnTo>
                      <a:lnTo>
                        <a:pt x="2314397" y="453161"/>
                      </a:lnTo>
                      <a:lnTo>
                        <a:pt x="2316772" y="451891"/>
                      </a:lnTo>
                      <a:lnTo>
                        <a:pt x="2321788" y="451891"/>
                      </a:lnTo>
                      <a:lnTo>
                        <a:pt x="2323046" y="453161"/>
                      </a:lnTo>
                      <a:lnTo>
                        <a:pt x="2324633" y="451891"/>
                      </a:lnTo>
                      <a:lnTo>
                        <a:pt x="2326246" y="451891"/>
                      </a:lnTo>
                      <a:lnTo>
                        <a:pt x="2326792" y="453161"/>
                      </a:lnTo>
                      <a:lnTo>
                        <a:pt x="2327719" y="453161"/>
                      </a:lnTo>
                      <a:lnTo>
                        <a:pt x="2329154" y="455701"/>
                      </a:lnTo>
                      <a:lnTo>
                        <a:pt x="2337206" y="455701"/>
                      </a:lnTo>
                      <a:lnTo>
                        <a:pt x="2340432" y="458241"/>
                      </a:lnTo>
                      <a:lnTo>
                        <a:pt x="2340787" y="458241"/>
                      </a:lnTo>
                      <a:lnTo>
                        <a:pt x="2341168" y="459511"/>
                      </a:lnTo>
                      <a:lnTo>
                        <a:pt x="2342477" y="460781"/>
                      </a:lnTo>
                      <a:lnTo>
                        <a:pt x="2343721" y="460781"/>
                      </a:lnTo>
                      <a:lnTo>
                        <a:pt x="2344686" y="462051"/>
                      </a:lnTo>
                      <a:lnTo>
                        <a:pt x="2345245" y="462051"/>
                      </a:lnTo>
                      <a:lnTo>
                        <a:pt x="2345245" y="460082"/>
                      </a:lnTo>
                      <a:lnTo>
                        <a:pt x="2342527" y="456971"/>
                      </a:lnTo>
                      <a:lnTo>
                        <a:pt x="2341715" y="456971"/>
                      </a:lnTo>
                      <a:lnTo>
                        <a:pt x="2338540" y="454431"/>
                      </a:lnTo>
                      <a:lnTo>
                        <a:pt x="2337905" y="453161"/>
                      </a:lnTo>
                      <a:lnTo>
                        <a:pt x="2337828" y="451891"/>
                      </a:lnTo>
                      <a:lnTo>
                        <a:pt x="2338082" y="451891"/>
                      </a:lnTo>
                      <a:lnTo>
                        <a:pt x="2338552" y="449351"/>
                      </a:lnTo>
                      <a:lnTo>
                        <a:pt x="2340254" y="446811"/>
                      </a:lnTo>
                      <a:lnTo>
                        <a:pt x="2341105" y="445541"/>
                      </a:lnTo>
                      <a:lnTo>
                        <a:pt x="2342324" y="444271"/>
                      </a:lnTo>
                      <a:lnTo>
                        <a:pt x="2342756" y="443001"/>
                      </a:lnTo>
                      <a:lnTo>
                        <a:pt x="2345791" y="444271"/>
                      </a:lnTo>
                      <a:lnTo>
                        <a:pt x="2350262" y="445541"/>
                      </a:lnTo>
                      <a:lnTo>
                        <a:pt x="2347887" y="443001"/>
                      </a:lnTo>
                      <a:lnTo>
                        <a:pt x="2346706" y="441731"/>
                      </a:lnTo>
                      <a:lnTo>
                        <a:pt x="2346299" y="440461"/>
                      </a:lnTo>
                      <a:lnTo>
                        <a:pt x="2346020" y="440461"/>
                      </a:lnTo>
                      <a:lnTo>
                        <a:pt x="2346922" y="439191"/>
                      </a:lnTo>
                      <a:lnTo>
                        <a:pt x="2345613" y="439191"/>
                      </a:lnTo>
                      <a:lnTo>
                        <a:pt x="2345601" y="437921"/>
                      </a:lnTo>
                      <a:lnTo>
                        <a:pt x="2344915" y="434111"/>
                      </a:lnTo>
                      <a:lnTo>
                        <a:pt x="2345271" y="432841"/>
                      </a:lnTo>
                      <a:lnTo>
                        <a:pt x="2353157" y="425221"/>
                      </a:lnTo>
                      <a:lnTo>
                        <a:pt x="2356180" y="421411"/>
                      </a:lnTo>
                      <a:lnTo>
                        <a:pt x="2357234" y="421411"/>
                      </a:lnTo>
                      <a:lnTo>
                        <a:pt x="2357717" y="420141"/>
                      </a:lnTo>
                      <a:lnTo>
                        <a:pt x="2362847" y="418871"/>
                      </a:lnTo>
                      <a:lnTo>
                        <a:pt x="2363927" y="417601"/>
                      </a:lnTo>
                      <a:lnTo>
                        <a:pt x="2364651" y="416331"/>
                      </a:lnTo>
                      <a:lnTo>
                        <a:pt x="2365794" y="413791"/>
                      </a:lnTo>
                      <a:lnTo>
                        <a:pt x="2365552" y="412521"/>
                      </a:lnTo>
                      <a:lnTo>
                        <a:pt x="2363927" y="409981"/>
                      </a:lnTo>
                      <a:lnTo>
                        <a:pt x="2365337" y="409981"/>
                      </a:lnTo>
                      <a:lnTo>
                        <a:pt x="2367216" y="408711"/>
                      </a:lnTo>
                      <a:lnTo>
                        <a:pt x="2365095" y="407441"/>
                      </a:lnTo>
                      <a:lnTo>
                        <a:pt x="2364702" y="407441"/>
                      </a:lnTo>
                      <a:lnTo>
                        <a:pt x="2364041" y="406171"/>
                      </a:lnTo>
                      <a:lnTo>
                        <a:pt x="2363292" y="406171"/>
                      </a:lnTo>
                      <a:lnTo>
                        <a:pt x="2361908" y="403631"/>
                      </a:lnTo>
                      <a:lnTo>
                        <a:pt x="2359393" y="397281"/>
                      </a:lnTo>
                      <a:lnTo>
                        <a:pt x="2358948" y="397281"/>
                      </a:lnTo>
                      <a:lnTo>
                        <a:pt x="2359152" y="396011"/>
                      </a:lnTo>
                      <a:lnTo>
                        <a:pt x="2363305" y="396011"/>
                      </a:lnTo>
                      <a:lnTo>
                        <a:pt x="2363990" y="394741"/>
                      </a:lnTo>
                      <a:lnTo>
                        <a:pt x="2364486" y="394741"/>
                      </a:lnTo>
                      <a:lnTo>
                        <a:pt x="2365870" y="393471"/>
                      </a:lnTo>
                      <a:lnTo>
                        <a:pt x="2368905" y="390931"/>
                      </a:lnTo>
                      <a:lnTo>
                        <a:pt x="2370747" y="389661"/>
                      </a:lnTo>
                      <a:lnTo>
                        <a:pt x="2379395" y="389661"/>
                      </a:lnTo>
                      <a:lnTo>
                        <a:pt x="2380818" y="388391"/>
                      </a:lnTo>
                      <a:lnTo>
                        <a:pt x="2381364" y="388391"/>
                      </a:lnTo>
                      <a:lnTo>
                        <a:pt x="2385110" y="389661"/>
                      </a:lnTo>
                      <a:lnTo>
                        <a:pt x="2410129" y="394741"/>
                      </a:lnTo>
                      <a:lnTo>
                        <a:pt x="2414905" y="394741"/>
                      </a:lnTo>
                      <a:lnTo>
                        <a:pt x="2415057" y="396011"/>
                      </a:lnTo>
                      <a:lnTo>
                        <a:pt x="2410244" y="403631"/>
                      </a:lnTo>
                      <a:lnTo>
                        <a:pt x="2418626" y="394741"/>
                      </a:lnTo>
                      <a:lnTo>
                        <a:pt x="2423617" y="394741"/>
                      </a:lnTo>
                      <a:lnTo>
                        <a:pt x="2424963" y="396011"/>
                      </a:lnTo>
                      <a:lnTo>
                        <a:pt x="2429535" y="398551"/>
                      </a:lnTo>
                      <a:lnTo>
                        <a:pt x="2430272" y="398551"/>
                      </a:lnTo>
                      <a:lnTo>
                        <a:pt x="2431250" y="399821"/>
                      </a:lnTo>
                      <a:lnTo>
                        <a:pt x="2432774" y="397281"/>
                      </a:lnTo>
                      <a:lnTo>
                        <a:pt x="2434793" y="396011"/>
                      </a:lnTo>
                      <a:lnTo>
                        <a:pt x="2435618" y="394741"/>
                      </a:lnTo>
                      <a:lnTo>
                        <a:pt x="2435745" y="394741"/>
                      </a:lnTo>
                      <a:lnTo>
                        <a:pt x="2436126" y="396011"/>
                      </a:lnTo>
                      <a:lnTo>
                        <a:pt x="2436545" y="396011"/>
                      </a:lnTo>
                      <a:lnTo>
                        <a:pt x="2437561" y="397281"/>
                      </a:lnTo>
                      <a:lnTo>
                        <a:pt x="2437803" y="398551"/>
                      </a:lnTo>
                      <a:lnTo>
                        <a:pt x="2438666" y="397281"/>
                      </a:lnTo>
                      <a:lnTo>
                        <a:pt x="2438019" y="398551"/>
                      </a:lnTo>
                      <a:lnTo>
                        <a:pt x="2438781" y="398551"/>
                      </a:lnTo>
                      <a:lnTo>
                        <a:pt x="2439263" y="399821"/>
                      </a:lnTo>
                      <a:lnTo>
                        <a:pt x="2441460" y="399821"/>
                      </a:lnTo>
                      <a:lnTo>
                        <a:pt x="2448433" y="398551"/>
                      </a:lnTo>
                      <a:lnTo>
                        <a:pt x="2450922" y="397281"/>
                      </a:lnTo>
                      <a:lnTo>
                        <a:pt x="2452827" y="398551"/>
                      </a:lnTo>
                      <a:lnTo>
                        <a:pt x="2455557" y="401091"/>
                      </a:lnTo>
                      <a:lnTo>
                        <a:pt x="2457310" y="402361"/>
                      </a:lnTo>
                      <a:lnTo>
                        <a:pt x="2458643" y="399821"/>
                      </a:lnTo>
                      <a:lnTo>
                        <a:pt x="2458504" y="398551"/>
                      </a:lnTo>
                      <a:lnTo>
                        <a:pt x="2457996" y="396011"/>
                      </a:lnTo>
                      <a:lnTo>
                        <a:pt x="2457716" y="394741"/>
                      </a:lnTo>
                      <a:lnTo>
                        <a:pt x="2457869" y="393471"/>
                      </a:lnTo>
                      <a:lnTo>
                        <a:pt x="2458313" y="392201"/>
                      </a:lnTo>
                      <a:lnTo>
                        <a:pt x="2459113" y="390931"/>
                      </a:lnTo>
                      <a:lnTo>
                        <a:pt x="2462961" y="385851"/>
                      </a:lnTo>
                      <a:lnTo>
                        <a:pt x="2464841" y="385851"/>
                      </a:lnTo>
                      <a:lnTo>
                        <a:pt x="2466200" y="387121"/>
                      </a:lnTo>
                      <a:lnTo>
                        <a:pt x="2467229" y="387121"/>
                      </a:lnTo>
                      <a:lnTo>
                        <a:pt x="2468435" y="385851"/>
                      </a:lnTo>
                      <a:lnTo>
                        <a:pt x="2473287" y="385851"/>
                      </a:lnTo>
                      <a:lnTo>
                        <a:pt x="2476030" y="387121"/>
                      </a:lnTo>
                      <a:lnTo>
                        <a:pt x="2480665" y="388391"/>
                      </a:lnTo>
                      <a:lnTo>
                        <a:pt x="2482380" y="385851"/>
                      </a:lnTo>
                      <a:lnTo>
                        <a:pt x="2484094" y="383311"/>
                      </a:lnTo>
                      <a:lnTo>
                        <a:pt x="2485161" y="380771"/>
                      </a:lnTo>
                      <a:lnTo>
                        <a:pt x="2490000" y="382041"/>
                      </a:lnTo>
                      <a:lnTo>
                        <a:pt x="2493086" y="382041"/>
                      </a:lnTo>
                      <a:lnTo>
                        <a:pt x="2501633" y="379501"/>
                      </a:lnTo>
                      <a:lnTo>
                        <a:pt x="2502776" y="380771"/>
                      </a:lnTo>
                      <a:lnTo>
                        <a:pt x="2506243" y="383311"/>
                      </a:lnTo>
                      <a:lnTo>
                        <a:pt x="2506611" y="384581"/>
                      </a:lnTo>
                      <a:lnTo>
                        <a:pt x="2506103" y="387121"/>
                      </a:lnTo>
                      <a:lnTo>
                        <a:pt x="2507157" y="388391"/>
                      </a:lnTo>
                      <a:lnTo>
                        <a:pt x="2509583" y="389661"/>
                      </a:lnTo>
                      <a:lnTo>
                        <a:pt x="2510193" y="389661"/>
                      </a:lnTo>
                      <a:lnTo>
                        <a:pt x="2510637" y="390931"/>
                      </a:lnTo>
                      <a:lnTo>
                        <a:pt x="2507132" y="392201"/>
                      </a:lnTo>
                      <a:lnTo>
                        <a:pt x="2506180" y="393471"/>
                      </a:lnTo>
                      <a:lnTo>
                        <a:pt x="2507742" y="394741"/>
                      </a:lnTo>
                      <a:lnTo>
                        <a:pt x="2508669" y="397281"/>
                      </a:lnTo>
                      <a:lnTo>
                        <a:pt x="2507894" y="399821"/>
                      </a:lnTo>
                      <a:lnTo>
                        <a:pt x="2507996" y="401091"/>
                      </a:lnTo>
                      <a:lnTo>
                        <a:pt x="2509024" y="402361"/>
                      </a:lnTo>
                      <a:lnTo>
                        <a:pt x="2513076" y="402361"/>
                      </a:lnTo>
                      <a:lnTo>
                        <a:pt x="2515654" y="403631"/>
                      </a:lnTo>
                      <a:lnTo>
                        <a:pt x="2519400" y="403631"/>
                      </a:lnTo>
                      <a:lnTo>
                        <a:pt x="2520111" y="402361"/>
                      </a:lnTo>
                      <a:lnTo>
                        <a:pt x="2522842" y="404901"/>
                      </a:lnTo>
                      <a:lnTo>
                        <a:pt x="2523680" y="404901"/>
                      </a:lnTo>
                      <a:lnTo>
                        <a:pt x="2524302" y="406171"/>
                      </a:lnTo>
                      <a:lnTo>
                        <a:pt x="2523883" y="406171"/>
                      </a:lnTo>
                      <a:lnTo>
                        <a:pt x="2523706" y="407441"/>
                      </a:lnTo>
                      <a:lnTo>
                        <a:pt x="2525725" y="411251"/>
                      </a:lnTo>
                      <a:lnTo>
                        <a:pt x="2526119" y="413791"/>
                      </a:lnTo>
                      <a:lnTo>
                        <a:pt x="2525725" y="415061"/>
                      </a:lnTo>
                      <a:lnTo>
                        <a:pt x="2526982" y="417601"/>
                      </a:lnTo>
                      <a:lnTo>
                        <a:pt x="2530005" y="418871"/>
                      </a:lnTo>
                      <a:lnTo>
                        <a:pt x="2532049" y="418871"/>
                      </a:lnTo>
                      <a:lnTo>
                        <a:pt x="2534996" y="417601"/>
                      </a:lnTo>
                      <a:lnTo>
                        <a:pt x="2536977" y="417601"/>
                      </a:lnTo>
                      <a:lnTo>
                        <a:pt x="2540685" y="420141"/>
                      </a:lnTo>
                      <a:lnTo>
                        <a:pt x="2545169" y="421411"/>
                      </a:lnTo>
                      <a:lnTo>
                        <a:pt x="2551150" y="418871"/>
                      </a:lnTo>
                      <a:lnTo>
                        <a:pt x="2555252" y="417601"/>
                      </a:lnTo>
                      <a:lnTo>
                        <a:pt x="2556332" y="417601"/>
                      </a:lnTo>
                      <a:lnTo>
                        <a:pt x="2559189" y="421411"/>
                      </a:lnTo>
                      <a:lnTo>
                        <a:pt x="2563609" y="427761"/>
                      </a:lnTo>
                      <a:lnTo>
                        <a:pt x="2565755" y="425221"/>
                      </a:lnTo>
                      <a:lnTo>
                        <a:pt x="2567241" y="423951"/>
                      </a:lnTo>
                      <a:lnTo>
                        <a:pt x="2567838" y="423951"/>
                      </a:lnTo>
                      <a:lnTo>
                        <a:pt x="2570213" y="425221"/>
                      </a:lnTo>
                      <a:lnTo>
                        <a:pt x="2572702" y="425221"/>
                      </a:lnTo>
                      <a:lnTo>
                        <a:pt x="2573731" y="426491"/>
                      </a:lnTo>
                      <a:lnTo>
                        <a:pt x="2574556" y="427761"/>
                      </a:lnTo>
                      <a:lnTo>
                        <a:pt x="2575344" y="429031"/>
                      </a:lnTo>
                      <a:lnTo>
                        <a:pt x="2578506" y="429031"/>
                      </a:lnTo>
                      <a:lnTo>
                        <a:pt x="2579878" y="427761"/>
                      </a:lnTo>
                      <a:lnTo>
                        <a:pt x="2581135" y="427761"/>
                      </a:lnTo>
                      <a:lnTo>
                        <a:pt x="2583497" y="430301"/>
                      </a:lnTo>
                      <a:lnTo>
                        <a:pt x="2588336" y="435381"/>
                      </a:lnTo>
                      <a:lnTo>
                        <a:pt x="2593124" y="434111"/>
                      </a:lnTo>
                      <a:lnTo>
                        <a:pt x="2593517" y="435381"/>
                      </a:lnTo>
                      <a:lnTo>
                        <a:pt x="2592679" y="437921"/>
                      </a:lnTo>
                      <a:lnTo>
                        <a:pt x="2592374" y="439191"/>
                      </a:lnTo>
                      <a:lnTo>
                        <a:pt x="2589492" y="441731"/>
                      </a:lnTo>
                      <a:lnTo>
                        <a:pt x="2585351" y="444271"/>
                      </a:lnTo>
                      <a:lnTo>
                        <a:pt x="2587294" y="444271"/>
                      </a:lnTo>
                      <a:lnTo>
                        <a:pt x="2588209" y="445541"/>
                      </a:lnTo>
                      <a:lnTo>
                        <a:pt x="2588933" y="446811"/>
                      </a:lnTo>
                      <a:lnTo>
                        <a:pt x="2587510" y="446811"/>
                      </a:lnTo>
                      <a:lnTo>
                        <a:pt x="2586431" y="448081"/>
                      </a:lnTo>
                      <a:lnTo>
                        <a:pt x="2585770" y="450621"/>
                      </a:lnTo>
                      <a:lnTo>
                        <a:pt x="2586012" y="450621"/>
                      </a:lnTo>
                      <a:lnTo>
                        <a:pt x="2587028" y="451891"/>
                      </a:lnTo>
                      <a:lnTo>
                        <a:pt x="2588691" y="451891"/>
                      </a:lnTo>
                      <a:lnTo>
                        <a:pt x="2589098" y="453161"/>
                      </a:lnTo>
                      <a:lnTo>
                        <a:pt x="2590812" y="455701"/>
                      </a:lnTo>
                      <a:lnTo>
                        <a:pt x="2590381" y="456971"/>
                      </a:lnTo>
                      <a:lnTo>
                        <a:pt x="2589568" y="458241"/>
                      </a:lnTo>
                      <a:lnTo>
                        <a:pt x="2587752" y="463321"/>
                      </a:lnTo>
                      <a:lnTo>
                        <a:pt x="2580779" y="463321"/>
                      </a:lnTo>
                      <a:lnTo>
                        <a:pt x="2577884" y="462051"/>
                      </a:lnTo>
                      <a:lnTo>
                        <a:pt x="2575560" y="464591"/>
                      </a:lnTo>
                      <a:lnTo>
                        <a:pt x="2573705" y="465861"/>
                      </a:lnTo>
                      <a:lnTo>
                        <a:pt x="2568511" y="467131"/>
                      </a:lnTo>
                      <a:lnTo>
                        <a:pt x="2566263" y="469671"/>
                      </a:lnTo>
                      <a:lnTo>
                        <a:pt x="2565971" y="473481"/>
                      </a:lnTo>
                      <a:lnTo>
                        <a:pt x="2565870" y="477291"/>
                      </a:lnTo>
                      <a:lnTo>
                        <a:pt x="2567508" y="478561"/>
                      </a:lnTo>
                      <a:lnTo>
                        <a:pt x="2567787" y="478561"/>
                      </a:lnTo>
                      <a:lnTo>
                        <a:pt x="2567978" y="477291"/>
                      </a:lnTo>
                      <a:lnTo>
                        <a:pt x="2568092" y="473481"/>
                      </a:lnTo>
                      <a:lnTo>
                        <a:pt x="2568371" y="469671"/>
                      </a:lnTo>
                      <a:lnTo>
                        <a:pt x="2570899" y="468401"/>
                      </a:lnTo>
                      <a:lnTo>
                        <a:pt x="2574569" y="468401"/>
                      </a:lnTo>
                      <a:lnTo>
                        <a:pt x="2576855" y="467131"/>
                      </a:lnTo>
                      <a:lnTo>
                        <a:pt x="2578735" y="464591"/>
                      </a:lnTo>
                      <a:lnTo>
                        <a:pt x="2586939" y="465861"/>
                      </a:lnTo>
                      <a:lnTo>
                        <a:pt x="2588298" y="465861"/>
                      </a:lnTo>
                      <a:lnTo>
                        <a:pt x="2589580" y="464591"/>
                      </a:lnTo>
                      <a:lnTo>
                        <a:pt x="2589771" y="463321"/>
                      </a:lnTo>
                      <a:lnTo>
                        <a:pt x="2591587" y="459511"/>
                      </a:lnTo>
                      <a:lnTo>
                        <a:pt x="2592413" y="458241"/>
                      </a:lnTo>
                      <a:lnTo>
                        <a:pt x="2592692" y="455701"/>
                      </a:lnTo>
                      <a:lnTo>
                        <a:pt x="2591993" y="453161"/>
                      </a:lnTo>
                      <a:lnTo>
                        <a:pt x="2590254" y="450621"/>
                      </a:lnTo>
                      <a:lnTo>
                        <a:pt x="2588069" y="450621"/>
                      </a:lnTo>
                      <a:lnTo>
                        <a:pt x="2588095" y="449351"/>
                      </a:lnTo>
                      <a:lnTo>
                        <a:pt x="2588387" y="449351"/>
                      </a:lnTo>
                      <a:lnTo>
                        <a:pt x="2590469" y="448081"/>
                      </a:lnTo>
                      <a:lnTo>
                        <a:pt x="2599258" y="446811"/>
                      </a:lnTo>
                      <a:close/>
                    </a:path>
                    <a:path w="2709545" h="2035175">
                      <a:moveTo>
                        <a:pt x="2599893" y="1356728"/>
                      </a:moveTo>
                      <a:lnTo>
                        <a:pt x="2599563" y="1356309"/>
                      </a:lnTo>
                      <a:lnTo>
                        <a:pt x="2599042" y="1355661"/>
                      </a:lnTo>
                      <a:lnTo>
                        <a:pt x="2598242" y="1356309"/>
                      </a:lnTo>
                      <a:lnTo>
                        <a:pt x="2597759" y="1355801"/>
                      </a:lnTo>
                      <a:lnTo>
                        <a:pt x="2593644" y="1358912"/>
                      </a:lnTo>
                      <a:lnTo>
                        <a:pt x="2590660" y="1361135"/>
                      </a:lnTo>
                      <a:lnTo>
                        <a:pt x="2586710" y="1363827"/>
                      </a:lnTo>
                      <a:lnTo>
                        <a:pt x="2582507" y="1365059"/>
                      </a:lnTo>
                      <a:lnTo>
                        <a:pt x="2581389" y="1365580"/>
                      </a:lnTo>
                      <a:lnTo>
                        <a:pt x="2580398" y="1365618"/>
                      </a:lnTo>
                      <a:lnTo>
                        <a:pt x="2579484" y="1365542"/>
                      </a:lnTo>
                      <a:lnTo>
                        <a:pt x="2578938" y="1365592"/>
                      </a:lnTo>
                      <a:lnTo>
                        <a:pt x="2576245" y="1365592"/>
                      </a:lnTo>
                      <a:lnTo>
                        <a:pt x="2574302" y="1366659"/>
                      </a:lnTo>
                      <a:lnTo>
                        <a:pt x="2572588" y="1367713"/>
                      </a:lnTo>
                      <a:lnTo>
                        <a:pt x="2572029" y="1368094"/>
                      </a:lnTo>
                      <a:lnTo>
                        <a:pt x="2571369" y="1368463"/>
                      </a:lnTo>
                      <a:lnTo>
                        <a:pt x="2570200" y="1369199"/>
                      </a:lnTo>
                      <a:lnTo>
                        <a:pt x="2569718" y="1369123"/>
                      </a:lnTo>
                      <a:lnTo>
                        <a:pt x="2568219" y="1368450"/>
                      </a:lnTo>
                      <a:lnTo>
                        <a:pt x="2566555" y="1367637"/>
                      </a:lnTo>
                      <a:lnTo>
                        <a:pt x="2564854" y="1367155"/>
                      </a:lnTo>
                      <a:lnTo>
                        <a:pt x="2559507" y="1371409"/>
                      </a:lnTo>
                      <a:lnTo>
                        <a:pt x="2559316" y="1371574"/>
                      </a:lnTo>
                      <a:lnTo>
                        <a:pt x="2559113" y="1371828"/>
                      </a:lnTo>
                      <a:lnTo>
                        <a:pt x="2558605" y="1372260"/>
                      </a:lnTo>
                      <a:lnTo>
                        <a:pt x="2557526" y="1372831"/>
                      </a:lnTo>
                      <a:lnTo>
                        <a:pt x="2556268" y="1373276"/>
                      </a:lnTo>
                      <a:lnTo>
                        <a:pt x="2555621" y="1373568"/>
                      </a:lnTo>
                      <a:lnTo>
                        <a:pt x="2554935" y="1373378"/>
                      </a:lnTo>
                      <a:lnTo>
                        <a:pt x="2549575" y="1371346"/>
                      </a:lnTo>
                      <a:lnTo>
                        <a:pt x="2546870" y="1372336"/>
                      </a:lnTo>
                      <a:lnTo>
                        <a:pt x="2544381" y="1373505"/>
                      </a:lnTo>
                      <a:lnTo>
                        <a:pt x="2541930" y="1374101"/>
                      </a:lnTo>
                      <a:lnTo>
                        <a:pt x="2537409" y="1371625"/>
                      </a:lnTo>
                      <a:lnTo>
                        <a:pt x="2536406" y="1371104"/>
                      </a:lnTo>
                      <a:lnTo>
                        <a:pt x="2534996" y="1370660"/>
                      </a:lnTo>
                      <a:lnTo>
                        <a:pt x="2534818" y="1370380"/>
                      </a:lnTo>
                      <a:lnTo>
                        <a:pt x="2534678" y="1370076"/>
                      </a:lnTo>
                      <a:lnTo>
                        <a:pt x="2532583" y="1369072"/>
                      </a:lnTo>
                      <a:lnTo>
                        <a:pt x="2531199" y="1369834"/>
                      </a:lnTo>
                      <a:lnTo>
                        <a:pt x="2529014" y="1371854"/>
                      </a:lnTo>
                      <a:lnTo>
                        <a:pt x="2527833" y="1372209"/>
                      </a:lnTo>
                      <a:lnTo>
                        <a:pt x="2522397" y="1371815"/>
                      </a:lnTo>
                      <a:lnTo>
                        <a:pt x="2519743" y="1371168"/>
                      </a:lnTo>
                      <a:lnTo>
                        <a:pt x="2519248" y="1373225"/>
                      </a:lnTo>
                      <a:lnTo>
                        <a:pt x="2521801" y="1373847"/>
                      </a:lnTo>
                      <a:lnTo>
                        <a:pt x="2527808" y="1374457"/>
                      </a:lnTo>
                      <a:lnTo>
                        <a:pt x="2529979" y="1373771"/>
                      </a:lnTo>
                      <a:lnTo>
                        <a:pt x="2531110" y="1372831"/>
                      </a:lnTo>
                      <a:lnTo>
                        <a:pt x="2531757" y="1372209"/>
                      </a:lnTo>
                      <a:lnTo>
                        <a:pt x="2532189" y="1371790"/>
                      </a:lnTo>
                      <a:lnTo>
                        <a:pt x="2532697" y="1371625"/>
                      </a:lnTo>
                      <a:lnTo>
                        <a:pt x="2533078" y="1371688"/>
                      </a:lnTo>
                      <a:lnTo>
                        <a:pt x="2533205" y="1371930"/>
                      </a:lnTo>
                      <a:lnTo>
                        <a:pt x="2533370" y="1372133"/>
                      </a:lnTo>
                      <a:lnTo>
                        <a:pt x="2533548" y="1372260"/>
                      </a:lnTo>
                      <a:lnTo>
                        <a:pt x="2534145" y="1372603"/>
                      </a:lnTo>
                      <a:lnTo>
                        <a:pt x="2535720" y="1373124"/>
                      </a:lnTo>
                      <a:lnTo>
                        <a:pt x="2540724" y="1375841"/>
                      </a:lnTo>
                      <a:lnTo>
                        <a:pt x="2543454" y="1375841"/>
                      </a:lnTo>
                      <a:lnTo>
                        <a:pt x="2543899" y="1375803"/>
                      </a:lnTo>
                      <a:lnTo>
                        <a:pt x="2545080" y="1375511"/>
                      </a:lnTo>
                      <a:lnTo>
                        <a:pt x="2547658" y="1374292"/>
                      </a:lnTo>
                      <a:lnTo>
                        <a:pt x="2548217" y="1374101"/>
                      </a:lnTo>
                      <a:lnTo>
                        <a:pt x="2549563" y="1373593"/>
                      </a:lnTo>
                      <a:lnTo>
                        <a:pt x="2554440" y="1375460"/>
                      </a:lnTo>
                      <a:lnTo>
                        <a:pt x="2555811" y="1375803"/>
                      </a:lnTo>
                      <a:lnTo>
                        <a:pt x="2556395" y="1375587"/>
                      </a:lnTo>
                      <a:lnTo>
                        <a:pt x="2557221" y="1375168"/>
                      </a:lnTo>
                      <a:lnTo>
                        <a:pt x="2558186" y="1374838"/>
                      </a:lnTo>
                      <a:lnTo>
                        <a:pt x="2559634" y="1374190"/>
                      </a:lnTo>
                      <a:lnTo>
                        <a:pt x="2560307" y="1373593"/>
                      </a:lnTo>
                      <a:lnTo>
                        <a:pt x="2560663" y="1373276"/>
                      </a:lnTo>
                      <a:lnTo>
                        <a:pt x="2560764" y="1373124"/>
                      </a:lnTo>
                      <a:lnTo>
                        <a:pt x="2561348" y="1372654"/>
                      </a:lnTo>
                      <a:lnTo>
                        <a:pt x="2561806" y="1371346"/>
                      </a:lnTo>
                      <a:lnTo>
                        <a:pt x="2562225" y="1370660"/>
                      </a:lnTo>
                      <a:lnTo>
                        <a:pt x="2562466" y="1370380"/>
                      </a:lnTo>
                      <a:lnTo>
                        <a:pt x="2562809" y="1370101"/>
                      </a:lnTo>
                      <a:lnTo>
                        <a:pt x="2562148" y="1369275"/>
                      </a:lnTo>
                      <a:lnTo>
                        <a:pt x="2563063" y="1369961"/>
                      </a:lnTo>
                      <a:lnTo>
                        <a:pt x="2564053" y="1369314"/>
                      </a:lnTo>
                      <a:lnTo>
                        <a:pt x="2565196" y="1369453"/>
                      </a:lnTo>
                      <a:lnTo>
                        <a:pt x="2565781" y="1369593"/>
                      </a:lnTo>
                      <a:lnTo>
                        <a:pt x="2568803" y="1371117"/>
                      </a:lnTo>
                      <a:lnTo>
                        <a:pt x="2570226" y="1371663"/>
                      </a:lnTo>
                      <a:lnTo>
                        <a:pt x="2572537" y="1370228"/>
                      </a:lnTo>
                      <a:lnTo>
                        <a:pt x="2573248" y="1369834"/>
                      </a:lnTo>
                      <a:lnTo>
                        <a:pt x="2574036" y="1369314"/>
                      </a:lnTo>
                      <a:lnTo>
                        <a:pt x="2574213" y="1369199"/>
                      </a:lnTo>
                      <a:lnTo>
                        <a:pt x="2575585" y="1368348"/>
                      </a:lnTo>
                      <a:lnTo>
                        <a:pt x="2576995" y="1367713"/>
                      </a:lnTo>
                      <a:lnTo>
                        <a:pt x="2579306" y="1367688"/>
                      </a:lnTo>
                      <a:lnTo>
                        <a:pt x="2579446" y="1367663"/>
                      </a:lnTo>
                      <a:lnTo>
                        <a:pt x="2580411" y="1367713"/>
                      </a:lnTo>
                      <a:lnTo>
                        <a:pt x="2581846" y="1367688"/>
                      </a:lnTo>
                      <a:lnTo>
                        <a:pt x="2582722" y="1367320"/>
                      </a:lnTo>
                      <a:lnTo>
                        <a:pt x="2583281" y="1367028"/>
                      </a:lnTo>
                      <a:lnTo>
                        <a:pt x="2587625" y="1365770"/>
                      </a:lnTo>
                      <a:lnTo>
                        <a:pt x="2587853" y="1365618"/>
                      </a:lnTo>
                      <a:lnTo>
                        <a:pt x="2591778" y="1362938"/>
                      </a:lnTo>
                      <a:lnTo>
                        <a:pt x="2595092" y="1360487"/>
                      </a:lnTo>
                      <a:lnTo>
                        <a:pt x="2598775" y="1357668"/>
                      </a:lnTo>
                      <a:lnTo>
                        <a:pt x="2599893" y="1356728"/>
                      </a:lnTo>
                      <a:close/>
                    </a:path>
                    <a:path w="2709545" h="2035175">
                      <a:moveTo>
                        <a:pt x="2709380" y="1090701"/>
                      </a:moveTo>
                      <a:lnTo>
                        <a:pt x="2703766" y="1090701"/>
                      </a:lnTo>
                      <a:lnTo>
                        <a:pt x="2703766" y="1093241"/>
                      </a:lnTo>
                      <a:lnTo>
                        <a:pt x="2701353" y="1095781"/>
                      </a:lnTo>
                      <a:lnTo>
                        <a:pt x="2698902" y="1098321"/>
                      </a:lnTo>
                      <a:lnTo>
                        <a:pt x="2696349" y="1099591"/>
                      </a:lnTo>
                      <a:lnTo>
                        <a:pt x="2690672" y="1105941"/>
                      </a:lnTo>
                      <a:lnTo>
                        <a:pt x="2684792" y="1111021"/>
                      </a:lnTo>
                      <a:lnTo>
                        <a:pt x="2678671" y="1118641"/>
                      </a:lnTo>
                      <a:lnTo>
                        <a:pt x="2669552" y="1127531"/>
                      </a:lnTo>
                      <a:lnTo>
                        <a:pt x="2669286" y="1127531"/>
                      </a:lnTo>
                      <a:lnTo>
                        <a:pt x="2666263" y="1131341"/>
                      </a:lnTo>
                      <a:lnTo>
                        <a:pt x="2664358" y="1133881"/>
                      </a:lnTo>
                      <a:lnTo>
                        <a:pt x="2663304" y="1135151"/>
                      </a:lnTo>
                      <a:lnTo>
                        <a:pt x="2646515" y="1135151"/>
                      </a:lnTo>
                      <a:lnTo>
                        <a:pt x="2641422" y="1136421"/>
                      </a:lnTo>
                      <a:lnTo>
                        <a:pt x="2632583" y="1142771"/>
                      </a:lnTo>
                      <a:lnTo>
                        <a:pt x="2631757" y="1144041"/>
                      </a:lnTo>
                      <a:lnTo>
                        <a:pt x="2630728" y="1144041"/>
                      </a:lnTo>
                      <a:lnTo>
                        <a:pt x="2629776" y="1145311"/>
                      </a:lnTo>
                      <a:lnTo>
                        <a:pt x="2623642" y="1145311"/>
                      </a:lnTo>
                      <a:lnTo>
                        <a:pt x="2621419" y="1146581"/>
                      </a:lnTo>
                      <a:lnTo>
                        <a:pt x="2620695" y="1146581"/>
                      </a:lnTo>
                      <a:lnTo>
                        <a:pt x="2620149" y="1147851"/>
                      </a:lnTo>
                      <a:lnTo>
                        <a:pt x="2619108" y="1147851"/>
                      </a:lnTo>
                      <a:lnTo>
                        <a:pt x="2618714" y="1149121"/>
                      </a:lnTo>
                      <a:lnTo>
                        <a:pt x="2609062" y="1149121"/>
                      </a:lnTo>
                      <a:lnTo>
                        <a:pt x="2607894" y="1147851"/>
                      </a:lnTo>
                      <a:lnTo>
                        <a:pt x="2606306" y="1146581"/>
                      </a:lnTo>
                      <a:lnTo>
                        <a:pt x="2604732" y="1145311"/>
                      </a:lnTo>
                      <a:lnTo>
                        <a:pt x="2604046" y="1144041"/>
                      </a:lnTo>
                      <a:lnTo>
                        <a:pt x="2602852" y="1144041"/>
                      </a:lnTo>
                      <a:lnTo>
                        <a:pt x="2589555" y="1150391"/>
                      </a:lnTo>
                      <a:lnTo>
                        <a:pt x="2585948" y="1156741"/>
                      </a:lnTo>
                      <a:lnTo>
                        <a:pt x="2581846" y="1156741"/>
                      </a:lnTo>
                      <a:lnTo>
                        <a:pt x="2576207" y="1155471"/>
                      </a:lnTo>
                      <a:lnTo>
                        <a:pt x="2567127" y="1155471"/>
                      </a:lnTo>
                      <a:lnTo>
                        <a:pt x="2564269" y="1152931"/>
                      </a:lnTo>
                      <a:lnTo>
                        <a:pt x="2558885" y="1149121"/>
                      </a:lnTo>
                      <a:lnTo>
                        <a:pt x="2555786" y="1147851"/>
                      </a:lnTo>
                      <a:lnTo>
                        <a:pt x="2554884" y="1146581"/>
                      </a:lnTo>
                      <a:lnTo>
                        <a:pt x="2551252" y="1145311"/>
                      </a:lnTo>
                      <a:lnTo>
                        <a:pt x="2549029" y="1144041"/>
                      </a:lnTo>
                      <a:lnTo>
                        <a:pt x="2547518" y="1142771"/>
                      </a:lnTo>
                      <a:lnTo>
                        <a:pt x="2544597" y="1142771"/>
                      </a:lnTo>
                      <a:lnTo>
                        <a:pt x="2536190" y="1141501"/>
                      </a:lnTo>
                      <a:lnTo>
                        <a:pt x="2535783" y="1141501"/>
                      </a:lnTo>
                      <a:lnTo>
                        <a:pt x="2534221" y="1138961"/>
                      </a:lnTo>
                      <a:lnTo>
                        <a:pt x="2532888" y="1138961"/>
                      </a:lnTo>
                      <a:lnTo>
                        <a:pt x="2532672" y="1136421"/>
                      </a:lnTo>
                      <a:lnTo>
                        <a:pt x="2532735" y="1133881"/>
                      </a:lnTo>
                      <a:lnTo>
                        <a:pt x="2533167" y="1132611"/>
                      </a:lnTo>
                      <a:lnTo>
                        <a:pt x="2533192" y="1130071"/>
                      </a:lnTo>
                      <a:lnTo>
                        <a:pt x="2532659" y="1130071"/>
                      </a:lnTo>
                      <a:lnTo>
                        <a:pt x="2532151" y="1128801"/>
                      </a:lnTo>
                      <a:lnTo>
                        <a:pt x="2529141" y="1128801"/>
                      </a:lnTo>
                      <a:lnTo>
                        <a:pt x="2527084" y="1127531"/>
                      </a:lnTo>
                      <a:lnTo>
                        <a:pt x="2525382" y="1127531"/>
                      </a:lnTo>
                      <a:lnTo>
                        <a:pt x="2524633" y="1126261"/>
                      </a:lnTo>
                      <a:lnTo>
                        <a:pt x="2523579" y="1124991"/>
                      </a:lnTo>
                      <a:lnTo>
                        <a:pt x="2523134" y="1124991"/>
                      </a:lnTo>
                      <a:lnTo>
                        <a:pt x="2522791" y="1123721"/>
                      </a:lnTo>
                      <a:lnTo>
                        <a:pt x="2522575" y="1123721"/>
                      </a:lnTo>
                      <a:lnTo>
                        <a:pt x="2520099" y="1114831"/>
                      </a:lnTo>
                      <a:lnTo>
                        <a:pt x="2517343" y="1111021"/>
                      </a:lnTo>
                      <a:lnTo>
                        <a:pt x="2516454" y="1109751"/>
                      </a:lnTo>
                      <a:lnTo>
                        <a:pt x="2514308" y="1107211"/>
                      </a:lnTo>
                      <a:lnTo>
                        <a:pt x="2512961" y="1105941"/>
                      </a:lnTo>
                      <a:lnTo>
                        <a:pt x="2511920" y="1105941"/>
                      </a:lnTo>
                      <a:lnTo>
                        <a:pt x="2510625" y="1104671"/>
                      </a:lnTo>
                      <a:lnTo>
                        <a:pt x="2509443" y="1104671"/>
                      </a:lnTo>
                      <a:lnTo>
                        <a:pt x="2508008" y="1102131"/>
                      </a:lnTo>
                      <a:lnTo>
                        <a:pt x="2506688" y="1100861"/>
                      </a:lnTo>
                      <a:lnTo>
                        <a:pt x="2503792" y="1097051"/>
                      </a:lnTo>
                      <a:lnTo>
                        <a:pt x="2501989" y="1095781"/>
                      </a:lnTo>
                      <a:lnTo>
                        <a:pt x="2500884" y="1095781"/>
                      </a:lnTo>
                      <a:lnTo>
                        <a:pt x="2499334" y="1094511"/>
                      </a:lnTo>
                      <a:lnTo>
                        <a:pt x="2497886" y="1094511"/>
                      </a:lnTo>
                      <a:lnTo>
                        <a:pt x="2493378" y="1091971"/>
                      </a:lnTo>
                      <a:lnTo>
                        <a:pt x="2493594" y="1091971"/>
                      </a:lnTo>
                      <a:lnTo>
                        <a:pt x="2494267" y="1089431"/>
                      </a:lnTo>
                      <a:lnTo>
                        <a:pt x="2494915" y="1088161"/>
                      </a:lnTo>
                      <a:lnTo>
                        <a:pt x="2495499" y="1086891"/>
                      </a:lnTo>
                      <a:lnTo>
                        <a:pt x="2506738" y="1086891"/>
                      </a:lnTo>
                      <a:lnTo>
                        <a:pt x="2507157" y="1085621"/>
                      </a:lnTo>
                      <a:lnTo>
                        <a:pt x="2509088" y="1084351"/>
                      </a:lnTo>
                      <a:lnTo>
                        <a:pt x="2509494" y="1081811"/>
                      </a:lnTo>
                      <a:lnTo>
                        <a:pt x="2509367" y="1078001"/>
                      </a:lnTo>
                      <a:lnTo>
                        <a:pt x="2509151" y="1075461"/>
                      </a:lnTo>
                      <a:lnTo>
                        <a:pt x="2508859" y="1072921"/>
                      </a:lnTo>
                      <a:lnTo>
                        <a:pt x="2508897" y="1071651"/>
                      </a:lnTo>
                      <a:lnTo>
                        <a:pt x="2509126" y="1069111"/>
                      </a:lnTo>
                      <a:lnTo>
                        <a:pt x="2510244" y="1066571"/>
                      </a:lnTo>
                      <a:lnTo>
                        <a:pt x="2511120" y="1064031"/>
                      </a:lnTo>
                      <a:lnTo>
                        <a:pt x="2511399" y="1062761"/>
                      </a:lnTo>
                      <a:lnTo>
                        <a:pt x="2512441" y="1058951"/>
                      </a:lnTo>
                      <a:lnTo>
                        <a:pt x="2511577" y="1055141"/>
                      </a:lnTo>
                      <a:lnTo>
                        <a:pt x="2511831" y="1055141"/>
                      </a:lnTo>
                      <a:lnTo>
                        <a:pt x="2512060" y="1053871"/>
                      </a:lnTo>
                      <a:lnTo>
                        <a:pt x="2512377" y="1053871"/>
                      </a:lnTo>
                      <a:lnTo>
                        <a:pt x="2513990" y="1051331"/>
                      </a:lnTo>
                      <a:lnTo>
                        <a:pt x="2514346" y="1051331"/>
                      </a:lnTo>
                      <a:lnTo>
                        <a:pt x="2515590" y="1052601"/>
                      </a:lnTo>
                      <a:lnTo>
                        <a:pt x="2519908" y="1052601"/>
                      </a:lnTo>
                      <a:lnTo>
                        <a:pt x="2520975" y="1051331"/>
                      </a:lnTo>
                      <a:lnTo>
                        <a:pt x="2521242" y="1050061"/>
                      </a:lnTo>
                      <a:lnTo>
                        <a:pt x="2521178" y="1047521"/>
                      </a:lnTo>
                      <a:lnTo>
                        <a:pt x="2521496" y="1047521"/>
                      </a:lnTo>
                      <a:lnTo>
                        <a:pt x="2521686" y="1046251"/>
                      </a:lnTo>
                      <a:lnTo>
                        <a:pt x="2521978" y="1043711"/>
                      </a:lnTo>
                      <a:lnTo>
                        <a:pt x="2522397" y="1041171"/>
                      </a:lnTo>
                      <a:lnTo>
                        <a:pt x="2522918" y="1039901"/>
                      </a:lnTo>
                      <a:lnTo>
                        <a:pt x="2523515" y="1037361"/>
                      </a:lnTo>
                      <a:lnTo>
                        <a:pt x="2525941" y="1034821"/>
                      </a:lnTo>
                      <a:lnTo>
                        <a:pt x="2526690" y="1033551"/>
                      </a:lnTo>
                      <a:lnTo>
                        <a:pt x="2527325" y="1032281"/>
                      </a:lnTo>
                      <a:lnTo>
                        <a:pt x="2528163" y="1031011"/>
                      </a:lnTo>
                      <a:lnTo>
                        <a:pt x="2530652" y="1025931"/>
                      </a:lnTo>
                      <a:lnTo>
                        <a:pt x="2531478" y="1025931"/>
                      </a:lnTo>
                      <a:lnTo>
                        <a:pt x="2531973" y="1024661"/>
                      </a:lnTo>
                      <a:lnTo>
                        <a:pt x="2532608" y="1024661"/>
                      </a:lnTo>
                      <a:lnTo>
                        <a:pt x="2535085" y="1025931"/>
                      </a:lnTo>
                      <a:lnTo>
                        <a:pt x="2535580" y="1025931"/>
                      </a:lnTo>
                      <a:lnTo>
                        <a:pt x="2536431" y="1024661"/>
                      </a:lnTo>
                      <a:lnTo>
                        <a:pt x="2538361" y="1024661"/>
                      </a:lnTo>
                      <a:lnTo>
                        <a:pt x="2538717" y="1022121"/>
                      </a:lnTo>
                      <a:lnTo>
                        <a:pt x="2539111" y="1020851"/>
                      </a:lnTo>
                      <a:lnTo>
                        <a:pt x="2539949" y="1017041"/>
                      </a:lnTo>
                      <a:lnTo>
                        <a:pt x="2541892" y="1010691"/>
                      </a:lnTo>
                      <a:lnTo>
                        <a:pt x="2542451" y="1008151"/>
                      </a:lnTo>
                      <a:lnTo>
                        <a:pt x="2542540" y="1006881"/>
                      </a:lnTo>
                      <a:lnTo>
                        <a:pt x="2543391" y="1003071"/>
                      </a:lnTo>
                      <a:lnTo>
                        <a:pt x="2549563" y="1003071"/>
                      </a:lnTo>
                      <a:lnTo>
                        <a:pt x="2550261" y="1001801"/>
                      </a:lnTo>
                      <a:lnTo>
                        <a:pt x="2551671" y="1001801"/>
                      </a:lnTo>
                      <a:lnTo>
                        <a:pt x="2553424" y="1000531"/>
                      </a:lnTo>
                      <a:lnTo>
                        <a:pt x="2554592" y="1000531"/>
                      </a:lnTo>
                      <a:lnTo>
                        <a:pt x="2554046" y="1001801"/>
                      </a:lnTo>
                      <a:lnTo>
                        <a:pt x="2557932" y="1001801"/>
                      </a:lnTo>
                      <a:lnTo>
                        <a:pt x="2558758" y="1000531"/>
                      </a:lnTo>
                      <a:lnTo>
                        <a:pt x="2559545" y="999261"/>
                      </a:lnTo>
                      <a:lnTo>
                        <a:pt x="2561894" y="995451"/>
                      </a:lnTo>
                      <a:lnTo>
                        <a:pt x="2562390" y="994181"/>
                      </a:lnTo>
                      <a:lnTo>
                        <a:pt x="2562949" y="994181"/>
                      </a:lnTo>
                      <a:lnTo>
                        <a:pt x="2563177" y="995451"/>
                      </a:lnTo>
                      <a:lnTo>
                        <a:pt x="2564777" y="995451"/>
                      </a:lnTo>
                      <a:lnTo>
                        <a:pt x="2566924" y="996721"/>
                      </a:lnTo>
                      <a:lnTo>
                        <a:pt x="2569540" y="999261"/>
                      </a:lnTo>
                      <a:lnTo>
                        <a:pt x="2570810" y="1000531"/>
                      </a:lnTo>
                      <a:lnTo>
                        <a:pt x="2572042" y="999261"/>
                      </a:lnTo>
                      <a:lnTo>
                        <a:pt x="2576030" y="999261"/>
                      </a:lnTo>
                      <a:lnTo>
                        <a:pt x="2577020" y="997991"/>
                      </a:lnTo>
                      <a:lnTo>
                        <a:pt x="2578303" y="997991"/>
                      </a:lnTo>
                      <a:lnTo>
                        <a:pt x="2579878" y="996721"/>
                      </a:lnTo>
                      <a:lnTo>
                        <a:pt x="2580297" y="996721"/>
                      </a:lnTo>
                      <a:lnTo>
                        <a:pt x="2580411" y="997991"/>
                      </a:lnTo>
                      <a:lnTo>
                        <a:pt x="2580436" y="999261"/>
                      </a:lnTo>
                      <a:lnTo>
                        <a:pt x="2585999" y="999261"/>
                      </a:lnTo>
                      <a:lnTo>
                        <a:pt x="2586583" y="997991"/>
                      </a:lnTo>
                      <a:lnTo>
                        <a:pt x="2587815" y="997991"/>
                      </a:lnTo>
                      <a:lnTo>
                        <a:pt x="2590203" y="999261"/>
                      </a:lnTo>
                      <a:lnTo>
                        <a:pt x="2593251" y="997991"/>
                      </a:lnTo>
                      <a:lnTo>
                        <a:pt x="2593784" y="997991"/>
                      </a:lnTo>
                      <a:lnTo>
                        <a:pt x="2595334" y="999261"/>
                      </a:lnTo>
                      <a:lnTo>
                        <a:pt x="2595588" y="999261"/>
                      </a:lnTo>
                      <a:lnTo>
                        <a:pt x="2596172" y="1000531"/>
                      </a:lnTo>
                      <a:lnTo>
                        <a:pt x="2597556" y="1000531"/>
                      </a:lnTo>
                      <a:lnTo>
                        <a:pt x="2598039" y="1001801"/>
                      </a:lnTo>
                      <a:lnTo>
                        <a:pt x="2599080" y="1001801"/>
                      </a:lnTo>
                      <a:lnTo>
                        <a:pt x="2603360" y="1003071"/>
                      </a:lnTo>
                      <a:lnTo>
                        <a:pt x="2610561" y="1010691"/>
                      </a:lnTo>
                      <a:lnTo>
                        <a:pt x="2613812" y="1014501"/>
                      </a:lnTo>
                      <a:lnTo>
                        <a:pt x="2615768" y="1015771"/>
                      </a:lnTo>
                      <a:lnTo>
                        <a:pt x="2617597" y="1018311"/>
                      </a:lnTo>
                      <a:lnTo>
                        <a:pt x="2619057" y="1019581"/>
                      </a:lnTo>
                      <a:lnTo>
                        <a:pt x="2625064" y="1027201"/>
                      </a:lnTo>
                      <a:lnTo>
                        <a:pt x="2624315" y="1028471"/>
                      </a:lnTo>
                      <a:lnTo>
                        <a:pt x="2623299" y="1029741"/>
                      </a:lnTo>
                      <a:lnTo>
                        <a:pt x="2619743" y="1034821"/>
                      </a:lnTo>
                      <a:lnTo>
                        <a:pt x="2618727" y="1036091"/>
                      </a:lnTo>
                      <a:lnTo>
                        <a:pt x="2618232" y="1037361"/>
                      </a:lnTo>
                      <a:lnTo>
                        <a:pt x="2616949" y="1038631"/>
                      </a:lnTo>
                      <a:lnTo>
                        <a:pt x="2616530" y="1039901"/>
                      </a:lnTo>
                      <a:lnTo>
                        <a:pt x="2616339" y="1041171"/>
                      </a:lnTo>
                      <a:lnTo>
                        <a:pt x="2616403" y="1043711"/>
                      </a:lnTo>
                      <a:lnTo>
                        <a:pt x="2616479" y="1044981"/>
                      </a:lnTo>
                      <a:lnTo>
                        <a:pt x="2616530" y="1048791"/>
                      </a:lnTo>
                      <a:lnTo>
                        <a:pt x="2617647" y="1050061"/>
                      </a:lnTo>
                      <a:lnTo>
                        <a:pt x="2618676" y="1051331"/>
                      </a:lnTo>
                      <a:lnTo>
                        <a:pt x="2621724" y="1051331"/>
                      </a:lnTo>
                      <a:lnTo>
                        <a:pt x="2627465" y="1048791"/>
                      </a:lnTo>
                      <a:lnTo>
                        <a:pt x="2632329" y="1048791"/>
                      </a:lnTo>
                      <a:lnTo>
                        <a:pt x="2631579" y="1050061"/>
                      </a:lnTo>
                      <a:lnTo>
                        <a:pt x="2631109" y="1051331"/>
                      </a:lnTo>
                      <a:lnTo>
                        <a:pt x="2629166" y="1053871"/>
                      </a:lnTo>
                      <a:lnTo>
                        <a:pt x="2629090" y="1055141"/>
                      </a:lnTo>
                      <a:lnTo>
                        <a:pt x="2629941" y="1056411"/>
                      </a:lnTo>
                      <a:lnTo>
                        <a:pt x="2631516" y="1057681"/>
                      </a:lnTo>
                      <a:lnTo>
                        <a:pt x="2636570" y="1066571"/>
                      </a:lnTo>
                      <a:lnTo>
                        <a:pt x="2639276" y="1070381"/>
                      </a:lnTo>
                      <a:lnTo>
                        <a:pt x="2641841" y="1074191"/>
                      </a:lnTo>
                      <a:lnTo>
                        <a:pt x="2645587" y="1075461"/>
                      </a:lnTo>
                      <a:lnTo>
                        <a:pt x="2647277" y="1076731"/>
                      </a:lnTo>
                      <a:lnTo>
                        <a:pt x="2648026" y="1078001"/>
                      </a:lnTo>
                      <a:lnTo>
                        <a:pt x="2650452" y="1079271"/>
                      </a:lnTo>
                      <a:lnTo>
                        <a:pt x="2657297" y="1081811"/>
                      </a:lnTo>
                      <a:lnTo>
                        <a:pt x="2684780" y="1090701"/>
                      </a:lnTo>
                      <a:lnTo>
                        <a:pt x="2690507" y="1093241"/>
                      </a:lnTo>
                      <a:lnTo>
                        <a:pt x="2703766" y="1093241"/>
                      </a:lnTo>
                      <a:lnTo>
                        <a:pt x="2703766" y="1090701"/>
                      </a:lnTo>
                      <a:lnTo>
                        <a:pt x="2702090" y="1090701"/>
                      </a:lnTo>
                      <a:lnTo>
                        <a:pt x="2698889" y="1091971"/>
                      </a:lnTo>
                      <a:lnTo>
                        <a:pt x="2695397" y="1090701"/>
                      </a:lnTo>
                      <a:lnTo>
                        <a:pt x="2690965" y="1090701"/>
                      </a:lnTo>
                      <a:lnTo>
                        <a:pt x="2685516" y="1088161"/>
                      </a:lnTo>
                      <a:lnTo>
                        <a:pt x="2684792" y="1088161"/>
                      </a:lnTo>
                      <a:lnTo>
                        <a:pt x="2657932" y="1079271"/>
                      </a:lnTo>
                      <a:lnTo>
                        <a:pt x="2651353" y="1078001"/>
                      </a:lnTo>
                      <a:lnTo>
                        <a:pt x="2649245" y="1075461"/>
                      </a:lnTo>
                      <a:lnTo>
                        <a:pt x="2648547" y="1075461"/>
                      </a:lnTo>
                      <a:lnTo>
                        <a:pt x="2646705" y="1074191"/>
                      </a:lnTo>
                      <a:lnTo>
                        <a:pt x="2643187" y="1071651"/>
                      </a:lnTo>
                      <a:lnTo>
                        <a:pt x="2640977" y="1069111"/>
                      </a:lnTo>
                      <a:lnTo>
                        <a:pt x="2638374" y="1065301"/>
                      </a:lnTo>
                      <a:lnTo>
                        <a:pt x="2633294" y="1057681"/>
                      </a:lnTo>
                      <a:lnTo>
                        <a:pt x="2631579" y="1055141"/>
                      </a:lnTo>
                      <a:lnTo>
                        <a:pt x="2631351" y="1053871"/>
                      </a:lnTo>
                      <a:lnTo>
                        <a:pt x="2632951" y="1052601"/>
                      </a:lnTo>
                      <a:lnTo>
                        <a:pt x="2633637" y="1051331"/>
                      </a:lnTo>
                      <a:lnTo>
                        <a:pt x="2634970" y="1048791"/>
                      </a:lnTo>
                      <a:lnTo>
                        <a:pt x="2636291" y="1047521"/>
                      </a:lnTo>
                      <a:lnTo>
                        <a:pt x="2636050" y="1047521"/>
                      </a:lnTo>
                      <a:lnTo>
                        <a:pt x="2637866" y="1046251"/>
                      </a:lnTo>
                      <a:lnTo>
                        <a:pt x="2639263" y="1042441"/>
                      </a:lnTo>
                      <a:lnTo>
                        <a:pt x="2639707" y="1042441"/>
                      </a:lnTo>
                      <a:lnTo>
                        <a:pt x="2637764" y="1041171"/>
                      </a:lnTo>
                      <a:lnTo>
                        <a:pt x="2636850" y="1043711"/>
                      </a:lnTo>
                      <a:lnTo>
                        <a:pt x="2635262" y="1046251"/>
                      </a:lnTo>
                      <a:lnTo>
                        <a:pt x="2633713" y="1047521"/>
                      </a:lnTo>
                      <a:lnTo>
                        <a:pt x="2633141" y="1047521"/>
                      </a:lnTo>
                      <a:lnTo>
                        <a:pt x="2631287" y="1046251"/>
                      </a:lnTo>
                      <a:lnTo>
                        <a:pt x="2629370" y="1046251"/>
                      </a:lnTo>
                      <a:lnTo>
                        <a:pt x="2627274" y="1047521"/>
                      </a:lnTo>
                      <a:lnTo>
                        <a:pt x="2621394" y="1048791"/>
                      </a:lnTo>
                      <a:lnTo>
                        <a:pt x="2618651" y="1048791"/>
                      </a:lnTo>
                      <a:lnTo>
                        <a:pt x="2618689" y="1044981"/>
                      </a:lnTo>
                      <a:lnTo>
                        <a:pt x="2618460" y="1042441"/>
                      </a:lnTo>
                      <a:lnTo>
                        <a:pt x="2618486" y="1041171"/>
                      </a:lnTo>
                      <a:lnTo>
                        <a:pt x="2618587" y="1039901"/>
                      </a:lnTo>
                      <a:lnTo>
                        <a:pt x="2618867" y="1039901"/>
                      </a:lnTo>
                      <a:lnTo>
                        <a:pt x="2619794" y="1038631"/>
                      </a:lnTo>
                      <a:lnTo>
                        <a:pt x="2620480" y="1037361"/>
                      </a:lnTo>
                      <a:lnTo>
                        <a:pt x="2625788" y="1029741"/>
                      </a:lnTo>
                      <a:lnTo>
                        <a:pt x="2626576" y="1028471"/>
                      </a:lnTo>
                      <a:lnTo>
                        <a:pt x="2626906" y="1028471"/>
                      </a:lnTo>
                      <a:lnTo>
                        <a:pt x="2628404" y="1029741"/>
                      </a:lnTo>
                      <a:lnTo>
                        <a:pt x="2631821" y="1029741"/>
                      </a:lnTo>
                      <a:lnTo>
                        <a:pt x="2633116" y="1028471"/>
                      </a:lnTo>
                      <a:lnTo>
                        <a:pt x="2634640" y="1027201"/>
                      </a:lnTo>
                      <a:lnTo>
                        <a:pt x="2637688" y="1024661"/>
                      </a:lnTo>
                      <a:lnTo>
                        <a:pt x="2636291" y="1023391"/>
                      </a:lnTo>
                      <a:lnTo>
                        <a:pt x="2632265" y="1025931"/>
                      </a:lnTo>
                      <a:lnTo>
                        <a:pt x="2630817" y="1027201"/>
                      </a:lnTo>
                      <a:lnTo>
                        <a:pt x="2627299" y="1027201"/>
                      </a:lnTo>
                      <a:lnTo>
                        <a:pt x="2622029" y="1020851"/>
                      </a:lnTo>
                      <a:lnTo>
                        <a:pt x="2620683" y="1018311"/>
                      </a:lnTo>
                      <a:lnTo>
                        <a:pt x="2619197" y="1017041"/>
                      </a:lnTo>
                      <a:lnTo>
                        <a:pt x="2617317" y="1014501"/>
                      </a:lnTo>
                      <a:lnTo>
                        <a:pt x="2615349" y="1013231"/>
                      </a:lnTo>
                      <a:lnTo>
                        <a:pt x="2612110" y="1009421"/>
                      </a:lnTo>
                      <a:lnTo>
                        <a:pt x="2604516" y="1001801"/>
                      </a:lnTo>
                      <a:lnTo>
                        <a:pt x="2599855" y="999261"/>
                      </a:lnTo>
                      <a:lnTo>
                        <a:pt x="2598585" y="999261"/>
                      </a:lnTo>
                      <a:lnTo>
                        <a:pt x="2597442" y="997991"/>
                      </a:lnTo>
                      <a:lnTo>
                        <a:pt x="2596172" y="997991"/>
                      </a:lnTo>
                      <a:lnTo>
                        <a:pt x="2595181" y="996721"/>
                      </a:lnTo>
                      <a:lnTo>
                        <a:pt x="2594064" y="995451"/>
                      </a:lnTo>
                      <a:lnTo>
                        <a:pt x="2591409" y="996721"/>
                      </a:lnTo>
                      <a:lnTo>
                        <a:pt x="2588717" y="996721"/>
                      </a:lnTo>
                      <a:lnTo>
                        <a:pt x="2587320" y="995451"/>
                      </a:lnTo>
                      <a:lnTo>
                        <a:pt x="2585593" y="996721"/>
                      </a:lnTo>
                      <a:lnTo>
                        <a:pt x="2582151" y="996721"/>
                      </a:lnTo>
                      <a:lnTo>
                        <a:pt x="2581910" y="995451"/>
                      </a:lnTo>
                      <a:lnTo>
                        <a:pt x="2577300" y="995451"/>
                      </a:lnTo>
                      <a:lnTo>
                        <a:pt x="2576779" y="996721"/>
                      </a:lnTo>
                      <a:lnTo>
                        <a:pt x="2574671" y="996721"/>
                      </a:lnTo>
                      <a:lnTo>
                        <a:pt x="2571915" y="997991"/>
                      </a:lnTo>
                      <a:lnTo>
                        <a:pt x="2571127" y="997991"/>
                      </a:lnTo>
                      <a:lnTo>
                        <a:pt x="2568067" y="994181"/>
                      </a:lnTo>
                      <a:lnTo>
                        <a:pt x="2564942" y="994181"/>
                      </a:lnTo>
                      <a:lnTo>
                        <a:pt x="2564320" y="992911"/>
                      </a:lnTo>
                      <a:lnTo>
                        <a:pt x="2563736" y="992911"/>
                      </a:lnTo>
                      <a:lnTo>
                        <a:pt x="2563266" y="991641"/>
                      </a:lnTo>
                      <a:lnTo>
                        <a:pt x="2562148" y="990371"/>
                      </a:lnTo>
                      <a:lnTo>
                        <a:pt x="2560129" y="994181"/>
                      </a:lnTo>
                      <a:lnTo>
                        <a:pt x="2559393" y="995451"/>
                      </a:lnTo>
                      <a:lnTo>
                        <a:pt x="2558186" y="997991"/>
                      </a:lnTo>
                      <a:lnTo>
                        <a:pt x="2556573" y="999261"/>
                      </a:lnTo>
                      <a:lnTo>
                        <a:pt x="2555481" y="999261"/>
                      </a:lnTo>
                      <a:lnTo>
                        <a:pt x="2554782" y="997991"/>
                      </a:lnTo>
                      <a:lnTo>
                        <a:pt x="2553792" y="996721"/>
                      </a:lnTo>
                      <a:lnTo>
                        <a:pt x="2552573" y="997991"/>
                      </a:lnTo>
                      <a:lnTo>
                        <a:pt x="2550503" y="1000531"/>
                      </a:lnTo>
                      <a:lnTo>
                        <a:pt x="2543365" y="1000531"/>
                      </a:lnTo>
                      <a:lnTo>
                        <a:pt x="2543098" y="999261"/>
                      </a:lnTo>
                      <a:lnTo>
                        <a:pt x="2542946" y="996721"/>
                      </a:lnTo>
                      <a:lnTo>
                        <a:pt x="2542870" y="994181"/>
                      </a:lnTo>
                      <a:lnTo>
                        <a:pt x="2542146" y="990371"/>
                      </a:lnTo>
                      <a:lnTo>
                        <a:pt x="2542933" y="985291"/>
                      </a:lnTo>
                      <a:lnTo>
                        <a:pt x="2549563" y="970051"/>
                      </a:lnTo>
                      <a:lnTo>
                        <a:pt x="2550007" y="961161"/>
                      </a:lnTo>
                      <a:lnTo>
                        <a:pt x="2554719" y="962431"/>
                      </a:lnTo>
                      <a:lnTo>
                        <a:pt x="2556281" y="961161"/>
                      </a:lnTo>
                      <a:lnTo>
                        <a:pt x="2556751" y="959891"/>
                      </a:lnTo>
                      <a:lnTo>
                        <a:pt x="2557272" y="959891"/>
                      </a:lnTo>
                      <a:lnTo>
                        <a:pt x="2557792" y="958621"/>
                      </a:lnTo>
                      <a:lnTo>
                        <a:pt x="2558796" y="957351"/>
                      </a:lnTo>
                      <a:lnTo>
                        <a:pt x="2562225" y="956081"/>
                      </a:lnTo>
                      <a:lnTo>
                        <a:pt x="2562783" y="954811"/>
                      </a:lnTo>
                      <a:lnTo>
                        <a:pt x="2567216" y="954811"/>
                      </a:lnTo>
                      <a:lnTo>
                        <a:pt x="2567546" y="953541"/>
                      </a:lnTo>
                      <a:lnTo>
                        <a:pt x="2568219" y="953541"/>
                      </a:lnTo>
                      <a:lnTo>
                        <a:pt x="2568664" y="952271"/>
                      </a:lnTo>
                      <a:lnTo>
                        <a:pt x="2569984" y="951001"/>
                      </a:lnTo>
                      <a:lnTo>
                        <a:pt x="2572766" y="947191"/>
                      </a:lnTo>
                      <a:lnTo>
                        <a:pt x="2573121" y="945921"/>
                      </a:lnTo>
                      <a:lnTo>
                        <a:pt x="2570899" y="945921"/>
                      </a:lnTo>
                      <a:lnTo>
                        <a:pt x="2568333" y="949731"/>
                      </a:lnTo>
                      <a:lnTo>
                        <a:pt x="2567025" y="951001"/>
                      </a:lnTo>
                      <a:lnTo>
                        <a:pt x="2566568" y="952271"/>
                      </a:lnTo>
                      <a:lnTo>
                        <a:pt x="2563838" y="952271"/>
                      </a:lnTo>
                      <a:lnTo>
                        <a:pt x="2562644" y="953541"/>
                      </a:lnTo>
                      <a:lnTo>
                        <a:pt x="2561031" y="953541"/>
                      </a:lnTo>
                      <a:lnTo>
                        <a:pt x="2557475" y="956081"/>
                      </a:lnTo>
                      <a:lnTo>
                        <a:pt x="2556103" y="957351"/>
                      </a:lnTo>
                      <a:lnTo>
                        <a:pt x="2555646" y="958621"/>
                      </a:lnTo>
                      <a:lnTo>
                        <a:pt x="2554871" y="958621"/>
                      </a:lnTo>
                      <a:lnTo>
                        <a:pt x="2553944" y="959891"/>
                      </a:lnTo>
                      <a:lnTo>
                        <a:pt x="2549601" y="958621"/>
                      </a:lnTo>
                      <a:lnTo>
                        <a:pt x="2548013" y="958621"/>
                      </a:lnTo>
                      <a:lnTo>
                        <a:pt x="2547467" y="968781"/>
                      </a:lnTo>
                      <a:lnTo>
                        <a:pt x="2545384" y="975131"/>
                      </a:lnTo>
                      <a:lnTo>
                        <a:pt x="2540889" y="985291"/>
                      </a:lnTo>
                      <a:lnTo>
                        <a:pt x="2540000" y="990371"/>
                      </a:lnTo>
                      <a:lnTo>
                        <a:pt x="2540711" y="994181"/>
                      </a:lnTo>
                      <a:lnTo>
                        <a:pt x="2540774" y="999261"/>
                      </a:lnTo>
                      <a:lnTo>
                        <a:pt x="2541435" y="1001801"/>
                      </a:lnTo>
                      <a:lnTo>
                        <a:pt x="2540724" y="1005611"/>
                      </a:lnTo>
                      <a:lnTo>
                        <a:pt x="2540444" y="1006881"/>
                      </a:lnTo>
                      <a:lnTo>
                        <a:pt x="2540355" y="1008151"/>
                      </a:lnTo>
                      <a:lnTo>
                        <a:pt x="2539822" y="1010691"/>
                      </a:lnTo>
                      <a:lnTo>
                        <a:pt x="2537180" y="1019581"/>
                      </a:lnTo>
                      <a:lnTo>
                        <a:pt x="2536507" y="1023391"/>
                      </a:lnTo>
                      <a:lnTo>
                        <a:pt x="2529751" y="1023391"/>
                      </a:lnTo>
                      <a:lnTo>
                        <a:pt x="2528824" y="1025931"/>
                      </a:lnTo>
                      <a:lnTo>
                        <a:pt x="2526347" y="1029741"/>
                      </a:lnTo>
                      <a:lnTo>
                        <a:pt x="2525484" y="1031011"/>
                      </a:lnTo>
                      <a:lnTo>
                        <a:pt x="2524277" y="1033551"/>
                      </a:lnTo>
                      <a:lnTo>
                        <a:pt x="2521610" y="1036091"/>
                      </a:lnTo>
                      <a:lnTo>
                        <a:pt x="2520340" y="1041171"/>
                      </a:lnTo>
                      <a:lnTo>
                        <a:pt x="2519883" y="1043711"/>
                      </a:lnTo>
                      <a:lnTo>
                        <a:pt x="2519591" y="1044981"/>
                      </a:lnTo>
                      <a:lnTo>
                        <a:pt x="2519426" y="1046251"/>
                      </a:lnTo>
                      <a:lnTo>
                        <a:pt x="2519184" y="1047521"/>
                      </a:lnTo>
                      <a:lnTo>
                        <a:pt x="2518981" y="1047521"/>
                      </a:lnTo>
                      <a:lnTo>
                        <a:pt x="2519057" y="1050061"/>
                      </a:lnTo>
                      <a:lnTo>
                        <a:pt x="2518499" y="1050061"/>
                      </a:lnTo>
                      <a:lnTo>
                        <a:pt x="2518308" y="1051331"/>
                      </a:lnTo>
                      <a:lnTo>
                        <a:pt x="2516555" y="1051331"/>
                      </a:lnTo>
                      <a:lnTo>
                        <a:pt x="2515755" y="1050061"/>
                      </a:lnTo>
                      <a:lnTo>
                        <a:pt x="2512631" y="1050061"/>
                      </a:lnTo>
                      <a:lnTo>
                        <a:pt x="2512110" y="1051331"/>
                      </a:lnTo>
                      <a:lnTo>
                        <a:pt x="2510625" y="1052601"/>
                      </a:lnTo>
                      <a:lnTo>
                        <a:pt x="2510028" y="1053871"/>
                      </a:lnTo>
                      <a:lnTo>
                        <a:pt x="2509863" y="1053871"/>
                      </a:lnTo>
                      <a:lnTo>
                        <a:pt x="2509355" y="1055141"/>
                      </a:lnTo>
                      <a:lnTo>
                        <a:pt x="2510244" y="1058951"/>
                      </a:lnTo>
                      <a:lnTo>
                        <a:pt x="2509355" y="1061491"/>
                      </a:lnTo>
                      <a:lnTo>
                        <a:pt x="2509088" y="1062761"/>
                      </a:lnTo>
                      <a:lnTo>
                        <a:pt x="2507589" y="1067841"/>
                      </a:lnTo>
                      <a:lnTo>
                        <a:pt x="2507043" y="1069111"/>
                      </a:lnTo>
                      <a:lnTo>
                        <a:pt x="2506776" y="1070381"/>
                      </a:lnTo>
                      <a:lnTo>
                        <a:pt x="2506738" y="1072921"/>
                      </a:lnTo>
                      <a:lnTo>
                        <a:pt x="2508008" y="1083081"/>
                      </a:lnTo>
                      <a:lnTo>
                        <a:pt x="2505786" y="1084351"/>
                      </a:lnTo>
                      <a:lnTo>
                        <a:pt x="2505506" y="1084351"/>
                      </a:lnTo>
                      <a:lnTo>
                        <a:pt x="2504554" y="1085621"/>
                      </a:lnTo>
                      <a:lnTo>
                        <a:pt x="2502763" y="1084351"/>
                      </a:lnTo>
                      <a:lnTo>
                        <a:pt x="2496159" y="1084351"/>
                      </a:lnTo>
                      <a:lnTo>
                        <a:pt x="2493518" y="1085621"/>
                      </a:lnTo>
                      <a:lnTo>
                        <a:pt x="2491384" y="1091971"/>
                      </a:lnTo>
                      <a:lnTo>
                        <a:pt x="2490495" y="1093241"/>
                      </a:lnTo>
                      <a:lnTo>
                        <a:pt x="2492324" y="1094511"/>
                      </a:lnTo>
                      <a:lnTo>
                        <a:pt x="2496959" y="1095781"/>
                      </a:lnTo>
                      <a:lnTo>
                        <a:pt x="2498420" y="1097051"/>
                      </a:lnTo>
                      <a:lnTo>
                        <a:pt x="2500058" y="1097051"/>
                      </a:lnTo>
                      <a:lnTo>
                        <a:pt x="2500401" y="1098321"/>
                      </a:lnTo>
                      <a:lnTo>
                        <a:pt x="2502344" y="1098321"/>
                      </a:lnTo>
                      <a:lnTo>
                        <a:pt x="2505011" y="1102131"/>
                      </a:lnTo>
                      <a:lnTo>
                        <a:pt x="2505672" y="1103401"/>
                      </a:lnTo>
                      <a:lnTo>
                        <a:pt x="2506586" y="1104671"/>
                      </a:lnTo>
                      <a:lnTo>
                        <a:pt x="2508008" y="1105941"/>
                      </a:lnTo>
                      <a:lnTo>
                        <a:pt x="2509380" y="1107211"/>
                      </a:lnTo>
                      <a:lnTo>
                        <a:pt x="2510967" y="1107211"/>
                      </a:lnTo>
                      <a:lnTo>
                        <a:pt x="2511844" y="1108481"/>
                      </a:lnTo>
                      <a:lnTo>
                        <a:pt x="2512834" y="1108481"/>
                      </a:lnTo>
                      <a:lnTo>
                        <a:pt x="2515120" y="1111021"/>
                      </a:lnTo>
                      <a:lnTo>
                        <a:pt x="2515768" y="1112291"/>
                      </a:lnTo>
                      <a:lnTo>
                        <a:pt x="2518156" y="1116101"/>
                      </a:lnTo>
                      <a:lnTo>
                        <a:pt x="2520569" y="1123721"/>
                      </a:lnTo>
                      <a:lnTo>
                        <a:pt x="2520886" y="1124991"/>
                      </a:lnTo>
                      <a:lnTo>
                        <a:pt x="2521318" y="1126261"/>
                      </a:lnTo>
                      <a:lnTo>
                        <a:pt x="2522042" y="1126261"/>
                      </a:lnTo>
                      <a:lnTo>
                        <a:pt x="2522524" y="1127531"/>
                      </a:lnTo>
                      <a:lnTo>
                        <a:pt x="2523198" y="1127531"/>
                      </a:lnTo>
                      <a:lnTo>
                        <a:pt x="2523871" y="1128801"/>
                      </a:lnTo>
                      <a:lnTo>
                        <a:pt x="2524887" y="1128801"/>
                      </a:lnTo>
                      <a:lnTo>
                        <a:pt x="2526271" y="1130071"/>
                      </a:lnTo>
                      <a:lnTo>
                        <a:pt x="2528989" y="1130071"/>
                      </a:lnTo>
                      <a:lnTo>
                        <a:pt x="2530170" y="1131341"/>
                      </a:lnTo>
                      <a:lnTo>
                        <a:pt x="2531110" y="1131341"/>
                      </a:lnTo>
                      <a:lnTo>
                        <a:pt x="2531059" y="1132611"/>
                      </a:lnTo>
                      <a:lnTo>
                        <a:pt x="2530652" y="1133881"/>
                      </a:lnTo>
                      <a:lnTo>
                        <a:pt x="2530538" y="1135151"/>
                      </a:lnTo>
                      <a:lnTo>
                        <a:pt x="2530513" y="1136421"/>
                      </a:lnTo>
                      <a:lnTo>
                        <a:pt x="2530767" y="1138961"/>
                      </a:lnTo>
                      <a:lnTo>
                        <a:pt x="2511031" y="1140231"/>
                      </a:lnTo>
                      <a:lnTo>
                        <a:pt x="2508948" y="1141501"/>
                      </a:lnTo>
                      <a:lnTo>
                        <a:pt x="2508389" y="1142771"/>
                      </a:lnTo>
                      <a:lnTo>
                        <a:pt x="2507704" y="1142771"/>
                      </a:lnTo>
                      <a:lnTo>
                        <a:pt x="2505227" y="1145311"/>
                      </a:lnTo>
                      <a:lnTo>
                        <a:pt x="2505024" y="1145311"/>
                      </a:lnTo>
                      <a:lnTo>
                        <a:pt x="2498902" y="1151661"/>
                      </a:lnTo>
                      <a:lnTo>
                        <a:pt x="2493949" y="1151661"/>
                      </a:lnTo>
                      <a:lnTo>
                        <a:pt x="2493187" y="1150391"/>
                      </a:lnTo>
                      <a:lnTo>
                        <a:pt x="2487053" y="1150391"/>
                      </a:lnTo>
                      <a:lnTo>
                        <a:pt x="2486088" y="1151661"/>
                      </a:lnTo>
                      <a:lnTo>
                        <a:pt x="2483180" y="1151661"/>
                      </a:lnTo>
                      <a:lnTo>
                        <a:pt x="2482240" y="1152931"/>
                      </a:lnTo>
                      <a:lnTo>
                        <a:pt x="2481567" y="1152931"/>
                      </a:lnTo>
                      <a:lnTo>
                        <a:pt x="2479916" y="1155471"/>
                      </a:lnTo>
                      <a:lnTo>
                        <a:pt x="2479154" y="1154201"/>
                      </a:lnTo>
                      <a:lnTo>
                        <a:pt x="2477427" y="1154201"/>
                      </a:lnTo>
                      <a:lnTo>
                        <a:pt x="2475661" y="1151661"/>
                      </a:lnTo>
                      <a:lnTo>
                        <a:pt x="2475039" y="1150391"/>
                      </a:lnTo>
                      <a:lnTo>
                        <a:pt x="2471547" y="1152931"/>
                      </a:lnTo>
                      <a:lnTo>
                        <a:pt x="2468753" y="1152931"/>
                      </a:lnTo>
                      <a:lnTo>
                        <a:pt x="2467140" y="1151661"/>
                      </a:lnTo>
                      <a:lnTo>
                        <a:pt x="2464905" y="1151661"/>
                      </a:lnTo>
                      <a:lnTo>
                        <a:pt x="2463533" y="1152931"/>
                      </a:lnTo>
                      <a:lnTo>
                        <a:pt x="2462898" y="1152931"/>
                      </a:lnTo>
                      <a:lnTo>
                        <a:pt x="2462568" y="1154201"/>
                      </a:lnTo>
                      <a:lnTo>
                        <a:pt x="2461374" y="1155471"/>
                      </a:lnTo>
                      <a:lnTo>
                        <a:pt x="2460447" y="1155471"/>
                      </a:lnTo>
                      <a:lnTo>
                        <a:pt x="2458199" y="1154201"/>
                      </a:lnTo>
                      <a:lnTo>
                        <a:pt x="2458110" y="1151661"/>
                      </a:lnTo>
                      <a:lnTo>
                        <a:pt x="2457246" y="1150391"/>
                      </a:lnTo>
                      <a:lnTo>
                        <a:pt x="2455189" y="1150391"/>
                      </a:lnTo>
                      <a:lnTo>
                        <a:pt x="2453830" y="1149121"/>
                      </a:lnTo>
                      <a:lnTo>
                        <a:pt x="2452001" y="1149121"/>
                      </a:lnTo>
                      <a:lnTo>
                        <a:pt x="2451176" y="1147851"/>
                      </a:lnTo>
                      <a:lnTo>
                        <a:pt x="2447925" y="1144041"/>
                      </a:lnTo>
                      <a:lnTo>
                        <a:pt x="2447391" y="1144041"/>
                      </a:lnTo>
                      <a:lnTo>
                        <a:pt x="2447328" y="1142771"/>
                      </a:lnTo>
                      <a:lnTo>
                        <a:pt x="2447328" y="1141501"/>
                      </a:lnTo>
                      <a:lnTo>
                        <a:pt x="2447455" y="1140231"/>
                      </a:lnTo>
                      <a:lnTo>
                        <a:pt x="2441105" y="1140231"/>
                      </a:lnTo>
                      <a:lnTo>
                        <a:pt x="2439174" y="1141501"/>
                      </a:lnTo>
                      <a:lnTo>
                        <a:pt x="2438616" y="1142771"/>
                      </a:lnTo>
                      <a:lnTo>
                        <a:pt x="2437714" y="1144041"/>
                      </a:lnTo>
                      <a:lnTo>
                        <a:pt x="2430208" y="1141501"/>
                      </a:lnTo>
                      <a:lnTo>
                        <a:pt x="2427567" y="1142771"/>
                      </a:lnTo>
                      <a:lnTo>
                        <a:pt x="2426030" y="1144041"/>
                      </a:lnTo>
                      <a:lnTo>
                        <a:pt x="2423604" y="1142771"/>
                      </a:lnTo>
                      <a:lnTo>
                        <a:pt x="2418638" y="1141501"/>
                      </a:lnTo>
                      <a:lnTo>
                        <a:pt x="2417305" y="1137691"/>
                      </a:lnTo>
                      <a:lnTo>
                        <a:pt x="2415781" y="1135151"/>
                      </a:lnTo>
                      <a:lnTo>
                        <a:pt x="2413457" y="1133881"/>
                      </a:lnTo>
                      <a:lnTo>
                        <a:pt x="2413241" y="1133881"/>
                      </a:lnTo>
                      <a:lnTo>
                        <a:pt x="2411653" y="1130071"/>
                      </a:lnTo>
                      <a:lnTo>
                        <a:pt x="2411272" y="1128801"/>
                      </a:lnTo>
                      <a:lnTo>
                        <a:pt x="2411107" y="1126261"/>
                      </a:lnTo>
                      <a:lnTo>
                        <a:pt x="2410345" y="1124661"/>
                      </a:lnTo>
                      <a:lnTo>
                        <a:pt x="2410345" y="1132611"/>
                      </a:lnTo>
                      <a:lnTo>
                        <a:pt x="2409380" y="1132611"/>
                      </a:lnTo>
                      <a:lnTo>
                        <a:pt x="2408898" y="1131341"/>
                      </a:lnTo>
                      <a:lnTo>
                        <a:pt x="2406535" y="1131341"/>
                      </a:lnTo>
                      <a:lnTo>
                        <a:pt x="2401976" y="1132611"/>
                      </a:lnTo>
                      <a:lnTo>
                        <a:pt x="2398268" y="1132611"/>
                      </a:lnTo>
                      <a:lnTo>
                        <a:pt x="2396083" y="1131341"/>
                      </a:lnTo>
                      <a:lnTo>
                        <a:pt x="2388895" y="1131341"/>
                      </a:lnTo>
                      <a:lnTo>
                        <a:pt x="2387371" y="1130071"/>
                      </a:lnTo>
                      <a:lnTo>
                        <a:pt x="2386507" y="1128801"/>
                      </a:lnTo>
                      <a:lnTo>
                        <a:pt x="2383091" y="1128801"/>
                      </a:lnTo>
                      <a:lnTo>
                        <a:pt x="2382164" y="1130071"/>
                      </a:lnTo>
                      <a:lnTo>
                        <a:pt x="2381758" y="1130071"/>
                      </a:lnTo>
                      <a:lnTo>
                        <a:pt x="2380754" y="1131341"/>
                      </a:lnTo>
                      <a:lnTo>
                        <a:pt x="2381173" y="1133881"/>
                      </a:lnTo>
                      <a:lnTo>
                        <a:pt x="2380754" y="1133881"/>
                      </a:lnTo>
                      <a:lnTo>
                        <a:pt x="2377173" y="1135151"/>
                      </a:lnTo>
                      <a:lnTo>
                        <a:pt x="2372906" y="1135151"/>
                      </a:lnTo>
                      <a:lnTo>
                        <a:pt x="2370696" y="1132611"/>
                      </a:lnTo>
                      <a:lnTo>
                        <a:pt x="2369210" y="1132611"/>
                      </a:lnTo>
                      <a:lnTo>
                        <a:pt x="2367826" y="1133881"/>
                      </a:lnTo>
                      <a:lnTo>
                        <a:pt x="2366327" y="1133881"/>
                      </a:lnTo>
                      <a:lnTo>
                        <a:pt x="2358364" y="1137691"/>
                      </a:lnTo>
                      <a:lnTo>
                        <a:pt x="2354656" y="1140231"/>
                      </a:lnTo>
                      <a:lnTo>
                        <a:pt x="2352852" y="1140231"/>
                      </a:lnTo>
                      <a:lnTo>
                        <a:pt x="2349347" y="1137691"/>
                      </a:lnTo>
                      <a:lnTo>
                        <a:pt x="2348153" y="1136421"/>
                      </a:lnTo>
                      <a:lnTo>
                        <a:pt x="2347061" y="1136421"/>
                      </a:lnTo>
                      <a:lnTo>
                        <a:pt x="2346325" y="1137691"/>
                      </a:lnTo>
                      <a:lnTo>
                        <a:pt x="2345969" y="1137691"/>
                      </a:lnTo>
                      <a:lnTo>
                        <a:pt x="2346566" y="1138961"/>
                      </a:lnTo>
                      <a:lnTo>
                        <a:pt x="2345753" y="1137691"/>
                      </a:lnTo>
                      <a:lnTo>
                        <a:pt x="2345055" y="1138961"/>
                      </a:lnTo>
                      <a:lnTo>
                        <a:pt x="2344318" y="1138961"/>
                      </a:lnTo>
                      <a:lnTo>
                        <a:pt x="2343683" y="1140231"/>
                      </a:lnTo>
                      <a:lnTo>
                        <a:pt x="2343137" y="1141501"/>
                      </a:lnTo>
                      <a:lnTo>
                        <a:pt x="2341486" y="1144041"/>
                      </a:lnTo>
                      <a:lnTo>
                        <a:pt x="2340699" y="1145311"/>
                      </a:lnTo>
                      <a:lnTo>
                        <a:pt x="2340406" y="1145311"/>
                      </a:lnTo>
                      <a:lnTo>
                        <a:pt x="2340254" y="1146581"/>
                      </a:lnTo>
                      <a:lnTo>
                        <a:pt x="2337993" y="1146581"/>
                      </a:lnTo>
                      <a:lnTo>
                        <a:pt x="2335619" y="1145311"/>
                      </a:lnTo>
                      <a:lnTo>
                        <a:pt x="2327046" y="1145311"/>
                      </a:lnTo>
                      <a:lnTo>
                        <a:pt x="2325941" y="1144041"/>
                      </a:lnTo>
                      <a:lnTo>
                        <a:pt x="2323007" y="1144041"/>
                      </a:lnTo>
                      <a:lnTo>
                        <a:pt x="2322753" y="1145311"/>
                      </a:lnTo>
                      <a:lnTo>
                        <a:pt x="2322639" y="1144041"/>
                      </a:lnTo>
                      <a:lnTo>
                        <a:pt x="2321420" y="1144041"/>
                      </a:lnTo>
                      <a:lnTo>
                        <a:pt x="2316200" y="1141501"/>
                      </a:lnTo>
                      <a:lnTo>
                        <a:pt x="2313241" y="1141501"/>
                      </a:lnTo>
                      <a:lnTo>
                        <a:pt x="2312428" y="1140231"/>
                      </a:lnTo>
                      <a:lnTo>
                        <a:pt x="2306294" y="1133881"/>
                      </a:lnTo>
                      <a:lnTo>
                        <a:pt x="2304465" y="1133881"/>
                      </a:lnTo>
                      <a:lnTo>
                        <a:pt x="2303932" y="1132611"/>
                      </a:lnTo>
                      <a:lnTo>
                        <a:pt x="2296160" y="1132611"/>
                      </a:lnTo>
                      <a:lnTo>
                        <a:pt x="2294191" y="1133881"/>
                      </a:lnTo>
                      <a:lnTo>
                        <a:pt x="2292439" y="1135151"/>
                      </a:lnTo>
                      <a:lnTo>
                        <a:pt x="2291727" y="1136421"/>
                      </a:lnTo>
                      <a:lnTo>
                        <a:pt x="2291143" y="1136421"/>
                      </a:lnTo>
                      <a:lnTo>
                        <a:pt x="2290572" y="1137691"/>
                      </a:lnTo>
                      <a:lnTo>
                        <a:pt x="2290407" y="1137691"/>
                      </a:lnTo>
                      <a:lnTo>
                        <a:pt x="2289327" y="1140231"/>
                      </a:lnTo>
                      <a:lnTo>
                        <a:pt x="2287651" y="1142771"/>
                      </a:lnTo>
                      <a:lnTo>
                        <a:pt x="2286889" y="1142771"/>
                      </a:lnTo>
                      <a:lnTo>
                        <a:pt x="2284742" y="1144041"/>
                      </a:lnTo>
                      <a:lnTo>
                        <a:pt x="2283904" y="1144041"/>
                      </a:lnTo>
                      <a:lnTo>
                        <a:pt x="2283561" y="1145311"/>
                      </a:lnTo>
                      <a:lnTo>
                        <a:pt x="2284704" y="1146581"/>
                      </a:lnTo>
                      <a:lnTo>
                        <a:pt x="2284831" y="1146581"/>
                      </a:lnTo>
                      <a:lnTo>
                        <a:pt x="2284882" y="1152931"/>
                      </a:lnTo>
                      <a:lnTo>
                        <a:pt x="2285022" y="1154201"/>
                      </a:lnTo>
                      <a:lnTo>
                        <a:pt x="2284590" y="1154201"/>
                      </a:lnTo>
                      <a:lnTo>
                        <a:pt x="2283841" y="1152931"/>
                      </a:lnTo>
                      <a:lnTo>
                        <a:pt x="2283129" y="1154201"/>
                      </a:lnTo>
                      <a:lnTo>
                        <a:pt x="2277135" y="1154201"/>
                      </a:lnTo>
                      <a:lnTo>
                        <a:pt x="2274874" y="1152931"/>
                      </a:lnTo>
                      <a:lnTo>
                        <a:pt x="2268182" y="1152931"/>
                      </a:lnTo>
                      <a:lnTo>
                        <a:pt x="2264270" y="1154201"/>
                      </a:lnTo>
                      <a:lnTo>
                        <a:pt x="2261857" y="1154201"/>
                      </a:lnTo>
                      <a:lnTo>
                        <a:pt x="2259304" y="1155471"/>
                      </a:lnTo>
                      <a:lnTo>
                        <a:pt x="2257285" y="1155471"/>
                      </a:lnTo>
                      <a:lnTo>
                        <a:pt x="2256396" y="1156741"/>
                      </a:lnTo>
                      <a:lnTo>
                        <a:pt x="2255697" y="1158011"/>
                      </a:lnTo>
                      <a:lnTo>
                        <a:pt x="2255469" y="1159281"/>
                      </a:lnTo>
                      <a:lnTo>
                        <a:pt x="2255062" y="1159281"/>
                      </a:lnTo>
                      <a:lnTo>
                        <a:pt x="2254770" y="1160551"/>
                      </a:lnTo>
                      <a:lnTo>
                        <a:pt x="2254745" y="1161821"/>
                      </a:lnTo>
                      <a:lnTo>
                        <a:pt x="2254631" y="1164361"/>
                      </a:lnTo>
                      <a:lnTo>
                        <a:pt x="2254427" y="1165631"/>
                      </a:lnTo>
                      <a:lnTo>
                        <a:pt x="2254034" y="1166901"/>
                      </a:lnTo>
                      <a:lnTo>
                        <a:pt x="2253653" y="1168171"/>
                      </a:lnTo>
                      <a:lnTo>
                        <a:pt x="2253094" y="1169441"/>
                      </a:lnTo>
                      <a:lnTo>
                        <a:pt x="2252802" y="1170711"/>
                      </a:lnTo>
                      <a:lnTo>
                        <a:pt x="2252472" y="1170711"/>
                      </a:lnTo>
                      <a:lnTo>
                        <a:pt x="2251964" y="1171981"/>
                      </a:lnTo>
                      <a:lnTo>
                        <a:pt x="2251075" y="1168171"/>
                      </a:lnTo>
                      <a:lnTo>
                        <a:pt x="2251227" y="1165631"/>
                      </a:lnTo>
                      <a:lnTo>
                        <a:pt x="2250935" y="1164361"/>
                      </a:lnTo>
                      <a:lnTo>
                        <a:pt x="2250262" y="1164361"/>
                      </a:lnTo>
                      <a:lnTo>
                        <a:pt x="2247569" y="1160551"/>
                      </a:lnTo>
                      <a:lnTo>
                        <a:pt x="2245766" y="1159281"/>
                      </a:lnTo>
                      <a:lnTo>
                        <a:pt x="2243886" y="1158011"/>
                      </a:lnTo>
                      <a:lnTo>
                        <a:pt x="2243226" y="1158011"/>
                      </a:lnTo>
                      <a:lnTo>
                        <a:pt x="2239302" y="1154201"/>
                      </a:lnTo>
                      <a:lnTo>
                        <a:pt x="2236597" y="1150391"/>
                      </a:lnTo>
                      <a:lnTo>
                        <a:pt x="2238654" y="1149121"/>
                      </a:lnTo>
                      <a:lnTo>
                        <a:pt x="2237371" y="1147851"/>
                      </a:lnTo>
                      <a:lnTo>
                        <a:pt x="2234565" y="1144041"/>
                      </a:lnTo>
                      <a:lnTo>
                        <a:pt x="2231707" y="1140231"/>
                      </a:lnTo>
                      <a:lnTo>
                        <a:pt x="2231542" y="1140231"/>
                      </a:lnTo>
                      <a:lnTo>
                        <a:pt x="2230640" y="1135151"/>
                      </a:lnTo>
                      <a:lnTo>
                        <a:pt x="2229815" y="1132611"/>
                      </a:lnTo>
                      <a:lnTo>
                        <a:pt x="2228850" y="1130071"/>
                      </a:lnTo>
                      <a:lnTo>
                        <a:pt x="2229650" y="1128801"/>
                      </a:lnTo>
                      <a:lnTo>
                        <a:pt x="2229802" y="1126261"/>
                      </a:lnTo>
                      <a:lnTo>
                        <a:pt x="2229789" y="1122451"/>
                      </a:lnTo>
                      <a:lnTo>
                        <a:pt x="2229485" y="1122451"/>
                      </a:lnTo>
                      <a:lnTo>
                        <a:pt x="2228850" y="1121181"/>
                      </a:lnTo>
                      <a:lnTo>
                        <a:pt x="2228583" y="1121181"/>
                      </a:lnTo>
                      <a:lnTo>
                        <a:pt x="2227669" y="1119911"/>
                      </a:lnTo>
                      <a:lnTo>
                        <a:pt x="2230209" y="1118641"/>
                      </a:lnTo>
                      <a:lnTo>
                        <a:pt x="2231440" y="1117371"/>
                      </a:lnTo>
                      <a:lnTo>
                        <a:pt x="2233130" y="1113561"/>
                      </a:lnTo>
                      <a:lnTo>
                        <a:pt x="2233980" y="1112291"/>
                      </a:lnTo>
                      <a:lnTo>
                        <a:pt x="2234222" y="1112291"/>
                      </a:lnTo>
                      <a:lnTo>
                        <a:pt x="2234488" y="1111021"/>
                      </a:lnTo>
                      <a:lnTo>
                        <a:pt x="2235581" y="1108481"/>
                      </a:lnTo>
                      <a:lnTo>
                        <a:pt x="2237536" y="1104671"/>
                      </a:lnTo>
                      <a:lnTo>
                        <a:pt x="2238552" y="1103401"/>
                      </a:lnTo>
                      <a:lnTo>
                        <a:pt x="2239378" y="1102131"/>
                      </a:lnTo>
                      <a:lnTo>
                        <a:pt x="2240051" y="1100861"/>
                      </a:lnTo>
                      <a:lnTo>
                        <a:pt x="2241067" y="1100861"/>
                      </a:lnTo>
                      <a:lnTo>
                        <a:pt x="2241854" y="1099591"/>
                      </a:lnTo>
                      <a:lnTo>
                        <a:pt x="2247912" y="1099591"/>
                      </a:lnTo>
                      <a:lnTo>
                        <a:pt x="2250998" y="1098321"/>
                      </a:lnTo>
                      <a:lnTo>
                        <a:pt x="2253691" y="1098321"/>
                      </a:lnTo>
                      <a:lnTo>
                        <a:pt x="2254415" y="1097051"/>
                      </a:lnTo>
                      <a:lnTo>
                        <a:pt x="2255024" y="1097051"/>
                      </a:lnTo>
                      <a:lnTo>
                        <a:pt x="2255723" y="1095781"/>
                      </a:lnTo>
                      <a:lnTo>
                        <a:pt x="2256142" y="1094511"/>
                      </a:lnTo>
                      <a:lnTo>
                        <a:pt x="2259406" y="1099591"/>
                      </a:lnTo>
                      <a:lnTo>
                        <a:pt x="2260828" y="1099591"/>
                      </a:lnTo>
                      <a:lnTo>
                        <a:pt x="2263470" y="1098321"/>
                      </a:lnTo>
                      <a:lnTo>
                        <a:pt x="2264079" y="1097051"/>
                      </a:lnTo>
                      <a:lnTo>
                        <a:pt x="2265134" y="1097051"/>
                      </a:lnTo>
                      <a:lnTo>
                        <a:pt x="2267000" y="1095781"/>
                      </a:lnTo>
                      <a:lnTo>
                        <a:pt x="2267724" y="1095781"/>
                      </a:lnTo>
                      <a:lnTo>
                        <a:pt x="2269985" y="1094511"/>
                      </a:lnTo>
                      <a:lnTo>
                        <a:pt x="2271890" y="1094511"/>
                      </a:lnTo>
                      <a:lnTo>
                        <a:pt x="2274925" y="1093241"/>
                      </a:lnTo>
                      <a:lnTo>
                        <a:pt x="2283815" y="1093241"/>
                      </a:lnTo>
                      <a:lnTo>
                        <a:pt x="2284196" y="1091971"/>
                      </a:lnTo>
                      <a:lnTo>
                        <a:pt x="2286685" y="1091971"/>
                      </a:lnTo>
                      <a:lnTo>
                        <a:pt x="2287028" y="1090701"/>
                      </a:lnTo>
                      <a:lnTo>
                        <a:pt x="2288248" y="1090701"/>
                      </a:lnTo>
                      <a:lnTo>
                        <a:pt x="2289314" y="1089431"/>
                      </a:lnTo>
                      <a:lnTo>
                        <a:pt x="2292185" y="1085621"/>
                      </a:lnTo>
                      <a:lnTo>
                        <a:pt x="2293023" y="1084351"/>
                      </a:lnTo>
                      <a:lnTo>
                        <a:pt x="2293505" y="1083081"/>
                      </a:lnTo>
                      <a:lnTo>
                        <a:pt x="2293785" y="1081811"/>
                      </a:lnTo>
                      <a:lnTo>
                        <a:pt x="2292248" y="1080541"/>
                      </a:lnTo>
                      <a:lnTo>
                        <a:pt x="2291219" y="1079271"/>
                      </a:lnTo>
                      <a:lnTo>
                        <a:pt x="2292350" y="1079271"/>
                      </a:lnTo>
                      <a:lnTo>
                        <a:pt x="2293505" y="1078001"/>
                      </a:lnTo>
                      <a:lnTo>
                        <a:pt x="2307907" y="1078001"/>
                      </a:lnTo>
                      <a:lnTo>
                        <a:pt x="2310066" y="1076731"/>
                      </a:lnTo>
                      <a:lnTo>
                        <a:pt x="2312098" y="1076731"/>
                      </a:lnTo>
                      <a:lnTo>
                        <a:pt x="2316873" y="1072921"/>
                      </a:lnTo>
                      <a:lnTo>
                        <a:pt x="2319223" y="1071651"/>
                      </a:lnTo>
                      <a:lnTo>
                        <a:pt x="2331504" y="1056411"/>
                      </a:lnTo>
                      <a:lnTo>
                        <a:pt x="2331402" y="1055141"/>
                      </a:lnTo>
                      <a:lnTo>
                        <a:pt x="2332672" y="1053871"/>
                      </a:lnTo>
                      <a:lnTo>
                        <a:pt x="2339327" y="1050061"/>
                      </a:lnTo>
                      <a:lnTo>
                        <a:pt x="2346287" y="1050061"/>
                      </a:lnTo>
                      <a:lnTo>
                        <a:pt x="2350528" y="1056411"/>
                      </a:lnTo>
                      <a:lnTo>
                        <a:pt x="2354275" y="1060221"/>
                      </a:lnTo>
                      <a:lnTo>
                        <a:pt x="2355164" y="1061491"/>
                      </a:lnTo>
                      <a:lnTo>
                        <a:pt x="2356307" y="1064031"/>
                      </a:lnTo>
                      <a:lnTo>
                        <a:pt x="2357780" y="1065314"/>
                      </a:lnTo>
                      <a:lnTo>
                        <a:pt x="2357513" y="1067841"/>
                      </a:lnTo>
                      <a:lnTo>
                        <a:pt x="2356955" y="1070381"/>
                      </a:lnTo>
                      <a:lnTo>
                        <a:pt x="2356891" y="1071651"/>
                      </a:lnTo>
                      <a:lnTo>
                        <a:pt x="2356942" y="1072921"/>
                      </a:lnTo>
                      <a:lnTo>
                        <a:pt x="2356002" y="1074191"/>
                      </a:lnTo>
                      <a:lnTo>
                        <a:pt x="2354554" y="1075461"/>
                      </a:lnTo>
                      <a:lnTo>
                        <a:pt x="2354567" y="1076731"/>
                      </a:lnTo>
                      <a:lnTo>
                        <a:pt x="2354694" y="1078001"/>
                      </a:lnTo>
                      <a:lnTo>
                        <a:pt x="2355138" y="1081811"/>
                      </a:lnTo>
                      <a:lnTo>
                        <a:pt x="2355570" y="1081811"/>
                      </a:lnTo>
                      <a:lnTo>
                        <a:pt x="2356104" y="1083081"/>
                      </a:lnTo>
                      <a:lnTo>
                        <a:pt x="2357551" y="1083081"/>
                      </a:lnTo>
                      <a:lnTo>
                        <a:pt x="2357437" y="1081811"/>
                      </a:lnTo>
                      <a:lnTo>
                        <a:pt x="2357818" y="1083081"/>
                      </a:lnTo>
                      <a:lnTo>
                        <a:pt x="2364790" y="1083081"/>
                      </a:lnTo>
                      <a:lnTo>
                        <a:pt x="2365591" y="1088161"/>
                      </a:lnTo>
                      <a:lnTo>
                        <a:pt x="2365946" y="1088161"/>
                      </a:lnTo>
                      <a:lnTo>
                        <a:pt x="2366556" y="1089431"/>
                      </a:lnTo>
                      <a:lnTo>
                        <a:pt x="2370721" y="1089431"/>
                      </a:lnTo>
                      <a:lnTo>
                        <a:pt x="2373630" y="1090701"/>
                      </a:lnTo>
                      <a:lnTo>
                        <a:pt x="2375827" y="1090701"/>
                      </a:lnTo>
                      <a:lnTo>
                        <a:pt x="2377681" y="1091971"/>
                      </a:lnTo>
                      <a:lnTo>
                        <a:pt x="2379649" y="1094511"/>
                      </a:lnTo>
                      <a:lnTo>
                        <a:pt x="2380157" y="1094511"/>
                      </a:lnTo>
                      <a:lnTo>
                        <a:pt x="2380462" y="1095781"/>
                      </a:lnTo>
                      <a:lnTo>
                        <a:pt x="2380437" y="1097051"/>
                      </a:lnTo>
                      <a:lnTo>
                        <a:pt x="2380983" y="1098321"/>
                      </a:lnTo>
                      <a:lnTo>
                        <a:pt x="2381643" y="1099591"/>
                      </a:lnTo>
                      <a:lnTo>
                        <a:pt x="2393848" y="1109751"/>
                      </a:lnTo>
                      <a:lnTo>
                        <a:pt x="2395994" y="1112291"/>
                      </a:lnTo>
                      <a:lnTo>
                        <a:pt x="2396858" y="1111021"/>
                      </a:lnTo>
                      <a:lnTo>
                        <a:pt x="2396223" y="1112291"/>
                      </a:lnTo>
                      <a:lnTo>
                        <a:pt x="2395169" y="1113561"/>
                      </a:lnTo>
                      <a:lnTo>
                        <a:pt x="2395093" y="1116101"/>
                      </a:lnTo>
                      <a:lnTo>
                        <a:pt x="2395334" y="1116101"/>
                      </a:lnTo>
                      <a:lnTo>
                        <a:pt x="2396236" y="1118641"/>
                      </a:lnTo>
                      <a:lnTo>
                        <a:pt x="2396680" y="1118641"/>
                      </a:lnTo>
                      <a:lnTo>
                        <a:pt x="2397150" y="1119911"/>
                      </a:lnTo>
                      <a:lnTo>
                        <a:pt x="2397582" y="1119911"/>
                      </a:lnTo>
                      <a:lnTo>
                        <a:pt x="2398458" y="1121181"/>
                      </a:lnTo>
                      <a:lnTo>
                        <a:pt x="2400833" y="1121181"/>
                      </a:lnTo>
                      <a:lnTo>
                        <a:pt x="2402103" y="1122451"/>
                      </a:lnTo>
                      <a:lnTo>
                        <a:pt x="2404897" y="1123721"/>
                      </a:lnTo>
                      <a:lnTo>
                        <a:pt x="2408288" y="1126261"/>
                      </a:lnTo>
                      <a:lnTo>
                        <a:pt x="2409025" y="1127531"/>
                      </a:lnTo>
                      <a:lnTo>
                        <a:pt x="2409126" y="1128801"/>
                      </a:lnTo>
                      <a:lnTo>
                        <a:pt x="2409507" y="1130071"/>
                      </a:lnTo>
                      <a:lnTo>
                        <a:pt x="2410345" y="1132611"/>
                      </a:lnTo>
                      <a:lnTo>
                        <a:pt x="2410345" y="1124661"/>
                      </a:lnTo>
                      <a:lnTo>
                        <a:pt x="2409901" y="1123721"/>
                      </a:lnTo>
                      <a:lnTo>
                        <a:pt x="2405888" y="1122451"/>
                      </a:lnTo>
                      <a:lnTo>
                        <a:pt x="2404592" y="1121181"/>
                      </a:lnTo>
                      <a:lnTo>
                        <a:pt x="2403056" y="1119911"/>
                      </a:lnTo>
                      <a:lnTo>
                        <a:pt x="2399487" y="1118641"/>
                      </a:lnTo>
                      <a:lnTo>
                        <a:pt x="2398661" y="1118641"/>
                      </a:lnTo>
                      <a:lnTo>
                        <a:pt x="2398458" y="1117371"/>
                      </a:lnTo>
                      <a:lnTo>
                        <a:pt x="2398090" y="1117371"/>
                      </a:lnTo>
                      <a:lnTo>
                        <a:pt x="2397455" y="1116101"/>
                      </a:lnTo>
                      <a:lnTo>
                        <a:pt x="2397214" y="1114831"/>
                      </a:lnTo>
                      <a:lnTo>
                        <a:pt x="2398077" y="1112291"/>
                      </a:lnTo>
                      <a:lnTo>
                        <a:pt x="2398420" y="1112291"/>
                      </a:lnTo>
                      <a:lnTo>
                        <a:pt x="2397976" y="1111021"/>
                      </a:lnTo>
                      <a:lnTo>
                        <a:pt x="2397404" y="1109751"/>
                      </a:lnTo>
                      <a:lnTo>
                        <a:pt x="2383180" y="1097051"/>
                      </a:lnTo>
                      <a:lnTo>
                        <a:pt x="2382570" y="1097051"/>
                      </a:lnTo>
                      <a:lnTo>
                        <a:pt x="2382583" y="1095781"/>
                      </a:lnTo>
                      <a:lnTo>
                        <a:pt x="2382355" y="1094511"/>
                      </a:lnTo>
                      <a:lnTo>
                        <a:pt x="2381923" y="1093241"/>
                      </a:lnTo>
                      <a:lnTo>
                        <a:pt x="2381250" y="1093241"/>
                      </a:lnTo>
                      <a:lnTo>
                        <a:pt x="2380513" y="1091971"/>
                      </a:lnTo>
                      <a:lnTo>
                        <a:pt x="2379116" y="1090701"/>
                      </a:lnTo>
                      <a:lnTo>
                        <a:pt x="2376944" y="1089431"/>
                      </a:lnTo>
                      <a:lnTo>
                        <a:pt x="2375433" y="1088161"/>
                      </a:lnTo>
                      <a:lnTo>
                        <a:pt x="2370683" y="1088161"/>
                      </a:lnTo>
                      <a:lnTo>
                        <a:pt x="2368702" y="1086891"/>
                      </a:lnTo>
                      <a:lnTo>
                        <a:pt x="2367432" y="1086891"/>
                      </a:lnTo>
                      <a:lnTo>
                        <a:pt x="2366810" y="1083081"/>
                      </a:lnTo>
                      <a:lnTo>
                        <a:pt x="2366480" y="1081811"/>
                      </a:lnTo>
                      <a:lnTo>
                        <a:pt x="2365895" y="1080541"/>
                      </a:lnTo>
                      <a:lnTo>
                        <a:pt x="2357132" y="1080541"/>
                      </a:lnTo>
                      <a:lnTo>
                        <a:pt x="2356739" y="1076731"/>
                      </a:lnTo>
                      <a:lnTo>
                        <a:pt x="2357513" y="1075461"/>
                      </a:lnTo>
                      <a:lnTo>
                        <a:pt x="2359241" y="1074191"/>
                      </a:lnTo>
                      <a:lnTo>
                        <a:pt x="2359012" y="1072921"/>
                      </a:lnTo>
                      <a:lnTo>
                        <a:pt x="2359050" y="1071651"/>
                      </a:lnTo>
                      <a:lnTo>
                        <a:pt x="2359063" y="1070381"/>
                      </a:lnTo>
                      <a:lnTo>
                        <a:pt x="2359622" y="1067841"/>
                      </a:lnTo>
                      <a:lnTo>
                        <a:pt x="2359964" y="1065301"/>
                      </a:lnTo>
                      <a:lnTo>
                        <a:pt x="2358313" y="1062761"/>
                      </a:lnTo>
                      <a:lnTo>
                        <a:pt x="2356853" y="1060221"/>
                      </a:lnTo>
                      <a:lnTo>
                        <a:pt x="2355951" y="1058951"/>
                      </a:lnTo>
                      <a:lnTo>
                        <a:pt x="2352205" y="1055141"/>
                      </a:lnTo>
                      <a:lnTo>
                        <a:pt x="2348166" y="1050061"/>
                      </a:lnTo>
                      <a:lnTo>
                        <a:pt x="2348433" y="1048791"/>
                      </a:lnTo>
                      <a:lnTo>
                        <a:pt x="2348763" y="1047521"/>
                      </a:lnTo>
                      <a:lnTo>
                        <a:pt x="2349919" y="1044981"/>
                      </a:lnTo>
                      <a:lnTo>
                        <a:pt x="2348903" y="1043711"/>
                      </a:lnTo>
                      <a:lnTo>
                        <a:pt x="2348331" y="1042441"/>
                      </a:lnTo>
                      <a:lnTo>
                        <a:pt x="2345728" y="1041171"/>
                      </a:lnTo>
                      <a:lnTo>
                        <a:pt x="2345042" y="1041171"/>
                      </a:lnTo>
                      <a:lnTo>
                        <a:pt x="2343429" y="1039901"/>
                      </a:lnTo>
                      <a:lnTo>
                        <a:pt x="2344242" y="1034821"/>
                      </a:lnTo>
                      <a:lnTo>
                        <a:pt x="2345017" y="1032281"/>
                      </a:lnTo>
                      <a:lnTo>
                        <a:pt x="2342108" y="1032281"/>
                      </a:lnTo>
                      <a:lnTo>
                        <a:pt x="2341207" y="1027201"/>
                      </a:lnTo>
                      <a:lnTo>
                        <a:pt x="2340521" y="1024661"/>
                      </a:lnTo>
                      <a:lnTo>
                        <a:pt x="2339352" y="1023391"/>
                      </a:lnTo>
                      <a:lnTo>
                        <a:pt x="2338781" y="1023391"/>
                      </a:lnTo>
                      <a:lnTo>
                        <a:pt x="2338247" y="1022121"/>
                      </a:lnTo>
                      <a:lnTo>
                        <a:pt x="2337308" y="1022121"/>
                      </a:lnTo>
                      <a:lnTo>
                        <a:pt x="2336774" y="1023391"/>
                      </a:lnTo>
                      <a:lnTo>
                        <a:pt x="2334717" y="1023391"/>
                      </a:lnTo>
                      <a:lnTo>
                        <a:pt x="2334603" y="1024661"/>
                      </a:lnTo>
                      <a:lnTo>
                        <a:pt x="2334437" y="1023391"/>
                      </a:lnTo>
                      <a:lnTo>
                        <a:pt x="2333447" y="1023391"/>
                      </a:lnTo>
                      <a:lnTo>
                        <a:pt x="2333548" y="1022121"/>
                      </a:lnTo>
                      <a:lnTo>
                        <a:pt x="2333777" y="1022121"/>
                      </a:lnTo>
                      <a:lnTo>
                        <a:pt x="2334564" y="1020851"/>
                      </a:lnTo>
                      <a:lnTo>
                        <a:pt x="2337384" y="1017041"/>
                      </a:lnTo>
                      <a:lnTo>
                        <a:pt x="2337739" y="1017041"/>
                      </a:lnTo>
                      <a:lnTo>
                        <a:pt x="2338895" y="1015771"/>
                      </a:lnTo>
                      <a:lnTo>
                        <a:pt x="2339911" y="1014501"/>
                      </a:lnTo>
                      <a:lnTo>
                        <a:pt x="2339441" y="1013231"/>
                      </a:lnTo>
                      <a:lnTo>
                        <a:pt x="2338895" y="1013231"/>
                      </a:lnTo>
                      <a:lnTo>
                        <a:pt x="2337206" y="1009421"/>
                      </a:lnTo>
                      <a:lnTo>
                        <a:pt x="2336736" y="1008151"/>
                      </a:lnTo>
                      <a:lnTo>
                        <a:pt x="2337752" y="1006881"/>
                      </a:lnTo>
                      <a:lnTo>
                        <a:pt x="2339187" y="1006881"/>
                      </a:lnTo>
                      <a:lnTo>
                        <a:pt x="2340826" y="1005611"/>
                      </a:lnTo>
                      <a:lnTo>
                        <a:pt x="2341905" y="1004341"/>
                      </a:lnTo>
                      <a:lnTo>
                        <a:pt x="2343645" y="1004341"/>
                      </a:lnTo>
                      <a:lnTo>
                        <a:pt x="2343035" y="1001801"/>
                      </a:lnTo>
                      <a:lnTo>
                        <a:pt x="2341803" y="1000531"/>
                      </a:lnTo>
                      <a:lnTo>
                        <a:pt x="2341892" y="999261"/>
                      </a:lnTo>
                      <a:lnTo>
                        <a:pt x="2341740" y="997991"/>
                      </a:lnTo>
                      <a:lnTo>
                        <a:pt x="2341473" y="996721"/>
                      </a:lnTo>
                      <a:lnTo>
                        <a:pt x="2343734" y="996721"/>
                      </a:lnTo>
                      <a:lnTo>
                        <a:pt x="2344140" y="995451"/>
                      </a:lnTo>
                      <a:lnTo>
                        <a:pt x="2344902" y="995451"/>
                      </a:lnTo>
                      <a:lnTo>
                        <a:pt x="2345220" y="994181"/>
                      </a:lnTo>
                      <a:lnTo>
                        <a:pt x="2345690" y="994181"/>
                      </a:lnTo>
                      <a:lnTo>
                        <a:pt x="2345855" y="992911"/>
                      </a:lnTo>
                      <a:lnTo>
                        <a:pt x="2346236" y="991641"/>
                      </a:lnTo>
                      <a:lnTo>
                        <a:pt x="2346731" y="990371"/>
                      </a:lnTo>
                      <a:lnTo>
                        <a:pt x="2347328" y="987831"/>
                      </a:lnTo>
                      <a:lnTo>
                        <a:pt x="2348001" y="985291"/>
                      </a:lnTo>
                      <a:lnTo>
                        <a:pt x="2348573" y="984021"/>
                      </a:lnTo>
                      <a:lnTo>
                        <a:pt x="2350147" y="980211"/>
                      </a:lnTo>
                      <a:lnTo>
                        <a:pt x="2362022" y="981481"/>
                      </a:lnTo>
                      <a:lnTo>
                        <a:pt x="2364117" y="981481"/>
                      </a:lnTo>
                      <a:lnTo>
                        <a:pt x="2364117" y="980211"/>
                      </a:lnTo>
                      <a:lnTo>
                        <a:pt x="2364117" y="978941"/>
                      </a:lnTo>
                      <a:lnTo>
                        <a:pt x="2364117" y="924331"/>
                      </a:lnTo>
                      <a:lnTo>
                        <a:pt x="2364105" y="923061"/>
                      </a:lnTo>
                      <a:lnTo>
                        <a:pt x="2364028" y="921791"/>
                      </a:lnTo>
                      <a:lnTo>
                        <a:pt x="2363889" y="919251"/>
                      </a:lnTo>
                      <a:lnTo>
                        <a:pt x="2364092" y="917981"/>
                      </a:lnTo>
                      <a:lnTo>
                        <a:pt x="2378354" y="917981"/>
                      </a:lnTo>
                      <a:lnTo>
                        <a:pt x="2378430" y="887501"/>
                      </a:lnTo>
                      <a:lnTo>
                        <a:pt x="2467749" y="886231"/>
                      </a:lnTo>
                      <a:lnTo>
                        <a:pt x="2468143" y="886231"/>
                      </a:lnTo>
                      <a:lnTo>
                        <a:pt x="2469464" y="884961"/>
                      </a:lnTo>
                      <a:lnTo>
                        <a:pt x="2469286" y="886231"/>
                      </a:lnTo>
                      <a:lnTo>
                        <a:pt x="2469337" y="887501"/>
                      </a:lnTo>
                      <a:lnTo>
                        <a:pt x="2508758" y="887501"/>
                      </a:lnTo>
                      <a:lnTo>
                        <a:pt x="2509139" y="886231"/>
                      </a:lnTo>
                      <a:lnTo>
                        <a:pt x="2509405" y="884961"/>
                      </a:lnTo>
                      <a:lnTo>
                        <a:pt x="2509609" y="884961"/>
                      </a:lnTo>
                      <a:lnTo>
                        <a:pt x="2510155" y="883691"/>
                      </a:lnTo>
                      <a:lnTo>
                        <a:pt x="2517317" y="883691"/>
                      </a:lnTo>
                      <a:lnTo>
                        <a:pt x="2518727" y="879881"/>
                      </a:lnTo>
                      <a:lnTo>
                        <a:pt x="2520213" y="876071"/>
                      </a:lnTo>
                      <a:lnTo>
                        <a:pt x="2521254" y="874801"/>
                      </a:lnTo>
                      <a:lnTo>
                        <a:pt x="2522677" y="874801"/>
                      </a:lnTo>
                      <a:lnTo>
                        <a:pt x="2523490" y="873531"/>
                      </a:lnTo>
                      <a:lnTo>
                        <a:pt x="2526944" y="872261"/>
                      </a:lnTo>
                      <a:lnTo>
                        <a:pt x="2529497" y="870991"/>
                      </a:lnTo>
                      <a:lnTo>
                        <a:pt x="2530183" y="870991"/>
                      </a:lnTo>
                      <a:lnTo>
                        <a:pt x="2529255" y="868451"/>
                      </a:lnTo>
                      <a:lnTo>
                        <a:pt x="2528874" y="868451"/>
                      </a:lnTo>
                      <a:lnTo>
                        <a:pt x="2526779" y="869721"/>
                      </a:lnTo>
                      <a:lnTo>
                        <a:pt x="2525992" y="870991"/>
                      </a:lnTo>
                      <a:lnTo>
                        <a:pt x="2522474" y="872261"/>
                      </a:lnTo>
                      <a:lnTo>
                        <a:pt x="2521775" y="872261"/>
                      </a:lnTo>
                      <a:lnTo>
                        <a:pt x="2520251" y="873531"/>
                      </a:lnTo>
                      <a:lnTo>
                        <a:pt x="2518435" y="874801"/>
                      </a:lnTo>
                      <a:lnTo>
                        <a:pt x="2516771" y="878611"/>
                      </a:lnTo>
                      <a:lnTo>
                        <a:pt x="2515793" y="881151"/>
                      </a:lnTo>
                      <a:lnTo>
                        <a:pt x="2515133" y="881151"/>
                      </a:lnTo>
                      <a:lnTo>
                        <a:pt x="2513457" y="882421"/>
                      </a:lnTo>
                      <a:lnTo>
                        <a:pt x="2509177" y="882421"/>
                      </a:lnTo>
                      <a:lnTo>
                        <a:pt x="2507754" y="883691"/>
                      </a:lnTo>
                      <a:lnTo>
                        <a:pt x="2507564" y="883691"/>
                      </a:lnTo>
                      <a:lnTo>
                        <a:pt x="2507488" y="884961"/>
                      </a:lnTo>
                      <a:lnTo>
                        <a:pt x="2507107" y="884961"/>
                      </a:lnTo>
                      <a:lnTo>
                        <a:pt x="2506916" y="886231"/>
                      </a:lnTo>
                      <a:lnTo>
                        <a:pt x="2494216" y="886231"/>
                      </a:lnTo>
                      <a:lnTo>
                        <a:pt x="2492972" y="884961"/>
                      </a:lnTo>
                      <a:lnTo>
                        <a:pt x="2489009" y="886231"/>
                      </a:lnTo>
                      <a:lnTo>
                        <a:pt x="2471572" y="886231"/>
                      </a:lnTo>
                      <a:lnTo>
                        <a:pt x="2471737" y="884961"/>
                      </a:lnTo>
                      <a:lnTo>
                        <a:pt x="2471851" y="883691"/>
                      </a:lnTo>
                      <a:lnTo>
                        <a:pt x="2469540" y="882421"/>
                      </a:lnTo>
                      <a:lnTo>
                        <a:pt x="2468740" y="882421"/>
                      </a:lnTo>
                      <a:lnTo>
                        <a:pt x="2468016" y="883691"/>
                      </a:lnTo>
                      <a:lnTo>
                        <a:pt x="2467432" y="884961"/>
                      </a:lnTo>
                      <a:lnTo>
                        <a:pt x="2378430" y="886231"/>
                      </a:lnTo>
                      <a:lnTo>
                        <a:pt x="2378316" y="794791"/>
                      </a:lnTo>
                      <a:lnTo>
                        <a:pt x="2375166" y="764311"/>
                      </a:lnTo>
                      <a:lnTo>
                        <a:pt x="2374874" y="763041"/>
                      </a:lnTo>
                      <a:lnTo>
                        <a:pt x="2374315" y="761771"/>
                      </a:lnTo>
                      <a:lnTo>
                        <a:pt x="2376347" y="757961"/>
                      </a:lnTo>
                      <a:lnTo>
                        <a:pt x="2376767" y="757961"/>
                      </a:lnTo>
                      <a:lnTo>
                        <a:pt x="2377275" y="756691"/>
                      </a:lnTo>
                      <a:lnTo>
                        <a:pt x="2378151" y="754151"/>
                      </a:lnTo>
                      <a:lnTo>
                        <a:pt x="2377998" y="752881"/>
                      </a:lnTo>
                      <a:lnTo>
                        <a:pt x="2377795" y="751611"/>
                      </a:lnTo>
                      <a:lnTo>
                        <a:pt x="2377656" y="750341"/>
                      </a:lnTo>
                      <a:lnTo>
                        <a:pt x="2376716" y="746531"/>
                      </a:lnTo>
                      <a:lnTo>
                        <a:pt x="2376513" y="745261"/>
                      </a:lnTo>
                      <a:lnTo>
                        <a:pt x="2376474" y="743991"/>
                      </a:lnTo>
                      <a:lnTo>
                        <a:pt x="2376601" y="743991"/>
                      </a:lnTo>
                      <a:lnTo>
                        <a:pt x="2376944" y="742721"/>
                      </a:lnTo>
                      <a:lnTo>
                        <a:pt x="2377389" y="741451"/>
                      </a:lnTo>
                      <a:lnTo>
                        <a:pt x="2379294" y="740181"/>
                      </a:lnTo>
                      <a:lnTo>
                        <a:pt x="2380081" y="738911"/>
                      </a:lnTo>
                      <a:lnTo>
                        <a:pt x="2380399" y="738911"/>
                      </a:lnTo>
                      <a:lnTo>
                        <a:pt x="2379129" y="737641"/>
                      </a:lnTo>
                      <a:lnTo>
                        <a:pt x="2378329" y="737641"/>
                      </a:lnTo>
                      <a:lnTo>
                        <a:pt x="2375585" y="740181"/>
                      </a:lnTo>
                      <a:lnTo>
                        <a:pt x="2375077" y="741451"/>
                      </a:lnTo>
                      <a:lnTo>
                        <a:pt x="2374735" y="742721"/>
                      </a:lnTo>
                      <a:lnTo>
                        <a:pt x="2374531" y="742721"/>
                      </a:lnTo>
                      <a:lnTo>
                        <a:pt x="2374290" y="743991"/>
                      </a:lnTo>
                      <a:lnTo>
                        <a:pt x="2374633" y="747801"/>
                      </a:lnTo>
                      <a:lnTo>
                        <a:pt x="2375573" y="751611"/>
                      </a:lnTo>
                      <a:lnTo>
                        <a:pt x="2375700" y="751611"/>
                      </a:lnTo>
                      <a:lnTo>
                        <a:pt x="2375954" y="752881"/>
                      </a:lnTo>
                      <a:lnTo>
                        <a:pt x="2375839" y="754151"/>
                      </a:lnTo>
                      <a:lnTo>
                        <a:pt x="2375204" y="756691"/>
                      </a:lnTo>
                      <a:lnTo>
                        <a:pt x="2374938" y="756691"/>
                      </a:lnTo>
                      <a:lnTo>
                        <a:pt x="2372118" y="760501"/>
                      </a:lnTo>
                      <a:lnTo>
                        <a:pt x="2372220" y="763041"/>
                      </a:lnTo>
                      <a:lnTo>
                        <a:pt x="2372842" y="763041"/>
                      </a:lnTo>
                      <a:lnTo>
                        <a:pt x="2373122" y="764311"/>
                      </a:lnTo>
                      <a:lnTo>
                        <a:pt x="2373820" y="768121"/>
                      </a:lnTo>
                      <a:lnTo>
                        <a:pt x="2374747" y="771931"/>
                      </a:lnTo>
                      <a:lnTo>
                        <a:pt x="2375293" y="774471"/>
                      </a:lnTo>
                      <a:lnTo>
                        <a:pt x="2376309" y="886231"/>
                      </a:lnTo>
                      <a:lnTo>
                        <a:pt x="2375458" y="886231"/>
                      </a:lnTo>
                      <a:lnTo>
                        <a:pt x="2376309" y="887501"/>
                      </a:lnTo>
                      <a:lnTo>
                        <a:pt x="2376309" y="915441"/>
                      </a:lnTo>
                      <a:lnTo>
                        <a:pt x="2364422" y="915441"/>
                      </a:lnTo>
                      <a:lnTo>
                        <a:pt x="2363749" y="916711"/>
                      </a:lnTo>
                      <a:lnTo>
                        <a:pt x="2362403" y="916711"/>
                      </a:lnTo>
                      <a:lnTo>
                        <a:pt x="2362162" y="917981"/>
                      </a:lnTo>
                      <a:lnTo>
                        <a:pt x="2361946" y="917981"/>
                      </a:lnTo>
                      <a:lnTo>
                        <a:pt x="2361882" y="919251"/>
                      </a:lnTo>
                      <a:lnTo>
                        <a:pt x="2361920" y="921791"/>
                      </a:lnTo>
                      <a:lnTo>
                        <a:pt x="2305685" y="892581"/>
                      </a:lnTo>
                      <a:lnTo>
                        <a:pt x="2296312" y="887501"/>
                      </a:lnTo>
                      <a:lnTo>
                        <a:pt x="2286520" y="882421"/>
                      </a:lnTo>
                      <a:lnTo>
                        <a:pt x="2276487" y="877341"/>
                      </a:lnTo>
                      <a:lnTo>
                        <a:pt x="2260777" y="869721"/>
                      </a:lnTo>
                      <a:lnTo>
                        <a:pt x="2253107" y="865911"/>
                      </a:lnTo>
                      <a:lnTo>
                        <a:pt x="2250554" y="864641"/>
                      </a:lnTo>
                      <a:lnTo>
                        <a:pt x="2246261" y="864641"/>
                      </a:lnTo>
                      <a:lnTo>
                        <a:pt x="2225764" y="874801"/>
                      </a:lnTo>
                      <a:lnTo>
                        <a:pt x="2224925" y="876071"/>
                      </a:lnTo>
                      <a:lnTo>
                        <a:pt x="2222601" y="876071"/>
                      </a:lnTo>
                      <a:lnTo>
                        <a:pt x="2222004" y="874801"/>
                      </a:lnTo>
                      <a:lnTo>
                        <a:pt x="2220061" y="873531"/>
                      </a:lnTo>
                      <a:lnTo>
                        <a:pt x="2217178" y="870991"/>
                      </a:lnTo>
                      <a:lnTo>
                        <a:pt x="2214346" y="868451"/>
                      </a:lnTo>
                      <a:lnTo>
                        <a:pt x="2199005" y="864641"/>
                      </a:lnTo>
                      <a:lnTo>
                        <a:pt x="2193887" y="863371"/>
                      </a:lnTo>
                      <a:lnTo>
                        <a:pt x="2191702" y="863371"/>
                      </a:lnTo>
                      <a:lnTo>
                        <a:pt x="2190610" y="862101"/>
                      </a:lnTo>
                      <a:lnTo>
                        <a:pt x="2188032" y="855751"/>
                      </a:lnTo>
                      <a:lnTo>
                        <a:pt x="2187117" y="854481"/>
                      </a:lnTo>
                      <a:lnTo>
                        <a:pt x="2184628" y="850671"/>
                      </a:lnTo>
                      <a:lnTo>
                        <a:pt x="2177123" y="848131"/>
                      </a:lnTo>
                      <a:lnTo>
                        <a:pt x="2174659" y="848131"/>
                      </a:lnTo>
                      <a:lnTo>
                        <a:pt x="2173935" y="846861"/>
                      </a:lnTo>
                      <a:lnTo>
                        <a:pt x="2171954" y="846861"/>
                      </a:lnTo>
                      <a:lnTo>
                        <a:pt x="2170011" y="848131"/>
                      </a:lnTo>
                      <a:lnTo>
                        <a:pt x="2169452" y="848131"/>
                      </a:lnTo>
                      <a:lnTo>
                        <a:pt x="2169490" y="849401"/>
                      </a:lnTo>
                      <a:lnTo>
                        <a:pt x="2169147" y="848131"/>
                      </a:lnTo>
                      <a:lnTo>
                        <a:pt x="2168360" y="848131"/>
                      </a:lnTo>
                      <a:lnTo>
                        <a:pt x="2167394" y="846861"/>
                      </a:lnTo>
                      <a:lnTo>
                        <a:pt x="2166543" y="845591"/>
                      </a:lnTo>
                      <a:lnTo>
                        <a:pt x="2165832" y="845591"/>
                      </a:lnTo>
                      <a:lnTo>
                        <a:pt x="2165159" y="844321"/>
                      </a:lnTo>
                      <a:lnTo>
                        <a:pt x="2164867" y="843051"/>
                      </a:lnTo>
                      <a:lnTo>
                        <a:pt x="2164448" y="843051"/>
                      </a:lnTo>
                      <a:lnTo>
                        <a:pt x="2164156" y="841781"/>
                      </a:lnTo>
                      <a:lnTo>
                        <a:pt x="2163026" y="835431"/>
                      </a:lnTo>
                      <a:lnTo>
                        <a:pt x="2161616" y="832891"/>
                      </a:lnTo>
                      <a:lnTo>
                        <a:pt x="2159355" y="829081"/>
                      </a:lnTo>
                      <a:lnTo>
                        <a:pt x="2155494" y="825271"/>
                      </a:lnTo>
                      <a:lnTo>
                        <a:pt x="2155431" y="824001"/>
                      </a:lnTo>
                      <a:lnTo>
                        <a:pt x="2155266" y="824001"/>
                      </a:lnTo>
                      <a:lnTo>
                        <a:pt x="2155685" y="822731"/>
                      </a:lnTo>
                      <a:lnTo>
                        <a:pt x="2156637" y="821461"/>
                      </a:lnTo>
                      <a:lnTo>
                        <a:pt x="2157539" y="821461"/>
                      </a:lnTo>
                      <a:lnTo>
                        <a:pt x="2158073" y="820191"/>
                      </a:lnTo>
                      <a:lnTo>
                        <a:pt x="2160117" y="820191"/>
                      </a:lnTo>
                      <a:lnTo>
                        <a:pt x="2161603" y="818921"/>
                      </a:lnTo>
                      <a:lnTo>
                        <a:pt x="2160016" y="806221"/>
                      </a:lnTo>
                      <a:lnTo>
                        <a:pt x="2161235" y="802411"/>
                      </a:lnTo>
                      <a:lnTo>
                        <a:pt x="2161502" y="802411"/>
                      </a:lnTo>
                      <a:lnTo>
                        <a:pt x="2163038" y="798601"/>
                      </a:lnTo>
                      <a:lnTo>
                        <a:pt x="2162556" y="796061"/>
                      </a:lnTo>
                      <a:lnTo>
                        <a:pt x="2161832" y="794791"/>
                      </a:lnTo>
                      <a:lnTo>
                        <a:pt x="2161476" y="793521"/>
                      </a:lnTo>
                      <a:lnTo>
                        <a:pt x="2160879" y="789711"/>
                      </a:lnTo>
                      <a:lnTo>
                        <a:pt x="2161590" y="783361"/>
                      </a:lnTo>
                      <a:lnTo>
                        <a:pt x="2161692" y="780821"/>
                      </a:lnTo>
                      <a:lnTo>
                        <a:pt x="2161756" y="778281"/>
                      </a:lnTo>
                      <a:lnTo>
                        <a:pt x="2160955" y="774471"/>
                      </a:lnTo>
                      <a:lnTo>
                        <a:pt x="2159063" y="770661"/>
                      </a:lnTo>
                      <a:lnTo>
                        <a:pt x="2154910" y="764311"/>
                      </a:lnTo>
                      <a:lnTo>
                        <a:pt x="2154402" y="763041"/>
                      </a:lnTo>
                      <a:lnTo>
                        <a:pt x="2154974" y="763041"/>
                      </a:lnTo>
                      <a:lnTo>
                        <a:pt x="2155863" y="761771"/>
                      </a:lnTo>
                      <a:lnTo>
                        <a:pt x="2157285" y="761771"/>
                      </a:lnTo>
                      <a:lnTo>
                        <a:pt x="2158542" y="760501"/>
                      </a:lnTo>
                      <a:lnTo>
                        <a:pt x="2160295" y="760501"/>
                      </a:lnTo>
                      <a:lnTo>
                        <a:pt x="2161756" y="759231"/>
                      </a:lnTo>
                      <a:lnTo>
                        <a:pt x="2164003" y="756691"/>
                      </a:lnTo>
                      <a:lnTo>
                        <a:pt x="2165273" y="755421"/>
                      </a:lnTo>
                      <a:lnTo>
                        <a:pt x="2165451" y="755421"/>
                      </a:lnTo>
                      <a:lnTo>
                        <a:pt x="2166670" y="752881"/>
                      </a:lnTo>
                      <a:lnTo>
                        <a:pt x="2167852" y="751611"/>
                      </a:lnTo>
                      <a:lnTo>
                        <a:pt x="2167318" y="747801"/>
                      </a:lnTo>
                      <a:lnTo>
                        <a:pt x="2166632" y="745261"/>
                      </a:lnTo>
                      <a:lnTo>
                        <a:pt x="2166632" y="741451"/>
                      </a:lnTo>
                      <a:lnTo>
                        <a:pt x="2167153" y="738911"/>
                      </a:lnTo>
                      <a:lnTo>
                        <a:pt x="2167953" y="737641"/>
                      </a:lnTo>
                      <a:lnTo>
                        <a:pt x="2169274" y="737641"/>
                      </a:lnTo>
                      <a:lnTo>
                        <a:pt x="2170112" y="736371"/>
                      </a:lnTo>
                      <a:lnTo>
                        <a:pt x="2171471" y="735101"/>
                      </a:lnTo>
                      <a:lnTo>
                        <a:pt x="2171890" y="733831"/>
                      </a:lnTo>
                      <a:lnTo>
                        <a:pt x="2174367" y="733831"/>
                      </a:lnTo>
                      <a:lnTo>
                        <a:pt x="2175103" y="732561"/>
                      </a:lnTo>
                      <a:lnTo>
                        <a:pt x="2172601" y="732561"/>
                      </a:lnTo>
                      <a:lnTo>
                        <a:pt x="2172297" y="732561"/>
                      </a:lnTo>
                      <a:lnTo>
                        <a:pt x="2170582" y="732561"/>
                      </a:lnTo>
                      <a:lnTo>
                        <a:pt x="2170099" y="733831"/>
                      </a:lnTo>
                      <a:lnTo>
                        <a:pt x="2169706" y="733831"/>
                      </a:lnTo>
                      <a:lnTo>
                        <a:pt x="2168563" y="735101"/>
                      </a:lnTo>
                      <a:lnTo>
                        <a:pt x="2168029" y="736371"/>
                      </a:lnTo>
                      <a:lnTo>
                        <a:pt x="2167026" y="736371"/>
                      </a:lnTo>
                      <a:lnTo>
                        <a:pt x="2164854" y="737641"/>
                      </a:lnTo>
                      <a:lnTo>
                        <a:pt x="2164600" y="741451"/>
                      </a:lnTo>
                      <a:lnTo>
                        <a:pt x="2164511" y="745261"/>
                      </a:lnTo>
                      <a:lnTo>
                        <a:pt x="2165235" y="747801"/>
                      </a:lnTo>
                      <a:lnTo>
                        <a:pt x="2165566" y="750341"/>
                      </a:lnTo>
                      <a:lnTo>
                        <a:pt x="2165121" y="751611"/>
                      </a:lnTo>
                      <a:lnTo>
                        <a:pt x="2163749" y="754151"/>
                      </a:lnTo>
                      <a:lnTo>
                        <a:pt x="2163584" y="754151"/>
                      </a:lnTo>
                      <a:lnTo>
                        <a:pt x="2161159" y="756691"/>
                      </a:lnTo>
                      <a:lnTo>
                        <a:pt x="2160397" y="757961"/>
                      </a:lnTo>
                      <a:lnTo>
                        <a:pt x="2159292" y="757961"/>
                      </a:lnTo>
                      <a:lnTo>
                        <a:pt x="2158276" y="759231"/>
                      </a:lnTo>
                      <a:lnTo>
                        <a:pt x="2157272" y="759231"/>
                      </a:lnTo>
                      <a:lnTo>
                        <a:pt x="2157603" y="757961"/>
                      </a:lnTo>
                      <a:lnTo>
                        <a:pt x="2158263" y="755421"/>
                      </a:lnTo>
                      <a:lnTo>
                        <a:pt x="2156472" y="757961"/>
                      </a:lnTo>
                      <a:lnTo>
                        <a:pt x="2150592" y="732561"/>
                      </a:lnTo>
                      <a:lnTo>
                        <a:pt x="2150173" y="731291"/>
                      </a:lnTo>
                      <a:lnTo>
                        <a:pt x="2149360" y="731291"/>
                      </a:lnTo>
                      <a:lnTo>
                        <a:pt x="2148687" y="730021"/>
                      </a:lnTo>
                      <a:lnTo>
                        <a:pt x="2146173" y="728751"/>
                      </a:lnTo>
                      <a:lnTo>
                        <a:pt x="2139899" y="723671"/>
                      </a:lnTo>
                      <a:lnTo>
                        <a:pt x="2139708" y="723671"/>
                      </a:lnTo>
                      <a:lnTo>
                        <a:pt x="2139632" y="721131"/>
                      </a:lnTo>
                      <a:lnTo>
                        <a:pt x="2131631" y="710971"/>
                      </a:lnTo>
                      <a:lnTo>
                        <a:pt x="2130780" y="708431"/>
                      </a:lnTo>
                      <a:lnTo>
                        <a:pt x="2129307" y="707161"/>
                      </a:lnTo>
                      <a:lnTo>
                        <a:pt x="2128228" y="704621"/>
                      </a:lnTo>
                      <a:lnTo>
                        <a:pt x="2128024" y="702081"/>
                      </a:lnTo>
                      <a:lnTo>
                        <a:pt x="2127554" y="699541"/>
                      </a:lnTo>
                      <a:lnTo>
                        <a:pt x="2129421" y="698271"/>
                      </a:lnTo>
                      <a:lnTo>
                        <a:pt x="2130310" y="697001"/>
                      </a:lnTo>
                      <a:lnTo>
                        <a:pt x="2132876" y="695731"/>
                      </a:lnTo>
                      <a:lnTo>
                        <a:pt x="2135225" y="693191"/>
                      </a:lnTo>
                      <a:lnTo>
                        <a:pt x="2136914" y="691921"/>
                      </a:lnTo>
                      <a:lnTo>
                        <a:pt x="2138426" y="689381"/>
                      </a:lnTo>
                      <a:lnTo>
                        <a:pt x="2139772" y="686841"/>
                      </a:lnTo>
                      <a:lnTo>
                        <a:pt x="2141270" y="681761"/>
                      </a:lnTo>
                      <a:lnTo>
                        <a:pt x="2141347" y="680491"/>
                      </a:lnTo>
                      <a:lnTo>
                        <a:pt x="2141182" y="679221"/>
                      </a:lnTo>
                      <a:lnTo>
                        <a:pt x="2140991" y="679221"/>
                      </a:lnTo>
                      <a:lnTo>
                        <a:pt x="2140661" y="677951"/>
                      </a:lnTo>
                      <a:lnTo>
                        <a:pt x="2140102" y="674141"/>
                      </a:lnTo>
                      <a:lnTo>
                        <a:pt x="2138972" y="670331"/>
                      </a:lnTo>
                      <a:lnTo>
                        <a:pt x="2140508" y="661441"/>
                      </a:lnTo>
                      <a:lnTo>
                        <a:pt x="2139785" y="661441"/>
                      </a:lnTo>
                      <a:lnTo>
                        <a:pt x="2138159" y="660171"/>
                      </a:lnTo>
                      <a:lnTo>
                        <a:pt x="2143544" y="653821"/>
                      </a:lnTo>
                      <a:lnTo>
                        <a:pt x="2144115" y="652551"/>
                      </a:lnTo>
                      <a:lnTo>
                        <a:pt x="2142198" y="651281"/>
                      </a:lnTo>
                      <a:lnTo>
                        <a:pt x="2141842" y="652551"/>
                      </a:lnTo>
                      <a:lnTo>
                        <a:pt x="2135149" y="660171"/>
                      </a:lnTo>
                      <a:lnTo>
                        <a:pt x="2136876" y="661441"/>
                      </a:lnTo>
                      <a:lnTo>
                        <a:pt x="2138172" y="662711"/>
                      </a:lnTo>
                      <a:lnTo>
                        <a:pt x="2136800" y="670331"/>
                      </a:lnTo>
                      <a:lnTo>
                        <a:pt x="2138032" y="675411"/>
                      </a:lnTo>
                      <a:lnTo>
                        <a:pt x="2138591" y="677951"/>
                      </a:lnTo>
                      <a:lnTo>
                        <a:pt x="2138934" y="679221"/>
                      </a:lnTo>
                      <a:lnTo>
                        <a:pt x="2139073" y="679221"/>
                      </a:lnTo>
                      <a:lnTo>
                        <a:pt x="2139213" y="680491"/>
                      </a:lnTo>
                      <a:lnTo>
                        <a:pt x="2138502" y="684301"/>
                      </a:lnTo>
                      <a:lnTo>
                        <a:pt x="2137778" y="686841"/>
                      </a:lnTo>
                      <a:lnTo>
                        <a:pt x="2136635" y="688111"/>
                      </a:lnTo>
                      <a:lnTo>
                        <a:pt x="2135301" y="690651"/>
                      </a:lnTo>
                      <a:lnTo>
                        <a:pt x="2133714" y="691921"/>
                      </a:lnTo>
                      <a:lnTo>
                        <a:pt x="2131555" y="694461"/>
                      </a:lnTo>
                      <a:lnTo>
                        <a:pt x="2130133" y="694461"/>
                      </a:lnTo>
                      <a:lnTo>
                        <a:pt x="2128863" y="695731"/>
                      </a:lnTo>
                      <a:lnTo>
                        <a:pt x="2127859" y="697001"/>
                      </a:lnTo>
                      <a:lnTo>
                        <a:pt x="2125878" y="698271"/>
                      </a:lnTo>
                      <a:lnTo>
                        <a:pt x="2125459" y="700811"/>
                      </a:lnTo>
                      <a:lnTo>
                        <a:pt x="2125942" y="702081"/>
                      </a:lnTo>
                      <a:lnTo>
                        <a:pt x="2126208" y="705891"/>
                      </a:lnTo>
                      <a:lnTo>
                        <a:pt x="2127720" y="708431"/>
                      </a:lnTo>
                      <a:lnTo>
                        <a:pt x="2128964" y="709701"/>
                      </a:lnTo>
                      <a:lnTo>
                        <a:pt x="2129917" y="712241"/>
                      </a:lnTo>
                      <a:lnTo>
                        <a:pt x="2135149" y="717321"/>
                      </a:lnTo>
                      <a:lnTo>
                        <a:pt x="2135924" y="717321"/>
                      </a:lnTo>
                      <a:lnTo>
                        <a:pt x="2136711" y="718591"/>
                      </a:lnTo>
                      <a:lnTo>
                        <a:pt x="2137232" y="719861"/>
                      </a:lnTo>
                      <a:lnTo>
                        <a:pt x="2137422" y="719861"/>
                      </a:lnTo>
                      <a:lnTo>
                        <a:pt x="2137524" y="721131"/>
                      </a:lnTo>
                      <a:lnTo>
                        <a:pt x="2137613" y="724941"/>
                      </a:lnTo>
                      <a:lnTo>
                        <a:pt x="2144877" y="730021"/>
                      </a:lnTo>
                      <a:lnTo>
                        <a:pt x="2147379" y="732561"/>
                      </a:lnTo>
                      <a:lnTo>
                        <a:pt x="2148319" y="732561"/>
                      </a:lnTo>
                      <a:lnTo>
                        <a:pt x="2154745" y="760501"/>
                      </a:lnTo>
                      <a:lnTo>
                        <a:pt x="2152586" y="760501"/>
                      </a:lnTo>
                      <a:lnTo>
                        <a:pt x="2152218" y="761771"/>
                      </a:lnTo>
                      <a:lnTo>
                        <a:pt x="2152167" y="763041"/>
                      </a:lnTo>
                      <a:lnTo>
                        <a:pt x="2152510" y="764311"/>
                      </a:lnTo>
                      <a:lnTo>
                        <a:pt x="2154186" y="766851"/>
                      </a:lnTo>
                      <a:lnTo>
                        <a:pt x="2157234" y="771931"/>
                      </a:lnTo>
                      <a:lnTo>
                        <a:pt x="2158911" y="774471"/>
                      </a:lnTo>
                      <a:lnTo>
                        <a:pt x="2159622" y="778281"/>
                      </a:lnTo>
                      <a:lnTo>
                        <a:pt x="2159558" y="782091"/>
                      </a:lnTo>
                      <a:lnTo>
                        <a:pt x="2158746" y="789711"/>
                      </a:lnTo>
                      <a:lnTo>
                        <a:pt x="2159089" y="792251"/>
                      </a:lnTo>
                      <a:lnTo>
                        <a:pt x="2159419" y="793521"/>
                      </a:lnTo>
                      <a:lnTo>
                        <a:pt x="2159812" y="794791"/>
                      </a:lnTo>
                      <a:lnTo>
                        <a:pt x="2160511" y="797331"/>
                      </a:lnTo>
                      <a:lnTo>
                        <a:pt x="2160816" y="798601"/>
                      </a:lnTo>
                      <a:lnTo>
                        <a:pt x="2159533" y="801141"/>
                      </a:lnTo>
                      <a:lnTo>
                        <a:pt x="2157819" y="804951"/>
                      </a:lnTo>
                      <a:lnTo>
                        <a:pt x="2157907" y="807491"/>
                      </a:lnTo>
                      <a:lnTo>
                        <a:pt x="2158555" y="808761"/>
                      </a:lnTo>
                      <a:lnTo>
                        <a:pt x="2158771" y="810031"/>
                      </a:lnTo>
                      <a:lnTo>
                        <a:pt x="2159343" y="815111"/>
                      </a:lnTo>
                      <a:lnTo>
                        <a:pt x="2159482" y="817651"/>
                      </a:lnTo>
                      <a:lnTo>
                        <a:pt x="2158542" y="817651"/>
                      </a:lnTo>
                      <a:lnTo>
                        <a:pt x="2157120" y="818921"/>
                      </a:lnTo>
                      <a:lnTo>
                        <a:pt x="2156142" y="818921"/>
                      </a:lnTo>
                      <a:lnTo>
                        <a:pt x="2155596" y="820191"/>
                      </a:lnTo>
                      <a:lnTo>
                        <a:pt x="2155139" y="820191"/>
                      </a:lnTo>
                      <a:lnTo>
                        <a:pt x="2153602" y="821461"/>
                      </a:lnTo>
                      <a:lnTo>
                        <a:pt x="2152993" y="822731"/>
                      </a:lnTo>
                      <a:lnTo>
                        <a:pt x="2153310" y="824001"/>
                      </a:lnTo>
                      <a:lnTo>
                        <a:pt x="2153437" y="825271"/>
                      </a:lnTo>
                      <a:lnTo>
                        <a:pt x="2154948" y="827811"/>
                      </a:lnTo>
                      <a:lnTo>
                        <a:pt x="2157666" y="830351"/>
                      </a:lnTo>
                      <a:lnTo>
                        <a:pt x="2158327" y="831621"/>
                      </a:lnTo>
                      <a:lnTo>
                        <a:pt x="2159368" y="832891"/>
                      </a:lnTo>
                      <a:lnTo>
                        <a:pt x="2159825" y="832891"/>
                      </a:lnTo>
                      <a:lnTo>
                        <a:pt x="2160994" y="835431"/>
                      </a:lnTo>
                      <a:lnTo>
                        <a:pt x="2162098" y="841781"/>
                      </a:lnTo>
                      <a:lnTo>
                        <a:pt x="2162454" y="843051"/>
                      </a:lnTo>
                      <a:lnTo>
                        <a:pt x="2162645" y="844321"/>
                      </a:lnTo>
                      <a:lnTo>
                        <a:pt x="2162924" y="844321"/>
                      </a:lnTo>
                      <a:lnTo>
                        <a:pt x="2163216" y="845591"/>
                      </a:lnTo>
                      <a:lnTo>
                        <a:pt x="2163483" y="845591"/>
                      </a:lnTo>
                      <a:lnTo>
                        <a:pt x="2164118" y="846861"/>
                      </a:lnTo>
                      <a:lnTo>
                        <a:pt x="2164905" y="846861"/>
                      </a:lnTo>
                      <a:lnTo>
                        <a:pt x="2165667" y="848131"/>
                      </a:lnTo>
                      <a:lnTo>
                        <a:pt x="2165794" y="848131"/>
                      </a:lnTo>
                      <a:lnTo>
                        <a:pt x="2166493" y="849401"/>
                      </a:lnTo>
                      <a:lnTo>
                        <a:pt x="2167471" y="849401"/>
                      </a:lnTo>
                      <a:lnTo>
                        <a:pt x="2168194" y="850671"/>
                      </a:lnTo>
                      <a:lnTo>
                        <a:pt x="2170392" y="850671"/>
                      </a:lnTo>
                      <a:lnTo>
                        <a:pt x="2171814" y="849401"/>
                      </a:lnTo>
                      <a:lnTo>
                        <a:pt x="2172754" y="849401"/>
                      </a:lnTo>
                      <a:lnTo>
                        <a:pt x="2172893" y="848131"/>
                      </a:lnTo>
                      <a:lnTo>
                        <a:pt x="2173122" y="849401"/>
                      </a:lnTo>
                      <a:lnTo>
                        <a:pt x="2174138" y="849401"/>
                      </a:lnTo>
                      <a:lnTo>
                        <a:pt x="2176411" y="850671"/>
                      </a:lnTo>
                      <a:lnTo>
                        <a:pt x="2183295" y="853211"/>
                      </a:lnTo>
                      <a:lnTo>
                        <a:pt x="2185390" y="855751"/>
                      </a:lnTo>
                      <a:lnTo>
                        <a:pt x="2186178" y="857021"/>
                      </a:lnTo>
                      <a:lnTo>
                        <a:pt x="2187498" y="859561"/>
                      </a:lnTo>
                      <a:lnTo>
                        <a:pt x="2188654" y="862101"/>
                      </a:lnTo>
                      <a:lnTo>
                        <a:pt x="2189010" y="863371"/>
                      </a:lnTo>
                      <a:lnTo>
                        <a:pt x="2189530" y="863371"/>
                      </a:lnTo>
                      <a:lnTo>
                        <a:pt x="2128062" y="901471"/>
                      </a:lnTo>
                      <a:lnTo>
                        <a:pt x="2124951" y="904011"/>
                      </a:lnTo>
                      <a:lnTo>
                        <a:pt x="2121319" y="906551"/>
                      </a:lnTo>
                      <a:lnTo>
                        <a:pt x="2118957" y="909091"/>
                      </a:lnTo>
                      <a:lnTo>
                        <a:pt x="2114283" y="912901"/>
                      </a:lnTo>
                      <a:lnTo>
                        <a:pt x="2105672" y="920521"/>
                      </a:lnTo>
                      <a:lnTo>
                        <a:pt x="2103120" y="923061"/>
                      </a:lnTo>
                      <a:lnTo>
                        <a:pt x="2102624" y="923061"/>
                      </a:lnTo>
                      <a:lnTo>
                        <a:pt x="2101329" y="924331"/>
                      </a:lnTo>
                      <a:lnTo>
                        <a:pt x="2093912" y="925601"/>
                      </a:lnTo>
                      <a:lnTo>
                        <a:pt x="2080120" y="928141"/>
                      </a:lnTo>
                      <a:lnTo>
                        <a:pt x="2079231" y="928141"/>
                      </a:lnTo>
                      <a:lnTo>
                        <a:pt x="2079231" y="959891"/>
                      </a:lnTo>
                      <a:lnTo>
                        <a:pt x="2078977" y="963701"/>
                      </a:lnTo>
                      <a:lnTo>
                        <a:pt x="2078393" y="970051"/>
                      </a:lnTo>
                      <a:lnTo>
                        <a:pt x="2075688" y="976401"/>
                      </a:lnTo>
                      <a:lnTo>
                        <a:pt x="2074443" y="978941"/>
                      </a:lnTo>
                      <a:lnTo>
                        <a:pt x="2073338" y="980211"/>
                      </a:lnTo>
                      <a:lnTo>
                        <a:pt x="2070277" y="984021"/>
                      </a:lnTo>
                      <a:lnTo>
                        <a:pt x="2051850" y="984021"/>
                      </a:lnTo>
                      <a:lnTo>
                        <a:pt x="2046058" y="985291"/>
                      </a:lnTo>
                      <a:lnTo>
                        <a:pt x="2036711" y="985291"/>
                      </a:lnTo>
                      <a:lnTo>
                        <a:pt x="2028609" y="989101"/>
                      </a:lnTo>
                      <a:lnTo>
                        <a:pt x="2027034" y="989101"/>
                      </a:lnTo>
                      <a:lnTo>
                        <a:pt x="2025484" y="990371"/>
                      </a:lnTo>
                      <a:lnTo>
                        <a:pt x="2021662" y="990371"/>
                      </a:lnTo>
                      <a:lnTo>
                        <a:pt x="2020697" y="989101"/>
                      </a:lnTo>
                      <a:lnTo>
                        <a:pt x="2016760" y="989101"/>
                      </a:lnTo>
                      <a:lnTo>
                        <a:pt x="2013826" y="987831"/>
                      </a:lnTo>
                      <a:lnTo>
                        <a:pt x="2008771" y="987831"/>
                      </a:lnTo>
                      <a:lnTo>
                        <a:pt x="2007158" y="989101"/>
                      </a:lnTo>
                      <a:lnTo>
                        <a:pt x="2006752" y="990371"/>
                      </a:lnTo>
                      <a:lnTo>
                        <a:pt x="2004707" y="991641"/>
                      </a:lnTo>
                      <a:lnTo>
                        <a:pt x="2003983" y="992911"/>
                      </a:lnTo>
                      <a:lnTo>
                        <a:pt x="2003056" y="992911"/>
                      </a:lnTo>
                      <a:lnTo>
                        <a:pt x="2001786" y="994181"/>
                      </a:lnTo>
                      <a:lnTo>
                        <a:pt x="1997417" y="995451"/>
                      </a:lnTo>
                      <a:lnTo>
                        <a:pt x="1994395" y="996721"/>
                      </a:lnTo>
                      <a:lnTo>
                        <a:pt x="1991106" y="997991"/>
                      </a:lnTo>
                      <a:lnTo>
                        <a:pt x="1990763" y="997991"/>
                      </a:lnTo>
                      <a:lnTo>
                        <a:pt x="1989963" y="1000531"/>
                      </a:lnTo>
                      <a:lnTo>
                        <a:pt x="1989823" y="1000531"/>
                      </a:lnTo>
                      <a:lnTo>
                        <a:pt x="1989569" y="1001801"/>
                      </a:lnTo>
                      <a:lnTo>
                        <a:pt x="1989277" y="1001801"/>
                      </a:lnTo>
                      <a:lnTo>
                        <a:pt x="1987804" y="1000531"/>
                      </a:lnTo>
                      <a:lnTo>
                        <a:pt x="1981339" y="1000531"/>
                      </a:lnTo>
                      <a:lnTo>
                        <a:pt x="1976729" y="1008151"/>
                      </a:lnTo>
                      <a:lnTo>
                        <a:pt x="1976374" y="1009421"/>
                      </a:lnTo>
                      <a:lnTo>
                        <a:pt x="1975586" y="1009421"/>
                      </a:lnTo>
                      <a:lnTo>
                        <a:pt x="1975218" y="1008151"/>
                      </a:lnTo>
                      <a:lnTo>
                        <a:pt x="1973541" y="1008151"/>
                      </a:lnTo>
                      <a:lnTo>
                        <a:pt x="1971992" y="1006881"/>
                      </a:lnTo>
                      <a:lnTo>
                        <a:pt x="1971878" y="1011961"/>
                      </a:lnTo>
                      <a:lnTo>
                        <a:pt x="1972119" y="1014501"/>
                      </a:lnTo>
                      <a:lnTo>
                        <a:pt x="1971243" y="1014501"/>
                      </a:lnTo>
                      <a:lnTo>
                        <a:pt x="1970824" y="1015771"/>
                      </a:lnTo>
                      <a:lnTo>
                        <a:pt x="1968728" y="1015771"/>
                      </a:lnTo>
                      <a:lnTo>
                        <a:pt x="1967039" y="1014501"/>
                      </a:lnTo>
                      <a:lnTo>
                        <a:pt x="1965896" y="1013231"/>
                      </a:lnTo>
                      <a:lnTo>
                        <a:pt x="1964359" y="1011961"/>
                      </a:lnTo>
                      <a:lnTo>
                        <a:pt x="1963953" y="1011961"/>
                      </a:lnTo>
                      <a:lnTo>
                        <a:pt x="1962658" y="1010691"/>
                      </a:lnTo>
                      <a:lnTo>
                        <a:pt x="1961515" y="1011961"/>
                      </a:lnTo>
                      <a:lnTo>
                        <a:pt x="1958187" y="1017041"/>
                      </a:lnTo>
                      <a:lnTo>
                        <a:pt x="1957184" y="1019581"/>
                      </a:lnTo>
                      <a:lnTo>
                        <a:pt x="1957641" y="1020851"/>
                      </a:lnTo>
                      <a:lnTo>
                        <a:pt x="1958200" y="1020851"/>
                      </a:lnTo>
                      <a:lnTo>
                        <a:pt x="1958098" y="1022121"/>
                      </a:lnTo>
                      <a:lnTo>
                        <a:pt x="1954263" y="1022121"/>
                      </a:lnTo>
                      <a:lnTo>
                        <a:pt x="1954555" y="1024661"/>
                      </a:lnTo>
                      <a:lnTo>
                        <a:pt x="1955126" y="1025931"/>
                      </a:lnTo>
                      <a:lnTo>
                        <a:pt x="1955596" y="1028471"/>
                      </a:lnTo>
                      <a:lnTo>
                        <a:pt x="1955685" y="1029741"/>
                      </a:lnTo>
                      <a:lnTo>
                        <a:pt x="1952980" y="1032281"/>
                      </a:lnTo>
                      <a:lnTo>
                        <a:pt x="1951240" y="1032281"/>
                      </a:lnTo>
                      <a:lnTo>
                        <a:pt x="1948218" y="1033551"/>
                      </a:lnTo>
                      <a:lnTo>
                        <a:pt x="1942680" y="1034821"/>
                      </a:lnTo>
                      <a:lnTo>
                        <a:pt x="1939937" y="1037361"/>
                      </a:lnTo>
                      <a:lnTo>
                        <a:pt x="1942172" y="1037361"/>
                      </a:lnTo>
                      <a:lnTo>
                        <a:pt x="1942528" y="1038631"/>
                      </a:lnTo>
                      <a:lnTo>
                        <a:pt x="1942985" y="1038631"/>
                      </a:lnTo>
                      <a:lnTo>
                        <a:pt x="1943785" y="1039901"/>
                      </a:lnTo>
                      <a:lnTo>
                        <a:pt x="1944001" y="1041171"/>
                      </a:lnTo>
                      <a:lnTo>
                        <a:pt x="1943354" y="1043711"/>
                      </a:lnTo>
                      <a:lnTo>
                        <a:pt x="1942769" y="1046251"/>
                      </a:lnTo>
                      <a:lnTo>
                        <a:pt x="1939493" y="1047521"/>
                      </a:lnTo>
                      <a:lnTo>
                        <a:pt x="1940255" y="1052601"/>
                      </a:lnTo>
                      <a:lnTo>
                        <a:pt x="1939734" y="1056411"/>
                      </a:lnTo>
                      <a:lnTo>
                        <a:pt x="1935772" y="1056411"/>
                      </a:lnTo>
                      <a:lnTo>
                        <a:pt x="1935289" y="1057681"/>
                      </a:lnTo>
                      <a:lnTo>
                        <a:pt x="1934311" y="1057681"/>
                      </a:lnTo>
                      <a:lnTo>
                        <a:pt x="1933524" y="1058951"/>
                      </a:lnTo>
                      <a:lnTo>
                        <a:pt x="1932457" y="1060221"/>
                      </a:lnTo>
                      <a:lnTo>
                        <a:pt x="1932241" y="1058951"/>
                      </a:lnTo>
                      <a:lnTo>
                        <a:pt x="1931365" y="1058951"/>
                      </a:lnTo>
                      <a:lnTo>
                        <a:pt x="1931250" y="1055141"/>
                      </a:lnTo>
                      <a:lnTo>
                        <a:pt x="1931149" y="1052601"/>
                      </a:lnTo>
                      <a:lnTo>
                        <a:pt x="1931009" y="1052601"/>
                      </a:lnTo>
                      <a:lnTo>
                        <a:pt x="1930463" y="1051331"/>
                      </a:lnTo>
                      <a:lnTo>
                        <a:pt x="1928952" y="1051331"/>
                      </a:lnTo>
                      <a:lnTo>
                        <a:pt x="1927021" y="1052601"/>
                      </a:lnTo>
                      <a:lnTo>
                        <a:pt x="1923961" y="1052601"/>
                      </a:lnTo>
                      <a:lnTo>
                        <a:pt x="1923757" y="1053871"/>
                      </a:lnTo>
                      <a:lnTo>
                        <a:pt x="1923186" y="1053871"/>
                      </a:lnTo>
                      <a:lnTo>
                        <a:pt x="1922741" y="1055141"/>
                      </a:lnTo>
                      <a:lnTo>
                        <a:pt x="1922818" y="1056411"/>
                      </a:lnTo>
                      <a:lnTo>
                        <a:pt x="1920532" y="1056411"/>
                      </a:lnTo>
                      <a:lnTo>
                        <a:pt x="1919922" y="1057681"/>
                      </a:lnTo>
                      <a:lnTo>
                        <a:pt x="1918728" y="1057681"/>
                      </a:lnTo>
                      <a:lnTo>
                        <a:pt x="1918525" y="1058951"/>
                      </a:lnTo>
                      <a:lnTo>
                        <a:pt x="1915528" y="1058951"/>
                      </a:lnTo>
                      <a:lnTo>
                        <a:pt x="1915045" y="1057681"/>
                      </a:lnTo>
                      <a:lnTo>
                        <a:pt x="1912023" y="1056411"/>
                      </a:lnTo>
                      <a:lnTo>
                        <a:pt x="1907946" y="1056411"/>
                      </a:lnTo>
                      <a:lnTo>
                        <a:pt x="1907082" y="1058951"/>
                      </a:lnTo>
                      <a:lnTo>
                        <a:pt x="1904898" y="1058951"/>
                      </a:lnTo>
                      <a:lnTo>
                        <a:pt x="1904606" y="1057681"/>
                      </a:lnTo>
                      <a:lnTo>
                        <a:pt x="1903742" y="1057681"/>
                      </a:lnTo>
                      <a:lnTo>
                        <a:pt x="1903145" y="1056411"/>
                      </a:lnTo>
                      <a:lnTo>
                        <a:pt x="1902701" y="1056411"/>
                      </a:lnTo>
                      <a:lnTo>
                        <a:pt x="1902383" y="1055141"/>
                      </a:lnTo>
                      <a:lnTo>
                        <a:pt x="1902256" y="1055141"/>
                      </a:lnTo>
                      <a:lnTo>
                        <a:pt x="1902282" y="1050061"/>
                      </a:lnTo>
                      <a:lnTo>
                        <a:pt x="1901621" y="1048791"/>
                      </a:lnTo>
                      <a:lnTo>
                        <a:pt x="1901482" y="1047521"/>
                      </a:lnTo>
                      <a:lnTo>
                        <a:pt x="1897710" y="1047521"/>
                      </a:lnTo>
                      <a:lnTo>
                        <a:pt x="1898002" y="1046251"/>
                      </a:lnTo>
                      <a:lnTo>
                        <a:pt x="1899348" y="1046251"/>
                      </a:lnTo>
                      <a:lnTo>
                        <a:pt x="1900021" y="1044981"/>
                      </a:lnTo>
                      <a:lnTo>
                        <a:pt x="1900351" y="1046251"/>
                      </a:lnTo>
                      <a:lnTo>
                        <a:pt x="1900377" y="1044981"/>
                      </a:lnTo>
                      <a:lnTo>
                        <a:pt x="1900834" y="1044981"/>
                      </a:lnTo>
                      <a:lnTo>
                        <a:pt x="1900796" y="1043711"/>
                      </a:lnTo>
                      <a:lnTo>
                        <a:pt x="1900402" y="1043711"/>
                      </a:lnTo>
                      <a:lnTo>
                        <a:pt x="1899843" y="1042441"/>
                      </a:lnTo>
                      <a:lnTo>
                        <a:pt x="1896999" y="1039901"/>
                      </a:lnTo>
                      <a:lnTo>
                        <a:pt x="1895741" y="1038631"/>
                      </a:lnTo>
                      <a:lnTo>
                        <a:pt x="1895094" y="1038631"/>
                      </a:lnTo>
                      <a:lnTo>
                        <a:pt x="1894713" y="1037361"/>
                      </a:lnTo>
                      <a:lnTo>
                        <a:pt x="1894586" y="1037361"/>
                      </a:lnTo>
                      <a:lnTo>
                        <a:pt x="1894624" y="1036091"/>
                      </a:lnTo>
                      <a:lnTo>
                        <a:pt x="1894827" y="1036091"/>
                      </a:lnTo>
                      <a:lnTo>
                        <a:pt x="1894789" y="1034821"/>
                      </a:lnTo>
                      <a:lnTo>
                        <a:pt x="1894052" y="1033551"/>
                      </a:lnTo>
                      <a:lnTo>
                        <a:pt x="1893887" y="1032281"/>
                      </a:lnTo>
                      <a:lnTo>
                        <a:pt x="1892960" y="1033551"/>
                      </a:lnTo>
                      <a:lnTo>
                        <a:pt x="1893735" y="1032281"/>
                      </a:lnTo>
                      <a:lnTo>
                        <a:pt x="1891436" y="1028471"/>
                      </a:lnTo>
                      <a:lnTo>
                        <a:pt x="1889506" y="1027201"/>
                      </a:lnTo>
                      <a:lnTo>
                        <a:pt x="1888540" y="1025931"/>
                      </a:lnTo>
                      <a:lnTo>
                        <a:pt x="1885454" y="1025931"/>
                      </a:lnTo>
                      <a:lnTo>
                        <a:pt x="1885048" y="1027201"/>
                      </a:lnTo>
                      <a:lnTo>
                        <a:pt x="1885365" y="1029741"/>
                      </a:lnTo>
                      <a:lnTo>
                        <a:pt x="1884959" y="1029741"/>
                      </a:lnTo>
                      <a:lnTo>
                        <a:pt x="1881212" y="1031011"/>
                      </a:lnTo>
                      <a:lnTo>
                        <a:pt x="1880323" y="1031011"/>
                      </a:lnTo>
                      <a:lnTo>
                        <a:pt x="1879993" y="1032281"/>
                      </a:lnTo>
                      <a:lnTo>
                        <a:pt x="1878622" y="1032281"/>
                      </a:lnTo>
                      <a:lnTo>
                        <a:pt x="1876437" y="1031011"/>
                      </a:lnTo>
                      <a:lnTo>
                        <a:pt x="1873313" y="1031011"/>
                      </a:lnTo>
                      <a:lnTo>
                        <a:pt x="1869249" y="1032281"/>
                      </a:lnTo>
                      <a:lnTo>
                        <a:pt x="1867458" y="1033551"/>
                      </a:lnTo>
                      <a:lnTo>
                        <a:pt x="1867014" y="1033551"/>
                      </a:lnTo>
                      <a:lnTo>
                        <a:pt x="1865871" y="1032281"/>
                      </a:lnTo>
                      <a:lnTo>
                        <a:pt x="1864677" y="1031011"/>
                      </a:lnTo>
                      <a:lnTo>
                        <a:pt x="1864169" y="1029741"/>
                      </a:lnTo>
                      <a:lnTo>
                        <a:pt x="1861896" y="1029741"/>
                      </a:lnTo>
                      <a:lnTo>
                        <a:pt x="1861108" y="1031011"/>
                      </a:lnTo>
                      <a:lnTo>
                        <a:pt x="1860550" y="1031011"/>
                      </a:lnTo>
                      <a:lnTo>
                        <a:pt x="1858962" y="1032281"/>
                      </a:lnTo>
                      <a:lnTo>
                        <a:pt x="1858581" y="1033551"/>
                      </a:lnTo>
                      <a:lnTo>
                        <a:pt x="1857336" y="1032281"/>
                      </a:lnTo>
                      <a:lnTo>
                        <a:pt x="1856270" y="1031011"/>
                      </a:lnTo>
                      <a:lnTo>
                        <a:pt x="1856409" y="1031011"/>
                      </a:lnTo>
                      <a:lnTo>
                        <a:pt x="1856689" y="1029741"/>
                      </a:lnTo>
                      <a:lnTo>
                        <a:pt x="1857209" y="1029741"/>
                      </a:lnTo>
                      <a:lnTo>
                        <a:pt x="1857832" y="1028471"/>
                      </a:lnTo>
                      <a:lnTo>
                        <a:pt x="1858454" y="1027201"/>
                      </a:lnTo>
                      <a:lnTo>
                        <a:pt x="1857857" y="1027201"/>
                      </a:lnTo>
                      <a:lnTo>
                        <a:pt x="1857971" y="1025931"/>
                      </a:lnTo>
                      <a:lnTo>
                        <a:pt x="1857921" y="1023391"/>
                      </a:lnTo>
                      <a:lnTo>
                        <a:pt x="1857654" y="1022121"/>
                      </a:lnTo>
                      <a:lnTo>
                        <a:pt x="1857044" y="1017041"/>
                      </a:lnTo>
                      <a:lnTo>
                        <a:pt x="1854822" y="1014501"/>
                      </a:lnTo>
                      <a:lnTo>
                        <a:pt x="1853717" y="1013231"/>
                      </a:lnTo>
                      <a:lnTo>
                        <a:pt x="1852066" y="1013231"/>
                      </a:lnTo>
                      <a:lnTo>
                        <a:pt x="1851761" y="1011961"/>
                      </a:lnTo>
                      <a:lnTo>
                        <a:pt x="1850986" y="1013231"/>
                      </a:lnTo>
                      <a:lnTo>
                        <a:pt x="1849970" y="1011961"/>
                      </a:lnTo>
                      <a:lnTo>
                        <a:pt x="1849043" y="1010691"/>
                      </a:lnTo>
                      <a:lnTo>
                        <a:pt x="1848231" y="1009421"/>
                      </a:lnTo>
                      <a:lnTo>
                        <a:pt x="1848967" y="1009421"/>
                      </a:lnTo>
                      <a:lnTo>
                        <a:pt x="1848967" y="1008151"/>
                      </a:lnTo>
                      <a:lnTo>
                        <a:pt x="1845652" y="995451"/>
                      </a:lnTo>
                      <a:lnTo>
                        <a:pt x="1848510" y="994181"/>
                      </a:lnTo>
                      <a:lnTo>
                        <a:pt x="1849958" y="994181"/>
                      </a:lnTo>
                      <a:lnTo>
                        <a:pt x="1850542" y="992911"/>
                      </a:lnTo>
                      <a:lnTo>
                        <a:pt x="1851126" y="992911"/>
                      </a:lnTo>
                      <a:lnTo>
                        <a:pt x="1851279" y="991641"/>
                      </a:lnTo>
                      <a:lnTo>
                        <a:pt x="1851558" y="991641"/>
                      </a:lnTo>
                      <a:lnTo>
                        <a:pt x="1851799" y="990371"/>
                      </a:lnTo>
                      <a:lnTo>
                        <a:pt x="1852117" y="989101"/>
                      </a:lnTo>
                      <a:lnTo>
                        <a:pt x="1852853" y="982751"/>
                      </a:lnTo>
                      <a:lnTo>
                        <a:pt x="1854923" y="982751"/>
                      </a:lnTo>
                      <a:lnTo>
                        <a:pt x="1857552" y="984021"/>
                      </a:lnTo>
                      <a:lnTo>
                        <a:pt x="1860613" y="986561"/>
                      </a:lnTo>
                      <a:lnTo>
                        <a:pt x="1863483" y="990371"/>
                      </a:lnTo>
                      <a:lnTo>
                        <a:pt x="1865083" y="987831"/>
                      </a:lnTo>
                      <a:lnTo>
                        <a:pt x="1865960" y="986561"/>
                      </a:lnTo>
                      <a:lnTo>
                        <a:pt x="1866836" y="985291"/>
                      </a:lnTo>
                      <a:lnTo>
                        <a:pt x="1886127" y="985291"/>
                      </a:lnTo>
                      <a:lnTo>
                        <a:pt x="1885784" y="984021"/>
                      </a:lnTo>
                      <a:lnTo>
                        <a:pt x="1885797" y="982751"/>
                      </a:lnTo>
                      <a:lnTo>
                        <a:pt x="1886331" y="982751"/>
                      </a:lnTo>
                      <a:lnTo>
                        <a:pt x="1886661" y="984021"/>
                      </a:lnTo>
                      <a:lnTo>
                        <a:pt x="1941296" y="984021"/>
                      </a:lnTo>
                      <a:lnTo>
                        <a:pt x="1942401" y="982751"/>
                      </a:lnTo>
                      <a:lnTo>
                        <a:pt x="1942680" y="981481"/>
                      </a:lnTo>
                      <a:lnTo>
                        <a:pt x="1943061" y="976401"/>
                      </a:lnTo>
                      <a:lnTo>
                        <a:pt x="1944204" y="970051"/>
                      </a:lnTo>
                      <a:lnTo>
                        <a:pt x="1942490" y="968781"/>
                      </a:lnTo>
                      <a:lnTo>
                        <a:pt x="1941766" y="968781"/>
                      </a:lnTo>
                      <a:lnTo>
                        <a:pt x="1931784" y="887501"/>
                      </a:lnTo>
                      <a:lnTo>
                        <a:pt x="1926818" y="845591"/>
                      </a:lnTo>
                      <a:lnTo>
                        <a:pt x="1926551" y="843051"/>
                      </a:lnTo>
                      <a:lnTo>
                        <a:pt x="1949589" y="843051"/>
                      </a:lnTo>
                      <a:lnTo>
                        <a:pt x="1965032" y="853211"/>
                      </a:lnTo>
                      <a:lnTo>
                        <a:pt x="1972487" y="858291"/>
                      </a:lnTo>
                      <a:lnTo>
                        <a:pt x="1985873" y="867181"/>
                      </a:lnTo>
                      <a:lnTo>
                        <a:pt x="1999259" y="877341"/>
                      </a:lnTo>
                      <a:lnTo>
                        <a:pt x="2006257" y="881151"/>
                      </a:lnTo>
                      <a:lnTo>
                        <a:pt x="2013496" y="886231"/>
                      </a:lnTo>
                      <a:lnTo>
                        <a:pt x="2020849" y="891311"/>
                      </a:lnTo>
                      <a:lnTo>
                        <a:pt x="2034908" y="900201"/>
                      </a:lnTo>
                      <a:lnTo>
                        <a:pt x="2035175" y="901471"/>
                      </a:lnTo>
                      <a:lnTo>
                        <a:pt x="2035302" y="901471"/>
                      </a:lnTo>
                      <a:lnTo>
                        <a:pt x="2035340" y="902741"/>
                      </a:lnTo>
                      <a:lnTo>
                        <a:pt x="2035098" y="904011"/>
                      </a:lnTo>
                      <a:lnTo>
                        <a:pt x="2035009" y="905281"/>
                      </a:lnTo>
                      <a:lnTo>
                        <a:pt x="2035746" y="906551"/>
                      </a:lnTo>
                      <a:lnTo>
                        <a:pt x="2037156" y="907821"/>
                      </a:lnTo>
                      <a:lnTo>
                        <a:pt x="2039861" y="907821"/>
                      </a:lnTo>
                      <a:lnTo>
                        <a:pt x="2041258" y="909091"/>
                      </a:lnTo>
                      <a:lnTo>
                        <a:pt x="2042185" y="910361"/>
                      </a:lnTo>
                      <a:lnTo>
                        <a:pt x="2042312" y="910361"/>
                      </a:lnTo>
                      <a:lnTo>
                        <a:pt x="2043379" y="912901"/>
                      </a:lnTo>
                      <a:lnTo>
                        <a:pt x="2047240" y="914171"/>
                      </a:lnTo>
                      <a:lnTo>
                        <a:pt x="2051672" y="914171"/>
                      </a:lnTo>
                      <a:lnTo>
                        <a:pt x="2052802" y="915441"/>
                      </a:lnTo>
                      <a:lnTo>
                        <a:pt x="2056676" y="916711"/>
                      </a:lnTo>
                      <a:lnTo>
                        <a:pt x="2059355" y="917981"/>
                      </a:lnTo>
                      <a:lnTo>
                        <a:pt x="2061756" y="917981"/>
                      </a:lnTo>
                      <a:lnTo>
                        <a:pt x="2062543" y="919251"/>
                      </a:lnTo>
                      <a:lnTo>
                        <a:pt x="2063254" y="919251"/>
                      </a:lnTo>
                      <a:lnTo>
                        <a:pt x="2064308" y="920521"/>
                      </a:lnTo>
                      <a:lnTo>
                        <a:pt x="2064600" y="920521"/>
                      </a:lnTo>
                      <a:lnTo>
                        <a:pt x="2064486" y="924331"/>
                      </a:lnTo>
                      <a:lnTo>
                        <a:pt x="2064880" y="924331"/>
                      </a:lnTo>
                      <a:lnTo>
                        <a:pt x="2064956" y="925601"/>
                      </a:lnTo>
                      <a:lnTo>
                        <a:pt x="2064600" y="925601"/>
                      </a:lnTo>
                      <a:lnTo>
                        <a:pt x="2064448" y="926871"/>
                      </a:lnTo>
                      <a:lnTo>
                        <a:pt x="2063254" y="928141"/>
                      </a:lnTo>
                      <a:lnTo>
                        <a:pt x="2062962" y="929411"/>
                      </a:lnTo>
                      <a:lnTo>
                        <a:pt x="2063267" y="930681"/>
                      </a:lnTo>
                      <a:lnTo>
                        <a:pt x="2064550" y="930681"/>
                      </a:lnTo>
                      <a:lnTo>
                        <a:pt x="2065642" y="931951"/>
                      </a:lnTo>
                      <a:lnTo>
                        <a:pt x="2073592" y="931951"/>
                      </a:lnTo>
                      <a:lnTo>
                        <a:pt x="2079218" y="930681"/>
                      </a:lnTo>
                      <a:lnTo>
                        <a:pt x="2079231" y="959891"/>
                      </a:lnTo>
                      <a:lnTo>
                        <a:pt x="2079231" y="928141"/>
                      </a:lnTo>
                      <a:lnTo>
                        <a:pt x="2073808" y="929411"/>
                      </a:lnTo>
                      <a:lnTo>
                        <a:pt x="2065312" y="929411"/>
                      </a:lnTo>
                      <a:lnTo>
                        <a:pt x="2065718" y="928141"/>
                      </a:lnTo>
                      <a:lnTo>
                        <a:pt x="2066175" y="928141"/>
                      </a:lnTo>
                      <a:lnTo>
                        <a:pt x="2066607" y="926871"/>
                      </a:lnTo>
                      <a:lnTo>
                        <a:pt x="2067166" y="925601"/>
                      </a:lnTo>
                      <a:lnTo>
                        <a:pt x="2066950" y="924331"/>
                      </a:lnTo>
                      <a:lnTo>
                        <a:pt x="2066556" y="923061"/>
                      </a:lnTo>
                      <a:lnTo>
                        <a:pt x="2066683" y="921791"/>
                      </a:lnTo>
                      <a:lnTo>
                        <a:pt x="2066632" y="919251"/>
                      </a:lnTo>
                      <a:lnTo>
                        <a:pt x="2066353" y="919251"/>
                      </a:lnTo>
                      <a:lnTo>
                        <a:pt x="2065680" y="917981"/>
                      </a:lnTo>
                      <a:lnTo>
                        <a:pt x="2064397" y="917981"/>
                      </a:lnTo>
                      <a:lnTo>
                        <a:pt x="2063140" y="916711"/>
                      </a:lnTo>
                      <a:lnTo>
                        <a:pt x="2062353" y="916711"/>
                      </a:lnTo>
                      <a:lnTo>
                        <a:pt x="2060067" y="915441"/>
                      </a:lnTo>
                      <a:lnTo>
                        <a:pt x="2059762" y="916711"/>
                      </a:lnTo>
                      <a:lnTo>
                        <a:pt x="2059825" y="915441"/>
                      </a:lnTo>
                      <a:lnTo>
                        <a:pt x="2057552" y="915441"/>
                      </a:lnTo>
                      <a:lnTo>
                        <a:pt x="2052688" y="911631"/>
                      </a:lnTo>
                      <a:lnTo>
                        <a:pt x="2046668" y="911631"/>
                      </a:lnTo>
                      <a:lnTo>
                        <a:pt x="2044712" y="910361"/>
                      </a:lnTo>
                      <a:lnTo>
                        <a:pt x="2044369" y="910361"/>
                      </a:lnTo>
                      <a:lnTo>
                        <a:pt x="2042960" y="907821"/>
                      </a:lnTo>
                      <a:lnTo>
                        <a:pt x="2042591" y="906551"/>
                      </a:lnTo>
                      <a:lnTo>
                        <a:pt x="2040572" y="906551"/>
                      </a:lnTo>
                      <a:lnTo>
                        <a:pt x="2037372" y="905281"/>
                      </a:lnTo>
                      <a:lnTo>
                        <a:pt x="2037207" y="905281"/>
                      </a:lnTo>
                      <a:lnTo>
                        <a:pt x="2037334" y="904011"/>
                      </a:lnTo>
                      <a:lnTo>
                        <a:pt x="2037384" y="901471"/>
                      </a:lnTo>
                      <a:lnTo>
                        <a:pt x="2037118" y="900201"/>
                      </a:lnTo>
                      <a:lnTo>
                        <a:pt x="2036533" y="898931"/>
                      </a:lnTo>
                      <a:lnTo>
                        <a:pt x="2035568" y="898931"/>
                      </a:lnTo>
                      <a:lnTo>
                        <a:pt x="2022005" y="890041"/>
                      </a:lnTo>
                      <a:lnTo>
                        <a:pt x="2014677" y="884961"/>
                      </a:lnTo>
                      <a:lnTo>
                        <a:pt x="2007450" y="879881"/>
                      </a:lnTo>
                      <a:lnTo>
                        <a:pt x="2000465" y="874801"/>
                      </a:lnTo>
                      <a:lnTo>
                        <a:pt x="1993798" y="869721"/>
                      </a:lnTo>
                      <a:lnTo>
                        <a:pt x="1987092" y="865911"/>
                      </a:lnTo>
                      <a:lnTo>
                        <a:pt x="1973694" y="855751"/>
                      </a:lnTo>
                      <a:lnTo>
                        <a:pt x="1968385" y="853211"/>
                      </a:lnTo>
                      <a:lnTo>
                        <a:pt x="1957260" y="845591"/>
                      </a:lnTo>
                      <a:lnTo>
                        <a:pt x="1957400" y="845591"/>
                      </a:lnTo>
                      <a:lnTo>
                        <a:pt x="1953425" y="843051"/>
                      </a:lnTo>
                      <a:lnTo>
                        <a:pt x="1956244" y="843051"/>
                      </a:lnTo>
                      <a:lnTo>
                        <a:pt x="1950389" y="840511"/>
                      </a:lnTo>
                      <a:lnTo>
                        <a:pt x="1937905" y="832891"/>
                      </a:lnTo>
                      <a:lnTo>
                        <a:pt x="1924913" y="824001"/>
                      </a:lnTo>
                      <a:lnTo>
                        <a:pt x="1911172" y="815111"/>
                      </a:lnTo>
                      <a:lnTo>
                        <a:pt x="1900745" y="808761"/>
                      </a:lnTo>
                      <a:lnTo>
                        <a:pt x="1896579" y="806221"/>
                      </a:lnTo>
                      <a:lnTo>
                        <a:pt x="1896541" y="785901"/>
                      </a:lnTo>
                      <a:lnTo>
                        <a:pt x="1896706" y="784631"/>
                      </a:lnTo>
                      <a:lnTo>
                        <a:pt x="1896935" y="784631"/>
                      </a:lnTo>
                      <a:lnTo>
                        <a:pt x="1898256" y="783361"/>
                      </a:lnTo>
                      <a:lnTo>
                        <a:pt x="1900910" y="782091"/>
                      </a:lnTo>
                      <a:lnTo>
                        <a:pt x="1901786" y="780821"/>
                      </a:lnTo>
                      <a:lnTo>
                        <a:pt x="1907527" y="777011"/>
                      </a:lnTo>
                      <a:lnTo>
                        <a:pt x="1909673" y="775741"/>
                      </a:lnTo>
                      <a:lnTo>
                        <a:pt x="1911045" y="774471"/>
                      </a:lnTo>
                      <a:lnTo>
                        <a:pt x="1912137" y="774471"/>
                      </a:lnTo>
                      <a:lnTo>
                        <a:pt x="1915274" y="773201"/>
                      </a:lnTo>
                      <a:lnTo>
                        <a:pt x="1917039" y="773201"/>
                      </a:lnTo>
                      <a:lnTo>
                        <a:pt x="1918779" y="771931"/>
                      </a:lnTo>
                      <a:lnTo>
                        <a:pt x="1926526" y="771931"/>
                      </a:lnTo>
                      <a:lnTo>
                        <a:pt x="1927517" y="768121"/>
                      </a:lnTo>
                      <a:lnTo>
                        <a:pt x="1931835" y="769391"/>
                      </a:lnTo>
                      <a:lnTo>
                        <a:pt x="1938439" y="768121"/>
                      </a:lnTo>
                      <a:lnTo>
                        <a:pt x="1940179" y="766851"/>
                      </a:lnTo>
                      <a:lnTo>
                        <a:pt x="1941918" y="765581"/>
                      </a:lnTo>
                      <a:lnTo>
                        <a:pt x="1942934" y="765581"/>
                      </a:lnTo>
                      <a:lnTo>
                        <a:pt x="1944319" y="764311"/>
                      </a:lnTo>
                      <a:lnTo>
                        <a:pt x="1946897" y="761771"/>
                      </a:lnTo>
                      <a:lnTo>
                        <a:pt x="1947506" y="760501"/>
                      </a:lnTo>
                      <a:lnTo>
                        <a:pt x="1948256" y="759231"/>
                      </a:lnTo>
                      <a:lnTo>
                        <a:pt x="1949119" y="759231"/>
                      </a:lnTo>
                      <a:lnTo>
                        <a:pt x="1965286" y="751611"/>
                      </a:lnTo>
                      <a:lnTo>
                        <a:pt x="1969655" y="749071"/>
                      </a:lnTo>
                      <a:lnTo>
                        <a:pt x="1968855" y="746531"/>
                      </a:lnTo>
                      <a:lnTo>
                        <a:pt x="1968030" y="745261"/>
                      </a:lnTo>
                      <a:lnTo>
                        <a:pt x="1966188" y="745261"/>
                      </a:lnTo>
                      <a:lnTo>
                        <a:pt x="1966353" y="743991"/>
                      </a:lnTo>
                      <a:lnTo>
                        <a:pt x="1967217" y="742721"/>
                      </a:lnTo>
                      <a:lnTo>
                        <a:pt x="1967268" y="741451"/>
                      </a:lnTo>
                      <a:lnTo>
                        <a:pt x="1966087" y="741451"/>
                      </a:lnTo>
                      <a:lnTo>
                        <a:pt x="1965642" y="740181"/>
                      </a:lnTo>
                      <a:lnTo>
                        <a:pt x="1965515" y="738911"/>
                      </a:lnTo>
                      <a:lnTo>
                        <a:pt x="1970938" y="738911"/>
                      </a:lnTo>
                      <a:lnTo>
                        <a:pt x="1975002" y="737641"/>
                      </a:lnTo>
                      <a:lnTo>
                        <a:pt x="1976805" y="736371"/>
                      </a:lnTo>
                      <a:lnTo>
                        <a:pt x="1979333" y="732561"/>
                      </a:lnTo>
                      <a:lnTo>
                        <a:pt x="1980780" y="732561"/>
                      </a:lnTo>
                      <a:lnTo>
                        <a:pt x="1983143" y="731291"/>
                      </a:lnTo>
                      <a:lnTo>
                        <a:pt x="1994458" y="731291"/>
                      </a:lnTo>
                      <a:lnTo>
                        <a:pt x="1999411" y="732561"/>
                      </a:lnTo>
                      <a:lnTo>
                        <a:pt x="2002561" y="732561"/>
                      </a:lnTo>
                      <a:lnTo>
                        <a:pt x="2003145" y="731291"/>
                      </a:lnTo>
                      <a:lnTo>
                        <a:pt x="2003653" y="731291"/>
                      </a:lnTo>
                      <a:lnTo>
                        <a:pt x="2003882" y="730021"/>
                      </a:lnTo>
                      <a:lnTo>
                        <a:pt x="2002853" y="728751"/>
                      </a:lnTo>
                      <a:lnTo>
                        <a:pt x="2003996" y="727481"/>
                      </a:lnTo>
                      <a:lnTo>
                        <a:pt x="2005545" y="726211"/>
                      </a:lnTo>
                      <a:lnTo>
                        <a:pt x="2005418" y="723671"/>
                      </a:lnTo>
                      <a:lnTo>
                        <a:pt x="2004047" y="722401"/>
                      </a:lnTo>
                      <a:lnTo>
                        <a:pt x="2002802" y="722401"/>
                      </a:lnTo>
                      <a:lnTo>
                        <a:pt x="2002193" y="721131"/>
                      </a:lnTo>
                      <a:lnTo>
                        <a:pt x="2001774" y="721131"/>
                      </a:lnTo>
                      <a:lnTo>
                        <a:pt x="2001443" y="719861"/>
                      </a:lnTo>
                      <a:lnTo>
                        <a:pt x="1995982" y="705891"/>
                      </a:lnTo>
                      <a:lnTo>
                        <a:pt x="1995919" y="704621"/>
                      </a:lnTo>
                      <a:lnTo>
                        <a:pt x="1997100" y="699541"/>
                      </a:lnTo>
                      <a:lnTo>
                        <a:pt x="1995716" y="694461"/>
                      </a:lnTo>
                      <a:lnTo>
                        <a:pt x="1996833" y="693191"/>
                      </a:lnTo>
                      <a:lnTo>
                        <a:pt x="1994814" y="690651"/>
                      </a:lnTo>
                      <a:lnTo>
                        <a:pt x="1994369" y="690651"/>
                      </a:lnTo>
                      <a:lnTo>
                        <a:pt x="1995474" y="689381"/>
                      </a:lnTo>
                      <a:lnTo>
                        <a:pt x="1995385" y="688111"/>
                      </a:lnTo>
                      <a:lnTo>
                        <a:pt x="1995119" y="688111"/>
                      </a:lnTo>
                      <a:lnTo>
                        <a:pt x="1993201" y="686841"/>
                      </a:lnTo>
                      <a:lnTo>
                        <a:pt x="1992820" y="686841"/>
                      </a:lnTo>
                      <a:lnTo>
                        <a:pt x="1992414" y="685571"/>
                      </a:lnTo>
                      <a:lnTo>
                        <a:pt x="1990636" y="684301"/>
                      </a:lnTo>
                      <a:lnTo>
                        <a:pt x="1989937" y="683031"/>
                      </a:lnTo>
                      <a:lnTo>
                        <a:pt x="1989670" y="683031"/>
                      </a:lnTo>
                      <a:lnTo>
                        <a:pt x="1988527" y="681761"/>
                      </a:lnTo>
                      <a:lnTo>
                        <a:pt x="1988337" y="681761"/>
                      </a:lnTo>
                      <a:lnTo>
                        <a:pt x="1986838" y="683031"/>
                      </a:lnTo>
                      <a:lnTo>
                        <a:pt x="1988058" y="684301"/>
                      </a:lnTo>
                      <a:lnTo>
                        <a:pt x="1988400" y="685571"/>
                      </a:lnTo>
                      <a:lnTo>
                        <a:pt x="1989226" y="685571"/>
                      </a:lnTo>
                      <a:lnTo>
                        <a:pt x="1990966" y="688111"/>
                      </a:lnTo>
                      <a:lnTo>
                        <a:pt x="1992147" y="688111"/>
                      </a:lnTo>
                      <a:lnTo>
                        <a:pt x="1993099" y="689381"/>
                      </a:lnTo>
                      <a:lnTo>
                        <a:pt x="1992083" y="689381"/>
                      </a:lnTo>
                      <a:lnTo>
                        <a:pt x="1992134" y="691921"/>
                      </a:lnTo>
                      <a:lnTo>
                        <a:pt x="1993061" y="691921"/>
                      </a:lnTo>
                      <a:lnTo>
                        <a:pt x="1994154" y="693191"/>
                      </a:lnTo>
                      <a:lnTo>
                        <a:pt x="1993709" y="694461"/>
                      </a:lnTo>
                      <a:lnTo>
                        <a:pt x="1993519" y="694461"/>
                      </a:lnTo>
                      <a:lnTo>
                        <a:pt x="1994916" y="699541"/>
                      </a:lnTo>
                      <a:lnTo>
                        <a:pt x="1993912" y="704621"/>
                      </a:lnTo>
                      <a:lnTo>
                        <a:pt x="1993836" y="705891"/>
                      </a:lnTo>
                      <a:lnTo>
                        <a:pt x="1999970" y="722401"/>
                      </a:lnTo>
                      <a:lnTo>
                        <a:pt x="2000592" y="722401"/>
                      </a:lnTo>
                      <a:lnTo>
                        <a:pt x="2001507" y="723671"/>
                      </a:lnTo>
                      <a:lnTo>
                        <a:pt x="2003348" y="724941"/>
                      </a:lnTo>
                      <a:lnTo>
                        <a:pt x="2002421" y="726211"/>
                      </a:lnTo>
                      <a:lnTo>
                        <a:pt x="2000148" y="728751"/>
                      </a:lnTo>
                      <a:lnTo>
                        <a:pt x="2000631" y="730021"/>
                      </a:lnTo>
                      <a:lnTo>
                        <a:pt x="1992249" y="730021"/>
                      </a:lnTo>
                      <a:lnTo>
                        <a:pt x="1986711" y="728751"/>
                      </a:lnTo>
                      <a:lnTo>
                        <a:pt x="1984997" y="728751"/>
                      </a:lnTo>
                      <a:lnTo>
                        <a:pt x="1982762" y="730021"/>
                      </a:lnTo>
                      <a:lnTo>
                        <a:pt x="1980260" y="730021"/>
                      </a:lnTo>
                      <a:lnTo>
                        <a:pt x="1977961" y="731291"/>
                      </a:lnTo>
                      <a:lnTo>
                        <a:pt x="1975408" y="735101"/>
                      </a:lnTo>
                      <a:lnTo>
                        <a:pt x="1974265" y="735101"/>
                      </a:lnTo>
                      <a:lnTo>
                        <a:pt x="1970417" y="736371"/>
                      </a:lnTo>
                      <a:lnTo>
                        <a:pt x="1964474" y="736371"/>
                      </a:lnTo>
                      <a:lnTo>
                        <a:pt x="1963699" y="737641"/>
                      </a:lnTo>
                      <a:lnTo>
                        <a:pt x="1963420" y="738911"/>
                      </a:lnTo>
                      <a:lnTo>
                        <a:pt x="1963420" y="740181"/>
                      </a:lnTo>
                      <a:lnTo>
                        <a:pt x="1963623" y="741451"/>
                      </a:lnTo>
                      <a:lnTo>
                        <a:pt x="1964296" y="741451"/>
                      </a:lnTo>
                      <a:lnTo>
                        <a:pt x="1964410" y="742721"/>
                      </a:lnTo>
                      <a:lnTo>
                        <a:pt x="1964283" y="743991"/>
                      </a:lnTo>
                      <a:lnTo>
                        <a:pt x="1963585" y="746531"/>
                      </a:lnTo>
                      <a:lnTo>
                        <a:pt x="1964893" y="746531"/>
                      </a:lnTo>
                      <a:lnTo>
                        <a:pt x="1965604" y="747801"/>
                      </a:lnTo>
                      <a:lnTo>
                        <a:pt x="1965985" y="746531"/>
                      </a:lnTo>
                      <a:lnTo>
                        <a:pt x="1966493" y="747801"/>
                      </a:lnTo>
                      <a:lnTo>
                        <a:pt x="1966861" y="747801"/>
                      </a:lnTo>
                      <a:lnTo>
                        <a:pt x="1964423" y="749071"/>
                      </a:lnTo>
                      <a:lnTo>
                        <a:pt x="1947799" y="756691"/>
                      </a:lnTo>
                      <a:lnTo>
                        <a:pt x="1946732" y="757961"/>
                      </a:lnTo>
                      <a:lnTo>
                        <a:pt x="1945817" y="759231"/>
                      </a:lnTo>
                      <a:lnTo>
                        <a:pt x="1945652" y="759231"/>
                      </a:lnTo>
                      <a:lnTo>
                        <a:pt x="1945195" y="760501"/>
                      </a:lnTo>
                      <a:lnTo>
                        <a:pt x="1941703" y="764311"/>
                      </a:lnTo>
                      <a:lnTo>
                        <a:pt x="1940915" y="764311"/>
                      </a:lnTo>
                      <a:lnTo>
                        <a:pt x="1937613" y="765581"/>
                      </a:lnTo>
                      <a:lnTo>
                        <a:pt x="1931479" y="766851"/>
                      </a:lnTo>
                      <a:lnTo>
                        <a:pt x="1927860" y="765581"/>
                      </a:lnTo>
                      <a:lnTo>
                        <a:pt x="1926221" y="765581"/>
                      </a:lnTo>
                      <a:lnTo>
                        <a:pt x="1925701" y="766851"/>
                      </a:lnTo>
                      <a:lnTo>
                        <a:pt x="1924837" y="769391"/>
                      </a:lnTo>
                      <a:lnTo>
                        <a:pt x="1922259" y="769391"/>
                      </a:lnTo>
                      <a:lnTo>
                        <a:pt x="1918335" y="770661"/>
                      </a:lnTo>
                      <a:lnTo>
                        <a:pt x="1916353" y="770661"/>
                      </a:lnTo>
                      <a:lnTo>
                        <a:pt x="1914677" y="771931"/>
                      </a:lnTo>
                      <a:lnTo>
                        <a:pt x="1911400" y="771931"/>
                      </a:lnTo>
                      <a:lnTo>
                        <a:pt x="1909953" y="773201"/>
                      </a:lnTo>
                      <a:lnTo>
                        <a:pt x="1908517" y="773201"/>
                      </a:lnTo>
                      <a:lnTo>
                        <a:pt x="1906270" y="775741"/>
                      </a:lnTo>
                      <a:lnTo>
                        <a:pt x="1900618" y="779551"/>
                      </a:lnTo>
                      <a:lnTo>
                        <a:pt x="1899767" y="779551"/>
                      </a:lnTo>
                      <a:lnTo>
                        <a:pt x="1897037" y="782091"/>
                      </a:lnTo>
                      <a:lnTo>
                        <a:pt x="1895373" y="783361"/>
                      </a:lnTo>
                      <a:lnTo>
                        <a:pt x="1894865" y="783361"/>
                      </a:lnTo>
                      <a:lnTo>
                        <a:pt x="1894395" y="784631"/>
                      </a:lnTo>
                      <a:lnTo>
                        <a:pt x="1894446" y="799871"/>
                      </a:lnTo>
                      <a:lnTo>
                        <a:pt x="1830920" y="799871"/>
                      </a:lnTo>
                      <a:lnTo>
                        <a:pt x="1830920" y="801141"/>
                      </a:lnTo>
                      <a:lnTo>
                        <a:pt x="1894459" y="801141"/>
                      </a:lnTo>
                      <a:lnTo>
                        <a:pt x="1894484" y="820191"/>
                      </a:lnTo>
                      <a:lnTo>
                        <a:pt x="1894763" y="824001"/>
                      </a:lnTo>
                      <a:lnTo>
                        <a:pt x="1894459" y="825271"/>
                      </a:lnTo>
                      <a:lnTo>
                        <a:pt x="1846757" y="825271"/>
                      </a:lnTo>
                      <a:lnTo>
                        <a:pt x="1846783" y="858291"/>
                      </a:lnTo>
                      <a:lnTo>
                        <a:pt x="1847227" y="863371"/>
                      </a:lnTo>
                      <a:lnTo>
                        <a:pt x="1846783" y="864641"/>
                      </a:lnTo>
                      <a:lnTo>
                        <a:pt x="1843633" y="864641"/>
                      </a:lnTo>
                      <a:lnTo>
                        <a:pt x="1842541" y="865911"/>
                      </a:lnTo>
                      <a:lnTo>
                        <a:pt x="1839925" y="865911"/>
                      </a:lnTo>
                      <a:lnTo>
                        <a:pt x="1838286" y="867181"/>
                      </a:lnTo>
                      <a:lnTo>
                        <a:pt x="1836877" y="867181"/>
                      </a:lnTo>
                      <a:lnTo>
                        <a:pt x="1834743" y="869721"/>
                      </a:lnTo>
                      <a:lnTo>
                        <a:pt x="1833130" y="870991"/>
                      </a:lnTo>
                      <a:lnTo>
                        <a:pt x="1831594" y="873531"/>
                      </a:lnTo>
                      <a:lnTo>
                        <a:pt x="1830768" y="874801"/>
                      </a:lnTo>
                      <a:lnTo>
                        <a:pt x="1830374" y="876071"/>
                      </a:lnTo>
                      <a:lnTo>
                        <a:pt x="1830933" y="878611"/>
                      </a:lnTo>
                      <a:lnTo>
                        <a:pt x="1831124" y="878611"/>
                      </a:lnTo>
                      <a:lnTo>
                        <a:pt x="1831365" y="879881"/>
                      </a:lnTo>
                      <a:lnTo>
                        <a:pt x="1831454" y="882421"/>
                      </a:lnTo>
                      <a:lnTo>
                        <a:pt x="1832038" y="891311"/>
                      </a:lnTo>
                      <a:lnTo>
                        <a:pt x="1832610" y="895121"/>
                      </a:lnTo>
                      <a:lnTo>
                        <a:pt x="1778215" y="895121"/>
                      </a:lnTo>
                      <a:lnTo>
                        <a:pt x="1775421" y="896391"/>
                      </a:lnTo>
                      <a:lnTo>
                        <a:pt x="1774863" y="900201"/>
                      </a:lnTo>
                      <a:lnTo>
                        <a:pt x="1774240" y="905281"/>
                      </a:lnTo>
                      <a:lnTo>
                        <a:pt x="1776349" y="905281"/>
                      </a:lnTo>
                      <a:lnTo>
                        <a:pt x="1777212" y="897661"/>
                      </a:lnTo>
                      <a:lnTo>
                        <a:pt x="1834553" y="897661"/>
                      </a:lnTo>
                      <a:lnTo>
                        <a:pt x="1834476" y="896391"/>
                      </a:lnTo>
                      <a:lnTo>
                        <a:pt x="1834769" y="895121"/>
                      </a:lnTo>
                      <a:lnTo>
                        <a:pt x="1834578" y="893851"/>
                      </a:lnTo>
                      <a:lnTo>
                        <a:pt x="1834146" y="891311"/>
                      </a:lnTo>
                      <a:lnTo>
                        <a:pt x="1833651" y="883691"/>
                      </a:lnTo>
                      <a:lnTo>
                        <a:pt x="1833486" y="879881"/>
                      </a:lnTo>
                      <a:lnTo>
                        <a:pt x="1833194" y="878611"/>
                      </a:lnTo>
                      <a:lnTo>
                        <a:pt x="1832965" y="877341"/>
                      </a:lnTo>
                      <a:lnTo>
                        <a:pt x="1832597" y="876071"/>
                      </a:lnTo>
                      <a:lnTo>
                        <a:pt x="1832800" y="874801"/>
                      </a:lnTo>
                      <a:lnTo>
                        <a:pt x="1833384" y="874801"/>
                      </a:lnTo>
                      <a:lnTo>
                        <a:pt x="1834743" y="872261"/>
                      </a:lnTo>
                      <a:lnTo>
                        <a:pt x="1836191" y="870991"/>
                      </a:lnTo>
                      <a:lnTo>
                        <a:pt x="1837994" y="869721"/>
                      </a:lnTo>
                      <a:lnTo>
                        <a:pt x="1839214" y="868451"/>
                      </a:lnTo>
                      <a:lnTo>
                        <a:pt x="1842262" y="868451"/>
                      </a:lnTo>
                      <a:lnTo>
                        <a:pt x="1843239" y="867181"/>
                      </a:lnTo>
                      <a:lnTo>
                        <a:pt x="1845576" y="867181"/>
                      </a:lnTo>
                      <a:lnTo>
                        <a:pt x="1846821" y="865911"/>
                      </a:lnTo>
                      <a:lnTo>
                        <a:pt x="1848713" y="865911"/>
                      </a:lnTo>
                      <a:lnTo>
                        <a:pt x="1848777" y="864641"/>
                      </a:lnTo>
                      <a:lnTo>
                        <a:pt x="1849323" y="863371"/>
                      </a:lnTo>
                      <a:lnTo>
                        <a:pt x="1849170" y="860831"/>
                      </a:lnTo>
                      <a:lnTo>
                        <a:pt x="1848916" y="858291"/>
                      </a:lnTo>
                      <a:lnTo>
                        <a:pt x="1848802" y="827811"/>
                      </a:lnTo>
                      <a:lnTo>
                        <a:pt x="1896351" y="827811"/>
                      </a:lnTo>
                      <a:lnTo>
                        <a:pt x="1896465" y="826541"/>
                      </a:lnTo>
                      <a:lnTo>
                        <a:pt x="1896503" y="825271"/>
                      </a:lnTo>
                      <a:lnTo>
                        <a:pt x="1896897" y="824001"/>
                      </a:lnTo>
                      <a:lnTo>
                        <a:pt x="1896605" y="820191"/>
                      </a:lnTo>
                      <a:lnTo>
                        <a:pt x="1896516" y="808761"/>
                      </a:lnTo>
                      <a:lnTo>
                        <a:pt x="1905812" y="813841"/>
                      </a:lnTo>
                      <a:lnTo>
                        <a:pt x="1926755" y="827811"/>
                      </a:lnTo>
                      <a:lnTo>
                        <a:pt x="1942261" y="837971"/>
                      </a:lnTo>
                      <a:lnTo>
                        <a:pt x="1946389" y="840511"/>
                      </a:lnTo>
                      <a:lnTo>
                        <a:pt x="1924189" y="840511"/>
                      </a:lnTo>
                      <a:lnTo>
                        <a:pt x="1924621" y="844321"/>
                      </a:lnTo>
                      <a:lnTo>
                        <a:pt x="1928660" y="878611"/>
                      </a:lnTo>
                      <a:lnTo>
                        <a:pt x="1935111" y="931951"/>
                      </a:lnTo>
                      <a:lnTo>
                        <a:pt x="1939671" y="968781"/>
                      </a:lnTo>
                      <a:lnTo>
                        <a:pt x="1939925" y="970051"/>
                      </a:lnTo>
                      <a:lnTo>
                        <a:pt x="1940674" y="970051"/>
                      </a:lnTo>
                      <a:lnTo>
                        <a:pt x="1940902" y="971321"/>
                      </a:lnTo>
                      <a:lnTo>
                        <a:pt x="1941766" y="971321"/>
                      </a:lnTo>
                      <a:lnTo>
                        <a:pt x="1941715" y="972591"/>
                      </a:lnTo>
                      <a:lnTo>
                        <a:pt x="1940966" y="976401"/>
                      </a:lnTo>
                      <a:lnTo>
                        <a:pt x="1940521" y="981481"/>
                      </a:lnTo>
                      <a:lnTo>
                        <a:pt x="1940255" y="982751"/>
                      </a:lnTo>
                      <a:lnTo>
                        <a:pt x="1938007" y="982751"/>
                      </a:lnTo>
                      <a:lnTo>
                        <a:pt x="1934895" y="981481"/>
                      </a:lnTo>
                      <a:lnTo>
                        <a:pt x="1925929" y="981481"/>
                      </a:lnTo>
                      <a:lnTo>
                        <a:pt x="1892147" y="982751"/>
                      </a:lnTo>
                      <a:lnTo>
                        <a:pt x="1889226" y="982751"/>
                      </a:lnTo>
                      <a:lnTo>
                        <a:pt x="1888350" y="981481"/>
                      </a:lnTo>
                      <a:lnTo>
                        <a:pt x="1887296" y="981481"/>
                      </a:lnTo>
                      <a:lnTo>
                        <a:pt x="1887029" y="980211"/>
                      </a:lnTo>
                      <a:lnTo>
                        <a:pt x="1884260" y="980211"/>
                      </a:lnTo>
                      <a:lnTo>
                        <a:pt x="1884133" y="981481"/>
                      </a:lnTo>
                      <a:lnTo>
                        <a:pt x="1883816" y="981481"/>
                      </a:lnTo>
                      <a:lnTo>
                        <a:pt x="1883702" y="982751"/>
                      </a:lnTo>
                      <a:lnTo>
                        <a:pt x="1865439" y="982751"/>
                      </a:lnTo>
                      <a:lnTo>
                        <a:pt x="1865223" y="984021"/>
                      </a:lnTo>
                      <a:lnTo>
                        <a:pt x="1863712" y="986561"/>
                      </a:lnTo>
                      <a:lnTo>
                        <a:pt x="1863331" y="986561"/>
                      </a:lnTo>
                      <a:lnTo>
                        <a:pt x="1861032" y="984021"/>
                      </a:lnTo>
                      <a:lnTo>
                        <a:pt x="1859457" y="982751"/>
                      </a:lnTo>
                      <a:lnTo>
                        <a:pt x="1857895" y="981481"/>
                      </a:lnTo>
                      <a:lnTo>
                        <a:pt x="1854200" y="978941"/>
                      </a:lnTo>
                      <a:lnTo>
                        <a:pt x="1853831" y="980211"/>
                      </a:lnTo>
                      <a:lnTo>
                        <a:pt x="1850948" y="981481"/>
                      </a:lnTo>
                      <a:lnTo>
                        <a:pt x="1850212" y="986561"/>
                      </a:lnTo>
                      <a:lnTo>
                        <a:pt x="1850021" y="989101"/>
                      </a:lnTo>
                      <a:lnTo>
                        <a:pt x="1849539" y="990371"/>
                      </a:lnTo>
                      <a:lnTo>
                        <a:pt x="1849323" y="991641"/>
                      </a:lnTo>
                      <a:lnTo>
                        <a:pt x="1848700" y="991641"/>
                      </a:lnTo>
                      <a:lnTo>
                        <a:pt x="1847913" y="992911"/>
                      </a:lnTo>
                      <a:lnTo>
                        <a:pt x="1843862" y="992911"/>
                      </a:lnTo>
                      <a:lnTo>
                        <a:pt x="1842503" y="991641"/>
                      </a:lnTo>
                      <a:lnTo>
                        <a:pt x="1840026" y="989101"/>
                      </a:lnTo>
                      <a:lnTo>
                        <a:pt x="1839201" y="989101"/>
                      </a:lnTo>
                      <a:lnTo>
                        <a:pt x="1838413" y="987831"/>
                      </a:lnTo>
                      <a:lnTo>
                        <a:pt x="1837817" y="987831"/>
                      </a:lnTo>
                      <a:lnTo>
                        <a:pt x="1834375" y="982751"/>
                      </a:lnTo>
                      <a:lnTo>
                        <a:pt x="1832673" y="981481"/>
                      </a:lnTo>
                      <a:lnTo>
                        <a:pt x="1831047" y="980211"/>
                      </a:lnTo>
                      <a:lnTo>
                        <a:pt x="1830311" y="980211"/>
                      </a:lnTo>
                      <a:lnTo>
                        <a:pt x="1829549" y="976401"/>
                      </a:lnTo>
                      <a:lnTo>
                        <a:pt x="1829104" y="975131"/>
                      </a:lnTo>
                      <a:lnTo>
                        <a:pt x="1828419" y="973861"/>
                      </a:lnTo>
                      <a:lnTo>
                        <a:pt x="1827530" y="973861"/>
                      </a:lnTo>
                      <a:lnTo>
                        <a:pt x="1826387" y="972591"/>
                      </a:lnTo>
                      <a:lnTo>
                        <a:pt x="1825688" y="972591"/>
                      </a:lnTo>
                      <a:lnTo>
                        <a:pt x="1825396" y="973861"/>
                      </a:lnTo>
                      <a:lnTo>
                        <a:pt x="1825421" y="972591"/>
                      </a:lnTo>
                      <a:lnTo>
                        <a:pt x="1821002" y="972591"/>
                      </a:lnTo>
                      <a:lnTo>
                        <a:pt x="1820252" y="970051"/>
                      </a:lnTo>
                      <a:lnTo>
                        <a:pt x="1818919" y="968781"/>
                      </a:lnTo>
                      <a:lnTo>
                        <a:pt x="1814753" y="964971"/>
                      </a:lnTo>
                      <a:lnTo>
                        <a:pt x="1803857" y="964971"/>
                      </a:lnTo>
                      <a:lnTo>
                        <a:pt x="1800275" y="966241"/>
                      </a:lnTo>
                      <a:lnTo>
                        <a:pt x="1799031" y="966241"/>
                      </a:lnTo>
                      <a:lnTo>
                        <a:pt x="1794903" y="967511"/>
                      </a:lnTo>
                      <a:lnTo>
                        <a:pt x="1789899" y="967511"/>
                      </a:lnTo>
                      <a:lnTo>
                        <a:pt x="1789493" y="966241"/>
                      </a:lnTo>
                      <a:lnTo>
                        <a:pt x="1788795" y="966241"/>
                      </a:lnTo>
                      <a:lnTo>
                        <a:pt x="1784946" y="967511"/>
                      </a:lnTo>
                      <a:lnTo>
                        <a:pt x="1781556" y="973861"/>
                      </a:lnTo>
                      <a:lnTo>
                        <a:pt x="1783435" y="975131"/>
                      </a:lnTo>
                      <a:lnTo>
                        <a:pt x="1786305" y="970051"/>
                      </a:lnTo>
                      <a:lnTo>
                        <a:pt x="1788236" y="968781"/>
                      </a:lnTo>
                      <a:lnTo>
                        <a:pt x="1788414" y="968781"/>
                      </a:lnTo>
                      <a:lnTo>
                        <a:pt x="1788744" y="970051"/>
                      </a:lnTo>
                      <a:lnTo>
                        <a:pt x="1795246" y="970051"/>
                      </a:lnTo>
                      <a:lnTo>
                        <a:pt x="1799526" y="968781"/>
                      </a:lnTo>
                      <a:lnTo>
                        <a:pt x="1800771" y="967511"/>
                      </a:lnTo>
                      <a:lnTo>
                        <a:pt x="1813915" y="967511"/>
                      </a:lnTo>
                      <a:lnTo>
                        <a:pt x="1817649" y="971321"/>
                      </a:lnTo>
                      <a:lnTo>
                        <a:pt x="1818513" y="971321"/>
                      </a:lnTo>
                      <a:lnTo>
                        <a:pt x="1819313" y="973861"/>
                      </a:lnTo>
                      <a:lnTo>
                        <a:pt x="1820481" y="973861"/>
                      </a:lnTo>
                      <a:lnTo>
                        <a:pt x="1821116" y="975131"/>
                      </a:lnTo>
                      <a:lnTo>
                        <a:pt x="1826717" y="975131"/>
                      </a:lnTo>
                      <a:lnTo>
                        <a:pt x="1828355" y="980211"/>
                      </a:lnTo>
                      <a:lnTo>
                        <a:pt x="1829676" y="982751"/>
                      </a:lnTo>
                      <a:lnTo>
                        <a:pt x="1831428" y="982751"/>
                      </a:lnTo>
                      <a:lnTo>
                        <a:pt x="1832889" y="984021"/>
                      </a:lnTo>
                      <a:lnTo>
                        <a:pt x="1836216" y="989101"/>
                      </a:lnTo>
                      <a:lnTo>
                        <a:pt x="1837055" y="989101"/>
                      </a:lnTo>
                      <a:lnTo>
                        <a:pt x="1837410" y="990371"/>
                      </a:lnTo>
                      <a:lnTo>
                        <a:pt x="1838350" y="990371"/>
                      </a:lnTo>
                      <a:lnTo>
                        <a:pt x="1841258" y="992911"/>
                      </a:lnTo>
                      <a:lnTo>
                        <a:pt x="1841106" y="992911"/>
                      </a:lnTo>
                      <a:lnTo>
                        <a:pt x="1843303" y="994181"/>
                      </a:lnTo>
                      <a:lnTo>
                        <a:pt x="1846745" y="1008151"/>
                      </a:lnTo>
                      <a:lnTo>
                        <a:pt x="1844967" y="1008151"/>
                      </a:lnTo>
                      <a:lnTo>
                        <a:pt x="1847049" y="1011961"/>
                      </a:lnTo>
                      <a:lnTo>
                        <a:pt x="1848650" y="1013231"/>
                      </a:lnTo>
                      <a:lnTo>
                        <a:pt x="1850440" y="1015771"/>
                      </a:lnTo>
                      <a:lnTo>
                        <a:pt x="1851977" y="1017041"/>
                      </a:lnTo>
                      <a:lnTo>
                        <a:pt x="1852218" y="1014501"/>
                      </a:lnTo>
                      <a:lnTo>
                        <a:pt x="1852561" y="1014501"/>
                      </a:lnTo>
                      <a:lnTo>
                        <a:pt x="1854161" y="1017041"/>
                      </a:lnTo>
                      <a:lnTo>
                        <a:pt x="1855012" y="1018311"/>
                      </a:lnTo>
                      <a:lnTo>
                        <a:pt x="1855393" y="1020851"/>
                      </a:lnTo>
                      <a:lnTo>
                        <a:pt x="1855876" y="1023391"/>
                      </a:lnTo>
                      <a:lnTo>
                        <a:pt x="1855990" y="1025931"/>
                      </a:lnTo>
                      <a:lnTo>
                        <a:pt x="1855685" y="1027201"/>
                      </a:lnTo>
                      <a:lnTo>
                        <a:pt x="1840420" y="1028471"/>
                      </a:lnTo>
                      <a:lnTo>
                        <a:pt x="1839556" y="1028471"/>
                      </a:lnTo>
                      <a:lnTo>
                        <a:pt x="1839023" y="1027201"/>
                      </a:lnTo>
                      <a:lnTo>
                        <a:pt x="1837347" y="1027201"/>
                      </a:lnTo>
                      <a:lnTo>
                        <a:pt x="1831898" y="1024661"/>
                      </a:lnTo>
                      <a:lnTo>
                        <a:pt x="1830616" y="1024661"/>
                      </a:lnTo>
                      <a:lnTo>
                        <a:pt x="1829549" y="1023391"/>
                      </a:lnTo>
                      <a:lnTo>
                        <a:pt x="1806346" y="1023391"/>
                      </a:lnTo>
                      <a:lnTo>
                        <a:pt x="1800352" y="1024661"/>
                      </a:lnTo>
                      <a:lnTo>
                        <a:pt x="1793836" y="1025931"/>
                      </a:lnTo>
                      <a:lnTo>
                        <a:pt x="1779854" y="1028471"/>
                      </a:lnTo>
                      <a:lnTo>
                        <a:pt x="1780184" y="1031011"/>
                      </a:lnTo>
                      <a:lnTo>
                        <a:pt x="1794217" y="1028471"/>
                      </a:lnTo>
                      <a:lnTo>
                        <a:pt x="1800707" y="1027201"/>
                      </a:lnTo>
                      <a:lnTo>
                        <a:pt x="1806600" y="1025931"/>
                      </a:lnTo>
                      <a:lnTo>
                        <a:pt x="1807273" y="1025931"/>
                      </a:lnTo>
                      <a:lnTo>
                        <a:pt x="1809318" y="1024661"/>
                      </a:lnTo>
                      <a:lnTo>
                        <a:pt x="1815998" y="1025931"/>
                      </a:lnTo>
                      <a:lnTo>
                        <a:pt x="1818322" y="1025931"/>
                      </a:lnTo>
                      <a:lnTo>
                        <a:pt x="1820964" y="1024661"/>
                      </a:lnTo>
                      <a:lnTo>
                        <a:pt x="1822234" y="1024661"/>
                      </a:lnTo>
                      <a:lnTo>
                        <a:pt x="1822373" y="1029741"/>
                      </a:lnTo>
                      <a:lnTo>
                        <a:pt x="1820011" y="1031011"/>
                      </a:lnTo>
                      <a:lnTo>
                        <a:pt x="1816608" y="1032281"/>
                      </a:lnTo>
                      <a:lnTo>
                        <a:pt x="1820278" y="1033551"/>
                      </a:lnTo>
                      <a:lnTo>
                        <a:pt x="1820519" y="1033551"/>
                      </a:lnTo>
                      <a:lnTo>
                        <a:pt x="1821421" y="1034821"/>
                      </a:lnTo>
                      <a:lnTo>
                        <a:pt x="1821865" y="1036091"/>
                      </a:lnTo>
                      <a:lnTo>
                        <a:pt x="1821942" y="1037361"/>
                      </a:lnTo>
                      <a:lnTo>
                        <a:pt x="1820049" y="1037361"/>
                      </a:lnTo>
                      <a:lnTo>
                        <a:pt x="1818335" y="1038631"/>
                      </a:lnTo>
                      <a:lnTo>
                        <a:pt x="1813255" y="1039901"/>
                      </a:lnTo>
                      <a:lnTo>
                        <a:pt x="1809229" y="1039901"/>
                      </a:lnTo>
                      <a:lnTo>
                        <a:pt x="1807019" y="1041171"/>
                      </a:lnTo>
                      <a:lnTo>
                        <a:pt x="1804009" y="1048791"/>
                      </a:lnTo>
                      <a:lnTo>
                        <a:pt x="1803717" y="1048791"/>
                      </a:lnTo>
                      <a:lnTo>
                        <a:pt x="1805597" y="1050061"/>
                      </a:lnTo>
                      <a:lnTo>
                        <a:pt x="1805901" y="1048791"/>
                      </a:lnTo>
                      <a:lnTo>
                        <a:pt x="1808721" y="1042441"/>
                      </a:lnTo>
                      <a:lnTo>
                        <a:pt x="1810143" y="1042441"/>
                      </a:lnTo>
                      <a:lnTo>
                        <a:pt x="1812709" y="1041171"/>
                      </a:lnTo>
                      <a:lnTo>
                        <a:pt x="1813712" y="1041171"/>
                      </a:lnTo>
                      <a:lnTo>
                        <a:pt x="1818894" y="1039901"/>
                      </a:lnTo>
                      <a:lnTo>
                        <a:pt x="1823250" y="1039901"/>
                      </a:lnTo>
                      <a:lnTo>
                        <a:pt x="1823694" y="1038631"/>
                      </a:lnTo>
                      <a:lnTo>
                        <a:pt x="1823872" y="1038631"/>
                      </a:lnTo>
                      <a:lnTo>
                        <a:pt x="1824037" y="1037361"/>
                      </a:lnTo>
                      <a:lnTo>
                        <a:pt x="1824126" y="1036091"/>
                      </a:lnTo>
                      <a:lnTo>
                        <a:pt x="1823427" y="1033551"/>
                      </a:lnTo>
                      <a:lnTo>
                        <a:pt x="1822373" y="1032281"/>
                      </a:lnTo>
                      <a:lnTo>
                        <a:pt x="1821954" y="1032281"/>
                      </a:lnTo>
                      <a:lnTo>
                        <a:pt x="1823631" y="1031011"/>
                      </a:lnTo>
                      <a:lnTo>
                        <a:pt x="1824329" y="1031011"/>
                      </a:lnTo>
                      <a:lnTo>
                        <a:pt x="1824520" y="1029741"/>
                      </a:lnTo>
                      <a:lnTo>
                        <a:pt x="1824355" y="1024661"/>
                      </a:lnTo>
                      <a:lnTo>
                        <a:pt x="1825015" y="1024661"/>
                      </a:lnTo>
                      <a:lnTo>
                        <a:pt x="1826780" y="1025931"/>
                      </a:lnTo>
                      <a:lnTo>
                        <a:pt x="1830222" y="1025931"/>
                      </a:lnTo>
                      <a:lnTo>
                        <a:pt x="1831073" y="1027201"/>
                      </a:lnTo>
                      <a:lnTo>
                        <a:pt x="1836635" y="1029741"/>
                      </a:lnTo>
                      <a:lnTo>
                        <a:pt x="1854288" y="1029741"/>
                      </a:lnTo>
                      <a:lnTo>
                        <a:pt x="1854034" y="1031011"/>
                      </a:lnTo>
                      <a:lnTo>
                        <a:pt x="1854073" y="1032281"/>
                      </a:lnTo>
                      <a:lnTo>
                        <a:pt x="1855114" y="1032281"/>
                      </a:lnTo>
                      <a:lnTo>
                        <a:pt x="1855939" y="1033551"/>
                      </a:lnTo>
                      <a:lnTo>
                        <a:pt x="1857438" y="1034821"/>
                      </a:lnTo>
                      <a:lnTo>
                        <a:pt x="1859775" y="1034821"/>
                      </a:lnTo>
                      <a:lnTo>
                        <a:pt x="1860905" y="1033551"/>
                      </a:lnTo>
                      <a:lnTo>
                        <a:pt x="1861921" y="1033551"/>
                      </a:lnTo>
                      <a:lnTo>
                        <a:pt x="1862747" y="1032281"/>
                      </a:lnTo>
                      <a:lnTo>
                        <a:pt x="1863369" y="1032281"/>
                      </a:lnTo>
                      <a:lnTo>
                        <a:pt x="1864207" y="1033551"/>
                      </a:lnTo>
                      <a:lnTo>
                        <a:pt x="1865998" y="1036091"/>
                      </a:lnTo>
                      <a:lnTo>
                        <a:pt x="1867357" y="1037361"/>
                      </a:lnTo>
                      <a:lnTo>
                        <a:pt x="1868144" y="1036091"/>
                      </a:lnTo>
                      <a:lnTo>
                        <a:pt x="1868690" y="1034821"/>
                      </a:lnTo>
                      <a:lnTo>
                        <a:pt x="1870113" y="1033551"/>
                      </a:lnTo>
                      <a:lnTo>
                        <a:pt x="1876691" y="1033551"/>
                      </a:lnTo>
                      <a:lnTo>
                        <a:pt x="1879904" y="1034821"/>
                      </a:lnTo>
                      <a:lnTo>
                        <a:pt x="1881733" y="1034821"/>
                      </a:lnTo>
                      <a:lnTo>
                        <a:pt x="1882038" y="1033551"/>
                      </a:lnTo>
                      <a:lnTo>
                        <a:pt x="1882495" y="1032281"/>
                      </a:lnTo>
                      <a:lnTo>
                        <a:pt x="1886165" y="1032281"/>
                      </a:lnTo>
                      <a:lnTo>
                        <a:pt x="1886953" y="1031011"/>
                      </a:lnTo>
                      <a:lnTo>
                        <a:pt x="1887613" y="1029741"/>
                      </a:lnTo>
                      <a:lnTo>
                        <a:pt x="1887321" y="1028471"/>
                      </a:lnTo>
                      <a:lnTo>
                        <a:pt x="1888337" y="1028471"/>
                      </a:lnTo>
                      <a:lnTo>
                        <a:pt x="1889836" y="1029741"/>
                      </a:lnTo>
                      <a:lnTo>
                        <a:pt x="1892528" y="1034821"/>
                      </a:lnTo>
                      <a:lnTo>
                        <a:pt x="1892668" y="1034821"/>
                      </a:lnTo>
                      <a:lnTo>
                        <a:pt x="1892655" y="1036091"/>
                      </a:lnTo>
                      <a:lnTo>
                        <a:pt x="1892198" y="1037361"/>
                      </a:lnTo>
                      <a:lnTo>
                        <a:pt x="1892325" y="1038631"/>
                      </a:lnTo>
                      <a:lnTo>
                        <a:pt x="1892617" y="1039901"/>
                      </a:lnTo>
                      <a:lnTo>
                        <a:pt x="1894357" y="1039901"/>
                      </a:lnTo>
                      <a:lnTo>
                        <a:pt x="1895208" y="1041171"/>
                      </a:lnTo>
                      <a:lnTo>
                        <a:pt x="1897087" y="1042441"/>
                      </a:lnTo>
                      <a:lnTo>
                        <a:pt x="1897926" y="1043711"/>
                      </a:lnTo>
                      <a:lnTo>
                        <a:pt x="1898218" y="1043711"/>
                      </a:lnTo>
                      <a:lnTo>
                        <a:pt x="1896618" y="1044981"/>
                      </a:lnTo>
                      <a:lnTo>
                        <a:pt x="1895817" y="1046251"/>
                      </a:lnTo>
                      <a:lnTo>
                        <a:pt x="1894941" y="1047521"/>
                      </a:lnTo>
                      <a:lnTo>
                        <a:pt x="1893392" y="1051331"/>
                      </a:lnTo>
                      <a:lnTo>
                        <a:pt x="1896465" y="1050061"/>
                      </a:lnTo>
                      <a:lnTo>
                        <a:pt x="1898396" y="1050061"/>
                      </a:lnTo>
                      <a:lnTo>
                        <a:pt x="1898624" y="1048791"/>
                      </a:lnTo>
                      <a:lnTo>
                        <a:pt x="1899767" y="1048791"/>
                      </a:lnTo>
                      <a:lnTo>
                        <a:pt x="1899843" y="1050061"/>
                      </a:lnTo>
                      <a:lnTo>
                        <a:pt x="1900148" y="1050061"/>
                      </a:lnTo>
                      <a:lnTo>
                        <a:pt x="1900047" y="1055141"/>
                      </a:lnTo>
                      <a:lnTo>
                        <a:pt x="1900402" y="1056411"/>
                      </a:lnTo>
                      <a:lnTo>
                        <a:pt x="1900656" y="1056411"/>
                      </a:lnTo>
                      <a:lnTo>
                        <a:pt x="1900948" y="1057681"/>
                      </a:lnTo>
                      <a:lnTo>
                        <a:pt x="1901253" y="1057681"/>
                      </a:lnTo>
                      <a:lnTo>
                        <a:pt x="1902002" y="1058951"/>
                      </a:lnTo>
                      <a:lnTo>
                        <a:pt x="1902193" y="1058951"/>
                      </a:lnTo>
                      <a:lnTo>
                        <a:pt x="1902942" y="1060221"/>
                      </a:lnTo>
                      <a:lnTo>
                        <a:pt x="1904098" y="1060221"/>
                      </a:lnTo>
                      <a:lnTo>
                        <a:pt x="1903514" y="1061491"/>
                      </a:lnTo>
                      <a:lnTo>
                        <a:pt x="1902752" y="1061491"/>
                      </a:lnTo>
                      <a:lnTo>
                        <a:pt x="1902396" y="1062761"/>
                      </a:lnTo>
                      <a:lnTo>
                        <a:pt x="1901698" y="1064031"/>
                      </a:lnTo>
                      <a:lnTo>
                        <a:pt x="1901875" y="1067841"/>
                      </a:lnTo>
                      <a:lnTo>
                        <a:pt x="1902091" y="1069111"/>
                      </a:lnTo>
                      <a:lnTo>
                        <a:pt x="1902409" y="1070381"/>
                      </a:lnTo>
                      <a:lnTo>
                        <a:pt x="1903031" y="1071651"/>
                      </a:lnTo>
                      <a:lnTo>
                        <a:pt x="1903272" y="1071651"/>
                      </a:lnTo>
                      <a:lnTo>
                        <a:pt x="1903552" y="1072921"/>
                      </a:lnTo>
                      <a:lnTo>
                        <a:pt x="1906460" y="1072921"/>
                      </a:lnTo>
                      <a:lnTo>
                        <a:pt x="1907489" y="1075461"/>
                      </a:lnTo>
                      <a:lnTo>
                        <a:pt x="1907641" y="1076731"/>
                      </a:lnTo>
                      <a:lnTo>
                        <a:pt x="1906943" y="1076731"/>
                      </a:lnTo>
                      <a:lnTo>
                        <a:pt x="1905596" y="1078001"/>
                      </a:lnTo>
                      <a:lnTo>
                        <a:pt x="1904123" y="1080541"/>
                      </a:lnTo>
                      <a:lnTo>
                        <a:pt x="1905368" y="1081811"/>
                      </a:lnTo>
                      <a:lnTo>
                        <a:pt x="1907349" y="1081811"/>
                      </a:lnTo>
                      <a:lnTo>
                        <a:pt x="1907844" y="1083081"/>
                      </a:lnTo>
                      <a:lnTo>
                        <a:pt x="1908238" y="1084351"/>
                      </a:lnTo>
                      <a:lnTo>
                        <a:pt x="1901202" y="1084351"/>
                      </a:lnTo>
                      <a:lnTo>
                        <a:pt x="1900872" y="1085621"/>
                      </a:lnTo>
                      <a:lnTo>
                        <a:pt x="1900669" y="1085621"/>
                      </a:lnTo>
                      <a:lnTo>
                        <a:pt x="1900275" y="1086891"/>
                      </a:lnTo>
                      <a:lnTo>
                        <a:pt x="1900694" y="1088161"/>
                      </a:lnTo>
                      <a:lnTo>
                        <a:pt x="1901647" y="1089431"/>
                      </a:lnTo>
                      <a:lnTo>
                        <a:pt x="1901825" y="1089431"/>
                      </a:lnTo>
                      <a:lnTo>
                        <a:pt x="1902002" y="1090701"/>
                      </a:lnTo>
                      <a:lnTo>
                        <a:pt x="1903272" y="1090701"/>
                      </a:lnTo>
                      <a:lnTo>
                        <a:pt x="1902599" y="1097051"/>
                      </a:lnTo>
                      <a:lnTo>
                        <a:pt x="1898218" y="1097051"/>
                      </a:lnTo>
                      <a:lnTo>
                        <a:pt x="1897849" y="1095781"/>
                      </a:lnTo>
                      <a:lnTo>
                        <a:pt x="1896745" y="1094511"/>
                      </a:lnTo>
                      <a:lnTo>
                        <a:pt x="1894547" y="1097051"/>
                      </a:lnTo>
                      <a:lnTo>
                        <a:pt x="1892655" y="1100861"/>
                      </a:lnTo>
                      <a:lnTo>
                        <a:pt x="1892147" y="1100861"/>
                      </a:lnTo>
                      <a:lnTo>
                        <a:pt x="1891855" y="1102131"/>
                      </a:lnTo>
                      <a:lnTo>
                        <a:pt x="1889252" y="1102131"/>
                      </a:lnTo>
                      <a:lnTo>
                        <a:pt x="1888642" y="1100861"/>
                      </a:lnTo>
                      <a:lnTo>
                        <a:pt x="1888134" y="1099591"/>
                      </a:lnTo>
                      <a:lnTo>
                        <a:pt x="1885480" y="1099591"/>
                      </a:lnTo>
                      <a:lnTo>
                        <a:pt x="1886966" y="1094511"/>
                      </a:lnTo>
                      <a:lnTo>
                        <a:pt x="1885569" y="1090701"/>
                      </a:lnTo>
                      <a:lnTo>
                        <a:pt x="1885162" y="1088161"/>
                      </a:lnTo>
                      <a:lnTo>
                        <a:pt x="1884807" y="1086891"/>
                      </a:lnTo>
                      <a:lnTo>
                        <a:pt x="1883689" y="1085621"/>
                      </a:lnTo>
                      <a:lnTo>
                        <a:pt x="1882990" y="1085621"/>
                      </a:lnTo>
                      <a:lnTo>
                        <a:pt x="1881403" y="1084351"/>
                      </a:lnTo>
                      <a:lnTo>
                        <a:pt x="1881174" y="1084351"/>
                      </a:lnTo>
                      <a:lnTo>
                        <a:pt x="1880933" y="1083081"/>
                      </a:lnTo>
                      <a:lnTo>
                        <a:pt x="1878533" y="1083081"/>
                      </a:lnTo>
                      <a:lnTo>
                        <a:pt x="1878037" y="1084351"/>
                      </a:lnTo>
                      <a:lnTo>
                        <a:pt x="1869935" y="1084351"/>
                      </a:lnTo>
                      <a:lnTo>
                        <a:pt x="1869440" y="1085621"/>
                      </a:lnTo>
                      <a:lnTo>
                        <a:pt x="1868297" y="1085621"/>
                      </a:lnTo>
                      <a:lnTo>
                        <a:pt x="1869313" y="1084351"/>
                      </a:lnTo>
                      <a:lnTo>
                        <a:pt x="1869795" y="1084351"/>
                      </a:lnTo>
                      <a:lnTo>
                        <a:pt x="1870011" y="1083081"/>
                      </a:lnTo>
                      <a:lnTo>
                        <a:pt x="1870252" y="1083081"/>
                      </a:lnTo>
                      <a:lnTo>
                        <a:pt x="1870608" y="1081811"/>
                      </a:lnTo>
                      <a:lnTo>
                        <a:pt x="1869935" y="1079271"/>
                      </a:lnTo>
                      <a:lnTo>
                        <a:pt x="1869719" y="1079271"/>
                      </a:lnTo>
                      <a:lnTo>
                        <a:pt x="1869224" y="1078001"/>
                      </a:lnTo>
                      <a:lnTo>
                        <a:pt x="1869173" y="1076731"/>
                      </a:lnTo>
                      <a:lnTo>
                        <a:pt x="1868512" y="1075461"/>
                      </a:lnTo>
                      <a:lnTo>
                        <a:pt x="1866265" y="1075461"/>
                      </a:lnTo>
                      <a:lnTo>
                        <a:pt x="1865439" y="1074191"/>
                      </a:lnTo>
                      <a:lnTo>
                        <a:pt x="1863255" y="1069111"/>
                      </a:lnTo>
                      <a:lnTo>
                        <a:pt x="1861400" y="1065301"/>
                      </a:lnTo>
                      <a:lnTo>
                        <a:pt x="1860384" y="1062761"/>
                      </a:lnTo>
                      <a:lnTo>
                        <a:pt x="1859000" y="1062761"/>
                      </a:lnTo>
                      <a:lnTo>
                        <a:pt x="1858467" y="1061491"/>
                      </a:lnTo>
                      <a:lnTo>
                        <a:pt x="1856994" y="1062761"/>
                      </a:lnTo>
                      <a:lnTo>
                        <a:pt x="1853082" y="1062761"/>
                      </a:lnTo>
                      <a:lnTo>
                        <a:pt x="1847811" y="1064031"/>
                      </a:lnTo>
                      <a:lnTo>
                        <a:pt x="1840484" y="1064031"/>
                      </a:lnTo>
                      <a:lnTo>
                        <a:pt x="1839099" y="1066571"/>
                      </a:lnTo>
                      <a:lnTo>
                        <a:pt x="1838159" y="1067841"/>
                      </a:lnTo>
                      <a:lnTo>
                        <a:pt x="1837982" y="1069111"/>
                      </a:lnTo>
                      <a:lnTo>
                        <a:pt x="1837232" y="1069111"/>
                      </a:lnTo>
                      <a:lnTo>
                        <a:pt x="1836686" y="1070381"/>
                      </a:lnTo>
                      <a:lnTo>
                        <a:pt x="1835581" y="1071651"/>
                      </a:lnTo>
                      <a:lnTo>
                        <a:pt x="1833765" y="1074191"/>
                      </a:lnTo>
                      <a:lnTo>
                        <a:pt x="1829269" y="1074191"/>
                      </a:lnTo>
                      <a:lnTo>
                        <a:pt x="1828952" y="1075461"/>
                      </a:lnTo>
                      <a:lnTo>
                        <a:pt x="1829079" y="1078001"/>
                      </a:lnTo>
                      <a:lnTo>
                        <a:pt x="1832610" y="1078001"/>
                      </a:lnTo>
                      <a:lnTo>
                        <a:pt x="1833435" y="1076731"/>
                      </a:lnTo>
                      <a:lnTo>
                        <a:pt x="1834502" y="1076731"/>
                      </a:lnTo>
                      <a:lnTo>
                        <a:pt x="1837651" y="1072921"/>
                      </a:lnTo>
                      <a:lnTo>
                        <a:pt x="1839887" y="1070381"/>
                      </a:lnTo>
                      <a:lnTo>
                        <a:pt x="1841855" y="1065301"/>
                      </a:lnTo>
                      <a:lnTo>
                        <a:pt x="1844586" y="1065301"/>
                      </a:lnTo>
                      <a:lnTo>
                        <a:pt x="1844827" y="1065301"/>
                      </a:lnTo>
                      <a:lnTo>
                        <a:pt x="1845716" y="1066571"/>
                      </a:lnTo>
                      <a:lnTo>
                        <a:pt x="1848091" y="1066571"/>
                      </a:lnTo>
                      <a:lnTo>
                        <a:pt x="1851710" y="1065301"/>
                      </a:lnTo>
                      <a:lnTo>
                        <a:pt x="1855165" y="1064031"/>
                      </a:lnTo>
                      <a:lnTo>
                        <a:pt x="1858657" y="1064031"/>
                      </a:lnTo>
                      <a:lnTo>
                        <a:pt x="1859546" y="1066571"/>
                      </a:lnTo>
                      <a:lnTo>
                        <a:pt x="1861362" y="1069111"/>
                      </a:lnTo>
                      <a:lnTo>
                        <a:pt x="1863572" y="1074191"/>
                      </a:lnTo>
                      <a:lnTo>
                        <a:pt x="1864461" y="1075461"/>
                      </a:lnTo>
                      <a:lnTo>
                        <a:pt x="1864779" y="1076731"/>
                      </a:lnTo>
                      <a:lnTo>
                        <a:pt x="1865058" y="1076731"/>
                      </a:lnTo>
                      <a:lnTo>
                        <a:pt x="1865655" y="1078001"/>
                      </a:lnTo>
                      <a:lnTo>
                        <a:pt x="1867230" y="1078001"/>
                      </a:lnTo>
                      <a:lnTo>
                        <a:pt x="1867725" y="1079271"/>
                      </a:lnTo>
                      <a:lnTo>
                        <a:pt x="1868309" y="1081811"/>
                      </a:lnTo>
                      <a:lnTo>
                        <a:pt x="1867852" y="1081811"/>
                      </a:lnTo>
                      <a:lnTo>
                        <a:pt x="1863991" y="1090701"/>
                      </a:lnTo>
                      <a:lnTo>
                        <a:pt x="1867484" y="1088161"/>
                      </a:lnTo>
                      <a:lnTo>
                        <a:pt x="1869033" y="1088161"/>
                      </a:lnTo>
                      <a:lnTo>
                        <a:pt x="1870671" y="1086891"/>
                      </a:lnTo>
                      <a:lnTo>
                        <a:pt x="1871383" y="1086891"/>
                      </a:lnTo>
                      <a:lnTo>
                        <a:pt x="1871281" y="1088161"/>
                      </a:lnTo>
                      <a:lnTo>
                        <a:pt x="1871129" y="1088161"/>
                      </a:lnTo>
                      <a:lnTo>
                        <a:pt x="1868792" y="1089431"/>
                      </a:lnTo>
                      <a:lnTo>
                        <a:pt x="1868043" y="1089431"/>
                      </a:lnTo>
                      <a:lnTo>
                        <a:pt x="1867103" y="1090701"/>
                      </a:lnTo>
                      <a:lnTo>
                        <a:pt x="1866607" y="1094511"/>
                      </a:lnTo>
                      <a:lnTo>
                        <a:pt x="1865287" y="1097051"/>
                      </a:lnTo>
                      <a:lnTo>
                        <a:pt x="1860753" y="1099591"/>
                      </a:lnTo>
                      <a:lnTo>
                        <a:pt x="1860169" y="1100861"/>
                      </a:lnTo>
                      <a:lnTo>
                        <a:pt x="1859127" y="1100861"/>
                      </a:lnTo>
                      <a:lnTo>
                        <a:pt x="1858124" y="1102131"/>
                      </a:lnTo>
                      <a:lnTo>
                        <a:pt x="1856930" y="1103401"/>
                      </a:lnTo>
                      <a:lnTo>
                        <a:pt x="1855431" y="1105941"/>
                      </a:lnTo>
                      <a:lnTo>
                        <a:pt x="1854771" y="1105941"/>
                      </a:lnTo>
                      <a:lnTo>
                        <a:pt x="1853933" y="1107211"/>
                      </a:lnTo>
                      <a:lnTo>
                        <a:pt x="1855457" y="1108481"/>
                      </a:lnTo>
                      <a:lnTo>
                        <a:pt x="1856079" y="1108481"/>
                      </a:lnTo>
                      <a:lnTo>
                        <a:pt x="1856892" y="1107211"/>
                      </a:lnTo>
                      <a:lnTo>
                        <a:pt x="1857781" y="1105941"/>
                      </a:lnTo>
                      <a:lnTo>
                        <a:pt x="1858568" y="1104671"/>
                      </a:lnTo>
                      <a:lnTo>
                        <a:pt x="1859648" y="1103401"/>
                      </a:lnTo>
                      <a:lnTo>
                        <a:pt x="1860600" y="1103401"/>
                      </a:lnTo>
                      <a:lnTo>
                        <a:pt x="1861502" y="1102131"/>
                      </a:lnTo>
                      <a:lnTo>
                        <a:pt x="1861997" y="1102131"/>
                      </a:lnTo>
                      <a:lnTo>
                        <a:pt x="1866874" y="1098321"/>
                      </a:lnTo>
                      <a:lnTo>
                        <a:pt x="1868652" y="1095781"/>
                      </a:lnTo>
                      <a:lnTo>
                        <a:pt x="1869122" y="1091971"/>
                      </a:lnTo>
                      <a:lnTo>
                        <a:pt x="1869478" y="1091971"/>
                      </a:lnTo>
                      <a:lnTo>
                        <a:pt x="1869744" y="1090701"/>
                      </a:lnTo>
                      <a:lnTo>
                        <a:pt x="1872399" y="1090701"/>
                      </a:lnTo>
                      <a:lnTo>
                        <a:pt x="1873262" y="1089431"/>
                      </a:lnTo>
                      <a:lnTo>
                        <a:pt x="1873364" y="1088161"/>
                      </a:lnTo>
                      <a:lnTo>
                        <a:pt x="1873504" y="1086891"/>
                      </a:lnTo>
                      <a:lnTo>
                        <a:pt x="1873554" y="1085621"/>
                      </a:lnTo>
                      <a:lnTo>
                        <a:pt x="1879993" y="1085621"/>
                      </a:lnTo>
                      <a:lnTo>
                        <a:pt x="1881555" y="1086891"/>
                      </a:lnTo>
                      <a:lnTo>
                        <a:pt x="1882076" y="1086891"/>
                      </a:lnTo>
                      <a:lnTo>
                        <a:pt x="1882825" y="1088161"/>
                      </a:lnTo>
                      <a:lnTo>
                        <a:pt x="1883092" y="1089431"/>
                      </a:lnTo>
                      <a:lnTo>
                        <a:pt x="1884768" y="1094511"/>
                      </a:lnTo>
                      <a:lnTo>
                        <a:pt x="1881847" y="1103401"/>
                      </a:lnTo>
                      <a:lnTo>
                        <a:pt x="1885708" y="1100861"/>
                      </a:lnTo>
                      <a:lnTo>
                        <a:pt x="1886546" y="1102131"/>
                      </a:lnTo>
                      <a:lnTo>
                        <a:pt x="1887385" y="1102131"/>
                      </a:lnTo>
                      <a:lnTo>
                        <a:pt x="1888274" y="1104671"/>
                      </a:lnTo>
                      <a:lnTo>
                        <a:pt x="1889874" y="1104671"/>
                      </a:lnTo>
                      <a:lnTo>
                        <a:pt x="1893176" y="1103401"/>
                      </a:lnTo>
                      <a:lnTo>
                        <a:pt x="1893963" y="1102131"/>
                      </a:lnTo>
                      <a:lnTo>
                        <a:pt x="1894306" y="1102131"/>
                      </a:lnTo>
                      <a:lnTo>
                        <a:pt x="1894662" y="1100861"/>
                      </a:lnTo>
                      <a:lnTo>
                        <a:pt x="1895970" y="1098321"/>
                      </a:lnTo>
                      <a:lnTo>
                        <a:pt x="1897113" y="1098321"/>
                      </a:lnTo>
                      <a:lnTo>
                        <a:pt x="1897862" y="1099591"/>
                      </a:lnTo>
                      <a:lnTo>
                        <a:pt x="1900199" y="1105941"/>
                      </a:lnTo>
                      <a:lnTo>
                        <a:pt x="1900618" y="1108481"/>
                      </a:lnTo>
                      <a:lnTo>
                        <a:pt x="1894459" y="1113561"/>
                      </a:lnTo>
                      <a:lnTo>
                        <a:pt x="1896224" y="1114831"/>
                      </a:lnTo>
                      <a:lnTo>
                        <a:pt x="1899462" y="1117371"/>
                      </a:lnTo>
                      <a:lnTo>
                        <a:pt x="1905546" y="1117371"/>
                      </a:lnTo>
                      <a:lnTo>
                        <a:pt x="1906168" y="1118641"/>
                      </a:lnTo>
                      <a:lnTo>
                        <a:pt x="1908886" y="1119911"/>
                      </a:lnTo>
                      <a:lnTo>
                        <a:pt x="1909711" y="1121181"/>
                      </a:lnTo>
                      <a:lnTo>
                        <a:pt x="1911616" y="1122451"/>
                      </a:lnTo>
                      <a:lnTo>
                        <a:pt x="1912353" y="1124991"/>
                      </a:lnTo>
                      <a:lnTo>
                        <a:pt x="1912848" y="1130071"/>
                      </a:lnTo>
                      <a:lnTo>
                        <a:pt x="1909991" y="1137691"/>
                      </a:lnTo>
                      <a:lnTo>
                        <a:pt x="1909457" y="1138961"/>
                      </a:lnTo>
                      <a:lnTo>
                        <a:pt x="1909889" y="1140231"/>
                      </a:lnTo>
                      <a:lnTo>
                        <a:pt x="1910816" y="1144041"/>
                      </a:lnTo>
                      <a:lnTo>
                        <a:pt x="1910905" y="1145311"/>
                      </a:lnTo>
                      <a:lnTo>
                        <a:pt x="1912988" y="1144041"/>
                      </a:lnTo>
                      <a:lnTo>
                        <a:pt x="1911642" y="1138961"/>
                      </a:lnTo>
                      <a:lnTo>
                        <a:pt x="1914994" y="1130071"/>
                      </a:lnTo>
                      <a:lnTo>
                        <a:pt x="1914410" y="1123721"/>
                      </a:lnTo>
                      <a:lnTo>
                        <a:pt x="1913445" y="1121181"/>
                      </a:lnTo>
                      <a:lnTo>
                        <a:pt x="1911159" y="1119911"/>
                      </a:lnTo>
                      <a:lnTo>
                        <a:pt x="1910321" y="1118641"/>
                      </a:lnTo>
                      <a:lnTo>
                        <a:pt x="1908797" y="1117371"/>
                      </a:lnTo>
                      <a:lnTo>
                        <a:pt x="1907349" y="1116101"/>
                      </a:lnTo>
                      <a:lnTo>
                        <a:pt x="1906422" y="1116101"/>
                      </a:lnTo>
                      <a:lnTo>
                        <a:pt x="1904161" y="1114831"/>
                      </a:lnTo>
                      <a:lnTo>
                        <a:pt x="1900364" y="1114831"/>
                      </a:lnTo>
                      <a:lnTo>
                        <a:pt x="1898078" y="1113561"/>
                      </a:lnTo>
                      <a:lnTo>
                        <a:pt x="1898688" y="1112291"/>
                      </a:lnTo>
                      <a:lnTo>
                        <a:pt x="1899208" y="1112291"/>
                      </a:lnTo>
                      <a:lnTo>
                        <a:pt x="1899793" y="1111021"/>
                      </a:lnTo>
                      <a:lnTo>
                        <a:pt x="1900529" y="1109751"/>
                      </a:lnTo>
                      <a:lnTo>
                        <a:pt x="1900897" y="1109751"/>
                      </a:lnTo>
                      <a:lnTo>
                        <a:pt x="1901278" y="1108481"/>
                      </a:lnTo>
                      <a:lnTo>
                        <a:pt x="1901444" y="1108481"/>
                      </a:lnTo>
                      <a:lnTo>
                        <a:pt x="1901456" y="1107211"/>
                      </a:lnTo>
                      <a:lnTo>
                        <a:pt x="1901621" y="1107211"/>
                      </a:lnTo>
                      <a:lnTo>
                        <a:pt x="1901609" y="1105941"/>
                      </a:lnTo>
                      <a:lnTo>
                        <a:pt x="1901532" y="1104671"/>
                      </a:lnTo>
                      <a:lnTo>
                        <a:pt x="1901304" y="1103401"/>
                      </a:lnTo>
                      <a:lnTo>
                        <a:pt x="1901075" y="1103401"/>
                      </a:lnTo>
                      <a:lnTo>
                        <a:pt x="1900656" y="1102131"/>
                      </a:lnTo>
                      <a:lnTo>
                        <a:pt x="1899907" y="1099591"/>
                      </a:lnTo>
                      <a:lnTo>
                        <a:pt x="1902231" y="1099591"/>
                      </a:lnTo>
                      <a:lnTo>
                        <a:pt x="1904250" y="1098321"/>
                      </a:lnTo>
                      <a:lnTo>
                        <a:pt x="1904542" y="1097051"/>
                      </a:lnTo>
                      <a:lnTo>
                        <a:pt x="1904834" y="1095781"/>
                      </a:lnTo>
                      <a:lnTo>
                        <a:pt x="1905177" y="1093241"/>
                      </a:lnTo>
                      <a:lnTo>
                        <a:pt x="1905317" y="1093241"/>
                      </a:lnTo>
                      <a:lnTo>
                        <a:pt x="1907921" y="1094511"/>
                      </a:lnTo>
                      <a:lnTo>
                        <a:pt x="1907413" y="1093241"/>
                      </a:lnTo>
                      <a:lnTo>
                        <a:pt x="1905876" y="1089431"/>
                      </a:lnTo>
                      <a:lnTo>
                        <a:pt x="1904923" y="1088161"/>
                      </a:lnTo>
                      <a:lnTo>
                        <a:pt x="1902726" y="1088161"/>
                      </a:lnTo>
                      <a:lnTo>
                        <a:pt x="1902498" y="1086891"/>
                      </a:lnTo>
                      <a:lnTo>
                        <a:pt x="1902637" y="1086891"/>
                      </a:lnTo>
                      <a:lnTo>
                        <a:pt x="1902929" y="1085621"/>
                      </a:lnTo>
                      <a:lnTo>
                        <a:pt x="1904885" y="1085621"/>
                      </a:lnTo>
                      <a:lnTo>
                        <a:pt x="1905838" y="1086891"/>
                      </a:lnTo>
                      <a:lnTo>
                        <a:pt x="1906905" y="1086891"/>
                      </a:lnTo>
                      <a:lnTo>
                        <a:pt x="1907425" y="1085621"/>
                      </a:lnTo>
                      <a:lnTo>
                        <a:pt x="1907387" y="1086891"/>
                      </a:lnTo>
                      <a:lnTo>
                        <a:pt x="1907641" y="1086891"/>
                      </a:lnTo>
                      <a:lnTo>
                        <a:pt x="1909292" y="1088161"/>
                      </a:lnTo>
                      <a:lnTo>
                        <a:pt x="1910308" y="1088161"/>
                      </a:lnTo>
                      <a:lnTo>
                        <a:pt x="1911184" y="1086891"/>
                      </a:lnTo>
                      <a:lnTo>
                        <a:pt x="1910194" y="1083081"/>
                      </a:lnTo>
                      <a:lnTo>
                        <a:pt x="1909432" y="1081811"/>
                      </a:lnTo>
                      <a:lnTo>
                        <a:pt x="1907819" y="1080541"/>
                      </a:lnTo>
                      <a:lnTo>
                        <a:pt x="1907171" y="1080541"/>
                      </a:lnTo>
                      <a:lnTo>
                        <a:pt x="1907400" y="1079271"/>
                      </a:lnTo>
                      <a:lnTo>
                        <a:pt x="1908543" y="1078001"/>
                      </a:lnTo>
                      <a:lnTo>
                        <a:pt x="1910143" y="1076731"/>
                      </a:lnTo>
                      <a:lnTo>
                        <a:pt x="1908302" y="1072921"/>
                      </a:lnTo>
                      <a:lnTo>
                        <a:pt x="1908327" y="1070381"/>
                      </a:lnTo>
                      <a:lnTo>
                        <a:pt x="1904771" y="1070381"/>
                      </a:lnTo>
                      <a:lnTo>
                        <a:pt x="1904403" y="1069111"/>
                      </a:lnTo>
                      <a:lnTo>
                        <a:pt x="1904123" y="1069111"/>
                      </a:lnTo>
                      <a:lnTo>
                        <a:pt x="1903971" y="1067841"/>
                      </a:lnTo>
                      <a:lnTo>
                        <a:pt x="1903831" y="1065301"/>
                      </a:lnTo>
                      <a:lnTo>
                        <a:pt x="1904288" y="1064031"/>
                      </a:lnTo>
                      <a:lnTo>
                        <a:pt x="1904479" y="1062761"/>
                      </a:lnTo>
                      <a:lnTo>
                        <a:pt x="1905330" y="1062761"/>
                      </a:lnTo>
                      <a:lnTo>
                        <a:pt x="1908594" y="1060221"/>
                      </a:lnTo>
                      <a:lnTo>
                        <a:pt x="1908962" y="1060221"/>
                      </a:lnTo>
                      <a:lnTo>
                        <a:pt x="1909191" y="1058951"/>
                      </a:lnTo>
                      <a:lnTo>
                        <a:pt x="1909775" y="1058951"/>
                      </a:lnTo>
                      <a:lnTo>
                        <a:pt x="1909978" y="1057681"/>
                      </a:lnTo>
                      <a:lnTo>
                        <a:pt x="1911299" y="1057681"/>
                      </a:lnTo>
                      <a:lnTo>
                        <a:pt x="1913242" y="1058951"/>
                      </a:lnTo>
                      <a:lnTo>
                        <a:pt x="1913369" y="1060221"/>
                      </a:lnTo>
                      <a:lnTo>
                        <a:pt x="1916061" y="1060221"/>
                      </a:lnTo>
                      <a:lnTo>
                        <a:pt x="1916836" y="1061491"/>
                      </a:lnTo>
                      <a:lnTo>
                        <a:pt x="1917776" y="1061491"/>
                      </a:lnTo>
                      <a:lnTo>
                        <a:pt x="1918766" y="1062761"/>
                      </a:lnTo>
                      <a:lnTo>
                        <a:pt x="1920024" y="1061491"/>
                      </a:lnTo>
                      <a:lnTo>
                        <a:pt x="1920532" y="1058951"/>
                      </a:lnTo>
                      <a:lnTo>
                        <a:pt x="1925472" y="1058951"/>
                      </a:lnTo>
                      <a:lnTo>
                        <a:pt x="1924862" y="1055141"/>
                      </a:lnTo>
                      <a:lnTo>
                        <a:pt x="1927034" y="1055141"/>
                      </a:lnTo>
                      <a:lnTo>
                        <a:pt x="1929168" y="1056411"/>
                      </a:lnTo>
                      <a:lnTo>
                        <a:pt x="1929257" y="1057681"/>
                      </a:lnTo>
                      <a:lnTo>
                        <a:pt x="1929460" y="1058951"/>
                      </a:lnTo>
                      <a:lnTo>
                        <a:pt x="1930361" y="1060221"/>
                      </a:lnTo>
                      <a:lnTo>
                        <a:pt x="1931162" y="1061491"/>
                      </a:lnTo>
                      <a:lnTo>
                        <a:pt x="1934857" y="1061491"/>
                      </a:lnTo>
                      <a:lnTo>
                        <a:pt x="1935492" y="1060221"/>
                      </a:lnTo>
                      <a:lnTo>
                        <a:pt x="1936026" y="1058951"/>
                      </a:lnTo>
                      <a:lnTo>
                        <a:pt x="1936788" y="1058951"/>
                      </a:lnTo>
                      <a:lnTo>
                        <a:pt x="1937473" y="1057681"/>
                      </a:lnTo>
                      <a:lnTo>
                        <a:pt x="1940826" y="1057681"/>
                      </a:lnTo>
                      <a:lnTo>
                        <a:pt x="1941334" y="1058951"/>
                      </a:lnTo>
                      <a:lnTo>
                        <a:pt x="1943354" y="1058951"/>
                      </a:lnTo>
                      <a:lnTo>
                        <a:pt x="1944458" y="1060221"/>
                      </a:lnTo>
                      <a:lnTo>
                        <a:pt x="1945970" y="1060221"/>
                      </a:lnTo>
                      <a:lnTo>
                        <a:pt x="1946224" y="1061491"/>
                      </a:lnTo>
                      <a:lnTo>
                        <a:pt x="1946681" y="1062761"/>
                      </a:lnTo>
                      <a:lnTo>
                        <a:pt x="1947418" y="1065314"/>
                      </a:lnTo>
                      <a:lnTo>
                        <a:pt x="1948408" y="1066571"/>
                      </a:lnTo>
                      <a:lnTo>
                        <a:pt x="1951215" y="1067841"/>
                      </a:lnTo>
                      <a:lnTo>
                        <a:pt x="1952409" y="1067841"/>
                      </a:lnTo>
                      <a:lnTo>
                        <a:pt x="1953044" y="1069111"/>
                      </a:lnTo>
                      <a:lnTo>
                        <a:pt x="1956257" y="1069111"/>
                      </a:lnTo>
                      <a:lnTo>
                        <a:pt x="1957476" y="1070381"/>
                      </a:lnTo>
                      <a:lnTo>
                        <a:pt x="1958416" y="1070381"/>
                      </a:lnTo>
                      <a:lnTo>
                        <a:pt x="1959978" y="1067841"/>
                      </a:lnTo>
                      <a:lnTo>
                        <a:pt x="1961857" y="1066571"/>
                      </a:lnTo>
                      <a:lnTo>
                        <a:pt x="1963813" y="1065301"/>
                      </a:lnTo>
                      <a:lnTo>
                        <a:pt x="1972881" y="1065301"/>
                      </a:lnTo>
                      <a:lnTo>
                        <a:pt x="1973135" y="1066571"/>
                      </a:lnTo>
                      <a:lnTo>
                        <a:pt x="1976450" y="1069111"/>
                      </a:lnTo>
                      <a:lnTo>
                        <a:pt x="1976767" y="1069111"/>
                      </a:lnTo>
                      <a:lnTo>
                        <a:pt x="1977224" y="1070381"/>
                      </a:lnTo>
                      <a:lnTo>
                        <a:pt x="1977910" y="1071651"/>
                      </a:lnTo>
                      <a:lnTo>
                        <a:pt x="1978342" y="1071651"/>
                      </a:lnTo>
                      <a:lnTo>
                        <a:pt x="1979333" y="1072921"/>
                      </a:lnTo>
                      <a:lnTo>
                        <a:pt x="1979498" y="1072921"/>
                      </a:lnTo>
                      <a:lnTo>
                        <a:pt x="1979129" y="1074191"/>
                      </a:lnTo>
                      <a:lnTo>
                        <a:pt x="1978926" y="1075461"/>
                      </a:lnTo>
                      <a:lnTo>
                        <a:pt x="1978926" y="1076731"/>
                      </a:lnTo>
                      <a:lnTo>
                        <a:pt x="1979053" y="1076731"/>
                      </a:lnTo>
                      <a:lnTo>
                        <a:pt x="1979193" y="1078001"/>
                      </a:lnTo>
                      <a:lnTo>
                        <a:pt x="1982711" y="1089431"/>
                      </a:lnTo>
                      <a:lnTo>
                        <a:pt x="1980895" y="1090701"/>
                      </a:lnTo>
                      <a:lnTo>
                        <a:pt x="1980222" y="1091971"/>
                      </a:lnTo>
                      <a:lnTo>
                        <a:pt x="1978990" y="1093241"/>
                      </a:lnTo>
                      <a:lnTo>
                        <a:pt x="1978494" y="1094511"/>
                      </a:lnTo>
                      <a:lnTo>
                        <a:pt x="1977212" y="1095781"/>
                      </a:lnTo>
                      <a:lnTo>
                        <a:pt x="1976183" y="1099591"/>
                      </a:lnTo>
                      <a:lnTo>
                        <a:pt x="1975713" y="1100861"/>
                      </a:lnTo>
                      <a:lnTo>
                        <a:pt x="1972157" y="1108481"/>
                      </a:lnTo>
                      <a:lnTo>
                        <a:pt x="1973491" y="1121181"/>
                      </a:lnTo>
                      <a:lnTo>
                        <a:pt x="1975573" y="1124991"/>
                      </a:lnTo>
                      <a:lnTo>
                        <a:pt x="1976183" y="1126261"/>
                      </a:lnTo>
                      <a:lnTo>
                        <a:pt x="1976767" y="1126261"/>
                      </a:lnTo>
                      <a:lnTo>
                        <a:pt x="1977440" y="1127531"/>
                      </a:lnTo>
                      <a:lnTo>
                        <a:pt x="1978787" y="1128801"/>
                      </a:lnTo>
                      <a:lnTo>
                        <a:pt x="1979104" y="1130071"/>
                      </a:lnTo>
                      <a:lnTo>
                        <a:pt x="1979028" y="1132611"/>
                      </a:lnTo>
                      <a:lnTo>
                        <a:pt x="1975319" y="1132611"/>
                      </a:lnTo>
                      <a:lnTo>
                        <a:pt x="1974913" y="1135151"/>
                      </a:lnTo>
                      <a:lnTo>
                        <a:pt x="1980704" y="1135151"/>
                      </a:lnTo>
                      <a:lnTo>
                        <a:pt x="1981238" y="1133881"/>
                      </a:lnTo>
                      <a:lnTo>
                        <a:pt x="1981657" y="1133881"/>
                      </a:lnTo>
                      <a:lnTo>
                        <a:pt x="1981136" y="1131341"/>
                      </a:lnTo>
                      <a:lnTo>
                        <a:pt x="1981161" y="1128801"/>
                      </a:lnTo>
                      <a:lnTo>
                        <a:pt x="1980730" y="1127531"/>
                      </a:lnTo>
                      <a:lnTo>
                        <a:pt x="1978126" y="1124991"/>
                      </a:lnTo>
                      <a:lnTo>
                        <a:pt x="1977428" y="1123721"/>
                      </a:lnTo>
                      <a:lnTo>
                        <a:pt x="1977097" y="1123721"/>
                      </a:lnTo>
                      <a:lnTo>
                        <a:pt x="1975561" y="1119911"/>
                      </a:lnTo>
                      <a:lnTo>
                        <a:pt x="1974329" y="1109751"/>
                      </a:lnTo>
                      <a:lnTo>
                        <a:pt x="1977694" y="1102131"/>
                      </a:lnTo>
                      <a:lnTo>
                        <a:pt x="1978202" y="1100861"/>
                      </a:lnTo>
                      <a:lnTo>
                        <a:pt x="1979142" y="1097051"/>
                      </a:lnTo>
                      <a:lnTo>
                        <a:pt x="1980145" y="1095781"/>
                      </a:lnTo>
                      <a:lnTo>
                        <a:pt x="1981098" y="1094511"/>
                      </a:lnTo>
                      <a:lnTo>
                        <a:pt x="1981962" y="1093241"/>
                      </a:lnTo>
                      <a:lnTo>
                        <a:pt x="1982584" y="1091971"/>
                      </a:lnTo>
                      <a:lnTo>
                        <a:pt x="1984933" y="1089431"/>
                      </a:lnTo>
                      <a:lnTo>
                        <a:pt x="1984806" y="1088161"/>
                      </a:lnTo>
                      <a:lnTo>
                        <a:pt x="1984006" y="1083081"/>
                      </a:lnTo>
                      <a:lnTo>
                        <a:pt x="1983574" y="1081811"/>
                      </a:lnTo>
                      <a:lnTo>
                        <a:pt x="1982863" y="1080541"/>
                      </a:lnTo>
                      <a:lnTo>
                        <a:pt x="1981428" y="1076731"/>
                      </a:lnTo>
                      <a:lnTo>
                        <a:pt x="1981060" y="1076731"/>
                      </a:lnTo>
                      <a:lnTo>
                        <a:pt x="1981022" y="1075461"/>
                      </a:lnTo>
                      <a:lnTo>
                        <a:pt x="1981250" y="1074191"/>
                      </a:lnTo>
                      <a:lnTo>
                        <a:pt x="1982000" y="1071651"/>
                      </a:lnTo>
                      <a:lnTo>
                        <a:pt x="1982152" y="1070381"/>
                      </a:lnTo>
                      <a:lnTo>
                        <a:pt x="1982622" y="1067841"/>
                      </a:lnTo>
                      <a:lnTo>
                        <a:pt x="1982101" y="1067841"/>
                      </a:lnTo>
                      <a:lnTo>
                        <a:pt x="1982101" y="1062761"/>
                      </a:lnTo>
                      <a:lnTo>
                        <a:pt x="1980933" y="1067841"/>
                      </a:lnTo>
                      <a:lnTo>
                        <a:pt x="1980666" y="1066571"/>
                      </a:lnTo>
                      <a:lnTo>
                        <a:pt x="1980552" y="1065301"/>
                      </a:lnTo>
                      <a:lnTo>
                        <a:pt x="1981022" y="1061491"/>
                      </a:lnTo>
                      <a:lnTo>
                        <a:pt x="1978482" y="1052601"/>
                      </a:lnTo>
                      <a:lnTo>
                        <a:pt x="1979625" y="1050061"/>
                      </a:lnTo>
                      <a:lnTo>
                        <a:pt x="2013089" y="1050061"/>
                      </a:lnTo>
                      <a:lnTo>
                        <a:pt x="2013343" y="1048791"/>
                      </a:lnTo>
                      <a:lnTo>
                        <a:pt x="2014080" y="1048791"/>
                      </a:lnTo>
                      <a:lnTo>
                        <a:pt x="2015528" y="1047521"/>
                      </a:lnTo>
                      <a:lnTo>
                        <a:pt x="2017115" y="1047521"/>
                      </a:lnTo>
                      <a:lnTo>
                        <a:pt x="2018563" y="1048791"/>
                      </a:lnTo>
                      <a:lnTo>
                        <a:pt x="2018157" y="1050061"/>
                      </a:lnTo>
                      <a:lnTo>
                        <a:pt x="2016836" y="1052601"/>
                      </a:lnTo>
                      <a:lnTo>
                        <a:pt x="2019071" y="1055141"/>
                      </a:lnTo>
                      <a:lnTo>
                        <a:pt x="2024710" y="1060221"/>
                      </a:lnTo>
                      <a:lnTo>
                        <a:pt x="2024367" y="1061491"/>
                      </a:lnTo>
                      <a:lnTo>
                        <a:pt x="2023173" y="1065314"/>
                      </a:lnTo>
                      <a:lnTo>
                        <a:pt x="2021840" y="1067841"/>
                      </a:lnTo>
                      <a:lnTo>
                        <a:pt x="2022665" y="1069111"/>
                      </a:lnTo>
                      <a:lnTo>
                        <a:pt x="2022284" y="1070381"/>
                      </a:lnTo>
                      <a:lnTo>
                        <a:pt x="2021954" y="1070381"/>
                      </a:lnTo>
                      <a:lnTo>
                        <a:pt x="2021928" y="1071651"/>
                      </a:lnTo>
                      <a:lnTo>
                        <a:pt x="2022068" y="1071651"/>
                      </a:lnTo>
                      <a:lnTo>
                        <a:pt x="2023071" y="1072921"/>
                      </a:lnTo>
                      <a:lnTo>
                        <a:pt x="2023897" y="1072921"/>
                      </a:lnTo>
                      <a:lnTo>
                        <a:pt x="2024405" y="1074191"/>
                      </a:lnTo>
                      <a:lnTo>
                        <a:pt x="2025523" y="1079271"/>
                      </a:lnTo>
                      <a:lnTo>
                        <a:pt x="2023452" y="1080541"/>
                      </a:lnTo>
                      <a:lnTo>
                        <a:pt x="2024938" y="1083081"/>
                      </a:lnTo>
                      <a:lnTo>
                        <a:pt x="2027516" y="1085621"/>
                      </a:lnTo>
                      <a:lnTo>
                        <a:pt x="2028647" y="1086891"/>
                      </a:lnTo>
                      <a:lnTo>
                        <a:pt x="2027262" y="1089431"/>
                      </a:lnTo>
                      <a:lnTo>
                        <a:pt x="2027059" y="1090701"/>
                      </a:lnTo>
                      <a:lnTo>
                        <a:pt x="2027339" y="1093241"/>
                      </a:lnTo>
                      <a:lnTo>
                        <a:pt x="2027097" y="1094511"/>
                      </a:lnTo>
                      <a:lnTo>
                        <a:pt x="2026208" y="1097051"/>
                      </a:lnTo>
                      <a:lnTo>
                        <a:pt x="2026043" y="1097051"/>
                      </a:lnTo>
                      <a:lnTo>
                        <a:pt x="2025815" y="1098321"/>
                      </a:lnTo>
                      <a:lnTo>
                        <a:pt x="2025675" y="1099591"/>
                      </a:lnTo>
                      <a:lnTo>
                        <a:pt x="2026145" y="1100861"/>
                      </a:lnTo>
                      <a:lnTo>
                        <a:pt x="2027859" y="1102131"/>
                      </a:lnTo>
                      <a:lnTo>
                        <a:pt x="2027872" y="1100861"/>
                      </a:lnTo>
                      <a:lnTo>
                        <a:pt x="2027961" y="1102131"/>
                      </a:lnTo>
                      <a:lnTo>
                        <a:pt x="2027008" y="1104671"/>
                      </a:lnTo>
                      <a:lnTo>
                        <a:pt x="2026932" y="1105941"/>
                      </a:lnTo>
                      <a:lnTo>
                        <a:pt x="2025497" y="1105941"/>
                      </a:lnTo>
                      <a:lnTo>
                        <a:pt x="2027567" y="1112291"/>
                      </a:lnTo>
                      <a:lnTo>
                        <a:pt x="2029714" y="1114831"/>
                      </a:lnTo>
                      <a:lnTo>
                        <a:pt x="2033727" y="1118641"/>
                      </a:lnTo>
                      <a:lnTo>
                        <a:pt x="2035225" y="1119911"/>
                      </a:lnTo>
                      <a:lnTo>
                        <a:pt x="2036597" y="1119911"/>
                      </a:lnTo>
                      <a:lnTo>
                        <a:pt x="2037130" y="1118641"/>
                      </a:lnTo>
                      <a:lnTo>
                        <a:pt x="2036292" y="1117371"/>
                      </a:lnTo>
                      <a:lnTo>
                        <a:pt x="2035022" y="1117371"/>
                      </a:lnTo>
                      <a:lnTo>
                        <a:pt x="2031631" y="1113561"/>
                      </a:lnTo>
                      <a:lnTo>
                        <a:pt x="2029739" y="1111021"/>
                      </a:lnTo>
                      <a:lnTo>
                        <a:pt x="2028266" y="1107211"/>
                      </a:lnTo>
                      <a:lnTo>
                        <a:pt x="2028647" y="1107211"/>
                      </a:lnTo>
                      <a:lnTo>
                        <a:pt x="2028825" y="1105941"/>
                      </a:lnTo>
                      <a:lnTo>
                        <a:pt x="2029117" y="1105941"/>
                      </a:lnTo>
                      <a:lnTo>
                        <a:pt x="2029866" y="1103401"/>
                      </a:lnTo>
                      <a:lnTo>
                        <a:pt x="2030209" y="1102131"/>
                      </a:lnTo>
                      <a:lnTo>
                        <a:pt x="2029879" y="1100861"/>
                      </a:lnTo>
                      <a:lnTo>
                        <a:pt x="2029548" y="1099591"/>
                      </a:lnTo>
                      <a:lnTo>
                        <a:pt x="2027859" y="1099591"/>
                      </a:lnTo>
                      <a:lnTo>
                        <a:pt x="2027910" y="1098321"/>
                      </a:lnTo>
                      <a:lnTo>
                        <a:pt x="2028253" y="1098321"/>
                      </a:lnTo>
                      <a:lnTo>
                        <a:pt x="2029206" y="1095781"/>
                      </a:lnTo>
                      <a:lnTo>
                        <a:pt x="2029472" y="1093241"/>
                      </a:lnTo>
                      <a:lnTo>
                        <a:pt x="2029206" y="1090701"/>
                      </a:lnTo>
                      <a:lnTo>
                        <a:pt x="2029320" y="1089431"/>
                      </a:lnTo>
                      <a:lnTo>
                        <a:pt x="2031212" y="1086891"/>
                      </a:lnTo>
                      <a:lnTo>
                        <a:pt x="2029079" y="1084351"/>
                      </a:lnTo>
                      <a:lnTo>
                        <a:pt x="2027034" y="1081811"/>
                      </a:lnTo>
                      <a:lnTo>
                        <a:pt x="2026539" y="1081811"/>
                      </a:lnTo>
                      <a:lnTo>
                        <a:pt x="2027275" y="1080541"/>
                      </a:lnTo>
                      <a:lnTo>
                        <a:pt x="2027758" y="1080541"/>
                      </a:lnTo>
                      <a:lnTo>
                        <a:pt x="2027631" y="1078001"/>
                      </a:lnTo>
                      <a:lnTo>
                        <a:pt x="2027021" y="1076731"/>
                      </a:lnTo>
                      <a:lnTo>
                        <a:pt x="2026158" y="1072921"/>
                      </a:lnTo>
                      <a:lnTo>
                        <a:pt x="2025840" y="1071651"/>
                      </a:lnTo>
                      <a:lnTo>
                        <a:pt x="2025383" y="1070381"/>
                      </a:lnTo>
                      <a:lnTo>
                        <a:pt x="2027745" y="1067841"/>
                      </a:lnTo>
                      <a:lnTo>
                        <a:pt x="2024291" y="1067841"/>
                      </a:lnTo>
                      <a:lnTo>
                        <a:pt x="2025256" y="1065301"/>
                      </a:lnTo>
                      <a:lnTo>
                        <a:pt x="2027491" y="1060221"/>
                      </a:lnTo>
                      <a:lnTo>
                        <a:pt x="2019350" y="1052601"/>
                      </a:lnTo>
                      <a:lnTo>
                        <a:pt x="2020417" y="1050061"/>
                      </a:lnTo>
                      <a:lnTo>
                        <a:pt x="2020671" y="1048791"/>
                      </a:lnTo>
                      <a:lnTo>
                        <a:pt x="2023491" y="1048791"/>
                      </a:lnTo>
                      <a:lnTo>
                        <a:pt x="2026272" y="1050061"/>
                      </a:lnTo>
                      <a:lnTo>
                        <a:pt x="2031225" y="1050061"/>
                      </a:lnTo>
                      <a:lnTo>
                        <a:pt x="2030437" y="1051331"/>
                      </a:lnTo>
                      <a:lnTo>
                        <a:pt x="2030133" y="1052601"/>
                      </a:lnTo>
                      <a:lnTo>
                        <a:pt x="2029955" y="1053871"/>
                      </a:lnTo>
                      <a:lnTo>
                        <a:pt x="2029929" y="1056411"/>
                      </a:lnTo>
                      <a:lnTo>
                        <a:pt x="2030133" y="1057681"/>
                      </a:lnTo>
                      <a:lnTo>
                        <a:pt x="2030780" y="1058951"/>
                      </a:lnTo>
                      <a:lnTo>
                        <a:pt x="2033003" y="1060221"/>
                      </a:lnTo>
                      <a:lnTo>
                        <a:pt x="2036978" y="1062761"/>
                      </a:lnTo>
                      <a:lnTo>
                        <a:pt x="2037422" y="1064031"/>
                      </a:lnTo>
                      <a:lnTo>
                        <a:pt x="2038375" y="1064031"/>
                      </a:lnTo>
                      <a:lnTo>
                        <a:pt x="2038362" y="1070381"/>
                      </a:lnTo>
                      <a:lnTo>
                        <a:pt x="2038502" y="1071651"/>
                      </a:lnTo>
                      <a:lnTo>
                        <a:pt x="2038527" y="1072921"/>
                      </a:lnTo>
                      <a:lnTo>
                        <a:pt x="2039023" y="1072921"/>
                      </a:lnTo>
                      <a:lnTo>
                        <a:pt x="2039391" y="1074191"/>
                      </a:lnTo>
                      <a:lnTo>
                        <a:pt x="2039683" y="1074191"/>
                      </a:lnTo>
                      <a:lnTo>
                        <a:pt x="2041067" y="1075461"/>
                      </a:lnTo>
                      <a:lnTo>
                        <a:pt x="2042185" y="1078001"/>
                      </a:lnTo>
                      <a:lnTo>
                        <a:pt x="2041956" y="1080541"/>
                      </a:lnTo>
                      <a:lnTo>
                        <a:pt x="2041829" y="1088161"/>
                      </a:lnTo>
                      <a:lnTo>
                        <a:pt x="2042210" y="1093241"/>
                      </a:lnTo>
                      <a:lnTo>
                        <a:pt x="2042287" y="1097051"/>
                      </a:lnTo>
                      <a:lnTo>
                        <a:pt x="2041969" y="1100861"/>
                      </a:lnTo>
                      <a:lnTo>
                        <a:pt x="2041194" y="1105941"/>
                      </a:lnTo>
                      <a:lnTo>
                        <a:pt x="2041448" y="1108481"/>
                      </a:lnTo>
                      <a:lnTo>
                        <a:pt x="2041474" y="1109751"/>
                      </a:lnTo>
                      <a:lnTo>
                        <a:pt x="2041309" y="1109751"/>
                      </a:lnTo>
                      <a:lnTo>
                        <a:pt x="2041296" y="1111021"/>
                      </a:lnTo>
                      <a:lnTo>
                        <a:pt x="2041766" y="1112291"/>
                      </a:lnTo>
                      <a:lnTo>
                        <a:pt x="2043341" y="1114831"/>
                      </a:lnTo>
                      <a:lnTo>
                        <a:pt x="2043772" y="1116101"/>
                      </a:lnTo>
                      <a:lnTo>
                        <a:pt x="2044738" y="1114831"/>
                      </a:lnTo>
                      <a:lnTo>
                        <a:pt x="2043887" y="1116101"/>
                      </a:lnTo>
                      <a:lnTo>
                        <a:pt x="2042388" y="1117371"/>
                      </a:lnTo>
                      <a:lnTo>
                        <a:pt x="2043569" y="1118641"/>
                      </a:lnTo>
                      <a:lnTo>
                        <a:pt x="2045423" y="1117371"/>
                      </a:lnTo>
                      <a:lnTo>
                        <a:pt x="2045982" y="1117371"/>
                      </a:lnTo>
                      <a:lnTo>
                        <a:pt x="2046516" y="1116101"/>
                      </a:lnTo>
                      <a:lnTo>
                        <a:pt x="2045881" y="1114831"/>
                      </a:lnTo>
                      <a:lnTo>
                        <a:pt x="2045195" y="1113561"/>
                      </a:lnTo>
                      <a:lnTo>
                        <a:pt x="2043430" y="1111021"/>
                      </a:lnTo>
                      <a:lnTo>
                        <a:pt x="2043442" y="1109751"/>
                      </a:lnTo>
                      <a:lnTo>
                        <a:pt x="2043607" y="1109751"/>
                      </a:lnTo>
                      <a:lnTo>
                        <a:pt x="2043569" y="1108481"/>
                      </a:lnTo>
                      <a:lnTo>
                        <a:pt x="2043328" y="1105941"/>
                      </a:lnTo>
                      <a:lnTo>
                        <a:pt x="2044090" y="1100861"/>
                      </a:lnTo>
                      <a:lnTo>
                        <a:pt x="2044420" y="1097051"/>
                      </a:lnTo>
                      <a:lnTo>
                        <a:pt x="2044344" y="1093241"/>
                      </a:lnTo>
                      <a:lnTo>
                        <a:pt x="2043950" y="1088161"/>
                      </a:lnTo>
                      <a:lnTo>
                        <a:pt x="2044014" y="1081811"/>
                      </a:lnTo>
                      <a:lnTo>
                        <a:pt x="2044344" y="1076731"/>
                      </a:lnTo>
                      <a:lnTo>
                        <a:pt x="2042807" y="1075461"/>
                      </a:lnTo>
                      <a:lnTo>
                        <a:pt x="2041359" y="1072921"/>
                      </a:lnTo>
                      <a:lnTo>
                        <a:pt x="2040890" y="1072921"/>
                      </a:lnTo>
                      <a:lnTo>
                        <a:pt x="2040623" y="1071651"/>
                      </a:lnTo>
                      <a:lnTo>
                        <a:pt x="2040483" y="1070381"/>
                      </a:lnTo>
                      <a:lnTo>
                        <a:pt x="2040445" y="1062761"/>
                      </a:lnTo>
                      <a:lnTo>
                        <a:pt x="2039112" y="1062761"/>
                      </a:lnTo>
                      <a:lnTo>
                        <a:pt x="2038515" y="1061491"/>
                      </a:lnTo>
                      <a:lnTo>
                        <a:pt x="2037867" y="1061491"/>
                      </a:lnTo>
                      <a:lnTo>
                        <a:pt x="2034298" y="1058951"/>
                      </a:lnTo>
                      <a:lnTo>
                        <a:pt x="2032596" y="1057681"/>
                      </a:lnTo>
                      <a:lnTo>
                        <a:pt x="2032177" y="1056411"/>
                      </a:lnTo>
                      <a:lnTo>
                        <a:pt x="2032050" y="1055141"/>
                      </a:lnTo>
                      <a:lnTo>
                        <a:pt x="2032063" y="1053871"/>
                      </a:lnTo>
                      <a:lnTo>
                        <a:pt x="2032203" y="1052601"/>
                      </a:lnTo>
                      <a:lnTo>
                        <a:pt x="2032482" y="1052601"/>
                      </a:lnTo>
                      <a:lnTo>
                        <a:pt x="2033206" y="1050061"/>
                      </a:lnTo>
                      <a:lnTo>
                        <a:pt x="2033562" y="1050061"/>
                      </a:lnTo>
                      <a:lnTo>
                        <a:pt x="2034247" y="1048791"/>
                      </a:lnTo>
                      <a:lnTo>
                        <a:pt x="2037626" y="1048791"/>
                      </a:lnTo>
                      <a:lnTo>
                        <a:pt x="2036102" y="1047521"/>
                      </a:lnTo>
                      <a:lnTo>
                        <a:pt x="2036203" y="1046251"/>
                      </a:lnTo>
                      <a:lnTo>
                        <a:pt x="2036533" y="1046251"/>
                      </a:lnTo>
                      <a:lnTo>
                        <a:pt x="2037715" y="1044981"/>
                      </a:lnTo>
                      <a:lnTo>
                        <a:pt x="2038375" y="1044981"/>
                      </a:lnTo>
                      <a:lnTo>
                        <a:pt x="2039734" y="1043711"/>
                      </a:lnTo>
                      <a:lnTo>
                        <a:pt x="2040509" y="1043711"/>
                      </a:lnTo>
                      <a:lnTo>
                        <a:pt x="2041042" y="1042441"/>
                      </a:lnTo>
                      <a:lnTo>
                        <a:pt x="2042058" y="1043711"/>
                      </a:lnTo>
                      <a:lnTo>
                        <a:pt x="2049005" y="1043711"/>
                      </a:lnTo>
                      <a:lnTo>
                        <a:pt x="2049526" y="1042441"/>
                      </a:lnTo>
                      <a:lnTo>
                        <a:pt x="2050364" y="1042441"/>
                      </a:lnTo>
                      <a:lnTo>
                        <a:pt x="2051431" y="1041171"/>
                      </a:lnTo>
                      <a:lnTo>
                        <a:pt x="2054301" y="1038631"/>
                      </a:lnTo>
                      <a:lnTo>
                        <a:pt x="2054872" y="1037361"/>
                      </a:lnTo>
                      <a:lnTo>
                        <a:pt x="2054961" y="1036091"/>
                      </a:lnTo>
                      <a:lnTo>
                        <a:pt x="2055139" y="1036091"/>
                      </a:lnTo>
                      <a:lnTo>
                        <a:pt x="2055177" y="1034821"/>
                      </a:lnTo>
                      <a:lnTo>
                        <a:pt x="2054834" y="1034821"/>
                      </a:lnTo>
                      <a:lnTo>
                        <a:pt x="2054720" y="1032281"/>
                      </a:lnTo>
                      <a:lnTo>
                        <a:pt x="2054809" y="1031011"/>
                      </a:lnTo>
                      <a:lnTo>
                        <a:pt x="2057869" y="1031011"/>
                      </a:lnTo>
                      <a:lnTo>
                        <a:pt x="2059940" y="1029741"/>
                      </a:lnTo>
                      <a:lnTo>
                        <a:pt x="2065451" y="1036091"/>
                      </a:lnTo>
                      <a:lnTo>
                        <a:pt x="2069592" y="1038631"/>
                      </a:lnTo>
                      <a:lnTo>
                        <a:pt x="2069655" y="1039901"/>
                      </a:lnTo>
                      <a:lnTo>
                        <a:pt x="2069211" y="1041171"/>
                      </a:lnTo>
                      <a:lnTo>
                        <a:pt x="2068918" y="1041171"/>
                      </a:lnTo>
                      <a:lnTo>
                        <a:pt x="2068055" y="1043711"/>
                      </a:lnTo>
                      <a:lnTo>
                        <a:pt x="2071128" y="1046251"/>
                      </a:lnTo>
                      <a:lnTo>
                        <a:pt x="2071281" y="1046251"/>
                      </a:lnTo>
                      <a:lnTo>
                        <a:pt x="2071789" y="1047521"/>
                      </a:lnTo>
                      <a:lnTo>
                        <a:pt x="2072081" y="1047521"/>
                      </a:lnTo>
                      <a:lnTo>
                        <a:pt x="2072576" y="1050061"/>
                      </a:lnTo>
                      <a:lnTo>
                        <a:pt x="2072970" y="1051331"/>
                      </a:lnTo>
                      <a:lnTo>
                        <a:pt x="2073275" y="1052601"/>
                      </a:lnTo>
                      <a:lnTo>
                        <a:pt x="2073287" y="1053871"/>
                      </a:lnTo>
                      <a:lnTo>
                        <a:pt x="2073160" y="1053871"/>
                      </a:lnTo>
                      <a:lnTo>
                        <a:pt x="2071941" y="1055141"/>
                      </a:lnTo>
                      <a:lnTo>
                        <a:pt x="2070785" y="1056411"/>
                      </a:lnTo>
                      <a:lnTo>
                        <a:pt x="2070481" y="1057681"/>
                      </a:lnTo>
                      <a:lnTo>
                        <a:pt x="2070138" y="1057681"/>
                      </a:lnTo>
                      <a:lnTo>
                        <a:pt x="2069909" y="1060221"/>
                      </a:lnTo>
                      <a:lnTo>
                        <a:pt x="2070328" y="1061491"/>
                      </a:lnTo>
                      <a:lnTo>
                        <a:pt x="2065553" y="1067841"/>
                      </a:lnTo>
                      <a:lnTo>
                        <a:pt x="2065134" y="1069111"/>
                      </a:lnTo>
                      <a:lnTo>
                        <a:pt x="2064880" y="1070381"/>
                      </a:lnTo>
                      <a:lnTo>
                        <a:pt x="2064156" y="1071651"/>
                      </a:lnTo>
                      <a:lnTo>
                        <a:pt x="2063661" y="1072921"/>
                      </a:lnTo>
                      <a:lnTo>
                        <a:pt x="2062937" y="1075461"/>
                      </a:lnTo>
                      <a:lnTo>
                        <a:pt x="2059457" y="1075461"/>
                      </a:lnTo>
                      <a:lnTo>
                        <a:pt x="2057946" y="1076731"/>
                      </a:lnTo>
                      <a:lnTo>
                        <a:pt x="2057704" y="1078001"/>
                      </a:lnTo>
                      <a:lnTo>
                        <a:pt x="2057679" y="1081811"/>
                      </a:lnTo>
                      <a:lnTo>
                        <a:pt x="2057196" y="1088161"/>
                      </a:lnTo>
                      <a:lnTo>
                        <a:pt x="2056650" y="1091971"/>
                      </a:lnTo>
                      <a:lnTo>
                        <a:pt x="2056422" y="1093241"/>
                      </a:lnTo>
                      <a:lnTo>
                        <a:pt x="2057133" y="1094511"/>
                      </a:lnTo>
                      <a:lnTo>
                        <a:pt x="2057285" y="1095781"/>
                      </a:lnTo>
                      <a:lnTo>
                        <a:pt x="2057933" y="1100861"/>
                      </a:lnTo>
                      <a:lnTo>
                        <a:pt x="2057958" y="1104671"/>
                      </a:lnTo>
                      <a:lnTo>
                        <a:pt x="2057539" y="1107211"/>
                      </a:lnTo>
                      <a:lnTo>
                        <a:pt x="2058174" y="1109751"/>
                      </a:lnTo>
                      <a:lnTo>
                        <a:pt x="2057755" y="1112291"/>
                      </a:lnTo>
                      <a:lnTo>
                        <a:pt x="2057565" y="1113561"/>
                      </a:lnTo>
                      <a:lnTo>
                        <a:pt x="2057501" y="1116101"/>
                      </a:lnTo>
                      <a:lnTo>
                        <a:pt x="2059609" y="1116101"/>
                      </a:lnTo>
                      <a:lnTo>
                        <a:pt x="2059533" y="1114831"/>
                      </a:lnTo>
                      <a:lnTo>
                        <a:pt x="2060333" y="1109751"/>
                      </a:lnTo>
                      <a:lnTo>
                        <a:pt x="2059698" y="1107211"/>
                      </a:lnTo>
                      <a:lnTo>
                        <a:pt x="2060079" y="1104671"/>
                      </a:lnTo>
                      <a:lnTo>
                        <a:pt x="2060054" y="1100861"/>
                      </a:lnTo>
                      <a:lnTo>
                        <a:pt x="2059381" y="1095781"/>
                      </a:lnTo>
                      <a:lnTo>
                        <a:pt x="2059266" y="1094511"/>
                      </a:lnTo>
                      <a:lnTo>
                        <a:pt x="2059051" y="1093241"/>
                      </a:lnTo>
                      <a:lnTo>
                        <a:pt x="2058606" y="1093241"/>
                      </a:lnTo>
                      <a:lnTo>
                        <a:pt x="2059305" y="1088161"/>
                      </a:lnTo>
                      <a:lnTo>
                        <a:pt x="2059482" y="1085621"/>
                      </a:lnTo>
                      <a:lnTo>
                        <a:pt x="2059787" y="1081811"/>
                      </a:lnTo>
                      <a:lnTo>
                        <a:pt x="2059838" y="1078001"/>
                      </a:lnTo>
                      <a:lnTo>
                        <a:pt x="2063026" y="1078001"/>
                      </a:lnTo>
                      <a:lnTo>
                        <a:pt x="2064626" y="1076731"/>
                      </a:lnTo>
                      <a:lnTo>
                        <a:pt x="2064880" y="1076731"/>
                      </a:lnTo>
                      <a:lnTo>
                        <a:pt x="2065667" y="1072921"/>
                      </a:lnTo>
                      <a:lnTo>
                        <a:pt x="2066124" y="1072921"/>
                      </a:lnTo>
                      <a:lnTo>
                        <a:pt x="2066861" y="1070381"/>
                      </a:lnTo>
                      <a:lnTo>
                        <a:pt x="2067115" y="1070381"/>
                      </a:lnTo>
                      <a:lnTo>
                        <a:pt x="2067433" y="1069111"/>
                      </a:lnTo>
                      <a:lnTo>
                        <a:pt x="2072538" y="1062761"/>
                      </a:lnTo>
                      <a:lnTo>
                        <a:pt x="2072487" y="1061491"/>
                      </a:lnTo>
                      <a:lnTo>
                        <a:pt x="2072043" y="1060221"/>
                      </a:lnTo>
                      <a:lnTo>
                        <a:pt x="2072119" y="1058951"/>
                      </a:lnTo>
                      <a:lnTo>
                        <a:pt x="2072411" y="1057681"/>
                      </a:lnTo>
                      <a:lnTo>
                        <a:pt x="2073148" y="1057681"/>
                      </a:lnTo>
                      <a:lnTo>
                        <a:pt x="2073922" y="1056411"/>
                      </a:lnTo>
                      <a:lnTo>
                        <a:pt x="2074760" y="1055141"/>
                      </a:lnTo>
                      <a:lnTo>
                        <a:pt x="2075345" y="1055141"/>
                      </a:lnTo>
                      <a:lnTo>
                        <a:pt x="2075446" y="1052601"/>
                      </a:lnTo>
                      <a:lnTo>
                        <a:pt x="2074506" y="1048791"/>
                      </a:lnTo>
                      <a:lnTo>
                        <a:pt x="2074062" y="1047521"/>
                      </a:lnTo>
                      <a:lnTo>
                        <a:pt x="2073668" y="1046251"/>
                      </a:lnTo>
                      <a:lnTo>
                        <a:pt x="2072906" y="1044981"/>
                      </a:lnTo>
                      <a:lnTo>
                        <a:pt x="2071408" y="1043711"/>
                      </a:lnTo>
                      <a:lnTo>
                        <a:pt x="2070569" y="1042441"/>
                      </a:lnTo>
                      <a:lnTo>
                        <a:pt x="2071077" y="1041171"/>
                      </a:lnTo>
                      <a:lnTo>
                        <a:pt x="2071382" y="1041171"/>
                      </a:lnTo>
                      <a:lnTo>
                        <a:pt x="2071649" y="1039901"/>
                      </a:lnTo>
                      <a:lnTo>
                        <a:pt x="2071814" y="1039901"/>
                      </a:lnTo>
                      <a:lnTo>
                        <a:pt x="2071801" y="1038631"/>
                      </a:lnTo>
                      <a:lnTo>
                        <a:pt x="2072182" y="1038631"/>
                      </a:lnTo>
                      <a:lnTo>
                        <a:pt x="2072233" y="1037361"/>
                      </a:lnTo>
                      <a:lnTo>
                        <a:pt x="2072513" y="1031011"/>
                      </a:lnTo>
                      <a:lnTo>
                        <a:pt x="2072868" y="1028471"/>
                      </a:lnTo>
                      <a:lnTo>
                        <a:pt x="2073198" y="1027201"/>
                      </a:lnTo>
                      <a:lnTo>
                        <a:pt x="2073567" y="1027201"/>
                      </a:lnTo>
                      <a:lnTo>
                        <a:pt x="2074049" y="1025931"/>
                      </a:lnTo>
                      <a:lnTo>
                        <a:pt x="2074989" y="1024661"/>
                      </a:lnTo>
                      <a:lnTo>
                        <a:pt x="2075345" y="1024661"/>
                      </a:lnTo>
                      <a:lnTo>
                        <a:pt x="2075789" y="1023391"/>
                      </a:lnTo>
                      <a:lnTo>
                        <a:pt x="2079117" y="1017041"/>
                      </a:lnTo>
                      <a:lnTo>
                        <a:pt x="2079485" y="1017041"/>
                      </a:lnTo>
                      <a:lnTo>
                        <a:pt x="2079510" y="1015771"/>
                      </a:lnTo>
                      <a:lnTo>
                        <a:pt x="2079726" y="1014501"/>
                      </a:lnTo>
                      <a:lnTo>
                        <a:pt x="2080602" y="1013231"/>
                      </a:lnTo>
                      <a:lnTo>
                        <a:pt x="2084260" y="1010691"/>
                      </a:lnTo>
                      <a:lnTo>
                        <a:pt x="2086038" y="1010691"/>
                      </a:lnTo>
                      <a:lnTo>
                        <a:pt x="2087245" y="1009421"/>
                      </a:lnTo>
                      <a:lnTo>
                        <a:pt x="2095246" y="1008151"/>
                      </a:lnTo>
                      <a:lnTo>
                        <a:pt x="2099754" y="1008151"/>
                      </a:lnTo>
                      <a:lnTo>
                        <a:pt x="2103158" y="1009421"/>
                      </a:lnTo>
                      <a:lnTo>
                        <a:pt x="2104237" y="1009421"/>
                      </a:lnTo>
                      <a:lnTo>
                        <a:pt x="2108581" y="1010691"/>
                      </a:lnTo>
                      <a:lnTo>
                        <a:pt x="2110663" y="1011961"/>
                      </a:lnTo>
                      <a:lnTo>
                        <a:pt x="2111451" y="1011961"/>
                      </a:lnTo>
                      <a:lnTo>
                        <a:pt x="2112213" y="1013231"/>
                      </a:lnTo>
                      <a:lnTo>
                        <a:pt x="2119388" y="1020851"/>
                      </a:lnTo>
                      <a:lnTo>
                        <a:pt x="2121611" y="1020851"/>
                      </a:lnTo>
                      <a:lnTo>
                        <a:pt x="2122335" y="1019581"/>
                      </a:lnTo>
                      <a:lnTo>
                        <a:pt x="2123910" y="1019581"/>
                      </a:lnTo>
                      <a:lnTo>
                        <a:pt x="2125548" y="1018311"/>
                      </a:lnTo>
                      <a:lnTo>
                        <a:pt x="2129853" y="1015771"/>
                      </a:lnTo>
                      <a:lnTo>
                        <a:pt x="2134971" y="1015771"/>
                      </a:lnTo>
                      <a:lnTo>
                        <a:pt x="2136178" y="1017041"/>
                      </a:lnTo>
                      <a:lnTo>
                        <a:pt x="2139899" y="1018311"/>
                      </a:lnTo>
                      <a:lnTo>
                        <a:pt x="2143976" y="1020851"/>
                      </a:lnTo>
                      <a:lnTo>
                        <a:pt x="2146287" y="1022121"/>
                      </a:lnTo>
                      <a:lnTo>
                        <a:pt x="2148890" y="1023391"/>
                      </a:lnTo>
                      <a:lnTo>
                        <a:pt x="2158466" y="1023391"/>
                      </a:lnTo>
                      <a:lnTo>
                        <a:pt x="2158822" y="1022121"/>
                      </a:lnTo>
                      <a:lnTo>
                        <a:pt x="2159216" y="1022121"/>
                      </a:lnTo>
                      <a:lnTo>
                        <a:pt x="2160892" y="1020851"/>
                      </a:lnTo>
                      <a:lnTo>
                        <a:pt x="2162454" y="1018311"/>
                      </a:lnTo>
                      <a:lnTo>
                        <a:pt x="2164308" y="1017041"/>
                      </a:lnTo>
                      <a:lnTo>
                        <a:pt x="2165972" y="1017041"/>
                      </a:lnTo>
                      <a:lnTo>
                        <a:pt x="2167991" y="1015771"/>
                      </a:lnTo>
                      <a:lnTo>
                        <a:pt x="2184806" y="1015771"/>
                      </a:lnTo>
                      <a:lnTo>
                        <a:pt x="2189543" y="1017041"/>
                      </a:lnTo>
                      <a:lnTo>
                        <a:pt x="2196541" y="1019581"/>
                      </a:lnTo>
                      <a:lnTo>
                        <a:pt x="2197760" y="1019581"/>
                      </a:lnTo>
                      <a:lnTo>
                        <a:pt x="2200567" y="1017041"/>
                      </a:lnTo>
                      <a:lnTo>
                        <a:pt x="2203373" y="1014501"/>
                      </a:lnTo>
                      <a:lnTo>
                        <a:pt x="2203920" y="1013231"/>
                      </a:lnTo>
                      <a:lnTo>
                        <a:pt x="2204847" y="1013231"/>
                      </a:lnTo>
                      <a:lnTo>
                        <a:pt x="2206841" y="1011961"/>
                      </a:lnTo>
                      <a:lnTo>
                        <a:pt x="2208047" y="1011961"/>
                      </a:lnTo>
                      <a:lnTo>
                        <a:pt x="2208873" y="1010691"/>
                      </a:lnTo>
                      <a:lnTo>
                        <a:pt x="2214638" y="1010691"/>
                      </a:lnTo>
                      <a:lnTo>
                        <a:pt x="2214867" y="1011961"/>
                      </a:lnTo>
                      <a:lnTo>
                        <a:pt x="2215197" y="1011961"/>
                      </a:lnTo>
                      <a:lnTo>
                        <a:pt x="2216264" y="1013231"/>
                      </a:lnTo>
                      <a:lnTo>
                        <a:pt x="2219998" y="1018311"/>
                      </a:lnTo>
                      <a:lnTo>
                        <a:pt x="2221331" y="1027201"/>
                      </a:lnTo>
                      <a:lnTo>
                        <a:pt x="2221903" y="1029741"/>
                      </a:lnTo>
                      <a:lnTo>
                        <a:pt x="2225649" y="1029741"/>
                      </a:lnTo>
                      <a:lnTo>
                        <a:pt x="2226119" y="1031011"/>
                      </a:lnTo>
                      <a:lnTo>
                        <a:pt x="2227186" y="1031011"/>
                      </a:lnTo>
                      <a:lnTo>
                        <a:pt x="2227415" y="1032281"/>
                      </a:lnTo>
                      <a:lnTo>
                        <a:pt x="2227694" y="1032281"/>
                      </a:lnTo>
                      <a:lnTo>
                        <a:pt x="2227821" y="1033551"/>
                      </a:lnTo>
                      <a:lnTo>
                        <a:pt x="2227783" y="1038631"/>
                      </a:lnTo>
                      <a:lnTo>
                        <a:pt x="2227986" y="1039901"/>
                      </a:lnTo>
                      <a:lnTo>
                        <a:pt x="2227821" y="1039901"/>
                      </a:lnTo>
                      <a:lnTo>
                        <a:pt x="2227491" y="1041171"/>
                      </a:lnTo>
                      <a:lnTo>
                        <a:pt x="2227084" y="1041171"/>
                      </a:lnTo>
                      <a:lnTo>
                        <a:pt x="2224951" y="1042441"/>
                      </a:lnTo>
                      <a:lnTo>
                        <a:pt x="2222550" y="1043711"/>
                      </a:lnTo>
                      <a:lnTo>
                        <a:pt x="2219147" y="1043711"/>
                      </a:lnTo>
                      <a:lnTo>
                        <a:pt x="2218436" y="1044981"/>
                      </a:lnTo>
                      <a:lnTo>
                        <a:pt x="2217801" y="1044981"/>
                      </a:lnTo>
                      <a:lnTo>
                        <a:pt x="2217369" y="1046251"/>
                      </a:lnTo>
                      <a:lnTo>
                        <a:pt x="2217077" y="1046251"/>
                      </a:lnTo>
                      <a:lnTo>
                        <a:pt x="2216747" y="1047521"/>
                      </a:lnTo>
                      <a:lnTo>
                        <a:pt x="2215858" y="1048791"/>
                      </a:lnTo>
                      <a:lnTo>
                        <a:pt x="2215438" y="1048791"/>
                      </a:lnTo>
                      <a:lnTo>
                        <a:pt x="2215007" y="1050061"/>
                      </a:lnTo>
                      <a:lnTo>
                        <a:pt x="2214600" y="1050061"/>
                      </a:lnTo>
                      <a:lnTo>
                        <a:pt x="2214219" y="1051331"/>
                      </a:lnTo>
                      <a:lnTo>
                        <a:pt x="2213584" y="1051331"/>
                      </a:lnTo>
                      <a:lnTo>
                        <a:pt x="2212949" y="1052601"/>
                      </a:lnTo>
                      <a:lnTo>
                        <a:pt x="2212416" y="1055141"/>
                      </a:lnTo>
                      <a:lnTo>
                        <a:pt x="2212098" y="1055141"/>
                      </a:lnTo>
                      <a:lnTo>
                        <a:pt x="2210981" y="1058951"/>
                      </a:lnTo>
                      <a:lnTo>
                        <a:pt x="2210676" y="1060221"/>
                      </a:lnTo>
                      <a:lnTo>
                        <a:pt x="2210473" y="1060221"/>
                      </a:lnTo>
                      <a:lnTo>
                        <a:pt x="2208365" y="1062761"/>
                      </a:lnTo>
                      <a:lnTo>
                        <a:pt x="2208187" y="1067841"/>
                      </a:lnTo>
                      <a:lnTo>
                        <a:pt x="2207615" y="1069111"/>
                      </a:lnTo>
                      <a:lnTo>
                        <a:pt x="2205825" y="1069111"/>
                      </a:lnTo>
                      <a:lnTo>
                        <a:pt x="2205494" y="1070381"/>
                      </a:lnTo>
                      <a:lnTo>
                        <a:pt x="2204897" y="1070381"/>
                      </a:lnTo>
                      <a:lnTo>
                        <a:pt x="2203983" y="1071651"/>
                      </a:lnTo>
                      <a:lnTo>
                        <a:pt x="2203450" y="1071651"/>
                      </a:lnTo>
                      <a:lnTo>
                        <a:pt x="2203285" y="1072921"/>
                      </a:lnTo>
                      <a:lnTo>
                        <a:pt x="2202954" y="1074191"/>
                      </a:lnTo>
                      <a:lnTo>
                        <a:pt x="2202116" y="1079271"/>
                      </a:lnTo>
                      <a:lnTo>
                        <a:pt x="2201710" y="1079271"/>
                      </a:lnTo>
                      <a:lnTo>
                        <a:pt x="2201291" y="1080541"/>
                      </a:lnTo>
                      <a:lnTo>
                        <a:pt x="2200414" y="1081811"/>
                      </a:lnTo>
                      <a:lnTo>
                        <a:pt x="2194941" y="1084351"/>
                      </a:lnTo>
                      <a:lnTo>
                        <a:pt x="2194128" y="1085621"/>
                      </a:lnTo>
                      <a:lnTo>
                        <a:pt x="2193925" y="1085621"/>
                      </a:lnTo>
                      <a:lnTo>
                        <a:pt x="2193721" y="1086891"/>
                      </a:lnTo>
                      <a:lnTo>
                        <a:pt x="2193455" y="1086891"/>
                      </a:lnTo>
                      <a:lnTo>
                        <a:pt x="2193506" y="1089431"/>
                      </a:lnTo>
                      <a:lnTo>
                        <a:pt x="2188718" y="1099591"/>
                      </a:lnTo>
                      <a:lnTo>
                        <a:pt x="2188159" y="1100861"/>
                      </a:lnTo>
                      <a:lnTo>
                        <a:pt x="2187092" y="1103401"/>
                      </a:lnTo>
                      <a:lnTo>
                        <a:pt x="2187498" y="1103401"/>
                      </a:lnTo>
                      <a:lnTo>
                        <a:pt x="2187968" y="1104671"/>
                      </a:lnTo>
                      <a:lnTo>
                        <a:pt x="2186660" y="1105941"/>
                      </a:lnTo>
                      <a:lnTo>
                        <a:pt x="2182952" y="1112291"/>
                      </a:lnTo>
                      <a:lnTo>
                        <a:pt x="2182101" y="1112291"/>
                      </a:lnTo>
                      <a:lnTo>
                        <a:pt x="2180983" y="1113561"/>
                      </a:lnTo>
                      <a:lnTo>
                        <a:pt x="2180285" y="1113561"/>
                      </a:lnTo>
                      <a:lnTo>
                        <a:pt x="2175230" y="1105941"/>
                      </a:lnTo>
                      <a:lnTo>
                        <a:pt x="2173173" y="1104671"/>
                      </a:lnTo>
                      <a:lnTo>
                        <a:pt x="2170506" y="1103401"/>
                      </a:lnTo>
                      <a:lnTo>
                        <a:pt x="2170049" y="1104671"/>
                      </a:lnTo>
                      <a:lnTo>
                        <a:pt x="2169820" y="1105941"/>
                      </a:lnTo>
                      <a:lnTo>
                        <a:pt x="2169363" y="1105941"/>
                      </a:lnTo>
                      <a:lnTo>
                        <a:pt x="2168880" y="1107211"/>
                      </a:lnTo>
                      <a:lnTo>
                        <a:pt x="2168728" y="1107211"/>
                      </a:lnTo>
                      <a:lnTo>
                        <a:pt x="2166162" y="1104671"/>
                      </a:lnTo>
                      <a:lnTo>
                        <a:pt x="2163127" y="1105941"/>
                      </a:lnTo>
                      <a:lnTo>
                        <a:pt x="2161565" y="1107211"/>
                      </a:lnTo>
                      <a:lnTo>
                        <a:pt x="2158936" y="1109751"/>
                      </a:lnTo>
                      <a:lnTo>
                        <a:pt x="2158263" y="1111021"/>
                      </a:lnTo>
                      <a:lnTo>
                        <a:pt x="2158098" y="1111021"/>
                      </a:lnTo>
                      <a:lnTo>
                        <a:pt x="2157806" y="1112291"/>
                      </a:lnTo>
                      <a:lnTo>
                        <a:pt x="2156180" y="1112291"/>
                      </a:lnTo>
                      <a:lnTo>
                        <a:pt x="2154390" y="1113561"/>
                      </a:lnTo>
                      <a:lnTo>
                        <a:pt x="2148573" y="1119911"/>
                      </a:lnTo>
                      <a:lnTo>
                        <a:pt x="2146973" y="1121181"/>
                      </a:lnTo>
                      <a:lnTo>
                        <a:pt x="2145893" y="1122451"/>
                      </a:lnTo>
                      <a:lnTo>
                        <a:pt x="2144522" y="1123721"/>
                      </a:lnTo>
                      <a:lnTo>
                        <a:pt x="2144992" y="1128801"/>
                      </a:lnTo>
                      <a:lnTo>
                        <a:pt x="2143963" y="1132611"/>
                      </a:lnTo>
                      <a:lnTo>
                        <a:pt x="2143658" y="1132611"/>
                      </a:lnTo>
                      <a:lnTo>
                        <a:pt x="2141918" y="1136421"/>
                      </a:lnTo>
                      <a:lnTo>
                        <a:pt x="2141436" y="1137691"/>
                      </a:lnTo>
                      <a:lnTo>
                        <a:pt x="2141220" y="1138961"/>
                      </a:lnTo>
                      <a:lnTo>
                        <a:pt x="2140775" y="1138961"/>
                      </a:lnTo>
                      <a:lnTo>
                        <a:pt x="2141753" y="1140231"/>
                      </a:lnTo>
                      <a:lnTo>
                        <a:pt x="2143087" y="1140231"/>
                      </a:lnTo>
                      <a:lnTo>
                        <a:pt x="2143417" y="1138961"/>
                      </a:lnTo>
                      <a:lnTo>
                        <a:pt x="2143874" y="1137691"/>
                      </a:lnTo>
                      <a:lnTo>
                        <a:pt x="2145576" y="1133881"/>
                      </a:lnTo>
                      <a:lnTo>
                        <a:pt x="2145931" y="1132611"/>
                      </a:lnTo>
                      <a:lnTo>
                        <a:pt x="2146617" y="1131341"/>
                      </a:lnTo>
                      <a:lnTo>
                        <a:pt x="2147151" y="1130071"/>
                      </a:lnTo>
                      <a:lnTo>
                        <a:pt x="2146706" y="1124991"/>
                      </a:lnTo>
                      <a:lnTo>
                        <a:pt x="2147316" y="1123721"/>
                      </a:lnTo>
                      <a:lnTo>
                        <a:pt x="2147989" y="1123721"/>
                      </a:lnTo>
                      <a:lnTo>
                        <a:pt x="2149957" y="1122451"/>
                      </a:lnTo>
                      <a:lnTo>
                        <a:pt x="2155799" y="1116101"/>
                      </a:lnTo>
                      <a:lnTo>
                        <a:pt x="2157996" y="1114831"/>
                      </a:lnTo>
                      <a:lnTo>
                        <a:pt x="2159254" y="1114831"/>
                      </a:lnTo>
                      <a:lnTo>
                        <a:pt x="2159901" y="1112291"/>
                      </a:lnTo>
                      <a:lnTo>
                        <a:pt x="2160308" y="1112291"/>
                      </a:lnTo>
                      <a:lnTo>
                        <a:pt x="2164092" y="1107211"/>
                      </a:lnTo>
                      <a:lnTo>
                        <a:pt x="2165667" y="1107211"/>
                      </a:lnTo>
                      <a:lnTo>
                        <a:pt x="2167852" y="1108481"/>
                      </a:lnTo>
                      <a:lnTo>
                        <a:pt x="2170646" y="1108481"/>
                      </a:lnTo>
                      <a:lnTo>
                        <a:pt x="2171103" y="1107211"/>
                      </a:lnTo>
                      <a:lnTo>
                        <a:pt x="2171357" y="1107211"/>
                      </a:lnTo>
                      <a:lnTo>
                        <a:pt x="2171750" y="1105941"/>
                      </a:lnTo>
                      <a:lnTo>
                        <a:pt x="2172843" y="1107211"/>
                      </a:lnTo>
                      <a:lnTo>
                        <a:pt x="2174062" y="1108481"/>
                      </a:lnTo>
                      <a:lnTo>
                        <a:pt x="2178951" y="1114831"/>
                      </a:lnTo>
                      <a:lnTo>
                        <a:pt x="2179701" y="1116101"/>
                      </a:lnTo>
                      <a:lnTo>
                        <a:pt x="2181339" y="1114831"/>
                      </a:lnTo>
                      <a:lnTo>
                        <a:pt x="2184400" y="1114831"/>
                      </a:lnTo>
                      <a:lnTo>
                        <a:pt x="2184946" y="1113561"/>
                      </a:lnTo>
                      <a:lnTo>
                        <a:pt x="2187156" y="1108481"/>
                      </a:lnTo>
                      <a:lnTo>
                        <a:pt x="2188603" y="1105941"/>
                      </a:lnTo>
                      <a:lnTo>
                        <a:pt x="2191220" y="1107211"/>
                      </a:lnTo>
                      <a:lnTo>
                        <a:pt x="2190851" y="1105941"/>
                      </a:lnTo>
                      <a:lnTo>
                        <a:pt x="2190470" y="1104671"/>
                      </a:lnTo>
                      <a:lnTo>
                        <a:pt x="2189784" y="1103401"/>
                      </a:lnTo>
                      <a:lnTo>
                        <a:pt x="2189391" y="1103401"/>
                      </a:lnTo>
                      <a:lnTo>
                        <a:pt x="2190635" y="1100861"/>
                      </a:lnTo>
                      <a:lnTo>
                        <a:pt x="2191677" y="1098321"/>
                      </a:lnTo>
                      <a:lnTo>
                        <a:pt x="2195639" y="1090701"/>
                      </a:lnTo>
                      <a:lnTo>
                        <a:pt x="2195576" y="1086891"/>
                      </a:lnTo>
                      <a:lnTo>
                        <a:pt x="2195868" y="1086891"/>
                      </a:lnTo>
                      <a:lnTo>
                        <a:pt x="2196439" y="1085621"/>
                      </a:lnTo>
                      <a:lnTo>
                        <a:pt x="2201735" y="1083081"/>
                      </a:lnTo>
                      <a:lnTo>
                        <a:pt x="2203056" y="1081811"/>
                      </a:lnTo>
                      <a:lnTo>
                        <a:pt x="2203627" y="1080541"/>
                      </a:lnTo>
                      <a:lnTo>
                        <a:pt x="2204148" y="1079271"/>
                      </a:lnTo>
                      <a:lnTo>
                        <a:pt x="2205012" y="1074191"/>
                      </a:lnTo>
                      <a:lnTo>
                        <a:pt x="2205342" y="1074191"/>
                      </a:lnTo>
                      <a:lnTo>
                        <a:pt x="2205456" y="1072921"/>
                      </a:lnTo>
                      <a:lnTo>
                        <a:pt x="2205748" y="1072921"/>
                      </a:lnTo>
                      <a:lnTo>
                        <a:pt x="2206510" y="1071651"/>
                      </a:lnTo>
                      <a:lnTo>
                        <a:pt x="2208326" y="1071651"/>
                      </a:lnTo>
                      <a:lnTo>
                        <a:pt x="2208771" y="1070381"/>
                      </a:lnTo>
                      <a:lnTo>
                        <a:pt x="2210092" y="1069111"/>
                      </a:lnTo>
                      <a:lnTo>
                        <a:pt x="2210308" y="1067841"/>
                      </a:lnTo>
                      <a:lnTo>
                        <a:pt x="2210422" y="1064031"/>
                      </a:lnTo>
                      <a:lnTo>
                        <a:pt x="2212289" y="1061491"/>
                      </a:lnTo>
                      <a:lnTo>
                        <a:pt x="2212657" y="1061491"/>
                      </a:lnTo>
                      <a:lnTo>
                        <a:pt x="2213000" y="1060221"/>
                      </a:lnTo>
                      <a:lnTo>
                        <a:pt x="2214105" y="1056411"/>
                      </a:lnTo>
                      <a:lnTo>
                        <a:pt x="2214448" y="1055141"/>
                      </a:lnTo>
                      <a:lnTo>
                        <a:pt x="2215311" y="1052601"/>
                      </a:lnTo>
                      <a:lnTo>
                        <a:pt x="2215934" y="1052601"/>
                      </a:lnTo>
                      <a:lnTo>
                        <a:pt x="2216556" y="1051331"/>
                      </a:lnTo>
                      <a:lnTo>
                        <a:pt x="2216937" y="1051331"/>
                      </a:lnTo>
                      <a:lnTo>
                        <a:pt x="2217255" y="1050061"/>
                      </a:lnTo>
                      <a:lnTo>
                        <a:pt x="2217686" y="1050061"/>
                      </a:lnTo>
                      <a:lnTo>
                        <a:pt x="2218575" y="1047521"/>
                      </a:lnTo>
                      <a:lnTo>
                        <a:pt x="2219147" y="1047521"/>
                      </a:lnTo>
                      <a:lnTo>
                        <a:pt x="2219426" y="1046251"/>
                      </a:lnTo>
                      <a:lnTo>
                        <a:pt x="2223008" y="1046251"/>
                      </a:lnTo>
                      <a:lnTo>
                        <a:pt x="2226094" y="1043711"/>
                      </a:lnTo>
                      <a:lnTo>
                        <a:pt x="2227770" y="1043711"/>
                      </a:lnTo>
                      <a:lnTo>
                        <a:pt x="2228405" y="1042441"/>
                      </a:lnTo>
                      <a:lnTo>
                        <a:pt x="2229027" y="1042441"/>
                      </a:lnTo>
                      <a:lnTo>
                        <a:pt x="2229828" y="1041171"/>
                      </a:lnTo>
                      <a:lnTo>
                        <a:pt x="2230158" y="1039901"/>
                      </a:lnTo>
                      <a:lnTo>
                        <a:pt x="2229904" y="1038631"/>
                      </a:lnTo>
                      <a:lnTo>
                        <a:pt x="2229929" y="1032281"/>
                      </a:lnTo>
                      <a:lnTo>
                        <a:pt x="2229586" y="1031011"/>
                      </a:lnTo>
                      <a:lnTo>
                        <a:pt x="2229307" y="1031011"/>
                      </a:lnTo>
                      <a:lnTo>
                        <a:pt x="2228875" y="1029741"/>
                      </a:lnTo>
                      <a:lnTo>
                        <a:pt x="2228215" y="1029741"/>
                      </a:lnTo>
                      <a:lnTo>
                        <a:pt x="2227351" y="1028471"/>
                      </a:lnTo>
                      <a:lnTo>
                        <a:pt x="2226538" y="1028471"/>
                      </a:lnTo>
                      <a:lnTo>
                        <a:pt x="2223643" y="1027201"/>
                      </a:lnTo>
                      <a:lnTo>
                        <a:pt x="2223401" y="1025931"/>
                      </a:lnTo>
                      <a:lnTo>
                        <a:pt x="2223274" y="1025931"/>
                      </a:lnTo>
                      <a:lnTo>
                        <a:pt x="2222360" y="1019581"/>
                      </a:lnTo>
                      <a:lnTo>
                        <a:pt x="2226297" y="1020851"/>
                      </a:lnTo>
                      <a:lnTo>
                        <a:pt x="2226741" y="1023391"/>
                      </a:lnTo>
                      <a:lnTo>
                        <a:pt x="2227491" y="1023391"/>
                      </a:lnTo>
                      <a:lnTo>
                        <a:pt x="2230501" y="1025931"/>
                      </a:lnTo>
                      <a:lnTo>
                        <a:pt x="2230704" y="1025931"/>
                      </a:lnTo>
                      <a:lnTo>
                        <a:pt x="2231047" y="1027201"/>
                      </a:lnTo>
                      <a:lnTo>
                        <a:pt x="2231428" y="1029741"/>
                      </a:lnTo>
                      <a:lnTo>
                        <a:pt x="2231910" y="1031011"/>
                      </a:lnTo>
                      <a:lnTo>
                        <a:pt x="2233701" y="1036091"/>
                      </a:lnTo>
                      <a:lnTo>
                        <a:pt x="2233968" y="1036091"/>
                      </a:lnTo>
                      <a:lnTo>
                        <a:pt x="2234463" y="1037361"/>
                      </a:lnTo>
                      <a:lnTo>
                        <a:pt x="2234857" y="1039901"/>
                      </a:lnTo>
                      <a:lnTo>
                        <a:pt x="2235060" y="1041171"/>
                      </a:lnTo>
                      <a:lnTo>
                        <a:pt x="2234730" y="1042441"/>
                      </a:lnTo>
                      <a:lnTo>
                        <a:pt x="2234603" y="1043711"/>
                      </a:lnTo>
                      <a:lnTo>
                        <a:pt x="2233663" y="1047521"/>
                      </a:lnTo>
                      <a:lnTo>
                        <a:pt x="2233866" y="1048791"/>
                      </a:lnTo>
                      <a:lnTo>
                        <a:pt x="2234755" y="1052601"/>
                      </a:lnTo>
                      <a:lnTo>
                        <a:pt x="2235695" y="1056411"/>
                      </a:lnTo>
                      <a:lnTo>
                        <a:pt x="2237549" y="1058951"/>
                      </a:lnTo>
                      <a:lnTo>
                        <a:pt x="2238425" y="1060221"/>
                      </a:lnTo>
                      <a:lnTo>
                        <a:pt x="2239340" y="1061491"/>
                      </a:lnTo>
                      <a:lnTo>
                        <a:pt x="2240572" y="1062761"/>
                      </a:lnTo>
                      <a:lnTo>
                        <a:pt x="2236292" y="1062761"/>
                      </a:lnTo>
                      <a:lnTo>
                        <a:pt x="2236724" y="1064031"/>
                      </a:lnTo>
                      <a:lnTo>
                        <a:pt x="2246439" y="1064031"/>
                      </a:lnTo>
                      <a:lnTo>
                        <a:pt x="2244064" y="1061491"/>
                      </a:lnTo>
                      <a:lnTo>
                        <a:pt x="2242134" y="1060221"/>
                      </a:lnTo>
                      <a:lnTo>
                        <a:pt x="2240902" y="1060221"/>
                      </a:lnTo>
                      <a:lnTo>
                        <a:pt x="2240051" y="1058951"/>
                      </a:lnTo>
                      <a:lnTo>
                        <a:pt x="2239302" y="1057681"/>
                      </a:lnTo>
                      <a:lnTo>
                        <a:pt x="2237663" y="1055141"/>
                      </a:lnTo>
                      <a:lnTo>
                        <a:pt x="2236762" y="1051331"/>
                      </a:lnTo>
                      <a:lnTo>
                        <a:pt x="2235949" y="1048791"/>
                      </a:lnTo>
                      <a:lnTo>
                        <a:pt x="2235835" y="1047521"/>
                      </a:lnTo>
                      <a:lnTo>
                        <a:pt x="2236673" y="1043711"/>
                      </a:lnTo>
                      <a:lnTo>
                        <a:pt x="2237130" y="1042441"/>
                      </a:lnTo>
                      <a:lnTo>
                        <a:pt x="2237206" y="1041171"/>
                      </a:lnTo>
                      <a:lnTo>
                        <a:pt x="2237054" y="1039901"/>
                      </a:lnTo>
                      <a:lnTo>
                        <a:pt x="2236520" y="1037361"/>
                      </a:lnTo>
                      <a:lnTo>
                        <a:pt x="2236393" y="1037361"/>
                      </a:lnTo>
                      <a:lnTo>
                        <a:pt x="2236355" y="1036091"/>
                      </a:lnTo>
                      <a:lnTo>
                        <a:pt x="2235949" y="1034821"/>
                      </a:lnTo>
                      <a:lnTo>
                        <a:pt x="2235581" y="1034821"/>
                      </a:lnTo>
                      <a:lnTo>
                        <a:pt x="2233917" y="1031011"/>
                      </a:lnTo>
                      <a:lnTo>
                        <a:pt x="2233498" y="1028471"/>
                      </a:lnTo>
                      <a:lnTo>
                        <a:pt x="2232304" y="1024661"/>
                      </a:lnTo>
                      <a:lnTo>
                        <a:pt x="2231212" y="1023391"/>
                      </a:lnTo>
                      <a:lnTo>
                        <a:pt x="2228748" y="1022121"/>
                      </a:lnTo>
                      <a:lnTo>
                        <a:pt x="2228392" y="1019581"/>
                      </a:lnTo>
                      <a:lnTo>
                        <a:pt x="2228177" y="1018311"/>
                      </a:lnTo>
                      <a:lnTo>
                        <a:pt x="2227199" y="1018311"/>
                      </a:lnTo>
                      <a:lnTo>
                        <a:pt x="2221712" y="1017041"/>
                      </a:lnTo>
                      <a:lnTo>
                        <a:pt x="2218017" y="1011961"/>
                      </a:lnTo>
                      <a:lnTo>
                        <a:pt x="2216937" y="1010691"/>
                      </a:lnTo>
                      <a:lnTo>
                        <a:pt x="2216645" y="1010691"/>
                      </a:lnTo>
                      <a:lnTo>
                        <a:pt x="2215375" y="1006881"/>
                      </a:lnTo>
                      <a:lnTo>
                        <a:pt x="2214905" y="1005611"/>
                      </a:lnTo>
                      <a:lnTo>
                        <a:pt x="2213749" y="1000531"/>
                      </a:lnTo>
                      <a:lnTo>
                        <a:pt x="2213381" y="999261"/>
                      </a:lnTo>
                      <a:lnTo>
                        <a:pt x="2214943" y="999261"/>
                      </a:lnTo>
                      <a:lnTo>
                        <a:pt x="2225116" y="981481"/>
                      </a:lnTo>
                      <a:lnTo>
                        <a:pt x="2227072" y="978941"/>
                      </a:lnTo>
                      <a:lnTo>
                        <a:pt x="2239873" y="964971"/>
                      </a:lnTo>
                      <a:lnTo>
                        <a:pt x="2241346" y="963701"/>
                      </a:lnTo>
                      <a:lnTo>
                        <a:pt x="2241613" y="963701"/>
                      </a:lnTo>
                      <a:lnTo>
                        <a:pt x="2242451" y="962431"/>
                      </a:lnTo>
                      <a:lnTo>
                        <a:pt x="2242566" y="957351"/>
                      </a:lnTo>
                      <a:lnTo>
                        <a:pt x="2242959" y="951001"/>
                      </a:lnTo>
                      <a:lnTo>
                        <a:pt x="2243061" y="949731"/>
                      </a:lnTo>
                      <a:lnTo>
                        <a:pt x="2243544" y="942111"/>
                      </a:lnTo>
                      <a:lnTo>
                        <a:pt x="2247557" y="915441"/>
                      </a:lnTo>
                      <a:lnTo>
                        <a:pt x="2248839" y="912901"/>
                      </a:lnTo>
                      <a:lnTo>
                        <a:pt x="2249005" y="912901"/>
                      </a:lnTo>
                      <a:lnTo>
                        <a:pt x="2249119" y="911631"/>
                      </a:lnTo>
                      <a:lnTo>
                        <a:pt x="2248903" y="910361"/>
                      </a:lnTo>
                      <a:lnTo>
                        <a:pt x="2247049" y="908100"/>
                      </a:lnTo>
                      <a:lnTo>
                        <a:pt x="2247049" y="911631"/>
                      </a:lnTo>
                      <a:lnTo>
                        <a:pt x="2246922" y="911631"/>
                      </a:lnTo>
                      <a:lnTo>
                        <a:pt x="2246858" y="912901"/>
                      </a:lnTo>
                      <a:lnTo>
                        <a:pt x="2245906" y="914171"/>
                      </a:lnTo>
                      <a:lnTo>
                        <a:pt x="2245588" y="914171"/>
                      </a:lnTo>
                      <a:lnTo>
                        <a:pt x="2243963" y="917981"/>
                      </a:lnTo>
                      <a:lnTo>
                        <a:pt x="2240369" y="958621"/>
                      </a:lnTo>
                      <a:lnTo>
                        <a:pt x="2240318" y="961161"/>
                      </a:lnTo>
                      <a:lnTo>
                        <a:pt x="2240038" y="962431"/>
                      </a:lnTo>
                      <a:lnTo>
                        <a:pt x="2239670" y="962431"/>
                      </a:lnTo>
                      <a:lnTo>
                        <a:pt x="2238349" y="963701"/>
                      </a:lnTo>
                      <a:lnTo>
                        <a:pt x="2225421" y="977671"/>
                      </a:lnTo>
                      <a:lnTo>
                        <a:pt x="2223376" y="980211"/>
                      </a:lnTo>
                      <a:lnTo>
                        <a:pt x="2213660" y="996721"/>
                      </a:lnTo>
                      <a:lnTo>
                        <a:pt x="2212086" y="996721"/>
                      </a:lnTo>
                      <a:lnTo>
                        <a:pt x="2211400" y="997991"/>
                      </a:lnTo>
                      <a:lnTo>
                        <a:pt x="2211146" y="997991"/>
                      </a:lnTo>
                      <a:lnTo>
                        <a:pt x="2211628" y="1000531"/>
                      </a:lnTo>
                      <a:lnTo>
                        <a:pt x="2212721" y="1005611"/>
                      </a:lnTo>
                      <a:lnTo>
                        <a:pt x="2213013" y="1006881"/>
                      </a:lnTo>
                      <a:lnTo>
                        <a:pt x="2213394" y="1008151"/>
                      </a:lnTo>
                      <a:lnTo>
                        <a:pt x="2210130" y="1008151"/>
                      </a:lnTo>
                      <a:lnTo>
                        <a:pt x="2208961" y="1009421"/>
                      </a:lnTo>
                      <a:lnTo>
                        <a:pt x="2206891" y="1009421"/>
                      </a:lnTo>
                      <a:lnTo>
                        <a:pt x="2205431" y="1010691"/>
                      </a:lnTo>
                      <a:lnTo>
                        <a:pt x="2203754" y="1010691"/>
                      </a:lnTo>
                      <a:lnTo>
                        <a:pt x="2202688" y="1011961"/>
                      </a:lnTo>
                      <a:lnTo>
                        <a:pt x="2202015" y="1011961"/>
                      </a:lnTo>
                      <a:lnTo>
                        <a:pt x="2196884" y="1017041"/>
                      </a:lnTo>
                      <a:lnTo>
                        <a:pt x="2192604" y="1015771"/>
                      </a:lnTo>
                      <a:lnTo>
                        <a:pt x="2188324" y="1014501"/>
                      </a:lnTo>
                      <a:lnTo>
                        <a:pt x="2185289" y="1013231"/>
                      </a:lnTo>
                      <a:lnTo>
                        <a:pt x="2169160" y="1013231"/>
                      </a:lnTo>
                      <a:lnTo>
                        <a:pt x="2167458" y="1014501"/>
                      </a:lnTo>
                      <a:lnTo>
                        <a:pt x="2163610" y="1014501"/>
                      </a:lnTo>
                      <a:lnTo>
                        <a:pt x="2161019" y="1017041"/>
                      </a:lnTo>
                      <a:lnTo>
                        <a:pt x="2159304" y="1018311"/>
                      </a:lnTo>
                      <a:lnTo>
                        <a:pt x="2157704" y="1020851"/>
                      </a:lnTo>
                      <a:lnTo>
                        <a:pt x="2149386" y="1020851"/>
                      </a:lnTo>
                      <a:lnTo>
                        <a:pt x="2147011" y="1019581"/>
                      </a:lnTo>
                      <a:lnTo>
                        <a:pt x="2144903" y="1018311"/>
                      </a:lnTo>
                      <a:lnTo>
                        <a:pt x="2140877" y="1017041"/>
                      </a:lnTo>
                      <a:lnTo>
                        <a:pt x="2138959" y="1015771"/>
                      </a:lnTo>
                      <a:lnTo>
                        <a:pt x="2137054" y="1014501"/>
                      </a:lnTo>
                      <a:lnTo>
                        <a:pt x="2134247" y="1014501"/>
                      </a:lnTo>
                      <a:lnTo>
                        <a:pt x="2133828" y="1013231"/>
                      </a:lnTo>
                      <a:lnTo>
                        <a:pt x="2132215" y="1013231"/>
                      </a:lnTo>
                      <a:lnTo>
                        <a:pt x="2129193" y="1014501"/>
                      </a:lnTo>
                      <a:lnTo>
                        <a:pt x="2123998" y="1017041"/>
                      </a:lnTo>
                      <a:lnTo>
                        <a:pt x="2122957" y="1017041"/>
                      </a:lnTo>
                      <a:lnTo>
                        <a:pt x="2121827" y="1018311"/>
                      </a:lnTo>
                      <a:lnTo>
                        <a:pt x="2120138" y="1018311"/>
                      </a:lnTo>
                      <a:lnTo>
                        <a:pt x="2113623" y="1011961"/>
                      </a:lnTo>
                      <a:lnTo>
                        <a:pt x="2112746" y="1010691"/>
                      </a:lnTo>
                      <a:lnTo>
                        <a:pt x="2111908" y="1010691"/>
                      </a:lnTo>
                      <a:lnTo>
                        <a:pt x="2109470" y="1008151"/>
                      </a:lnTo>
                      <a:lnTo>
                        <a:pt x="2104656" y="1008151"/>
                      </a:lnTo>
                      <a:lnTo>
                        <a:pt x="2103704" y="1006881"/>
                      </a:lnTo>
                      <a:lnTo>
                        <a:pt x="2101291" y="1006881"/>
                      </a:lnTo>
                      <a:lnTo>
                        <a:pt x="2100199" y="1005611"/>
                      </a:lnTo>
                      <a:lnTo>
                        <a:pt x="2094979" y="1005611"/>
                      </a:lnTo>
                      <a:lnTo>
                        <a:pt x="2085314" y="1008151"/>
                      </a:lnTo>
                      <a:lnTo>
                        <a:pt x="2083435" y="1008151"/>
                      </a:lnTo>
                      <a:lnTo>
                        <a:pt x="2079294" y="1010691"/>
                      </a:lnTo>
                      <a:lnTo>
                        <a:pt x="2077643" y="1013231"/>
                      </a:lnTo>
                      <a:lnTo>
                        <a:pt x="2077504" y="1015771"/>
                      </a:lnTo>
                      <a:lnTo>
                        <a:pt x="2077237" y="1017041"/>
                      </a:lnTo>
                      <a:lnTo>
                        <a:pt x="2073960" y="1023391"/>
                      </a:lnTo>
                      <a:lnTo>
                        <a:pt x="2073592" y="1023391"/>
                      </a:lnTo>
                      <a:lnTo>
                        <a:pt x="2072132" y="1024661"/>
                      </a:lnTo>
                      <a:lnTo>
                        <a:pt x="2071662" y="1025931"/>
                      </a:lnTo>
                      <a:lnTo>
                        <a:pt x="2071370" y="1025931"/>
                      </a:lnTo>
                      <a:lnTo>
                        <a:pt x="2071204" y="1027201"/>
                      </a:lnTo>
                      <a:lnTo>
                        <a:pt x="2070989" y="1027201"/>
                      </a:lnTo>
                      <a:lnTo>
                        <a:pt x="2070392" y="1031011"/>
                      </a:lnTo>
                      <a:lnTo>
                        <a:pt x="2070150" y="1037361"/>
                      </a:lnTo>
                      <a:lnTo>
                        <a:pt x="2066861" y="1034821"/>
                      </a:lnTo>
                      <a:lnTo>
                        <a:pt x="2061794" y="1028471"/>
                      </a:lnTo>
                      <a:lnTo>
                        <a:pt x="2060956" y="1028471"/>
                      </a:lnTo>
                      <a:lnTo>
                        <a:pt x="2060600" y="1027201"/>
                      </a:lnTo>
                      <a:lnTo>
                        <a:pt x="2059228" y="1027201"/>
                      </a:lnTo>
                      <a:lnTo>
                        <a:pt x="2058085" y="1028471"/>
                      </a:lnTo>
                      <a:lnTo>
                        <a:pt x="2056053" y="1028471"/>
                      </a:lnTo>
                      <a:lnTo>
                        <a:pt x="2054720" y="1029741"/>
                      </a:lnTo>
                      <a:lnTo>
                        <a:pt x="2053285" y="1029741"/>
                      </a:lnTo>
                      <a:lnTo>
                        <a:pt x="2053005" y="1030541"/>
                      </a:lnTo>
                      <a:lnTo>
                        <a:pt x="2053005" y="1036091"/>
                      </a:lnTo>
                      <a:lnTo>
                        <a:pt x="2052739" y="1037361"/>
                      </a:lnTo>
                      <a:lnTo>
                        <a:pt x="2051253" y="1038631"/>
                      </a:lnTo>
                      <a:lnTo>
                        <a:pt x="2050605" y="1039901"/>
                      </a:lnTo>
                      <a:lnTo>
                        <a:pt x="2049564" y="1039901"/>
                      </a:lnTo>
                      <a:lnTo>
                        <a:pt x="2048903" y="1041171"/>
                      </a:lnTo>
                      <a:lnTo>
                        <a:pt x="2038642" y="1041171"/>
                      </a:lnTo>
                      <a:lnTo>
                        <a:pt x="2037715" y="1042441"/>
                      </a:lnTo>
                      <a:lnTo>
                        <a:pt x="2036991" y="1043711"/>
                      </a:lnTo>
                      <a:lnTo>
                        <a:pt x="2035949" y="1043711"/>
                      </a:lnTo>
                      <a:lnTo>
                        <a:pt x="2034895" y="1044981"/>
                      </a:lnTo>
                      <a:lnTo>
                        <a:pt x="2034374" y="1046251"/>
                      </a:lnTo>
                      <a:lnTo>
                        <a:pt x="2033778" y="1046251"/>
                      </a:lnTo>
                      <a:lnTo>
                        <a:pt x="2033905" y="1047521"/>
                      </a:lnTo>
                      <a:lnTo>
                        <a:pt x="2033079" y="1047521"/>
                      </a:lnTo>
                      <a:lnTo>
                        <a:pt x="2032330" y="1046251"/>
                      </a:lnTo>
                      <a:lnTo>
                        <a:pt x="2032114" y="1047521"/>
                      </a:lnTo>
                      <a:lnTo>
                        <a:pt x="2025777" y="1047521"/>
                      </a:lnTo>
                      <a:lnTo>
                        <a:pt x="2018512" y="1046251"/>
                      </a:lnTo>
                      <a:lnTo>
                        <a:pt x="2013521" y="1046251"/>
                      </a:lnTo>
                      <a:lnTo>
                        <a:pt x="2012505" y="1047521"/>
                      </a:lnTo>
                      <a:lnTo>
                        <a:pt x="1979549" y="1047521"/>
                      </a:lnTo>
                      <a:lnTo>
                        <a:pt x="1977834" y="1046251"/>
                      </a:lnTo>
                      <a:lnTo>
                        <a:pt x="1977885" y="1048791"/>
                      </a:lnTo>
                      <a:lnTo>
                        <a:pt x="1976221" y="1052601"/>
                      </a:lnTo>
                      <a:lnTo>
                        <a:pt x="1978875" y="1061491"/>
                      </a:lnTo>
                      <a:lnTo>
                        <a:pt x="1978571" y="1064031"/>
                      </a:lnTo>
                      <a:lnTo>
                        <a:pt x="1978494" y="1066571"/>
                      </a:lnTo>
                      <a:lnTo>
                        <a:pt x="1978647" y="1066571"/>
                      </a:lnTo>
                      <a:lnTo>
                        <a:pt x="1978787" y="1067841"/>
                      </a:lnTo>
                      <a:lnTo>
                        <a:pt x="1979320" y="1069111"/>
                      </a:lnTo>
                      <a:lnTo>
                        <a:pt x="1979574" y="1069111"/>
                      </a:lnTo>
                      <a:lnTo>
                        <a:pt x="1979790" y="1070381"/>
                      </a:lnTo>
                      <a:lnTo>
                        <a:pt x="1979409" y="1070381"/>
                      </a:lnTo>
                      <a:lnTo>
                        <a:pt x="1978545" y="1067841"/>
                      </a:lnTo>
                      <a:lnTo>
                        <a:pt x="1978025" y="1067841"/>
                      </a:lnTo>
                      <a:lnTo>
                        <a:pt x="1975040" y="1065301"/>
                      </a:lnTo>
                      <a:lnTo>
                        <a:pt x="1974837" y="1064031"/>
                      </a:lnTo>
                      <a:lnTo>
                        <a:pt x="1974316" y="1062761"/>
                      </a:lnTo>
                      <a:lnTo>
                        <a:pt x="1966379" y="1062761"/>
                      </a:lnTo>
                      <a:lnTo>
                        <a:pt x="1964169" y="1064031"/>
                      </a:lnTo>
                      <a:lnTo>
                        <a:pt x="1960905" y="1064031"/>
                      </a:lnTo>
                      <a:lnTo>
                        <a:pt x="1958835" y="1066571"/>
                      </a:lnTo>
                      <a:lnTo>
                        <a:pt x="1957374" y="1067841"/>
                      </a:lnTo>
                      <a:lnTo>
                        <a:pt x="1956638" y="1067841"/>
                      </a:lnTo>
                      <a:lnTo>
                        <a:pt x="1954949" y="1066571"/>
                      </a:lnTo>
                      <a:lnTo>
                        <a:pt x="1951812" y="1066571"/>
                      </a:lnTo>
                      <a:lnTo>
                        <a:pt x="1950097" y="1065301"/>
                      </a:lnTo>
                      <a:lnTo>
                        <a:pt x="1949361" y="1064031"/>
                      </a:lnTo>
                      <a:lnTo>
                        <a:pt x="1948078" y="1060221"/>
                      </a:lnTo>
                      <a:lnTo>
                        <a:pt x="1947875" y="1060221"/>
                      </a:lnTo>
                      <a:lnTo>
                        <a:pt x="1947278" y="1058951"/>
                      </a:lnTo>
                      <a:lnTo>
                        <a:pt x="1946643" y="1057681"/>
                      </a:lnTo>
                      <a:lnTo>
                        <a:pt x="1944166" y="1057681"/>
                      </a:lnTo>
                      <a:lnTo>
                        <a:pt x="1942566" y="1056411"/>
                      </a:lnTo>
                      <a:lnTo>
                        <a:pt x="1941804" y="1056411"/>
                      </a:lnTo>
                      <a:lnTo>
                        <a:pt x="1942312" y="1053871"/>
                      </a:lnTo>
                      <a:lnTo>
                        <a:pt x="1942388" y="1052601"/>
                      </a:lnTo>
                      <a:lnTo>
                        <a:pt x="1941830" y="1048791"/>
                      </a:lnTo>
                      <a:lnTo>
                        <a:pt x="1944573" y="1047521"/>
                      </a:lnTo>
                      <a:lnTo>
                        <a:pt x="1945601" y="1043711"/>
                      </a:lnTo>
                      <a:lnTo>
                        <a:pt x="1946211" y="1041171"/>
                      </a:lnTo>
                      <a:lnTo>
                        <a:pt x="1945881" y="1038631"/>
                      </a:lnTo>
                      <a:lnTo>
                        <a:pt x="1944446" y="1037361"/>
                      </a:lnTo>
                      <a:lnTo>
                        <a:pt x="1944281" y="1037361"/>
                      </a:lnTo>
                      <a:lnTo>
                        <a:pt x="1948726" y="1034821"/>
                      </a:lnTo>
                      <a:lnTo>
                        <a:pt x="1952752" y="1034821"/>
                      </a:lnTo>
                      <a:lnTo>
                        <a:pt x="1954276" y="1033551"/>
                      </a:lnTo>
                      <a:lnTo>
                        <a:pt x="1957654" y="1029741"/>
                      </a:lnTo>
                      <a:lnTo>
                        <a:pt x="1957819" y="1029741"/>
                      </a:lnTo>
                      <a:lnTo>
                        <a:pt x="1957692" y="1027201"/>
                      </a:lnTo>
                      <a:lnTo>
                        <a:pt x="1956917" y="1024661"/>
                      </a:lnTo>
                      <a:lnTo>
                        <a:pt x="1959914" y="1024661"/>
                      </a:lnTo>
                      <a:lnTo>
                        <a:pt x="1960181" y="1023391"/>
                      </a:lnTo>
                      <a:lnTo>
                        <a:pt x="1960372" y="1019581"/>
                      </a:lnTo>
                      <a:lnTo>
                        <a:pt x="1959483" y="1019581"/>
                      </a:lnTo>
                      <a:lnTo>
                        <a:pt x="1960206" y="1017041"/>
                      </a:lnTo>
                      <a:lnTo>
                        <a:pt x="1962886" y="1014501"/>
                      </a:lnTo>
                      <a:lnTo>
                        <a:pt x="1963356" y="1014501"/>
                      </a:lnTo>
                      <a:lnTo>
                        <a:pt x="1964677" y="1015771"/>
                      </a:lnTo>
                      <a:lnTo>
                        <a:pt x="1965934" y="1015771"/>
                      </a:lnTo>
                      <a:lnTo>
                        <a:pt x="1967966" y="1017041"/>
                      </a:lnTo>
                      <a:lnTo>
                        <a:pt x="1968804" y="1018311"/>
                      </a:lnTo>
                      <a:lnTo>
                        <a:pt x="1970709" y="1018311"/>
                      </a:lnTo>
                      <a:lnTo>
                        <a:pt x="1971522" y="1017041"/>
                      </a:lnTo>
                      <a:lnTo>
                        <a:pt x="1974392" y="1017041"/>
                      </a:lnTo>
                      <a:lnTo>
                        <a:pt x="1974088" y="1013231"/>
                      </a:lnTo>
                      <a:lnTo>
                        <a:pt x="1973961" y="1010691"/>
                      </a:lnTo>
                      <a:lnTo>
                        <a:pt x="1977898" y="1010691"/>
                      </a:lnTo>
                      <a:lnTo>
                        <a:pt x="1978558" y="1009421"/>
                      </a:lnTo>
                      <a:lnTo>
                        <a:pt x="1980095" y="1006881"/>
                      </a:lnTo>
                      <a:lnTo>
                        <a:pt x="1982622" y="1003071"/>
                      </a:lnTo>
                      <a:lnTo>
                        <a:pt x="1984883" y="1001801"/>
                      </a:lnTo>
                      <a:lnTo>
                        <a:pt x="1985479" y="1001801"/>
                      </a:lnTo>
                      <a:lnTo>
                        <a:pt x="1986953" y="1003071"/>
                      </a:lnTo>
                      <a:lnTo>
                        <a:pt x="1991182" y="1003071"/>
                      </a:lnTo>
                      <a:lnTo>
                        <a:pt x="1991702" y="1001801"/>
                      </a:lnTo>
                      <a:lnTo>
                        <a:pt x="1991918" y="1001801"/>
                      </a:lnTo>
                      <a:lnTo>
                        <a:pt x="1992541" y="999261"/>
                      </a:lnTo>
                      <a:lnTo>
                        <a:pt x="1995055" y="999261"/>
                      </a:lnTo>
                      <a:lnTo>
                        <a:pt x="1997583" y="997991"/>
                      </a:lnTo>
                      <a:lnTo>
                        <a:pt x="1998294" y="997991"/>
                      </a:lnTo>
                      <a:lnTo>
                        <a:pt x="2002739" y="995451"/>
                      </a:lnTo>
                      <a:lnTo>
                        <a:pt x="2004136" y="994181"/>
                      </a:lnTo>
                      <a:lnTo>
                        <a:pt x="2005190" y="994181"/>
                      </a:lnTo>
                      <a:lnTo>
                        <a:pt x="2006015" y="992911"/>
                      </a:lnTo>
                      <a:lnTo>
                        <a:pt x="2008124" y="991641"/>
                      </a:lnTo>
                      <a:lnTo>
                        <a:pt x="2008517" y="991641"/>
                      </a:lnTo>
                      <a:lnTo>
                        <a:pt x="2009673" y="990371"/>
                      </a:lnTo>
                      <a:lnTo>
                        <a:pt x="2016213" y="990371"/>
                      </a:lnTo>
                      <a:lnTo>
                        <a:pt x="2019884" y="991641"/>
                      </a:lnTo>
                      <a:lnTo>
                        <a:pt x="2020125" y="991641"/>
                      </a:lnTo>
                      <a:lnTo>
                        <a:pt x="2021814" y="992911"/>
                      </a:lnTo>
                      <a:lnTo>
                        <a:pt x="2021789" y="999261"/>
                      </a:lnTo>
                      <a:lnTo>
                        <a:pt x="2024519" y="1003071"/>
                      </a:lnTo>
                      <a:lnTo>
                        <a:pt x="2025243" y="1005611"/>
                      </a:lnTo>
                      <a:lnTo>
                        <a:pt x="2025510" y="1005611"/>
                      </a:lnTo>
                      <a:lnTo>
                        <a:pt x="2025764" y="1006881"/>
                      </a:lnTo>
                      <a:lnTo>
                        <a:pt x="2026132" y="1008151"/>
                      </a:lnTo>
                      <a:lnTo>
                        <a:pt x="2026907" y="1009421"/>
                      </a:lnTo>
                      <a:lnTo>
                        <a:pt x="2027212" y="1009421"/>
                      </a:lnTo>
                      <a:lnTo>
                        <a:pt x="2027402" y="1010691"/>
                      </a:lnTo>
                      <a:lnTo>
                        <a:pt x="2028367" y="1010691"/>
                      </a:lnTo>
                      <a:lnTo>
                        <a:pt x="2031326" y="1011961"/>
                      </a:lnTo>
                      <a:lnTo>
                        <a:pt x="2032393" y="1011961"/>
                      </a:lnTo>
                      <a:lnTo>
                        <a:pt x="2033435" y="1013231"/>
                      </a:lnTo>
                      <a:lnTo>
                        <a:pt x="2034374" y="1013231"/>
                      </a:lnTo>
                      <a:lnTo>
                        <a:pt x="2033676" y="1014501"/>
                      </a:lnTo>
                      <a:lnTo>
                        <a:pt x="2033181" y="1014501"/>
                      </a:lnTo>
                      <a:lnTo>
                        <a:pt x="2032914" y="1015771"/>
                      </a:lnTo>
                      <a:lnTo>
                        <a:pt x="2032533" y="1017041"/>
                      </a:lnTo>
                      <a:lnTo>
                        <a:pt x="2032444" y="1018311"/>
                      </a:lnTo>
                      <a:lnTo>
                        <a:pt x="2032711" y="1018311"/>
                      </a:lnTo>
                      <a:lnTo>
                        <a:pt x="2033054" y="1019581"/>
                      </a:lnTo>
                      <a:lnTo>
                        <a:pt x="2033371" y="1019581"/>
                      </a:lnTo>
                      <a:lnTo>
                        <a:pt x="2034057" y="1020851"/>
                      </a:lnTo>
                      <a:lnTo>
                        <a:pt x="2034794" y="1020851"/>
                      </a:lnTo>
                      <a:lnTo>
                        <a:pt x="2036343" y="1022121"/>
                      </a:lnTo>
                      <a:lnTo>
                        <a:pt x="2039962" y="1023391"/>
                      </a:lnTo>
                      <a:lnTo>
                        <a:pt x="2040509" y="1024661"/>
                      </a:lnTo>
                      <a:lnTo>
                        <a:pt x="2042617" y="1025931"/>
                      </a:lnTo>
                      <a:lnTo>
                        <a:pt x="2050351" y="1025931"/>
                      </a:lnTo>
                      <a:lnTo>
                        <a:pt x="2050453" y="1027201"/>
                      </a:lnTo>
                      <a:lnTo>
                        <a:pt x="2048852" y="1027201"/>
                      </a:lnTo>
                      <a:lnTo>
                        <a:pt x="2048573" y="1028471"/>
                      </a:lnTo>
                      <a:lnTo>
                        <a:pt x="2047532" y="1028471"/>
                      </a:lnTo>
                      <a:lnTo>
                        <a:pt x="2048459" y="1029741"/>
                      </a:lnTo>
                      <a:lnTo>
                        <a:pt x="2049640" y="1032281"/>
                      </a:lnTo>
                      <a:lnTo>
                        <a:pt x="2050859" y="1033551"/>
                      </a:lnTo>
                      <a:lnTo>
                        <a:pt x="2051392" y="1034821"/>
                      </a:lnTo>
                      <a:lnTo>
                        <a:pt x="2051964" y="1034821"/>
                      </a:lnTo>
                      <a:lnTo>
                        <a:pt x="2052650" y="1036091"/>
                      </a:lnTo>
                      <a:lnTo>
                        <a:pt x="2053005" y="1036091"/>
                      </a:lnTo>
                      <a:lnTo>
                        <a:pt x="2053005" y="1030541"/>
                      </a:lnTo>
                      <a:lnTo>
                        <a:pt x="2052840" y="1031011"/>
                      </a:lnTo>
                      <a:lnTo>
                        <a:pt x="2052599" y="1031011"/>
                      </a:lnTo>
                      <a:lnTo>
                        <a:pt x="2052612" y="1032281"/>
                      </a:lnTo>
                      <a:lnTo>
                        <a:pt x="2052015" y="1031011"/>
                      </a:lnTo>
                      <a:lnTo>
                        <a:pt x="2050503" y="1029741"/>
                      </a:lnTo>
                      <a:lnTo>
                        <a:pt x="2050999" y="1029741"/>
                      </a:lnTo>
                      <a:lnTo>
                        <a:pt x="2051786" y="1028471"/>
                      </a:lnTo>
                      <a:lnTo>
                        <a:pt x="2052447" y="1028471"/>
                      </a:lnTo>
                      <a:lnTo>
                        <a:pt x="2052662" y="1027201"/>
                      </a:lnTo>
                      <a:lnTo>
                        <a:pt x="2052535" y="1025931"/>
                      </a:lnTo>
                      <a:lnTo>
                        <a:pt x="2052383" y="1025931"/>
                      </a:lnTo>
                      <a:lnTo>
                        <a:pt x="2052142" y="1024661"/>
                      </a:lnTo>
                      <a:lnTo>
                        <a:pt x="2051748" y="1024661"/>
                      </a:lnTo>
                      <a:lnTo>
                        <a:pt x="2051126" y="1023391"/>
                      </a:lnTo>
                      <a:lnTo>
                        <a:pt x="2048179" y="1023391"/>
                      </a:lnTo>
                      <a:lnTo>
                        <a:pt x="2044509" y="1024661"/>
                      </a:lnTo>
                      <a:lnTo>
                        <a:pt x="2044090" y="1024661"/>
                      </a:lnTo>
                      <a:lnTo>
                        <a:pt x="2041334" y="1022121"/>
                      </a:lnTo>
                      <a:lnTo>
                        <a:pt x="2037397" y="1020851"/>
                      </a:lnTo>
                      <a:lnTo>
                        <a:pt x="2036038" y="1019581"/>
                      </a:lnTo>
                      <a:lnTo>
                        <a:pt x="2034654" y="1019581"/>
                      </a:lnTo>
                      <a:lnTo>
                        <a:pt x="2035136" y="1018311"/>
                      </a:lnTo>
                      <a:lnTo>
                        <a:pt x="2034603" y="1018311"/>
                      </a:lnTo>
                      <a:lnTo>
                        <a:pt x="2034679" y="1017041"/>
                      </a:lnTo>
                      <a:lnTo>
                        <a:pt x="2034933" y="1017041"/>
                      </a:lnTo>
                      <a:lnTo>
                        <a:pt x="2035149" y="1015771"/>
                      </a:lnTo>
                      <a:lnTo>
                        <a:pt x="2037422" y="1015771"/>
                      </a:lnTo>
                      <a:lnTo>
                        <a:pt x="2043239" y="1018311"/>
                      </a:lnTo>
                      <a:lnTo>
                        <a:pt x="2040445" y="1015771"/>
                      </a:lnTo>
                      <a:lnTo>
                        <a:pt x="2037664" y="1013231"/>
                      </a:lnTo>
                      <a:lnTo>
                        <a:pt x="2035797" y="1011961"/>
                      </a:lnTo>
                      <a:lnTo>
                        <a:pt x="2034527" y="1010691"/>
                      </a:lnTo>
                      <a:lnTo>
                        <a:pt x="2033371" y="1010691"/>
                      </a:lnTo>
                      <a:lnTo>
                        <a:pt x="2032025" y="1009421"/>
                      </a:lnTo>
                      <a:lnTo>
                        <a:pt x="2029142" y="1009421"/>
                      </a:lnTo>
                      <a:lnTo>
                        <a:pt x="2028875" y="1008151"/>
                      </a:lnTo>
                      <a:lnTo>
                        <a:pt x="2028609" y="1008151"/>
                      </a:lnTo>
                      <a:lnTo>
                        <a:pt x="2028050" y="1006881"/>
                      </a:lnTo>
                      <a:lnTo>
                        <a:pt x="2027758" y="1006881"/>
                      </a:lnTo>
                      <a:lnTo>
                        <a:pt x="2027542" y="1005611"/>
                      </a:lnTo>
                      <a:lnTo>
                        <a:pt x="2026958" y="1004341"/>
                      </a:lnTo>
                      <a:lnTo>
                        <a:pt x="2026412" y="1001801"/>
                      </a:lnTo>
                      <a:lnTo>
                        <a:pt x="2023973" y="999261"/>
                      </a:lnTo>
                      <a:lnTo>
                        <a:pt x="2023935" y="992911"/>
                      </a:lnTo>
                      <a:lnTo>
                        <a:pt x="2025205" y="992911"/>
                      </a:lnTo>
                      <a:lnTo>
                        <a:pt x="2026767" y="991641"/>
                      </a:lnTo>
                      <a:lnTo>
                        <a:pt x="2027732" y="991641"/>
                      </a:lnTo>
                      <a:lnTo>
                        <a:pt x="2029307" y="990371"/>
                      </a:lnTo>
                      <a:lnTo>
                        <a:pt x="2037207" y="987831"/>
                      </a:lnTo>
                      <a:lnTo>
                        <a:pt x="2046211" y="986561"/>
                      </a:lnTo>
                      <a:lnTo>
                        <a:pt x="2066048" y="986561"/>
                      </a:lnTo>
                      <a:lnTo>
                        <a:pt x="2066874" y="985291"/>
                      </a:lnTo>
                      <a:lnTo>
                        <a:pt x="2067445" y="985291"/>
                      </a:lnTo>
                      <a:lnTo>
                        <a:pt x="2069287" y="986561"/>
                      </a:lnTo>
                      <a:lnTo>
                        <a:pt x="2071446" y="985291"/>
                      </a:lnTo>
                      <a:lnTo>
                        <a:pt x="2074849" y="981481"/>
                      </a:lnTo>
                      <a:lnTo>
                        <a:pt x="2076246" y="980211"/>
                      </a:lnTo>
                      <a:lnTo>
                        <a:pt x="2077631" y="977671"/>
                      </a:lnTo>
                      <a:lnTo>
                        <a:pt x="2079955" y="972591"/>
                      </a:lnTo>
                      <a:lnTo>
                        <a:pt x="2080539" y="970051"/>
                      </a:lnTo>
                      <a:lnTo>
                        <a:pt x="2081085" y="963701"/>
                      </a:lnTo>
                      <a:lnTo>
                        <a:pt x="2081352" y="959891"/>
                      </a:lnTo>
                      <a:lnTo>
                        <a:pt x="2081339" y="930681"/>
                      </a:lnTo>
                      <a:lnTo>
                        <a:pt x="2087803" y="929411"/>
                      </a:lnTo>
                      <a:lnTo>
                        <a:pt x="2094280" y="928141"/>
                      </a:lnTo>
                      <a:lnTo>
                        <a:pt x="2102243" y="926871"/>
                      </a:lnTo>
                      <a:lnTo>
                        <a:pt x="2104021" y="925601"/>
                      </a:lnTo>
                      <a:lnTo>
                        <a:pt x="2118029" y="912901"/>
                      </a:lnTo>
                      <a:lnTo>
                        <a:pt x="2122690" y="909091"/>
                      </a:lnTo>
                      <a:lnTo>
                        <a:pt x="2126208" y="905281"/>
                      </a:lnTo>
                      <a:lnTo>
                        <a:pt x="2129256" y="904011"/>
                      </a:lnTo>
                      <a:lnTo>
                        <a:pt x="2191270" y="864641"/>
                      </a:lnTo>
                      <a:lnTo>
                        <a:pt x="2213330" y="869721"/>
                      </a:lnTo>
                      <a:lnTo>
                        <a:pt x="2215769" y="872261"/>
                      </a:lnTo>
                      <a:lnTo>
                        <a:pt x="2219312" y="876071"/>
                      </a:lnTo>
                      <a:lnTo>
                        <a:pt x="2220734" y="877341"/>
                      </a:lnTo>
                      <a:lnTo>
                        <a:pt x="2221433" y="877341"/>
                      </a:lnTo>
                      <a:lnTo>
                        <a:pt x="2223503" y="878611"/>
                      </a:lnTo>
                      <a:lnTo>
                        <a:pt x="2226792" y="877341"/>
                      </a:lnTo>
                      <a:lnTo>
                        <a:pt x="2229015" y="876071"/>
                      </a:lnTo>
                      <a:lnTo>
                        <a:pt x="2233485" y="873531"/>
                      </a:lnTo>
                      <a:lnTo>
                        <a:pt x="2235022" y="881151"/>
                      </a:lnTo>
                      <a:lnTo>
                        <a:pt x="2235517" y="884961"/>
                      </a:lnTo>
                      <a:lnTo>
                        <a:pt x="2235568" y="887501"/>
                      </a:lnTo>
                      <a:lnTo>
                        <a:pt x="2235695" y="887501"/>
                      </a:lnTo>
                      <a:lnTo>
                        <a:pt x="2236038" y="893851"/>
                      </a:lnTo>
                      <a:lnTo>
                        <a:pt x="2237765" y="896391"/>
                      </a:lnTo>
                      <a:lnTo>
                        <a:pt x="2239276" y="898931"/>
                      </a:lnTo>
                      <a:lnTo>
                        <a:pt x="2240216" y="900201"/>
                      </a:lnTo>
                      <a:lnTo>
                        <a:pt x="2240610" y="900201"/>
                      </a:lnTo>
                      <a:lnTo>
                        <a:pt x="2240940" y="901471"/>
                      </a:lnTo>
                      <a:lnTo>
                        <a:pt x="2241181" y="901471"/>
                      </a:lnTo>
                      <a:lnTo>
                        <a:pt x="2241524" y="902741"/>
                      </a:lnTo>
                      <a:lnTo>
                        <a:pt x="2241588" y="905281"/>
                      </a:lnTo>
                      <a:lnTo>
                        <a:pt x="2242362" y="906551"/>
                      </a:lnTo>
                      <a:lnTo>
                        <a:pt x="2242578" y="906551"/>
                      </a:lnTo>
                      <a:lnTo>
                        <a:pt x="2243277" y="907821"/>
                      </a:lnTo>
                      <a:lnTo>
                        <a:pt x="2244217" y="907821"/>
                      </a:lnTo>
                      <a:lnTo>
                        <a:pt x="2246922" y="910361"/>
                      </a:lnTo>
                      <a:lnTo>
                        <a:pt x="2247049" y="911631"/>
                      </a:lnTo>
                      <a:lnTo>
                        <a:pt x="2247049" y="908100"/>
                      </a:lnTo>
                      <a:lnTo>
                        <a:pt x="2245779" y="906551"/>
                      </a:lnTo>
                      <a:lnTo>
                        <a:pt x="2245245" y="906551"/>
                      </a:lnTo>
                      <a:lnTo>
                        <a:pt x="2244521" y="905281"/>
                      </a:lnTo>
                      <a:lnTo>
                        <a:pt x="2243709" y="905281"/>
                      </a:lnTo>
                      <a:lnTo>
                        <a:pt x="2243620" y="902741"/>
                      </a:lnTo>
                      <a:lnTo>
                        <a:pt x="2243493" y="901471"/>
                      </a:lnTo>
                      <a:lnTo>
                        <a:pt x="2243023" y="900201"/>
                      </a:lnTo>
                      <a:lnTo>
                        <a:pt x="2242489" y="900201"/>
                      </a:lnTo>
                      <a:lnTo>
                        <a:pt x="2242045" y="898931"/>
                      </a:lnTo>
                      <a:lnTo>
                        <a:pt x="2241042" y="897661"/>
                      </a:lnTo>
                      <a:lnTo>
                        <a:pt x="2239530" y="895121"/>
                      </a:lnTo>
                      <a:lnTo>
                        <a:pt x="2238121" y="892581"/>
                      </a:lnTo>
                      <a:lnTo>
                        <a:pt x="2237803" y="887501"/>
                      </a:lnTo>
                      <a:lnTo>
                        <a:pt x="2237638" y="884961"/>
                      </a:lnTo>
                      <a:lnTo>
                        <a:pt x="2237105" y="881151"/>
                      </a:lnTo>
                      <a:lnTo>
                        <a:pt x="2235720" y="873531"/>
                      </a:lnTo>
                      <a:lnTo>
                        <a:pt x="2235492" y="872261"/>
                      </a:lnTo>
                      <a:lnTo>
                        <a:pt x="2247201" y="867181"/>
                      </a:lnTo>
                      <a:lnTo>
                        <a:pt x="2248128" y="865911"/>
                      </a:lnTo>
                      <a:lnTo>
                        <a:pt x="2249322" y="865911"/>
                      </a:lnTo>
                      <a:lnTo>
                        <a:pt x="2249728" y="867181"/>
                      </a:lnTo>
                      <a:lnTo>
                        <a:pt x="2259838" y="870991"/>
                      </a:lnTo>
                      <a:lnTo>
                        <a:pt x="2269172" y="876071"/>
                      </a:lnTo>
                      <a:lnTo>
                        <a:pt x="2275535" y="879881"/>
                      </a:lnTo>
                      <a:lnTo>
                        <a:pt x="2285555" y="884961"/>
                      </a:lnTo>
                      <a:lnTo>
                        <a:pt x="2295334" y="890041"/>
                      </a:lnTo>
                      <a:lnTo>
                        <a:pt x="2304694" y="893851"/>
                      </a:lnTo>
                      <a:lnTo>
                        <a:pt x="2313470" y="898931"/>
                      </a:lnTo>
                      <a:lnTo>
                        <a:pt x="2361984" y="924331"/>
                      </a:lnTo>
                      <a:lnTo>
                        <a:pt x="2361996" y="978941"/>
                      </a:lnTo>
                      <a:lnTo>
                        <a:pt x="2361311" y="978941"/>
                      </a:lnTo>
                      <a:lnTo>
                        <a:pt x="2348877" y="977671"/>
                      </a:lnTo>
                      <a:lnTo>
                        <a:pt x="2346007" y="984021"/>
                      </a:lnTo>
                      <a:lnTo>
                        <a:pt x="2345588" y="985291"/>
                      </a:lnTo>
                      <a:lnTo>
                        <a:pt x="2345258" y="986561"/>
                      </a:lnTo>
                      <a:lnTo>
                        <a:pt x="2344674" y="990371"/>
                      </a:lnTo>
                      <a:lnTo>
                        <a:pt x="2344255" y="991641"/>
                      </a:lnTo>
                      <a:lnTo>
                        <a:pt x="2343861" y="992911"/>
                      </a:lnTo>
                      <a:lnTo>
                        <a:pt x="2343594" y="992911"/>
                      </a:lnTo>
                      <a:lnTo>
                        <a:pt x="2343454" y="994181"/>
                      </a:lnTo>
                      <a:lnTo>
                        <a:pt x="2341918" y="994181"/>
                      </a:lnTo>
                      <a:lnTo>
                        <a:pt x="2338705" y="996721"/>
                      </a:lnTo>
                      <a:lnTo>
                        <a:pt x="2339683" y="997991"/>
                      </a:lnTo>
                      <a:lnTo>
                        <a:pt x="2339784" y="999261"/>
                      </a:lnTo>
                      <a:lnTo>
                        <a:pt x="2339556" y="1000531"/>
                      </a:lnTo>
                      <a:lnTo>
                        <a:pt x="2339911" y="1001801"/>
                      </a:lnTo>
                      <a:lnTo>
                        <a:pt x="2340660" y="1003071"/>
                      </a:lnTo>
                      <a:lnTo>
                        <a:pt x="2339581" y="1003071"/>
                      </a:lnTo>
                      <a:lnTo>
                        <a:pt x="2337473" y="1004341"/>
                      </a:lnTo>
                      <a:lnTo>
                        <a:pt x="2336901" y="1005611"/>
                      </a:lnTo>
                      <a:lnTo>
                        <a:pt x="2336127" y="1005611"/>
                      </a:lnTo>
                      <a:lnTo>
                        <a:pt x="2334171" y="1008151"/>
                      </a:lnTo>
                      <a:lnTo>
                        <a:pt x="2336990" y="1013231"/>
                      </a:lnTo>
                      <a:lnTo>
                        <a:pt x="2337219" y="1014501"/>
                      </a:lnTo>
                      <a:lnTo>
                        <a:pt x="2336977" y="1014501"/>
                      </a:lnTo>
                      <a:lnTo>
                        <a:pt x="2336266" y="1015771"/>
                      </a:lnTo>
                      <a:lnTo>
                        <a:pt x="2335441" y="1017041"/>
                      </a:lnTo>
                      <a:lnTo>
                        <a:pt x="2332837" y="1019581"/>
                      </a:lnTo>
                      <a:lnTo>
                        <a:pt x="2331059" y="1022121"/>
                      </a:lnTo>
                      <a:lnTo>
                        <a:pt x="2331224" y="1024661"/>
                      </a:lnTo>
                      <a:lnTo>
                        <a:pt x="2332482" y="1024661"/>
                      </a:lnTo>
                      <a:lnTo>
                        <a:pt x="2333117" y="1025931"/>
                      </a:lnTo>
                      <a:lnTo>
                        <a:pt x="2336076" y="1025931"/>
                      </a:lnTo>
                      <a:lnTo>
                        <a:pt x="2337206" y="1024661"/>
                      </a:lnTo>
                      <a:lnTo>
                        <a:pt x="2337841" y="1024661"/>
                      </a:lnTo>
                      <a:lnTo>
                        <a:pt x="2338717" y="1025931"/>
                      </a:lnTo>
                      <a:lnTo>
                        <a:pt x="2340203" y="1033551"/>
                      </a:lnTo>
                      <a:lnTo>
                        <a:pt x="2340787" y="1034821"/>
                      </a:lnTo>
                      <a:lnTo>
                        <a:pt x="2342096" y="1034821"/>
                      </a:lnTo>
                      <a:lnTo>
                        <a:pt x="2341130" y="1039901"/>
                      </a:lnTo>
                      <a:lnTo>
                        <a:pt x="2343683" y="1042441"/>
                      </a:lnTo>
                      <a:lnTo>
                        <a:pt x="2344610" y="1043711"/>
                      </a:lnTo>
                      <a:lnTo>
                        <a:pt x="2346756" y="1044981"/>
                      </a:lnTo>
                      <a:lnTo>
                        <a:pt x="2347010" y="1044981"/>
                      </a:lnTo>
                      <a:lnTo>
                        <a:pt x="2347303" y="1046251"/>
                      </a:lnTo>
                      <a:lnTo>
                        <a:pt x="2346922" y="1046251"/>
                      </a:lnTo>
                      <a:lnTo>
                        <a:pt x="2346756" y="1047521"/>
                      </a:lnTo>
                      <a:lnTo>
                        <a:pt x="2346490" y="1047521"/>
                      </a:lnTo>
                      <a:lnTo>
                        <a:pt x="2346388" y="1048791"/>
                      </a:lnTo>
                      <a:lnTo>
                        <a:pt x="2338641" y="1048791"/>
                      </a:lnTo>
                      <a:lnTo>
                        <a:pt x="2331428" y="1051331"/>
                      </a:lnTo>
                      <a:lnTo>
                        <a:pt x="2329662" y="1053871"/>
                      </a:lnTo>
                      <a:lnTo>
                        <a:pt x="2329408" y="1053871"/>
                      </a:lnTo>
                      <a:lnTo>
                        <a:pt x="2329116" y="1055141"/>
                      </a:lnTo>
                      <a:lnTo>
                        <a:pt x="2329281" y="1056411"/>
                      </a:lnTo>
                      <a:lnTo>
                        <a:pt x="2317750" y="1069111"/>
                      </a:lnTo>
                      <a:lnTo>
                        <a:pt x="2315489" y="1071651"/>
                      </a:lnTo>
                      <a:lnTo>
                        <a:pt x="2311171" y="1074191"/>
                      </a:lnTo>
                      <a:lnTo>
                        <a:pt x="2310269" y="1075461"/>
                      </a:lnTo>
                      <a:lnTo>
                        <a:pt x="2296325" y="1075461"/>
                      </a:lnTo>
                      <a:lnTo>
                        <a:pt x="2293086" y="1076731"/>
                      </a:lnTo>
                      <a:lnTo>
                        <a:pt x="2293302" y="1078001"/>
                      </a:lnTo>
                      <a:lnTo>
                        <a:pt x="2292794" y="1076731"/>
                      </a:lnTo>
                      <a:lnTo>
                        <a:pt x="2291753" y="1076731"/>
                      </a:lnTo>
                      <a:lnTo>
                        <a:pt x="2289556" y="1078001"/>
                      </a:lnTo>
                      <a:lnTo>
                        <a:pt x="2288489" y="1078001"/>
                      </a:lnTo>
                      <a:lnTo>
                        <a:pt x="2288667" y="1080541"/>
                      </a:lnTo>
                      <a:lnTo>
                        <a:pt x="2290876" y="1081811"/>
                      </a:lnTo>
                      <a:lnTo>
                        <a:pt x="2291308" y="1081811"/>
                      </a:lnTo>
                      <a:lnTo>
                        <a:pt x="2291499" y="1083081"/>
                      </a:lnTo>
                      <a:lnTo>
                        <a:pt x="2291245" y="1083081"/>
                      </a:lnTo>
                      <a:lnTo>
                        <a:pt x="2290572" y="1084351"/>
                      </a:lnTo>
                      <a:lnTo>
                        <a:pt x="2287727" y="1088161"/>
                      </a:lnTo>
                      <a:lnTo>
                        <a:pt x="2286787" y="1088161"/>
                      </a:lnTo>
                      <a:lnTo>
                        <a:pt x="2285504" y="1089431"/>
                      </a:lnTo>
                      <a:lnTo>
                        <a:pt x="2284844" y="1090701"/>
                      </a:lnTo>
                      <a:lnTo>
                        <a:pt x="2276957" y="1090701"/>
                      </a:lnTo>
                      <a:lnTo>
                        <a:pt x="2275979" y="1091971"/>
                      </a:lnTo>
                      <a:lnTo>
                        <a:pt x="2274443" y="1091971"/>
                      </a:lnTo>
                      <a:lnTo>
                        <a:pt x="2269426" y="1093241"/>
                      </a:lnTo>
                      <a:lnTo>
                        <a:pt x="2266962" y="1093241"/>
                      </a:lnTo>
                      <a:lnTo>
                        <a:pt x="2266188" y="1094511"/>
                      </a:lnTo>
                      <a:lnTo>
                        <a:pt x="2264168" y="1094511"/>
                      </a:lnTo>
                      <a:lnTo>
                        <a:pt x="2262670" y="1095781"/>
                      </a:lnTo>
                      <a:lnTo>
                        <a:pt x="2262251" y="1095781"/>
                      </a:lnTo>
                      <a:lnTo>
                        <a:pt x="2260511" y="1097051"/>
                      </a:lnTo>
                      <a:lnTo>
                        <a:pt x="2258479" y="1094511"/>
                      </a:lnTo>
                      <a:lnTo>
                        <a:pt x="2257399" y="1093241"/>
                      </a:lnTo>
                      <a:lnTo>
                        <a:pt x="2254732" y="1093241"/>
                      </a:lnTo>
                      <a:lnTo>
                        <a:pt x="2253932" y="1094511"/>
                      </a:lnTo>
                      <a:lnTo>
                        <a:pt x="2253259" y="1095781"/>
                      </a:lnTo>
                      <a:lnTo>
                        <a:pt x="2250630" y="1095781"/>
                      </a:lnTo>
                      <a:lnTo>
                        <a:pt x="2247620" y="1097051"/>
                      </a:lnTo>
                      <a:lnTo>
                        <a:pt x="2242909" y="1097051"/>
                      </a:lnTo>
                      <a:lnTo>
                        <a:pt x="2243328" y="1095781"/>
                      </a:lnTo>
                      <a:lnTo>
                        <a:pt x="2243467" y="1095781"/>
                      </a:lnTo>
                      <a:lnTo>
                        <a:pt x="2243772" y="1094511"/>
                      </a:lnTo>
                      <a:lnTo>
                        <a:pt x="2242642" y="1094511"/>
                      </a:lnTo>
                      <a:lnTo>
                        <a:pt x="2242032" y="1093241"/>
                      </a:lnTo>
                      <a:lnTo>
                        <a:pt x="2240940" y="1090701"/>
                      </a:lnTo>
                      <a:lnTo>
                        <a:pt x="2240521" y="1089431"/>
                      </a:lnTo>
                      <a:lnTo>
                        <a:pt x="2238184" y="1084351"/>
                      </a:lnTo>
                      <a:lnTo>
                        <a:pt x="2236597" y="1083081"/>
                      </a:lnTo>
                      <a:lnTo>
                        <a:pt x="2234615" y="1080541"/>
                      </a:lnTo>
                      <a:lnTo>
                        <a:pt x="2226195" y="1074191"/>
                      </a:lnTo>
                      <a:lnTo>
                        <a:pt x="2223058" y="1070381"/>
                      </a:lnTo>
                      <a:lnTo>
                        <a:pt x="2222246" y="1069111"/>
                      </a:lnTo>
                      <a:lnTo>
                        <a:pt x="2220925" y="1067841"/>
                      </a:lnTo>
                      <a:lnTo>
                        <a:pt x="2221852" y="1066571"/>
                      </a:lnTo>
                      <a:lnTo>
                        <a:pt x="2222855" y="1065301"/>
                      </a:lnTo>
                      <a:lnTo>
                        <a:pt x="2223109" y="1064031"/>
                      </a:lnTo>
                      <a:lnTo>
                        <a:pt x="2226894" y="1064031"/>
                      </a:lnTo>
                      <a:lnTo>
                        <a:pt x="2228456" y="1065301"/>
                      </a:lnTo>
                      <a:lnTo>
                        <a:pt x="2232571" y="1065301"/>
                      </a:lnTo>
                      <a:lnTo>
                        <a:pt x="2236432" y="1064031"/>
                      </a:lnTo>
                      <a:lnTo>
                        <a:pt x="2236292" y="1062761"/>
                      </a:lnTo>
                      <a:lnTo>
                        <a:pt x="2221852" y="1062761"/>
                      </a:lnTo>
                      <a:lnTo>
                        <a:pt x="2220074" y="1065314"/>
                      </a:lnTo>
                      <a:lnTo>
                        <a:pt x="2218258" y="1067841"/>
                      </a:lnTo>
                      <a:lnTo>
                        <a:pt x="2218486" y="1069111"/>
                      </a:lnTo>
                      <a:lnTo>
                        <a:pt x="2220671" y="1070381"/>
                      </a:lnTo>
                      <a:lnTo>
                        <a:pt x="2221471" y="1071651"/>
                      </a:lnTo>
                      <a:lnTo>
                        <a:pt x="2222855" y="1072921"/>
                      </a:lnTo>
                      <a:lnTo>
                        <a:pt x="2224735" y="1075461"/>
                      </a:lnTo>
                      <a:lnTo>
                        <a:pt x="2233155" y="1083081"/>
                      </a:lnTo>
                      <a:lnTo>
                        <a:pt x="2235174" y="1084351"/>
                      </a:lnTo>
                      <a:lnTo>
                        <a:pt x="2236406" y="1085621"/>
                      </a:lnTo>
                      <a:lnTo>
                        <a:pt x="2238603" y="1090701"/>
                      </a:lnTo>
                      <a:lnTo>
                        <a:pt x="2239022" y="1091971"/>
                      </a:lnTo>
                      <a:lnTo>
                        <a:pt x="2240165" y="1094511"/>
                      </a:lnTo>
                      <a:lnTo>
                        <a:pt x="2240927" y="1095781"/>
                      </a:lnTo>
                      <a:lnTo>
                        <a:pt x="2241219" y="1095781"/>
                      </a:lnTo>
                      <a:lnTo>
                        <a:pt x="2241054" y="1097051"/>
                      </a:lnTo>
                      <a:lnTo>
                        <a:pt x="2240457" y="1098321"/>
                      </a:lnTo>
                      <a:lnTo>
                        <a:pt x="2239632" y="1099591"/>
                      </a:lnTo>
                      <a:lnTo>
                        <a:pt x="2238540" y="1099591"/>
                      </a:lnTo>
                      <a:lnTo>
                        <a:pt x="2237663" y="1100861"/>
                      </a:lnTo>
                      <a:lnTo>
                        <a:pt x="2236940" y="1102131"/>
                      </a:lnTo>
                      <a:lnTo>
                        <a:pt x="2236762" y="1102131"/>
                      </a:lnTo>
                      <a:lnTo>
                        <a:pt x="2235708" y="1104671"/>
                      </a:lnTo>
                      <a:lnTo>
                        <a:pt x="2233320" y="1108481"/>
                      </a:lnTo>
                      <a:lnTo>
                        <a:pt x="2232583" y="1109751"/>
                      </a:lnTo>
                      <a:lnTo>
                        <a:pt x="2232050" y="1111021"/>
                      </a:lnTo>
                      <a:lnTo>
                        <a:pt x="2231225" y="1113561"/>
                      </a:lnTo>
                      <a:lnTo>
                        <a:pt x="2229726" y="1116101"/>
                      </a:lnTo>
                      <a:lnTo>
                        <a:pt x="2224430" y="1118641"/>
                      </a:lnTo>
                      <a:lnTo>
                        <a:pt x="2225598" y="1121181"/>
                      </a:lnTo>
                      <a:lnTo>
                        <a:pt x="2226957" y="1122451"/>
                      </a:lnTo>
                      <a:lnTo>
                        <a:pt x="2227567" y="1122451"/>
                      </a:lnTo>
                      <a:lnTo>
                        <a:pt x="2227707" y="1123721"/>
                      </a:lnTo>
                      <a:lnTo>
                        <a:pt x="2227669" y="1126261"/>
                      </a:lnTo>
                      <a:lnTo>
                        <a:pt x="2227554" y="1127531"/>
                      </a:lnTo>
                      <a:lnTo>
                        <a:pt x="2226729" y="1130071"/>
                      </a:lnTo>
                      <a:lnTo>
                        <a:pt x="2226729" y="1131341"/>
                      </a:lnTo>
                      <a:lnTo>
                        <a:pt x="2227859" y="1133881"/>
                      </a:lnTo>
                      <a:lnTo>
                        <a:pt x="2228583" y="1135151"/>
                      </a:lnTo>
                      <a:lnTo>
                        <a:pt x="2229650" y="1141501"/>
                      </a:lnTo>
                      <a:lnTo>
                        <a:pt x="2232888" y="1145311"/>
                      </a:lnTo>
                      <a:lnTo>
                        <a:pt x="2235174" y="1147851"/>
                      </a:lnTo>
                      <a:lnTo>
                        <a:pt x="2233193" y="1147851"/>
                      </a:lnTo>
                      <a:lnTo>
                        <a:pt x="2237600" y="1155471"/>
                      </a:lnTo>
                      <a:lnTo>
                        <a:pt x="2241880" y="1159281"/>
                      </a:lnTo>
                      <a:lnTo>
                        <a:pt x="2242578" y="1159281"/>
                      </a:lnTo>
                      <a:lnTo>
                        <a:pt x="2246147" y="1163091"/>
                      </a:lnTo>
                      <a:lnTo>
                        <a:pt x="2248624" y="1165631"/>
                      </a:lnTo>
                      <a:lnTo>
                        <a:pt x="2249081" y="1165631"/>
                      </a:lnTo>
                      <a:lnTo>
                        <a:pt x="2249093" y="1166901"/>
                      </a:lnTo>
                      <a:lnTo>
                        <a:pt x="2248941" y="1168171"/>
                      </a:lnTo>
                      <a:lnTo>
                        <a:pt x="2250338" y="1174521"/>
                      </a:lnTo>
                      <a:lnTo>
                        <a:pt x="2249843" y="1174521"/>
                      </a:lnTo>
                      <a:lnTo>
                        <a:pt x="2248979" y="1175791"/>
                      </a:lnTo>
                      <a:lnTo>
                        <a:pt x="2248674" y="1175791"/>
                      </a:lnTo>
                      <a:lnTo>
                        <a:pt x="2248573" y="1180871"/>
                      </a:lnTo>
                      <a:lnTo>
                        <a:pt x="2247684" y="1179601"/>
                      </a:lnTo>
                      <a:lnTo>
                        <a:pt x="2246198" y="1178331"/>
                      </a:lnTo>
                      <a:lnTo>
                        <a:pt x="2239835" y="1178331"/>
                      </a:lnTo>
                      <a:lnTo>
                        <a:pt x="2238857" y="1177061"/>
                      </a:lnTo>
                      <a:lnTo>
                        <a:pt x="2234730" y="1177061"/>
                      </a:lnTo>
                      <a:lnTo>
                        <a:pt x="2232799" y="1175791"/>
                      </a:lnTo>
                      <a:lnTo>
                        <a:pt x="2230488" y="1175791"/>
                      </a:lnTo>
                      <a:lnTo>
                        <a:pt x="2229764" y="1174521"/>
                      </a:lnTo>
                      <a:lnTo>
                        <a:pt x="2209673" y="1174521"/>
                      </a:lnTo>
                      <a:lnTo>
                        <a:pt x="2208987" y="1173251"/>
                      </a:lnTo>
                      <a:lnTo>
                        <a:pt x="2188857" y="1173251"/>
                      </a:lnTo>
                      <a:lnTo>
                        <a:pt x="2186305" y="1171981"/>
                      </a:lnTo>
                      <a:lnTo>
                        <a:pt x="2185378" y="1173251"/>
                      </a:lnTo>
                      <a:lnTo>
                        <a:pt x="2182876" y="1171981"/>
                      </a:lnTo>
                      <a:lnTo>
                        <a:pt x="2181339" y="1173251"/>
                      </a:lnTo>
                      <a:lnTo>
                        <a:pt x="2181199" y="1174521"/>
                      </a:lnTo>
                      <a:lnTo>
                        <a:pt x="2163648" y="1174521"/>
                      </a:lnTo>
                      <a:lnTo>
                        <a:pt x="2162086" y="1173251"/>
                      </a:lnTo>
                      <a:lnTo>
                        <a:pt x="2161235" y="1173251"/>
                      </a:lnTo>
                      <a:lnTo>
                        <a:pt x="2161019" y="1171981"/>
                      </a:lnTo>
                      <a:lnTo>
                        <a:pt x="2159952" y="1171981"/>
                      </a:lnTo>
                      <a:lnTo>
                        <a:pt x="2159355" y="1174521"/>
                      </a:lnTo>
                      <a:lnTo>
                        <a:pt x="2160117" y="1174521"/>
                      </a:lnTo>
                      <a:lnTo>
                        <a:pt x="2161540" y="1175791"/>
                      </a:lnTo>
                      <a:lnTo>
                        <a:pt x="2164283" y="1177061"/>
                      </a:lnTo>
                      <a:lnTo>
                        <a:pt x="2180793" y="1177061"/>
                      </a:lnTo>
                      <a:lnTo>
                        <a:pt x="2180920" y="1183411"/>
                      </a:lnTo>
                      <a:lnTo>
                        <a:pt x="2181631" y="1191031"/>
                      </a:lnTo>
                      <a:lnTo>
                        <a:pt x="2181225" y="1191031"/>
                      </a:lnTo>
                      <a:lnTo>
                        <a:pt x="2180704" y="1192301"/>
                      </a:lnTo>
                      <a:lnTo>
                        <a:pt x="2176640" y="1191031"/>
                      </a:lnTo>
                      <a:lnTo>
                        <a:pt x="2157882" y="1191031"/>
                      </a:lnTo>
                      <a:lnTo>
                        <a:pt x="2157933" y="1192301"/>
                      </a:lnTo>
                      <a:lnTo>
                        <a:pt x="2158974" y="1192301"/>
                      </a:lnTo>
                      <a:lnTo>
                        <a:pt x="2158923" y="1193571"/>
                      </a:lnTo>
                      <a:lnTo>
                        <a:pt x="2181809" y="1193571"/>
                      </a:lnTo>
                      <a:lnTo>
                        <a:pt x="2183650" y="1192301"/>
                      </a:lnTo>
                      <a:lnTo>
                        <a:pt x="2183638" y="1189761"/>
                      </a:lnTo>
                      <a:lnTo>
                        <a:pt x="2183142" y="1184681"/>
                      </a:lnTo>
                      <a:lnTo>
                        <a:pt x="2183028" y="1182141"/>
                      </a:lnTo>
                      <a:lnTo>
                        <a:pt x="2183041" y="1175791"/>
                      </a:lnTo>
                      <a:lnTo>
                        <a:pt x="2183244" y="1174521"/>
                      </a:lnTo>
                      <a:lnTo>
                        <a:pt x="2194077" y="1174521"/>
                      </a:lnTo>
                      <a:lnTo>
                        <a:pt x="2203831" y="1175791"/>
                      </a:lnTo>
                      <a:lnTo>
                        <a:pt x="2208085" y="1175791"/>
                      </a:lnTo>
                      <a:lnTo>
                        <a:pt x="2208161" y="1177061"/>
                      </a:lnTo>
                      <a:lnTo>
                        <a:pt x="2207666" y="1178331"/>
                      </a:lnTo>
                      <a:lnTo>
                        <a:pt x="2206561" y="1182141"/>
                      </a:lnTo>
                      <a:lnTo>
                        <a:pt x="2207196" y="1188491"/>
                      </a:lnTo>
                      <a:lnTo>
                        <a:pt x="2207234" y="1191031"/>
                      </a:lnTo>
                      <a:lnTo>
                        <a:pt x="2214435" y="1188491"/>
                      </a:lnTo>
                      <a:lnTo>
                        <a:pt x="2217724" y="1187221"/>
                      </a:lnTo>
                      <a:lnTo>
                        <a:pt x="2221179" y="1188491"/>
                      </a:lnTo>
                      <a:lnTo>
                        <a:pt x="2222512" y="1188491"/>
                      </a:lnTo>
                      <a:lnTo>
                        <a:pt x="2225002" y="1193571"/>
                      </a:lnTo>
                      <a:lnTo>
                        <a:pt x="2225141" y="1194841"/>
                      </a:lnTo>
                      <a:lnTo>
                        <a:pt x="2224836" y="1194841"/>
                      </a:lnTo>
                      <a:lnTo>
                        <a:pt x="2224367" y="1197381"/>
                      </a:lnTo>
                      <a:lnTo>
                        <a:pt x="2221306" y="1198651"/>
                      </a:lnTo>
                      <a:lnTo>
                        <a:pt x="2220112" y="1199921"/>
                      </a:lnTo>
                      <a:lnTo>
                        <a:pt x="2219147" y="1203731"/>
                      </a:lnTo>
                      <a:lnTo>
                        <a:pt x="2218753" y="1205001"/>
                      </a:lnTo>
                      <a:lnTo>
                        <a:pt x="2217255" y="1207541"/>
                      </a:lnTo>
                      <a:lnTo>
                        <a:pt x="2217267" y="1210081"/>
                      </a:lnTo>
                      <a:lnTo>
                        <a:pt x="2217394" y="1210081"/>
                      </a:lnTo>
                      <a:lnTo>
                        <a:pt x="2217547" y="1211351"/>
                      </a:lnTo>
                      <a:lnTo>
                        <a:pt x="2218550" y="1212621"/>
                      </a:lnTo>
                      <a:lnTo>
                        <a:pt x="2226005" y="1215161"/>
                      </a:lnTo>
                      <a:lnTo>
                        <a:pt x="2226183" y="1216431"/>
                      </a:lnTo>
                      <a:lnTo>
                        <a:pt x="2225649" y="1218971"/>
                      </a:lnTo>
                      <a:lnTo>
                        <a:pt x="2225129" y="1220241"/>
                      </a:lnTo>
                      <a:lnTo>
                        <a:pt x="2224951" y="1220241"/>
                      </a:lnTo>
                      <a:lnTo>
                        <a:pt x="2224875" y="1221511"/>
                      </a:lnTo>
                      <a:lnTo>
                        <a:pt x="2225560" y="1224051"/>
                      </a:lnTo>
                      <a:lnTo>
                        <a:pt x="2225802" y="1224051"/>
                      </a:lnTo>
                      <a:lnTo>
                        <a:pt x="2225725" y="1226591"/>
                      </a:lnTo>
                      <a:lnTo>
                        <a:pt x="2223986" y="1234211"/>
                      </a:lnTo>
                      <a:lnTo>
                        <a:pt x="2220823" y="1241831"/>
                      </a:lnTo>
                      <a:lnTo>
                        <a:pt x="2219287" y="1240561"/>
                      </a:lnTo>
                      <a:lnTo>
                        <a:pt x="2218855" y="1239291"/>
                      </a:lnTo>
                      <a:lnTo>
                        <a:pt x="2218194" y="1238021"/>
                      </a:lnTo>
                      <a:lnTo>
                        <a:pt x="2217343" y="1236751"/>
                      </a:lnTo>
                      <a:lnTo>
                        <a:pt x="2215985" y="1235481"/>
                      </a:lnTo>
                      <a:lnTo>
                        <a:pt x="2215032" y="1238021"/>
                      </a:lnTo>
                      <a:lnTo>
                        <a:pt x="2214257" y="1239291"/>
                      </a:lnTo>
                      <a:lnTo>
                        <a:pt x="2205748" y="1239291"/>
                      </a:lnTo>
                      <a:lnTo>
                        <a:pt x="2203475" y="1232941"/>
                      </a:lnTo>
                      <a:lnTo>
                        <a:pt x="2196769" y="1232941"/>
                      </a:lnTo>
                      <a:lnTo>
                        <a:pt x="2196642" y="1234211"/>
                      </a:lnTo>
                      <a:lnTo>
                        <a:pt x="2196465" y="1234211"/>
                      </a:lnTo>
                      <a:lnTo>
                        <a:pt x="2195893" y="1238021"/>
                      </a:lnTo>
                      <a:lnTo>
                        <a:pt x="2195576" y="1238021"/>
                      </a:lnTo>
                      <a:lnTo>
                        <a:pt x="2195220" y="1239291"/>
                      </a:lnTo>
                      <a:lnTo>
                        <a:pt x="2188984" y="1239291"/>
                      </a:lnTo>
                      <a:lnTo>
                        <a:pt x="2187892" y="1240561"/>
                      </a:lnTo>
                      <a:lnTo>
                        <a:pt x="2186241" y="1239291"/>
                      </a:lnTo>
                      <a:lnTo>
                        <a:pt x="2183206" y="1239291"/>
                      </a:lnTo>
                      <a:lnTo>
                        <a:pt x="2184489" y="1241831"/>
                      </a:lnTo>
                      <a:lnTo>
                        <a:pt x="2184501" y="1243101"/>
                      </a:lnTo>
                      <a:lnTo>
                        <a:pt x="2184692" y="1243101"/>
                      </a:lnTo>
                      <a:lnTo>
                        <a:pt x="2184743" y="1244371"/>
                      </a:lnTo>
                      <a:lnTo>
                        <a:pt x="2184425" y="1244371"/>
                      </a:lnTo>
                      <a:lnTo>
                        <a:pt x="2183930" y="1245641"/>
                      </a:lnTo>
                      <a:lnTo>
                        <a:pt x="2183955" y="1246911"/>
                      </a:lnTo>
                      <a:lnTo>
                        <a:pt x="2184146" y="1248181"/>
                      </a:lnTo>
                      <a:lnTo>
                        <a:pt x="2184793" y="1248181"/>
                      </a:lnTo>
                      <a:lnTo>
                        <a:pt x="2186038" y="1249451"/>
                      </a:lnTo>
                      <a:lnTo>
                        <a:pt x="2186838" y="1249451"/>
                      </a:lnTo>
                      <a:lnTo>
                        <a:pt x="2186394" y="1250721"/>
                      </a:lnTo>
                      <a:lnTo>
                        <a:pt x="2185987" y="1250721"/>
                      </a:lnTo>
                      <a:lnTo>
                        <a:pt x="2186076" y="1251991"/>
                      </a:lnTo>
                      <a:lnTo>
                        <a:pt x="2186330" y="1253261"/>
                      </a:lnTo>
                      <a:lnTo>
                        <a:pt x="2187257" y="1253261"/>
                      </a:lnTo>
                      <a:lnTo>
                        <a:pt x="2187968" y="1254531"/>
                      </a:lnTo>
                      <a:lnTo>
                        <a:pt x="2189403" y="1254531"/>
                      </a:lnTo>
                      <a:lnTo>
                        <a:pt x="2188730" y="1255801"/>
                      </a:lnTo>
                      <a:lnTo>
                        <a:pt x="2188527" y="1257071"/>
                      </a:lnTo>
                      <a:lnTo>
                        <a:pt x="2188921" y="1258341"/>
                      </a:lnTo>
                      <a:lnTo>
                        <a:pt x="2188553" y="1258341"/>
                      </a:lnTo>
                      <a:lnTo>
                        <a:pt x="2186927" y="1257071"/>
                      </a:lnTo>
                      <a:lnTo>
                        <a:pt x="2185708" y="1257071"/>
                      </a:lnTo>
                      <a:lnTo>
                        <a:pt x="2184666" y="1255801"/>
                      </a:lnTo>
                      <a:lnTo>
                        <a:pt x="2183053" y="1255801"/>
                      </a:lnTo>
                      <a:lnTo>
                        <a:pt x="2182888" y="1257071"/>
                      </a:lnTo>
                      <a:lnTo>
                        <a:pt x="2181910" y="1257071"/>
                      </a:lnTo>
                      <a:lnTo>
                        <a:pt x="2180564" y="1258341"/>
                      </a:lnTo>
                      <a:lnTo>
                        <a:pt x="2180018" y="1258341"/>
                      </a:lnTo>
                      <a:lnTo>
                        <a:pt x="2179586" y="1259611"/>
                      </a:lnTo>
                      <a:lnTo>
                        <a:pt x="2178964" y="1259611"/>
                      </a:lnTo>
                      <a:lnTo>
                        <a:pt x="2177796" y="1263421"/>
                      </a:lnTo>
                      <a:lnTo>
                        <a:pt x="2179764" y="1263421"/>
                      </a:lnTo>
                      <a:lnTo>
                        <a:pt x="2180844" y="1260881"/>
                      </a:lnTo>
                      <a:lnTo>
                        <a:pt x="2181580" y="1259611"/>
                      </a:lnTo>
                      <a:lnTo>
                        <a:pt x="2181910" y="1259611"/>
                      </a:lnTo>
                      <a:lnTo>
                        <a:pt x="2183727" y="1258341"/>
                      </a:lnTo>
                      <a:lnTo>
                        <a:pt x="2184717" y="1258341"/>
                      </a:lnTo>
                      <a:lnTo>
                        <a:pt x="2186406" y="1259611"/>
                      </a:lnTo>
                      <a:lnTo>
                        <a:pt x="2188667" y="1260881"/>
                      </a:lnTo>
                      <a:lnTo>
                        <a:pt x="2190191" y="1260881"/>
                      </a:lnTo>
                      <a:lnTo>
                        <a:pt x="2190572" y="1259611"/>
                      </a:lnTo>
                      <a:lnTo>
                        <a:pt x="2191016" y="1259611"/>
                      </a:lnTo>
                      <a:lnTo>
                        <a:pt x="2191080" y="1258341"/>
                      </a:lnTo>
                      <a:lnTo>
                        <a:pt x="2190750" y="1257071"/>
                      </a:lnTo>
                      <a:lnTo>
                        <a:pt x="2191220" y="1255801"/>
                      </a:lnTo>
                      <a:lnTo>
                        <a:pt x="2191816" y="1255801"/>
                      </a:lnTo>
                      <a:lnTo>
                        <a:pt x="2191778" y="1254531"/>
                      </a:lnTo>
                      <a:lnTo>
                        <a:pt x="2191474" y="1253261"/>
                      </a:lnTo>
                      <a:lnTo>
                        <a:pt x="2190216" y="1253261"/>
                      </a:lnTo>
                      <a:lnTo>
                        <a:pt x="2189683" y="1251991"/>
                      </a:lnTo>
                      <a:lnTo>
                        <a:pt x="2188375" y="1251991"/>
                      </a:lnTo>
                      <a:lnTo>
                        <a:pt x="2188705" y="1250721"/>
                      </a:lnTo>
                      <a:lnTo>
                        <a:pt x="2190013" y="1250721"/>
                      </a:lnTo>
                      <a:lnTo>
                        <a:pt x="2188578" y="1248181"/>
                      </a:lnTo>
                      <a:lnTo>
                        <a:pt x="2187308" y="1248181"/>
                      </a:lnTo>
                      <a:lnTo>
                        <a:pt x="2186140" y="1246911"/>
                      </a:lnTo>
                      <a:lnTo>
                        <a:pt x="2186736" y="1244371"/>
                      </a:lnTo>
                      <a:lnTo>
                        <a:pt x="2186940" y="1244371"/>
                      </a:lnTo>
                      <a:lnTo>
                        <a:pt x="2186940" y="1243101"/>
                      </a:lnTo>
                      <a:lnTo>
                        <a:pt x="2186622" y="1243101"/>
                      </a:lnTo>
                      <a:lnTo>
                        <a:pt x="2186609" y="1241831"/>
                      </a:lnTo>
                      <a:lnTo>
                        <a:pt x="2194610" y="1241831"/>
                      </a:lnTo>
                      <a:lnTo>
                        <a:pt x="2195766" y="1240561"/>
                      </a:lnTo>
                      <a:lnTo>
                        <a:pt x="2197531" y="1240561"/>
                      </a:lnTo>
                      <a:lnTo>
                        <a:pt x="2197925" y="1239291"/>
                      </a:lnTo>
                      <a:lnTo>
                        <a:pt x="2198535" y="1235481"/>
                      </a:lnTo>
                      <a:lnTo>
                        <a:pt x="2198611" y="1234211"/>
                      </a:lnTo>
                      <a:lnTo>
                        <a:pt x="2201659" y="1234211"/>
                      </a:lnTo>
                      <a:lnTo>
                        <a:pt x="2201989" y="1235481"/>
                      </a:lnTo>
                      <a:lnTo>
                        <a:pt x="2204212" y="1241831"/>
                      </a:lnTo>
                      <a:lnTo>
                        <a:pt x="2213457" y="1241831"/>
                      </a:lnTo>
                      <a:lnTo>
                        <a:pt x="2215565" y="1240548"/>
                      </a:lnTo>
                      <a:lnTo>
                        <a:pt x="2216061" y="1239291"/>
                      </a:lnTo>
                      <a:lnTo>
                        <a:pt x="2216721" y="1239291"/>
                      </a:lnTo>
                      <a:lnTo>
                        <a:pt x="2216937" y="1240561"/>
                      </a:lnTo>
                      <a:lnTo>
                        <a:pt x="2217115" y="1240561"/>
                      </a:lnTo>
                      <a:lnTo>
                        <a:pt x="2216861" y="1241831"/>
                      </a:lnTo>
                      <a:lnTo>
                        <a:pt x="2217204" y="1241831"/>
                      </a:lnTo>
                      <a:lnTo>
                        <a:pt x="2217318" y="1243101"/>
                      </a:lnTo>
                      <a:lnTo>
                        <a:pt x="2222131" y="1243101"/>
                      </a:lnTo>
                      <a:lnTo>
                        <a:pt x="2225929" y="1235481"/>
                      </a:lnTo>
                      <a:lnTo>
                        <a:pt x="2226703" y="1234211"/>
                      </a:lnTo>
                      <a:lnTo>
                        <a:pt x="2227948" y="1226591"/>
                      </a:lnTo>
                      <a:lnTo>
                        <a:pt x="2227910" y="1224051"/>
                      </a:lnTo>
                      <a:lnTo>
                        <a:pt x="2227783" y="1224051"/>
                      </a:lnTo>
                      <a:lnTo>
                        <a:pt x="2227059" y="1221511"/>
                      </a:lnTo>
                      <a:lnTo>
                        <a:pt x="2227059" y="1220241"/>
                      </a:lnTo>
                      <a:lnTo>
                        <a:pt x="2227630" y="1220241"/>
                      </a:lnTo>
                      <a:lnTo>
                        <a:pt x="2228380" y="1216431"/>
                      </a:lnTo>
                      <a:lnTo>
                        <a:pt x="2227872" y="1213891"/>
                      </a:lnTo>
                      <a:lnTo>
                        <a:pt x="2219909" y="1210081"/>
                      </a:lnTo>
                      <a:lnTo>
                        <a:pt x="2219375" y="1210081"/>
                      </a:lnTo>
                      <a:lnTo>
                        <a:pt x="2219350" y="1208811"/>
                      </a:lnTo>
                      <a:lnTo>
                        <a:pt x="2220811" y="1205001"/>
                      </a:lnTo>
                      <a:lnTo>
                        <a:pt x="2222017" y="1201191"/>
                      </a:lnTo>
                      <a:lnTo>
                        <a:pt x="2222741" y="1199921"/>
                      </a:lnTo>
                      <a:lnTo>
                        <a:pt x="2226145" y="1198651"/>
                      </a:lnTo>
                      <a:lnTo>
                        <a:pt x="2227351" y="1194841"/>
                      </a:lnTo>
                      <a:lnTo>
                        <a:pt x="2227021" y="1193571"/>
                      </a:lnTo>
                      <a:lnTo>
                        <a:pt x="2226907" y="1192301"/>
                      </a:lnTo>
                      <a:lnTo>
                        <a:pt x="2224532" y="1187221"/>
                      </a:lnTo>
                      <a:lnTo>
                        <a:pt x="2223947" y="1185951"/>
                      </a:lnTo>
                      <a:lnTo>
                        <a:pt x="2213775" y="1185951"/>
                      </a:lnTo>
                      <a:lnTo>
                        <a:pt x="2209254" y="1188491"/>
                      </a:lnTo>
                      <a:lnTo>
                        <a:pt x="2208707" y="1182141"/>
                      </a:lnTo>
                      <a:lnTo>
                        <a:pt x="2210308" y="1177061"/>
                      </a:lnTo>
                      <a:lnTo>
                        <a:pt x="2229243" y="1177061"/>
                      </a:lnTo>
                      <a:lnTo>
                        <a:pt x="2230031" y="1178331"/>
                      </a:lnTo>
                      <a:lnTo>
                        <a:pt x="2231872" y="1178331"/>
                      </a:lnTo>
                      <a:lnTo>
                        <a:pt x="2232495" y="1179601"/>
                      </a:lnTo>
                      <a:lnTo>
                        <a:pt x="2238730" y="1179601"/>
                      </a:lnTo>
                      <a:lnTo>
                        <a:pt x="2239276" y="1180871"/>
                      </a:lnTo>
                      <a:lnTo>
                        <a:pt x="2240902" y="1180871"/>
                      </a:lnTo>
                      <a:lnTo>
                        <a:pt x="2243963" y="1179601"/>
                      </a:lnTo>
                      <a:lnTo>
                        <a:pt x="2245042" y="1180871"/>
                      </a:lnTo>
                      <a:lnTo>
                        <a:pt x="2246515" y="1182141"/>
                      </a:lnTo>
                      <a:lnTo>
                        <a:pt x="2247785" y="1182141"/>
                      </a:lnTo>
                      <a:lnTo>
                        <a:pt x="2250313" y="1185951"/>
                      </a:lnTo>
                      <a:lnTo>
                        <a:pt x="2250630" y="1182141"/>
                      </a:lnTo>
                      <a:lnTo>
                        <a:pt x="2250668" y="1180871"/>
                      </a:lnTo>
                      <a:lnTo>
                        <a:pt x="2250808" y="1177061"/>
                      </a:lnTo>
                      <a:lnTo>
                        <a:pt x="2250973" y="1178331"/>
                      </a:lnTo>
                      <a:lnTo>
                        <a:pt x="2251646" y="1177061"/>
                      </a:lnTo>
                      <a:lnTo>
                        <a:pt x="2252332" y="1175791"/>
                      </a:lnTo>
                      <a:lnTo>
                        <a:pt x="2252624" y="1175791"/>
                      </a:lnTo>
                      <a:lnTo>
                        <a:pt x="2254212" y="1173251"/>
                      </a:lnTo>
                      <a:lnTo>
                        <a:pt x="2254707" y="1171981"/>
                      </a:lnTo>
                      <a:lnTo>
                        <a:pt x="2255697" y="1169441"/>
                      </a:lnTo>
                      <a:lnTo>
                        <a:pt x="2256104" y="1166901"/>
                      </a:lnTo>
                      <a:lnTo>
                        <a:pt x="2256510" y="1165631"/>
                      </a:lnTo>
                      <a:lnTo>
                        <a:pt x="2256726" y="1164361"/>
                      </a:lnTo>
                      <a:lnTo>
                        <a:pt x="2256853" y="1163091"/>
                      </a:lnTo>
                      <a:lnTo>
                        <a:pt x="2256891" y="1160551"/>
                      </a:lnTo>
                      <a:lnTo>
                        <a:pt x="2257094" y="1160551"/>
                      </a:lnTo>
                      <a:lnTo>
                        <a:pt x="2257463" y="1159281"/>
                      </a:lnTo>
                      <a:lnTo>
                        <a:pt x="2257704" y="1159281"/>
                      </a:lnTo>
                      <a:lnTo>
                        <a:pt x="2257780" y="1158011"/>
                      </a:lnTo>
                      <a:lnTo>
                        <a:pt x="2258606" y="1158011"/>
                      </a:lnTo>
                      <a:lnTo>
                        <a:pt x="2259850" y="1156741"/>
                      </a:lnTo>
                      <a:lnTo>
                        <a:pt x="2262352" y="1156741"/>
                      </a:lnTo>
                      <a:lnTo>
                        <a:pt x="2262098" y="1155471"/>
                      </a:lnTo>
                      <a:lnTo>
                        <a:pt x="2262682" y="1156741"/>
                      </a:lnTo>
                      <a:lnTo>
                        <a:pt x="2264689" y="1156741"/>
                      </a:lnTo>
                      <a:lnTo>
                        <a:pt x="2268385" y="1155471"/>
                      </a:lnTo>
                      <a:lnTo>
                        <a:pt x="2274697" y="1155471"/>
                      </a:lnTo>
                      <a:lnTo>
                        <a:pt x="2279396" y="1156741"/>
                      </a:lnTo>
                      <a:lnTo>
                        <a:pt x="2282037" y="1156741"/>
                      </a:lnTo>
                      <a:lnTo>
                        <a:pt x="2283688" y="1155471"/>
                      </a:lnTo>
                      <a:lnTo>
                        <a:pt x="2284095" y="1156741"/>
                      </a:lnTo>
                      <a:lnTo>
                        <a:pt x="2286647" y="1159281"/>
                      </a:lnTo>
                      <a:lnTo>
                        <a:pt x="2280462" y="1169441"/>
                      </a:lnTo>
                      <a:lnTo>
                        <a:pt x="2279916" y="1170711"/>
                      </a:lnTo>
                      <a:lnTo>
                        <a:pt x="2279764" y="1170711"/>
                      </a:lnTo>
                      <a:lnTo>
                        <a:pt x="2277402" y="1174521"/>
                      </a:lnTo>
                      <a:lnTo>
                        <a:pt x="2277313" y="1175791"/>
                      </a:lnTo>
                      <a:lnTo>
                        <a:pt x="2277211" y="1179601"/>
                      </a:lnTo>
                      <a:lnTo>
                        <a:pt x="2276818" y="1180871"/>
                      </a:lnTo>
                      <a:lnTo>
                        <a:pt x="2276132" y="1184681"/>
                      </a:lnTo>
                      <a:lnTo>
                        <a:pt x="2274862" y="1188491"/>
                      </a:lnTo>
                      <a:lnTo>
                        <a:pt x="2274392" y="1191031"/>
                      </a:lnTo>
                      <a:lnTo>
                        <a:pt x="2274519" y="1197381"/>
                      </a:lnTo>
                      <a:lnTo>
                        <a:pt x="2274684" y="1198651"/>
                      </a:lnTo>
                      <a:lnTo>
                        <a:pt x="2275281" y="1201191"/>
                      </a:lnTo>
                      <a:lnTo>
                        <a:pt x="2269858" y="1217701"/>
                      </a:lnTo>
                      <a:lnTo>
                        <a:pt x="2267686" y="1218971"/>
                      </a:lnTo>
                      <a:lnTo>
                        <a:pt x="2262555" y="1221511"/>
                      </a:lnTo>
                      <a:lnTo>
                        <a:pt x="2260765" y="1224051"/>
                      </a:lnTo>
                      <a:lnTo>
                        <a:pt x="2259787" y="1224051"/>
                      </a:lnTo>
                      <a:lnTo>
                        <a:pt x="2259266" y="1225321"/>
                      </a:lnTo>
                      <a:lnTo>
                        <a:pt x="2258974" y="1225321"/>
                      </a:lnTo>
                      <a:lnTo>
                        <a:pt x="2258098" y="1226591"/>
                      </a:lnTo>
                      <a:lnTo>
                        <a:pt x="2257133" y="1229131"/>
                      </a:lnTo>
                      <a:lnTo>
                        <a:pt x="2255532" y="1231671"/>
                      </a:lnTo>
                      <a:lnTo>
                        <a:pt x="2253843" y="1234211"/>
                      </a:lnTo>
                      <a:lnTo>
                        <a:pt x="2251265" y="1236751"/>
                      </a:lnTo>
                      <a:lnTo>
                        <a:pt x="2250579" y="1238021"/>
                      </a:lnTo>
                      <a:lnTo>
                        <a:pt x="2250363" y="1238021"/>
                      </a:lnTo>
                      <a:lnTo>
                        <a:pt x="2250135" y="1239291"/>
                      </a:lnTo>
                      <a:lnTo>
                        <a:pt x="2250148" y="1249451"/>
                      </a:lnTo>
                      <a:lnTo>
                        <a:pt x="2250452" y="1251991"/>
                      </a:lnTo>
                      <a:lnTo>
                        <a:pt x="2250490" y="1253261"/>
                      </a:lnTo>
                      <a:lnTo>
                        <a:pt x="2250275" y="1254531"/>
                      </a:lnTo>
                      <a:lnTo>
                        <a:pt x="2250122" y="1255801"/>
                      </a:lnTo>
                      <a:lnTo>
                        <a:pt x="2249919" y="1255801"/>
                      </a:lnTo>
                      <a:lnTo>
                        <a:pt x="2247582" y="1259611"/>
                      </a:lnTo>
                      <a:lnTo>
                        <a:pt x="2245588" y="1263421"/>
                      </a:lnTo>
                      <a:lnTo>
                        <a:pt x="2239060" y="1267231"/>
                      </a:lnTo>
                      <a:lnTo>
                        <a:pt x="2235631" y="1269771"/>
                      </a:lnTo>
                      <a:lnTo>
                        <a:pt x="2230450" y="1276121"/>
                      </a:lnTo>
                      <a:lnTo>
                        <a:pt x="2226957" y="1276121"/>
                      </a:lnTo>
                      <a:lnTo>
                        <a:pt x="2226830" y="1271041"/>
                      </a:lnTo>
                      <a:lnTo>
                        <a:pt x="2226716" y="1267231"/>
                      </a:lnTo>
                      <a:lnTo>
                        <a:pt x="2226614" y="1265961"/>
                      </a:lnTo>
                      <a:lnTo>
                        <a:pt x="2224735" y="1267231"/>
                      </a:lnTo>
                      <a:lnTo>
                        <a:pt x="2222728" y="1268501"/>
                      </a:lnTo>
                      <a:lnTo>
                        <a:pt x="2220049" y="1268501"/>
                      </a:lnTo>
                      <a:lnTo>
                        <a:pt x="2219782" y="1269771"/>
                      </a:lnTo>
                      <a:lnTo>
                        <a:pt x="2214689" y="1269771"/>
                      </a:lnTo>
                      <a:lnTo>
                        <a:pt x="2214969" y="1271041"/>
                      </a:lnTo>
                      <a:lnTo>
                        <a:pt x="2214778" y="1272311"/>
                      </a:lnTo>
                      <a:lnTo>
                        <a:pt x="2214346" y="1273581"/>
                      </a:lnTo>
                      <a:lnTo>
                        <a:pt x="2213279" y="1274851"/>
                      </a:lnTo>
                      <a:lnTo>
                        <a:pt x="2211540" y="1274851"/>
                      </a:lnTo>
                      <a:lnTo>
                        <a:pt x="2209609" y="1273581"/>
                      </a:lnTo>
                      <a:lnTo>
                        <a:pt x="2208733" y="1273581"/>
                      </a:lnTo>
                      <a:lnTo>
                        <a:pt x="2208314" y="1272311"/>
                      </a:lnTo>
                      <a:lnTo>
                        <a:pt x="2205431" y="1271041"/>
                      </a:lnTo>
                      <a:lnTo>
                        <a:pt x="2202281" y="1268501"/>
                      </a:lnTo>
                      <a:lnTo>
                        <a:pt x="2201507" y="1268501"/>
                      </a:lnTo>
                      <a:lnTo>
                        <a:pt x="2201468" y="1269771"/>
                      </a:lnTo>
                      <a:lnTo>
                        <a:pt x="2200275" y="1271041"/>
                      </a:lnTo>
                      <a:lnTo>
                        <a:pt x="2198916" y="1271041"/>
                      </a:lnTo>
                      <a:lnTo>
                        <a:pt x="2197684" y="1272311"/>
                      </a:lnTo>
                      <a:lnTo>
                        <a:pt x="2195398" y="1273581"/>
                      </a:lnTo>
                      <a:lnTo>
                        <a:pt x="2193239" y="1276121"/>
                      </a:lnTo>
                      <a:lnTo>
                        <a:pt x="2190432" y="1278661"/>
                      </a:lnTo>
                      <a:lnTo>
                        <a:pt x="2190661" y="1278661"/>
                      </a:lnTo>
                      <a:lnTo>
                        <a:pt x="2191194" y="1279931"/>
                      </a:lnTo>
                      <a:lnTo>
                        <a:pt x="2192350" y="1279931"/>
                      </a:lnTo>
                      <a:lnTo>
                        <a:pt x="2194598" y="1277391"/>
                      </a:lnTo>
                      <a:lnTo>
                        <a:pt x="2195296" y="1277391"/>
                      </a:lnTo>
                      <a:lnTo>
                        <a:pt x="2196642" y="1276121"/>
                      </a:lnTo>
                      <a:lnTo>
                        <a:pt x="2198878" y="1274851"/>
                      </a:lnTo>
                      <a:lnTo>
                        <a:pt x="2200110" y="1273581"/>
                      </a:lnTo>
                      <a:lnTo>
                        <a:pt x="2201392" y="1272311"/>
                      </a:lnTo>
                      <a:lnTo>
                        <a:pt x="2202573" y="1271041"/>
                      </a:lnTo>
                      <a:lnTo>
                        <a:pt x="2204999" y="1273581"/>
                      </a:lnTo>
                      <a:lnTo>
                        <a:pt x="2203666" y="1273581"/>
                      </a:lnTo>
                      <a:lnTo>
                        <a:pt x="2202611" y="1274851"/>
                      </a:lnTo>
                      <a:lnTo>
                        <a:pt x="2200376" y="1276121"/>
                      </a:lnTo>
                      <a:lnTo>
                        <a:pt x="2199398" y="1276121"/>
                      </a:lnTo>
                      <a:lnTo>
                        <a:pt x="2198052" y="1277391"/>
                      </a:lnTo>
                      <a:lnTo>
                        <a:pt x="2197747" y="1278661"/>
                      </a:lnTo>
                      <a:lnTo>
                        <a:pt x="2197100" y="1278661"/>
                      </a:lnTo>
                      <a:lnTo>
                        <a:pt x="2196998" y="1279931"/>
                      </a:lnTo>
                      <a:lnTo>
                        <a:pt x="2196935" y="1281201"/>
                      </a:lnTo>
                      <a:lnTo>
                        <a:pt x="2198090" y="1287551"/>
                      </a:lnTo>
                      <a:lnTo>
                        <a:pt x="2197239" y="1287551"/>
                      </a:lnTo>
                      <a:lnTo>
                        <a:pt x="2194903" y="1288821"/>
                      </a:lnTo>
                      <a:lnTo>
                        <a:pt x="2193937" y="1288821"/>
                      </a:lnTo>
                      <a:lnTo>
                        <a:pt x="2194293" y="1290091"/>
                      </a:lnTo>
                      <a:lnTo>
                        <a:pt x="2199055" y="1290091"/>
                      </a:lnTo>
                      <a:lnTo>
                        <a:pt x="2200338" y="1288821"/>
                      </a:lnTo>
                      <a:lnTo>
                        <a:pt x="2200110" y="1286281"/>
                      </a:lnTo>
                      <a:lnTo>
                        <a:pt x="2199043" y="1281201"/>
                      </a:lnTo>
                      <a:lnTo>
                        <a:pt x="2199043" y="1279931"/>
                      </a:lnTo>
                      <a:lnTo>
                        <a:pt x="2199309" y="1279931"/>
                      </a:lnTo>
                      <a:lnTo>
                        <a:pt x="2199576" y="1278661"/>
                      </a:lnTo>
                      <a:lnTo>
                        <a:pt x="2199767" y="1278661"/>
                      </a:lnTo>
                      <a:lnTo>
                        <a:pt x="2201900" y="1277391"/>
                      </a:lnTo>
                      <a:lnTo>
                        <a:pt x="2203856" y="1276121"/>
                      </a:lnTo>
                      <a:lnTo>
                        <a:pt x="2206612" y="1274851"/>
                      </a:lnTo>
                      <a:lnTo>
                        <a:pt x="2208326" y="1274851"/>
                      </a:lnTo>
                      <a:lnTo>
                        <a:pt x="2211336" y="1278661"/>
                      </a:lnTo>
                      <a:lnTo>
                        <a:pt x="2214867" y="1276121"/>
                      </a:lnTo>
                      <a:lnTo>
                        <a:pt x="2216874" y="1272311"/>
                      </a:lnTo>
                      <a:lnTo>
                        <a:pt x="2219083" y="1272311"/>
                      </a:lnTo>
                      <a:lnTo>
                        <a:pt x="2220849" y="1271041"/>
                      </a:lnTo>
                      <a:lnTo>
                        <a:pt x="2222271" y="1271041"/>
                      </a:lnTo>
                      <a:lnTo>
                        <a:pt x="2223566" y="1269771"/>
                      </a:lnTo>
                      <a:lnTo>
                        <a:pt x="2224709" y="1269771"/>
                      </a:lnTo>
                      <a:lnTo>
                        <a:pt x="2224760" y="1277391"/>
                      </a:lnTo>
                      <a:lnTo>
                        <a:pt x="2226424" y="1277391"/>
                      </a:lnTo>
                      <a:lnTo>
                        <a:pt x="2228215" y="1278661"/>
                      </a:lnTo>
                      <a:lnTo>
                        <a:pt x="2229561" y="1278661"/>
                      </a:lnTo>
                      <a:lnTo>
                        <a:pt x="2231453" y="1277391"/>
                      </a:lnTo>
                      <a:lnTo>
                        <a:pt x="2232710" y="1276121"/>
                      </a:lnTo>
                      <a:lnTo>
                        <a:pt x="2237079" y="1271041"/>
                      </a:lnTo>
                      <a:lnTo>
                        <a:pt x="2240178" y="1268501"/>
                      </a:lnTo>
                      <a:lnTo>
                        <a:pt x="2247150" y="1264691"/>
                      </a:lnTo>
                      <a:lnTo>
                        <a:pt x="2251849" y="1257071"/>
                      </a:lnTo>
                      <a:lnTo>
                        <a:pt x="2252129" y="1255801"/>
                      </a:lnTo>
                      <a:lnTo>
                        <a:pt x="2252370" y="1254531"/>
                      </a:lnTo>
                      <a:lnTo>
                        <a:pt x="2252573" y="1254531"/>
                      </a:lnTo>
                      <a:lnTo>
                        <a:pt x="2252459" y="1250721"/>
                      </a:lnTo>
                      <a:lnTo>
                        <a:pt x="2252357" y="1249451"/>
                      </a:lnTo>
                      <a:lnTo>
                        <a:pt x="2252256" y="1239291"/>
                      </a:lnTo>
                      <a:lnTo>
                        <a:pt x="2252446" y="1238021"/>
                      </a:lnTo>
                      <a:lnTo>
                        <a:pt x="2252929" y="1238021"/>
                      </a:lnTo>
                      <a:lnTo>
                        <a:pt x="2255469" y="1235481"/>
                      </a:lnTo>
                      <a:lnTo>
                        <a:pt x="2257285" y="1232941"/>
                      </a:lnTo>
                      <a:lnTo>
                        <a:pt x="2259012" y="1230401"/>
                      </a:lnTo>
                      <a:lnTo>
                        <a:pt x="2259965" y="1227861"/>
                      </a:lnTo>
                      <a:lnTo>
                        <a:pt x="2261527" y="1225321"/>
                      </a:lnTo>
                      <a:lnTo>
                        <a:pt x="2262682" y="1225321"/>
                      </a:lnTo>
                      <a:lnTo>
                        <a:pt x="2263825" y="1224051"/>
                      </a:lnTo>
                      <a:lnTo>
                        <a:pt x="2268855" y="1220241"/>
                      </a:lnTo>
                      <a:lnTo>
                        <a:pt x="2271611" y="1218971"/>
                      </a:lnTo>
                      <a:lnTo>
                        <a:pt x="2277491" y="1201191"/>
                      </a:lnTo>
                      <a:lnTo>
                        <a:pt x="2276779" y="1198651"/>
                      </a:lnTo>
                      <a:lnTo>
                        <a:pt x="2276640" y="1197381"/>
                      </a:lnTo>
                      <a:lnTo>
                        <a:pt x="2276513" y="1191031"/>
                      </a:lnTo>
                      <a:lnTo>
                        <a:pt x="2276932" y="1188491"/>
                      </a:lnTo>
                      <a:lnTo>
                        <a:pt x="2278202" y="1184681"/>
                      </a:lnTo>
                      <a:lnTo>
                        <a:pt x="2278900" y="1182141"/>
                      </a:lnTo>
                      <a:lnTo>
                        <a:pt x="2279319" y="1179601"/>
                      </a:lnTo>
                      <a:lnTo>
                        <a:pt x="2279345" y="1177061"/>
                      </a:lnTo>
                      <a:lnTo>
                        <a:pt x="2279485" y="1175791"/>
                      </a:lnTo>
                      <a:lnTo>
                        <a:pt x="2281618" y="1171981"/>
                      </a:lnTo>
                      <a:lnTo>
                        <a:pt x="2280691" y="1170711"/>
                      </a:lnTo>
                      <a:lnTo>
                        <a:pt x="2282291" y="1170711"/>
                      </a:lnTo>
                      <a:lnTo>
                        <a:pt x="2283726" y="1168171"/>
                      </a:lnTo>
                      <a:lnTo>
                        <a:pt x="2285060" y="1165631"/>
                      </a:lnTo>
                      <a:lnTo>
                        <a:pt x="2285911" y="1164361"/>
                      </a:lnTo>
                      <a:lnTo>
                        <a:pt x="2286330" y="1163091"/>
                      </a:lnTo>
                      <a:lnTo>
                        <a:pt x="2286685" y="1161821"/>
                      </a:lnTo>
                      <a:lnTo>
                        <a:pt x="2286965" y="1161821"/>
                      </a:lnTo>
                      <a:lnTo>
                        <a:pt x="2287244" y="1159281"/>
                      </a:lnTo>
                      <a:lnTo>
                        <a:pt x="2287181" y="1154201"/>
                      </a:lnTo>
                      <a:lnTo>
                        <a:pt x="2287003" y="1152931"/>
                      </a:lnTo>
                      <a:lnTo>
                        <a:pt x="2287066" y="1147851"/>
                      </a:lnTo>
                      <a:lnTo>
                        <a:pt x="2286889" y="1146581"/>
                      </a:lnTo>
                      <a:lnTo>
                        <a:pt x="2286660" y="1146581"/>
                      </a:lnTo>
                      <a:lnTo>
                        <a:pt x="2286571" y="1145311"/>
                      </a:lnTo>
                      <a:lnTo>
                        <a:pt x="2287638" y="1145311"/>
                      </a:lnTo>
                      <a:lnTo>
                        <a:pt x="2288883" y="1144041"/>
                      </a:lnTo>
                      <a:lnTo>
                        <a:pt x="2290000" y="1142771"/>
                      </a:lnTo>
                      <a:lnTo>
                        <a:pt x="2291613" y="1140231"/>
                      </a:lnTo>
                      <a:lnTo>
                        <a:pt x="2292185" y="1138961"/>
                      </a:lnTo>
                      <a:lnTo>
                        <a:pt x="2292820" y="1138961"/>
                      </a:lnTo>
                      <a:lnTo>
                        <a:pt x="2293289" y="1137691"/>
                      </a:lnTo>
                      <a:lnTo>
                        <a:pt x="2293924" y="1137691"/>
                      </a:lnTo>
                      <a:lnTo>
                        <a:pt x="2295423" y="1135151"/>
                      </a:lnTo>
                      <a:lnTo>
                        <a:pt x="2297023" y="1135151"/>
                      </a:lnTo>
                      <a:lnTo>
                        <a:pt x="2298928" y="1133881"/>
                      </a:lnTo>
                      <a:lnTo>
                        <a:pt x="2301621" y="1133881"/>
                      </a:lnTo>
                      <a:lnTo>
                        <a:pt x="2302637" y="1135151"/>
                      </a:lnTo>
                      <a:lnTo>
                        <a:pt x="2303361" y="1135151"/>
                      </a:lnTo>
                      <a:lnTo>
                        <a:pt x="2304097" y="1136421"/>
                      </a:lnTo>
                      <a:lnTo>
                        <a:pt x="2305253" y="1136421"/>
                      </a:lnTo>
                      <a:lnTo>
                        <a:pt x="2311108" y="1142771"/>
                      </a:lnTo>
                      <a:lnTo>
                        <a:pt x="2312136" y="1142771"/>
                      </a:lnTo>
                      <a:lnTo>
                        <a:pt x="2313609" y="1144041"/>
                      </a:lnTo>
                      <a:lnTo>
                        <a:pt x="2315680" y="1144041"/>
                      </a:lnTo>
                      <a:lnTo>
                        <a:pt x="2320874" y="1145311"/>
                      </a:lnTo>
                      <a:lnTo>
                        <a:pt x="2323274" y="1146581"/>
                      </a:lnTo>
                      <a:lnTo>
                        <a:pt x="2332901" y="1146581"/>
                      </a:lnTo>
                      <a:lnTo>
                        <a:pt x="2334095" y="1147851"/>
                      </a:lnTo>
                      <a:lnTo>
                        <a:pt x="2340762" y="1147851"/>
                      </a:lnTo>
                      <a:lnTo>
                        <a:pt x="2340991" y="1149121"/>
                      </a:lnTo>
                      <a:lnTo>
                        <a:pt x="2342375" y="1147851"/>
                      </a:lnTo>
                      <a:lnTo>
                        <a:pt x="2342261" y="1146581"/>
                      </a:lnTo>
                      <a:lnTo>
                        <a:pt x="2344839" y="1142771"/>
                      </a:lnTo>
                      <a:lnTo>
                        <a:pt x="2345944" y="1140231"/>
                      </a:lnTo>
                      <a:lnTo>
                        <a:pt x="2346693" y="1140231"/>
                      </a:lnTo>
                      <a:lnTo>
                        <a:pt x="2347633" y="1138961"/>
                      </a:lnTo>
                      <a:lnTo>
                        <a:pt x="2348420" y="1138961"/>
                      </a:lnTo>
                      <a:lnTo>
                        <a:pt x="2351976" y="1141501"/>
                      </a:lnTo>
                      <a:lnTo>
                        <a:pt x="2353005" y="1141501"/>
                      </a:lnTo>
                      <a:lnTo>
                        <a:pt x="2354973" y="1142771"/>
                      </a:lnTo>
                      <a:lnTo>
                        <a:pt x="2359304" y="1140231"/>
                      </a:lnTo>
                      <a:lnTo>
                        <a:pt x="2367419" y="1136421"/>
                      </a:lnTo>
                      <a:lnTo>
                        <a:pt x="2369350" y="1135151"/>
                      </a:lnTo>
                      <a:lnTo>
                        <a:pt x="2369832" y="1135151"/>
                      </a:lnTo>
                      <a:lnTo>
                        <a:pt x="2371090" y="1136421"/>
                      </a:lnTo>
                      <a:lnTo>
                        <a:pt x="2371318" y="1136421"/>
                      </a:lnTo>
                      <a:lnTo>
                        <a:pt x="2371001" y="1137691"/>
                      </a:lnTo>
                      <a:lnTo>
                        <a:pt x="2374557" y="1137691"/>
                      </a:lnTo>
                      <a:lnTo>
                        <a:pt x="2377198" y="1136421"/>
                      </a:lnTo>
                      <a:lnTo>
                        <a:pt x="2382405" y="1136421"/>
                      </a:lnTo>
                      <a:lnTo>
                        <a:pt x="2383180" y="1133881"/>
                      </a:lnTo>
                      <a:lnTo>
                        <a:pt x="2383371" y="1133881"/>
                      </a:lnTo>
                      <a:lnTo>
                        <a:pt x="2383307" y="1132611"/>
                      </a:lnTo>
                      <a:lnTo>
                        <a:pt x="2383053" y="1132611"/>
                      </a:lnTo>
                      <a:lnTo>
                        <a:pt x="2383383" y="1131341"/>
                      </a:lnTo>
                      <a:lnTo>
                        <a:pt x="2386266" y="1131341"/>
                      </a:lnTo>
                      <a:lnTo>
                        <a:pt x="2389213" y="1133881"/>
                      </a:lnTo>
                      <a:lnTo>
                        <a:pt x="2391740" y="1133881"/>
                      </a:lnTo>
                      <a:lnTo>
                        <a:pt x="2392819" y="1132611"/>
                      </a:lnTo>
                      <a:lnTo>
                        <a:pt x="2394521" y="1132611"/>
                      </a:lnTo>
                      <a:lnTo>
                        <a:pt x="2397366" y="1135151"/>
                      </a:lnTo>
                      <a:lnTo>
                        <a:pt x="2402662" y="1135151"/>
                      </a:lnTo>
                      <a:lnTo>
                        <a:pt x="2406548" y="1132611"/>
                      </a:lnTo>
                      <a:lnTo>
                        <a:pt x="2408123" y="1133881"/>
                      </a:lnTo>
                      <a:lnTo>
                        <a:pt x="2409164" y="1133881"/>
                      </a:lnTo>
                      <a:lnTo>
                        <a:pt x="2409914" y="1135151"/>
                      </a:lnTo>
                      <a:lnTo>
                        <a:pt x="2411742" y="1135151"/>
                      </a:lnTo>
                      <a:lnTo>
                        <a:pt x="2411971" y="1136421"/>
                      </a:lnTo>
                      <a:lnTo>
                        <a:pt x="2414206" y="1137691"/>
                      </a:lnTo>
                      <a:lnTo>
                        <a:pt x="2415476" y="1138961"/>
                      </a:lnTo>
                      <a:lnTo>
                        <a:pt x="2416949" y="1142771"/>
                      </a:lnTo>
                      <a:lnTo>
                        <a:pt x="2424125" y="1145311"/>
                      </a:lnTo>
                      <a:lnTo>
                        <a:pt x="2426271" y="1146581"/>
                      </a:lnTo>
                      <a:lnTo>
                        <a:pt x="2427224" y="1146581"/>
                      </a:lnTo>
                      <a:lnTo>
                        <a:pt x="2428659" y="1145311"/>
                      </a:lnTo>
                      <a:lnTo>
                        <a:pt x="2429421" y="1144041"/>
                      </a:lnTo>
                      <a:lnTo>
                        <a:pt x="2431123" y="1144041"/>
                      </a:lnTo>
                      <a:lnTo>
                        <a:pt x="2438273" y="1146581"/>
                      </a:lnTo>
                      <a:lnTo>
                        <a:pt x="2440279" y="1144041"/>
                      </a:lnTo>
                      <a:lnTo>
                        <a:pt x="2440813" y="1144041"/>
                      </a:lnTo>
                      <a:lnTo>
                        <a:pt x="2441841" y="1142771"/>
                      </a:lnTo>
                      <a:lnTo>
                        <a:pt x="2445220" y="1142771"/>
                      </a:lnTo>
                      <a:lnTo>
                        <a:pt x="2445245" y="1144041"/>
                      </a:lnTo>
                      <a:lnTo>
                        <a:pt x="2445575" y="1145311"/>
                      </a:lnTo>
                      <a:lnTo>
                        <a:pt x="2446312" y="1145311"/>
                      </a:lnTo>
                      <a:lnTo>
                        <a:pt x="2449817" y="1149121"/>
                      </a:lnTo>
                      <a:lnTo>
                        <a:pt x="2450846" y="1150391"/>
                      </a:lnTo>
                      <a:lnTo>
                        <a:pt x="2453068" y="1151661"/>
                      </a:lnTo>
                      <a:lnTo>
                        <a:pt x="2455761" y="1151661"/>
                      </a:lnTo>
                      <a:lnTo>
                        <a:pt x="2455976" y="1152931"/>
                      </a:lnTo>
                      <a:lnTo>
                        <a:pt x="2455964" y="1154201"/>
                      </a:lnTo>
                      <a:lnTo>
                        <a:pt x="2455849" y="1156741"/>
                      </a:lnTo>
                      <a:lnTo>
                        <a:pt x="2460040" y="1156741"/>
                      </a:lnTo>
                      <a:lnTo>
                        <a:pt x="2460015" y="1158011"/>
                      </a:lnTo>
                      <a:lnTo>
                        <a:pt x="2459875" y="1159281"/>
                      </a:lnTo>
                      <a:lnTo>
                        <a:pt x="2459240" y="1161821"/>
                      </a:lnTo>
                      <a:lnTo>
                        <a:pt x="2458682" y="1163091"/>
                      </a:lnTo>
                      <a:lnTo>
                        <a:pt x="2459088" y="1166901"/>
                      </a:lnTo>
                      <a:lnTo>
                        <a:pt x="2458707" y="1169441"/>
                      </a:lnTo>
                      <a:lnTo>
                        <a:pt x="2458555" y="1170711"/>
                      </a:lnTo>
                      <a:lnTo>
                        <a:pt x="2458478" y="1171981"/>
                      </a:lnTo>
                      <a:lnTo>
                        <a:pt x="2459012" y="1171981"/>
                      </a:lnTo>
                      <a:lnTo>
                        <a:pt x="2459405" y="1173251"/>
                      </a:lnTo>
                      <a:lnTo>
                        <a:pt x="2460129" y="1174521"/>
                      </a:lnTo>
                      <a:lnTo>
                        <a:pt x="2462593" y="1174521"/>
                      </a:lnTo>
                      <a:lnTo>
                        <a:pt x="2464447" y="1175791"/>
                      </a:lnTo>
                      <a:lnTo>
                        <a:pt x="2465971" y="1175791"/>
                      </a:lnTo>
                      <a:lnTo>
                        <a:pt x="2465374" y="1177061"/>
                      </a:lnTo>
                      <a:lnTo>
                        <a:pt x="2464663" y="1178331"/>
                      </a:lnTo>
                      <a:lnTo>
                        <a:pt x="2461818" y="1180871"/>
                      </a:lnTo>
                      <a:lnTo>
                        <a:pt x="2457348" y="1185951"/>
                      </a:lnTo>
                      <a:lnTo>
                        <a:pt x="2454922" y="1188491"/>
                      </a:lnTo>
                      <a:lnTo>
                        <a:pt x="2449842" y="1192301"/>
                      </a:lnTo>
                      <a:lnTo>
                        <a:pt x="2453170" y="1192301"/>
                      </a:lnTo>
                      <a:lnTo>
                        <a:pt x="2456319" y="1189761"/>
                      </a:lnTo>
                      <a:lnTo>
                        <a:pt x="2458809" y="1187221"/>
                      </a:lnTo>
                      <a:lnTo>
                        <a:pt x="2463393" y="1183411"/>
                      </a:lnTo>
                      <a:lnTo>
                        <a:pt x="2466670" y="1178331"/>
                      </a:lnTo>
                      <a:lnTo>
                        <a:pt x="2467584" y="1177061"/>
                      </a:lnTo>
                      <a:lnTo>
                        <a:pt x="2468918" y="1175791"/>
                      </a:lnTo>
                      <a:lnTo>
                        <a:pt x="2465476" y="1173251"/>
                      </a:lnTo>
                      <a:lnTo>
                        <a:pt x="2463635" y="1171981"/>
                      </a:lnTo>
                      <a:lnTo>
                        <a:pt x="2460866" y="1171981"/>
                      </a:lnTo>
                      <a:lnTo>
                        <a:pt x="2460777" y="1170711"/>
                      </a:lnTo>
                      <a:lnTo>
                        <a:pt x="2460879" y="1169441"/>
                      </a:lnTo>
                      <a:lnTo>
                        <a:pt x="2461171" y="1166901"/>
                      </a:lnTo>
                      <a:lnTo>
                        <a:pt x="2460853" y="1163091"/>
                      </a:lnTo>
                      <a:lnTo>
                        <a:pt x="2461615" y="1160551"/>
                      </a:lnTo>
                      <a:lnTo>
                        <a:pt x="2461895" y="1159281"/>
                      </a:lnTo>
                      <a:lnTo>
                        <a:pt x="2462441" y="1160551"/>
                      </a:lnTo>
                      <a:lnTo>
                        <a:pt x="2462326" y="1159281"/>
                      </a:lnTo>
                      <a:lnTo>
                        <a:pt x="2462225" y="1158011"/>
                      </a:lnTo>
                      <a:lnTo>
                        <a:pt x="2462542" y="1156741"/>
                      </a:lnTo>
                      <a:lnTo>
                        <a:pt x="2463622" y="1155471"/>
                      </a:lnTo>
                      <a:lnTo>
                        <a:pt x="2464701" y="1154201"/>
                      </a:lnTo>
                      <a:lnTo>
                        <a:pt x="2466695" y="1154201"/>
                      </a:lnTo>
                      <a:lnTo>
                        <a:pt x="2468613" y="1155471"/>
                      </a:lnTo>
                      <a:lnTo>
                        <a:pt x="2471356" y="1155471"/>
                      </a:lnTo>
                      <a:lnTo>
                        <a:pt x="2472575" y="1154201"/>
                      </a:lnTo>
                      <a:lnTo>
                        <a:pt x="2474442" y="1152931"/>
                      </a:lnTo>
                      <a:lnTo>
                        <a:pt x="2476335" y="1156741"/>
                      </a:lnTo>
                      <a:lnTo>
                        <a:pt x="2478976" y="1156741"/>
                      </a:lnTo>
                      <a:lnTo>
                        <a:pt x="2479992" y="1158011"/>
                      </a:lnTo>
                      <a:lnTo>
                        <a:pt x="2481135" y="1156741"/>
                      </a:lnTo>
                      <a:lnTo>
                        <a:pt x="2482977" y="1155471"/>
                      </a:lnTo>
                      <a:lnTo>
                        <a:pt x="2483662" y="1154201"/>
                      </a:lnTo>
                      <a:lnTo>
                        <a:pt x="2485237" y="1154201"/>
                      </a:lnTo>
                      <a:lnTo>
                        <a:pt x="2486660" y="1152931"/>
                      </a:lnTo>
                      <a:lnTo>
                        <a:pt x="2488971" y="1152931"/>
                      </a:lnTo>
                      <a:lnTo>
                        <a:pt x="2491206" y="1151661"/>
                      </a:lnTo>
                      <a:lnTo>
                        <a:pt x="2492184" y="1152931"/>
                      </a:lnTo>
                      <a:lnTo>
                        <a:pt x="2494407" y="1152931"/>
                      </a:lnTo>
                      <a:lnTo>
                        <a:pt x="2495410" y="1154201"/>
                      </a:lnTo>
                      <a:lnTo>
                        <a:pt x="2499944" y="1154201"/>
                      </a:lnTo>
                      <a:lnTo>
                        <a:pt x="2505735" y="1147851"/>
                      </a:lnTo>
                      <a:lnTo>
                        <a:pt x="2505875" y="1149121"/>
                      </a:lnTo>
                      <a:lnTo>
                        <a:pt x="2506700" y="1151661"/>
                      </a:lnTo>
                      <a:lnTo>
                        <a:pt x="2507081" y="1151661"/>
                      </a:lnTo>
                      <a:lnTo>
                        <a:pt x="2507424" y="1152931"/>
                      </a:lnTo>
                      <a:lnTo>
                        <a:pt x="2507754" y="1152931"/>
                      </a:lnTo>
                      <a:lnTo>
                        <a:pt x="2508415" y="1154201"/>
                      </a:lnTo>
                      <a:lnTo>
                        <a:pt x="2511196" y="1154201"/>
                      </a:lnTo>
                      <a:lnTo>
                        <a:pt x="2511780" y="1155471"/>
                      </a:lnTo>
                      <a:lnTo>
                        <a:pt x="2512187" y="1156741"/>
                      </a:lnTo>
                      <a:lnTo>
                        <a:pt x="2512695" y="1160551"/>
                      </a:lnTo>
                      <a:lnTo>
                        <a:pt x="2512911" y="1161821"/>
                      </a:lnTo>
                      <a:lnTo>
                        <a:pt x="2513380" y="1163091"/>
                      </a:lnTo>
                      <a:lnTo>
                        <a:pt x="2515755" y="1166901"/>
                      </a:lnTo>
                      <a:lnTo>
                        <a:pt x="2518524" y="1170711"/>
                      </a:lnTo>
                      <a:lnTo>
                        <a:pt x="2518194" y="1174521"/>
                      </a:lnTo>
                      <a:lnTo>
                        <a:pt x="2518638" y="1175791"/>
                      </a:lnTo>
                      <a:lnTo>
                        <a:pt x="2519299" y="1178331"/>
                      </a:lnTo>
                      <a:lnTo>
                        <a:pt x="2520378" y="1178331"/>
                      </a:lnTo>
                      <a:lnTo>
                        <a:pt x="2519451" y="1179601"/>
                      </a:lnTo>
                      <a:lnTo>
                        <a:pt x="2519680" y="1179601"/>
                      </a:lnTo>
                      <a:lnTo>
                        <a:pt x="2517394" y="1184681"/>
                      </a:lnTo>
                      <a:lnTo>
                        <a:pt x="2516911" y="1185951"/>
                      </a:lnTo>
                      <a:lnTo>
                        <a:pt x="2516695" y="1185951"/>
                      </a:lnTo>
                      <a:lnTo>
                        <a:pt x="2516581" y="1187221"/>
                      </a:lnTo>
                      <a:lnTo>
                        <a:pt x="2516797" y="1188491"/>
                      </a:lnTo>
                      <a:lnTo>
                        <a:pt x="2515209" y="1188491"/>
                      </a:lnTo>
                      <a:lnTo>
                        <a:pt x="2514790" y="1189761"/>
                      </a:lnTo>
                      <a:lnTo>
                        <a:pt x="2513634" y="1189761"/>
                      </a:lnTo>
                      <a:lnTo>
                        <a:pt x="2513050" y="1191031"/>
                      </a:lnTo>
                      <a:lnTo>
                        <a:pt x="2512098" y="1191031"/>
                      </a:lnTo>
                      <a:lnTo>
                        <a:pt x="2510155" y="1194841"/>
                      </a:lnTo>
                      <a:lnTo>
                        <a:pt x="2509532" y="1196111"/>
                      </a:lnTo>
                      <a:lnTo>
                        <a:pt x="2508961" y="1196111"/>
                      </a:lnTo>
                      <a:lnTo>
                        <a:pt x="2507589" y="1198651"/>
                      </a:lnTo>
                      <a:lnTo>
                        <a:pt x="2506611" y="1199921"/>
                      </a:lnTo>
                      <a:lnTo>
                        <a:pt x="2505887" y="1201191"/>
                      </a:lnTo>
                      <a:lnTo>
                        <a:pt x="2505430" y="1202461"/>
                      </a:lnTo>
                      <a:lnTo>
                        <a:pt x="2505265" y="1202461"/>
                      </a:lnTo>
                      <a:lnTo>
                        <a:pt x="2505125" y="1203731"/>
                      </a:lnTo>
                      <a:lnTo>
                        <a:pt x="2504897" y="1203731"/>
                      </a:lnTo>
                      <a:lnTo>
                        <a:pt x="2505037" y="1205001"/>
                      </a:lnTo>
                      <a:lnTo>
                        <a:pt x="2506091" y="1205001"/>
                      </a:lnTo>
                      <a:lnTo>
                        <a:pt x="2506053" y="1203731"/>
                      </a:lnTo>
                      <a:lnTo>
                        <a:pt x="2507018" y="1203731"/>
                      </a:lnTo>
                      <a:lnTo>
                        <a:pt x="2506954" y="1205001"/>
                      </a:lnTo>
                      <a:lnTo>
                        <a:pt x="2507259" y="1203731"/>
                      </a:lnTo>
                      <a:lnTo>
                        <a:pt x="2507792" y="1202461"/>
                      </a:lnTo>
                      <a:lnTo>
                        <a:pt x="2508516" y="1201191"/>
                      </a:lnTo>
                      <a:lnTo>
                        <a:pt x="2509355" y="1199921"/>
                      </a:lnTo>
                      <a:lnTo>
                        <a:pt x="2510599" y="1197381"/>
                      </a:lnTo>
                      <a:lnTo>
                        <a:pt x="2511247" y="1197381"/>
                      </a:lnTo>
                      <a:lnTo>
                        <a:pt x="2511526" y="1196111"/>
                      </a:lnTo>
                      <a:lnTo>
                        <a:pt x="2512161" y="1196111"/>
                      </a:lnTo>
                      <a:lnTo>
                        <a:pt x="2513812" y="1192301"/>
                      </a:lnTo>
                      <a:lnTo>
                        <a:pt x="2515184" y="1192301"/>
                      </a:lnTo>
                      <a:lnTo>
                        <a:pt x="2515578" y="1191031"/>
                      </a:lnTo>
                      <a:lnTo>
                        <a:pt x="2518181" y="1191031"/>
                      </a:lnTo>
                      <a:lnTo>
                        <a:pt x="2519146" y="1188491"/>
                      </a:lnTo>
                      <a:lnTo>
                        <a:pt x="2518727" y="1187221"/>
                      </a:lnTo>
                      <a:lnTo>
                        <a:pt x="2519337" y="1185951"/>
                      </a:lnTo>
                      <a:lnTo>
                        <a:pt x="2521928" y="1179601"/>
                      </a:lnTo>
                      <a:lnTo>
                        <a:pt x="2521508" y="1178331"/>
                      </a:lnTo>
                      <a:lnTo>
                        <a:pt x="2520327" y="1173251"/>
                      </a:lnTo>
                      <a:lnTo>
                        <a:pt x="2520759" y="1169441"/>
                      </a:lnTo>
                      <a:lnTo>
                        <a:pt x="2519642" y="1168171"/>
                      </a:lnTo>
                      <a:lnTo>
                        <a:pt x="2517533" y="1165631"/>
                      </a:lnTo>
                      <a:lnTo>
                        <a:pt x="2515336" y="1161821"/>
                      </a:lnTo>
                      <a:lnTo>
                        <a:pt x="2514981" y="1160551"/>
                      </a:lnTo>
                      <a:lnTo>
                        <a:pt x="2514295" y="1155471"/>
                      </a:lnTo>
                      <a:lnTo>
                        <a:pt x="2513927" y="1154201"/>
                      </a:lnTo>
                      <a:lnTo>
                        <a:pt x="2513431" y="1154201"/>
                      </a:lnTo>
                      <a:lnTo>
                        <a:pt x="2513177" y="1152931"/>
                      </a:lnTo>
                      <a:lnTo>
                        <a:pt x="2510434" y="1152931"/>
                      </a:lnTo>
                      <a:lnTo>
                        <a:pt x="2509799" y="1151661"/>
                      </a:lnTo>
                      <a:lnTo>
                        <a:pt x="2509189" y="1151661"/>
                      </a:lnTo>
                      <a:lnTo>
                        <a:pt x="2508669" y="1150391"/>
                      </a:lnTo>
                      <a:lnTo>
                        <a:pt x="2507856" y="1147851"/>
                      </a:lnTo>
                      <a:lnTo>
                        <a:pt x="2507399" y="1146581"/>
                      </a:lnTo>
                      <a:lnTo>
                        <a:pt x="2509075" y="1145311"/>
                      </a:lnTo>
                      <a:lnTo>
                        <a:pt x="2509837" y="1144041"/>
                      </a:lnTo>
                      <a:lnTo>
                        <a:pt x="2510472" y="1144041"/>
                      </a:lnTo>
                      <a:lnTo>
                        <a:pt x="2511641" y="1142771"/>
                      </a:lnTo>
                      <a:lnTo>
                        <a:pt x="2512009" y="1141501"/>
                      </a:lnTo>
                      <a:lnTo>
                        <a:pt x="2533091" y="1141501"/>
                      </a:lnTo>
                      <a:lnTo>
                        <a:pt x="2534031" y="1142771"/>
                      </a:lnTo>
                      <a:lnTo>
                        <a:pt x="2534932" y="1144041"/>
                      </a:lnTo>
                      <a:lnTo>
                        <a:pt x="2545638" y="1144041"/>
                      </a:lnTo>
                      <a:lnTo>
                        <a:pt x="2546731" y="1145311"/>
                      </a:lnTo>
                      <a:lnTo>
                        <a:pt x="2547289" y="1145311"/>
                      </a:lnTo>
                      <a:lnTo>
                        <a:pt x="2547721" y="1144041"/>
                      </a:lnTo>
                      <a:lnTo>
                        <a:pt x="2547594" y="1145311"/>
                      </a:lnTo>
                      <a:lnTo>
                        <a:pt x="2548115" y="1145311"/>
                      </a:lnTo>
                      <a:lnTo>
                        <a:pt x="2549385" y="1146581"/>
                      </a:lnTo>
                      <a:lnTo>
                        <a:pt x="2550998" y="1146581"/>
                      </a:lnTo>
                      <a:lnTo>
                        <a:pt x="2553881" y="1149121"/>
                      </a:lnTo>
                      <a:lnTo>
                        <a:pt x="2554833" y="1149121"/>
                      </a:lnTo>
                      <a:lnTo>
                        <a:pt x="2557754" y="1151661"/>
                      </a:lnTo>
                      <a:lnTo>
                        <a:pt x="2563088" y="1154201"/>
                      </a:lnTo>
                      <a:lnTo>
                        <a:pt x="2566454" y="1156741"/>
                      </a:lnTo>
                      <a:lnTo>
                        <a:pt x="2575979" y="1158011"/>
                      </a:lnTo>
                      <a:lnTo>
                        <a:pt x="2583802" y="1158011"/>
                      </a:lnTo>
                      <a:lnTo>
                        <a:pt x="2583764" y="1159281"/>
                      </a:lnTo>
                      <a:lnTo>
                        <a:pt x="2585720" y="1159281"/>
                      </a:lnTo>
                      <a:lnTo>
                        <a:pt x="2586164" y="1158011"/>
                      </a:lnTo>
                      <a:lnTo>
                        <a:pt x="2587472" y="1158011"/>
                      </a:lnTo>
                      <a:lnTo>
                        <a:pt x="2588171" y="1156741"/>
                      </a:lnTo>
                      <a:lnTo>
                        <a:pt x="2591003" y="1151661"/>
                      </a:lnTo>
                      <a:lnTo>
                        <a:pt x="2603119" y="1146581"/>
                      </a:lnTo>
                      <a:lnTo>
                        <a:pt x="2606675" y="1150391"/>
                      </a:lnTo>
                      <a:lnTo>
                        <a:pt x="2607995" y="1150391"/>
                      </a:lnTo>
                      <a:lnTo>
                        <a:pt x="2608516" y="1151661"/>
                      </a:lnTo>
                      <a:lnTo>
                        <a:pt x="2616987" y="1151661"/>
                      </a:lnTo>
                      <a:lnTo>
                        <a:pt x="2605887" y="1164361"/>
                      </a:lnTo>
                      <a:lnTo>
                        <a:pt x="2605430" y="1165631"/>
                      </a:lnTo>
                      <a:lnTo>
                        <a:pt x="2604770" y="1166901"/>
                      </a:lnTo>
                      <a:lnTo>
                        <a:pt x="2604871" y="1168171"/>
                      </a:lnTo>
                      <a:lnTo>
                        <a:pt x="2605176" y="1170711"/>
                      </a:lnTo>
                      <a:lnTo>
                        <a:pt x="2605151" y="1211351"/>
                      </a:lnTo>
                      <a:lnTo>
                        <a:pt x="2604706" y="1217701"/>
                      </a:lnTo>
                      <a:lnTo>
                        <a:pt x="2606484" y="1221511"/>
                      </a:lnTo>
                      <a:lnTo>
                        <a:pt x="2606941" y="1221511"/>
                      </a:lnTo>
                      <a:lnTo>
                        <a:pt x="2607881" y="1222781"/>
                      </a:lnTo>
                      <a:lnTo>
                        <a:pt x="2611983" y="1229131"/>
                      </a:lnTo>
                      <a:lnTo>
                        <a:pt x="2612860" y="1230401"/>
                      </a:lnTo>
                      <a:lnTo>
                        <a:pt x="2613088" y="1231671"/>
                      </a:lnTo>
                      <a:lnTo>
                        <a:pt x="2615146" y="1230401"/>
                      </a:lnTo>
                      <a:lnTo>
                        <a:pt x="2614879" y="1229131"/>
                      </a:lnTo>
                      <a:lnTo>
                        <a:pt x="2614752" y="1229131"/>
                      </a:lnTo>
                      <a:lnTo>
                        <a:pt x="2613812" y="1227861"/>
                      </a:lnTo>
                      <a:lnTo>
                        <a:pt x="2609634" y="1222781"/>
                      </a:lnTo>
                      <a:lnTo>
                        <a:pt x="2608656" y="1220241"/>
                      </a:lnTo>
                      <a:lnTo>
                        <a:pt x="2607741" y="1218971"/>
                      </a:lnTo>
                      <a:lnTo>
                        <a:pt x="2607538" y="1218971"/>
                      </a:lnTo>
                      <a:lnTo>
                        <a:pt x="2606852" y="1217701"/>
                      </a:lnTo>
                      <a:lnTo>
                        <a:pt x="2607272" y="1211351"/>
                      </a:lnTo>
                      <a:lnTo>
                        <a:pt x="2607183" y="1169441"/>
                      </a:lnTo>
                      <a:lnTo>
                        <a:pt x="2607056" y="1168171"/>
                      </a:lnTo>
                      <a:lnTo>
                        <a:pt x="2607068" y="1166901"/>
                      </a:lnTo>
                      <a:lnTo>
                        <a:pt x="2610243" y="1163091"/>
                      </a:lnTo>
                      <a:lnTo>
                        <a:pt x="2609418" y="1161821"/>
                      </a:lnTo>
                      <a:lnTo>
                        <a:pt x="2610421" y="1163091"/>
                      </a:lnTo>
                      <a:lnTo>
                        <a:pt x="2611424" y="1161821"/>
                      </a:lnTo>
                      <a:lnTo>
                        <a:pt x="2618498" y="1152931"/>
                      </a:lnTo>
                      <a:lnTo>
                        <a:pt x="2620695" y="1150391"/>
                      </a:lnTo>
                      <a:lnTo>
                        <a:pt x="2621127" y="1149121"/>
                      </a:lnTo>
                      <a:lnTo>
                        <a:pt x="2621661" y="1149121"/>
                      </a:lnTo>
                      <a:lnTo>
                        <a:pt x="2622600" y="1147851"/>
                      </a:lnTo>
                      <a:lnTo>
                        <a:pt x="2624086" y="1147851"/>
                      </a:lnTo>
                      <a:lnTo>
                        <a:pt x="2628506" y="1146581"/>
                      </a:lnTo>
                      <a:lnTo>
                        <a:pt x="2631440" y="1146581"/>
                      </a:lnTo>
                      <a:lnTo>
                        <a:pt x="2632824" y="1145311"/>
                      </a:lnTo>
                      <a:lnTo>
                        <a:pt x="2633827" y="1145311"/>
                      </a:lnTo>
                      <a:lnTo>
                        <a:pt x="2642349" y="1138961"/>
                      </a:lnTo>
                      <a:lnTo>
                        <a:pt x="2646883" y="1137691"/>
                      </a:lnTo>
                      <a:lnTo>
                        <a:pt x="2649905" y="1136421"/>
                      </a:lnTo>
                      <a:lnTo>
                        <a:pt x="2652750" y="1136421"/>
                      </a:lnTo>
                      <a:lnTo>
                        <a:pt x="2653550" y="1137691"/>
                      </a:lnTo>
                      <a:lnTo>
                        <a:pt x="2662694" y="1137691"/>
                      </a:lnTo>
                      <a:lnTo>
                        <a:pt x="2663469" y="1136421"/>
                      </a:lnTo>
                      <a:lnTo>
                        <a:pt x="2664676" y="1136421"/>
                      </a:lnTo>
                      <a:lnTo>
                        <a:pt x="2665857" y="1135151"/>
                      </a:lnTo>
                      <a:lnTo>
                        <a:pt x="2668409" y="1132611"/>
                      </a:lnTo>
                      <a:lnTo>
                        <a:pt x="2671000" y="1128801"/>
                      </a:lnTo>
                      <a:lnTo>
                        <a:pt x="2671457" y="1128801"/>
                      </a:lnTo>
                      <a:lnTo>
                        <a:pt x="2680208" y="1119911"/>
                      </a:lnTo>
                      <a:lnTo>
                        <a:pt x="2686304" y="1113561"/>
                      </a:lnTo>
                      <a:lnTo>
                        <a:pt x="2692171" y="1107211"/>
                      </a:lnTo>
                      <a:lnTo>
                        <a:pt x="2697823" y="1102131"/>
                      </a:lnTo>
                      <a:lnTo>
                        <a:pt x="2701125" y="1098321"/>
                      </a:lnTo>
                      <a:lnTo>
                        <a:pt x="2704236" y="1095781"/>
                      </a:lnTo>
                      <a:lnTo>
                        <a:pt x="2708097" y="1091971"/>
                      </a:lnTo>
                      <a:lnTo>
                        <a:pt x="2709380" y="109070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636" name="object 176">
                  <a:extLst>
                    <a:ext uri="{FF2B5EF4-FFF2-40B4-BE49-F238E27FC236}">
                      <a16:creationId xmlns:a16="http://schemas.microsoft.com/office/drawing/2014/main" id="{7C224905-CCBB-7DC3-B8A2-4B1F369D60E8}"/>
                    </a:ext>
                  </a:extLst>
                </p:cNvPr>
                <p:cNvPicPr/>
                <p:nvPr/>
              </p:nvPicPr>
              <p:blipFill>
                <a:blip r:embed="rId33" cstate="print"/>
                <a:stretch>
                  <a:fillRect/>
                </a:stretch>
              </p:blipFill>
              <p:spPr>
                <a:xfrm>
                  <a:off x="1588054" y="2857808"/>
                  <a:ext cx="82486" cy="93979"/>
                </a:xfrm>
                <a:prstGeom prst="rect">
                  <a:avLst/>
                </a:prstGeom>
              </p:spPr>
            </p:pic>
            <p:sp>
              <p:nvSpPr>
                <p:cNvPr id="637" name="object 177">
                  <a:extLst>
                    <a:ext uri="{FF2B5EF4-FFF2-40B4-BE49-F238E27FC236}">
                      <a16:creationId xmlns:a16="http://schemas.microsoft.com/office/drawing/2014/main" id="{8CDC261E-064D-C0ED-5753-A625908411AF}"/>
                    </a:ext>
                  </a:extLst>
                </p:cNvPr>
                <p:cNvSpPr/>
                <p:nvPr/>
              </p:nvSpPr>
              <p:spPr>
                <a:xfrm>
                  <a:off x="1626120" y="1660563"/>
                  <a:ext cx="3135630" cy="20955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35629" h="2095500">
                      <a:moveTo>
                        <a:pt x="12814" y="1105268"/>
                      </a:moveTo>
                      <a:lnTo>
                        <a:pt x="11480" y="1103045"/>
                      </a:lnTo>
                      <a:lnTo>
                        <a:pt x="10388" y="1101140"/>
                      </a:lnTo>
                      <a:lnTo>
                        <a:pt x="9334" y="1098461"/>
                      </a:lnTo>
                      <a:lnTo>
                        <a:pt x="8877" y="1097470"/>
                      </a:lnTo>
                      <a:lnTo>
                        <a:pt x="8204" y="1096530"/>
                      </a:lnTo>
                      <a:lnTo>
                        <a:pt x="8267" y="1095971"/>
                      </a:lnTo>
                      <a:lnTo>
                        <a:pt x="9398" y="1094511"/>
                      </a:lnTo>
                      <a:lnTo>
                        <a:pt x="7734" y="1093203"/>
                      </a:lnTo>
                      <a:lnTo>
                        <a:pt x="6540" y="1094740"/>
                      </a:lnTo>
                      <a:lnTo>
                        <a:pt x="5562" y="1096314"/>
                      </a:lnTo>
                      <a:lnTo>
                        <a:pt x="7023" y="1098486"/>
                      </a:lnTo>
                      <a:lnTo>
                        <a:pt x="8343" y="1101712"/>
                      </a:lnTo>
                      <a:lnTo>
                        <a:pt x="9906" y="1104519"/>
                      </a:lnTo>
                      <a:lnTo>
                        <a:pt x="8369" y="1105547"/>
                      </a:lnTo>
                      <a:lnTo>
                        <a:pt x="7302" y="1106728"/>
                      </a:lnTo>
                      <a:lnTo>
                        <a:pt x="6299" y="1107922"/>
                      </a:lnTo>
                      <a:lnTo>
                        <a:pt x="5295" y="1109319"/>
                      </a:lnTo>
                      <a:lnTo>
                        <a:pt x="4000" y="1107478"/>
                      </a:lnTo>
                      <a:lnTo>
                        <a:pt x="3086" y="1108011"/>
                      </a:lnTo>
                      <a:lnTo>
                        <a:pt x="2032" y="1107897"/>
                      </a:lnTo>
                      <a:lnTo>
                        <a:pt x="1981" y="1108367"/>
                      </a:lnTo>
                      <a:lnTo>
                        <a:pt x="1943" y="1110449"/>
                      </a:lnTo>
                      <a:lnTo>
                        <a:pt x="1854" y="1111046"/>
                      </a:lnTo>
                      <a:lnTo>
                        <a:pt x="1676" y="1111694"/>
                      </a:lnTo>
                      <a:lnTo>
                        <a:pt x="88" y="1114069"/>
                      </a:lnTo>
                      <a:lnTo>
                        <a:pt x="0" y="1116152"/>
                      </a:lnTo>
                      <a:lnTo>
                        <a:pt x="2120" y="1116241"/>
                      </a:lnTo>
                      <a:lnTo>
                        <a:pt x="2184" y="1114717"/>
                      </a:lnTo>
                      <a:lnTo>
                        <a:pt x="3619" y="1112596"/>
                      </a:lnTo>
                      <a:lnTo>
                        <a:pt x="3949" y="1111453"/>
                      </a:lnTo>
                      <a:lnTo>
                        <a:pt x="3975" y="1111059"/>
                      </a:lnTo>
                      <a:lnTo>
                        <a:pt x="4191" y="1111504"/>
                      </a:lnTo>
                      <a:lnTo>
                        <a:pt x="4457" y="1111681"/>
                      </a:lnTo>
                      <a:lnTo>
                        <a:pt x="5181" y="1111973"/>
                      </a:lnTo>
                      <a:lnTo>
                        <a:pt x="5346" y="1111897"/>
                      </a:lnTo>
                      <a:lnTo>
                        <a:pt x="6032" y="1111821"/>
                      </a:lnTo>
                      <a:lnTo>
                        <a:pt x="6654" y="1111173"/>
                      </a:lnTo>
                      <a:lnTo>
                        <a:pt x="7975" y="1109205"/>
                      </a:lnTo>
                      <a:lnTo>
                        <a:pt x="10109" y="1106779"/>
                      </a:lnTo>
                      <a:lnTo>
                        <a:pt x="12814" y="1105268"/>
                      </a:lnTo>
                      <a:close/>
                    </a:path>
                    <a:path w="3135629" h="2095500">
                      <a:moveTo>
                        <a:pt x="91440" y="939673"/>
                      </a:moveTo>
                      <a:lnTo>
                        <a:pt x="91008" y="939469"/>
                      </a:lnTo>
                      <a:lnTo>
                        <a:pt x="90970" y="939241"/>
                      </a:lnTo>
                      <a:lnTo>
                        <a:pt x="90690" y="939215"/>
                      </a:lnTo>
                      <a:lnTo>
                        <a:pt x="90411" y="938898"/>
                      </a:lnTo>
                      <a:lnTo>
                        <a:pt x="90004" y="938898"/>
                      </a:lnTo>
                      <a:lnTo>
                        <a:pt x="89979" y="938085"/>
                      </a:lnTo>
                      <a:lnTo>
                        <a:pt x="90182" y="937234"/>
                      </a:lnTo>
                      <a:lnTo>
                        <a:pt x="90068" y="935482"/>
                      </a:lnTo>
                      <a:lnTo>
                        <a:pt x="89941" y="934897"/>
                      </a:lnTo>
                      <a:lnTo>
                        <a:pt x="89827" y="934593"/>
                      </a:lnTo>
                      <a:lnTo>
                        <a:pt x="89623" y="934250"/>
                      </a:lnTo>
                      <a:lnTo>
                        <a:pt x="89154" y="932713"/>
                      </a:lnTo>
                      <a:lnTo>
                        <a:pt x="87134" y="933348"/>
                      </a:lnTo>
                      <a:lnTo>
                        <a:pt x="87617" y="934948"/>
                      </a:lnTo>
                      <a:lnTo>
                        <a:pt x="87896" y="935482"/>
                      </a:lnTo>
                      <a:lnTo>
                        <a:pt x="88011" y="937234"/>
                      </a:lnTo>
                      <a:lnTo>
                        <a:pt x="87782" y="938085"/>
                      </a:lnTo>
                      <a:lnTo>
                        <a:pt x="87744" y="938339"/>
                      </a:lnTo>
                      <a:lnTo>
                        <a:pt x="87553" y="938657"/>
                      </a:lnTo>
                      <a:lnTo>
                        <a:pt x="87452" y="939469"/>
                      </a:lnTo>
                      <a:lnTo>
                        <a:pt x="87718" y="940206"/>
                      </a:lnTo>
                      <a:lnTo>
                        <a:pt x="88125" y="940498"/>
                      </a:lnTo>
                      <a:lnTo>
                        <a:pt x="88519" y="940663"/>
                      </a:lnTo>
                      <a:lnTo>
                        <a:pt x="87071" y="942403"/>
                      </a:lnTo>
                      <a:lnTo>
                        <a:pt x="86855" y="942555"/>
                      </a:lnTo>
                      <a:lnTo>
                        <a:pt x="86677" y="942721"/>
                      </a:lnTo>
                      <a:lnTo>
                        <a:pt x="86410" y="942924"/>
                      </a:lnTo>
                      <a:lnTo>
                        <a:pt x="86042" y="943330"/>
                      </a:lnTo>
                      <a:lnTo>
                        <a:pt x="85725" y="943838"/>
                      </a:lnTo>
                      <a:lnTo>
                        <a:pt x="85610" y="944245"/>
                      </a:lnTo>
                      <a:lnTo>
                        <a:pt x="85852" y="944613"/>
                      </a:lnTo>
                      <a:lnTo>
                        <a:pt x="86017" y="945197"/>
                      </a:lnTo>
                      <a:lnTo>
                        <a:pt x="86487" y="945629"/>
                      </a:lnTo>
                      <a:lnTo>
                        <a:pt x="86893" y="945946"/>
                      </a:lnTo>
                      <a:lnTo>
                        <a:pt x="87388" y="946518"/>
                      </a:lnTo>
                      <a:lnTo>
                        <a:pt x="87503" y="946759"/>
                      </a:lnTo>
                      <a:lnTo>
                        <a:pt x="87464" y="946886"/>
                      </a:lnTo>
                      <a:lnTo>
                        <a:pt x="87287" y="947089"/>
                      </a:lnTo>
                      <a:lnTo>
                        <a:pt x="86779" y="947470"/>
                      </a:lnTo>
                      <a:lnTo>
                        <a:pt x="85128" y="947864"/>
                      </a:lnTo>
                      <a:lnTo>
                        <a:pt x="84201" y="948270"/>
                      </a:lnTo>
                      <a:lnTo>
                        <a:pt x="84201" y="948677"/>
                      </a:lnTo>
                      <a:lnTo>
                        <a:pt x="84061" y="948804"/>
                      </a:lnTo>
                      <a:lnTo>
                        <a:pt x="83921" y="949045"/>
                      </a:lnTo>
                      <a:lnTo>
                        <a:pt x="83883" y="950899"/>
                      </a:lnTo>
                      <a:lnTo>
                        <a:pt x="87261" y="953719"/>
                      </a:lnTo>
                      <a:lnTo>
                        <a:pt x="87528" y="954024"/>
                      </a:lnTo>
                      <a:lnTo>
                        <a:pt x="87477" y="955217"/>
                      </a:lnTo>
                      <a:lnTo>
                        <a:pt x="87058" y="956335"/>
                      </a:lnTo>
                      <a:lnTo>
                        <a:pt x="86969" y="957008"/>
                      </a:lnTo>
                      <a:lnTo>
                        <a:pt x="86741" y="957910"/>
                      </a:lnTo>
                      <a:lnTo>
                        <a:pt x="88823" y="958342"/>
                      </a:lnTo>
                      <a:lnTo>
                        <a:pt x="89128" y="957008"/>
                      </a:lnTo>
                      <a:lnTo>
                        <a:pt x="89179" y="956703"/>
                      </a:lnTo>
                      <a:lnTo>
                        <a:pt x="89598" y="955560"/>
                      </a:lnTo>
                      <a:lnTo>
                        <a:pt x="89649" y="953223"/>
                      </a:lnTo>
                      <a:lnTo>
                        <a:pt x="88760" y="952220"/>
                      </a:lnTo>
                      <a:lnTo>
                        <a:pt x="86588" y="950391"/>
                      </a:lnTo>
                      <a:lnTo>
                        <a:pt x="86194" y="949782"/>
                      </a:lnTo>
                      <a:lnTo>
                        <a:pt x="89636" y="946848"/>
                      </a:lnTo>
                      <a:lnTo>
                        <a:pt x="89573" y="946353"/>
                      </a:lnTo>
                      <a:lnTo>
                        <a:pt x="89141" y="945400"/>
                      </a:lnTo>
                      <a:lnTo>
                        <a:pt x="88811" y="944930"/>
                      </a:lnTo>
                      <a:lnTo>
                        <a:pt x="88341" y="944410"/>
                      </a:lnTo>
                      <a:lnTo>
                        <a:pt x="88138" y="944245"/>
                      </a:lnTo>
                      <a:lnTo>
                        <a:pt x="88430" y="944029"/>
                      </a:lnTo>
                      <a:lnTo>
                        <a:pt x="88633" y="943838"/>
                      </a:lnTo>
                      <a:lnTo>
                        <a:pt x="89179" y="943165"/>
                      </a:lnTo>
                      <a:lnTo>
                        <a:pt x="89344" y="945832"/>
                      </a:lnTo>
                      <a:lnTo>
                        <a:pt x="90297" y="943165"/>
                      </a:lnTo>
                      <a:lnTo>
                        <a:pt x="91249" y="940206"/>
                      </a:lnTo>
                      <a:lnTo>
                        <a:pt x="91440" y="939673"/>
                      </a:lnTo>
                      <a:close/>
                    </a:path>
                    <a:path w="3135629" h="2095500">
                      <a:moveTo>
                        <a:pt x="134429" y="2050249"/>
                      </a:moveTo>
                      <a:lnTo>
                        <a:pt x="132308" y="2050211"/>
                      </a:lnTo>
                      <a:lnTo>
                        <a:pt x="132029" y="2072081"/>
                      </a:lnTo>
                      <a:lnTo>
                        <a:pt x="132003" y="2086432"/>
                      </a:lnTo>
                      <a:lnTo>
                        <a:pt x="132270" y="2095487"/>
                      </a:lnTo>
                      <a:lnTo>
                        <a:pt x="134378" y="2095271"/>
                      </a:lnTo>
                      <a:lnTo>
                        <a:pt x="134150" y="2088248"/>
                      </a:lnTo>
                      <a:lnTo>
                        <a:pt x="134124" y="2076386"/>
                      </a:lnTo>
                      <a:lnTo>
                        <a:pt x="134429" y="2050249"/>
                      </a:lnTo>
                      <a:close/>
                    </a:path>
                    <a:path w="3135629" h="2095500">
                      <a:moveTo>
                        <a:pt x="1026198" y="357339"/>
                      </a:moveTo>
                      <a:lnTo>
                        <a:pt x="1025448" y="357149"/>
                      </a:lnTo>
                      <a:lnTo>
                        <a:pt x="1022083" y="357860"/>
                      </a:lnTo>
                      <a:lnTo>
                        <a:pt x="1021880" y="356857"/>
                      </a:lnTo>
                      <a:lnTo>
                        <a:pt x="1021435" y="356209"/>
                      </a:lnTo>
                      <a:lnTo>
                        <a:pt x="1019911" y="353428"/>
                      </a:lnTo>
                      <a:lnTo>
                        <a:pt x="1017701" y="352831"/>
                      </a:lnTo>
                      <a:lnTo>
                        <a:pt x="1012355" y="352310"/>
                      </a:lnTo>
                      <a:lnTo>
                        <a:pt x="1011682" y="353415"/>
                      </a:lnTo>
                      <a:lnTo>
                        <a:pt x="1010996" y="354177"/>
                      </a:lnTo>
                      <a:lnTo>
                        <a:pt x="1010310" y="356463"/>
                      </a:lnTo>
                      <a:lnTo>
                        <a:pt x="1002550" y="353288"/>
                      </a:lnTo>
                      <a:lnTo>
                        <a:pt x="1000531" y="351320"/>
                      </a:lnTo>
                      <a:lnTo>
                        <a:pt x="1007414" y="348386"/>
                      </a:lnTo>
                      <a:lnTo>
                        <a:pt x="1005332" y="346951"/>
                      </a:lnTo>
                      <a:lnTo>
                        <a:pt x="1008532" y="346240"/>
                      </a:lnTo>
                      <a:lnTo>
                        <a:pt x="1009853" y="343268"/>
                      </a:lnTo>
                      <a:lnTo>
                        <a:pt x="1010539" y="342049"/>
                      </a:lnTo>
                      <a:lnTo>
                        <a:pt x="1012431" y="339661"/>
                      </a:lnTo>
                      <a:lnTo>
                        <a:pt x="1010881" y="338226"/>
                      </a:lnTo>
                      <a:lnTo>
                        <a:pt x="1009586" y="339763"/>
                      </a:lnTo>
                      <a:lnTo>
                        <a:pt x="1008735" y="340931"/>
                      </a:lnTo>
                      <a:lnTo>
                        <a:pt x="1007973" y="342265"/>
                      </a:lnTo>
                      <a:lnTo>
                        <a:pt x="1007148" y="344131"/>
                      </a:lnTo>
                      <a:lnTo>
                        <a:pt x="1006894" y="344449"/>
                      </a:lnTo>
                      <a:lnTo>
                        <a:pt x="1005928" y="344690"/>
                      </a:lnTo>
                      <a:lnTo>
                        <a:pt x="1002614" y="345122"/>
                      </a:lnTo>
                      <a:lnTo>
                        <a:pt x="1000671" y="345706"/>
                      </a:lnTo>
                      <a:lnTo>
                        <a:pt x="1001649" y="347560"/>
                      </a:lnTo>
                      <a:lnTo>
                        <a:pt x="1002093" y="347941"/>
                      </a:lnTo>
                      <a:lnTo>
                        <a:pt x="1002525" y="348157"/>
                      </a:lnTo>
                      <a:lnTo>
                        <a:pt x="996797" y="350596"/>
                      </a:lnTo>
                      <a:lnTo>
                        <a:pt x="998702" y="352488"/>
                      </a:lnTo>
                      <a:lnTo>
                        <a:pt x="1001217" y="355041"/>
                      </a:lnTo>
                      <a:lnTo>
                        <a:pt x="1011542" y="359270"/>
                      </a:lnTo>
                      <a:lnTo>
                        <a:pt x="1012126" y="357835"/>
                      </a:lnTo>
                      <a:lnTo>
                        <a:pt x="1012901" y="355180"/>
                      </a:lnTo>
                      <a:lnTo>
                        <a:pt x="1013294" y="354799"/>
                      </a:lnTo>
                      <a:lnTo>
                        <a:pt x="1013396" y="354533"/>
                      </a:lnTo>
                      <a:lnTo>
                        <a:pt x="1015860" y="354723"/>
                      </a:lnTo>
                      <a:lnTo>
                        <a:pt x="1017638" y="354965"/>
                      </a:lnTo>
                      <a:lnTo>
                        <a:pt x="1018730" y="355663"/>
                      </a:lnTo>
                      <a:lnTo>
                        <a:pt x="1019632" y="357327"/>
                      </a:lnTo>
                      <a:lnTo>
                        <a:pt x="1019911" y="357708"/>
                      </a:lnTo>
                      <a:lnTo>
                        <a:pt x="1020165" y="359321"/>
                      </a:lnTo>
                      <a:lnTo>
                        <a:pt x="1021029" y="359905"/>
                      </a:lnTo>
                      <a:lnTo>
                        <a:pt x="1021372" y="359994"/>
                      </a:lnTo>
                      <a:lnTo>
                        <a:pt x="1022311" y="359994"/>
                      </a:lnTo>
                      <a:lnTo>
                        <a:pt x="1025423" y="359333"/>
                      </a:lnTo>
                      <a:lnTo>
                        <a:pt x="1025677" y="359397"/>
                      </a:lnTo>
                      <a:lnTo>
                        <a:pt x="1026198" y="357339"/>
                      </a:lnTo>
                      <a:close/>
                    </a:path>
                    <a:path w="3135629" h="2095500">
                      <a:moveTo>
                        <a:pt x="1251077" y="344741"/>
                      </a:moveTo>
                      <a:lnTo>
                        <a:pt x="1250950" y="342633"/>
                      </a:lnTo>
                      <a:lnTo>
                        <a:pt x="1249311" y="342734"/>
                      </a:lnTo>
                      <a:lnTo>
                        <a:pt x="1242402" y="341337"/>
                      </a:lnTo>
                      <a:lnTo>
                        <a:pt x="1240891" y="341223"/>
                      </a:lnTo>
                      <a:lnTo>
                        <a:pt x="1240802" y="342226"/>
                      </a:lnTo>
                      <a:lnTo>
                        <a:pt x="1239761" y="342112"/>
                      </a:lnTo>
                      <a:lnTo>
                        <a:pt x="1239583" y="343242"/>
                      </a:lnTo>
                      <a:lnTo>
                        <a:pt x="1242098" y="343446"/>
                      </a:lnTo>
                      <a:lnTo>
                        <a:pt x="1244981" y="344030"/>
                      </a:lnTo>
                      <a:lnTo>
                        <a:pt x="1248638" y="344766"/>
                      </a:lnTo>
                      <a:lnTo>
                        <a:pt x="1251077" y="344741"/>
                      </a:lnTo>
                      <a:close/>
                    </a:path>
                    <a:path w="3135629" h="2095500">
                      <a:moveTo>
                        <a:pt x="1318437" y="147320"/>
                      </a:moveTo>
                      <a:lnTo>
                        <a:pt x="1316075" y="147320"/>
                      </a:lnTo>
                      <a:lnTo>
                        <a:pt x="1313967" y="147320"/>
                      </a:lnTo>
                      <a:lnTo>
                        <a:pt x="1300937" y="147320"/>
                      </a:lnTo>
                      <a:lnTo>
                        <a:pt x="1300226" y="148590"/>
                      </a:lnTo>
                      <a:lnTo>
                        <a:pt x="1299260" y="148590"/>
                      </a:lnTo>
                      <a:lnTo>
                        <a:pt x="1297482" y="149860"/>
                      </a:lnTo>
                      <a:lnTo>
                        <a:pt x="1295971" y="151130"/>
                      </a:lnTo>
                      <a:lnTo>
                        <a:pt x="1294307" y="152400"/>
                      </a:lnTo>
                      <a:lnTo>
                        <a:pt x="1289494" y="158750"/>
                      </a:lnTo>
                      <a:lnTo>
                        <a:pt x="1286967" y="163830"/>
                      </a:lnTo>
                      <a:lnTo>
                        <a:pt x="1286840" y="165100"/>
                      </a:lnTo>
                      <a:lnTo>
                        <a:pt x="1287081" y="166370"/>
                      </a:lnTo>
                      <a:lnTo>
                        <a:pt x="1289050" y="170180"/>
                      </a:lnTo>
                      <a:lnTo>
                        <a:pt x="1289507" y="171450"/>
                      </a:lnTo>
                      <a:lnTo>
                        <a:pt x="1289799" y="172720"/>
                      </a:lnTo>
                      <a:lnTo>
                        <a:pt x="1288999" y="177800"/>
                      </a:lnTo>
                      <a:lnTo>
                        <a:pt x="1288288" y="179070"/>
                      </a:lnTo>
                      <a:lnTo>
                        <a:pt x="1288199" y="180340"/>
                      </a:lnTo>
                      <a:lnTo>
                        <a:pt x="1288148" y="181610"/>
                      </a:lnTo>
                      <a:lnTo>
                        <a:pt x="1291450" y="187960"/>
                      </a:lnTo>
                      <a:lnTo>
                        <a:pt x="1289037" y="199390"/>
                      </a:lnTo>
                      <a:lnTo>
                        <a:pt x="1289278" y="200660"/>
                      </a:lnTo>
                      <a:lnTo>
                        <a:pt x="1290421" y="201930"/>
                      </a:lnTo>
                      <a:lnTo>
                        <a:pt x="1292072" y="203200"/>
                      </a:lnTo>
                      <a:lnTo>
                        <a:pt x="1294828" y="205740"/>
                      </a:lnTo>
                      <a:lnTo>
                        <a:pt x="1296644" y="207010"/>
                      </a:lnTo>
                      <a:lnTo>
                        <a:pt x="1297686" y="208280"/>
                      </a:lnTo>
                      <a:lnTo>
                        <a:pt x="1298016" y="208280"/>
                      </a:lnTo>
                      <a:lnTo>
                        <a:pt x="1298587" y="209550"/>
                      </a:lnTo>
                      <a:lnTo>
                        <a:pt x="1298816" y="209550"/>
                      </a:lnTo>
                      <a:lnTo>
                        <a:pt x="1298765" y="210820"/>
                      </a:lnTo>
                      <a:lnTo>
                        <a:pt x="1298625" y="210820"/>
                      </a:lnTo>
                      <a:lnTo>
                        <a:pt x="1297470" y="213360"/>
                      </a:lnTo>
                      <a:lnTo>
                        <a:pt x="1296962" y="214630"/>
                      </a:lnTo>
                      <a:lnTo>
                        <a:pt x="1289964" y="214630"/>
                      </a:lnTo>
                      <a:lnTo>
                        <a:pt x="1290764" y="217170"/>
                      </a:lnTo>
                      <a:lnTo>
                        <a:pt x="1295107" y="226060"/>
                      </a:lnTo>
                      <a:lnTo>
                        <a:pt x="1292428" y="234950"/>
                      </a:lnTo>
                      <a:lnTo>
                        <a:pt x="1293456" y="236220"/>
                      </a:lnTo>
                      <a:lnTo>
                        <a:pt x="1292059" y="236220"/>
                      </a:lnTo>
                      <a:lnTo>
                        <a:pt x="1291742" y="237490"/>
                      </a:lnTo>
                      <a:lnTo>
                        <a:pt x="1289380" y="237490"/>
                      </a:lnTo>
                      <a:lnTo>
                        <a:pt x="1284986" y="238760"/>
                      </a:lnTo>
                      <a:lnTo>
                        <a:pt x="1284681" y="240030"/>
                      </a:lnTo>
                      <a:lnTo>
                        <a:pt x="1285811" y="240030"/>
                      </a:lnTo>
                      <a:lnTo>
                        <a:pt x="1284820" y="241300"/>
                      </a:lnTo>
                      <a:lnTo>
                        <a:pt x="1285163" y="241300"/>
                      </a:lnTo>
                      <a:lnTo>
                        <a:pt x="1285100" y="242570"/>
                      </a:lnTo>
                      <a:lnTo>
                        <a:pt x="1283982" y="243840"/>
                      </a:lnTo>
                      <a:lnTo>
                        <a:pt x="1283741" y="243840"/>
                      </a:lnTo>
                      <a:lnTo>
                        <a:pt x="1283093" y="245110"/>
                      </a:lnTo>
                      <a:lnTo>
                        <a:pt x="1282941" y="246380"/>
                      </a:lnTo>
                      <a:lnTo>
                        <a:pt x="1283220" y="248920"/>
                      </a:lnTo>
                      <a:lnTo>
                        <a:pt x="1284147" y="252730"/>
                      </a:lnTo>
                      <a:lnTo>
                        <a:pt x="1282319" y="259080"/>
                      </a:lnTo>
                      <a:lnTo>
                        <a:pt x="1277861" y="257810"/>
                      </a:lnTo>
                      <a:lnTo>
                        <a:pt x="1277073" y="256540"/>
                      </a:lnTo>
                      <a:lnTo>
                        <a:pt x="1274648" y="256540"/>
                      </a:lnTo>
                      <a:lnTo>
                        <a:pt x="1276680" y="259080"/>
                      </a:lnTo>
                      <a:lnTo>
                        <a:pt x="1280693" y="260350"/>
                      </a:lnTo>
                      <a:lnTo>
                        <a:pt x="1282115" y="261620"/>
                      </a:lnTo>
                      <a:lnTo>
                        <a:pt x="1283614" y="261620"/>
                      </a:lnTo>
                      <a:lnTo>
                        <a:pt x="1284389" y="259080"/>
                      </a:lnTo>
                      <a:lnTo>
                        <a:pt x="1286332" y="252730"/>
                      </a:lnTo>
                      <a:lnTo>
                        <a:pt x="1285252" y="247650"/>
                      </a:lnTo>
                      <a:lnTo>
                        <a:pt x="1285087" y="246380"/>
                      </a:lnTo>
                      <a:lnTo>
                        <a:pt x="1285227" y="245110"/>
                      </a:lnTo>
                      <a:lnTo>
                        <a:pt x="1285633" y="245110"/>
                      </a:lnTo>
                      <a:lnTo>
                        <a:pt x="1287119" y="242570"/>
                      </a:lnTo>
                      <a:lnTo>
                        <a:pt x="1287310" y="241300"/>
                      </a:lnTo>
                      <a:lnTo>
                        <a:pt x="1287094" y="241300"/>
                      </a:lnTo>
                      <a:lnTo>
                        <a:pt x="1290802" y="240030"/>
                      </a:lnTo>
                      <a:lnTo>
                        <a:pt x="1293190" y="238760"/>
                      </a:lnTo>
                      <a:lnTo>
                        <a:pt x="1294104" y="237490"/>
                      </a:lnTo>
                      <a:lnTo>
                        <a:pt x="1294244" y="236220"/>
                      </a:lnTo>
                      <a:lnTo>
                        <a:pt x="1294777" y="234950"/>
                      </a:lnTo>
                      <a:lnTo>
                        <a:pt x="1297381" y="226060"/>
                      </a:lnTo>
                      <a:lnTo>
                        <a:pt x="1293215" y="217170"/>
                      </a:lnTo>
                      <a:lnTo>
                        <a:pt x="1295895" y="217170"/>
                      </a:lnTo>
                      <a:lnTo>
                        <a:pt x="1297089" y="215900"/>
                      </a:lnTo>
                      <a:lnTo>
                        <a:pt x="1298867" y="215900"/>
                      </a:lnTo>
                      <a:lnTo>
                        <a:pt x="1300861" y="210820"/>
                      </a:lnTo>
                      <a:lnTo>
                        <a:pt x="1300988" y="209550"/>
                      </a:lnTo>
                      <a:lnTo>
                        <a:pt x="1300657" y="208280"/>
                      </a:lnTo>
                      <a:lnTo>
                        <a:pt x="1299845" y="207010"/>
                      </a:lnTo>
                      <a:lnTo>
                        <a:pt x="1299425" y="207010"/>
                      </a:lnTo>
                      <a:lnTo>
                        <a:pt x="1298282" y="205740"/>
                      </a:lnTo>
                      <a:lnTo>
                        <a:pt x="1296111" y="203200"/>
                      </a:lnTo>
                      <a:lnTo>
                        <a:pt x="1293406" y="201930"/>
                      </a:lnTo>
                      <a:lnTo>
                        <a:pt x="1292656" y="200660"/>
                      </a:lnTo>
                      <a:lnTo>
                        <a:pt x="1291691" y="200660"/>
                      </a:lnTo>
                      <a:lnTo>
                        <a:pt x="1291424" y="199390"/>
                      </a:lnTo>
                      <a:lnTo>
                        <a:pt x="1291209" y="199390"/>
                      </a:lnTo>
                      <a:lnTo>
                        <a:pt x="1293685" y="186690"/>
                      </a:lnTo>
                      <a:lnTo>
                        <a:pt x="1290675" y="181610"/>
                      </a:lnTo>
                      <a:lnTo>
                        <a:pt x="1290320" y="181610"/>
                      </a:lnTo>
                      <a:lnTo>
                        <a:pt x="1290269" y="180340"/>
                      </a:lnTo>
                      <a:lnTo>
                        <a:pt x="1291056" y="177800"/>
                      </a:lnTo>
                      <a:lnTo>
                        <a:pt x="1291729" y="173990"/>
                      </a:lnTo>
                      <a:lnTo>
                        <a:pt x="1292059" y="171450"/>
                      </a:lnTo>
                      <a:lnTo>
                        <a:pt x="1289850" y="167640"/>
                      </a:lnTo>
                      <a:lnTo>
                        <a:pt x="1289164" y="165100"/>
                      </a:lnTo>
                      <a:lnTo>
                        <a:pt x="1289024" y="165100"/>
                      </a:lnTo>
                      <a:lnTo>
                        <a:pt x="1291310" y="160020"/>
                      </a:lnTo>
                      <a:lnTo>
                        <a:pt x="1295946" y="153670"/>
                      </a:lnTo>
                      <a:lnTo>
                        <a:pt x="1297368" y="152400"/>
                      </a:lnTo>
                      <a:lnTo>
                        <a:pt x="1298663" y="151130"/>
                      </a:lnTo>
                      <a:lnTo>
                        <a:pt x="1300289" y="149860"/>
                      </a:lnTo>
                      <a:lnTo>
                        <a:pt x="1301864" y="149860"/>
                      </a:lnTo>
                      <a:lnTo>
                        <a:pt x="1304505" y="148590"/>
                      </a:lnTo>
                      <a:lnTo>
                        <a:pt x="1316189" y="149860"/>
                      </a:lnTo>
                      <a:lnTo>
                        <a:pt x="1318082" y="148590"/>
                      </a:lnTo>
                      <a:lnTo>
                        <a:pt x="1318437" y="147320"/>
                      </a:lnTo>
                      <a:close/>
                    </a:path>
                    <a:path w="3135629" h="2095500">
                      <a:moveTo>
                        <a:pt x="1552917" y="1233424"/>
                      </a:moveTo>
                      <a:lnTo>
                        <a:pt x="1552384" y="1232636"/>
                      </a:lnTo>
                      <a:lnTo>
                        <a:pt x="1549908" y="1233970"/>
                      </a:lnTo>
                      <a:lnTo>
                        <a:pt x="1547164" y="1236573"/>
                      </a:lnTo>
                      <a:lnTo>
                        <a:pt x="1546682" y="1237107"/>
                      </a:lnTo>
                      <a:lnTo>
                        <a:pt x="1546313" y="1237449"/>
                      </a:lnTo>
                      <a:lnTo>
                        <a:pt x="1545844" y="1237792"/>
                      </a:lnTo>
                      <a:lnTo>
                        <a:pt x="1545297" y="1238250"/>
                      </a:lnTo>
                      <a:lnTo>
                        <a:pt x="1545043" y="1238326"/>
                      </a:lnTo>
                      <a:lnTo>
                        <a:pt x="1544866" y="1238275"/>
                      </a:lnTo>
                      <a:lnTo>
                        <a:pt x="1544662" y="1238008"/>
                      </a:lnTo>
                      <a:lnTo>
                        <a:pt x="1544307" y="1237259"/>
                      </a:lnTo>
                      <a:lnTo>
                        <a:pt x="1543875" y="1236992"/>
                      </a:lnTo>
                      <a:lnTo>
                        <a:pt x="1543431" y="1236764"/>
                      </a:lnTo>
                      <a:lnTo>
                        <a:pt x="1542440" y="1236395"/>
                      </a:lnTo>
                      <a:lnTo>
                        <a:pt x="1540395" y="1237157"/>
                      </a:lnTo>
                      <a:lnTo>
                        <a:pt x="1539887" y="1237373"/>
                      </a:lnTo>
                      <a:lnTo>
                        <a:pt x="1539138" y="1237792"/>
                      </a:lnTo>
                      <a:lnTo>
                        <a:pt x="1538338" y="1238351"/>
                      </a:lnTo>
                      <a:lnTo>
                        <a:pt x="1537373" y="1239113"/>
                      </a:lnTo>
                      <a:lnTo>
                        <a:pt x="1537017" y="1239291"/>
                      </a:lnTo>
                      <a:lnTo>
                        <a:pt x="1537017" y="1239431"/>
                      </a:lnTo>
                      <a:lnTo>
                        <a:pt x="1537449" y="1241336"/>
                      </a:lnTo>
                      <a:lnTo>
                        <a:pt x="1538185" y="1241183"/>
                      </a:lnTo>
                      <a:lnTo>
                        <a:pt x="1538706" y="1240713"/>
                      </a:lnTo>
                      <a:lnTo>
                        <a:pt x="1539544" y="1240053"/>
                      </a:lnTo>
                      <a:lnTo>
                        <a:pt x="1540268" y="1239558"/>
                      </a:lnTo>
                      <a:lnTo>
                        <a:pt x="1540751" y="1239266"/>
                      </a:lnTo>
                      <a:lnTo>
                        <a:pt x="1542427" y="1238631"/>
                      </a:lnTo>
                      <a:lnTo>
                        <a:pt x="1542694" y="1238732"/>
                      </a:lnTo>
                      <a:lnTo>
                        <a:pt x="1542872" y="1239100"/>
                      </a:lnTo>
                      <a:lnTo>
                        <a:pt x="1543062" y="1239405"/>
                      </a:lnTo>
                      <a:lnTo>
                        <a:pt x="1543265" y="1239608"/>
                      </a:lnTo>
                      <a:lnTo>
                        <a:pt x="1544027" y="1240574"/>
                      </a:lnTo>
                      <a:lnTo>
                        <a:pt x="1544904" y="1240523"/>
                      </a:lnTo>
                      <a:lnTo>
                        <a:pt x="1545221" y="1240409"/>
                      </a:lnTo>
                      <a:lnTo>
                        <a:pt x="1545831" y="1240332"/>
                      </a:lnTo>
                      <a:lnTo>
                        <a:pt x="1546466" y="1240002"/>
                      </a:lnTo>
                      <a:lnTo>
                        <a:pt x="1547164" y="1239405"/>
                      </a:lnTo>
                      <a:lnTo>
                        <a:pt x="1547647" y="1239075"/>
                      </a:lnTo>
                      <a:lnTo>
                        <a:pt x="1548117" y="1238631"/>
                      </a:lnTo>
                      <a:lnTo>
                        <a:pt x="1548663" y="1238034"/>
                      </a:lnTo>
                      <a:lnTo>
                        <a:pt x="1551139" y="1235671"/>
                      </a:lnTo>
                      <a:lnTo>
                        <a:pt x="1552536" y="1234935"/>
                      </a:lnTo>
                      <a:lnTo>
                        <a:pt x="1552054" y="1234033"/>
                      </a:lnTo>
                      <a:lnTo>
                        <a:pt x="1552917" y="1233424"/>
                      </a:lnTo>
                      <a:close/>
                    </a:path>
                    <a:path w="3135629" h="2095500">
                      <a:moveTo>
                        <a:pt x="1568907" y="173990"/>
                      </a:moveTo>
                      <a:lnTo>
                        <a:pt x="1568348" y="172720"/>
                      </a:lnTo>
                      <a:lnTo>
                        <a:pt x="1566049" y="170180"/>
                      </a:lnTo>
                      <a:lnTo>
                        <a:pt x="1562341" y="165100"/>
                      </a:lnTo>
                      <a:lnTo>
                        <a:pt x="1548409" y="156210"/>
                      </a:lnTo>
                      <a:lnTo>
                        <a:pt x="1547126" y="154940"/>
                      </a:lnTo>
                      <a:lnTo>
                        <a:pt x="1549171" y="153670"/>
                      </a:lnTo>
                      <a:lnTo>
                        <a:pt x="1553095" y="149860"/>
                      </a:lnTo>
                      <a:lnTo>
                        <a:pt x="1554734" y="148590"/>
                      </a:lnTo>
                      <a:lnTo>
                        <a:pt x="1555800" y="146050"/>
                      </a:lnTo>
                      <a:lnTo>
                        <a:pt x="1553451" y="142240"/>
                      </a:lnTo>
                      <a:lnTo>
                        <a:pt x="1548815" y="140970"/>
                      </a:lnTo>
                      <a:lnTo>
                        <a:pt x="1547774" y="139700"/>
                      </a:lnTo>
                      <a:lnTo>
                        <a:pt x="1546428" y="137160"/>
                      </a:lnTo>
                      <a:lnTo>
                        <a:pt x="1547469" y="135890"/>
                      </a:lnTo>
                      <a:lnTo>
                        <a:pt x="1548638" y="135890"/>
                      </a:lnTo>
                      <a:lnTo>
                        <a:pt x="1549069" y="134620"/>
                      </a:lnTo>
                      <a:lnTo>
                        <a:pt x="1549082" y="133350"/>
                      </a:lnTo>
                      <a:lnTo>
                        <a:pt x="1546618" y="130810"/>
                      </a:lnTo>
                      <a:lnTo>
                        <a:pt x="1545920" y="130810"/>
                      </a:lnTo>
                      <a:lnTo>
                        <a:pt x="1542249" y="129540"/>
                      </a:lnTo>
                      <a:lnTo>
                        <a:pt x="1541094" y="128270"/>
                      </a:lnTo>
                      <a:lnTo>
                        <a:pt x="1540675" y="127000"/>
                      </a:lnTo>
                      <a:lnTo>
                        <a:pt x="1541056" y="125730"/>
                      </a:lnTo>
                      <a:lnTo>
                        <a:pt x="1543646" y="124460"/>
                      </a:lnTo>
                      <a:lnTo>
                        <a:pt x="1543812" y="121920"/>
                      </a:lnTo>
                      <a:lnTo>
                        <a:pt x="1542923" y="121920"/>
                      </a:lnTo>
                      <a:lnTo>
                        <a:pt x="1541653" y="120650"/>
                      </a:lnTo>
                      <a:lnTo>
                        <a:pt x="1541195" y="120650"/>
                      </a:lnTo>
                      <a:lnTo>
                        <a:pt x="1540776" y="119380"/>
                      </a:lnTo>
                      <a:lnTo>
                        <a:pt x="1541068" y="119380"/>
                      </a:lnTo>
                      <a:lnTo>
                        <a:pt x="1541449" y="118110"/>
                      </a:lnTo>
                      <a:lnTo>
                        <a:pt x="1542821" y="114300"/>
                      </a:lnTo>
                      <a:lnTo>
                        <a:pt x="1542796" y="113030"/>
                      </a:lnTo>
                      <a:lnTo>
                        <a:pt x="1542707" y="111760"/>
                      </a:lnTo>
                      <a:lnTo>
                        <a:pt x="1548447" y="111760"/>
                      </a:lnTo>
                      <a:lnTo>
                        <a:pt x="1538947" y="90170"/>
                      </a:lnTo>
                      <a:lnTo>
                        <a:pt x="1537779" y="87630"/>
                      </a:lnTo>
                      <a:lnTo>
                        <a:pt x="1536230" y="85090"/>
                      </a:lnTo>
                      <a:lnTo>
                        <a:pt x="1535772" y="85090"/>
                      </a:lnTo>
                      <a:lnTo>
                        <a:pt x="1535023" y="83820"/>
                      </a:lnTo>
                      <a:lnTo>
                        <a:pt x="1533334" y="82550"/>
                      </a:lnTo>
                      <a:lnTo>
                        <a:pt x="1533067" y="82550"/>
                      </a:lnTo>
                      <a:lnTo>
                        <a:pt x="1532953" y="81280"/>
                      </a:lnTo>
                      <a:lnTo>
                        <a:pt x="1532902" y="80010"/>
                      </a:lnTo>
                      <a:lnTo>
                        <a:pt x="1545628" y="63500"/>
                      </a:lnTo>
                      <a:lnTo>
                        <a:pt x="1545945" y="63500"/>
                      </a:lnTo>
                      <a:lnTo>
                        <a:pt x="1545742" y="62230"/>
                      </a:lnTo>
                      <a:lnTo>
                        <a:pt x="1544701" y="60960"/>
                      </a:lnTo>
                      <a:lnTo>
                        <a:pt x="1541856" y="58420"/>
                      </a:lnTo>
                      <a:lnTo>
                        <a:pt x="1540789" y="58420"/>
                      </a:lnTo>
                      <a:lnTo>
                        <a:pt x="1536788" y="52070"/>
                      </a:lnTo>
                      <a:lnTo>
                        <a:pt x="1533525" y="50800"/>
                      </a:lnTo>
                      <a:lnTo>
                        <a:pt x="1528064" y="49530"/>
                      </a:lnTo>
                      <a:lnTo>
                        <a:pt x="1526705" y="48260"/>
                      </a:lnTo>
                      <a:lnTo>
                        <a:pt x="1525231" y="44450"/>
                      </a:lnTo>
                      <a:lnTo>
                        <a:pt x="1524673" y="43180"/>
                      </a:lnTo>
                      <a:lnTo>
                        <a:pt x="1526235" y="39370"/>
                      </a:lnTo>
                      <a:lnTo>
                        <a:pt x="1527670" y="34290"/>
                      </a:lnTo>
                      <a:lnTo>
                        <a:pt x="1528013" y="31750"/>
                      </a:lnTo>
                      <a:lnTo>
                        <a:pt x="1529194" y="31750"/>
                      </a:lnTo>
                      <a:lnTo>
                        <a:pt x="1532089" y="30480"/>
                      </a:lnTo>
                      <a:lnTo>
                        <a:pt x="1531861" y="27940"/>
                      </a:lnTo>
                      <a:lnTo>
                        <a:pt x="1535480" y="22860"/>
                      </a:lnTo>
                      <a:lnTo>
                        <a:pt x="1537017" y="21590"/>
                      </a:lnTo>
                      <a:lnTo>
                        <a:pt x="1538541" y="21590"/>
                      </a:lnTo>
                      <a:lnTo>
                        <a:pt x="1541741" y="20320"/>
                      </a:lnTo>
                      <a:lnTo>
                        <a:pt x="1544701" y="20320"/>
                      </a:lnTo>
                      <a:lnTo>
                        <a:pt x="1545678" y="19050"/>
                      </a:lnTo>
                      <a:lnTo>
                        <a:pt x="1547444" y="16510"/>
                      </a:lnTo>
                      <a:lnTo>
                        <a:pt x="1548079" y="15240"/>
                      </a:lnTo>
                      <a:lnTo>
                        <a:pt x="1548218" y="13970"/>
                      </a:lnTo>
                      <a:lnTo>
                        <a:pt x="1548536" y="13970"/>
                      </a:lnTo>
                      <a:lnTo>
                        <a:pt x="1552409" y="15240"/>
                      </a:lnTo>
                      <a:lnTo>
                        <a:pt x="1553984" y="16510"/>
                      </a:lnTo>
                      <a:lnTo>
                        <a:pt x="1556867" y="16510"/>
                      </a:lnTo>
                      <a:lnTo>
                        <a:pt x="1557578" y="15240"/>
                      </a:lnTo>
                      <a:lnTo>
                        <a:pt x="1558899" y="13970"/>
                      </a:lnTo>
                      <a:lnTo>
                        <a:pt x="1558239" y="10160"/>
                      </a:lnTo>
                      <a:lnTo>
                        <a:pt x="1556156" y="11430"/>
                      </a:lnTo>
                      <a:lnTo>
                        <a:pt x="1556639" y="13970"/>
                      </a:lnTo>
                      <a:lnTo>
                        <a:pt x="1552968" y="13970"/>
                      </a:lnTo>
                      <a:lnTo>
                        <a:pt x="1549488" y="12700"/>
                      </a:lnTo>
                      <a:lnTo>
                        <a:pt x="1549082" y="12700"/>
                      </a:lnTo>
                      <a:lnTo>
                        <a:pt x="1548168" y="11430"/>
                      </a:lnTo>
                      <a:lnTo>
                        <a:pt x="1547114" y="11430"/>
                      </a:lnTo>
                      <a:lnTo>
                        <a:pt x="1545209" y="12700"/>
                      </a:lnTo>
                      <a:lnTo>
                        <a:pt x="1546110" y="13970"/>
                      </a:lnTo>
                      <a:lnTo>
                        <a:pt x="1545856" y="13970"/>
                      </a:lnTo>
                      <a:lnTo>
                        <a:pt x="1545374" y="15240"/>
                      </a:lnTo>
                      <a:lnTo>
                        <a:pt x="1543989" y="17780"/>
                      </a:lnTo>
                      <a:lnTo>
                        <a:pt x="1543405" y="17780"/>
                      </a:lnTo>
                      <a:lnTo>
                        <a:pt x="1537944" y="19050"/>
                      </a:lnTo>
                      <a:lnTo>
                        <a:pt x="1536814" y="20320"/>
                      </a:lnTo>
                      <a:lnTo>
                        <a:pt x="1535264" y="20320"/>
                      </a:lnTo>
                      <a:lnTo>
                        <a:pt x="1535430" y="19050"/>
                      </a:lnTo>
                      <a:lnTo>
                        <a:pt x="1535582" y="19050"/>
                      </a:lnTo>
                      <a:lnTo>
                        <a:pt x="1536242" y="17780"/>
                      </a:lnTo>
                      <a:lnTo>
                        <a:pt x="1536382" y="17780"/>
                      </a:lnTo>
                      <a:lnTo>
                        <a:pt x="1536204" y="16510"/>
                      </a:lnTo>
                      <a:lnTo>
                        <a:pt x="1535328" y="13970"/>
                      </a:lnTo>
                      <a:lnTo>
                        <a:pt x="1530946" y="11430"/>
                      </a:lnTo>
                      <a:lnTo>
                        <a:pt x="1528648" y="10160"/>
                      </a:lnTo>
                      <a:lnTo>
                        <a:pt x="1525130" y="8890"/>
                      </a:lnTo>
                      <a:lnTo>
                        <a:pt x="1524304" y="7620"/>
                      </a:lnTo>
                      <a:lnTo>
                        <a:pt x="1521714" y="6350"/>
                      </a:lnTo>
                      <a:lnTo>
                        <a:pt x="1519923" y="5080"/>
                      </a:lnTo>
                      <a:lnTo>
                        <a:pt x="1519656" y="5080"/>
                      </a:lnTo>
                      <a:lnTo>
                        <a:pt x="1514246" y="0"/>
                      </a:lnTo>
                      <a:lnTo>
                        <a:pt x="1510461" y="2540"/>
                      </a:lnTo>
                      <a:lnTo>
                        <a:pt x="1510080" y="2540"/>
                      </a:lnTo>
                      <a:lnTo>
                        <a:pt x="1508442" y="3810"/>
                      </a:lnTo>
                      <a:lnTo>
                        <a:pt x="1503883" y="3810"/>
                      </a:lnTo>
                      <a:lnTo>
                        <a:pt x="1500212" y="5080"/>
                      </a:lnTo>
                      <a:lnTo>
                        <a:pt x="1494980" y="5080"/>
                      </a:lnTo>
                      <a:lnTo>
                        <a:pt x="1492567" y="7620"/>
                      </a:lnTo>
                      <a:lnTo>
                        <a:pt x="1491945" y="8890"/>
                      </a:lnTo>
                      <a:lnTo>
                        <a:pt x="1488554" y="11430"/>
                      </a:lnTo>
                      <a:lnTo>
                        <a:pt x="1487652" y="11430"/>
                      </a:lnTo>
                      <a:lnTo>
                        <a:pt x="1487398" y="12700"/>
                      </a:lnTo>
                      <a:lnTo>
                        <a:pt x="1486598" y="12700"/>
                      </a:lnTo>
                      <a:lnTo>
                        <a:pt x="1486039" y="13970"/>
                      </a:lnTo>
                      <a:lnTo>
                        <a:pt x="1484680" y="20320"/>
                      </a:lnTo>
                      <a:lnTo>
                        <a:pt x="1483829" y="26670"/>
                      </a:lnTo>
                      <a:lnTo>
                        <a:pt x="1483372" y="29210"/>
                      </a:lnTo>
                      <a:lnTo>
                        <a:pt x="1483194" y="29210"/>
                      </a:lnTo>
                      <a:lnTo>
                        <a:pt x="1482940" y="30480"/>
                      </a:lnTo>
                      <a:lnTo>
                        <a:pt x="1482496" y="31750"/>
                      </a:lnTo>
                      <a:lnTo>
                        <a:pt x="1482229" y="31750"/>
                      </a:lnTo>
                      <a:lnTo>
                        <a:pt x="1480083" y="30480"/>
                      </a:lnTo>
                      <a:lnTo>
                        <a:pt x="1474609" y="36830"/>
                      </a:lnTo>
                      <a:lnTo>
                        <a:pt x="1473098" y="39370"/>
                      </a:lnTo>
                      <a:lnTo>
                        <a:pt x="1472666" y="39370"/>
                      </a:lnTo>
                      <a:lnTo>
                        <a:pt x="1464703" y="35560"/>
                      </a:lnTo>
                      <a:lnTo>
                        <a:pt x="1461274" y="34290"/>
                      </a:lnTo>
                      <a:lnTo>
                        <a:pt x="1458137" y="31750"/>
                      </a:lnTo>
                      <a:lnTo>
                        <a:pt x="1455661" y="34290"/>
                      </a:lnTo>
                      <a:lnTo>
                        <a:pt x="1455267" y="34290"/>
                      </a:lnTo>
                      <a:lnTo>
                        <a:pt x="1455204" y="35560"/>
                      </a:lnTo>
                      <a:lnTo>
                        <a:pt x="1437474" y="35560"/>
                      </a:lnTo>
                      <a:lnTo>
                        <a:pt x="1437195" y="34290"/>
                      </a:lnTo>
                      <a:lnTo>
                        <a:pt x="1436433" y="31750"/>
                      </a:lnTo>
                      <a:lnTo>
                        <a:pt x="1432521" y="29210"/>
                      </a:lnTo>
                      <a:lnTo>
                        <a:pt x="1430858" y="27940"/>
                      </a:lnTo>
                      <a:lnTo>
                        <a:pt x="1426184" y="24130"/>
                      </a:lnTo>
                      <a:lnTo>
                        <a:pt x="1423073" y="21590"/>
                      </a:lnTo>
                      <a:lnTo>
                        <a:pt x="1419174" y="21590"/>
                      </a:lnTo>
                      <a:lnTo>
                        <a:pt x="1418310" y="22860"/>
                      </a:lnTo>
                      <a:lnTo>
                        <a:pt x="1417294" y="22860"/>
                      </a:lnTo>
                      <a:lnTo>
                        <a:pt x="1416697" y="24130"/>
                      </a:lnTo>
                      <a:lnTo>
                        <a:pt x="1416685" y="26670"/>
                      </a:lnTo>
                      <a:lnTo>
                        <a:pt x="1416469" y="26670"/>
                      </a:lnTo>
                      <a:lnTo>
                        <a:pt x="1411160" y="27940"/>
                      </a:lnTo>
                      <a:lnTo>
                        <a:pt x="1402854" y="27940"/>
                      </a:lnTo>
                      <a:lnTo>
                        <a:pt x="1403680" y="29210"/>
                      </a:lnTo>
                      <a:lnTo>
                        <a:pt x="1405178" y="33020"/>
                      </a:lnTo>
                      <a:lnTo>
                        <a:pt x="1405102" y="34290"/>
                      </a:lnTo>
                      <a:lnTo>
                        <a:pt x="1405128" y="35560"/>
                      </a:lnTo>
                      <a:lnTo>
                        <a:pt x="1402575" y="38100"/>
                      </a:lnTo>
                      <a:lnTo>
                        <a:pt x="1402295" y="39370"/>
                      </a:lnTo>
                      <a:lnTo>
                        <a:pt x="1402156" y="39370"/>
                      </a:lnTo>
                      <a:lnTo>
                        <a:pt x="1401864" y="40640"/>
                      </a:lnTo>
                      <a:lnTo>
                        <a:pt x="1401787" y="43180"/>
                      </a:lnTo>
                      <a:lnTo>
                        <a:pt x="1401927" y="44450"/>
                      </a:lnTo>
                      <a:lnTo>
                        <a:pt x="1401191" y="44450"/>
                      </a:lnTo>
                      <a:lnTo>
                        <a:pt x="1388084" y="41910"/>
                      </a:lnTo>
                      <a:lnTo>
                        <a:pt x="1374978" y="39370"/>
                      </a:lnTo>
                      <a:lnTo>
                        <a:pt x="1374813" y="41910"/>
                      </a:lnTo>
                      <a:lnTo>
                        <a:pt x="1374660" y="45720"/>
                      </a:lnTo>
                      <a:lnTo>
                        <a:pt x="1374419" y="49530"/>
                      </a:lnTo>
                      <a:lnTo>
                        <a:pt x="1373225" y="53340"/>
                      </a:lnTo>
                      <a:lnTo>
                        <a:pt x="1369301" y="53340"/>
                      </a:lnTo>
                      <a:lnTo>
                        <a:pt x="1368437" y="52070"/>
                      </a:lnTo>
                      <a:lnTo>
                        <a:pt x="1364475" y="50800"/>
                      </a:lnTo>
                      <a:lnTo>
                        <a:pt x="1363548" y="50800"/>
                      </a:lnTo>
                      <a:lnTo>
                        <a:pt x="1362367" y="52070"/>
                      </a:lnTo>
                      <a:lnTo>
                        <a:pt x="1361655" y="52070"/>
                      </a:lnTo>
                      <a:lnTo>
                        <a:pt x="1359471" y="53340"/>
                      </a:lnTo>
                      <a:lnTo>
                        <a:pt x="1356144" y="55880"/>
                      </a:lnTo>
                      <a:lnTo>
                        <a:pt x="1355293" y="55880"/>
                      </a:lnTo>
                      <a:lnTo>
                        <a:pt x="1354074" y="59690"/>
                      </a:lnTo>
                      <a:lnTo>
                        <a:pt x="1353388" y="60960"/>
                      </a:lnTo>
                      <a:lnTo>
                        <a:pt x="1352956" y="62230"/>
                      </a:lnTo>
                      <a:lnTo>
                        <a:pt x="1352423" y="63500"/>
                      </a:lnTo>
                      <a:lnTo>
                        <a:pt x="1351572" y="64770"/>
                      </a:lnTo>
                      <a:lnTo>
                        <a:pt x="1349006" y="64770"/>
                      </a:lnTo>
                      <a:lnTo>
                        <a:pt x="1347216" y="66040"/>
                      </a:lnTo>
                      <a:lnTo>
                        <a:pt x="1346161" y="68580"/>
                      </a:lnTo>
                      <a:lnTo>
                        <a:pt x="1350340" y="73660"/>
                      </a:lnTo>
                      <a:lnTo>
                        <a:pt x="1349984" y="74930"/>
                      </a:lnTo>
                      <a:lnTo>
                        <a:pt x="1349806" y="74930"/>
                      </a:lnTo>
                      <a:lnTo>
                        <a:pt x="1349463" y="76200"/>
                      </a:lnTo>
                      <a:lnTo>
                        <a:pt x="1348371" y="78740"/>
                      </a:lnTo>
                      <a:lnTo>
                        <a:pt x="1341894" y="85090"/>
                      </a:lnTo>
                      <a:lnTo>
                        <a:pt x="1341221" y="85090"/>
                      </a:lnTo>
                      <a:lnTo>
                        <a:pt x="1338821" y="88900"/>
                      </a:lnTo>
                      <a:lnTo>
                        <a:pt x="1337094" y="88900"/>
                      </a:lnTo>
                      <a:lnTo>
                        <a:pt x="1336662" y="90170"/>
                      </a:lnTo>
                      <a:lnTo>
                        <a:pt x="1336319" y="90170"/>
                      </a:lnTo>
                      <a:lnTo>
                        <a:pt x="1335671" y="91440"/>
                      </a:lnTo>
                      <a:lnTo>
                        <a:pt x="1336751" y="93980"/>
                      </a:lnTo>
                      <a:lnTo>
                        <a:pt x="1336332" y="93980"/>
                      </a:lnTo>
                      <a:lnTo>
                        <a:pt x="1334719" y="95250"/>
                      </a:lnTo>
                      <a:lnTo>
                        <a:pt x="1332649" y="96520"/>
                      </a:lnTo>
                      <a:lnTo>
                        <a:pt x="1325664" y="99060"/>
                      </a:lnTo>
                      <a:lnTo>
                        <a:pt x="1322705" y="100330"/>
                      </a:lnTo>
                      <a:lnTo>
                        <a:pt x="1323797" y="104140"/>
                      </a:lnTo>
                      <a:lnTo>
                        <a:pt x="1325079" y="104140"/>
                      </a:lnTo>
                      <a:lnTo>
                        <a:pt x="1324063" y="105410"/>
                      </a:lnTo>
                      <a:lnTo>
                        <a:pt x="1324229" y="106680"/>
                      </a:lnTo>
                      <a:lnTo>
                        <a:pt x="1323352" y="114300"/>
                      </a:lnTo>
                      <a:lnTo>
                        <a:pt x="1322959" y="116840"/>
                      </a:lnTo>
                      <a:lnTo>
                        <a:pt x="1322666" y="119380"/>
                      </a:lnTo>
                      <a:lnTo>
                        <a:pt x="1320774" y="121920"/>
                      </a:lnTo>
                      <a:lnTo>
                        <a:pt x="1320025" y="123190"/>
                      </a:lnTo>
                      <a:lnTo>
                        <a:pt x="1319339" y="124460"/>
                      </a:lnTo>
                      <a:lnTo>
                        <a:pt x="1318641" y="124460"/>
                      </a:lnTo>
                      <a:lnTo>
                        <a:pt x="1317586" y="125730"/>
                      </a:lnTo>
                      <a:lnTo>
                        <a:pt x="1314107" y="130810"/>
                      </a:lnTo>
                      <a:lnTo>
                        <a:pt x="1313510" y="130810"/>
                      </a:lnTo>
                      <a:lnTo>
                        <a:pt x="1313205" y="132080"/>
                      </a:lnTo>
                      <a:lnTo>
                        <a:pt x="1313459" y="133350"/>
                      </a:lnTo>
                      <a:lnTo>
                        <a:pt x="1313726" y="135890"/>
                      </a:lnTo>
                      <a:lnTo>
                        <a:pt x="1314259" y="137160"/>
                      </a:lnTo>
                      <a:lnTo>
                        <a:pt x="1314386" y="138430"/>
                      </a:lnTo>
                      <a:lnTo>
                        <a:pt x="1314767" y="138430"/>
                      </a:lnTo>
                      <a:lnTo>
                        <a:pt x="1316609" y="139700"/>
                      </a:lnTo>
                      <a:lnTo>
                        <a:pt x="1316824" y="140970"/>
                      </a:lnTo>
                      <a:lnTo>
                        <a:pt x="1317028" y="140970"/>
                      </a:lnTo>
                      <a:lnTo>
                        <a:pt x="1317307" y="142240"/>
                      </a:lnTo>
                      <a:lnTo>
                        <a:pt x="1317244" y="143510"/>
                      </a:lnTo>
                      <a:lnTo>
                        <a:pt x="1316786" y="144780"/>
                      </a:lnTo>
                      <a:lnTo>
                        <a:pt x="1316431" y="146050"/>
                      </a:lnTo>
                      <a:lnTo>
                        <a:pt x="1318806" y="146050"/>
                      </a:lnTo>
                      <a:lnTo>
                        <a:pt x="1319377" y="143510"/>
                      </a:lnTo>
                      <a:lnTo>
                        <a:pt x="1319466" y="142240"/>
                      </a:lnTo>
                      <a:lnTo>
                        <a:pt x="1319072" y="140970"/>
                      </a:lnTo>
                      <a:lnTo>
                        <a:pt x="1318895" y="139700"/>
                      </a:lnTo>
                      <a:lnTo>
                        <a:pt x="1318425" y="138430"/>
                      </a:lnTo>
                      <a:lnTo>
                        <a:pt x="1316431" y="137160"/>
                      </a:lnTo>
                      <a:lnTo>
                        <a:pt x="1316240" y="137160"/>
                      </a:lnTo>
                      <a:lnTo>
                        <a:pt x="1315808" y="135890"/>
                      </a:lnTo>
                      <a:lnTo>
                        <a:pt x="1315567" y="133350"/>
                      </a:lnTo>
                      <a:lnTo>
                        <a:pt x="1315402" y="132080"/>
                      </a:lnTo>
                      <a:lnTo>
                        <a:pt x="1319237" y="127000"/>
                      </a:lnTo>
                      <a:lnTo>
                        <a:pt x="1320292" y="125730"/>
                      </a:lnTo>
                      <a:lnTo>
                        <a:pt x="1321777" y="124460"/>
                      </a:lnTo>
                      <a:lnTo>
                        <a:pt x="1322590" y="123190"/>
                      </a:lnTo>
                      <a:lnTo>
                        <a:pt x="1324711" y="119380"/>
                      </a:lnTo>
                      <a:lnTo>
                        <a:pt x="1325041" y="116840"/>
                      </a:lnTo>
                      <a:lnTo>
                        <a:pt x="1325448" y="115570"/>
                      </a:lnTo>
                      <a:lnTo>
                        <a:pt x="1326007" y="109220"/>
                      </a:lnTo>
                      <a:lnTo>
                        <a:pt x="1326286" y="107950"/>
                      </a:lnTo>
                      <a:lnTo>
                        <a:pt x="1326248" y="105410"/>
                      </a:lnTo>
                      <a:lnTo>
                        <a:pt x="1326146" y="104140"/>
                      </a:lnTo>
                      <a:lnTo>
                        <a:pt x="1325867" y="102870"/>
                      </a:lnTo>
                      <a:lnTo>
                        <a:pt x="1325270" y="101600"/>
                      </a:lnTo>
                      <a:lnTo>
                        <a:pt x="1326489" y="100330"/>
                      </a:lnTo>
                      <a:lnTo>
                        <a:pt x="1333512" y="97790"/>
                      </a:lnTo>
                      <a:lnTo>
                        <a:pt x="1335557" y="96520"/>
                      </a:lnTo>
                      <a:lnTo>
                        <a:pt x="1337348" y="96520"/>
                      </a:lnTo>
                      <a:lnTo>
                        <a:pt x="1338186" y="95250"/>
                      </a:lnTo>
                      <a:lnTo>
                        <a:pt x="1339202" y="93980"/>
                      </a:lnTo>
                      <a:lnTo>
                        <a:pt x="1338084" y="91440"/>
                      </a:lnTo>
                      <a:lnTo>
                        <a:pt x="1338554" y="91440"/>
                      </a:lnTo>
                      <a:lnTo>
                        <a:pt x="1340243" y="90170"/>
                      </a:lnTo>
                      <a:lnTo>
                        <a:pt x="1342745" y="87630"/>
                      </a:lnTo>
                      <a:lnTo>
                        <a:pt x="1343367" y="86360"/>
                      </a:lnTo>
                      <a:lnTo>
                        <a:pt x="1350175" y="80010"/>
                      </a:lnTo>
                      <a:lnTo>
                        <a:pt x="1351610" y="76200"/>
                      </a:lnTo>
                      <a:lnTo>
                        <a:pt x="1351965" y="76200"/>
                      </a:lnTo>
                      <a:lnTo>
                        <a:pt x="1352753" y="73660"/>
                      </a:lnTo>
                      <a:lnTo>
                        <a:pt x="1348562" y="68580"/>
                      </a:lnTo>
                      <a:lnTo>
                        <a:pt x="1348867" y="67310"/>
                      </a:lnTo>
                      <a:lnTo>
                        <a:pt x="1352931" y="66040"/>
                      </a:lnTo>
                      <a:lnTo>
                        <a:pt x="1354124" y="64770"/>
                      </a:lnTo>
                      <a:lnTo>
                        <a:pt x="1354886" y="62230"/>
                      </a:lnTo>
                      <a:lnTo>
                        <a:pt x="1355331" y="62230"/>
                      </a:lnTo>
                      <a:lnTo>
                        <a:pt x="1356042" y="59690"/>
                      </a:lnTo>
                      <a:lnTo>
                        <a:pt x="1356982" y="57150"/>
                      </a:lnTo>
                      <a:lnTo>
                        <a:pt x="1357388" y="57150"/>
                      </a:lnTo>
                      <a:lnTo>
                        <a:pt x="1360563" y="55880"/>
                      </a:lnTo>
                      <a:lnTo>
                        <a:pt x="1362849" y="54610"/>
                      </a:lnTo>
                      <a:lnTo>
                        <a:pt x="1363459" y="53340"/>
                      </a:lnTo>
                      <a:lnTo>
                        <a:pt x="1364361" y="53340"/>
                      </a:lnTo>
                      <a:lnTo>
                        <a:pt x="1367764" y="54610"/>
                      </a:lnTo>
                      <a:lnTo>
                        <a:pt x="1368615" y="54610"/>
                      </a:lnTo>
                      <a:lnTo>
                        <a:pt x="1371193" y="55880"/>
                      </a:lnTo>
                      <a:lnTo>
                        <a:pt x="1375079" y="55880"/>
                      </a:lnTo>
                      <a:lnTo>
                        <a:pt x="1376553" y="49530"/>
                      </a:lnTo>
                      <a:lnTo>
                        <a:pt x="1376680" y="46990"/>
                      </a:lnTo>
                      <a:lnTo>
                        <a:pt x="1376781" y="45720"/>
                      </a:lnTo>
                      <a:lnTo>
                        <a:pt x="1376934" y="41910"/>
                      </a:lnTo>
                      <a:lnTo>
                        <a:pt x="1401165" y="46990"/>
                      </a:lnTo>
                      <a:lnTo>
                        <a:pt x="1402321" y="46990"/>
                      </a:lnTo>
                      <a:lnTo>
                        <a:pt x="1402854" y="45720"/>
                      </a:lnTo>
                      <a:lnTo>
                        <a:pt x="1403769" y="45720"/>
                      </a:lnTo>
                      <a:lnTo>
                        <a:pt x="1404112" y="44450"/>
                      </a:lnTo>
                      <a:lnTo>
                        <a:pt x="1403896" y="43180"/>
                      </a:lnTo>
                      <a:lnTo>
                        <a:pt x="1403985" y="40640"/>
                      </a:lnTo>
                      <a:lnTo>
                        <a:pt x="1404213" y="40640"/>
                      </a:lnTo>
                      <a:lnTo>
                        <a:pt x="1404569" y="39370"/>
                      </a:lnTo>
                      <a:lnTo>
                        <a:pt x="1407236" y="35560"/>
                      </a:lnTo>
                      <a:lnTo>
                        <a:pt x="1407299" y="31750"/>
                      </a:lnTo>
                      <a:lnTo>
                        <a:pt x="1406728" y="30480"/>
                      </a:lnTo>
                      <a:lnTo>
                        <a:pt x="1406144" y="30480"/>
                      </a:lnTo>
                      <a:lnTo>
                        <a:pt x="1410906" y="29210"/>
                      </a:lnTo>
                      <a:lnTo>
                        <a:pt x="1448790" y="52070"/>
                      </a:lnTo>
                      <a:lnTo>
                        <a:pt x="1449870" y="53340"/>
                      </a:lnTo>
                      <a:lnTo>
                        <a:pt x="1451648" y="54610"/>
                      </a:lnTo>
                      <a:lnTo>
                        <a:pt x="1451813" y="54610"/>
                      </a:lnTo>
                      <a:lnTo>
                        <a:pt x="1452676" y="55880"/>
                      </a:lnTo>
                      <a:lnTo>
                        <a:pt x="1452143" y="57150"/>
                      </a:lnTo>
                      <a:lnTo>
                        <a:pt x="1451267" y="58420"/>
                      </a:lnTo>
                      <a:lnTo>
                        <a:pt x="1451889" y="63500"/>
                      </a:lnTo>
                      <a:lnTo>
                        <a:pt x="1451737" y="64770"/>
                      </a:lnTo>
                      <a:lnTo>
                        <a:pt x="1451089" y="64770"/>
                      </a:lnTo>
                      <a:lnTo>
                        <a:pt x="1450124" y="66040"/>
                      </a:lnTo>
                      <a:lnTo>
                        <a:pt x="1450301" y="67310"/>
                      </a:lnTo>
                      <a:lnTo>
                        <a:pt x="1450454" y="67310"/>
                      </a:lnTo>
                      <a:lnTo>
                        <a:pt x="1450733" y="68580"/>
                      </a:lnTo>
                      <a:lnTo>
                        <a:pt x="1453337" y="68580"/>
                      </a:lnTo>
                      <a:lnTo>
                        <a:pt x="1454200" y="69850"/>
                      </a:lnTo>
                      <a:lnTo>
                        <a:pt x="1454924" y="69850"/>
                      </a:lnTo>
                      <a:lnTo>
                        <a:pt x="1455369" y="71120"/>
                      </a:lnTo>
                      <a:lnTo>
                        <a:pt x="1454823" y="71120"/>
                      </a:lnTo>
                      <a:lnTo>
                        <a:pt x="1453349" y="72390"/>
                      </a:lnTo>
                      <a:lnTo>
                        <a:pt x="1452841" y="73660"/>
                      </a:lnTo>
                      <a:lnTo>
                        <a:pt x="1452562" y="76200"/>
                      </a:lnTo>
                      <a:lnTo>
                        <a:pt x="1456804" y="81280"/>
                      </a:lnTo>
                      <a:lnTo>
                        <a:pt x="1457769" y="82550"/>
                      </a:lnTo>
                      <a:lnTo>
                        <a:pt x="1457960" y="83820"/>
                      </a:lnTo>
                      <a:lnTo>
                        <a:pt x="1457210" y="83820"/>
                      </a:lnTo>
                      <a:lnTo>
                        <a:pt x="1457007" y="85090"/>
                      </a:lnTo>
                      <a:lnTo>
                        <a:pt x="1456855" y="86360"/>
                      </a:lnTo>
                      <a:lnTo>
                        <a:pt x="1456448" y="87630"/>
                      </a:lnTo>
                      <a:lnTo>
                        <a:pt x="1454391" y="92710"/>
                      </a:lnTo>
                      <a:lnTo>
                        <a:pt x="1453946" y="93980"/>
                      </a:lnTo>
                      <a:lnTo>
                        <a:pt x="1453832" y="95250"/>
                      </a:lnTo>
                      <a:lnTo>
                        <a:pt x="1453946" y="96520"/>
                      </a:lnTo>
                      <a:lnTo>
                        <a:pt x="1454213" y="97790"/>
                      </a:lnTo>
                      <a:lnTo>
                        <a:pt x="1454950" y="99060"/>
                      </a:lnTo>
                      <a:lnTo>
                        <a:pt x="1457350" y="100330"/>
                      </a:lnTo>
                      <a:lnTo>
                        <a:pt x="1457655" y="101600"/>
                      </a:lnTo>
                      <a:lnTo>
                        <a:pt x="1460131" y="107950"/>
                      </a:lnTo>
                      <a:lnTo>
                        <a:pt x="1462125" y="106680"/>
                      </a:lnTo>
                      <a:lnTo>
                        <a:pt x="1459611" y="100330"/>
                      </a:lnTo>
                      <a:lnTo>
                        <a:pt x="1459052" y="99060"/>
                      </a:lnTo>
                      <a:lnTo>
                        <a:pt x="1456537" y="96520"/>
                      </a:lnTo>
                      <a:lnTo>
                        <a:pt x="1455978" y="96520"/>
                      </a:lnTo>
                      <a:lnTo>
                        <a:pt x="1455889" y="95250"/>
                      </a:lnTo>
                      <a:lnTo>
                        <a:pt x="1456042" y="93980"/>
                      </a:lnTo>
                      <a:lnTo>
                        <a:pt x="1458429" y="88900"/>
                      </a:lnTo>
                      <a:lnTo>
                        <a:pt x="1458722" y="87630"/>
                      </a:lnTo>
                      <a:lnTo>
                        <a:pt x="1458912" y="86360"/>
                      </a:lnTo>
                      <a:lnTo>
                        <a:pt x="1459077" y="86360"/>
                      </a:lnTo>
                      <a:lnTo>
                        <a:pt x="1459280" y="85090"/>
                      </a:lnTo>
                      <a:lnTo>
                        <a:pt x="1460246" y="86360"/>
                      </a:lnTo>
                      <a:lnTo>
                        <a:pt x="1460322" y="85090"/>
                      </a:lnTo>
                      <a:lnTo>
                        <a:pt x="1460411" y="83820"/>
                      </a:lnTo>
                      <a:lnTo>
                        <a:pt x="1460207" y="82550"/>
                      </a:lnTo>
                      <a:lnTo>
                        <a:pt x="1459890" y="82550"/>
                      </a:lnTo>
                      <a:lnTo>
                        <a:pt x="1458518" y="80010"/>
                      </a:lnTo>
                      <a:lnTo>
                        <a:pt x="1454759" y="76200"/>
                      </a:lnTo>
                      <a:lnTo>
                        <a:pt x="1454899" y="73660"/>
                      </a:lnTo>
                      <a:lnTo>
                        <a:pt x="1455801" y="73660"/>
                      </a:lnTo>
                      <a:lnTo>
                        <a:pt x="1456270" y="72390"/>
                      </a:lnTo>
                      <a:lnTo>
                        <a:pt x="1456880" y="72390"/>
                      </a:lnTo>
                      <a:lnTo>
                        <a:pt x="1457401" y="71120"/>
                      </a:lnTo>
                      <a:lnTo>
                        <a:pt x="1457642" y="71120"/>
                      </a:lnTo>
                      <a:lnTo>
                        <a:pt x="1457579" y="69850"/>
                      </a:lnTo>
                      <a:lnTo>
                        <a:pt x="1457439" y="69850"/>
                      </a:lnTo>
                      <a:lnTo>
                        <a:pt x="1456817" y="68580"/>
                      </a:lnTo>
                      <a:lnTo>
                        <a:pt x="1455674" y="68580"/>
                      </a:lnTo>
                      <a:lnTo>
                        <a:pt x="1454213" y="67310"/>
                      </a:lnTo>
                      <a:lnTo>
                        <a:pt x="1452714" y="67310"/>
                      </a:lnTo>
                      <a:lnTo>
                        <a:pt x="1453172" y="66040"/>
                      </a:lnTo>
                      <a:lnTo>
                        <a:pt x="1453756" y="64770"/>
                      </a:lnTo>
                      <a:lnTo>
                        <a:pt x="1453959" y="63500"/>
                      </a:lnTo>
                      <a:lnTo>
                        <a:pt x="1453972" y="62230"/>
                      </a:lnTo>
                      <a:lnTo>
                        <a:pt x="1453489" y="58420"/>
                      </a:lnTo>
                      <a:lnTo>
                        <a:pt x="1453845" y="58420"/>
                      </a:lnTo>
                      <a:lnTo>
                        <a:pt x="1454035" y="57150"/>
                      </a:lnTo>
                      <a:lnTo>
                        <a:pt x="1455521" y="57150"/>
                      </a:lnTo>
                      <a:lnTo>
                        <a:pt x="1455585" y="55880"/>
                      </a:lnTo>
                      <a:lnTo>
                        <a:pt x="1455267" y="55880"/>
                      </a:lnTo>
                      <a:lnTo>
                        <a:pt x="1454645" y="54610"/>
                      </a:lnTo>
                      <a:lnTo>
                        <a:pt x="1453896" y="53340"/>
                      </a:lnTo>
                      <a:lnTo>
                        <a:pt x="1452956" y="53340"/>
                      </a:lnTo>
                      <a:lnTo>
                        <a:pt x="1451305" y="50800"/>
                      </a:lnTo>
                      <a:lnTo>
                        <a:pt x="1450073" y="49530"/>
                      </a:lnTo>
                      <a:lnTo>
                        <a:pt x="1414487" y="29210"/>
                      </a:lnTo>
                      <a:lnTo>
                        <a:pt x="1417624" y="29210"/>
                      </a:lnTo>
                      <a:lnTo>
                        <a:pt x="1418450" y="27940"/>
                      </a:lnTo>
                      <a:lnTo>
                        <a:pt x="1418653" y="27940"/>
                      </a:lnTo>
                      <a:lnTo>
                        <a:pt x="1418653" y="26670"/>
                      </a:lnTo>
                      <a:lnTo>
                        <a:pt x="1418805" y="26670"/>
                      </a:lnTo>
                      <a:lnTo>
                        <a:pt x="1418805" y="24130"/>
                      </a:lnTo>
                      <a:lnTo>
                        <a:pt x="1422057" y="24130"/>
                      </a:lnTo>
                      <a:lnTo>
                        <a:pt x="1429499" y="29210"/>
                      </a:lnTo>
                      <a:lnTo>
                        <a:pt x="1432001" y="30480"/>
                      </a:lnTo>
                      <a:lnTo>
                        <a:pt x="1434719" y="34290"/>
                      </a:lnTo>
                      <a:lnTo>
                        <a:pt x="1435735" y="36830"/>
                      </a:lnTo>
                      <a:lnTo>
                        <a:pt x="1436585" y="38100"/>
                      </a:lnTo>
                      <a:lnTo>
                        <a:pt x="1438605" y="38100"/>
                      </a:lnTo>
                      <a:lnTo>
                        <a:pt x="1456626" y="36830"/>
                      </a:lnTo>
                      <a:lnTo>
                        <a:pt x="1457198" y="36830"/>
                      </a:lnTo>
                      <a:lnTo>
                        <a:pt x="1457109" y="35560"/>
                      </a:lnTo>
                      <a:lnTo>
                        <a:pt x="1458341" y="34290"/>
                      </a:lnTo>
                      <a:lnTo>
                        <a:pt x="1463814" y="38100"/>
                      </a:lnTo>
                      <a:lnTo>
                        <a:pt x="1473517" y="41910"/>
                      </a:lnTo>
                      <a:lnTo>
                        <a:pt x="1475308" y="39370"/>
                      </a:lnTo>
                      <a:lnTo>
                        <a:pt x="1476197" y="38100"/>
                      </a:lnTo>
                      <a:lnTo>
                        <a:pt x="1480667" y="33020"/>
                      </a:lnTo>
                      <a:lnTo>
                        <a:pt x="1483372" y="34290"/>
                      </a:lnTo>
                      <a:lnTo>
                        <a:pt x="1484299" y="33020"/>
                      </a:lnTo>
                      <a:lnTo>
                        <a:pt x="1484464" y="31750"/>
                      </a:lnTo>
                      <a:lnTo>
                        <a:pt x="1484909" y="31750"/>
                      </a:lnTo>
                      <a:lnTo>
                        <a:pt x="1485226" y="30480"/>
                      </a:lnTo>
                      <a:lnTo>
                        <a:pt x="1485442" y="29210"/>
                      </a:lnTo>
                      <a:lnTo>
                        <a:pt x="1485925" y="27940"/>
                      </a:lnTo>
                      <a:lnTo>
                        <a:pt x="1486763" y="20320"/>
                      </a:lnTo>
                      <a:lnTo>
                        <a:pt x="1487144" y="19050"/>
                      </a:lnTo>
                      <a:lnTo>
                        <a:pt x="1487678" y="16510"/>
                      </a:lnTo>
                      <a:lnTo>
                        <a:pt x="1488008" y="15240"/>
                      </a:lnTo>
                      <a:lnTo>
                        <a:pt x="1488440" y="13970"/>
                      </a:lnTo>
                      <a:lnTo>
                        <a:pt x="1489252" y="12700"/>
                      </a:lnTo>
                      <a:lnTo>
                        <a:pt x="1489887" y="12700"/>
                      </a:lnTo>
                      <a:lnTo>
                        <a:pt x="1493151" y="10160"/>
                      </a:lnTo>
                      <a:lnTo>
                        <a:pt x="1494116" y="10160"/>
                      </a:lnTo>
                      <a:lnTo>
                        <a:pt x="1496072" y="7620"/>
                      </a:lnTo>
                      <a:lnTo>
                        <a:pt x="1497114" y="7620"/>
                      </a:lnTo>
                      <a:lnTo>
                        <a:pt x="1503133" y="6350"/>
                      </a:lnTo>
                      <a:lnTo>
                        <a:pt x="1507629" y="6350"/>
                      </a:lnTo>
                      <a:lnTo>
                        <a:pt x="1508734" y="5080"/>
                      </a:lnTo>
                      <a:lnTo>
                        <a:pt x="1509445" y="5080"/>
                      </a:lnTo>
                      <a:lnTo>
                        <a:pt x="1511160" y="3810"/>
                      </a:lnTo>
                      <a:lnTo>
                        <a:pt x="1511350" y="3810"/>
                      </a:lnTo>
                      <a:lnTo>
                        <a:pt x="1513827" y="2540"/>
                      </a:lnTo>
                      <a:lnTo>
                        <a:pt x="1518488" y="6350"/>
                      </a:lnTo>
                      <a:lnTo>
                        <a:pt x="1518640" y="6350"/>
                      </a:lnTo>
                      <a:lnTo>
                        <a:pt x="1519758" y="7620"/>
                      </a:lnTo>
                      <a:lnTo>
                        <a:pt x="1520520" y="8890"/>
                      </a:lnTo>
                      <a:lnTo>
                        <a:pt x="1521777" y="8890"/>
                      </a:lnTo>
                      <a:lnTo>
                        <a:pt x="1523415" y="10160"/>
                      </a:lnTo>
                      <a:lnTo>
                        <a:pt x="1524228" y="10160"/>
                      </a:lnTo>
                      <a:lnTo>
                        <a:pt x="1527746" y="11430"/>
                      </a:lnTo>
                      <a:lnTo>
                        <a:pt x="1531073" y="13970"/>
                      </a:lnTo>
                      <a:lnTo>
                        <a:pt x="1533702" y="15240"/>
                      </a:lnTo>
                      <a:lnTo>
                        <a:pt x="1534147" y="16510"/>
                      </a:lnTo>
                      <a:lnTo>
                        <a:pt x="1534223" y="17780"/>
                      </a:lnTo>
                      <a:lnTo>
                        <a:pt x="1533906" y="17780"/>
                      </a:lnTo>
                      <a:lnTo>
                        <a:pt x="1534845" y="19050"/>
                      </a:lnTo>
                      <a:lnTo>
                        <a:pt x="1534515" y="19050"/>
                      </a:lnTo>
                      <a:lnTo>
                        <a:pt x="1534515" y="20548"/>
                      </a:lnTo>
                      <a:lnTo>
                        <a:pt x="1534401" y="21590"/>
                      </a:lnTo>
                      <a:lnTo>
                        <a:pt x="1533702" y="21590"/>
                      </a:lnTo>
                      <a:lnTo>
                        <a:pt x="1534515" y="20548"/>
                      </a:lnTo>
                      <a:lnTo>
                        <a:pt x="1534515" y="19050"/>
                      </a:lnTo>
                      <a:lnTo>
                        <a:pt x="1533588" y="19050"/>
                      </a:lnTo>
                      <a:lnTo>
                        <a:pt x="1533588" y="21755"/>
                      </a:lnTo>
                      <a:lnTo>
                        <a:pt x="1533182" y="22860"/>
                      </a:lnTo>
                      <a:lnTo>
                        <a:pt x="1532813" y="22860"/>
                      </a:lnTo>
                      <a:lnTo>
                        <a:pt x="1533588" y="21755"/>
                      </a:lnTo>
                      <a:lnTo>
                        <a:pt x="1533588" y="19050"/>
                      </a:lnTo>
                      <a:lnTo>
                        <a:pt x="1533105" y="19050"/>
                      </a:lnTo>
                      <a:lnTo>
                        <a:pt x="1532610" y="19685"/>
                      </a:lnTo>
                      <a:lnTo>
                        <a:pt x="1532610" y="22860"/>
                      </a:lnTo>
                      <a:lnTo>
                        <a:pt x="1532356" y="24130"/>
                      </a:lnTo>
                      <a:lnTo>
                        <a:pt x="1531340" y="25260"/>
                      </a:lnTo>
                      <a:lnTo>
                        <a:pt x="1532496" y="22860"/>
                      </a:lnTo>
                      <a:lnTo>
                        <a:pt x="1532610" y="19685"/>
                      </a:lnTo>
                      <a:lnTo>
                        <a:pt x="1531124" y="21590"/>
                      </a:lnTo>
                      <a:lnTo>
                        <a:pt x="1530718" y="21590"/>
                      </a:lnTo>
                      <a:lnTo>
                        <a:pt x="1529765" y="22860"/>
                      </a:lnTo>
                      <a:lnTo>
                        <a:pt x="1529397" y="24130"/>
                      </a:lnTo>
                      <a:lnTo>
                        <a:pt x="1529232" y="24130"/>
                      </a:lnTo>
                      <a:lnTo>
                        <a:pt x="1529080" y="25400"/>
                      </a:lnTo>
                      <a:lnTo>
                        <a:pt x="1529118" y="26670"/>
                      </a:lnTo>
                      <a:lnTo>
                        <a:pt x="1529791" y="29210"/>
                      </a:lnTo>
                      <a:lnTo>
                        <a:pt x="1528102" y="29210"/>
                      </a:lnTo>
                      <a:lnTo>
                        <a:pt x="1523466" y="31750"/>
                      </a:lnTo>
                      <a:lnTo>
                        <a:pt x="1520380" y="33020"/>
                      </a:lnTo>
                      <a:lnTo>
                        <a:pt x="1523212" y="34290"/>
                      </a:lnTo>
                      <a:lnTo>
                        <a:pt x="1525549" y="34290"/>
                      </a:lnTo>
                      <a:lnTo>
                        <a:pt x="1525320" y="35560"/>
                      </a:lnTo>
                      <a:lnTo>
                        <a:pt x="1524254" y="38100"/>
                      </a:lnTo>
                      <a:lnTo>
                        <a:pt x="1522361" y="43180"/>
                      </a:lnTo>
                      <a:lnTo>
                        <a:pt x="1523263" y="44450"/>
                      </a:lnTo>
                      <a:lnTo>
                        <a:pt x="1524863" y="49530"/>
                      </a:lnTo>
                      <a:lnTo>
                        <a:pt x="1527073" y="52070"/>
                      </a:lnTo>
                      <a:lnTo>
                        <a:pt x="1533245" y="53340"/>
                      </a:lnTo>
                      <a:lnTo>
                        <a:pt x="1535442" y="53340"/>
                      </a:lnTo>
                      <a:lnTo>
                        <a:pt x="1539201" y="59690"/>
                      </a:lnTo>
                      <a:lnTo>
                        <a:pt x="1540624" y="60960"/>
                      </a:lnTo>
                      <a:lnTo>
                        <a:pt x="1542986" y="62230"/>
                      </a:lnTo>
                      <a:lnTo>
                        <a:pt x="1543570" y="62230"/>
                      </a:lnTo>
                      <a:lnTo>
                        <a:pt x="1530883" y="80010"/>
                      </a:lnTo>
                      <a:lnTo>
                        <a:pt x="1530718" y="80010"/>
                      </a:lnTo>
                      <a:lnTo>
                        <a:pt x="1530997" y="82550"/>
                      </a:lnTo>
                      <a:lnTo>
                        <a:pt x="1531581" y="83820"/>
                      </a:lnTo>
                      <a:lnTo>
                        <a:pt x="1533512" y="85090"/>
                      </a:lnTo>
                      <a:lnTo>
                        <a:pt x="1534160" y="86360"/>
                      </a:lnTo>
                      <a:lnTo>
                        <a:pt x="1535976" y="88900"/>
                      </a:lnTo>
                      <a:lnTo>
                        <a:pt x="1537055" y="90170"/>
                      </a:lnTo>
                      <a:lnTo>
                        <a:pt x="1545336" y="110490"/>
                      </a:lnTo>
                      <a:lnTo>
                        <a:pt x="1539328" y="110490"/>
                      </a:lnTo>
                      <a:lnTo>
                        <a:pt x="1540586" y="113030"/>
                      </a:lnTo>
                      <a:lnTo>
                        <a:pt x="1540687" y="114300"/>
                      </a:lnTo>
                      <a:lnTo>
                        <a:pt x="1539074" y="118110"/>
                      </a:lnTo>
                      <a:lnTo>
                        <a:pt x="1538046" y="120650"/>
                      </a:lnTo>
                      <a:lnTo>
                        <a:pt x="1540421" y="121920"/>
                      </a:lnTo>
                      <a:lnTo>
                        <a:pt x="1541348" y="123190"/>
                      </a:lnTo>
                      <a:lnTo>
                        <a:pt x="1541475" y="123190"/>
                      </a:lnTo>
                      <a:lnTo>
                        <a:pt x="1538312" y="125730"/>
                      </a:lnTo>
                      <a:lnTo>
                        <a:pt x="1539163" y="129540"/>
                      </a:lnTo>
                      <a:lnTo>
                        <a:pt x="1540992" y="132080"/>
                      </a:lnTo>
                      <a:lnTo>
                        <a:pt x="1545399" y="132080"/>
                      </a:lnTo>
                      <a:lnTo>
                        <a:pt x="1546745" y="134620"/>
                      </a:lnTo>
                      <a:lnTo>
                        <a:pt x="1544612" y="134620"/>
                      </a:lnTo>
                      <a:lnTo>
                        <a:pt x="1543583" y="135890"/>
                      </a:lnTo>
                      <a:lnTo>
                        <a:pt x="1544231" y="137160"/>
                      </a:lnTo>
                      <a:lnTo>
                        <a:pt x="1546085" y="142240"/>
                      </a:lnTo>
                      <a:lnTo>
                        <a:pt x="1547990" y="142240"/>
                      </a:lnTo>
                      <a:lnTo>
                        <a:pt x="1552054" y="143510"/>
                      </a:lnTo>
                      <a:lnTo>
                        <a:pt x="1553375" y="146050"/>
                      </a:lnTo>
                      <a:lnTo>
                        <a:pt x="1552663" y="147320"/>
                      </a:lnTo>
                      <a:lnTo>
                        <a:pt x="1547291" y="153670"/>
                      </a:lnTo>
                      <a:lnTo>
                        <a:pt x="1542923" y="154940"/>
                      </a:lnTo>
                      <a:lnTo>
                        <a:pt x="1546199" y="157480"/>
                      </a:lnTo>
                      <a:lnTo>
                        <a:pt x="1560868" y="166370"/>
                      </a:lnTo>
                      <a:lnTo>
                        <a:pt x="1564728" y="171450"/>
                      </a:lnTo>
                      <a:lnTo>
                        <a:pt x="1566405" y="173990"/>
                      </a:lnTo>
                      <a:lnTo>
                        <a:pt x="1564982" y="176530"/>
                      </a:lnTo>
                      <a:lnTo>
                        <a:pt x="1563179" y="180340"/>
                      </a:lnTo>
                      <a:lnTo>
                        <a:pt x="1561693" y="182880"/>
                      </a:lnTo>
                      <a:lnTo>
                        <a:pt x="1558747" y="185420"/>
                      </a:lnTo>
                      <a:lnTo>
                        <a:pt x="1558137" y="185420"/>
                      </a:lnTo>
                      <a:lnTo>
                        <a:pt x="1557032" y="186690"/>
                      </a:lnTo>
                      <a:lnTo>
                        <a:pt x="1554137" y="189230"/>
                      </a:lnTo>
                      <a:lnTo>
                        <a:pt x="1547228" y="195580"/>
                      </a:lnTo>
                      <a:lnTo>
                        <a:pt x="1536153" y="208280"/>
                      </a:lnTo>
                      <a:lnTo>
                        <a:pt x="1525536" y="214630"/>
                      </a:lnTo>
                      <a:lnTo>
                        <a:pt x="1519326" y="219710"/>
                      </a:lnTo>
                      <a:lnTo>
                        <a:pt x="1514182" y="224790"/>
                      </a:lnTo>
                      <a:lnTo>
                        <a:pt x="1511808" y="226060"/>
                      </a:lnTo>
                      <a:lnTo>
                        <a:pt x="1507921" y="226060"/>
                      </a:lnTo>
                      <a:lnTo>
                        <a:pt x="1507769" y="228600"/>
                      </a:lnTo>
                      <a:lnTo>
                        <a:pt x="1510449" y="228600"/>
                      </a:lnTo>
                      <a:lnTo>
                        <a:pt x="1512836" y="227330"/>
                      </a:lnTo>
                      <a:lnTo>
                        <a:pt x="1515503" y="226060"/>
                      </a:lnTo>
                      <a:lnTo>
                        <a:pt x="1520672" y="220980"/>
                      </a:lnTo>
                      <a:lnTo>
                        <a:pt x="1526806" y="217170"/>
                      </a:lnTo>
                      <a:lnTo>
                        <a:pt x="1537525" y="209550"/>
                      </a:lnTo>
                      <a:lnTo>
                        <a:pt x="1548726" y="198120"/>
                      </a:lnTo>
                      <a:lnTo>
                        <a:pt x="1552854" y="193040"/>
                      </a:lnTo>
                      <a:lnTo>
                        <a:pt x="1555572" y="190500"/>
                      </a:lnTo>
                      <a:lnTo>
                        <a:pt x="1558925" y="187960"/>
                      </a:lnTo>
                      <a:lnTo>
                        <a:pt x="1563281" y="184150"/>
                      </a:lnTo>
                      <a:lnTo>
                        <a:pt x="1565071" y="181610"/>
                      </a:lnTo>
                      <a:lnTo>
                        <a:pt x="1566887" y="177800"/>
                      </a:lnTo>
                      <a:lnTo>
                        <a:pt x="1568907" y="173990"/>
                      </a:lnTo>
                      <a:close/>
                    </a:path>
                    <a:path w="3135629" h="2095500">
                      <a:moveTo>
                        <a:pt x="1624520" y="752335"/>
                      </a:moveTo>
                      <a:lnTo>
                        <a:pt x="1622425" y="752005"/>
                      </a:lnTo>
                      <a:lnTo>
                        <a:pt x="1621561" y="757720"/>
                      </a:lnTo>
                      <a:lnTo>
                        <a:pt x="1620469" y="762330"/>
                      </a:lnTo>
                      <a:lnTo>
                        <a:pt x="1619580" y="765149"/>
                      </a:lnTo>
                      <a:lnTo>
                        <a:pt x="1618348" y="770369"/>
                      </a:lnTo>
                      <a:lnTo>
                        <a:pt x="1616176" y="778421"/>
                      </a:lnTo>
                      <a:lnTo>
                        <a:pt x="1615452" y="782701"/>
                      </a:lnTo>
                      <a:lnTo>
                        <a:pt x="1606753" y="755637"/>
                      </a:lnTo>
                      <a:lnTo>
                        <a:pt x="1606600" y="755281"/>
                      </a:lnTo>
                      <a:lnTo>
                        <a:pt x="1602282" y="748639"/>
                      </a:lnTo>
                      <a:lnTo>
                        <a:pt x="1614055" y="785266"/>
                      </a:lnTo>
                      <a:lnTo>
                        <a:pt x="1616075" y="784618"/>
                      </a:lnTo>
                      <a:lnTo>
                        <a:pt x="1615503" y="782891"/>
                      </a:lnTo>
                      <a:lnTo>
                        <a:pt x="1617510" y="783221"/>
                      </a:lnTo>
                      <a:lnTo>
                        <a:pt x="1618208" y="778979"/>
                      </a:lnTo>
                      <a:lnTo>
                        <a:pt x="1620405" y="770902"/>
                      </a:lnTo>
                      <a:lnTo>
                        <a:pt x="1621624" y="765695"/>
                      </a:lnTo>
                      <a:lnTo>
                        <a:pt x="1622513" y="762914"/>
                      </a:lnTo>
                      <a:lnTo>
                        <a:pt x="1623644" y="758126"/>
                      </a:lnTo>
                      <a:lnTo>
                        <a:pt x="1624520" y="752335"/>
                      </a:lnTo>
                      <a:close/>
                    </a:path>
                    <a:path w="3135629" h="2095500">
                      <a:moveTo>
                        <a:pt x="1816049" y="641604"/>
                      </a:moveTo>
                      <a:lnTo>
                        <a:pt x="1815846" y="640334"/>
                      </a:lnTo>
                      <a:lnTo>
                        <a:pt x="1815655" y="639064"/>
                      </a:lnTo>
                      <a:lnTo>
                        <a:pt x="1812163" y="640334"/>
                      </a:lnTo>
                      <a:lnTo>
                        <a:pt x="1811743" y="640334"/>
                      </a:lnTo>
                      <a:lnTo>
                        <a:pt x="1810867" y="637794"/>
                      </a:lnTo>
                      <a:lnTo>
                        <a:pt x="1810016" y="637794"/>
                      </a:lnTo>
                      <a:lnTo>
                        <a:pt x="1809076" y="636524"/>
                      </a:lnTo>
                      <a:lnTo>
                        <a:pt x="1808149" y="636524"/>
                      </a:lnTo>
                      <a:lnTo>
                        <a:pt x="1807248" y="635254"/>
                      </a:lnTo>
                      <a:lnTo>
                        <a:pt x="1806968" y="635254"/>
                      </a:lnTo>
                      <a:lnTo>
                        <a:pt x="1804758" y="633984"/>
                      </a:lnTo>
                      <a:lnTo>
                        <a:pt x="1809115" y="630174"/>
                      </a:lnTo>
                      <a:lnTo>
                        <a:pt x="1806460" y="627634"/>
                      </a:lnTo>
                      <a:lnTo>
                        <a:pt x="1806714" y="627634"/>
                      </a:lnTo>
                      <a:lnTo>
                        <a:pt x="1807591" y="626364"/>
                      </a:lnTo>
                      <a:lnTo>
                        <a:pt x="1808162" y="625094"/>
                      </a:lnTo>
                      <a:lnTo>
                        <a:pt x="1808010" y="625094"/>
                      </a:lnTo>
                      <a:lnTo>
                        <a:pt x="1807972" y="623824"/>
                      </a:lnTo>
                      <a:lnTo>
                        <a:pt x="1806968" y="622554"/>
                      </a:lnTo>
                      <a:lnTo>
                        <a:pt x="1806155" y="621284"/>
                      </a:lnTo>
                      <a:lnTo>
                        <a:pt x="1804771" y="620014"/>
                      </a:lnTo>
                      <a:lnTo>
                        <a:pt x="1803768" y="618744"/>
                      </a:lnTo>
                      <a:lnTo>
                        <a:pt x="1802866" y="618744"/>
                      </a:lnTo>
                      <a:lnTo>
                        <a:pt x="1801685" y="617474"/>
                      </a:lnTo>
                      <a:lnTo>
                        <a:pt x="1800110" y="618744"/>
                      </a:lnTo>
                      <a:lnTo>
                        <a:pt x="1797405" y="620014"/>
                      </a:lnTo>
                      <a:lnTo>
                        <a:pt x="1795437" y="621284"/>
                      </a:lnTo>
                      <a:lnTo>
                        <a:pt x="1789912" y="625094"/>
                      </a:lnTo>
                      <a:lnTo>
                        <a:pt x="1786470" y="627634"/>
                      </a:lnTo>
                      <a:lnTo>
                        <a:pt x="1784946" y="628904"/>
                      </a:lnTo>
                      <a:lnTo>
                        <a:pt x="1784007" y="630174"/>
                      </a:lnTo>
                      <a:lnTo>
                        <a:pt x="1782775" y="631444"/>
                      </a:lnTo>
                      <a:lnTo>
                        <a:pt x="1782533" y="630174"/>
                      </a:lnTo>
                      <a:lnTo>
                        <a:pt x="1782406" y="630174"/>
                      </a:lnTo>
                      <a:lnTo>
                        <a:pt x="1782229" y="628904"/>
                      </a:lnTo>
                      <a:lnTo>
                        <a:pt x="1782610" y="628904"/>
                      </a:lnTo>
                      <a:lnTo>
                        <a:pt x="1785213" y="627634"/>
                      </a:lnTo>
                      <a:lnTo>
                        <a:pt x="1783067" y="626364"/>
                      </a:lnTo>
                      <a:lnTo>
                        <a:pt x="1781530" y="625094"/>
                      </a:lnTo>
                      <a:lnTo>
                        <a:pt x="1781365" y="625094"/>
                      </a:lnTo>
                      <a:lnTo>
                        <a:pt x="1781759" y="623824"/>
                      </a:lnTo>
                      <a:lnTo>
                        <a:pt x="1783588" y="622554"/>
                      </a:lnTo>
                      <a:lnTo>
                        <a:pt x="1780590" y="621055"/>
                      </a:lnTo>
                      <a:lnTo>
                        <a:pt x="1780590" y="631444"/>
                      </a:lnTo>
                      <a:lnTo>
                        <a:pt x="1779879" y="632714"/>
                      </a:lnTo>
                      <a:lnTo>
                        <a:pt x="1777428" y="632714"/>
                      </a:lnTo>
                      <a:lnTo>
                        <a:pt x="1775968" y="627634"/>
                      </a:lnTo>
                      <a:lnTo>
                        <a:pt x="1775193" y="626364"/>
                      </a:lnTo>
                      <a:lnTo>
                        <a:pt x="1775193" y="632714"/>
                      </a:lnTo>
                      <a:lnTo>
                        <a:pt x="1772132" y="632714"/>
                      </a:lnTo>
                      <a:lnTo>
                        <a:pt x="1769491" y="631444"/>
                      </a:lnTo>
                      <a:lnTo>
                        <a:pt x="1766951" y="630174"/>
                      </a:lnTo>
                      <a:lnTo>
                        <a:pt x="1766557" y="630174"/>
                      </a:lnTo>
                      <a:lnTo>
                        <a:pt x="1766112" y="628904"/>
                      </a:lnTo>
                      <a:lnTo>
                        <a:pt x="1762975" y="626364"/>
                      </a:lnTo>
                      <a:lnTo>
                        <a:pt x="1759762" y="623824"/>
                      </a:lnTo>
                      <a:lnTo>
                        <a:pt x="1759051" y="622554"/>
                      </a:lnTo>
                      <a:lnTo>
                        <a:pt x="1758670" y="621284"/>
                      </a:lnTo>
                      <a:lnTo>
                        <a:pt x="1758200" y="621284"/>
                      </a:lnTo>
                      <a:lnTo>
                        <a:pt x="1758111" y="620014"/>
                      </a:lnTo>
                      <a:lnTo>
                        <a:pt x="1761324" y="620014"/>
                      </a:lnTo>
                      <a:lnTo>
                        <a:pt x="1762772" y="621284"/>
                      </a:lnTo>
                      <a:lnTo>
                        <a:pt x="1763661" y="622554"/>
                      </a:lnTo>
                      <a:lnTo>
                        <a:pt x="1764639" y="622554"/>
                      </a:lnTo>
                      <a:lnTo>
                        <a:pt x="1765058" y="623824"/>
                      </a:lnTo>
                      <a:lnTo>
                        <a:pt x="1767890" y="623824"/>
                      </a:lnTo>
                      <a:lnTo>
                        <a:pt x="1769351" y="622554"/>
                      </a:lnTo>
                      <a:lnTo>
                        <a:pt x="1769948" y="625094"/>
                      </a:lnTo>
                      <a:lnTo>
                        <a:pt x="1770418" y="626364"/>
                      </a:lnTo>
                      <a:lnTo>
                        <a:pt x="1771078" y="626364"/>
                      </a:lnTo>
                      <a:lnTo>
                        <a:pt x="1772119" y="627634"/>
                      </a:lnTo>
                      <a:lnTo>
                        <a:pt x="1773237" y="627634"/>
                      </a:lnTo>
                      <a:lnTo>
                        <a:pt x="1774050" y="628904"/>
                      </a:lnTo>
                      <a:lnTo>
                        <a:pt x="1775193" y="632714"/>
                      </a:lnTo>
                      <a:lnTo>
                        <a:pt x="1775193" y="626364"/>
                      </a:lnTo>
                      <a:lnTo>
                        <a:pt x="1774418" y="625094"/>
                      </a:lnTo>
                      <a:lnTo>
                        <a:pt x="1772450" y="625094"/>
                      </a:lnTo>
                      <a:lnTo>
                        <a:pt x="1772119" y="623824"/>
                      </a:lnTo>
                      <a:lnTo>
                        <a:pt x="1771904" y="623824"/>
                      </a:lnTo>
                      <a:lnTo>
                        <a:pt x="1771281" y="622554"/>
                      </a:lnTo>
                      <a:lnTo>
                        <a:pt x="1770964" y="621284"/>
                      </a:lnTo>
                      <a:lnTo>
                        <a:pt x="1770646" y="620014"/>
                      </a:lnTo>
                      <a:lnTo>
                        <a:pt x="1767484" y="621284"/>
                      </a:lnTo>
                      <a:lnTo>
                        <a:pt x="1764919" y="621284"/>
                      </a:lnTo>
                      <a:lnTo>
                        <a:pt x="1764258" y="620014"/>
                      </a:lnTo>
                      <a:lnTo>
                        <a:pt x="1762709" y="618744"/>
                      </a:lnTo>
                      <a:lnTo>
                        <a:pt x="1762099" y="617474"/>
                      </a:lnTo>
                      <a:lnTo>
                        <a:pt x="1760029" y="617474"/>
                      </a:lnTo>
                      <a:lnTo>
                        <a:pt x="1757045" y="618744"/>
                      </a:lnTo>
                      <a:lnTo>
                        <a:pt x="1751799" y="613664"/>
                      </a:lnTo>
                      <a:lnTo>
                        <a:pt x="1751317" y="613664"/>
                      </a:lnTo>
                      <a:lnTo>
                        <a:pt x="1747139" y="612394"/>
                      </a:lnTo>
                      <a:lnTo>
                        <a:pt x="1741817" y="612394"/>
                      </a:lnTo>
                      <a:lnTo>
                        <a:pt x="1742046" y="611124"/>
                      </a:lnTo>
                      <a:lnTo>
                        <a:pt x="1742338" y="611124"/>
                      </a:lnTo>
                      <a:lnTo>
                        <a:pt x="1741970" y="609854"/>
                      </a:lnTo>
                      <a:lnTo>
                        <a:pt x="1740611" y="607314"/>
                      </a:lnTo>
                      <a:lnTo>
                        <a:pt x="1740408" y="606044"/>
                      </a:lnTo>
                      <a:lnTo>
                        <a:pt x="1741563" y="606044"/>
                      </a:lnTo>
                      <a:lnTo>
                        <a:pt x="1741982" y="604774"/>
                      </a:lnTo>
                      <a:lnTo>
                        <a:pt x="1742325" y="604774"/>
                      </a:lnTo>
                      <a:lnTo>
                        <a:pt x="1742249" y="603504"/>
                      </a:lnTo>
                      <a:lnTo>
                        <a:pt x="1741893" y="600964"/>
                      </a:lnTo>
                      <a:lnTo>
                        <a:pt x="1741855" y="599694"/>
                      </a:lnTo>
                      <a:lnTo>
                        <a:pt x="1741462" y="598424"/>
                      </a:lnTo>
                      <a:lnTo>
                        <a:pt x="1740865" y="597154"/>
                      </a:lnTo>
                      <a:lnTo>
                        <a:pt x="1740496" y="597154"/>
                      </a:lnTo>
                      <a:lnTo>
                        <a:pt x="1740014" y="595884"/>
                      </a:lnTo>
                      <a:lnTo>
                        <a:pt x="1746770" y="595884"/>
                      </a:lnTo>
                      <a:lnTo>
                        <a:pt x="1750580" y="594614"/>
                      </a:lnTo>
                      <a:lnTo>
                        <a:pt x="1758556" y="594614"/>
                      </a:lnTo>
                      <a:lnTo>
                        <a:pt x="1760042" y="593344"/>
                      </a:lnTo>
                      <a:lnTo>
                        <a:pt x="1761159" y="594614"/>
                      </a:lnTo>
                      <a:lnTo>
                        <a:pt x="1761629" y="594614"/>
                      </a:lnTo>
                      <a:lnTo>
                        <a:pt x="1760702" y="595884"/>
                      </a:lnTo>
                      <a:lnTo>
                        <a:pt x="1758556" y="598424"/>
                      </a:lnTo>
                      <a:lnTo>
                        <a:pt x="1761705" y="597154"/>
                      </a:lnTo>
                      <a:lnTo>
                        <a:pt x="1763077" y="597154"/>
                      </a:lnTo>
                      <a:lnTo>
                        <a:pt x="1764144" y="598424"/>
                      </a:lnTo>
                      <a:lnTo>
                        <a:pt x="1766074" y="598424"/>
                      </a:lnTo>
                      <a:lnTo>
                        <a:pt x="1767103" y="599694"/>
                      </a:lnTo>
                      <a:lnTo>
                        <a:pt x="1767497" y="600964"/>
                      </a:lnTo>
                      <a:lnTo>
                        <a:pt x="1766557" y="600964"/>
                      </a:lnTo>
                      <a:lnTo>
                        <a:pt x="1765401" y="602234"/>
                      </a:lnTo>
                      <a:lnTo>
                        <a:pt x="1764830" y="602234"/>
                      </a:lnTo>
                      <a:lnTo>
                        <a:pt x="1763979" y="604774"/>
                      </a:lnTo>
                      <a:lnTo>
                        <a:pt x="1767738" y="607314"/>
                      </a:lnTo>
                      <a:lnTo>
                        <a:pt x="1768411" y="607314"/>
                      </a:lnTo>
                      <a:lnTo>
                        <a:pt x="1771319" y="609854"/>
                      </a:lnTo>
                      <a:lnTo>
                        <a:pt x="1771904" y="611124"/>
                      </a:lnTo>
                      <a:lnTo>
                        <a:pt x="1771777" y="612394"/>
                      </a:lnTo>
                      <a:lnTo>
                        <a:pt x="1771764" y="613664"/>
                      </a:lnTo>
                      <a:lnTo>
                        <a:pt x="1768398" y="613664"/>
                      </a:lnTo>
                      <a:lnTo>
                        <a:pt x="1765655" y="614934"/>
                      </a:lnTo>
                      <a:lnTo>
                        <a:pt x="1776082" y="621284"/>
                      </a:lnTo>
                      <a:lnTo>
                        <a:pt x="1779816" y="623824"/>
                      </a:lnTo>
                      <a:lnTo>
                        <a:pt x="1779130" y="623824"/>
                      </a:lnTo>
                      <a:lnTo>
                        <a:pt x="1779117" y="625094"/>
                      </a:lnTo>
                      <a:lnTo>
                        <a:pt x="1779727" y="626364"/>
                      </a:lnTo>
                      <a:lnTo>
                        <a:pt x="1780209" y="626364"/>
                      </a:lnTo>
                      <a:lnTo>
                        <a:pt x="1779409" y="627634"/>
                      </a:lnTo>
                      <a:lnTo>
                        <a:pt x="1779384" y="628904"/>
                      </a:lnTo>
                      <a:lnTo>
                        <a:pt x="1780184" y="630174"/>
                      </a:lnTo>
                      <a:lnTo>
                        <a:pt x="1780425" y="630174"/>
                      </a:lnTo>
                      <a:lnTo>
                        <a:pt x="1780590" y="631444"/>
                      </a:lnTo>
                      <a:lnTo>
                        <a:pt x="1780590" y="621055"/>
                      </a:lnTo>
                      <a:lnTo>
                        <a:pt x="1778508" y="620014"/>
                      </a:lnTo>
                      <a:lnTo>
                        <a:pt x="1771370" y="614934"/>
                      </a:lnTo>
                      <a:lnTo>
                        <a:pt x="1773758" y="614934"/>
                      </a:lnTo>
                      <a:lnTo>
                        <a:pt x="1773872" y="613664"/>
                      </a:lnTo>
                      <a:lnTo>
                        <a:pt x="1773897" y="612394"/>
                      </a:lnTo>
                      <a:lnTo>
                        <a:pt x="1774304" y="609854"/>
                      </a:lnTo>
                      <a:lnTo>
                        <a:pt x="1772551" y="608584"/>
                      </a:lnTo>
                      <a:lnTo>
                        <a:pt x="1769757" y="606044"/>
                      </a:lnTo>
                      <a:lnTo>
                        <a:pt x="1766557" y="603504"/>
                      </a:lnTo>
                      <a:lnTo>
                        <a:pt x="1766874" y="603504"/>
                      </a:lnTo>
                      <a:lnTo>
                        <a:pt x="1767852" y="602234"/>
                      </a:lnTo>
                      <a:lnTo>
                        <a:pt x="1769237" y="602234"/>
                      </a:lnTo>
                      <a:lnTo>
                        <a:pt x="1770113" y="599694"/>
                      </a:lnTo>
                      <a:lnTo>
                        <a:pt x="1769249" y="599694"/>
                      </a:lnTo>
                      <a:lnTo>
                        <a:pt x="1768817" y="598424"/>
                      </a:lnTo>
                      <a:lnTo>
                        <a:pt x="1767865" y="597154"/>
                      </a:lnTo>
                      <a:lnTo>
                        <a:pt x="1766392" y="597154"/>
                      </a:lnTo>
                      <a:lnTo>
                        <a:pt x="1765579" y="595884"/>
                      </a:lnTo>
                      <a:lnTo>
                        <a:pt x="1764004" y="595884"/>
                      </a:lnTo>
                      <a:lnTo>
                        <a:pt x="1764068" y="594614"/>
                      </a:lnTo>
                      <a:lnTo>
                        <a:pt x="1763598" y="594614"/>
                      </a:lnTo>
                      <a:lnTo>
                        <a:pt x="1762848" y="593344"/>
                      </a:lnTo>
                      <a:lnTo>
                        <a:pt x="1761972" y="592074"/>
                      </a:lnTo>
                      <a:lnTo>
                        <a:pt x="1764385" y="590804"/>
                      </a:lnTo>
                      <a:lnTo>
                        <a:pt x="1766074" y="590804"/>
                      </a:lnTo>
                      <a:lnTo>
                        <a:pt x="1769364" y="593344"/>
                      </a:lnTo>
                      <a:lnTo>
                        <a:pt x="1770849" y="594614"/>
                      </a:lnTo>
                      <a:lnTo>
                        <a:pt x="1771827" y="594614"/>
                      </a:lnTo>
                      <a:lnTo>
                        <a:pt x="1774215" y="595884"/>
                      </a:lnTo>
                      <a:lnTo>
                        <a:pt x="1781949" y="597154"/>
                      </a:lnTo>
                      <a:lnTo>
                        <a:pt x="1784070" y="597154"/>
                      </a:lnTo>
                      <a:lnTo>
                        <a:pt x="1784184" y="595884"/>
                      </a:lnTo>
                      <a:lnTo>
                        <a:pt x="1784946" y="590804"/>
                      </a:lnTo>
                      <a:lnTo>
                        <a:pt x="1782127" y="589534"/>
                      </a:lnTo>
                      <a:lnTo>
                        <a:pt x="1779460" y="586994"/>
                      </a:lnTo>
                      <a:lnTo>
                        <a:pt x="1778762" y="586994"/>
                      </a:lnTo>
                      <a:lnTo>
                        <a:pt x="1781251" y="583184"/>
                      </a:lnTo>
                      <a:lnTo>
                        <a:pt x="1784591" y="583184"/>
                      </a:lnTo>
                      <a:lnTo>
                        <a:pt x="1785823" y="584454"/>
                      </a:lnTo>
                      <a:lnTo>
                        <a:pt x="1787258" y="588264"/>
                      </a:lnTo>
                      <a:lnTo>
                        <a:pt x="1788769" y="589534"/>
                      </a:lnTo>
                      <a:lnTo>
                        <a:pt x="1789976" y="589534"/>
                      </a:lnTo>
                      <a:lnTo>
                        <a:pt x="1790649" y="590804"/>
                      </a:lnTo>
                      <a:lnTo>
                        <a:pt x="1792757" y="593344"/>
                      </a:lnTo>
                      <a:lnTo>
                        <a:pt x="1798624" y="594614"/>
                      </a:lnTo>
                      <a:lnTo>
                        <a:pt x="1802536" y="594614"/>
                      </a:lnTo>
                      <a:lnTo>
                        <a:pt x="1803057" y="593344"/>
                      </a:lnTo>
                      <a:lnTo>
                        <a:pt x="1804123" y="590804"/>
                      </a:lnTo>
                      <a:lnTo>
                        <a:pt x="1806117" y="589534"/>
                      </a:lnTo>
                      <a:lnTo>
                        <a:pt x="1806816" y="588264"/>
                      </a:lnTo>
                      <a:lnTo>
                        <a:pt x="1811972" y="584454"/>
                      </a:lnTo>
                      <a:lnTo>
                        <a:pt x="1812226" y="581914"/>
                      </a:lnTo>
                      <a:lnTo>
                        <a:pt x="1810118" y="581914"/>
                      </a:lnTo>
                      <a:lnTo>
                        <a:pt x="1809953" y="583184"/>
                      </a:lnTo>
                      <a:lnTo>
                        <a:pt x="1805368" y="586994"/>
                      </a:lnTo>
                      <a:lnTo>
                        <a:pt x="1804847" y="588264"/>
                      </a:lnTo>
                      <a:lnTo>
                        <a:pt x="1802460" y="589534"/>
                      </a:lnTo>
                      <a:lnTo>
                        <a:pt x="1800758" y="593344"/>
                      </a:lnTo>
                      <a:lnTo>
                        <a:pt x="1800275" y="593344"/>
                      </a:lnTo>
                      <a:lnTo>
                        <a:pt x="1794103" y="592074"/>
                      </a:lnTo>
                      <a:lnTo>
                        <a:pt x="1791677" y="588264"/>
                      </a:lnTo>
                      <a:lnTo>
                        <a:pt x="1790369" y="586994"/>
                      </a:lnTo>
                      <a:lnTo>
                        <a:pt x="1788985" y="586994"/>
                      </a:lnTo>
                      <a:lnTo>
                        <a:pt x="1787575" y="583184"/>
                      </a:lnTo>
                      <a:lnTo>
                        <a:pt x="1785797" y="581914"/>
                      </a:lnTo>
                      <a:lnTo>
                        <a:pt x="1783067" y="581914"/>
                      </a:lnTo>
                      <a:lnTo>
                        <a:pt x="1782102" y="580644"/>
                      </a:lnTo>
                      <a:lnTo>
                        <a:pt x="1780095" y="580644"/>
                      </a:lnTo>
                      <a:lnTo>
                        <a:pt x="1777987" y="579374"/>
                      </a:lnTo>
                      <a:lnTo>
                        <a:pt x="1776425" y="579374"/>
                      </a:lnTo>
                      <a:lnTo>
                        <a:pt x="1772056" y="578104"/>
                      </a:lnTo>
                      <a:lnTo>
                        <a:pt x="1770494" y="576834"/>
                      </a:lnTo>
                      <a:lnTo>
                        <a:pt x="1770240" y="576834"/>
                      </a:lnTo>
                      <a:lnTo>
                        <a:pt x="1770189" y="574294"/>
                      </a:lnTo>
                      <a:lnTo>
                        <a:pt x="1772564" y="571754"/>
                      </a:lnTo>
                      <a:lnTo>
                        <a:pt x="1769351" y="571754"/>
                      </a:lnTo>
                      <a:lnTo>
                        <a:pt x="1763128" y="569214"/>
                      </a:lnTo>
                      <a:lnTo>
                        <a:pt x="1759991" y="566674"/>
                      </a:lnTo>
                      <a:lnTo>
                        <a:pt x="1757514" y="566674"/>
                      </a:lnTo>
                      <a:lnTo>
                        <a:pt x="1757095" y="567944"/>
                      </a:lnTo>
                      <a:lnTo>
                        <a:pt x="1756168" y="567944"/>
                      </a:lnTo>
                      <a:lnTo>
                        <a:pt x="1755457" y="566674"/>
                      </a:lnTo>
                      <a:lnTo>
                        <a:pt x="1750949" y="566674"/>
                      </a:lnTo>
                      <a:lnTo>
                        <a:pt x="1746402" y="569214"/>
                      </a:lnTo>
                      <a:lnTo>
                        <a:pt x="1743011" y="569214"/>
                      </a:lnTo>
                      <a:lnTo>
                        <a:pt x="1743163" y="567944"/>
                      </a:lnTo>
                      <a:lnTo>
                        <a:pt x="1743252" y="566674"/>
                      </a:lnTo>
                      <a:lnTo>
                        <a:pt x="1742478" y="565404"/>
                      </a:lnTo>
                      <a:lnTo>
                        <a:pt x="1739468" y="565404"/>
                      </a:lnTo>
                      <a:lnTo>
                        <a:pt x="1732597" y="561594"/>
                      </a:lnTo>
                      <a:lnTo>
                        <a:pt x="1729816" y="559054"/>
                      </a:lnTo>
                      <a:lnTo>
                        <a:pt x="1724647" y="556514"/>
                      </a:lnTo>
                      <a:lnTo>
                        <a:pt x="1716874" y="559054"/>
                      </a:lnTo>
                      <a:lnTo>
                        <a:pt x="1708086" y="556514"/>
                      </a:lnTo>
                      <a:lnTo>
                        <a:pt x="1703298" y="555244"/>
                      </a:lnTo>
                      <a:lnTo>
                        <a:pt x="1702676" y="555244"/>
                      </a:lnTo>
                      <a:lnTo>
                        <a:pt x="1700987" y="553974"/>
                      </a:lnTo>
                      <a:lnTo>
                        <a:pt x="1697977" y="552704"/>
                      </a:lnTo>
                      <a:lnTo>
                        <a:pt x="1695005" y="553974"/>
                      </a:lnTo>
                      <a:lnTo>
                        <a:pt x="1690979" y="552704"/>
                      </a:lnTo>
                      <a:lnTo>
                        <a:pt x="1690484" y="551434"/>
                      </a:lnTo>
                      <a:lnTo>
                        <a:pt x="1689989" y="551434"/>
                      </a:lnTo>
                      <a:lnTo>
                        <a:pt x="1688134" y="552704"/>
                      </a:lnTo>
                      <a:lnTo>
                        <a:pt x="1687245" y="556514"/>
                      </a:lnTo>
                      <a:lnTo>
                        <a:pt x="1689303" y="556514"/>
                      </a:lnTo>
                      <a:lnTo>
                        <a:pt x="1689785" y="555244"/>
                      </a:lnTo>
                      <a:lnTo>
                        <a:pt x="1690331" y="553974"/>
                      </a:lnTo>
                      <a:lnTo>
                        <a:pt x="1692579" y="555244"/>
                      </a:lnTo>
                      <a:lnTo>
                        <a:pt x="1699742" y="555244"/>
                      </a:lnTo>
                      <a:lnTo>
                        <a:pt x="1703006" y="557784"/>
                      </a:lnTo>
                      <a:lnTo>
                        <a:pt x="1716087" y="561594"/>
                      </a:lnTo>
                      <a:lnTo>
                        <a:pt x="1724583" y="559054"/>
                      </a:lnTo>
                      <a:lnTo>
                        <a:pt x="1728901" y="561594"/>
                      </a:lnTo>
                      <a:lnTo>
                        <a:pt x="1731302" y="564134"/>
                      </a:lnTo>
                      <a:lnTo>
                        <a:pt x="1738680" y="567944"/>
                      </a:lnTo>
                      <a:lnTo>
                        <a:pt x="1740839" y="567944"/>
                      </a:lnTo>
                      <a:lnTo>
                        <a:pt x="1740674" y="569214"/>
                      </a:lnTo>
                      <a:lnTo>
                        <a:pt x="1741411" y="570484"/>
                      </a:lnTo>
                      <a:lnTo>
                        <a:pt x="1743456" y="571754"/>
                      </a:lnTo>
                      <a:lnTo>
                        <a:pt x="1746783" y="571754"/>
                      </a:lnTo>
                      <a:lnTo>
                        <a:pt x="1751101" y="569214"/>
                      </a:lnTo>
                      <a:lnTo>
                        <a:pt x="1752765" y="567944"/>
                      </a:lnTo>
                      <a:lnTo>
                        <a:pt x="1754974" y="569214"/>
                      </a:lnTo>
                      <a:lnTo>
                        <a:pt x="1755622" y="569214"/>
                      </a:lnTo>
                      <a:lnTo>
                        <a:pt x="1757438" y="573024"/>
                      </a:lnTo>
                      <a:lnTo>
                        <a:pt x="1758467" y="569214"/>
                      </a:lnTo>
                      <a:lnTo>
                        <a:pt x="1759102" y="569214"/>
                      </a:lnTo>
                      <a:lnTo>
                        <a:pt x="1761604" y="570484"/>
                      </a:lnTo>
                      <a:lnTo>
                        <a:pt x="1766189" y="571754"/>
                      </a:lnTo>
                      <a:lnTo>
                        <a:pt x="1768932" y="573024"/>
                      </a:lnTo>
                      <a:lnTo>
                        <a:pt x="1768322" y="574294"/>
                      </a:lnTo>
                      <a:lnTo>
                        <a:pt x="1768094" y="575564"/>
                      </a:lnTo>
                      <a:lnTo>
                        <a:pt x="1768525" y="578104"/>
                      </a:lnTo>
                      <a:lnTo>
                        <a:pt x="1769008" y="578104"/>
                      </a:lnTo>
                      <a:lnTo>
                        <a:pt x="1774736" y="581914"/>
                      </a:lnTo>
                      <a:lnTo>
                        <a:pt x="1777098" y="581914"/>
                      </a:lnTo>
                      <a:lnTo>
                        <a:pt x="1778863" y="583184"/>
                      </a:lnTo>
                      <a:lnTo>
                        <a:pt x="1775663" y="586994"/>
                      </a:lnTo>
                      <a:lnTo>
                        <a:pt x="1777644" y="588264"/>
                      </a:lnTo>
                      <a:lnTo>
                        <a:pt x="1780870" y="590804"/>
                      </a:lnTo>
                      <a:lnTo>
                        <a:pt x="1782521" y="592074"/>
                      </a:lnTo>
                      <a:lnTo>
                        <a:pt x="1782191" y="594614"/>
                      </a:lnTo>
                      <a:lnTo>
                        <a:pt x="1780006" y="594614"/>
                      </a:lnTo>
                      <a:lnTo>
                        <a:pt x="1774736" y="593344"/>
                      </a:lnTo>
                      <a:lnTo>
                        <a:pt x="1772488" y="593344"/>
                      </a:lnTo>
                      <a:lnTo>
                        <a:pt x="1771967" y="592074"/>
                      </a:lnTo>
                      <a:lnTo>
                        <a:pt x="1770443" y="592074"/>
                      </a:lnTo>
                      <a:lnTo>
                        <a:pt x="1768741" y="590804"/>
                      </a:lnTo>
                      <a:lnTo>
                        <a:pt x="1765350" y="588264"/>
                      </a:lnTo>
                      <a:lnTo>
                        <a:pt x="1763610" y="588264"/>
                      </a:lnTo>
                      <a:lnTo>
                        <a:pt x="1760347" y="590804"/>
                      </a:lnTo>
                      <a:lnTo>
                        <a:pt x="1759610" y="592074"/>
                      </a:lnTo>
                      <a:lnTo>
                        <a:pt x="1756956" y="592074"/>
                      </a:lnTo>
                      <a:lnTo>
                        <a:pt x="1755863" y="593344"/>
                      </a:lnTo>
                      <a:lnTo>
                        <a:pt x="1746465" y="593344"/>
                      </a:lnTo>
                      <a:lnTo>
                        <a:pt x="1738706" y="594614"/>
                      </a:lnTo>
                      <a:lnTo>
                        <a:pt x="1738337" y="594614"/>
                      </a:lnTo>
                      <a:lnTo>
                        <a:pt x="1737169" y="593344"/>
                      </a:lnTo>
                      <a:lnTo>
                        <a:pt x="1736344" y="592074"/>
                      </a:lnTo>
                      <a:lnTo>
                        <a:pt x="1734096" y="590804"/>
                      </a:lnTo>
                      <a:lnTo>
                        <a:pt x="1733130" y="590804"/>
                      </a:lnTo>
                      <a:lnTo>
                        <a:pt x="1732305" y="589534"/>
                      </a:lnTo>
                      <a:lnTo>
                        <a:pt x="1731899" y="589534"/>
                      </a:lnTo>
                      <a:lnTo>
                        <a:pt x="1731022" y="588264"/>
                      </a:lnTo>
                      <a:lnTo>
                        <a:pt x="1729651" y="586994"/>
                      </a:lnTo>
                      <a:lnTo>
                        <a:pt x="1727517" y="585724"/>
                      </a:lnTo>
                      <a:lnTo>
                        <a:pt x="1725104" y="586994"/>
                      </a:lnTo>
                      <a:lnTo>
                        <a:pt x="1724012" y="586994"/>
                      </a:lnTo>
                      <a:lnTo>
                        <a:pt x="1723440" y="588264"/>
                      </a:lnTo>
                      <a:lnTo>
                        <a:pt x="1712112" y="588264"/>
                      </a:lnTo>
                      <a:lnTo>
                        <a:pt x="1710690" y="586994"/>
                      </a:lnTo>
                      <a:lnTo>
                        <a:pt x="1709305" y="588264"/>
                      </a:lnTo>
                      <a:lnTo>
                        <a:pt x="1709572" y="589534"/>
                      </a:lnTo>
                      <a:lnTo>
                        <a:pt x="1709089" y="588264"/>
                      </a:lnTo>
                      <a:lnTo>
                        <a:pt x="1701330" y="593344"/>
                      </a:lnTo>
                      <a:lnTo>
                        <a:pt x="1710690" y="589534"/>
                      </a:lnTo>
                      <a:lnTo>
                        <a:pt x="1712048" y="590804"/>
                      </a:lnTo>
                      <a:lnTo>
                        <a:pt x="1716659" y="589534"/>
                      </a:lnTo>
                      <a:lnTo>
                        <a:pt x="1722208" y="590804"/>
                      </a:lnTo>
                      <a:lnTo>
                        <a:pt x="1725091" y="590804"/>
                      </a:lnTo>
                      <a:lnTo>
                        <a:pt x="1725409" y="589534"/>
                      </a:lnTo>
                      <a:lnTo>
                        <a:pt x="1725764" y="588264"/>
                      </a:lnTo>
                      <a:lnTo>
                        <a:pt x="1727238" y="588264"/>
                      </a:lnTo>
                      <a:lnTo>
                        <a:pt x="1728571" y="589534"/>
                      </a:lnTo>
                      <a:lnTo>
                        <a:pt x="1729498" y="589534"/>
                      </a:lnTo>
                      <a:lnTo>
                        <a:pt x="1729765" y="590804"/>
                      </a:lnTo>
                      <a:lnTo>
                        <a:pt x="1730692" y="590804"/>
                      </a:lnTo>
                      <a:lnTo>
                        <a:pt x="1732140" y="592074"/>
                      </a:lnTo>
                      <a:lnTo>
                        <a:pt x="1732915" y="593344"/>
                      </a:lnTo>
                      <a:lnTo>
                        <a:pt x="1735112" y="594614"/>
                      </a:lnTo>
                      <a:lnTo>
                        <a:pt x="1735569" y="594614"/>
                      </a:lnTo>
                      <a:lnTo>
                        <a:pt x="1738185" y="597154"/>
                      </a:lnTo>
                      <a:lnTo>
                        <a:pt x="1738807" y="598424"/>
                      </a:lnTo>
                      <a:lnTo>
                        <a:pt x="1739061" y="598424"/>
                      </a:lnTo>
                      <a:lnTo>
                        <a:pt x="1739468" y="599694"/>
                      </a:lnTo>
                      <a:lnTo>
                        <a:pt x="1739658" y="599694"/>
                      </a:lnTo>
                      <a:lnTo>
                        <a:pt x="1739760" y="600964"/>
                      </a:lnTo>
                      <a:lnTo>
                        <a:pt x="1739900" y="600964"/>
                      </a:lnTo>
                      <a:lnTo>
                        <a:pt x="1740115" y="603504"/>
                      </a:lnTo>
                      <a:lnTo>
                        <a:pt x="1739976" y="604774"/>
                      </a:lnTo>
                      <a:lnTo>
                        <a:pt x="1739201" y="604774"/>
                      </a:lnTo>
                      <a:lnTo>
                        <a:pt x="1738249" y="606044"/>
                      </a:lnTo>
                      <a:lnTo>
                        <a:pt x="1738122" y="607314"/>
                      </a:lnTo>
                      <a:lnTo>
                        <a:pt x="1738249" y="607314"/>
                      </a:lnTo>
                      <a:lnTo>
                        <a:pt x="1739950" y="609854"/>
                      </a:lnTo>
                      <a:lnTo>
                        <a:pt x="1740039" y="611124"/>
                      </a:lnTo>
                      <a:lnTo>
                        <a:pt x="1739379" y="612394"/>
                      </a:lnTo>
                      <a:lnTo>
                        <a:pt x="1739773" y="612394"/>
                      </a:lnTo>
                      <a:lnTo>
                        <a:pt x="1740128" y="613664"/>
                      </a:lnTo>
                      <a:lnTo>
                        <a:pt x="1743189" y="614934"/>
                      </a:lnTo>
                      <a:lnTo>
                        <a:pt x="1750529" y="614934"/>
                      </a:lnTo>
                      <a:lnTo>
                        <a:pt x="1753273" y="617474"/>
                      </a:lnTo>
                      <a:lnTo>
                        <a:pt x="1752777" y="617474"/>
                      </a:lnTo>
                      <a:lnTo>
                        <a:pt x="1752523" y="618744"/>
                      </a:lnTo>
                      <a:lnTo>
                        <a:pt x="1751012" y="618744"/>
                      </a:lnTo>
                      <a:lnTo>
                        <a:pt x="1751241" y="622554"/>
                      </a:lnTo>
                      <a:lnTo>
                        <a:pt x="1750974" y="622554"/>
                      </a:lnTo>
                      <a:lnTo>
                        <a:pt x="1749945" y="623824"/>
                      </a:lnTo>
                      <a:lnTo>
                        <a:pt x="1746478" y="623824"/>
                      </a:lnTo>
                      <a:lnTo>
                        <a:pt x="1744992" y="625094"/>
                      </a:lnTo>
                      <a:lnTo>
                        <a:pt x="1745843" y="627634"/>
                      </a:lnTo>
                      <a:lnTo>
                        <a:pt x="1746262" y="630174"/>
                      </a:lnTo>
                      <a:lnTo>
                        <a:pt x="1747075" y="631444"/>
                      </a:lnTo>
                      <a:lnTo>
                        <a:pt x="1747735" y="632714"/>
                      </a:lnTo>
                      <a:lnTo>
                        <a:pt x="1748459" y="633984"/>
                      </a:lnTo>
                      <a:lnTo>
                        <a:pt x="1748866" y="635254"/>
                      </a:lnTo>
                      <a:lnTo>
                        <a:pt x="1749285" y="635254"/>
                      </a:lnTo>
                      <a:lnTo>
                        <a:pt x="1749615" y="639064"/>
                      </a:lnTo>
                      <a:lnTo>
                        <a:pt x="1749209" y="642874"/>
                      </a:lnTo>
                      <a:lnTo>
                        <a:pt x="1751317" y="642874"/>
                      </a:lnTo>
                      <a:lnTo>
                        <a:pt x="1751076" y="644144"/>
                      </a:lnTo>
                      <a:lnTo>
                        <a:pt x="1750339" y="644144"/>
                      </a:lnTo>
                      <a:lnTo>
                        <a:pt x="1749031" y="645414"/>
                      </a:lnTo>
                      <a:lnTo>
                        <a:pt x="1748510" y="646684"/>
                      </a:lnTo>
                      <a:lnTo>
                        <a:pt x="1748294" y="647954"/>
                      </a:lnTo>
                      <a:lnTo>
                        <a:pt x="1748002" y="647954"/>
                      </a:lnTo>
                      <a:lnTo>
                        <a:pt x="1747977" y="649224"/>
                      </a:lnTo>
                      <a:lnTo>
                        <a:pt x="1748193" y="649224"/>
                      </a:lnTo>
                      <a:lnTo>
                        <a:pt x="1748472" y="650494"/>
                      </a:lnTo>
                      <a:lnTo>
                        <a:pt x="1750352" y="650494"/>
                      </a:lnTo>
                      <a:lnTo>
                        <a:pt x="1750834" y="651764"/>
                      </a:lnTo>
                      <a:lnTo>
                        <a:pt x="1752549" y="651764"/>
                      </a:lnTo>
                      <a:lnTo>
                        <a:pt x="1752993" y="653034"/>
                      </a:lnTo>
                      <a:lnTo>
                        <a:pt x="1753260" y="653034"/>
                      </a:lnTo>
                      <a:lnTo>
                        <a:pt x="1752752" y="655574"/>
                      </a:lnTo>
                      <a:lnTo>
                        <a:pt x="1753158" y="656844"/>
                      </a:lnTo>
                      <a:lnTo>
                        <a:pt x="1753501" y="658114"/>
                      </a:lnTo>
                      <a:lnTo>
                        <a:pt x="1754581" y="658114"/>
                      </a:lnTo>
                      <a:lnTo>
                        <a:pt x="1754987" y="659384"/>
                      </a:lnTo>
                      <a:lnTo>
                        <a:pt x="1756130" y="659384"/>
                      </a:lnTo>
                      <a:lnTo>
                        <a:pt x="1756130" y="660654"/>
                      </a:lnTo>
                      <a:lnTo>
                        <a:pt x="1755838" y="661924"/>
                      </a:lnTo>
                      <a:lnTo>
                        <a:pt x="1753285" y="661924"/>
                      </a:lnTo>
                      <a:lnTo>
                        <a:pt x="1751914" y="663194"/>
                      </a:lnTo>
                      <a:lnTo>
                        <a:pt x="1750822" y="663194"/>
                      </a:lnTo>
                      <a:lnTo>
                        <a:pt x="1750047" y="661924"/>
                      </a:lnTo>
                      <a:lnTo>
                        <a:pt x="1749894" y="660654"/>
                      </a:lnTo>
                      <a:lnTo>
                        <a:pt x="1749234" y="659384"/>
                      </a:lnTo>
                      <a:lnTo>
                        <a:pt x="1748091" y="658114"/>
                      </a:lnTo>
                      <a:lnTo>
                        <a:pt x="1745132" y="658114"/>
                      </a:lnTo>
                      <a:lnTo>
                        <a:pt x="1742859" y="659384"/>
                      </a:lnTo>
                      <a:lnTo>
                        <a:pt x="1737258" y="658114"/>
                      </a:lnTo>
                      <a:lnTo>
                        <a:pt x="1735353" y="658114"/>
                      </a:lnTo>
                      <a:lnTo>
                        <a:pt x="1733931" y="656844"/>
                      </a:lnTo>
                      <a:lnTo>
                        <a:pt x="1727682" y="656844"/>
                      </a:lnTo>
                      <a:lnTo>
                        <a:pt x="1725612" y="658114"/>
                      </a:lnTo>
                      <a:lnTo>
                        <a:pt x="1722818" y="660654"/>
                      </a:lnTo>
                      <a:lnTo>
                        <a:pt x="1722450" y="660654"/>
                      </a:lnTo>
                      <a:lnTo>
                        <a:pt x="1722132" y="659384"/>
                      </a:lnTo>
                      <a:lnTo>
                        <a:pt x="1719364" y="659384"/>
                      </a:lnTo>
                      <a:lnTo>
                        <a:pt x="1717700" y="660654"/>
                      </a:lnTo>
                      <a:lnTo>
                        <a:pt x="1711325" y="661924"/>
                      </a:lnTo>
                      <a:lnTo>
                        <a:pt x="1698345" y="661924"/>
                      </a:lnTo>
                      <a:lnTo>
                        <a:pt x="1692910" y="664464"/>
                      </a:lnTo>
                      <a:lnTo>
                        <a:pt x="1691513" y="664464"/>
                      </a:lnTo>
                      <a:lnTo>
                        <a:pt x="1683131" y="668274"/>
                      </a:lnTo>
                      <a:lnTo>
                        <a:pt x="1676387" y="668274"/>
                      </a:lnTo>
                      <a:lnTo>
                        <a:pt x="1669453" y="667004"/>
                      </a:lnTo>
                      <a:lnTo>
                        <a:pt x="1669199" y="667004"/>
                      </a:lnTo>
                      <a:lnTo>
                        <a:pt x="1668348" y="665734"/>
                      </a:lnTo>
                      <a:lnTo>
                        <a:pt x="1662531" y="664464"/>
                      </a:lnTo>
                      <a:lnTo>
                        <a:pt x="1661922" y="665734"/>
                      </a:lnTo>
                      <a:lnTo>
                        <a:pt x="1659432" y="665734"/>
                      </a:lnTo>
                      <a:lnTo>
                        <a:pt x="1655699" y="668274"/>
                      </a:lnTo>
                      <a:lnTo>
                        <a:pt x="1652612" y="668274"/>
                      </a:lnTo>
                      <a:lnTo>
                        <a:pt x="1650009" y="669544"/>
                      </a:lnTo>
                      <a:lnTo>
                        <a:pt x="1646656" y="669544"/>
                      </a:lnTo>
                      <a:lnTo>
                        <a:pt x="1644383" y="668274"/>
                      </a:lnTo>
                      <a:lnTo>
                        <a:pt x="1639849" y="665734"/>
                      </a:lnTo>
                      <a:lnTo>
                        <a:pt x="1639176" y="668274"/>
                      </a:lnTo>
                      <a:lnTo>
                        <a:pt x="1637931" y="670814"/>
                      </a:lnTo>
                      <a:lnTo>
                        <a:pt x="1637906" y="674624"/>
                      </a:lnTo>
                      <a:lnTo>
                        <a:pt x="1638134" y="674624"/>
                      </a:lnTo>
                      <a:lnTo>
                        <a:pt x="1638477" y="675894"/>
                      </a:lnTo>
                      <a:lnTo>
                        <a:pt x="1637372" y="675894"/>
                      </a:lnTo>
                      <a:lnTo>
                        <a:pt x="1636636" y="677164"/>
                      </a:lnTo>
                      <a:lnTo>
                        <a:pt x="1635899" y="677164"/>
                      </a:lnTo>
                      <a:lnTo>
                        <a:pt x="1635645" y="678434"/>
                      </a:lnTo>
                      <a:lnTo>
                        <a:pt x="1635442" y="679704"/>
                      </a:lnTo>
                      <a:lnTo>
                        <a:pt x="1634261" y="680974"/>
                      </a:lnTo>
                      <a:lnTo>
                        <a:pt x="1633042" y="680974"/>
                      </a:lnTo>
                      <a:lnTo>
                        <a:pt x="1632762" y="682244"/>
                      </a:lnTo>
                      <a:lnTo>
                        <a:pt x="1631454" y="682244"/>
                      </a:lnTo>
                      <a:lnTo>
                        <a:pt x="1630006" y="680974"/>
                      </a:lnTo>
                      <a:lnTo>
                        <a:pt x="1629105" y="680974"/>
                      </a:lnTo>
                      <a:lnTo>
                        <a:pt x="1628432" y="683514"/>
                      </a:lnTo>
                      <a:lnTo>
                        <a:pt x="1629702" y="683514"/>
                      </a:lnTo>
                      <a:lnTo>
                        <a:pt x="1631962" y="684784"/>
                      </a:lnTo>
                      <a:lnTo>
                        <a:pt x="1633842" y="684784"/>
                      </a:lnTo>
                      <a:lnTo>
                        <a:pt x="1634439" y="683514"/>
                      </a:lnTo>
                      <a:lnTo>
                        <a:pt x="1634655" y="682244"/>
                      </a:lnTo>
                      <a:lnTo>
                        <a:pt x="1635785" y="682244"/>
                      </a:lnTo>
                      <a:lnTo>
                        <a:pt x="1637576" y="680974"/>
                      </a:lnTo>
                      <a:lnTo>
                        <a:pt x="1637677" y="678434"/>
                      </a:lnTo>
                      <a:lnTo>
                        <a:pt x="1638541" y="678434"/>
                      </a:lnTo>
                      <a:lnTo>
                        <a:pt x="1640522" y="677164"/>
                      </a:lnTo>
                      <a:lnTo>
                        <a:pt x="1643341" y="675894"/>
                      </a:lnTo>
                      <a:lnTo>
                        <a:pt x="1640014" y="674624"/>
                      </a:lnTo>
                      <a:lnTo>
                        <a:pt x="1640052" y="672084"/>
                      </a:lnTo>
                      <a:lnTo>
                        <a:pt x="1641043" y="668274"/>
                      </a:lnTo>
                      <a:lnTo>
                        <a:pt x="1646237" y="672084"/>
                      </a:lnTo>
                      <a:lnTo>
                        <a:pt x="1650225" y="670814"/>
                      </a:lnTo>
                      <a:lnTo>
                        <a:pt x="1653019" y="670814"/>
                      </a:lnTo>
                      <a:lnTo>
                        <a:pt x="1656334" y="669544"/>
                      </a:lnTo>
                      <a:lnTo>
                        <a:pt x="1661236" y="668274"/>
                      </a:lnTo>
                      <a:lnTo>
                        <a:pt x="1662658" y="667004"/>
                      </a:lnTo>
                      <a:lnTo>
                        <a:pt x="1667167" y="668274"/>
                      </a:lnTo>
                      <a:lnTo>
                        <a:pt x="1667776" y="668274"/>
                      </a:lnTo>
                      <a:lnTo>
                        <a:pt x="1668056" y="669544"/>
                      </a:lnTo>
                      <a:lnTo>
                        <a:pt x="1668919" y="669544"/>
                      </a:lnTo>
                      <a:lnTo>
                        <a:pt x="1673123" y="670814"/>
                      </a:lnTo>
                      <a:lnTo>
                        <a:pt x="1680476" y="670814"/>
                      </a:lnTo>
                      <a:lnTo>
                        <a:pt x="1683677" y="669544"/>
                      </a:lnTo>
                      <a:lnTo>
                        <a:pt x="1691817" y="667004"/>
                      </a:lnTo>
                      <a:lnTo>
                        <a:pt x="1693075" y="667004"/>
                      </a:lnTo>
                      <a:lnTo>
                        <a:pt x="1695170" y="665734"/>
                      </a:lnTo>
                      <a:lnTo>
                        <a:pt x="1698815" y="663194"/>
                      </a:lnTo>
                      <a:lnTo>
                        <a:pt x="1706727" y="664464"/>
                      </a:lnTo>
                      <a:lnTo>
                        <a:pt x="1711579" y="663194"/>
                      </a:lnTo>
                      <a:lnTo>
                        <a:pt x="1717878" y="661924"/>
                      </a:lnTo>
                      <a:lnTo>
                        <a:pt x="1721104" y="661924"/>
                      </a:lnTo>
                      <a:lnTo>
                        <a:pt x="1721053" y="663194"/>
                      </a:lnTo>
                      <a:lnTo>
                        <a:pt x="1715985" y="668274"/>
                      </a:lnTo>
                      <a:lnTo>
                        <a:pt x="1714334" y="669544"/>
                      </a:lnTo>
                      <a:lnTo>
                        <a:pt x="1713344" y="669544"/>
                      </a:lnTo>
                      <a:lnTo>
                        <a:pt x="1712518" y="670814"/>
                      </a:lnTo>
                      <a:lnTo>
                        <a:pt x="1708861" y="670814"/>
                      </a:lnTo>
                      <a:lnTo>
                        <a:pt x="1707883" y="672084"/>
                      </a:lnTo>
                      <a:lnTo>
                        <a:pt x="1707172" y="672084"/>
                      </a:lnTo>
                      <a:lnTo>
                        <a:pt x="1706956" y="673354"/>
                      </a:lnTo>
                      <a:lnTo>
                        <a:pt x="1706727" y="673354"/>
                      </a:lnTo>
                      <a:lnTo>
                        <a:pt x="1705229" y="677164"/>
                      </a:lnTo>
                      <a:lnTo>
                        <a:pt x="1705876" y="684784"/>
                      </a:lnTo>
                      <a:lnTo>
                        <a:pt x="1706283" y="687324"/>
                      </a:lnTo>
                      <a:lnTo>
                        <a:pt x="1706079" y="688594"/>
                      </a:lnTo>
                      <a:lnTo>
                        <a:pt x="1705470" y="691134"/>
                      </a:lnTo>
                      <a:lnTo>
                        <a:pt x="1704594" y="693674"/>
                      </a:lnTo>
                      <a:lnTo>
                        <a:pt x="1704746" y="700024"/>
                      </a:lnTo>
                      <a:lnTo>
                        <a:pt x="1704619" y="700024"/>
                      </a:lnTo>
                      <a:lnTo>
                        <a:pt x="1704263" y="701294"/>
                      </a:lnTo>
                      <a:lnTo>
                        <a:pt x="1703730" y="702564"/>
                      </a:lnTo>
                      <a:lnTo>
                        <a:pt x="1702892" y="703834"/>
                      </a:lnTo>
                      <a:lnTo>
                        <a:pt x="1701609" y="706374"/>
                      </a:lnTo>
                      <a:lnTo>
                        <a:pt x="1699361" y="706374"/>
                      </a:lnTo>
                      <a:lnTo>
                        <a:pt x="1696389" y="707644"/>
                      </a:lnTo>
                      <a:lnTo>
                        <a:pt x="1692160" y="710184"/>
                      </a:lnTo>
                      <a:lnTo>
                        <a:pt x="1692694" y="711454"/>
                      </a:lnTo>
                      <a:lnTo>
                        <a:pt x="1691817" y="710184"/>
                      </a:lnTo>
                      <a:lnTo>
                        <a:pt x="1679968" y="716534"/>
                      </a:lnTo>
                      <a:lnTo>
                        <a:pt x="1671421" y="721614"/>
                      </a:lnTo>
                      <a:lnTo>
                        <a:pt x="1671218" y="721614"/>
                      </a:lnTo>
                      <a:lnTo>
                        <a:pt x="1670697" y="722884"/>
                      </a:lnTo>
                      <a:lnTo>
                        <a:pt x="1666963" y="724154"/>
                      </a:lnTo>
                      <a:lnTo>
                        <a:pt x="1659915" y="727964"/>
                      </a:lnTo>
                      <a:lnTo>
                        <a:pt x="1652117" y="733044"/>
                      </a:lnTo>
                      <a:lnTo>
                        <a:pt x="1646174" y="736854"/>
                      </a:lnTo>
                      <a:lnTo>
                        <a:pt x="1645615" y="736854"/>
                      </a:lnTo>
                      <a:lnTo>
                        <a:pt x="1642186" y="739394"/>
                      </a:lnTo>
                      <a:lnTo>
                        <a:pt x="1632978" y="735584"/>
                      </a:lnTo>
                      <a:lnTo>
                        <a:pt x="1632242" y="735584"/>
                      </a:lnTo>
                      <a:lnTo>
                        <a:pt x="1630426" y="734314"/>
                      </a:lnTo>
                      <a:lnTo>
                        <a:pt x="1629994" y="734314"/>
                      </a:lnTo>
                      <a:lnTo>
                        <a:pt x="1629194" y="733044"/>
                      </a:lnTo>
                      <a:lnTo>
                        <a:pt x="1627225" y="733044"/>
                      </a:lnTo>
                      <a:lnTo>
                        <a:pt x="1626806" y="730504"/>
                      </a:lnTo>
                      <a:lnTo>
                        <a:pt x="1626895" y="729234"/>
                      </a:lnTo>
                      <a:lnTo>
                        <a:pt x="1627111" y="727964"/>
                      </a:lnTo>
                      <a:lnTo>
                        <a:pt x="1627339" y="726694"/>
                      </a:lnTo>
                      <a:lnTo>
                        <a:pt x="1627390" y="725424"/>
                      </a:lnTo>
                      <a:lnTo>
                        <a:pt x="1628559" y="724154"/>
                      </a:lnTo>
                      <a:lnTo>
                        <a:pt x="1629473" y="724154"/>
                      </a:lnTo>
                      <a:lnTo>
                        <a:pt x="1630311" y="722884"/>
                      </a:lnTo>
                      <a:lnTo>
                        <a:pt x="1631162" y="722884"/>
                      </a:lnTo>
                      <a:lnTo>
                        <a:pt x="1631911" y="721614"/>
                      </a:lnTo>
                      <a:lnTo>
                        <a:pt x="1632127" y="721614"/>
                      </a:lnTo>
                      <a:lnTo>
                        <a:pt x="1632597" y="720344"/>
                      </a:lnTo>
                      <a:lnTo>
                        <a:pt x="1632699" y="719074"/>
                      </a:lnTo>
                      <a:lnTo>
                        <a:pt x="1631886" y="717804"/>
                      </a:lnTo>
                      <a:lnTo>
                        <a:pt x="1632419" y="717804"/>
                      </a:lnTo>
                      <a:lnTo>
                        <a:pt x="1633054" y="716534"/>
                      </a:lnTo>
                      <a:lnTo>
                        <a:pt x="1634578" y="716534"/>
                      </a:lnTo>
                      <a:lnTo>
                        <a:pt x="1643989" y="721614"/>
                      </a:lnTo>
                      <a:lnTo>
                        <a:pt x="1637944" y="716534"/>
                      </a:lnTo>
                      <a:lnTo>
                        <a:pt x="1636433" y="715264"/>
                      </a:lnTo>
                      <a:lnTo>
                        <a:pt x="1636737" y="713994"/>
                      </a:lnTo>
                      <a:lnTo>
                        <a:pt x="1640039" y="711454"/>
                      </a:lnTo>
                      <a:lnTo>
                        <a:pt x="1641513" y="710184"/>
                      </a:lnTo>
                      <a:lnTo>
                        <a:pt x="1639671" y="707644"/>
                      </a:lnTo>
                      <a:lnTo>
                        <a:pt x="1639049" y="705104"/>
                      </a:lnTo>
                      <a:lnTo>
                        <a:pt x="1637703" y="705104"/>
                      </a:lnTo>
                      <a:lnTo>
                        <a:pt x="1639633" y="702564"/>
                      </a:lnTo>
                      <a:lnTo>
                        <a:pt x="1631188" y="702564"/>
                      </a:lnTo>
                      <a:lnTo>
                        <a:pt x="1630464" y="701294"/>
                      </a:lnTo>
                      <a:lnTo>
                        <a:pt x="1630108" y="703834"/>
                      </a:lnTo>
                      <a:lnTo>
                        <a:pt x="1635493" y="703834"/>
                      </a:lnTo>
                      <a:lnTo>
                        <a:pt x="1634553" y="706374"/>
                      </a:lnTo>
                      <a:lnTo>
                        <a:pt x="1637220" y="706374"/>
                      </a:lnTo>
                      <a:lnTo>
                        <a:pt x="1637855" y="707644"/>
                      </a:lnTo>
                      <a:lnTo>
                        <a:pt x="1638401" y="708914"/>
                      </a:lnTo>
                      <a:lnTo>
                        <a:pt x="1638896" y="710184"/>
                      </a:lnTo>
                      <a:lnTo>
                        <a:pt x="1638655" y="710184"/>
                      </a:lnTo>
                      <a:lnTo>
                        <a:pt x="1634871" y="712724"/>
                      </a:lnTo>
                      <a:lnTo>
                        <a:pt x="1634401" y="713994"/>
                      </a:lnTo>
                      <a:lnTo>
                        <a:pt x="1633524" y="713994"/>
                      </a:lnTo>
                      <a:lnTo>
                        <a:pt x="1632712" y="715264"/>
                      </a:lnTo>
                      <a:lnTo>
                        <a:pt x="1632038" y="715264"/>
                      </a:lnTo>
                      <a:lnTo>
                        <a:pt x="1630260" y="716534"/>
                      </a:lnTo>
                      <a:lnTo>
                        <a:pt x="1629397" y="717804"/>
                      </a:lnTo>
                      <a:lnTo>
                        <a:pt x="1629765" y="719074"/>
                      </a:lnTo>
                      <a:lnTo>
                        <a:pt x="1630375" y="720344"/>
                      </a:lnTo>
                      <a:lnTo>
                        <a:pt x="1629600" y="720344"/>
                      </a:lnTo>
                      <a:lnTo>
                        <a:pt x="1628317" y="721614"/>
                      </a:lnTo>
                      <a:lnTo>
                        <a:pt x="1626806" y="722884"/>
                      </a:lnTo>
                      <a:lnTo>
                        <a:pt x="1625879" y="724154"/>
                      </a:lnTo>
                      <a:lnTo>
                        <a:pt x="1625155" y="724154"/>
                      </a:lnTo>
                      <a:lnTo>
                        <a:pt x="1624380" y="725424"/>
                      </a:lnTo>
                      <a:lnTo>
                        <a:pt x="1623441" y="726694"/>
                      </a:lnTo>
                      <a:lnTo>
                        <a:pt x="1618068" y="726694"/>
                      </a:lnTo>
                      <a:lnTo>
                        <a:pt x="1618157" y="729234"/>
                      </a:lnTo>
                      <a:lnTo>
                        <a:pt x="1623618" y="729234"/>
                      </a:lnTo>
                      <a:lnTo>
                        <a:pt x="1624330" y="727964"/>
                      </a:lnTo>
                      <a:lnTo>
                        <a:pt x="1624990" y="727964"/>
                      </a:lnTo>
                      <a:lnTo>
                        <a:pt x="1624774" y="729234"/>
                      </a:lnTo>
                      <a:lnTo>
                        <a:pt x="1624672" y="730504"/>
                      </a:lnTo>
                      <a:lnTo>
                        <a:pt x="1625168" y="733044"/>
                      </a:lnTo>
                      <a:lnTo>
                        <a:pt x="1621434" y="736854"/>
                      </a:lnTo>
                      <a:lnTo>
                        <a:pt x="1624457" y="735584"/>
                      </a:lnTo>
                      <a:lnTo>
                        <a:pt x="1624291" y="736854"/>
                      </a:lnTo>
                      <a:lnTo>
                        <a:pt x="1624139" y="736854"/>
                      </a:lnTo>
                      <a:lnTo>
                        <a:pt x="1623860" y="739394"/>
                      </a:lnTo>
                      <a:lnTo>
                        <a:pt x="1625968" y="739394"/>
                      </a:lnTo>
                      <a:lnTo>
                        <a:pt x="1626222" y="736854"/>
                      </a:lnTo>
                      <a:lnTo>
                        <a:pt x="1626349" y="736854"/>
                      </a:lnTo>
                      <a:lnTo>
                        <a:pt x="1626514" y="735584"/>
                      </a:lnTo>
                      <a:lnTo>
                        <a:pt x="1628686" y="735584"/>
                      </a:lnTo>
                      <a:lnTo>
                        <a:pt x="1629829" y="736854"/>
                      </a:lnTo>
                      <a:lnTo>
                        <a:pt x="1631137" y="736854"/>
                      </a:lnTo>
                      <a:lnTo>
                        <a:pt x="1631746" y="738124"/>
                      </a:lnTo>
                      <a:lnTo>
                        <a:pt x="1632013" y="738124"/>
                      </a:lnTo>
                      <a:lnTo>
                        <a:pt x="1636255" y="739394"/>
                      </a:lnTo>
                      <a:lnTo>
                        <a:pt x="1638046" y="740664"/>
                      </a:lnTo>
                      <a:lnTo>
                        <a:pt x="1641094" y="740664"/>
                      </a:lnTo>
                      <a:lnTo>
                        <a:pt x="1642021" y="741934"/>
                      </a:lnTo>
                      <a:lnTo>
                        <a:pt x="1642325" y="741934"/>
                      </a:lnTo>
                      <a:lnTo>
                        <a:pt x="1642427" y="740664"/>
                      </a:lnTo>
                      <a:lnTo>
                        <a:pt x="1644954" y="740664"/>
                      </a:lnTo>
                      <a:lnTo>
                        <a:pt x="1645729" y="739394"/>
                      </a:lnTo>
                      <a:lnTo>
                        <a:pt x="1646897" y="739394"/>
                      </a:lnTo>
                      <a:lnTo>
                        <a:pt x="1647939" y="738124"/>
                      </a:lnTo>
                      <a:lnTo>
                        <a:pt x="1650479" y="736854"/>
                      </a:lnTo>
                      <a:lnTo>
                        <a:pt x="1655508" y="733044"/>
                      </a:lnTo>
                      <a:lnTo>
                        <a:pt x="1665719" y="727964"/>
                      </a:lnTo>
                      <a:lnTo>
                        <a:pt x="1670316" y="725424"/>
                      </a:lnTo>
                      <a:lnTo>
                        <a:pt x="1673809" y="740664"/>
                      </a:lnTo>
                      <a:lnTo>
                        <a:pt x="1674279" y="740664"/>
                      </a:lnTo>
                      <a:lnTo>
                        <a:pt x="1675345" y="741934"/>
                      </a:lnTo>
                      <a:lnTo>
                        <a:pt x="1675739" y="741934"/>
                      </a:lnTo>
                      <a:lnTo>
                        <a:pt x="1671726" y="743204"/>
                      </a:lnTo>
                      <a:lnTo>
                        <a:pt x="1672374" y="743204"/>
                      </a:lnTo>
                      <a:lnTo>
                        <a:pt x="1670723" y="744474"/>
                      </a:lnTo>
                      <a:lnTo>
                        <a:pt x="1669034" y="744474"/>
                      </a:lnTo>
                      <a:lnTo>
                        <a:pt x="1664868" y="745744"/>
                      </a:lnTo>
                      <a:lnTo>
                        <a:pt x="1658975" y="748284"/>
                      </a:lnTo>
                      <a:lnTo>
                        <a:pt x="1646402" y="752094"/>
                      </a:lnTo>
                      <a:lnTo>
                        <a:pt x="1643278" y="752094"/>
                      </a:lnTo>
                      <a:lnTo>
                        <a:pt x="1648104" y="757174"/>
                      </a:lnTo>
                      <a:lnTo>
                        <a:pt x="1651685" y="760984"/>
                      </a:lnTo>
                      <a:lnTo>
                        <a:pt x="1655635" y="766064"/>
                      </a:lnTo>
                      <a:lnTo>
                        <a:pt x="1657553" y="767334"/>
                      </a:lnTo>
                      <a:lnTo>
                        <a:pt x="1658315" y="768604"/>
                      </a:lnTo>
                      <a:lnTo>
                        <a:pt x="1658454" y="768604"/>
                      </a:lnTo>
                      <a:lnTo>
                        <a:pt x="1658213" y="769874"/>
                      </a:lnTo>
                      <a:lnTo>
                        <a:pt x="1656791" y="771144"/>
                      </a:lnTo>
                      <a:lnTo>
                        <a:pt x="1652689" y="774954"/>
                      </a:lnTo>
                      <a:lnTo>
                        <a:pt x="1652447" y="774954"/>
                      </a:lnTo>
                      <a:lnTo>
                        <a:pt x="1651990" y="776224"/>
                      </a:lnTo>
                      <a:lnTo>
                        <a:pt x="1647240" y="776224"/>
                      </a:lnTo>
                      <a:lnTo>
                        <a:pt x="1643341" y="777494"/>
                      </a:lnTo>
                      <a:lnTo>
                        <a:pt x="1631556" y="788924"/>
                      </a:lnTo>
                      <a:lnTo>
                        <a:pt x="1630934" y="788924"/>
                      </a:lnTo>
                      <a:lnTo>
                        <a:pt x="1627428" y="787654"/>
                      </a:lnTo>
                      <a:lnTo>
                        <a:pt x="1617878" y="786384"/>
                      </a:lnTo>
                      <a:lnTo>
                        <a:pt x="1614716" y="786384"/>
                      </a:lnTo>
                      <a:lnTo>
                        <a:pt x="1615478" y="787654"/>
                      </a:lnTo>
                      <a:lnTo>
                        <a:pt x="1615300" y="788924"/>
                      </a:lnTo>
                      <a:lnTo>
                        <a:pt x="1615821" y="788924"/>
                      </a:lnTo>
                      <a:lnTo>
                        <a:pt x="1616240" y="787654"/>
                      </a:lnTo>
                      <a:lnTo>
                        <a:pt x="1618030" y="787654"/>
                      </a:lnTo>
                      <a:lnTo>
                        <a:pt x="1627225" y="790194"/>
                      </a:lnTo>
                      <a:lnTo>
                        <a:pt x="1633474" y="790194"/>
                      </a:lnTo>
                      <a:lnTo>
                        <a:pt x="1634375" y="788924"/>
                      </a:lnTo>
                      <a:lnTo>
                        <a:pt x="1636293" y="786384"/>
                      </a:lnTo>
                      <a:lnTo>
                        <a:pt x="1638655" y="783844"/>
                      </a:lnTo>
                      <a:lnTo>
                        <a:pt x="1641614" y="780034"/>
                      </a:lnTo>
                      <a:lnTo>
                        <a:pt x="1643888" y="780034"/>
                      </a:lnTo>
                      <a:lnTo>
                        <a:pt x="1647571" y="778764"/>
                      </a:lnTo>
                      <a:lnTo>
                        <a:pt x="1651939" y="778764"/>
                      </a:lnTo>
                      <a:lnTo>
                        <a:pt x="1653425" y="777494"/>
                      </a:lnTo>
                      <a:lnTo>
                        <a:pt x="1653641" y="777494"/>
                      </a:lnTo>
                      <a:lnTo>
                        <a:pt x="1654187" y="776224"/>
                      </a:lnTo>
                      <a:lnTo>
                        <a:pt x="1660715" y="771144"/>
                      </a:lnTo>
                      <a:lnTo>
                        <a:pt x="1660563" y="768604"/>
                      </a:lnTo>
                      <a:lnTo>
                        <a:pt x="1660321" y="767334"/>
                      </a:lnTo>
                      <a:lnTo>
                        <a:pt x="1659521" y="767334"/>
                      </a:lnTo>
                      <a:lnTo>
                        <a:pt x="1658658" y="766064"/>
                      </a:lnTo>
                      <a:lnTo>
                        <a:pt x="1657184" y="764794"/>
                      </a:lnTo>
                      <a:lnTo>
                        <a:pt x="1653667" y="760984"/>
                      </a:lnTo>
                      <a:lnTo>
                        <a:pt x="1647228" y="753364"/>
                      </a:lnTo>
                      <a:lnTo>
                        <a:pt x="1659610" y="750824"/>
                      </a:lnTo>
                      <a:lnTo>
                        <a:pt x="1665554" y="748284"/>
                      </a:lnTo>
                      <a:lnTo>
                        <a:pt x="1673212" y="745744"/>
                      </a:lnTo>
                      <a:lnTo>
                        <a:pt x="1675434" y="744474"/>
                      </a:lnTo>
                      <a:lnTo>
                        <a:pt x="1676476" y="744474"/>
                      </a:lnTo>
                      <a:lnTo>
                        <a:pt x="1694789" y="747014"/>
                      </a:lnTo>
                      <a:lnTo>
                        <a:pt x="1697964" y="749554"/>
                      </a:lnTo>
                      <a:lnTo>
                        <a:pt x="1702269" y="752094"/>
                      </a:lnTo>
                      <a:lnTo>
                        <a:pt x="1714080" y="758444"/>
                      </a:lnTo>
                      <a:lnTo>
                        <a:pt x="1717471" y="760984"/>
                      </a:lnTo>
                      <a:lnTo>
                        <a:pt x="1720900" y="762254"/>
                      </a:lnTo>
                      <a:lnTo>
                        <a:pt x="1731035" y="771144"/>
                      </a:lnTo>
                      <a:lnTo>
                        <a:pt x="1735772" y="774954"/>
                      </a:lnTo>
                      <a:lnTo>
                        <a:pt x="1742528" y="780034"/>
                      </a:lnTo>
                      <a:lnTo>
                        <a:pt x="1746123" y="782574"/>
                      </a:lnTo>
                      <a:lnTo>
                        <a:pt x="1750148" y="786384"/>
                      </a:lnTo>
                      <a:lnTo>
                        <a:pt x="1755533" y="790194"/>
                      </a:lnTo>
                      <a:lnTo>
                        <a:pt x="1758645" y="790194"/>
                      </a:lnTo>
                      <a:lnTo>
                        <a:pt x="1777822" y="792734"/>
                      </a:lnTo>
                      <a:lnTo>
                        <a:pt x="1780603" y="792734"/>
                      </a:lnTo>
                      <a:lnTo>
                        <a:pt x="1781835" y="791464"/>
                      </a:lnTo>
                      <a:lnTo>
                        <a:pt x="1782559" y="791464"/>
                      </a:lnTo>
                      <a:lnTo>
                        <a:pt x="1795170" y="795274"/>
                      </a:lnTo>
                      <a:lnTo>
                        <a:pt x="1795322" y="795274"/>
                      </a:lnTo>
                      <a:lnTo>
                        <a:pt x="1795741" y="797814"/>
                      </a:lnTo>
                      <a:lnTo>
                        <a:pt x="1795894" y="797814"/>
                      </a:lnTo>
                      <a:lnTo>
                        <a:pt x="1796580" y="799084"/>
                      </a:lnTo>
                      <a:lnTo>
                        <a:pt x="1797443" y="800354"/>
                      </a:lnTo>
                      <a:lnTo>
                        <a:pt x="1808924" y="800354"/>
                      </a:lnTo>
                      <a:lnTo>
                        <a:pt x="1809788" y="799084"/>
                      </a:lnTo>
                      <a:lnTo>
                        <a:pt x="1800872" y="799084"/>
                      </a:lnTo>
                      <a:lnTo>
                        <a:pt x="1799043" y="797814"/>
                      </a:lnTo>
                      <a:lnTo>
                        <a:pt x="1798129" y="797814"/>
                      </a:lnTo>
                      <a:lnTo>
                        <a:pt x="1797900" y="796544"/>
                      </a:lnTo>
                      <a:lnTo>
                        <a:pt x="1797634" y="796544"/>
                      </a:lnTo>
                      <a:lnTo>
                        <a:pt x="1797431" y="795274"/>
                      </a:lnTo>
                      <a:lnTo>
                        <a:pt x="1797138" y="794004"/>
                      </a:lnTo>
                      <a:lnTo>
                        <a:pt x="1788325" y="791464"/>
                      </a:lnTo>
                      <a:lnTo>
                        <a:pt x="1783918" y="790194"/>
                      </a:lnTo>
                      <a:lnTo>
                        <a:pt x="1786648" y="785114"/>
                      </a:lnTo>
                      <a:lnTo>
                        <a:pt x="1788414" y="782574"/>
                      </a:lnTo>
                      <a:lnTo>
                        <a:pt x="1790903" y="777494"/>
                      </a:lnTo>
                      <a:lnTo>
                        <a:pt x="1792744" y="776224"/>
                      </a:lnTo>
                      <a:lnTo>
                        <a:pt x="1797862" y="776224"/>
                      </a:lnTo>
                      <a:lnTo>
                        <a:pt x="1800593" y="777494"/>
                      </a:lnTo>
                      <a:lnTo>
                        <a:pt x="1803057" y="778764"/>
                      </a:lnTo>
                      <a:lnTo>
                        <a:pt x="1803057" y="777494"/>
                      </a:lnTo>
                      <a:lnTo>
                        <a:pt x="1804682" y="778764"/>
                      </a:lnTo>
                      <a:lnTo>
                        <a:pt x="1809076" y="780034"/>
                      </a:lnTo>
                      <a:lnTo>
                        <a:pt x="1807032" y="777494"/>
                      </a:lnTo>
                      <a:lnTo>
                        <a:pt x="1806625" y="777494"/>
                      </a:lnTo>
                      <a:lnTo>
                        <a:pt x="1804187" y="776224"/>
                      </a:lnTo>
                      <a:lnTo>
                        <a:pt x="1802561" y="774954"/>
                      </a:lnTo>
                      <a:lnTo>
                        <a:pt x="1800936" y="773684"/>
                      </a:lnTo>
                      <a:lnTo>
                        <a:pt x="1800936" y="774954"/>
                      </a:lnTo>
                      <a:lnTo>
                        <a:pt x="1798218" y="773684"/>
                      </a:lnTo>
                      <a:lnTo>
                        <a:pt x="1792897" y="773684"/>
                      </a:lnTo>
                      <a:lnTo>
                        <a:pt x="1791792" y="774954"/>
                      </a:lnTo>
                      <a:lnTo>
                        <a:pt x="1789264" y="776224"/>
                      </a:lnTo>
                      <a:lnTo>
                        <a:pt x="1786585" y="781304"/>
                      </a:lnTo>
                      <a:lnTo>
                        <a:pt x="1784781" y="785114"/>
                      </a:lnTo>
                      <a:lnTo>
                        <a:pt x="1781492" y="790194"/>
                      </a:lnTo>
                      <a:lnTo>
                        <a:pt x="1777809" y="790194"/>
                      </a:lnTo>
                      <a:lnTo>
                        <a:pt x="1758530" y="788924"/>
                      </a:lnTo>
                      <a:lnTo>
                        <a:pt x="1756308" y="788924"/>
                      </a:lnTo>
                      <a:lnTo>
                        <a:pt x="1751444" y="785114"/>
                      </a:lnTo>
                      <a:lnTo>
                        <a:pt x="1749209" y="782574"/>
                      </a:lnTo>
                      <a:lnTo>
                        <a:pt x="1747431" y="781304"/>
                      </a:lnTo>
                      <a:lnTo>
                        <a:pt x="1737067" y="773684"/>
                      </a:lnTo>
                      <a:lnTo>
                        <a:pt x="1735683" y="772414"/>
                      </a:lnTo>
                      <a:lnTo>
                        <a:pt x="1732368" y="769874"/>
                      </a:lnTo>
                      <a:lnTo>
                        <a:pt x="1722145" y="760984"/>
                      </a:lnTo>
                      <a:lnTo>
                        <a:pt x="1718602" y="758444"/>
                      </a:lnTo>
                      <a:lnTo>
                        <a:pt x="1718119" y="758444"/>
                      </a:lnTo>
                      <a:lnTo>
                        <a:pt x="1711325" y="754634"/>
                      </a:lnTo>
                      <a:lnTo>
                        <a:pt x="1703336" y="750824"/>
                      </a:lnTo>
                      <a:lnTo>
                        <a:pt x="1695640" y="745744"/>
                      </a:lnTo>
                      <a:lnTo>
                        <a:pt x="1678749" y="741934"/>
                      </a:lnTo>
                      <a:lnTo>
                        <a:pt x="1679879" y="741934"/>
                      </a:lnTo>
                      <a:lnTo>
                        <a:pt x="1678825" y="740664"/>
                      </a:lnTo>
                      <a:lnTo>
                        <a:pt x="1678063" y="740664"/>
                      </a:lnTo>
                      <a:lnTo>
                        <a:pt x="1677098" y="739394"/>
                      </a:lnTo>
                      <a:lnTo>
                        <a:pt x="1675676" y="739394"/>
                      </a:lnTo>
                      <a:lnTo>
                        <a:pt x="1672463" y="725424"/>
                      </a:lnTo>
                      <a:lnTo>
                        <a:pt x="1672145" y="724154"/>
                      </a:lnTo>
                      <a:lnTo>
                        <a:pt x="1681010" y="719074"/>
                      </a:lnTo>
                      <a:lnTo>
                        <a:pt x="1694954" y="711454"/>
                      </a:lnTo>
                      <a:lnTo>
                        <a:pt x="1697278" y="710184"/>
                      </a:lnTo>
                      <a:lnTo>
                        <a:pt x="1700136" y="708914"/>
                      </a:lnTo>
                      <a:lnTo>
                        <a:pt x="1700542" y="708914"/>
                      </a:lnTo>
                      <a:lnTo>
                        <a:pt x="1701634" y="707644"/>
                      </a:lnTo>
                      <a:lnTo>
                        <a:pt x="1702854" y="707644"/>
                      </a:lnTo>
                      <a:lnTo>
                        <a:pt x="1704682" y="705104"/>
                      </a:lnTo>
                      <a:lnTo>
                        <a:pt x="1705673" y="703834"/>
                      </a:lnTo>
                      <a:lnTo>
                        <a:pt x="1706245" y="701294"/>
                      </a:lnTo>
                      <a:lnTo>
                        <a:pt x="1706803" y="700024"/>
                      </a:lnTo>
                      <a:lnTo>
                        <a:pt x="1706854" y="698754"/>
                      </a:lnTo>
                      <a:lnTo>
                        <a:pt x="1706714" y="694944"/>
                      </a:lnTo>
                      <a:lnTo>
                        <a:pt x="1707502" y="691134"/>
                      </a:lnTo>
                      <a:lnTo>
                        <a:pt x="1708162" y="689864"/>
                      </a:lnTo>
                      <a:lnTo>
                        <a:pt x="1708416" y="687324"/>
                      </a:lnTo>
                      <a:lnTo>
                        <a:pt x="1707984" y="683514"/>
                      </a:lnTo>
                      <a:lnTo>
                        <a:pt x="1707388" y="677164"/>
                      </a:lnTo>
                      <a:lnTo>
                        <a:pt x="1708658" y="674624"/>
                      </a:lnTo>
                      <a:lnTo>
                        <a:pt x="1708835" y="674624"/>
                      </a:lnTo>
                      <a:lnTo>
                        <a:pt x="1708962" y="673354"/>
                      </a:lnTo>
                      <a:lnTo>
                        <a:pt x="1710969" y="673354"/>
                      </a:lnTo>
                      <a:lnTo>
                        <a:pt x="1712683" y="672084"/>
                      </a:lnTo>
                      <a:lnTo>
                        <a:pt x="1714982" y="672084"/>
                      </a:lnTo>
                      <a:lnTo>
                        <a:pt x="1722983" y="664464"/>
                      </a:lnTo>
                      <a:lnTo>
                        <a:pt x="1723110" y="664464"/>
                      </a:lnTo>
                      <a:lnTo>
                        <a:pt x="1723224" y="663194"/>
                      </a:lnTo>
                      <a:lnTo>
                        <a:pt x="1723453" y="663194"/>
                      </a:lnTo>
                      <a:lnTo>
                        <a:pt x="1724736" y="661924"/>
                      </a:lnTo>
                      <a:lnTo>
                        <a:pt x="1726984" y="660654"/>
                      </a:lnTo>
                      <a:lnTo>
                        <a:pt x="1728597" y="659384"/>
                      </a:lnTo>
                      <a:lnTo>
                        <a:pt x="1735048" y="659384"/>
                      </a:lnTo>
                      <a:lnTo>
                        <a:pt x="1736801" y="660654"/>
                      </a:lnTo>
                      <a:lnTo>
                        <a:pt x="1742935" y="661924"/>
                      </a:lnTo>
                      <a:lnTo>
                        <a:pt x="1747139" y="660654"/>
                      </a:lnTo>
                      <a:lnTo>
                        <a:pt x="1747443" y="660654"/>
                      </a:lnTo>
                      <a:lnTo>
                        <a:pt x="1747926" y="661924"/>
                      </a:lnTo>
                      <a:lnTo>
                        <a:pt x="1748256" y="663194"/>
                      </a:lnTo>
                      <a:lnTo>
                        <a:pt x="1749005" y="664464"/>
                      </a:lnTo>
                      <a:lnTo>
                        <a:pt x="1749475" y="665734"/>
                      </a:lnTo>
                      <a:lnTo>
                        <a:pt x="1751622" y="665734"/>
                      </a:lnTo>
                      <a:lnTo>
                        <a:pt x="1754124" y="664464"/>
                      </a:lnTo>
                      <a:lnTo>
                        <a:pt x="1756283" y="663194"/>
                      </a:lnTo>
                      <a:lnTo>
                        <a:pt x="1757337" y="665734"/>
                      </a:lnTo>
                      <a:lnTo>
                        <a:pt x="1757159" y="665734"/>
                      </a:lnTo>
                      <a:lnTo>
                        <a:pt x="1756892" y="667004"/>
                      </a:lnTo>
                      <a:lnTo>
                        <a:pt x="1756829" y="668274"/>
                      </a:lnTo>
                      <a:lnTo>
                        <a:pt x="1757591" y="669544"/>
                      </a:lnTo>
                      <a:lnTo>
                        <a:pt x="1759597" y="669544"/>
                      </a:lnTo>
                      <a:lnTo>
                        <a:pt x="1759521" y="670814"/>
                      </a:lnTo>
                      <a:lnTo>
                        <a:pt x="1759267" y="672084"/>
                      </a:lnTo>
                      <a:lnTo>
                        <a:pt x="1760131" y="673354"/>
                      </a:lnTo>
                      <a:lnTo>
                        <a:pt x="1760562" y="673354"/>
                      </a:lnTo>
                      <a:lnTo>
                        <a:pt x="1761337" y="674624"/>
                      </a:lnTo>
                      <a:lnTo>
                        <a:pt x="1762112" y="674624"/>
                      </a:lnTo>
                      <a:lnTo>
                        <a:pt x="1763128" y="673354"/>
                      </a:lnTo>
                      <a:lnTo>
                        <a:pt x="1762201" y="674624"/>
                      </a:lnTo>
                      <a:lnTo>
                        <a:pt x="1762556" y="674624"/>
                      </a:lnTo>
                      <a:lnTo>
                        <a:pt x="1763026" y="675894"/>
                      </a:lnTo>
                      <a:lnTo>
                        <a:pt x="1763661" y="679704"/>
                      </a:lnTo>
                      <a:lnTo>
                        <a:pt x="1764258" y="682244"/>
                      </a:lnTo>
                      <a:lnTo>
                        <a:pt x="1768182" y="682244"/>
                      </a:lnTo>
                      <a:lnTo>
                        <a:pt x="1768716" y="683514"/>
                      </a:lnTo>
                      <a:lnTo>
                        <a:pt x="1769516" y="683514"/>
                      </a:lnTo>
                      <a:lnTo>
                        <a:pt x="1770075" y="684784"/>
                      </a:lnTo>
                      <a:lnTo>
                        <a:pt x="1774837" y="684784"/>
                      </a:lnTo>
                      <a:lnTo>
                        <a:pt x="1774063" y="686054"/>
                      </a:lnTo>
                      <a:lnTo>
                        <a:pt x="1773593" y="686054"/>
                      </a:lnTo>
                      <a:lnTo>
                        <a:pt x="1773466" y="687324"/>
                      </a:lnTo>
                      <a:lnTo>
                        <a:pt x="1773440" y="689864"/>
                      </a:lnTo>
                      <a:lnTo>
                        <a:pt x="1773872" y="691134"/>
                      </a:lnTo>
                      <a:lnTo>
                        <a:pt x="1774469" y="691134"/>
                      </a:lnTo>
                      <a:lnTo>
                        <a:pt x="1775726" y="693674"/>
                      </a:lnTo>
                      <a:lnTo>
                        <a:pt x="1775637" y="694944"/>
                      </a:lnTo>
                      <a:lnTo>
                        <a:pt x="1772920" y="694944"/>
                      </a:lnTo>
                      <a:lnTo>
                        <a:pt x="1772043" y="696214"/>
                      </a:lnTo>
                      <a:lnTo>
                        <a:pt x="1771764" y="696214"/>
                      </a:lnTo>
                      <a:lnTo>
                        <a:pt x="1770316" y="697484"/>
                      </a:lnTo>
                      <a:lnTo>
                        <a:pt x="1769884" y="698754"/>
                      </a:lnTo>
                      <a:lnTo>
                        <a:pt x="1769516" y="701294"/>
                      </a:lnTo>
                      <a:lnTo>
                        <a:pt x="1769262" y="702564"/>
                      </a:lnTo>
                      <a:lnTo>
                        <a:pt x="1767992" y="702564"/>
                      </a:lnTo>
                      <a:lnTo>
                        <a:pt x="1765274" y="705104"/>
                      </a:lnTo>
                      <a:lnTo>
                        <a:pt x="1765642" y="706374"/>
                      </a:lnTo>
                      <a:lnTo>
                        <a:pt x="1766646" y="707644"/>
                      </a:lnTo>
                      <a:lnTo>
                        <a:pt x="1766976" y="708914"/>
                      </a:lnTo>
                      <a:lnTo>
                        <a:pt x="1766011" y="710184"/>
                      </a:lnTo>
                      <a:lnTo>
                        <a:pt x="1764906" y="712724"/>
                      </a:lnTo>
                      <a:lnTo>
                        <a:pt x="1764715" y="713994"/>
                      </a:lnTo>
                      <a:lnTo>
                        <a:pt x="1764893" y="713994"/>
                      </a:lnTo>
                      <a:lnTo>
                        <a:pt x="1765554" y="715264"/>
                      </a:lnTo>
                      <a:lnTo>
                        <a:pt x="1766049" y="715264"/>
                      </a:lnTo>
                      <a:lnTo>
                        <a:pt x="1769135" y="719074"/>
                      </a:lnTo>
                      <a:lnTo>
                        <a:pt x="1769325" y="719074"/>
                      </a:lnTo>
                      <a:lnTo>
                        <a:pt x="1769935" y="720344"/>
                      </a:lnTo>
                      <a:lnTo>
                        <a:pt x="1772437" y="720344"/>
                      </a:lnTo>
                      <a:lnTo>
                        <a:pt x="1772513" y="721614"/>
                      </a:lnTo>
                      <a:lnTo>
                        <a:pt x="1772767" y="722884"/>
                      </a:lnTo>
                      <a:lnTo>
                        <a:pt x="1772920" y="724154"/>
                      </a:lnTo>
                      <a:lnTo>
                        <a:pt x="1773567" y="727964"/>
                      </a:lnTo>
                      <a:lnTo>
                        <a:pt x="1773910" y="729234"/>
                      </a:lnTo>
                      <a:lnTo>
                        <a:pt x="1774469" y="729234"/>
                      </a:lnTo>
                      <a:lnTo>
                        <a:pt x="1774799" y="730504"/>
                      </a:lnTo>
                      <a:lnTo>
                        <a:pt x="1778558" y="730504"/>
                      </a:lnTo>
                      <a:lnTo>
                        <a:pt x="1780819" y="731774"/>
                      </a:lnTo>
                      <a:lnTo>
                        <a:pt x="1781644" y="731774"/>
                      </a:lnTo>
                      <a:lnTo>
                        <a:pt x="1782292" y="733044"/>
                      </a:lnTo>
                      <a:lnTo>
                        <a:pt x="1788947" y="738124"/>
                      </a:lnTo>
                      <a:lnTo>
                        <a:pt x="1792744" y="738124"/>
                      </a:lnTo>
                      <a:lnTo>
                        <a:pt x="1793113" y="739394"/>
                      </a:lnTo>
                      <a:lnTo>
                        <a:pt x="1794268" y="740664"/>
                      </a:lnTo>
                      <a:lnTo>
                        <a:pt x="1795589" y="741934"/>
                      </a:lnTo>
                      <a:lnTo>
                        <a:pt x="1796275" y="743204"/>
                      </a:lnTo>
                      <a:lnTo>
                        <a:pt x="1797392" y="744474"/>
                      </a:lnTo>
                      <a:lnTo>
                        <a:pt x="1799221" y="747014"/>
                      </a:lnTo>
                      <a:lnTo>
                        <a:pt x="1799590" y="748284"/>
                      </a:lnTo>
                      <a:lnTo>
                        <a:pt x="1799653" y="749554"/>
                      </a:lnTo>
                      <a:lnTo>
                        <a:pt x="1799336" y="749554"/>
                      </a:lnTo>
                      <a:lnTo>
                        <a:pt x="1799094" y="750824"/>
                      </a:lnTo>
                      <a:lnTo>
                        <a:pt x="1798167" y="752094"/>
                      </a:lnTo>
                      <a:lnTo>
                        <a:pt x="1797913" y="753364"/>
                      </a:lnTo>
                      <a:lnTo>
                        <a:pt x="1797697" y="754634"/>
                      </a:lnTo>
                      <a:lnTo>
                        <a:pt x="1797443" y="758444"/>
                      </a:lnTo>
                      <a:lnTo>
                        <a:pt x="1797329" y="762254"/>
                      </a:lnTo>
                      <a:lnTo>
                        <a:pt x="1802371" y="762254"/>
                      </a:lnTo>
                      <a:lnTo>
                        <a:pt x="1802447" y="764794"/>
                      </a:lnTo>
                      <a:lnTo>
                        <a:pt x="1802320" y="766064"/>
                      </a:lnTo>
                      <a:lnTo>
                        <a:pt x="1802231" y="768604"/>
                      </a:lnTo>
                      <a:lnTo>
                        <a:pt x="1802587" y="769874"/>
                      </a:lnTo>
                      <a:lnTo>
                        <a:pt x="1803095" y="769874"/>
                      </a:lnTo>
                      <a:lnTo>
                        <a:pt x="1804377" y="771144"/>
                      </a:lnTo>
                      <a:lnTo>
                        <a:pt x="1804885" y="771144"/>
                      </a:lnTo>
                      <a:lnTo>
                        <a:pt x="1806067" y="772414"/>
                      </a:lnTo>
                      <a:lnTo>
                        <a:pt x="1806676" y="773684"/>
                      </a:lnTo>
                      <a:lnTo>
                        <a:pt x="1807311" y="773684"/>
                      </a:lnTo>
                      <a:lnTo>
                        <a:pt x="1807565" y="774954"/>
                      </a:lnTo>
                      <a:lnTo>
                        <a:pt x="1808314" y="776224"/>
                      </a:lnTo>
                      <a:lnTo>
                        <a:pt x="1809661" y="777494"/>
                      </a:lnTo>
                      <a:lnTo>
                        <a:pt x="1811782" y="777494"/>
                      </a:lnTo>
                      <a:lnTo>
                        <a:pt x="1812023" y="778764"/>
                      </a:lnTo>
                      <a:lnTo>
                        <a:pt x="1814614" y="777494"/>
                      </a:lnTo>
                      <a:lnTo>
                        <a:pt x="1811007" y="774954"/>
                      </a:lnTo>
                      <a:lnTo>
                        <a:pt x="1809902" y="773684"/>
                      </a:lnTo>
                      <a:lnTo>
                        <a:pt x="1809470" y="773684"/>
                      </a:lnTo>
                      <a:lnTo>
                        <a:pt x="1809216" y="772414"/>
                      </a:lnTo>
                      <a:lnTo>
                        <a:pt x="1809013" y="772414"/>
                      </a:lnTo>
                      <a:lnTo>
                        <a:pt x="1808251" y="771144"/>
                      </a:lnTo>
                      <a:lnTo>
                        <a:pt x="1807578" y="771144"/>
                      </a:lnTo>
                      <a:lnTo>
                        <a:pt x="1806206" y="769874"/>
                      </a:lnTo>
                      <a:lnTo>
                        <a:pt x="1805571" y="769874"/>
                      </a:lnTo>
                      <a:lnTo>
                        <a:pt x="1804517" y="768604"/>
                      </a:lnTo>
                      <a:lnTo>
                        <a:pt x="1804327" y="768604"/>
                      </a:lnTo>
                      <a:lnTo>
                        <a:pt x="1804339" y="767334"/>
                      </a:lnTo>
                      <a:lnTo>
                        <a:pt x="1804708" y="763524"/>
                      </a:lnTo>
                      <a:lnTo>
                        <a:pt x="1804492" y="762254"/>
                      </a:lnTo>
                      <a:lnTo>
                        <a:pt x="1804136" y="760984"/>
                      </a:lnTo>
                      <a:lnTo>
                        <a:pt x="1803946" y="760984"/>
                      </a:lnTo>
                      <a:lnTo>
                        <a:pt x="1803425" y="759714"/>
                      </a:lnTo>
                      <a:lnTo>
                        <a:pt x="1799501" y="759714"/>
                      </a:lnTo>
                      <a:lnTo>
                        <a:pt x="1799590" y="757174"/>
                      </a:lnTo>
                      <a:lnTo>
                        <a:pt x="1799805" y="754634"/>
                      </a:lnTo>
                      <a:lnTo>
                        <a:pt x="1799971" y="753364"/>
                      </a:lnTo>
                      <a:lnTo>
                        <a:pt x="1801050" y="752094"/>
                      </a:lnTo>
                      <a:lnTo>
                        <a:pt x="1801355" y="750824"/>
                      </a:lnTo>
                      <a:lnTo>
                        <a:pt x="1801723" y="749554"/>
                      </a:lnTo>
                      <a:lnTo>
                        <a:pt x="1801799" y="748284"/>
                      </a:lnTo>
                      <a:lnTo>
                        <a:pt x="1801660" y="748284"/>
                      </a:lnTo>
                      <a:lnTo>
                        <a:pt x="1801037" y="747014"/>
                      </a:lnTo>
                      <a:lnTo>
                        <a:pt x="1799094" y="743204"/>
                      </a:lnTo>
                      <a:lnTo>
                        <a:pt x="1797596" y="741934"/>
                      </a:lnTo>
                      <a:lnTo>
                        <a:pt x="1797469" y="741934"/>
                      </a:lnTo>
                      <a:lnTo>
                        <a:pt x="1796757" y="740664"/>
                      </a:lnTo>
                      <a:lnTo>
                        <a:pt x="1795983" y="739394"/>
                      </a:lnTo>
                      <a:lnTo>
                        <a:pt x="1794344" y="736854"/>
                      </a:lnTo>
                      <a:lnTo>
                        <a:pt x="1790179" y="736854"/>
                      </a:lnTo>
                      <a:lnTo>
                        <a:pt x="1782787" y="730504"/>
                      </a:lnTo>
                      <a:lnTo>
                        <a:pt x="1781784" y="730504"/>
                      </a:lnTo>
                      <a:lnTo>
                        <a:pt x="1779155" y="729234"/>
                      </a:lnTo>
                      <a:lnTo>
                        <a:pt x="1776298" y="729234"/>
                      </a:lnTo>
                      <a:lnTo>
                        <a:pt x="1776171" y="727964"/>
                      </a:lnTo>
                      <a:lnTo>
                        <a:pt x="1775891" y="727964"/>
                      </a:lnTo>
                      <a:lnTo>
                        <a:pt x="1775625" y="726694"/>
                      </a:lnTo>
                      <a:lnTo>
                        <a:pt x="1774964" y="722884"/>
                      </a:lnTo>
                      <a:lnTo>
                        <a:pt x="1774837" y="722884"/>
                      </a:lnTo>
                      <a:lnTo>
                        <a:pt x="1774609" y="720344"/>
                      </a:lnTo>
                      <a:lnTo>
                        <a:pt x="1774418" y="720344"/>
                      </a:lnTo>
                      <a:lnTo>
                        <a:pt x="1773720" y="719074"/>
                      </a:lnTo>
                      <a:lnTo>
                        <a:pt x="1771218" y="719074"/>
                      </a:lnTo>
                      <a:lnTo>
                        <a:pt x="1768703" y="715264"/>
                      </a:lnTo>
                      <a:lnTo>
                        <a:pt x="1770380" y="713994"/>
                      </a:lnTo>
                      <a:lnTo>
                        <a:pt x="1766951" y="713994"/>
                      </a:lnTo>
                      <a:lnTo>
                        <a:pt x="1767967" y="711454"/>
                      </a:lnTo>
                      <a:lnTo>
                        <a:pt x="1768919" y="708914"/>
                      </a:lnTo>
                      <a:lnTo>
                        <a:pt x="1769313" y="708914"/>
                      </a:lnTo>
                      <a:lnTo>
                        <a:pt x="1769211" y="707644"/>
                      </a:lnTo>
                      <a:lnTo>
                        <a:pt x="1768716" y="707644"/>
                      </a:lnTo>
                      <a:lnTo>
                        <a:pt x="1768563" y="706374"/>
                      </a:lnTo>
                      <a:lnTo>
                        <a:pt x="1767751" y="705104"/>
                      </a:lnTo>
                      <a:lnTo>
                        <a:pt x="1770761" y="705104"/>
                      </a:lnTo>
                      <a:lnTo>
                        <a:pt x="1771103" y="703834"/>
                      </a:lnTo>
                      <a:lnTo>
                        <a:pt x="1771307" y="703834"/>
                      </a:lnTo>
                      <a:lnTo>
                        <a:pt x="1771446" y="702564"/>
                      </a:lnTo>
                      <a:lnTo>
                        <a:pt x="1771929" y="700024"/>
                      </a:lnTo>
                      <a:lnTo>
                        <a:pt x="1772234" y="698754"/>
                      </a:lnTo>
                      <a:lnTo>
                        <a:pt x="1773351" y="697484"/>
                      </a:lnTo>
                      <a:lnTo>
                        <a:pt x="1773897" y="697484"/>
                      </a:lnTo>
                      <a:lnTo>
                        <a:pt x="1776399" y="696214"/>
                      </a:lnTo>
                      <a:lnTo>
                        <a:pt x="1777644" y="696214"/>
                      </a:lnTo>
                      <a:lnTo>
                        <a:pt x="1777644" y="694944"/>
                      </a:lnTo>
                      <a:lnTo>
                        <a:pt x="1777885" y="693674"/>
                      </a:lnTo>
                      <a:lnTo>
                        <a:pt x="1777809" y="692404"/>
                      </a:lnTo>
                      <a:lnTo>
                        <a:pt x="1775866" y="689864"/>
                      </a:lnTo>
                      <a:lnTo>
                        <a:pt x="1775523" y="688594"/>
                      </a:lnTo>
                      <a:lnTo>
                        <a:pt x="1775536" y="687324"/>
                      </a:lnTo>
                      <a:lnTo>
                        <a:pt x="1775663" y="687324"/>
                      </a:lnTo>
                      <a:lnTo>
                        <a:pt x="1776285" y="686054"/>
                      </a:lnTo>
                      <a:lnTo>
                        <a:pt x="1779206" y="684784"/>
                      </a:lnTo>
                      <a:lnTo>
                        <a:pt x="1782051" y="683514"/>
                      </a:lnTo>
                      <a:lnTo>
                        <a:pt x="1777885" y="682244"/>
                      </a:lnTo>
                      <a:lnTo>
                        <a:pt x="1770773" y="682244"/>
                      </a:lnTo>
                      <a:lnTo>
                        <a:pt x="1769643" y="680974"/>
                      </a:lnTo>
                      <a:lnTo>
                        <a:pt x="1768614" y="679704"/>
                      </a:lnTo>
                      <a:lnTo>
                        <a:pt x="1765769" y="679704"/>
                      </a:lnTo>
                      <a:lnTo>
                        <a:pt x="1765071" y="675894"/>
                      </a:lnTo>
                      <a:lnTo>
                        <a:pt x="1764461" y="674624"/>
                      </a:lnTo>
                      <a:lnTo>
                        <a:pt x="1764157" y="673354"/>
                      </a:lnTo>
                      <a:lnTo>
                        <a:pt x="1763877" y="673354"/>
                      </a:lnTo>
                      <a:lnTo>
                        <a:pt x="1762937" y="672084"/>
                      </a:lnTo>
                      <a:lnTo>
                        <a:pt x="1761502" y="672084"/>
                      </a:lnTo>
                      <a:lnTo>
                        <a:pt x="1761680" y="670814"/>
                      </a:lnTo>
                      <a:lnTo>
                        <a:pt x="1761782" y="668274"/>
                      </a:lnTo>
                      <a:lnTo>
                        <a:pt x="1760385" y="668274"/>
                      </a:lnTo>
                      <a:lnTo>
                        <a:pt x="1759508" y="667004"/>
                      </a:lnTo>
                      <a:lnTo>
                        <a:pt x="1759191" y="667004"/>
                      </a:lnTo>
                      <a:lnTo>
                        <a:pt x="1759381" y="665734"/>
                      </a:lnTo>
                      <a:lnTo>
                        <a:pt x="1759407" y="664464"/>
                      </a:lnTo>
                      <a:lnTo>
                        <a:pt x="1758416" y="663194"/>
                      </a:lnTo>
                      <a:lnTo>
                        <a:pt x="1757883" y="661924"/>
                      </a:lnTo>
                      <a:lnTo>
                        <a:pt x="1758365" y="659384"/>
                      </a:lnTo>
                      <a:lnTo>
                        <a:pt x="1758073" y="659384"/>
                      </a:lnTo>
                      <a:lnTo>
                        <a:pt x="1757680" y="658114"/>
                      </a:lnTo>
                      <a:lnTo>
                        <a:pt x="1756829" y="658114"/>
                      </a:lnTo>
                      <a:lnTo>
                        <a:pt x="1756029" y="656844"/>
                      </a:lnTo>
                      <a:lnTo>
                        <a:pt x="1755025" y="655574"/>
                      </a:lnTo>
                      <a:lnTo>
                        <a:pt x="1755317" y="654304"/>
                      </a:lnTo>
                      <a:lnTo>
                        <a:pt x="1755406" y="651764"/>
                      </a:lnTo>
                      <a:lnTo>
                        <a:pt x="1754809" y="651764"/>
                      </a:lnTo>
                      <a:lnTo>
                        <a:pt x="1754492" y="650494"/>
                      </a:lnTo>
                      <a:lnTo>
                        <a:pt x="1752371" y="650494"/>
                      </a:lnTo>
                      <a:lnTo>
                        <a:pt x="1752244" y="649224"/>
                      </a:lnTo>
                      <a:lnTo>
                        <a:pt x="1750136" y="649224"/>
                      </a:lnTo>
                      <a:lnTo>
                        <a:pt x="1750225" y="647954"/>
                      </a:lnTo>
                      <a:lnTo>
                        <a:pt x="1750682" y="647954"/>
                      </a:lnTo>
                      <a:lnTo>
                        <a:pt x="1751939" y="645414"/>
                      </a:lnTo>
                      <a:lnTo>
                        <a:pt x="1752968" y="644144"/>
                      </a:lnTo>
                      <a:lnTo>
                        <a:pt x="1753908" y="642874"/>
                      </a:lnTo>
                      <a:lnTo>
                        <a:pt x="1752841" y="640334"/>
                      </a:lnTo>
                      <a:lnTo>
                        <a:pt x="1751533" y="640334"/>
                      </a:lnTo>
                      <a:lnTo>
                        <a:pt x="1751571" y="633984"/>
                      </a:lnTo>
                      <a:lnTo>
                        <a:pt x="1750364" y="632714"/>
                      </a:lnTo>
                      <a:lnTo>
                        <a:pt x="1749564" y="632714"/>
                      </a:lnTo>
                      <a:lnTo>
                        <a:pt x="1749005" y="631444"/>
                      </a:lnTo>
                      <a:lnTo>
                        <a:pt x="1748282" y="628904"/>
                      </a:lnTo>
                      <a:lnTo>
                        <a:pt x="1748066" y="628904"/>
                      </a:lnTo>
                      <a:lnTo>
                        <a:pt x="1747405" y="626364"/>
                      </a:lnTo>
                      <a:lnTo>
                        <a:pt x="1750402" y="625094"/>
                      </a:lnTo>
                      <a:lnTo>
                        <a:pt x="1752244" y="625094"/>
                      </a:lnTo>
                      <a:lnTo>
                        <a:pt x="1753438" y="623824"/>
                      </a:lnTo>
                      <a:lnTo>
                        <a:pt x="1753260" y="620014"/>
                      </a:lnTo>
                      <a:lnTo>
                        <a:pt x="1754263" y="620014"/>
                      </a:lnTo>
                      <a:lnTo>
                        <a:pt x="1756105" y="621284"/>
                      </a:lnTo>
                      <a:lnTo>
                        <a:pt x="1756410" y="621284"/>
                      </a:lnTo>
                      <a:lnTo>
                        <a:pt x="1756765" y="622554"/>
                      </a:lnTo>
                      <a:lnTo>
                        <a:pt x="1757464" y="623824"/>
                      </a:lnTo>
                      <a:lnTo>
                        <a:pt x="1758911" y="625094"/>
                      </a:lnTo>
                      <a:lnTo>
                        <a:pt x="1762048" y="628904"/>
                      </a:lnTo>
                      <a:lnTo>
                        <a:pt x="1764499" y="631444"/>
                      </a:lnTo>
                      <a:lnTo>
                        <a:pt x="1765833" y="632714"/>
                      </a:lnTo>
                      <a:lnTo>
                        <a:pt x="1770151" y="633984"/>
                      </a:lnTo>
                      <a:lnTo>
                        <a:pt x="1772970" y="633984"/>
                      </a:lnTo>
                      <a:lnTo>
                        <a:pt x="1774583" y="635254"/>
                      </a:lnTo>
                      <a:lnTo>
                        <a:pt x="1778076" y="635254"/>
                      </a:lnTo>
                      <a:lnTo>
                        <a:pt x="1779714" y="633984"/>
                      </a:lnTo>
                      <a:lnTo>
                        <a:pt x="1781136" y="633984"/>
                      </a:lnTo>
                      <a:lnTo>
                        <a:pt x="1781327" y="635254"/>
                      </a:lnTo>
                      <a:lnTo>
                        <a:pt x="1781505" y="636524"/>
                      </a:lnTo>
                      <a:lnTo>
                        <a:pt x="1782584" y="633984"/>
                      </a:lnTo>
                      <a:lnTo>
                        <a:pt x="1783410" y="633984"/>
                      </a:lnTo>
                      <a:lnTo>
                        <a:pt x="1784388" y="632714"/>
                      </a:lnTo>
                      <a:lnTo>
                        <a:pt x="1785366" y="631444"/>
                      </a:lnTo>
                      <a:lnTo>
                        <a:pt x="1786039" y="631444"/>
                      </a:lnTo>
                      <a:lnTo>
                        <a:pt x="1786458" y="630174"/>
                      </a:lnTo>
                      <a:lnTo>
                        <a:pt x="1787791" y="628904"/>
                      </a:lnTo>
                      <a:lnTo>
                        <a:pt x="1788769" y="628904"/>
                      </a:lnTo>
                      <a:lnTo>
                        <a:pt x="1791081" y="627634"/>
                      </a:lnTo>
                      <a:lnTo>
                        <a:pt x="1796554" y="623824"/>
                      </a:lnTo>
                      <a:lnTo>
                        <a:pt x="1798701" y="622554"/>
                      </a:lnTo>
                      <a:lnTo>
                        <a:pt x="1801241" y="620014"/>
                      </a:lnTo>
                      <a:lnTo>
                        <a:pt x="1802549" y="620014"/>
                      </a:lnTo>
                      <a:lnTo>
                        <a:pt x="1803107" y="621284"/>
                      </a:lnTo>
                      <a:lnTo>
                        <a:pt x="1804543" y="622554"/>
                      </a:lnTo>
                      <a:lnTo>
                        <a:pt x="1805863" y="625094"/>
                      </a:lnTo>
                      <a:lnTo>
                        <a:pt x="1805355" y="626364"/>
                      </a:lnTo>
                      <a:lnTo>
                        <a:pt x="1804682" y="626364"/>
                      </a:lnTo>
                      <a:lnTo>
                        <a:pt x="1803844" y="628904"/>
                      </a:lnTo>
                      <a:lnTo>
                        <a:pt x="1804809" y="628904"/>
                      </a:lnTo>
                      <a:lnTo>
                        <a:pt x="1805698" y="630174"/>
                      </a:lnTo>
                      <a:lnTo>
                        <a:pt x="1801139" y="632714"/>
                      </a:lnTo>
                      <a:lnTo>
                        <a:pt x="1805305" y="636524"/>
                      </a:lnTo>
                      <a:lnTo>
                        <a:pt x="1806854" y="637794"/>
                      </a:lnTo>
                      <a:lnTo>
                        <a:pt x="1807387" y="639064"/>
                      </a:lnTo>
                      <a:lnTo>
                        <a:pt x="1809178" y="639064"/>
                      </a:lnTo>
                      <a:lnTo>
                        <a:pt x="1810207" y="641604"/>
                      </a:lnTo>
                      <a:lnTo>
                        <a:pt x="1816049" y="641604"/>
                      </a:lnTo>
                      <a:close/>
                    </a:path>
                    <a:path w="3135629" h="2095500">
                      <a:moveTo>
                        <a:pt x="1922119" y="844296"/>
                      </a:moveTo>
                      <a:lnTo>
                        <a:pt x="1920976" y="842505"/>
                      </a:lnTo>
                      <a:lnTo>
                        <a:pt x="1920621" y="842797"/>
                      </a:lnTo>
                      <a:lnTo>
                        <a:pt x="1920125" y="842416"/>
                      </a:lnTo>
                      <a:lnTo>
                        <a:pt x="1919833" y="838390"/>
                      </a:lnTo>
                      <a:lnTo>
                        <a:pt x="1919782" y="836612"/>
                      </a:lnTo>
                      <a:lnTo>
                        <a:pt x="1919744" y="836383"/>
                      </a:lnTo>
                      <a:lnTo>
                        <a:pt x="1917649" y="836726"/>
                      </a:lnTo>
                      <a:lnTo>
                        <a:pt x="1917674" y="836904"/>
                      </a:lnTo>
                      <a:lnTo>
                        <a:pt x="1917725" y="838530"/>
                      </a:lnTo>
                      <a:lnTo>
                        <a:pt x="1917763" y="839076"/>
                      </a:lnTo>
                      <a:lnTo>
                        <a:pt x="1918093" y="843762"/>
                      </a:lnTo>
                      <a:lnTo>
                        <a:pt x="1919757" y="844753"/>
                      </a:lnTo>
                      <a:lnTo>
                        <a:pt x="1920074" y="844880"/>
                      </a:lnTo>
                      <a:lnTo>
                        <a:pt x="1920811" y="844880"/>
                      </a:lnTo>
                      <a:lnTo>
                        <a:pt x="1921205" y="844804"/>
                      </a:lnTo>
                      <a:lnTo>
                        <a:pt x="1921662" y="844588"/>
                      </a:lnTo>
                      <a:lnTo>
                        <a:pt x="1922119" y="844296"/>
                      </a:lnTo>
                      <a:close/>
                    </a:path>
                    <a:path w="3135629" h="2095500">
                      <a:moveTo>
                        <a:pt x="1924380" y="852589"/>
                      </a:moveTo>
                      <a:lnTo>
                        <a:pt x="1922754" y="852589"/>
                      </a:lnTo>
                      <a:lnTo>
                        <a:pt x="1922780" y="853859"/>
                      </a:lnTo>
                      <a:lnTo>
                        <a:pt x="1921471" y="853859"/>
                      </a:lnTo>
                      <a:lnTo>
                        <a:pt x="1921065" y="855129"/>
                      </a:lnTo>
                      <a:lnTo>
                        <a:pt x="1919782" y="855129"/>
                      </a:lnTo>
                      <a:lnTo>
                        <a:pt x="1918500" y="856399"/>
                      </a:lnTo>
                      <a:lnTo>
                        <a:pt x="1914740" y="856399"/>
                      </a:lnTo>
                      <a:lnTo>
                        <a:pt x="1913547" y="860209"/>
                      </a:lnTo>
                      <a:lnTo>
                        <a:pt x="1913140" y="862749"/>
                      </a:lnTo>
                      <a:lnTo>
                        <a:pt x="1913166" y="866559"/>
                      </a:lnTo>
                      <a:lnTo>
                        <a:pt x="1915198" y="867829"/>
                      </a:lnTo>
                      <a:lnTo>
                        <a:pt x="1912480" y="867829"/>
                      </a:lnTo>
                      <a:lnTo>
                        <a:pt x="1912620" y="869099"/>
                      </a:lnTo>
                      <a:lnTo>
                        <a:pt x="1912162" y="867829"/>
                      </a:lnTo>
                      <a:lnTo>
                        <a:pt x="1911616" y="867829"/>
                      </a:lnTo>
                      <a:lnTo>
                        <a:pt x="1909038" y="869099"/>
                      </a:lnTo>
                      <a:lnTo>
                        <a:pt x="1908429" y="870369"/>
                      </a:lnTo>
                      <a:lnTo>
                        <a:pt x="1908022" y="872909"/>
                      </a:lnTo>
                      <a:lnTo>
                        <a:pt x="1907844" y="874179"/>
                      </a:lnTo>
                      <a:lnTo>
                        <a:pt x="1905685" y="884339"/>
                      </a:lnTo>
                      <a:lnTo>
                        <a:pt x="1905228" y="886879"/>
                      </a:lnTo>
                      <a:lnTo>
                        <a:pt x="1905038" y="888149"/>
                      </a:lnTo>
                      <a:lnTo>
                        <a:pt x="1904847" y="888149"/>
                      </a:lnTo>
                      <a:lnTo>
                        <a:pt x="1868932" y="884339"/>
                      </a:lnTo>
                      <a:lnTo>
                        <a:pt x="1866671" y="881799"/>
                      </a:lnTo>
                      <a:lnTo>
                        <a:pt x="1861616" y="875449"/>
                      </a:lnTo>
                      <a:lnTo>
                        <a:pt x="1860067" y="872909"/>
                      </a:lnTo>
                      <a:lnTo>
                        <a:pt x="1859724" y="872909"/>
                      </a:lnTo>
                      <a:lnTo>
                        <a:pt x="1855508" y="867829"/>
                      </a:lnTo>
                      <a:lnTo>
                        <a:pt x="1855254" y="866559"/>
                      </a:lnTo>
                      <a:lnTo>
                        <a:pt x="1854669" y="864019"/>
                      </a:lnTo>
                      <a:lnTo>
                        <a:pt x="1852637" y="865289"/>
                      </a:lnTo>
                      <a:lnTo>
                        <a:pt x="1853184" y="866559"/>
                      </a:lnTo>
                      <a:lnTo>
                        <a:pt x="1853514" y="869099"/>
                      </a:lnTo>
                      <a:lnTo>
                        <a:pt x="1858454" y="874179"/>
                      </a:lnTo>
                      <a:lnTo>
                        <a:pt x="1859965" y="876719"/>
                      </a:lnTo>
                      <a:lnTo>
                        <a:pt x="1865033" y="883069"/>
                      </a:lnTo>
                      <a:lnTo>
                        <a:pt x="1867471" y="885609"/>
                      </a:lnTo>
                      <a:lnTo>
                        <a:pt x="1868119" y="885609"/>
                      </a:lnTo>
                      <a:lnTo>
                        <a:pt x="1904657" y="889419"/>
                      </a:lnTo>
                      <a:lnTo>
                        <a:pt x="1905431" y="889419"/>
                      </a:lnTo>
                      <a:lnTo>
                        <a:pt x="1906193" y="891959"/>
                      </a:lnTo>
                      <a:lnTo>
                        <a:pt x="1907705" y="894499"/>
                      </a:lnTo>
                      <a:lnTo>
                        <a:pt x="1908175" y="894499"/>
                      </a:lnTo>
                      <a:lnTo>
                        <a:pt x="1909165" y="897039"/>
                      </a:lnTo>
                      <a:lnTo>
                        <a:pt x="1909521" y="898309"/>
                      </a:lnTo>
                      <a:lnTo>
                        <a:pt x="1909648" y="898309"/>
                      </a:lnTo>
                      <a:lnTo>
                        <a:pt x="1909914" y="899579"/>
                      </a:lnTo>
                      <a:lnTo>
                        <a:pt x="1910041" y="899579"/>
                      </a:lnTo>
                      <a:lnTo>
                        <a:pt x="1910054" y="902119"/>
                      </a:lnTo>
                      <a:lnTo>
                        <a:pt x="1909902" y="903389"/>
                      </a:lnTo>
                      <a:lnTo>
                        <a:pt x="1909610" y="904659"/>
                      </a:lnTo>
                      <a:lnTo>
                        <a:pt x="1909127" y="907199"/>
                      </a:lnTo>
                      <a:lnTo>
                        <a:pt x="1904796" y="919899"/>
                      </a:lnTo>
                      <a:lnTo>
                        <a:pt x="1904619" y="921169"/>
                      </a:lnTo>
                      <a:lnTo>
                        <a:pt x="1903704" y="923709"/>
                      </a:lnTo>
                      <a:lnTo>
                        <a:pt x="1902815" y="927519"/>
                      </a:lnTo>
                      <a:lnTo>
                        <a:pt x="1902548" y="927519"/>
                      </a:lnTo>
                      <a:lnTo>
                        <a:pt x="1902320" y="928789"/>
                      </a:lnTo>
                      <a:lnTo>
                        <a:pt x="1902587" y="930059"/>
                      </a:lnTo>
                      <a:lnTo>
                        <a:pt x="1901850" y="928789"/>
                      </a:lnTo>
                      <a:lnTo>
                        <a:pt x="1885124" y="933869"/>
                      </a:lnTo>
                      <a:lnTo>
                        <a:pt x="1863344" y="941489"/>
                      </a:lnTo>
                      <a:lnTo>
                        <a:pt x="1861324" y="942759"/>
                      </a:lnTo>
                      <a:lnTo>
                        <a:pt x="1856613" y="944029"/>
                      </a:lnTo>
                      <a:lnTo>
                        <a:pt x="1854377" y="944029"/>
                      </a:lnTo>
                      <a:lnTo>
                        <a:pt x="1845805" y="945299"/>
                      </a:lnTo>
                      <a:lnTo>
                        <a:pt x="1839353" y="946569"/>
                      </a:lnTo>
                      <a:lnTo>
                        <a:pt x="1833956" y="946569"/>
                      </a:lnTo>
                      <a:lnTo>
                        <a:pt x="1820125" y="947839"/>
                      </a:lnTo>
                      <a:lnTo>
                        <a:pt x="1814423" y="950379"/>
                      </a:lnTo>
                      <a:lnTo>
                        <a:pt x="1806968" y="954189"/>
                      </a:lnTo>
                      <a:lnTo>
                        <a:pt x="1805266" y="955459"/>
                      </a:lnTo>
                      <a:lnTo>
                        <a:pt x="1804593" y="955459"/>
                      </a:lnTo>
                      <a:lnTo>
                        <a:pt x="1794395" y="970699"/>
                      </a:lnTo>
                      <a:lnTo>
                        <a:pt x="1793354" y="971969"/>
                      </a:lnTo>
                      <a:lnTo>
                        <a:pt x="1791716" y="971969"/>
                      </a:lnTo>
                      <a:lnTo>
                        <a:pt x="1789582" y="973239"/>
                      </a:lnTo>
                      <a:lnTo>
                        <a:pt x="1788553" y="973239"/>
                      </a:lnTo>
                      <a:lnTo>
                        <a:pt x="1788160" y="971969"/>
                      </a:lnTo>
                      <a:lnTo>
                        <a:pt x="1787740" y="971969"/>
                      </a:lnTo>
                      <a:lnTo>
                        <a:pt x="1786966" y="970699"/>
                      </a:lnTo>
                      <a:lnTo>
                        <a:pt x="1785975" y="968159"/>
                      </a:lnTo>
                      <a:lnTo>
                        <a:pt x="1780755" y="968159"/>
                      </a:lnTo>
                      <a:lnTo>
                        <a:pt x="1764741" y="965619"/>
                      </a:lnTo>
                      <a:lnTo>
                        <a:pt x="1759369" y="966889"/>
                      </a:lnTo>
                      <a:lnTo>
                        <a:pt x="1750936" y="966889"/>
                      </a:lnTo>
                      <a:lnTo>
                        <a:pt x="1749501" y="968159"/>
                      </a:lnTo>
                      <a:lnTo>
                        <a:pt x="1743646" y="968159"/>
                      </a:lnTo>
                      <a:lnTo>
                        <a:pt x="1742821" y="966889"/>
                      </a:lnTo>
                      <a:lnTo>
                        <a:pt x="1741678" y="966889"/>
                      </a:lnTo>
                      <a:lnTo>
                        <a:pt x="1741170" y="965619"/>
                      </a:lnTo>
                      <a:lnTo>
                        <a:pt x="1734426" y="965619"/>
                      </a:lnTo>
                      <a:lnTo>
                        <a:pt x="1732864" y="970699"/>
                      </a:lnTo>
                      <a:lnTo>
                        <a:pt x="1732330" y="971969"/>
                      </a:lnTo>
                      <a:lnTo>
                        <a:pt x="1732127" y="971969"/>
                      </a:lnTo>
                      <a:lnTo>
                        <a:pt x="1732013" y="973239"/>
                      </a:lnTo>
                      <a:lnTo>
                        <a:pt x="1731949" y="974509"/>
                      </a:lnTo>
                      <a:lnTo>
                        <a:pt x="1732000" y="975779"/>
                      </a:lnTo>
                      <a:lnTo>
                        <a:pt x="1732559" y="977049"/>
                      </a:lnTo>
                      <a:lnTo>
                        <a:pt x="1732876" y="978319"/>
                      </a:lnTo>
                      <a:lnTo>
                        <a:pt x="1732699" y="978319"/>
                      </a:lnTo>
                      <a:lnTo>
                        <a:pt x="1729638" y="979589"/>
                      </a:lnTo>
                      <a:lnTo>
                        <a:pt x="1728431" y="980859"/>
                      </a:lnTo>
                      <a:lnTo>
                        <a:pt x="1727974" y="982129"/>
                      </a:lnTo>
                      <a:lnTo>
                        <a:pt x="1727073" y="982129"/>
                      </a:lnTo>
                      <a:lnTo>
                        <a:pt x="1728622" y="983399"/>
                      </a:lnTo>
                      <a:lnTo>
                        <a:pt x="1729613" y="983399"/>
                      </a:lnTo>
                      <a:lnTo>
                        <a:pt x="1730095" y="982129"/>
                      </a:lnTo>
                      <a:lnTo>
                        <a:pt x="1733892" y="979589"/>
                      </a:lnTo>
                      <a:lnTo>
                        <a:pt x="1735264" y="979589"/>
                      </a:lnTo>
                      <a:lnTo>
                        <a:pt x="1734654" y="975779"/>
                      </a:lnTo>
                      <a:lnTo>
                        <a:pt x="1734096" y="974509"/>
                      </a:lnTo>
                      <a:lnTo>
                        <a:pt x="1734185" y="973239"/>
                      </a:lnTo>
                      <a:lnTo>
                        <a:pt x="1734312" y="971969"/>
                      </a:lnTo>
                      <a:lnTo>
                        <a:pt x="1734820" y="970699"/>
                      </a:lnTo>
                      <a:lnTo>
                        <a:pt x="1736140" y="968159"/>
                      </a:lnTo>
                      <a:lnTo>
                        <a:pt x="1737144" y="968159"/>
                      </a:lnTo>
                      <a:lnTo>
                        <a:pt x="1738249" y="966889"/>
                      </a:lnTo>
                      <a:lnTo>
                        <a:pt x="1739315" y="966889"/>
                      </a:lnTo>
                      <a:lnTo>
                        <a:pt x="1739900" y="968159"/>
                      </a:lnTo>
                      <a:lnTo>
                        <a:pt x="1740928" y="968159"/>
                      </a:lnTo>
                      <a:lnTo>
                        <a:pt x="1741855" y="969429"/>
                      </a:lnTo>
                      <a:lnTo>
                        <a:pt x="1743798" y="969429"/>
                      </a:lnTo>
                      <a:lnTo>
                        <a:pt x="1744421" y="970699"/>
                      </a:lnTo>
                      <a:lnTo>
                        <a:pt x="1746859" y="970699"/>
                      </a:lnTo>
                      <a:lnTo>
                        <a:pt x="1749818" y="969429"/>
                      </a:lnTo>
                      <a:lnTo>
                        <a:pt x="1751215" y="969429"/>
                      </a:lnTo>
                      <a:lnTo>
                        <a:pt x="1757273" y="968159"/>
                      </a:lnTo>
                      <a:lnTo>
                        <a:pt x="1764677" y="968159"/>
                      </a:lnTo>
                      <a:lnTo>
                        <a:pt x="1780540" y="970699"/>
                      </a:lnTo>
                      <a:lnTo>
                        <a:pt x="1784667" y="970699"/>
                      </a:lnTo>
                      <a:lnTo>
                        <a:pt x="1786445" y="973239"/>
                      </a:lnTo>
                      <a:lnTo>
                        <a:pt x="1787245" y="974509"/>
                      </a:lnTo>
                      <a:lnTo>
                        <a:pt x="1788121" y="974509"/>
                      </a:lnTo>
                      <a:lnTo>
                        <a:pt x="1789379" y="975779"/>
                      </a:lnTo>
                      <a:lnTo>
                        <a:pt x="1792300" y="974509"/>
                      </a:lnTo>
                      <a:lnTo>
                        <a:pt x="1793227" y="974509"/>
                      </a:lnTo>
                      <a:lnTo>
                        <a:pt x="1794675" y="973239"/>
                      </a:lnTo>
                      <a:lnTo>
                        <a:pt x="1795970" y="971969"/>
                      </a:lnTo>
                      <a:lnTo>
                        <a:pt x="1806168" y="957999"/>
                      </a:lnTo>
                      <a:lnTo>
                        <a:pt x="1806575" y="956729"/>
                      </a:lnTo>
                      <a:lnTo>
                        <a:pt x="1808111" y="955459"/>
                      </a:lnTo>
                      <a:lnTo>
                        <a:pt x="1815325" y="952919"/>
                      </a:lnTo>
                      <a:lnTo>
                        <a:pt x="1820697" y="950379"/>
                      </a:lnTo>
                      <a:lnTo>
                        <a:pt x="1834159" y="949109"/>
                      </a:lnTo>
                      <a:lnTo>
                        <a:pt x="1839633" y="949109"/>
                      </a:lnTo>
                      <a:lnTo>
                        <a:pt x="1846122" y="947839"/>
                      </a:lnTo>
                      <a:lnTo>
                        <a:pt x="1854619" y="946569"/>
                      </a:lnTo>
                      <a:lnTo>
                        <a:pt x="1856701" y="945299"/>
                      </a:lnTo>
                      <a:lnTo>
                        <a:pt x="1859330" y="945299"/>
                      </a:lnTo>
                      <a:lnTo>
                        <a:pt x="1875167" y="979589"/>
                      </a:lnTo>
                      <a:lnTo>
                        <a:pt x="1877098" y="979589"/>
                      </a:lnTo>
                      <a:lnTo>
                        <a:pt x="1861972" y="945299"/>
                      </a:lnTo>
                      <a:lnTo>
                        <a:pt x="1861413" y="944029"/>
                      </a:lnTo>
                      <a:lnTo>
                        <a:pt x="1863966" y="944029"/>
                      </a:lnTo>
                      <a:lnTo>
                        <a:pt x="1903615" y="930059"/>
                      </a:lnTo>
                      <a:lnTo>
                        <a:pt x="1904060" y="930059"/>
                      </a:lnTo>
                      <a:lnTo>
                        <a:pt x="1904834" y="927519"/>
                      </a:lnTo>
                      <a:lnTo>
                        <a:pt x="1905711" y="923709"/>
                      </a:lnTo>
                      <a:lnTo>
                        <a:pt x="1906041" y="923709"/>
                      </a:lnTo>
                      <a:lnTo>
                        <a:pt x="1906663" y="921169"/>
                      </a:lnTo>
                      <a:lnTo>
                        <a:pt x="1906905" y="919899"/>
                      </a:lnTo>
                      <a:lnTo>
                        <a:pt x="1907565" y="918629"/>
                      </a:lnTo>
                      <a:lnTo>
                        <a:pt x="1911159" y="907199"/>
                      </a:lnTo>
                      <a:lnTo>
                        <a:pt x="1911680" y="905929"/>
                      </a:lnTo>
                      <a:lnTo>
                        <a:pt x="1911997" y="903389"/>
                      </a:lnTo>
                      <a:lnTo>
                        <a:pt x="1912112" y="902119"/>
                      </a:lnTo>
                      <a:lnTo>
                        <a:pt x="1912162" y="899579"/>
                      </a:lnTo>
                      <a:lnTo>
                        <a:pt x="1911997" y="898309"/>
                      </a:lnTo>
                      <a:lnTo>
                        <a:pt x="1911527" y="897039"/>
                      </a:lnTo>
                      <a:lnTo>
                        <a:pt x="1911070" y="895769"/>
                      </a:lnTo>
                      <a:lnTo>
                        <a:pt x="1910092" y="894499"/>
                      </a:lnTo>
                      <a:lnTo>
                        <a:pt x="1909572" y="893229"/>
                      </a:lnTo>
                      <a:lnTo>
                        <a:pt x="1907197" y="889419"/>
                      </a:lnTo>
                      <a:lnTo>
                        <a:pt x="1907032" y="888149"/>
                      </a:lnTo>
                      <a:lnTo>
                        <a:pt x="1907667" y="885609"/>
                      </a:lnTo>
                      <a:lnTo>
                        <a:pt x="1909940" y="875449"/>
                      </a:lnTo>
                      <a:lnTo>
                        <a:pt x="1910219" y="872909"/>
                      </a:lnTo>
                      <a:lnTo>
                        <a:pt x="1910473" y="871639"/>
                      </a:lnTo>
                      <a:lnTo>
                        <a:pt x="1910854" y="870369"/>
                      </a:lnTo>
                      <a:lnTo>
                        <a:pt x="1914893" y="870369"/>
                      </a:lnTo>
                      <a:lnTo>
                        <a:pt x="1916722" y="869099"/>
                      </a:lnTo>
                      <a:lnTo>
                        <a:pt x="1919262" y="869099"/>
                      </a:lnTo>
                      <a:lnTo>
                        <a:pt x="1918119" y="866559"/>
                      </a:lnTo>
                      <a:lnTo>
                        <a:pt x="1917458" y="866559"/>
                      </a:lnTo>
                      <a:lnTo>
                        <a:pt x="1915287" y="865289"/>
                      </a:lnTo>
                      <a:lnTo>
                        <a:pt x="1915299" y="862749"/>
                      </a:lnTo>
                      <a:lnTo>
                        <a:pt x="1915591" y="860209"/>
                      </a:lnTo>
                      <a:lnTo>
                        <a:pt x="1916226" y="858939"/>
                      </a:lnTo>
                      <a:lnTo>
                        <a:pt x="1917458" y="858939"/>
                      </a:lnTo>
                      <a:lnTo>
                        <a:pt x="1917700" y="860209"/>
                      </a:lnTo>
                      <a:lnTo>
                        <a:pt x="1919452" y="858939"/>
                      </a:lnTo>
                      <a:lnTo>
                        <a:pt x="1920252" y="857669"/>
                      </a:lnTo>
                      <a:lnTo>
                        <a:pt x="1922424" y="857669"/>
                      </a:lnTo>
                      <a:lnTo>
                        <a:pt x="1923770" y="853859"/>
                      </a:lnTo>
                      <a:lnTo>
                        <a:pt x="1924380" y="852589"/>
                      </a:lnTo>
                      <a:close/>
                    </a:path>
                    <a:path w="3135629" h="2095500">
                      <a:moveTo>
                        <a:pt x="1999234" y="368681"/>
                      </a:moveTo>
                      <a:lnTo>
                        <a:pt x="1997887" y="369836"/>
                      </a:lnTo>
                      <a:lnTo>
                        <a:pt x="1999234" y="368681"/>
                      </a:lnTo>
                      <a:close/>
                    </a:path>
                    <a:path w="3135629" h="2095500">
                      <a:moveTo>
                        <a:pt x="2109152" y="590931"/>
                      </a:moveTo>
                      <a:lnTo>
                        <a:pt x="2107184" y="590931"/>
                      </a:lnTo>
                      <a:lnTo>
                        <a:pt x="2105126" y="590931"/>
                      </a:lnTo>
                      <a:lnTo>
                        <a:pt x="2103526" y="592201"/>
                      </a:lnTo>
                      <a:lnTo>
                        <a:pt x="2103323" y="592201"/>
                      </a:lnTo>
                      <a:lnTo>
                        <a:pt x="2103056" y="593471"/>
                      </a:lnTo>
                      <a:lnTo>
                        <a:pt x="2099259" y="596011"/>
                      </a:lnTo>
                      <a:lnTo>
                        <a:pt x="2097468" y="597281"/>
                      </a:lnTo>
                      <a:lnTo>
                        <a:pt x="2097341" y="599821"/>
                      </a:lnTo>
                      <a:lnTo>
                        <a:pt x="2097328" y="602361"/>
                      </a:lnTo>
                      <a:lnTo>
                        <a:pt x="2097138" y="603631"/>
                      </a:lnTo>
                      <a:lnTo>
                        <a:pt x="2096871" y="603631"/>
                      </a:lnTo>
                      <a:lnTo>
                        <a:pt x="2095931" y="602361"/>
                      </a:lnTo>
                      <a:lnTo>
                        <a:pt x="2094039" y="602361"/>
                      </a:lnTo>
                      <a:lnTo>
                        <a:pt x="2092617" y="601091"/>
                      </a:lnTo>
                      <a:lnTo>
                        <a:pt x="2090966" y="599821"/>
                      </a:lnTo>
                      <a:lnTo>
                        <a:pt x="2091702" y="599821"/>
                      </a:lnTo>
                      <a:lnTo>
                        <a:pt x="2092439" y="598551"/>
                      </a:lnTo>
                      <a:lnTo>
                        <a:pt x="2092032" y="597281"/>
                      </a:lnTo>
                      <a:lnTo>
                        <a:pt x="2091944" y="596011"/>
                      </a:lnTo>
                      <a:lnTo>
                        <a:pt x="2091296" y="596011"/>
                      </a:lnTo>
                      <a:lnTo>
                        <a:pt x="2090953" y="594741"/>
                      </a:lnTo>
                      <a:lnTo>
                        <a:pt x="2089531" y="594741"/>
                      </a:lnTo>
                      <a:lnTo>
                        <a:pt x="2089150" y="593471"/>
                      </a:lnTo>
                      <a:lnTo>
                        <a:pt x="2072068" y="593471"/>
                      </a:lnTo>
                      <a:lnTo>
                        <a:pt x="2071763" y="592201"/>
                      </a:lnTo>
                      <a:lnTo>
                        <a:pt x="2071598" y="592201"/>
                      </a:lnTo>
                      <a:lnTo>
                        <a:pt x="2069642" y="585851"/>
                      </a:lnTo>
                      <a:lnTo>
                        <a:pt x="2069325" y="583311"/>
                      </a:lnTo>
                      <a:lnTo>
                        <a:pt x="2069211" y="580771"/>
                      </a:lnTo>
                      <a:lnTo>
                        <a:pt x="2069020" y="579501"/>
                      </a:lnTo>
                      <a:lnTo>
                        <a:pt x="2062251" y="579501"/>
                      </a:lnTo>
                      <a:lnTo>
                        <a:pt x="2062124" y="578231"/>
                      </a:lnTo>
                      <a:lnTo>
                        <a:pt x="2062060" y="576961"/>
                      </a:lnTo>
                      <a:lnTo>
                        <a:pt x="2062429" y="574421"/>
                      </a:lnTo>
                      <a:lnTo>
                        <a:pt x="2062492" y="573151"/>
                      </a:lnTo>
                      <a:lnTo>
                        <a:pt x="2063026" y="569341"/>
                      </a:lnTo>
                      <a:lnTo>
                        <a:pt x="2063127" y="568071"/>
                      </a:lnTo>
                      <a:lnTo>
                        <a:pt x="2063673" y="566801"/>
                      </a:lnTo>
                      <a:lnTo>
                        <a:pt x="2064131" y="564261"/>
                      </a:lnTo>
                      <a:lnTo>
                        <a:pt x="2062746" y="562991"/>
                      </a:lnTo>
                      <a:lnTo>
                        <a:pt x="2062149" y="561721"/>
                      </a:lnTo>
                      <a:lnTo>
                        <a:pt x="2061476" y="562991"/>
                      </a:lnTo>
                      <a:lnTo>
                        <a:pt x="2059559" y="562991"/>
                      </a:lnTo>
                      <a:lnTo>
                        <a:pt x="2057996" y="561721"/>
                      </a:lnTo>
                      <a:lnTo>
                        <a:pt x="2055545" y="557911"/>
                      </a:lnTo>
                      <a:lnTo>
                        <a:pt x="2051253" y="554101"/>
                      </a:lnTo>
                      <a:lnTo>
                        <a:pt x="2050719" y="554101"/>
                      </a:lnTo>
                      <a:lnTo>
                        <a:pt x="2049703" y="552831"/>
                      </a:lnTo>
                      <a:lnTo>
                        <a:pt x="2048002" y="551561"/>
                      </a:lnTo>
                      <a:lnTo>
                        <a:pt x="2047214" y="550291"/>
                      </a:lnTo>
                      <a:lnTo>
                        <a:pt x="2046363" y="550291"/>
                      </a:lnTo>
                      <a:lnTo>
                        <a:pt x="2045881" y="549021"/>
                      </a:lnTo>
                      <a:lnTo>
                        <a:pt x="2044293" y="549021"/>
                      </a:lnTo>
                      <a:lnTo>
                        <a:pt x="2043125" y="550291"/>
                      </a:lnTo>
                      <a:lnTo>
                        <a:pt x="2041131" y="551561"/>
                      </a:lnTo>
                      <a:lnTo>
                        <a:pt x="2032368" y="551561"/>
                      </a:lnTo>
                      <a:lnTo>
                        <a:pt x="2023313" y="550291"/>
                      </a:lnTo>
                      <a:lnTo>
                        <a:pt x="2017344" y="551561"/>
                      </a:lnTo>
                      <a:lnTo>
                        <a:pt x="2007323" y="552831"/>
                      </a:lnTo>
                      <a:lnTo>
                        <a:pt x="2002853" y="552831"/>
                      </a:lnTo>
                      <a:lnTo>
                        <a:pt x="2001761" y="551561"/>
                      </a:lnTo>
                      <a:lnTo>
                        <a:pt x="2000542" y="550291"/>
                      </a:lnTo>
                      <a:lnTo>
                        <a:pt x="1995462" y="545211"/>
                      </a:lnTo>
                      <a:lnTo>
                        <a:pt x="1992769" y="541401"/>
                      </a:lnTo>
                      <a:lnTo>
                        <a:pt x="1990140" y="537591"/>
                      </a:lnTo>
                      <a:lnTo>
                        <a:pt x="1984870" y="535051"/>
                      </a:lnTo>
                      <a:lnTo>
                        <a:pt x="1976996" y="529971"/>
                      </a:lnTo>
                      <a:lnTo>
                        <a:pt x="1975383" y="528701"/>
                      </a:lnTo>
                      <a:lnTo>
                        <a:pt x="1975383" y="531241"/>
                      </a:lnTo>
                      <a:lnTo>
                        <a:pt x="1975650" y="531241"/>
                      </a:lnTo>
                      <a:lnTo>
                        <a:pt x="1978037" y="532511"/>
                      </a:lnTo>
                      <a:lnTo>
                        <a:pt x="1988502" y="538861"/>
                      </a:lnTo>
                      <a:lnTo>
                        <a:pt x="1991067" y="543941"/>
                      </a:lnTo>
                      <a:lnTo>
                        <a:pt x="1993938" y="546481"/>
                      </a:lnTo>
                      <a:lnTo>
                        <a:pt x="1999615" y="552831"/>
                      </a:lnTo>
                      <a:lnTo>
                        <a:pt x="2000250" y="552831"/>
                      </a:lnTo>
                      <a:lnTo>
                        <a:pt x="2001621" y="554101"/>
                      </a:lnTo>
                      <a:lnTo>
                        <a:pt x="2002129" y="554101"/>
                      </a:lnTo>
                      <a:lnTo>
                        <a:pt x="2002650" y="555371"/>
                      </a:lnTo>
                      <a:lnTo>
                        <a:pt x="2007641" y="555371"/>
                      </a:lnTo>
                      <a:lnTo>
                        <a:pt x="2017598" y="552831"/>
                      </a:lnTo>
                      <a:lnTo>
                        <a:pt x="2023313" y="552831"/>
                      </a:lnTo>
                      <a:lnTo>
                        <a:pt x="2032254" y="554101"/>
                      </a:lnTo>
                      <a:lnTo>
                        <a:pt x="2040496" y="554101"/>
                      </a:lnTo>
                      <a:lnTo>
                        <a:pt x="2041931" y="552831"/>
                      </a:lnTo>
                      <a:lnTo>
                        <a:pt x="2044382" y="551561"/>
                      </a:lnTo>
                      <a:lnTo>
                        <a:pt x="2045309" y="551561"/>
                      </a:lnTo>
                      <a:lnTo>
                        <a:pt x="2045843" y="552831"/>
                      </a:lnTo>
                      <a:lnTo>
                        <a:pt x="2046617" y="552831"/>
                      </a:lnTo>
                      <a:lnTo>
                        <a:pt x="2048154" y="554101"/>
                      </a:lnTo>
                      <a:lnTo>
                        <a:pt x="2049259" y="555371"/>
                      </a:lnTo>
                      <a:lnTo>
                        <a:pt x="2050122" y="556641"/>
                      </a:lnTo>
                      <a:lnTo>
                        <a:pt x="2054009" y="560451"/>
                      </a:lnTo>
                      <a:lnTo>
                        <a:pt x="2056155" y="562991"/>
                      </a:lnTo>
                      <a:lnTo>
                        <a:pt x="2056841" y="562991"/>
                      </a:lnTo>
                      <a:lnTo>
                        <a:pt x="2058885" y="565531"/>
                      </a:lnTo>
                      <a:lnTo>
                        <a:pt x="2060854" y="565531"/>
                      </a:lnTo>
                      <a:lnTo>
                        <a:pt x="2061603" y="564261"/>
                      </a:lnTo>
                      <a:lnTo>
                        <a:pt x="2061578" y="565531"/>
                      </a:lnTo>
                      <a:lnTo>
                        <a:pt x="2061375" y="566801"/>
                      </a:lnTo>
                      <a:lnTo>
                        <a:pt x="2061057" y="568071"/>
                      </a:lnTo>
                      <a:lnTo>
                        <a:pt x="2060917" y="569341"/>
                      </a:lnTo>
                      <a:lnTo>
                        <a:pt x="2060371" y="573151"/>
                      </a:lnTo>
                      <a:lnTo>
                        <a:pt x="2060295" y="574421"/>
                      </a:lnTo>
                      <a:lnTo>
                        <a:pt x="2060028" y="576961"/>
                      </a:lnTo>
                      <a:lnTo>
                        <a:pt x="2060067" y="579501"/>
                      </a:lnTo>
                      <a:lnTo>
                        <a:pt x="2060308" y="580771"/>
                      </a:lnTo>
                      <a:lnTo>
                        <a:pt x="2060562" y="580771"/>
                      </a:lnTo>
                      <a:lnTo>
                        <a:pt x="2061692" y="582041"/>
                      </a:lnTo>
                      <a:lnTo>
                        <a:pt x="2063432" y="582041"/>
                      </a:lnTo>
                      <a:lnTo>
                        <a:pt x="2066442" y="580771"/>
                      </a:lnTo>
                      <a:lnTo>
                        <a:pt x="2067077" y="580771"/>
                      </a:lnTo>
                      <a:lnTo>
                        <a:pt x="2067191" y="582041"/>
                      </a:lnTo>
                      <a:lnTo>
                        <a:pt x="2067217" y="583311"/>
                      </a:lnTo>
                      <a:lnTo>
                        <a:pt x="2067560" y="585851"/>
                      </a:lnTo>
                      <a:lnTo>
                        <a:pt x="2069223" y="590931"/>
                      </a:lnTo>
                      <a:lnTo>
                        <a:pt x="2069566" y="592201"/>
                      </a:lnTo>
                      <a:lnTo>
                        <a:pt x="2070404" y="596011"/>
                      </a:lnTo>
                      <a:lnTo>
                        <a:pt x="2084120" y="596011"/>
                      </a:lnTo>
                      <a:lnTo>
                        <a:pt x="2086889" y="594741"/>
                      </a:lnTo>
                      <a:lnTo>
                        <a:pt x="2087587" y="594741"/>
                      </a:lnTo>
                      <a:lnTo>
                        <a:pt x="2087905" y="596011"/>
                      </a:lnTo>
                      <a:lnTo>
                        <a:pt x="2088400" y="596011"/>
                      </a:lnTo>
                      <a:lnTo>
                        <a:pt x="2089442" y="597281"/>
                      </a:lnTo>
                      <a:lnTo>
                        <a:pt x="2090242" y="598551"/>
                      </a:lnTo>
                      <a:lnTo>
                        <a:pt x="2087651" y="601091"/>
                      </a:lnTo>
                      <a:lnTo>
                        <a:pt x="2090991" y="602361"/>
                      </a:lnTo>
                      <a:lnTo>
                        <a:pt x="2092693" y="603631"/>
                      </a:lnTo>
                      <a:lnTo>
                        <a:pt x="2095487" y="604901"/>
                      </a:lnTo>
                      <a:lnTo>
                        <a:pt x="2098167" y="604901"/>
                      </a:lnTo>
                      <a:lnTo>
                        <a:pt x="2099462" y="603631"/>
                      </a:lnTo>
                      <a:lnTo>
                        <a:pt x="2099386" y="599821"/>
                      </a:lnTo>
                      <a:lnTo>
                        <a:pt x="2099525" y="598551"/>
                      </a:lnTo>
                      <a:lnTo>
                        <a:pt x="2100605" y="597281"/>
                      </a:lnTo>
                      <a:lnTo>
                        <a:pt x="2104644" y="594741"/>
                      </a:lnTo>
                      <a:lnTo>
                        <a:pt x="2104948" y="594741"/>
                      </a:lnTo>
                      <a:lnTo>
                        <a:pt x="2105164" y="593471"/>
                      </a:lnTo>
                      <a:lnTo>
                        <a:pt x="2106523" y="592201"/>
                      </a:lnTo>
                      <a:lnTo>
                        <a:pt x="2109152" y="590931"/>
                      </a:lnTo>
                      <a:close/>
                    </a:path>
                    <a:path w="3135629" h="2095500">
                      <a:moveTo>
                        <a:pt x="2171954" y="665861"/>
                      </a:moveTo>
                      <a:lnTo>
                        <a:pt x="2170887" y="664591"/>
                      </a:lnTo>
                      <a:lnTo>
                        <a:pt x="2169033" y="664591"/>
                      </a:lnTo>
                      <a:lnTo>
                        <a:pt x="2162238" y="665861"/>
                      </a:lnTo>
                      <a:lnTo>
                        <a:pt x="2171954" y="665861"/>
                      </a:lnTo>
                      <a:close/>
                    </a:path>
                    <a:path w="3135629" h="2095500">
                      <a:moveTo>
                        <a:pt x="2453208" y="883031"/>
                      </a:moveTo>
                      <a:lnTo>
                        <a:pt x="2451036" y="883031"/>
                      </a:lnTo>
                      <a:lnTo>
                        <a:pt x="2450706" y="883031"/>
                      </a:lnTo>
                      <a:lnTo>
                        <a:pt x="2447912" y="883031"/>
                      </a:lnTo>
                      <a:lnTo>
                        <a:pt x="2447252" y="886841"/>
                      </a:lnTo>
                      <a:lnTo>
                        <a:pt x="2447264" y="890651"/>
                      </a:lnTo>
                      <a:lnTo>
                        <a:pt x="2448166" y="895731"/>
                      </a:lnTo>
                      <a:lnTo>
                        <a:pt x="2446528" y="898271"/>
                      </a:lnTo>
                      <a:lnTo>
                        <a:pt x="2444978" y="897001"/>
                      </a:lnTo>
                      <a:lnTo>
                        <a:pt x="2442299" y="899541"/>
                      </a:lnTo>
                      <a:lnTo>
                        <a:pt x="2441498" y="891921"/>
                      </a:lnTo>
                      <a:lnTo>
                        <a:pt x="2441232" y="890651"/>
                      </a:lnTo>
                      <a:lnTo>
                        <a:pt x="2440851" y="889381"/>
                      </a:lnTo>
                      <a:lnTo>
                        <a:pt x="2440241" y="886841"/>
                      </a:lnTo>
                      <a:lnTo>
                        <a:pt x="2440114" y="886841"/>
                      </a:lnTo>
                      <a:lnTo>
                        <a:pt x="2439568" y="885571"/>
                      </a:lnTo>
                      <a:lnTo>
                        <a:pt x="2439162" y="884301"/>
                      </a:lnTo>
                      <a:lnTo>
                        <a:pt x="2439085" y="881761"/>
                      </a:lnTo>
                      <a:lnTo>
                        <a:pt x="2438920" y="880491"/>
                      </a:lnTo>
                      <a:lnTo>
                        <a:pt x="2438362" y="876681"/>
                      </a:lnTo>
                      <a:lnTo>
                        <a:pt x="2438069" y="875411"/>
                      </a:lnTo>
                      <a:lnTo>
                        <a:pt x="2437688" y="874141"/>
                      </a:lnTo>
                      <a:lnTo>
                        <a:pt x="2437409" y="872871"/>
                      </a:lnTo>
                      <a:lnTo>
                        <a:pt x="2436380" y="872871"/>
                      </a:lnTo>
                      <a:lnTo>
                        <a:pt x="2435098" y="871601"/>
                      </a:lnTo>
                      <a:lnTo>
                        <a:pt x="2434018" y="872871"/>
                      </a:lnTo>
                      <a:lnTo>
                        <a:pt x="2432989" y="872871"/>
                      </a:lnTo>
                      <a:lnTo>
                        <a:pt x="2431542" y="870331"/>
                      </a:lnTo>
                      <a:lnTo>
                        <a:pt x="2430818" y="874141"/>
                      </a:lnTo>
                      <a:lnTo>
                        <a:pt x="2430399" y="877951"/>
                      </a:lnTo>
                      <a:lnTo>
                        <a:pt x="2429700" y="879221"/>
                      </a:lnTo>
                      <a:lnTo>
                        <a:pt x="2428760" y="881761"/>
                      </a:lnTo>
                      <a:lnTo>
                        <a:pt x="2428367" y="883031"/>
                      </a:lnTo>
                      <a:lnTo>
                        <a:pt x="2428125" y="883031"/>
                      </a:lnTo>
                      <a:lnTo>
                        <a:pt x="2427884" y="884301"/>
                      </a:lnTo>
                      <a:lnTo>
                        <a:pt x="2427059" y="884301"/>
                      </a:lnTo>
                      <a:lnTo>
                        <a:pt x="2426766" y="883031"/>
                      </a:lnTo>
                      <a:lnTo>
                        <a:pt x="2425941" y="880491"/>
                      </a:lnTo>
                      <a:lnTo>
                        <a:pt x="2423807" y="879221"/>
                      </a:lnTo>
                      <a:lnTo>
                        <a:pt x="2423541" y="879221"/>
                      </a:lnTo>
                      <a:lnTo>
                        <a:pt x="2423236" y="877951"/>
                      </a:lnTo>
                      <a:lnTo>
                        <a:pt x="2422563" y="876681"/>
                      </a:lnTo>
                      <a:lnTo>
                        <a:pt x="2421953" y="875411"/>
                      </a:lnTo>
                      <a:lnTo>
                        <a:pt x="2421737" y="874141"/>
                      </a:lnTo>
                      <a:lnTo>
                        <a:pt x="2422448" y="872871"/>
                      </a:lnTo>
                      <a:lnTo>
                        <a:pt x="2422575" y="872871"/>
                      </a:lnTo>
                      <a:lnTo>
                        <a:pt x="2427821" y="867791"/>
                      </a:lnTo>
                      <a:lnTo>
                        <a:pt x="2429268" y="867791"/>
                      </a:lnTo>
                      <a:lnTo>
                        <a:pt x="2431567" y="869061"/>
                      </a:lnTo>
                      <a:lnTo>
                        <a:pt x="2431770" y="867791"/>
                      </a:lnTo>
                      <a:lnTo>
                        <a:pt x="2431973" y="866521"/>
                      </a:lnTo>
                      <a:lnTo>
                        <a:pt x="2432659" y="863981"/>
                      </a:lnTo>
                      <a:lnTo>
                        <a:pt x="2433231" y="863981"/>
                      </a:lnTo>
                      <a:lnTo>
                        <a:pt x="2434247" y="862711"/>
                      </a:lnTo>
                      <a:lnTo>
                        <a:pt x="2435453" y="862711"/>
                      </a:lnTo>
                      <a:lnTo>
                        <a:pt x="2436025" y="861441"/>
                      </a:lnTo>
                      <a:lnTo>
                        <a:pt x="2436520" y="860171"/>
                      </a:lnTo>
                      <a:lnTo>
                        <a:pt x="2436711" y="858901"/>
                      </a:lnTo>
                      <a:lnTo>
                        <a:pt x="2436850" y="858901"/>
                      </a:lnTo>
                      <a:lnTo>
                        <a:pt x="2438616" y="856361"/>
                      </a:lnTo>
                      <a:lnTo>
                        <a:pt x="2441905" y="856361"/>
                      </a:lnTo>
                      <a:lnTo>
                        <a:pt x="2440178" y="855091"/>
                      </a:lnTo>
                      <a:lnTo>
                        <a:pt x="2439492" y="853821"/>
                      </a:lnTo>
                      <a:lnTo>
                        <a:pt x="2439073" y="852551"/>
                      </a:lnTo>
                      <a:lnTo>
                        <a:pt x="2438209" y="852551"/>
                      </a:lnTo>
                      <a:lnTo>
                        <a:pt x="2435758" y="851281"/>
                      </a:lnTo>
                      <a:lnTo>
                        <a:pt x="2433459" y="850011"/>
                      </a:lnTo>
                      <a:lnTo>
                        <a:pt x="2432126" y="850011"/>
                      </a:lnTo>
                      <a:lnTo>
                        <a:pt x="2428976" y="851281"/>
                      </a:lnTo>
                      <a:lnTo>
                        <a:pt x="2425725" y="851281"/>
                      </a:lnTo>
                      <a:lnTo>
                        <a:pt x="2419235" y="850011"/>
                      </a:lnTo>
                      <a:lnTo>
                        <a:pt x="2412644" y="850011"/>
                      </a:lnTo>
                      <a:lnTo>
                        <a:pt x="2411361" y="851281"/>
                      </a:lnTo>
                      <a:lnTo>
                        <a:pt x="2409799" y="851281"/>
                      </a:lnTo>
                      <a:lnTo>
                        <a:pt x="2409545" y="850011"/>
                      </a:lnTo>
                      <a:lnTo>
                        <a:pt x="2405634" y="850011"/>
                      </a:lnTo>
                      <a:lnTo>
                        <a:pt x="2404643" y="848741"/>
                      </a:lnTo>
                      <a:lnTo>
                        <a:pt x="2401493" y="848741"/>
                      </a:lnTo>
                      <a:lnTo>
                        <a:pt x="2402522" y="847471"/>
                      </a:lnTo>
                      <a:lnTo>
                        <a:pt x="2402421" y="844931"/>
                      </a:lnTo>
                      <a:lnTo>
                        <a:pt x="2402243" y="839851"/>
                      </a:lnTo>
                      <a:lnTo>
                        <a:pt x="2401938" y="838581"/>
                      </a:lnTo>
                      <a:lnTo>
                        <a:pt x="2401087" y="836041"/>
                      </a:lnTo>
                      <a:lnTo>
                        <a:pt x="2400770" y="836041"/>
                      </a:lnTo>
                      <a:lnTo>
                        <a:pt x="2399284" y="833501"/>
                      </a:lnTo>
                      <a:lnTo>
                        <a:pt x="2398357" y="836041"/>
                      </a:lnTo>
                      <a:lnTo>
                        <a:pt x="2398179" y="836041"/>
                      </a:lnTo>
                      <a:lnTo>
                        <a:pt x="2397747" y="837311"/>
                      </a:lnTo>
                      <a:lnTo>
                        <a:pt x="2396807" y="837311"/>
                      </a:lnTo>
                      <a:lnTo>
                        <a:pt x="2395880" y="838581"/>
                      </a:lnTo>
                      <a:lnTo>
                        <a:pt x="2394889" y="837311"/>
                      </a:lnTo>
                      <a:lnTo>
                        <a:pt x="2393823" y="837311"/>
                      </a:lnTo>
                      <a:lnTo>
                        <a:pt x="2392781" y="834771"/>
                      </a:lnTo>
                      <a:lnTo>
                        <a:pt x="2392261" y="833501"/>
                      </a:lnTo>
                      <a:lnTo>
                        <a:pt x="2391892" y="833501"/>
                      </a:lnTo>
                      <a:lnTo>
                        <a:pt x="2391575" y="832231"/>
                      </a:lnTo>
                      <a:lnTo>
                        <a:pt x="2390051" y="830961"/>
                      </a:lnTo>
                      <a:lnTo>
                        <a:pt x="2388031" y="829691"/>
                      </a:lnTo>
                      <a:lnTo>
                        <a:pt x="2388273" y="832231"/>
                      </a:lnTo>
                      <a:lnTo>
                        <a:pt x="2388489" y="833501"/>
                      </a:lnTo>
                      <a:lnTo>
                        <a:pt x="2385885" y="833501"/>
                      </a:lnTo>
                      <a:lnTo>
                        <a:pt x="2384895" y="832231"/>
                      </a:lnTo>
                      <a:lnTo>
                        <a:pt x="2383358" y="829691"/>
                      </a:lnTo>
                      <a:lnTo>
                        <a:pt x="2379446" y="829691"/>
                      </a:lnTo>
                      <a:lnTo>
                        <a:pt x="2379141" y="830961"/>
                      </a:lnTo>
                      <a:lnTo>
                        <a:pt x="2379319" y="830961"/>
                      </a:lnTo>
                      <a:lnTo>
                        <a:pt x="2379421" y="832231"/>
                      </a:lnTo>
                      <a:lnTo>
                        <a:pt x="2380653" y="832231"/>
                      </a:lnTo>
                      <a:lnTo>
                        <a:pt x="2380792" y="833501"/>
                      </a:lnTo>
                      <a:lnTo>
                        <a:pt x="2379383" y="833501"/>
                      </a:lnTo>
                      <a:lnTo>
                        <a:pt x="2378151" y="836041"/>
                      </a:lnTo>
                      <a:lnTo>
                        <a:pt x="2376970" y="837311"/>
                      </a:lnTo>
                      <a:lnTo>
                        <a:pt x="2375585" y="839851"/>
                      </a:lnTo>
                      <a:lnTo>
                        <a:pt x="2376627" y="842391"/>
                      </a:lnTo>
                      <a:lnTo>
                        <a:pt x="2378633" y="842391"/>
                      </a:lnTo>
                      <a:lnTo>
                        <a:pt x="2379497" y="843661"/>
                      </a:lnTo>
                      <a:lnTo>
                        <a:pt x="2381212" y="844931"/>
                      </a:lnTo>
                      <a:lnTo>
                        <a:pt x="2383472" y="847471"/>
                      </a:lnTo>
                      <a:lnTo>
                        <a:pt x="2385999" y="847471"/>
                      </a:lnTo>
                      <a:lnTo>
                        <a:pt x="2386406" y="848741"/>
                      </a:lnTo>
                      <a:lnTo>
                        <a:pt x="2387028" y="850011"/>
                      </a:lnTo>
                      <a:lnTo>
                        <a:pt x="2381212" y="850011"/>
                      </a:lnTo>
                      <a:lnTo>
                        <a:pt x="2380234" y="853821"/>
                      </a:lnTo>
                      <a:lnTo>
                        <a:pt x="2379281" y="853821"/>
                      </a:lnTo>
                      <a:lnTo>
                        <a:pt x="2379027" y="855091"/>
                      </a:lnTo>
                      <a:lnTo>
                        <a:pt x="2377567" y="855091"/>
                      </a:lnTo>
                      <a:lnTo>
                        <a:pt x="2377071" y="856361"/>
                      </a:lnTo>
                      <a:lnTo>
                        <a:pt x="2376576" y="856361"/>
                      </a:lnTo>
                      <a:lnTo>
                        <a:pt x="2375814" y="858901"/>
                      </a:lnTo>
                      <a:lnTo>
                        <a:pt x="2375954" y="861441"/>
                      </a:lnTo>
                      <a:lnTo>
                        <a:pt x="2376398" y="861441"/>
                      </a:lnTo>
                      <a:lnTo>
                        <a:pt x="2376678" y="862711"/>
                      </a:lnTo>
                      <a:lnTo>
                        <a:pt x="2377440" y="862711"/>
                      </a:lnTo>
                      <a:lnTo>
                        <a:pt x="2379434" y="863981"/>
                      </a:lnTo>
                      <a:lnTo>
                        <a:pt x="2380462" y="863981"/>
                      </a:lnTo>
                      <a:lnTo>
                        <a:pt x="2381745" y="865251"/>
                      </a:lnTo>
                      <a:lnTo>
                        <a:pt x="2383167" y="865251"/>
                      </a:lnTo>
                      <a:lnTo>
                        <a:pt x="2383358" y="863981"/>
                      </a:lnTo>
                      <a:lnTo>
                        <a:pt x="2383523" y="865251"/>
                      </a:lnTo>
                      <a:lnTo>
                        <a:pt x="2385034" y="865251"/>
                      </a:lnTo>
                      <a:lnTo>
                        <a:pt x="2384793" y="866521"/>
                      </a:lnTo>
                      <a:lnTo>
                        <a:pt x="2384933" y="867791"/>
                      </a:lnTo>
                      <a:lnTo>
                        <a:pt x="2384933" y="869061"/>
                      </a:lnTo>
                      <a:lnTo>
                        <a:pt x="2383548" y="870331"/>
                      </a:lnTo>
                      <a:lnTo>
                        <a:pt x="2383510" y="871601"/>
                      </a:lnTo>
                      <a:lnTo>
                        <a:pt x="2383205" y="875411"/>
                      </a:lnTo>
                      <a:lnTo>
                        <a:pt x="2385034" y="876681"/>
                      </a:lnTo>
                      <a:lnTo>
                        <a:pt x="2385466" y="877951"/>
                      </a:lnTo>
                      <a:lnTo>
                        <a:pt x="2385288" y="879221"/>
                      </a:lnTo>
                      <a:lnTo>
                        <a:pt x="2385657" y="880491"/>
                      </a:lnTo>
                      <a:lnTo>
                        <a:pt x="2386279" y="880491"/>
                      </a:lnTo>
                      <a:lnTo>
                        <a:pt x="2387689" y="881761"/>
                      </a:lnTo>
                      <a:lnTo>
                        <a:pt x="2387917" y="881761"/>
                      </a:lnTo>
                      <a:lnTo>
                        <a:pt x="2387676" y="883031"/>
                      </a:lnTo>
                      <a:lnTo>
                        <a:pt x="2387231" y="884301"/>
                      </a:lnTo>
                      <a:lnTo>
                        <a:pt x="2387981" y="886841"/>
                      </a:lnTo>
                      <a:lnTo>
                        <a:pt x="2388019" y="888111"/>
                      </a:lnTo>
                      <a:lnTo>
                        <a:pt x="2388019" y="889381"/>
                      </a:lnTo>
                      <a:lnTo>
                        <a:pt x="2388857" y="894461"/>
                      </a:lnTo>
                      <a:lnTo>
                        <a:pt x="2389403" y="897001"/>
                      </a:lnTo>
                      <a:lnTo>
                        <a:pt x="2389619" y="898271"/>
                      </a:lnTo>
                      <a:lnTo>
                        <a:pt x="2389733" y="900811"/>
                      </a:lnTo>
                      <a:lnTo>
                        <a:pt x="2391778" y="900811"/>
                      </a:lnTo>
                      <a:lnTo>
                        <a:pt x="2391727" y="898271"/>
                      </a:lnTo>
                      <a:lnTo>
                        <a:pt x="2391473" y="895731"/>
                      </a:lnTo>
                      <a:lnTo>
                        <a:pt x="2390927" y="894461"/>
                      </a:lnTo>
                      <a:lnTo>
                        <a:pt x="2390165" y="889381"/>
                      </a:lnTo>
                      <a:lnTo>
                        <a:pt x="2390102" y="886841"/>
                      </a:lnTo>
                      <a:lnTo>
                        <a:pt x="2389428" y="884301"/>
                      </a:lnTo>
                      <a:lnTo>
                        <a:pt x="2389784" y="883031"/>
                      </a:lnTo>
                      <a:lnTo>
                        <a:pt x="2389975" y="883031"/>
                      </a:lnTo>
                      <a:lnTo>
                        <a:pt x="2390038" y="881761"/>
                      </a:lnTo>
                      <a:lnTo>
                        <a:pt x="2389657" y="880491"/>
                      </a:lnTo>
                      <a:lnTo>
                        <a:pt x="2389124" y="880491"/>
                      </a:lnTo>
                      <a:lnTo>
                        <a:pt x="2387727" y="879221"/>
                      </a:lnTo>
                      <a:lnTo>
                        <a:pt x="2387485" y="879221"/>
                      </a:lnTo>
                      <a:lnTo>
                        <a:pt x="2387676" y="877951"/>
                      </a:lnTo>
                      <a:lnTo>
                        <a:pt x="2387739" y="876681"/>
                      </a:lnTo>
                      <a:lnTo>
                        <a:pt x="2387295" y="876681"/>
                      </a:lnTo>
                      <a:lnTo>
                        <a:pt x="2386965" y="875411"/>
                      </a:lnTo>
                      <a:lnTo>
                        <a:pt x="2386228" y="875411"/>
                      </a:lnTo>
                      <a:lnTo>
                        <a:pt x="2385403" y="874141"/>
                      </a:lnTo>
                      <a:lnTo>
                        <a:pt x="2385618" y="871601"/>
                      </a:lnTo>
                      <a:lnTo>
                        <a:pt x="2386647" y="870331"/>
                      </a:lnTo>
                      <a:lnTo>
                        <a:pt x="2386914" y="870331"/>
                      </a:lnTo>
                      <a:lnTo>
                        <a:pt x="2387130" y="869061"/>
                      </a:lnTo>
                      <a:lnTo>
                        <a:pt x="2386952" y="866521"/>
                      </a:lnTo>
                      <a:lnTo>
                        <a:pt x="2387308" y="866521"/>
                      </a:lnTo>
                      <a:lnTo>
                        <a:pt x="2387231" y="865251"/>
                      </a:lnTo>
                      <a:lnTo>
                        <a:pt x="2386850" y="863981"/>
                      </a:lnTo>
                      <a:lnTo>
                        <a:pt x="2384742" y="863981"/>
                      </a:lnTo>
                      <a:lnTo>
                        <a:pt x="2384348" y="862711"/>
                      </a:lnTo>
                      <a:lnTo>
                        <a:pt x="2380958" y="862711"/>
                      </a:lnTo>
                      <a:lnTo>
                        <a:pt x="2378430" y="860171"/>
                      </a:lnTo>
                      <a:lnTo>
                        <a:pt x="2377846" y="860171"/>
                      </a:lnTo>
                      <a:lnTo>
                        <a:pt x="2378506" y="857631"/>
                      </a:lnTo>
                      <a:lnTo>
                        <a:pt x="2378748" y="857631"/>
                      </a:lnTo>
                      <a:lnTo>
                        <a:pt x="2378913" y="856361"/>
                      </a:lnTo>
                      <a:lnTo>
                        <a:pt x="2380399" y="856361"/>
                      </a:lnTo>
                      <a:lnTo>
                        <a:pt x="2382037" y="855091"/>
                      </a:lnTo>
                      <a:lnTo>
                        <a:pt x="2382710" y="852551"/>
                      </a:lnTo>
                      <a:lnTo>
                        <a:pt x="2390025" y="852551"/>
                      </a:lnTo>
                      <a:lnTo>
                        <a:pt x="2389924" y="851281"/>
                      </a:lnTo>
                      <a:lnTo>
                        <a:pt x="2390102" y="851281"/>
                      </a:lnTo>
                      <a:lnTo>
                        <a:pt x="2391956" y="850011"/>
                      </a:lnTo>
                      <a:lnTo>
                        <a:pt x="2389822" y="848741"/>
                      </a:lnTo>
                      <a:lnTo>
                        <a:pt x="2389251" y="848741"/>
                      </a:lnTo>
                      <a:lnTo>
                        <a:pt x="2388476" y="847471"/>
                      </a:lnTo>
                      <a:lnTo>
                        <a:pt x="2388285" y="847471"/>
                      </a:lnTo>
                      <a:lnTo>
                        <a:pt x="2387650" y="844931"/>
                      </a:lnTo>
                      <a:lnTo>
                        <a:pt x="2384247" y="844931"/>
                      </a:lnTo>
                      <a:lnTo>
                        <a:pt x="2383040" y="843661"/>
                      </a:lnTo>
                      <a:lnTo>
                        <a:pt x="2380907" y="841121"/>
                      </a:lnTo>
                      <a:lnTo>
                        <a:pt x="2379243" y="841121"/>
                      </a:lnTo>
                      <a:lnTo>
                        <a:pt x="2378087" y="839851"/>
                      </a:lnTo>
                      <a:lnTo>
                        <a:pt x="2377960" y="839851"/>
                      </a:lnTo>
                      <a:lnTo>
                        <a:pt x="2378913" y="838581"/>
                      </a:lnTo>
                      <a:lnTo>
                        <a:pt x="2380602" y="836041"/>
                      </a:lnTo>
                      <a:lnTo>
                        <a:pt x="2381999" y="834771"/>
                      </a:lnTo>
                      <a:lnTo>
                        <a:pt x="2386584" y="834771"/>
                      </a:lnTo>
                      <a:lnTo>
                        <a:pt x="2387955" y="836041"/>
                      </a:lnTo>
                      <a:lnTo>
                        <a:pt x="2391143" y="836041"/>
                      </a:lnTo>
                      <a:lnTo>
                        <a:pt x="2391740" y="837311"/>
                      </a:lnTo>
                      <a:lnTo>
                        <a:pt x="2392464" y="838581"/>
                      </a:lnTo>
                      <a:lnTo>
                        <a:pt x="2393581" y="839851"/>
                      </a:lnTo>
                      <a:lnTo>
                        <a:pt x="2397760" y="839851"/>
                      </a:lnTo>
                      <a:lnTo>
                        <a:pt x="2399398" y="838581"/>
                      </a:lnTo>
                      <a:lnTo>
                        <a:pt x="2399893" y="839851"/>
                      </a:lnTo>
                      <a:lnTo>
                        <a:pt x="2400135" y="841121"/>
                      </a:lnTo>
                      <a:lnTo>
                        <a:pt x="2400274" y="843661"/>
                      </a:lnTo>
                      <a:lnTo>
                        <a:pt x="2400338" y="846201"/>
                      </a:lnTo>
                      <a:lnTo>
                        <a:pt x="2400452" y="848741"/>
                      </a:lnTo>
                      <a:lnTo>
                        <a:pt x="2400554" y="850011"/>
                      </a:lnTo>
                      <a:lnTo>
                        <a:pt x="2402090" y="850011"/>
                      </a:lnTo>
                      <a:lnTo>
                        <a:pt x="2403322" y="851281"/>
                      </a:lnTo>
                      <a:lnTo>
                        <a:pt x="2405786" y="851281"/>
                      </a:lnTo>
                      <a:lnTo>
                        <a:pt x="2407348" y="852551"/>
                      </a:lnTo>
                      <a:lnTo>
                        <a:pt x="2434869" y="852551"/>
                      </a:lnTo>
                      <a:lnTo>
                        <a:pt x="2436850" y="853821"/>
                      </a:lnTo>
                      <a:lnTo>
                        <a:pt x="2437561" y="853821"/>
                      </a:lnTo>
                      <a:lnTo>
                        <a:pt x="2437650" y="855091"/>
                      </a:lnTo>
                      <a:lnTo>
                        <a:pt x="2434831" y="857631"/>
                      </a:lnTo>
                      <a:lnTo>
                        <a:pt x="2434552" y="860171"/>
                      </a:lnTo>
                      <a:lnTo>
                        <a:pt x="2434209" y="860171"/>
                      </a:lnTo>
                      <a:lnTo>
                        <a:pt x="2433815" y="861441"/>
                      </a:lnTo>
                      <a:lnTo>
                        <a:pt x="2433434" y="861441"/>
                      </a:lnTo>
                      <a:lnTo>
                        <a:pt x="2431834" y="862711"/>
                      </a:lnTo>
                      <a:lnTo>
                        <a:pt x="2431250" y="862711"/>
                      </a:lnTo>
                      <a:lnTo>
                        <a:pt x="2430615" y="863981"/>
                      </a:lnTo>
                      <a:lnTo>
                        <a:pt x="2430335" y="863981"/>
                      </a:lnTo>
                      <a:lnTo>
                        <a:pt x="2430170" y="865251"/>
                      </a:lnTo>
                      <a:lnTo>
                        <a:pt x="2426690" y="865251"/>
                      </a:lnTo>
                      <a:lnTo>
                        <a:pt x="2426906" y="866521"/>
                      </a:lnTo>
                      <a:lnTo>
                        <a:pt x="2426500" y="865251"/>
                      </a:lnTo>
                      <a:lnTo>
                        <a:pt x="2421407" y="870331"/>
                      </a:lnTo>
                      <a:lnTo>
                        <a:pt x="2420556" y="870331"/>
                      </a:lnTo>
                      <a:lnTo>
                        <a:pt x="2420556" y="871601"/>
                      </a:lnTo>
                      <a:lnTo>
                        <a:pt x="2419400" y="874141"/>
                      </a:lnTo>
                      <a:lnTo>
                        <a:pt x="2419718" y="875411"/>
                      </a:lnTo>
                      <a:lnTo>
                        <a:pt x="2419985" y="875411"/>
                      </a:lnTo>
                      <a:lnTo>
                        <a:pt x="2420658" y="877951"/>
                      </a:lnTo>
                      <a:lnTo>
                        <a:pt x="2421242" y="879221"/>
                      </a:lnTo>
                      <a:lnTo>
                        <a:pt x="2421725" y="881761"/>
                      </a:lnTo>
                      <a:lnTo>
                        <a:pt x="2421890" y="881761"/>
                      </a:lnTo>
                      <a:lnTo>
                        <a:pt x="2422156" y="883031"/>
                      </a:lnTo>
                      <a:lnTo>
                        <a:pt x="2422741" y="884301"/>
                      </a:lnTo>
                      <a:lnTo>
                        <a:pt x="2424976" y="884301"/>
                      </a:lnTo>
                      <a:lnTo>
                        <a:pt x="2425192" y="885571"/>
                      </a:lnTo>
                      <a:lnTo>
                        <a:pt x="2426195" y="885571"/>
                      </a:lnTo>
                      <a:lnTo>
                        <a:pt x="2427186" y="886841"/>
                      </a:lnTo>
                      <a:lnTo>
                        <a:pt x="2428329" y="886841"/>
                      </a:lnTo>
                      <a:lnTo>
                        <a:pt x="2429179" y="885571"/>
                      </a:lnTo>
                      <a:lnTo>
                        <a:pt x="2429637" y="885571"/>
                      </a:lnTo>
                      <a:lnTo>
                        <a:pt x="2430018" y="884301"/>
                      </a:lnTo>
                      <a:lnTo>
                        <a:pt x="2430310" y="883031"/>
                      </a:lnTo>
                      <a:lnTo>
                        <a:pt x="2430729" y="883031"/>
                      </a:lnTo>
                      <a:lnTo>
                        <a:pt x="2431567" y="880491"/>
                      </a:lnTo>
                      <a:lnTo>
                        <a:pt x="2431707" y="879221"/>
                      </a:lnTo>
                      <a:lnTo>
                        <a:pt x="2432469" y="877951"/>
                      </a:lnTo>
                      <a:lnTo>
                        <a:pt x="2432799" y="875411"/>
                      </a:lnTo>
                      <a:lnTo>
                        <a:pt x="2434628" y="875411"/>
                      </a:lnTo>
                      <a:lnTo>
                        <a:pt x="2435136" y="874141"/>
                      </a:lnTo>
                      <a:lnTo>
                        <a:pt x="2435618" y="874141"/>
                      </a:lnTo>
                      <a:lnTo>
                        <a:pt x="2435999" y="876681"/>
                      </a:lnTo>
                      <a:lnTo>
                        <a:pt x="2436291" y="876681"/>
                      </a:lnTo>
                      <a:lnTo>
                        <a:pt x="2436812" y="880491"/>
                      </a:lnTo>
                      <a:lnTo>
                        <a:pt x="2436965" y="881761"/>
                      </a:lnTo>
                      <a:lnTo>
                        <a:pt x="2437041" y="885571"/>
                      </a:lnTo>
                      <a:lnTo>
                        <a:pt x="2437549" y="886841"/>
                      </a:lnTo>
                      <a:lnTo>
                        <a:pt x="2438171" y="888111"/>
                      </a:lnTo>
                      <a:lnTo>
                        <a:pt x="2438806" y="889381"/>
                      </a:lnTo>
                      <a:lnTo>
                        <a:pt x="2439403" y="891921"/>
                      </a:lnTo>
                      <a:lnTo>
                        <a:pt x="2440165" y="899541"/>
                      </a:lnTo>
                      <a:lnTo>
                        <a:pt x="2440508" y="902081"/>
                      </a:lnTo>
                      <a:lnTo>
                        <a:pt x="2441117" y="908431"/>
                      </a:lnTo>
                      <a:lnTo>
                        <a:pt x="2439543" y="907161"/>
                      </a:lnTo>
                      <a:lnTo>
                        <a:pt x="2439098" y="907161"/>
                      </a:lnTo>
                      <a:lnTo>
                        <a:pt x="2438082" y="904621"/>
                      </a:lnTo>
                      <a:lnTo>
                        <a:pt x="2436888" y="907161"/>
                      </a:lnTo>
                      <a:lnTo>
                        <a:pt x="2435428" y="909701"/>
                      </a:lnTo>
                      <a:lnTo>
                        <a:pt x="2434590" y="910971"/>
                      </a:lnTo>
                      <a:lnTo>
                        <a:pt x="2434475" y="912241"/>
                      </a:lnTo>
                      <a:lnTo>
                        <a:pt x="2434628" y="912241"/>
                      </a:lnTo>
                      <a:lnTo>
                        <a:pt x="2435021" y="913511"/>
                      </a:lnTo>
                      <a:lnTo>
                        <a:pt x="2435961" y="913511"/>
                      </a:lnTo>
                      <a:lnTo>
                        <a:pt x="2436533" y="914781"/>
                      </a:lnTo>
                      <a:lnTo>
                        <a:pt x="2437269" y="913511"/>
                      </a:lnTo>
                      <a:lnTo>
                        <a:pt x="2436825" y="912241"/>
                      </a:lnTo>
                      <a:lnTo>
                        <a:pt x="2436660" y="912241"/>
                      </a:lnTo>
                      <a:lnTo>
                        <a:pt x="2436914" y="910971"/>
                      </a:lnTo>
                      <a:lnTo>
                        <a:pt x="2438031" y="909701"/>
                      </a:lnTo>
                      <a:lnTo>
                        <a:pt x="2438666" y="909701"/>
                      </a:lnTo>
                      <a:lnTo>
                        <a:pt x="2441143" y="910971"/>
                      </a:lnTo>
                      <a:lnTo>
                        <a:pt x="2443365" y="912241"/>
                      </a:lnTo>
                      <a:lnTo>
                        <a:pt x="2443213" y="909701"/>
                      </a:lnTo>
                      <a:lnTo>
                        <a:pt x="2443276" y="908431"/>
                      </a:lnTo>
                      <a:lnTo>
                        <a:pt x="2442794" y="902081"/>
                      </a:lnTo>
                      <a:lnTo>
                        <a:pt x="2445486" y="899541"/>
                      </a:lnTo>
                      <a:lnTo>
                        <a:pt x="2447036" y="900811"/>
                      </a:lnTo>
                      <a:lnTo>
                        <a:pt x="2449309" y="898271"/>
                      </a:lnTo>
                      <a:lnTo>
                        <a:pt x="2450439" y="897001"/>
                      </a:lnTo>
                      <a:lnTo>
                        <a:pt x="2449372" y="890651"/>
                      </a:lnTo>
                      <a:lnTo>
                        <a:pt x="2449347" y="888111"/>
                      </a:lnTo>
                      <a:lnTo>
                        <a:pt x="2449830" y="884301"/>
                      </a:lnTo>
                      <a:lnTo>
                        <a:pt x="2450058" y="884301"/>
                      </a:lnTo>
                      <a:lnTo>
                        <a:pt x="2450477" y="885571"/>
                      </a:lnTo>
                      <a:lnTo>
                        <a:pt x="2451036" y="885571"/>
                      </a:lnTo>
                      <a:lnTo>
                        <a:pt x="2452433" y="884301"/>
                      </a:lnTo>
                      <a:lnTo>
                        <a:pt x="2452967" y="884301"/>
                      </a:lnTo>
                      <a:lnTo>
                        <a:pt x="2453208" y="883031"/>
                      </a:lnTo>
                      <a:close/>
                    </a:path>
                    <a:path w="3135629" h="2095500">
                      <a:moveTo>
                        <a:pt x="2578341" y="1129449"/>
                      </a:moveTo>
                      <a:lnTo>
                        <a:pt x="2576360" y="1128699"/>
                      </a:lnTo>
                      <a:lnTo>
                        <a:pt x="2575318" y="1131354"/>
                      </a:lnTo>
                      <a:lnTo>
                        <a:pt x="2574925" y="1132230"/>
                      </a:lnTo>
                      <a:lnTo>
                        <a:pt x="2574315" y="1133563"/>
                      </a:lnTo>
                      <a:lnTo>
                        <a:pt x="2573566" y="1134541"/>
                      </a:lnTo>
                      <a:lnTo>
                        <a:pt x="2571610" y="1135062"/>
                      </a:lnTo>
                      <a:lnTo>
                        <a:pt x="2569667" y="1133436"/>
                      </a:lnTo>
                      <a:lnTo>
                        <a:pt x="2567432" y="1133424"/>
                      </a:lnTo>
                      <a:lnTo>
                        <a:pt x="2566505" y="1134237"/>
                      </a:lnTo>
                      <a:lnTo>
                        <a:pt x="2565870" y="1134922"/>
                      </a:lnTo>
                      <a:lnTo>
                        <a:pt x="2563698" y="1136637"/>
                      </a:lnTo>
                      <a:lnTo>
                        <a:pt x="2563241" y="1136281"/>
                      </a:lnTo>
                      <a:lnTo>
                        <a:pt x="2562453" y="1135507"/>
                      </a:lnTo>
                      <a:lnTo>
                        <a:pt x="2562669" y="1134960"/>
                      </a:lnTo>
                      <a:lnTo>
                        <a:pt x="2564104" y="1132243"/>
                      </a:lnTo>
                      <a:lnTo>
                        <a:pt x="2564244" y="1131531"/>
                      </a:lnTo>
                      <a:lnTo>
                        <a:pt x="2564803" y="1129703"/>
                      </a:lnTo>
                      <a:lnTo>
                        <a:pt x="2563126" y="1127798"/>
                      </a:lnTo>
                      <a:lnTo>
                        <a:pt x="2560624" y="1128331"/>
                      </a:lnTo>
                      <a:lnTo>
                        <a:pt x="2560332" y="1128344"/>
                      </a:lnTo>
                      <a:lnTo>
                        <a:pt x="2554503" y="1124102"/>
                      </a:lnTo>
                      <a:lnTo>
                        <a:pt x="2552941" y="1123835"/>
                      </a:lnTo>
                      <a:lnTo>
                        <a:pt x="2549512" y="1120571"/>
                      </a:lnTo>
                      <a:lnTo>
                        <a:pt x="2547810" y="1126845"/>
                      </a:lnTo>
                      <a:lnTo>
                        <a:pt x="2549868" y="1127391"/>
                      </a:lnTo>
                      <a:lnTo>
                        <a:pt x="2550617" y="1124534"/>
                      </a:lnTo>
                      <a:lnTo>
                        <a:pt x="2551684" y="1125461"/>
                      </a:lnTo>
                      <a:lnTo>
                        <a:pt x="2552611" y="1125918"/>
                      </a:lnTo>
                      <a:lnTo>
                        <a:pt x="2554401" y="1126210"/>
                      </a:lnTo>
                      <a:lnTo>
                        <a:pt x="2556319" y="1126299"/>
                      </a:lnTo>
                      <a:lnTo>
                        <a:pt x="2556878" y="1126502"/>
                      </a:lnTo>
                      <a:lnTo>
                        <a:pt x="2557754" y="1126985"/>
                      </a:lnTo>
                      <a:lnTo>
                        <a:pt x="2557996" y="1127226"/>
                      </a:lnTo>
                      <a:lnTo>
                        <a:pt x="2558250" y="1128801"/>
                      </a:lnTo>
                      <a:lnTo>
                        <a:pt x="2558516" y="1129690"/>
                      </a:lnTo>
                      <a:lnTo>
                        <a:pt x="2558948" y="1130477"/>
                      </a:lnTo>
                      <a:lnTo>
                        <a:pt x="2560790" y="1130452"/>
                      </a:lnTo>
                      <a:lnTo>
                        <a:pt x="2562288" y="1130134"/>
                      </a:lnTo>
                      <a:lnTo>
                        <a:pt x="2562377" y="1130363"/>
                      </a:lnTo>
                      <a:lnTo>
                        <a:pt x="2562085" y="1131531"/>
                      </a:lnTo>
                      <a:lnTo>
                        <a:pt x="2559774" y="1135900"/>
                      </a:lnTo>
                      <a:lnTo>
                        <a:pt x="2562098" y="1138123"/>
                      </a:lnTo>
                      <a:lnTo>
                        <a:pt x="2562580" y="1138491"/>
                      </a:lnTo>
                      <a:lnTo>
                        <a:pt x="2563063" y="1138682"/>
                      </a:lnTo>
                      <a:lnTo>
                        <a:pt x="2563876" y="1138758"/>
                      </a:lnTo>
                      <a:lnTo>
                        <a:pt x="2564511" y="1138631"/>
                      </a:lnTo>
                      <a:lnTo>
                        <a:pt x="2565019" y="1138377"/>
                      </a:lnTo>
                      <a:lnTo>
                        <a:pt x="2567305" y="1136472"/>
                      </a:lnTo>
                      <a:lnTo>
                        <a:pt x="2568232" y="1135545"/>
                      </a:lnTo>
                      <a:lnTo>
                        <a:pt x="2568879" y="1135545"/>
                      </a:lnTo>
                      <a:lnTo>
                        <a:pt x="2571064" y="1137412"/>
                      </a:lnTo>
                      <a:lnTo>
                        <a:pt x="2575077" y="1136332"/>
                      </a:lnTo>
                      <a:lnTo>
                        <a:pt x="2576195" y="1134567"/>
                      </a:lnTo>
                      <a:lnTo>
                        <a:pt x="2577274" y="1132205"/>
                      </a:lnTo>
                      <a:lnTo>
                        <a:pt x="2578341" y="1129449"/>
                      </a:lnTo>
                      <a:close/>
                    </a:path>
                    <a:path w="3135629" h="2095500">
                      <a:moveTo>
                        <a:pt x="2665590" y="987831"/>
                      </a:moveTo>
                      <a:lnTo>
                        <a:pt x="2665438" y="987793"/>
                      </a:lnTo>
                      <a:lnTo>
                        <a:pt x="2665311" y="987755"/>
                      </a:lnTo>
                      <a:lnTo>
                        <a:pt x="2663431" y="987793"/>
                      </a:lnTo>
                      <a:lnTo>
                        <a:pt x="2664574" y="987793"/>
                      </a:lnTo>
                      <a:lnTo>
                        <a:pt x="2665450" y="988212"/>
                      </a:lnTo>
                      <a:lnTo>
                        <a:pt x="2665590" y="987831"/>
                      </a:lnTo>
                      <a:close/>
                    </a:path>
                    <a:path w="3135629" h="2095500">
                      <a:moveTo>
                        <a:pt x="2768841" y="1157846"/>
                      </a:moveTo>
                      <a:lnTo>
                        <a:pt x="2767495" y="1155509"/>
                      </a:lnTo>
                      <a:lnTo>
                        <a:pt x="2767190" y="1154963"/>
                      </a:lnTo>
                      <a:lnTo>
                        <a:pt x="2765615" y="1149743"/>
                      </a:lnTo>
                      <a:lnTo>
                        <a:pt x="2765412" y="1149057"/>
                      </a:lnTo>
                      <a:lnTo>
                        <a:pt x="2765234" y="1148664"/>
                      </a:lnTo>
                      <a:lnTo>
                        <a:pt x="2765234" y="1155509"/>
                      </a:lnTo>
                      <a:lnTo>
                        <a:pt x="2764701" y="1155407"/>
                      </a:lnTo>
                      <a:lnTo>
                        <a:pt x="2764523" y="1155306"/>
                      </a:lnTo>
                      <a:lnTo>
                        <a:pt x="2763621" y="1152575"/>
                      </a:lnTo>
                      <a:lnTo>
                        <a:pt x="2763431" y="1151470"/>
                      </a:lnTo>
                      <a:lnTo>
                        <a:pt x="2763609" y="1151572"/>
                      </a:lnTo>
                      <a:lnTo>
                        <a:pt x="2763456" y="1150505"/>
                      </a:lnTo>
                      <a:lnTo>
                        <a:pt x="2763355" y="1149743"/>
                      </a:lnTo>
                      <a:lnTo>
                        <a:pt x="2763736" y="1150848"/>
                      </a:lnTo>
                      <a:lnTo>
                        <a:pt x="2764840" y="1154518"/>
                      </a:lnTo>
                      <a:lnTo>
                        <a:pt x="2765234" y="1155509"/>
                      </a:lnTo>
                      <a:lnTo>
                        <a:pt x="2765234" y="1148664"/>
                      </a:lnTo>
                      <a:lnTo>
                        <a:pt x="2764840" y="1147800"/>
                      </a:lnTo>
                      <a:lnTo>
                        <a:pt x="2763151" y="1148549"/>
                      </a:lnTo>
                      <a:lnTo>
                        <a:pt x="2762605" y="1145616"/>
                      </a:lnTo>
                      <a:lnTo>
                        <a:pt x="2761196" y="1148054"/>
                      </a:lnTo>
                      <a:lnTo>
                        <a:pt x="2761056" y="1148207"/>
                      </a:lnTo>
                      <a:lnTo>
                        <a:pt x="2759125" y="1149197"/>
                      </a:lnTo>
                      <a:lnTo>
                        <a:pt x="2758338" y="1149743"/>
                      </a:lnTo>
                      <a:lnTo>
                        <a:pt x="2757462" y="1151610"/>
                      </a:lnTo>
                      <a:lnTo>
                        <a:pt x="2757728" y="1152194"/>
                      </a:lnTo>
                      <a:lnTo>
                        <a:pt x="2757843" y="1152525"/>
                      </a:lnTo>
                      <a:lnTo>
                        <a:pt x="2758148" y="1153795"/>
                      </a:lnTo>
                      <a:lnTo>
                        <a:pt x="2758262" y="1157757"/>
                      </a:lnTo>
                      <a:lnTo>
                        <a:pt x="2758186" y="1158074"/>
                      </a:lnTo>
                      <a:lnTo>
                        <a:pt x="2758109" y="1158748"/>
                      </a:lnTo>
                      <a:lnTo>
                        <a:pt x="2757690" y="1159179"/>
                      </a:lnTo>
                      <a:lnTo>
                        <a:pt x="2757563" y="1159383"/>
                      </a:lnTo>
                      <a:lnTo>
                        <a:pt x="2757220" y="1160068"/>
                      </a:lnTo>
                      <a:lnTo>
                        <a:pt x="2756751" y="1160005"/>
                      </a:lnTo>
                      <a:lnTo>
                        <a:pt x="2756154" y="1159789"/>
                      </a:lnTo>
                      <a:lnTo>
                        <a:pt x="2753093" y="1155839"/>
                      </a:lnTo>
                      <a:lnTo>
                        <a:pt x="2752598" y="1154963"/>
                      </a:lnTo>
                      <a:lnTo>
                        <a:pt x="2752280" y="1154455"/>
                      </a:lnTo>
                      <a:lnTo>
                        <a:pt x="2751556" y="1153617"/>
                      </a:lnTo>
                      <a:lnTo>
                        <a:pt x="2749067" y="1152194"/>
                      </a:lnTo>
                      <a:lnTo>
                        <a:pt x="2747657" y="1151420"/>
                      </a:lnTo>
                      <a:lnTo>
                        <a:pt x="2746641" y="1153287"/>
                      </a:lnTo>
                      <a:lnTo>
                        <a:pt x="2748902" y="1154518"/>
                      </a:lnTo>
                      <a:lnTo>
                        <a:pt x="2750388" y="1155509"/>
                      </a:lnTo>
                      <a:lnTo>
                        <a:pt x="2750566" y="1155687"/>
                      </a:lnTo>
                      <a:lnTo>
                        <a:pt x="2751442" y="1157224"/>
                      </a:lnTo>
                      <a:lnTo>
                        <a:pt x="2753855" y="1160284"/>
                      </a:lnTo>
                      <a:lnTo>
                        <a:pt x="2755176" y="1161872"/>
                      </a:lnTo>
                      <a:lnTo>
                        <a:pt x="2756624" y="1162113"/>
                      </a:lnTo>
                      <a:lnTo>
                        <a:pt x="2757538" y="1162113"/>
                      </a:lnTo>
                      <a:lnTo>
                        <a:pt x="2758605" y="1161796"/>
                      </a:lnTo>
                      <a:lnTo>
                        <a:pt x="2759557" y="1160284"/>
                      </a:lnTo>
                      <a:lnTo>
                        <a:pt x="2759799" y="1160068"/>
                      </a:lnTo>
                      <a:lnTo>
                        <a:pt x="2759938" y="1159941"/>
                      </a:lnTo>
                      <a:lnTo>
                        <a:pt x="2760154" y="1159383"/>
                      </a:lnTo>
                      <a:lnTo>
                        <a:pt x="2760268" y="1158481"/>
                      </a:lnTo>
                      <a:lnTo>
                        <a:pt x="2760421" y="1157757"/>
                      </a:lnTo>
                      <a:lnTo>
                        <a:pt x="2760307" y="1154455"/>
                      </a:lnTo>
                      <a:lnTo>
                        <a:pt x="2760205" y="1153287"/>
                      </a:lnTo>
                      <a:lnTo>
                        <a:pt x="2759926" y="1152067"/>
                      </a:lnTo>
                      <a:lnTo>
                        <a:pt x="2759684" y="1151407"/>
                      </a:lnTo>
                      <a:lnTo>
                        <a:pt x="2759849" y="1151255"/>
                      </a:lnTo>
                      <a:lnTo>
                        <a:pt x="2760522" y="1150848"/>
                      </a:lnTo>
                      <a:lnTo>
                        <a:pt x="2761196" y="1150505"/>
                      </a:lnTo>
                      <a:lnTo>
                        <a:pt x="2761272" y="1152067"/>
                      </a:lnTo>
                      <a:lnTo>
                        <a:pt x="2761373" y="1152575"/>
                      </a:lnTo>
                      <a:lnTo>
                        <a:pt x="2762897" y="1157351"/>
                      </a:lnTo>
                      <a:lnTo>
                        <a:pt x="2766123" y="1157757"/>
                      </a:lnTo>
                      <a:lnTo>
                        <a:pt x="2766606" y="1157795"/>
                      </a:lnTo>
                      <a:lnTo>
                        <a:pt x="2768841" y="1157846"/>
                      </a:lnTo>
                      <a:close/>
                    </a:path>
                    <a:path w="3135629" h="2095500">
                      <a:moveTo>
                        <a:pt x="2799410" y="1158113"/>
                      </a:moveTo>
                      <a:lnTo>
                        <a:pt x="2798419" y="1157833"/>
                      </a:lnTo>
                      <a:lnTo>
                        <a:pt x="2793835" y="1156398"/>
                      </a:lnTo>
                      <a:lnTo>
                        <a:pt x="2790469" y="1155344"/>
                      </a:lnTo>
                      <a:lnTo>
                        <a:pt x="2786938" y="1154239"/>
                      </a:lnTo>
                      <a:lnTo>
                        <a:pt x="2779877" y="1155192"/>
                      </a:lnTo>
                      <a:lnTo>
                        <a:pt x="2778099" y="1155306"/>
                      </a:lnTo>
                      <a:lnTo>
                        <a:pt x="2777121" y="1155319"/>
                      </a:lnTo>
                      <a:lnTo>
                        <a:pt x="2776702" y="1155344"/>
                      </a:lnTo>
                      <a:lnTo>
                        <a:pt x="2775737" y="1155255"/>
                      </a:lnTo>
                      <a:lnTo>
                        <a:pt x="2775445" y="1155192"/>
                      </a:lnTo>
                      <a:lnTo>
                        <a:pt x="2774937" y="1154226"/>
                      </a:lnTo>
                      <a:lnTo>
                        <a:pt x="2771330" y="1157312"/>
                      </a:lnTo>
                      <a:lnTo>
                        <a:pt x="2768676" y="1160856"/>
                      </a:lnTo>
                      <a:lnTo>
                        <a:pt x="2769057" y="1164082"/>
                      </a:lnTo>
                      <a:lnTo>
                        <a:pt x="2769514" y="1167714"/>
                      </a:lnTo>
                      <a:lnTo>
                        <a:pt x="2769641" y="1170317"/>
                      </a:lnTo>
                      <a:lnTo>
                        <a:pt x="2768333" y="1174267"/>
                      </a:lnTo>
                      <a:lnTo>
                        <a:pt x="2765996" y="1174089"/>
                      </a:lnTo>
                      <a:lnTo>
                        <a:pt x="2764409" y="1174750"/>
                      </a:lnTo>
                      <a:lnTo>
                        <a:pt x="2762186" y="1177569"/>
                      </a:lnTo>
                      <a:lnTo>
                        <a:pt x="2761881" y="1179715"/>
                      </a:lnTo>
                      <a:lnTo>
                        <a:pt x="2762542" y="1181811"/>
                      </a:lnTo>
                      <a:lnTo>
                        <a:pt x="2762872" y="1182776"/>
                      </a:lnTo>
                      <a:lnTo>
                        <a:pt x="2763050" y="1182725"/>
                      </a:lnTo>
                      <a:lnTo>
                        <a:pt x="2761221" y="1183741"/>
                      </a:lnTo>
                      <a:lnTo>
                        <a:pt x="2760802" y="1184033"/>
                      </a:lnTo>
                      <a:lnTo>
                        <a:pt x="2758452" y="1185532"/>
                      </a:lnTo>
                      <a:lnTo>
                        <a:pt x="2758325" y="1185633"/>
                      </a:lnTo>
                      <a:lnTo>
                        <a:pt x="2758135" y="1186027"/>
                      </a:lnTo>
                      <a:lnTo>
                        <a:pt x="2757817" y="1186802"/>
                      </a:lnTo>
                      <a:lnTo>
                        <a:pt x="2757792" y="1187323"/>
                      </a:lnTo>
                      <a:lnTo>
                        <a:pt x="2758732" y="1189621"/>
                      </a:lnTo>
                      <a:lnTo>
                        <a:pt x="2758859" y="1190625"/>
                      </a:lnTo>
                      <a:lnTo>
                        <a:pt x="2758757" y="1190853"/>
                      </a:lnTo>
                      <a:lnTo>
                        <a:pt x="2757779" y="1191602"/>
                      </a:lnTo>
                      <a:lnTo>
                        <a:pt x="2757424" y="1191844"/>
                      </a:lnTo>
                      <a:lnTo>
                        <a:pt x="2757157" y="1192072"/>
                      </a:lnTo>
                      <a:lnTo>
                        <a:pt x="2756687" y="1192644"/>
                      </a:lnTo>
                      <a:lnTo>
                        <a:pt x="2756497" y="1192847"/>
                      </a:lnTo>
                      <a:lnTo>
                        <a:pt x="2756179" y="1193774"/>
                      </a:lnTo>
                      <a:lnTo>
                        <a:pt x="2755455" y="1196251"/>
                      </a:lnTo>
                      <a:lnTo>
                        <a:pt x="2755188" y="1196822"/>
                      </a:lnTo>
                      <a:lnTo>
                        <a:pt x="2754909" y="1197127"/>
                      </a:lnTo>
                      <a:lnTo>
                        <a:pt x="2754096" y="1197165"/>
                      </a:lnTo>
                      <a:lnTo>
                        <a:pt x="2753410" y="1197165"/>
                      </a:lnTo>
                      <a:lnTo>
                        <a:pt x="2752801" y="1197127"/>
                      </a:lnTo>
                      <a:lnTo>
                        <a:pt x="2752179" y="1197089"/>
                      </a:lnTo>
                      <a:lnTo>
                        <a:pt x="2751721" y="1197127"/>
                      </a:lnTo>
                      <a:lnTo>
                        <a:pt x="2751772" y="1196936"/>
                      </a:lnTo>
                      <a:lnTo>
                        <a:pt x="2749131" y="1197584"/>
                      </a:lnTo>
                      <a:lnTo>
                        <a:pt x="2747264" y="1197851"/>
                      </a:lnTo>
                      <a:lnTo>
                        <a:pt x="2745714" y="1198270"/>
                      </a:lnTo>
                      <a:lnTo>
                        <a:pt x="2744063" y="1199007"/>
                      </a:lnTo>
                      <a:lnTo>
                        <a:pt x="2743149" y="1199680"/>
                      </a:lnTo>
                      <a:lnTo>
                        <a:pt x="2741574" y="1200111"/>
                      </a:lnTo>
                      <a:lnTo>
                        <a:pt x="2735999" y="1197584"/>
                      </a:lnTo>
                      <a:lnTo>
                        <a:pt x="2735834" y="1197508"/>
                      </a:lnTo>
                      <a:lnTo>
                        <a:pt x="2735021" y="1197229"/>
                      </a:lnTo>
                      <a:lnTo>
                        <a:pt x="2734957" y="1196606"/>
                      </a:lnTo>
                      <a:lnTo>
                        <a:pt x="2734500" y="1195755"/>
                      </a:lnTo>
                      <a:lnTo>
                        <a:pt x="2733903" y="1194587"/>
                      </a:lnTo>
                      <a:lnTo>
                        <a:pt x="2724340" y="1196606"/>
                      </a:lnTo>
                      <a:lnTo>
                        <a:pt x="2721152" y="1197102"/>
                      </a:lnTo>
                      <a:lnTo>
                        <a:pt x="2720771" y="1197508"/>
                      </a:lnTo>
                      <a:lnTo>
                        <a:pt x="2720200" y="1200200"/>
                      </a:lnTo>
                      <a:lnTo>
                        <a:pt x="2720073" y="1200912"/>
                      </a:lnTo>
                      <a:lnTo>
                        <a:pt x="2719438" y="1202016"/>
                      </a:lnTo>
                      <a:lnTo>
                        <a:pt x="2716212" y="1203312"/>
                      </a:lnTo>
                      <a:lnTo>
                        <a:pt x="2713875" y="1203058"/>
                      </a:lnTo>
                      <a:lnTo>
                        <a:pt x="2707716" y="1202182"/>
                      </a:lnTo>
                      <a:lnTo>
                        <a:pt x="2704515" y="1203502"/>
                      </a:lnTo>
                      <a:lnTo>
                        <a:pt x="2699689" y="1205776"/>
                      </a:lnTo>
                      <a:lnTo>
                        <a:pt x="2697988" y="1205382"/>
                      </a:lnTo>
                      <a:lnTo>
                        <a:pt x="2695968" y="1203477"/>
                      </a:lnTo>
                      <a:lnTo>
                        <a:pt x="2685669" y="1194676"/>
                      </a:lnTo>
                      <a:lnTo>
                        <a:pt x="2685262" y="1192644"/>
                      </a:lnTo>
                      <a:lnTo>
                        <a:pt x="2685377" y="1191463"/>
                      </a:lnTo>
                      <a:lnTo>
                        <a:pt x="2686202" y="1189456"/>
                      </a:lnTo>
                      <a:lnTo>
                        <a:pt x="2684246" y="1188643"/>
                      </a:lnTo>
                      <a:lnTo>
                        <a:pt x="2683078" y="1191463"/>
                      </a:lnTo>
                      <a:lnTo>
                        <a:pt x="2682964" y="1192034"/>
                      </a:lnTo>
                      <a:lnTo>
                        <a:pt x="2683738" y="1195806"/>
                      </a:lnTo>
                      <a:lnTo>
                        <a:pt x="2689745" y="1200912"/>
                      </a:lnTo>
                      <a:lnTo>
                        <a:pt x="2691180" y="1202194"/>
                      </a:lnTo>
                      <a:lnTo>
                        <a:pt x="2694686" y="1205166"/>
                      </a:lnTo>
                      <a:lnTo>
                        <a:pt x="2696959" y="1207338"/>
                      </a:lnTo>
                      <a:lnTo>
                        <a:pt x="2698280" y="1207617"/>
                      </a:lnTo>
                      <a:lnTo>
                        <a:pt x="2698572" y="1207643"/>
                      </a:lnTo>
                      <a:lnTo>
                        <a:pt x="2700629" y="1207643"/>
                      </a:lnTo>
                      <a:lnTo>
                        <a:pt x="2704630" y="1205776"/>
                      </a:lnTo>
                      <a:lnTo>
                        <a:pt x="2705493" y="1205382"/>
                      </a:lnTo>
                      <a:lnTo>
                        <a:pt x="2707995" y="1204366"/>
                      </a:lnTo>
                      <a:lnTo>
                        <a:pt x="2713621" y="1205166"/>
                      </a:lnTo>
                      <a:lnTo>
                        <a:pt x="2716606" y="1205522"/>
                      </a:lnTo>
                      <a:lnTo>
                        <a:pt x="2719654" y="1204366"/>
                      </a:lnTo>
                      <a:lnTo>
                        <a:pt x="2720784" y="1203934"/>
                      </a:lnTo>
                      <a:lnTo>
                        <a:pt x="2721140" y="1203312"/>
                      </a:lnTo>
                      <a:lnTo>
                        <a:pt x="2721953" y="1201902"/>
                      </a:lnTo>
                      <a:lnTo>
                        <a:pt x="2722168" y="1201420"/>
                      </a:lnTo>
                      <a:lnTo>
                        <a:pt x="2722283" y="1200556"/>
                      </a:lnTo>
                      <a:lnTo>
                        <a:pt x="2722499" y="1199591"/>
                      </a:lnTo>
                      <a:lnTo>
                        <a:pt x="2722613" y="1199184"/>
                      </a:lnTo>
                      <a:lnTo>
                        <a:pt x="2722803" y="1199007"/>
                      </a:lnTo>
                      <a:lnTo>
                        <a:pt x="2724861" y="1198676"/>
                      </a:lnTo>
                      <a:lnTo>
                        <a:pt x="2728531" y="1197889"/>
                      </a:lnTo>
                      <a:lnTo>
                        <a:pt x="2730919" y="1197622"/>
                      </a:lnTo>
                      <a:lnTo>
                        <a:pt x="2732201" y="1197584"/>
                      </a:lnTo>
                      <a:lnTo>
                        <a:pt x="2731325" y="1198422"/>
                      </a:lnTo>
                      <a:lnTo>
                        <a:pt x="2734246" y="1199121"/>
                      </a:lnTo>
                      <a:lnTo>
                        <a:pt x="2741422" y="1202334"/>
                      </a:lnTo>
                      <a:lnTo>
                        <a:pt x="2744101" y="1201623"/>
                      </a:lnTo>
                      <a:lnTo>
                        <a:pt x="2745194" y="1200810"/>
                      </a:lnTo>
                      <a:lnTo>
                        <a:pt x="2746387" y="1200289"/>
                      </a:lnTo>
                      <a:lnTo>
                        <a:pt x="2747073" y="1200111"/>
                      </a:lnTo>
                      <a:lnTo>
                        <a:pt x="2747759" y="1199934"/>
                      </a:lnTo>
                      <a:lnTo>
                        <a:pt x="2749778" y="1199616"/>
                      </a:lnTo>
                      <a:lnTo>
                        <a:pt x="2750959" y="1199489"/>
                      </a:lnTo>
                      <a:lnTo>
                        <a:pt x="2751404" y="1199349"/>
                      </a:lnTo>
                      <a:lnTo>
                        <a:pt x="2751671" y="1199197"/>
                      </a:lnTo>
                      <a:lnTo>
                        <a:pt x="2753372" y="1199273"/>
                      </a:lnTo>
                      <a:lnTo>
                        <a:pt x="2753791" y="1199311"/>
                      </a:lnTo>
                      <a:lnTo>
                        <a:pt x="2754185" y="1199273"/>
                      </a:lnTo>
                      <a:lnTo>
                        <a:pt x="2758262" y="1194231"/>
                      </a:lnTo>
                      <a:lnTo>
                        <a:pt x="2758503" y="1193774"/>
                      </a:lnTo>
                      <a:lnTo>
                        <a:pt x="2758783" y="1193482"/>
                      </a:lnTo>
                      <a:lnTo>
                        <a:pt x="2760497" y="1192199"/>
                      </a:lnTo>
                      <a:lnTo>
                        <a:pt x="2761030" y="1190853"/>
                      </a:lnTo>
                      <a:lnTo>
                        <a:pt x="2760916" y="1189621"/>
                      </a:lnTo>
                      <a:lnTo>
                        <a:pt x="2760726" y="1188923"/>
                      </a:lnTo>
                      <a:lnTo>
                        <a:pt x="2760065" y="1187323"/>
                      </a:lnTo>
                      <a:lnTo>
                        <a:pt x="2760053" y="1187043"/>
                      </a:lnTo>
                      <a:lnTo>
                        <a:pt x="2760395" y="1186802"/>
                      </a:lnTo>
                      <a:lnTo>
                        <a:pt x="2762021" y="1185773"/>
                      </a:lnTo>
                      <a:lnTo>
                        <a:pt x="2762364" y="1185532"/>
                      </a:lnTo>
                      <a:lnTo>
                        <a:pt x="2765107" y="1184021"/>
                      </a:lnTo>
                      <a:lnTo>
                        <a:pt x="2766441" y="1182725"/>
                      </a:lnTo>
                      <a:lnTo>
                        <a:pt x="2765742" y="1181188"/>
                      </a:lnTo>
                      <a:lnTo>
                        <a:pt x="2765107" y="1180630"/>
                      </a:lnTo>
                      <a:lnTo>
                        <a:pt x="2764396" y="1180439"/>
                      </a:lnTo>
                      <a:lnTo>
                        <a:pt x="2764205" y="1179283"/>
                      </a:lnTo>
                      <a:lnTo>
                        <a:pt x="2764434" y="1178153"/>
                      </a:lnTo>
                      <a:lnTo>
                        <a:pt x="2765641" y="1176616"/>
                      </a:lnTo>
                      <a:lnTo>
                        <a:pt x="2766517" y="1176261"/>
                      </a:lnTo>
                      <a:lnTo>
                        <a:pt x="2769933" y="1176540"/>
                      </a:lnTo>
                      <a:lnTo>
                        <a:pt x="2770009" y="1176261"/>
                      </a:lnTo>
                      <a:lnTo>
                        <a:pt x="2770568" y="1174267"/>
                      </a:lnTo>
                      <a:lnTo>
                        <a:pt x="2770721" y="1173772"/>
                      </a:lnTo>
                      <a:lnTo>
                        <a:pt x="2771889" y="1170317"/>
                      </a:lnTo>
                      <a:lnTo>
                        <a:pt x="2771660" y="1167663"/>
                      </a:lnTo>
                      <a:lnTo>
                        <a:pt x="2770911" y="1161770"/>
                      </a:lnTo>
                      <a:lnTo>
                        <a:pt x="2772702" y="1159116"/>
                      </a:lnTo>
                      <a:lnTo>
                        <a:pt x="2774746" y="1157198"/>
                      </a:lnTo>
                      <a:lnTo>
                        <a:pt x="2775102" y="1157312"/>
                      </a:lnTo>
                      <a:lnTo>
                        <a:pt x="2776245" y="1157427"/>
                      </a:lnTo>
                      <a:lnTo>
                        <a:pt x="2777147" y="1157439"/>
                      </a:lnTo>
                      <a:lnTo>
                        <a:pt x="2778633" y="1157414"/>
                      </a:lnTo>
                      <a:lnTo>
                        <a:pt x="2780881" y="1157198"/>
                      </a:lnTo>
                      <a:lnTo>
                        <a:pt x="2786723" y="1156398"/>
                      </a:lnTo>
                      <a:lnTo>
                        <a:pt x="2797835" y="1159865"/>
                      </a:lnTo>
                      <a:lnTo>
                        <a:pt x="2798826" y="1160145"/>
                      </a:lnTo>
                      <a:lnTo>
                        <a:pt x="2799410" y="1158113"/>
                      </a:lnTo>
                      <a:close/>
                    </a:path>
                    <a:path w="3135629" h="2095500">
                      <a:moveTo>
                        <a:pt x="2898648" y="1350200"/>
                      </a:moveTo>
                      <a:lnTo>
                        <a:pt x="2897162" y="1349717"/>
                      </a:lnTo>
                      <a:lnTo>
                        <a:pt x="2896679" y="1351178"/>
                      </a:lnTo>
                      <a:lnTo>
                        <a:pt x="2895930" y="1352499"/>
                      </a:lnTo>
                      <a:lnTo>
                        <a:pt x="2895790" y="1352804"/>
                      </a:lnTo>
                      <a:lnTo>
                        <a:pt x="2895244" y="1353870"/>
                      </a:lnTo>
                      <a:lnTo>
                        <a:pt x="2894927" y="1354531"/>
                      </a:lnTo>
                      <a:lnTo>
                        <a:pt x="2888919" y="1353553"/>
                      </a:lnTo>
                      <a:lnTo>
                        <a:pt x="2888678" y="1355102"/>
                      </a:lnTo>
                      <a:lnTo>
                        <a:pt x="2895816" y="1356258"/>
                      </a:lnTo>
                      <a:lnTo>
                        <a:pt x="2897136" y="1353604"/>
                      </a:lnTo>
                      <a:lnTo>
                        <a:pt x="2897314" y="1353210"/>
                      </a:lnTo>
                      <a:lnTo>
                        <a:pt x="2898127" y="1351813"/>
                      </a:lnTo>
                      <a:lnTo>
                        <a:pt x="2898648" y="1350200"/>
                      </a:lnTo>
                      <a:close/>
                    </a:path>
                    <a:path w="3135629" h="2095500">
                      <a:moveTo>
                        <a:pt x="2908376" y="1349146"/>
                      </a:moveTo>
                      <a:lnTo>
                        <a:pt x="2908300" y="1348867"/>
                      </a:lnTo>
                      <a:lnTo>
                        <a:pt x="2908109" y="1348028"/>
                      </a:lnTo>
                      <a:lnTo>
                        <a:pt x="2907931" y="1347647"/>
                      </a:lnTo>
                      <a:lnTo>
                        <a:pt x="2907449" y="1347304"/>
                      </a:lnTo>
                      <a:lnTo>
                        <a:pt x="2907207" y="1347063"/>
                      </a:lnTo>
                      <a:lnTo>
                        <a:pt x="2906623" y="1346784"/>
                      </a:lnTo>
                      <a:lnTo>
                        <a:pt x="2904934" y="1346352"/>
                      </a:lnTo>
                      <a:lnTo>
                        <a:pt x="2904579" y="1346238"/>
                      </a:lnTo>
                      <a:lnTo>
                        <a:pt x="2904083" y="1347863"/>
                      </a:lnTo>
                      <a:lnTo>
                        <a:pt x="2904452" y="1347978"/>
                      </a:lnTo>
                      <a:lnTo>
                        <a:pt x="2906001" y="1348371"/>
                      </a:lnTo>
                      <a:lnTo>
                        <a:pt x="2906179" y="1348435"/>
                      </a:lnTo>
                      <a:lnTo>
                        <a:pt x="2906522" y="1348638"/>
                      </a:lnTo>
                      <a:lnTo>
                        <a:pt x="2906534" y="1348816"/>
                      </a:lnTo>
                      <a:lnTo>
                        <a:pt x="2906598" y="1349095"/>
                      </a:lnTo>
                      <a:lnTo>
                        <a:pt x="2906649" y="1349248"/>
                      </a:lnTo>
                      <a:lnTo>
                        <a:pt x="2906471" y="1349451"/>
                      </a:lnTo>
                      <a:lnTo>
                        <a:pt x="2906534" y="1349616"/>
                      </a:lnTo>
                      <a:lnTo>
                        <a:pt x="2906191" y="1350365"/>
                      </a:lnTo>
                      <a:lnTo>
                        <a:pt x="2905607" y="1352105"/>
                      </a:lnTo>
                      <a:lnTo>
                        <a:pt x="2905442" y="1353578"/>
                      </a:lnTo>
                      <a:lnTo>
                        <a:pt x="2905442" y="1353985"/>
                      </a:lnTo>
                      <a:lnTo>
                        <a:pt x="2905379" y="1354632"/>
                      </a:lnTo>
                      <a:lnTo>
                        <a:pt x="2907068" y="1354797"/>
                      </a:lnTo>
                      <a:lnTo>
                        <a:pt x="2907233" y="1353413"/>
                      </a:lnTo>
                      <a:lnTo>
                        <a:pt x="2907284" y="1352473"/>
                      </a:lnTo>
                      <a:lnTo>
                        <a:pt x="2907804" y="1350899"/>
                      </a:lnTo>
                      <a:lnTo>
                        <a:pt x="2907855" y="1350670"/>
                      </a:lnTo>
                      <a:lnTo>
                        <a:pt x="2908122" y="1350429"/>
                      </a:lnTo>
                      <a:lnTo>
                        <a:pt x="2908223" y="1350137"/>
                      </a:lnTo>
                      <a:lnTo>
                        <a:pt x="2908274" y="1349832"/>
                      </a:lnTo>
                      <a:lnTo>
                        <a:pt x="2908338" y="1349552"/>
                      </a:lnTo>
                      <a:lnTo>
                        <a:pt x="2908376" y="1349146"/>
                      </a:lnTo>
                      <a:close/>
                    </a:path>
                    <a:path w="3135629" h="2095500">
                      <a:moveTo>
                        <a:pt x="2954248" y="635342"/>
                      </a:moveTo>
                      <a:lnTo>
                        <a:pt x="2952724" y="635711"/>
                      </a:lnTo>
                      <a:lnTo>
                        <a:pt x="2953029" y="636689"/>
                      </a:lnTo>
                      <a:lnTo>
                        <a:pt x="2952064" y="636549"/>
                      </a:lnTo>
                      <a:lnTo>
                        <a:pt x="2952013" y="636968"/>
                      </a:lnTo>
                      <a:lnTo>
                        <a:pt x="2951823" y="637362"/>
                      </a:lnTo>
                      <a:lnTo>
                        <a:pt x="2951772" y="637590"/>
                      </a:lnTo>
                      <a:lnTo>
                        <a:pt x="2950908" y="638733"/>
                      </a:lnTo>
                      <a:lnTo>
                        <a:pt x="2949270" y="640613"/>
                      </a:lnTo>
                      <a:lnTo>
                        <a:pt x="2948165" y="641159"/>
                      </a:lnTo>
                      <a:lnTo>
                        <a:pt x="2937497" y="642124"/>
                      </a:lnTo>
                      <a:lnTo>
                        <a:pt x="2935198" y="641858"/>
                      </a:lnTo>
                      <a:lnTo>
                        <a:pt x="2932811" y="642962"/>
                      </a:lnTo>
                      <a:lnTo>
                        <a:pt x="2931020" y="645655"/>
                      </a:lnTo>
                      <a:lnTo>
                        <a:pt x="2928734" y="648309"/>
                      </a:lnTo>
                      <a:lnTo>
                        <a:pt x="2928340" y="649274"/>
                      </a:lnTo>
                      <a:lnTo>
                        <a:pt x="2928074" y="649630"/>
                      </a:lnTo>
                      <a:lnTo>
                        <a:pt x="2928721" y="650417"/>
                      </a:lnTo>
                      <a:lnTo>
                        <a:pt x="2928531" y="651471"/>
                      </a:lnTo>
                      <a:lnTo>
                        <a:pt x="2929356" y="651484"/>
                      </a:lnTo>
                      <a:lnTo>
                        <a:pt x="2929712" y="650989"/>
                      </a:lnTo>
                      <a:lnTo>
                        <a:pt x="2929826" y="650748"/>
                      </a:lnTo>
                      <a:lnTo>
                        <a:pt x="2930156" y="650544"/>
                      </a:lnTo>
                      <a:lnTo>
                        <a:pt x="2930474" y="649541"/>
                      </a:lnTo>
                      <a:lnTo>
                        <a:pt x="2932722" y="646925"/>
                      </a:lnTo>
                      <a:lnTo>
                        <a:pt x="2934246" y="644626"/>
                      </a:lnTo>
                      <a:lnTo>
                        <a:pt x="2935617" y="644004"/>
                      </a:lnTo>
                      <a:lnTo>
                        <a:pt x="2937827" y="644220"/>
                      </a:lnTo>
                      <a:lnTo>
                        <a:pt x="2948736" y="643242"/>
                      </a:lnTo>
                      <a:lnTo>
                        <a:pt x="2950629" y="642289"/>
                      </a:lnTo>
                      <a:lnTo>
                        <a:pt x="2952610" y="639991"/>
                      </a:lnTo>
                      <a:lnTo>
                        <a:pt x="2953778" y="638492"/>
                      </a:lnTo>
                      <a:lnTo>
                        <a:pt x="2953816" y="638086"/>
                      </a:lnTo>
                      <a:lnTo>
                        <a:pt x="2953994" y="637717"/>
                      </a:lnTo>
                      <a:lnTo>
                        <a:pt x="2954248" y="635342"/>
                      </a:lnTo>
                      <a:close/>
                    </a:path>
                    <a:path w="3135629" h="2095500">
                      <a:moveTo>
                        <a:pt x="3051137" y="465201"/>
                      </a:moveTo>
                      <a:lnTo>
                        <a:pt x="3042793" y="465201"/>
                      </a:lnTo>
                      <a:lnTo>
                        <a:pt x="3040926" y="466471"/>
                      </a:lnTo>
                      <a:lnTo>
                        <a:pt x="3035884" y="466471"/>
                      </a:lnTo>
                      <a:lnTo>
                        <a:pt x="3033611" y="467741"/>
                      </a:lnTo>
                      <a:lnTo>
                        <a:pt x="3027426" y="470281"/>
                      </a:lnTo>
                      <a:lnTo>
                        <a:pt x="3024022" y="471551"/>
                      </a:lnTo>
                      <a:lnTo>
                        <a:pt x="3019907" y="471551"/>
                      </a:lnTo>
                      <a:lnTo>
                        <a:pt x="3017037" y="472821"/>
                      </a:lnTo>
                      <a:lnTo>
                        <a:pt x="3015754" y="474091"/>
                      </a:lnTo>
                      <a:lnTo>
                        <a:pt x="3014319" y="474091"/>
                      </a:lnTo>
                      <a:lnTo>
                        <a:pt x="3012833" y="476631"/>
                      </a:lnTo>
                      <a:lnTo>
                        <a:pt x="3011792" y="477901"/>
                      </a:lnTo>
                      <a:lnTo>
                        <a:pt x="3010814" y="477901"/>
                      </a:lnTo>
                      <a:lnTo>
                        <a:pt x="3005836" y="479171"/>
                      </a:lnTo>
                      <a:lnTo>
                        <a:pt x="2993504" y="479171"/>
                      </a:lnTo>
                      <a:lnTo>
                        <a:pt x="2991116" y="477901"/>
                      </a:lnTo>
                      <a:lnTo>
                        <a:pt x="2990850" y="476631"/>
                      </a:lnTo>
                      <a:lnTo>
                        <a:pt x="2990570" y="476631"/>
                      </a:lnTo>
                      <a:lnTo>
                        <a:pt x="2990469" y="475361"/>
                      </a:lnTo>
                      <a:lnTo>
                        <a:pt x="2989503" y="475361"/>
                      </a:lnTo>
                      <a:lnTo>
                        <a:pt x="2989059" y="474091"/>
                      </a:lnTo>
                      <a:lnTo>
                        <a:pt x="2987205" y="472821"/>
                      </a:lnTo>
                      <a:lnTo>
                        <a:pt x="2988360" y="471551"/>
                      </a:lnTo>
                      <a:lnTo>
                        <a:pt x="2988640" y="470281"/>
                      </a:lnTo>
                      <a:lnTo>
                        <a:pt x="2989008" y="470281"/>
                      </a:lnTo>
                      <a:lnTo>
                        <a:pt x="2989707" y="469011"/>
                      </a:lnTo>
                      <a:lnTo>
                        <a:pt x="2989237" y="467741"/>
                      </a:lnTo>
                      <a:lnTo>
                        <a:pt x="2988767" y="465201"/>
                      </a:lnTo>
                      <a:lnTo>
                        <a:pt x="2988272" y="465201"/>
                      </a:lnTo>
                      <a:lnTo>
                        <a:pt x="2988018" y="463931"/>
                      </a:lnTo>
                      <a:lnTo>
                        <a:pt x="2987510" y="463931"/>
                      </a:lnTo>
                      <a:lnTo>
                        <a:pt x="2985668" y="462661"/>
                      </a:lnTo>
                      <a:lnTo>
                        <a:pt x="2985630" y="461391"/>
                      </a:lnTo>
                      <a:lnTo>
                        <a:pt x="2986887" y="457581"/>
                      </a:lnTo>
                      <a:lnTo>
                        <a:pt x="2982264" y="456311"/>
                      </a:lnTo>
                      <a:lnTo>
                        <a:pt x="2981452" y="456311"/>
                      </a:lnTo>
                      <a:lnTo>
                        <a:pt x="2980804" y="457581"/>
                      </a:lnTo>
                      <a:lnTo>
                        <a:pt x="2980309" y="457581"/>
                      </a:lnTo>
                      <a:lnTo>
                        <a:pt x="2971088" y="448691"/>
                      </a:lnTo>
                      <a:lnTo>
                        <a:pt x="2969768" y="447421"/>
                      </a:lnTo>
                      <a:lnTo>
                        <a:pt x="2967850" y="446151"/>
                      </a:lnTo>
                      <a:lnTo>
                        <a:pt x="2965932" y="447421"/>
                      </a:lnTo>
                      <a:lnTo>
                        <a:pt x="2960738" y="446151"/>
                      </a:lnTo>
                      <a:lnTo>
                        <a:pt x="2956534" y="443611"/>
                      </a:lnTo>
                      <a:lnTo>
                        <a:pt x="2945409" y="443611"/>
                      </a:lnTo>
                      <a:lnTo>
                        <a:pt x="2942437" y="438531"/>
                      </a:lnTo>
                      <a:lnTo>
                        <a:pt x="2942145" y="438531"/>
                      </a:lnTo>
                      <a:lnTo>
                        <a:pt x="2942094" y="437261"/>
                      </a:lnTo>
                      <a:lnTo>
                        <a:pt x="2942894" y="433451"/>
                      </a:lnTo>
                      <a:lnTo>
                        <a:pt x="2942640" y="432181"/>
                      </a:lnTo>
                      <a:lnTo>
                        <a:pt x="2942259" y="432181"/>
                      </a:lnTo>
                      <a:lnTo>
                        <a:pt x="2940964" y="429641"/>
                      </a:lnTo>
                      <a:lnTo>
                        <a:pt x="2936646" y="419481"/>
                      </a:lnTo>
                      <a:lnTo>
                        <a:pt x="2935821" y="419481"/>
                      </a:lnTo>
                      <a:lnTo>
                        <a:pt x="2935198" y="418211"/>
                      </a:lnTo>
                      <a:lnTo>
                        <a:pt x="2934131" y="411861"/>
                      </a:lnTo>
                      <a:lnTo>
                        <a:pt x="2932011" y="411861"/>
                      </a:lnTo>
                      <a:lnTo>
                        <a:pt x="2930969" y="409321"/>
                      </a:lnTo>
                      <a:lnTo>
                        <a:pt x="2928480" y="404241"/>
                      </a:lnTo>
                      <a:lnTo>
                        <a:pt x="2927312" y="400431"/>
                      </a:lnTo>
                      <a:lnTo>
                        <a:pt x="2926880" y="400431"/>
                      </a:lnTo>
                      <a:lnTo>
                        <a:pt x="2926829" y="399161"/>
                      </a:lnTo>
                      <a:lnTo>
                        <a:pt x="2927375" y="399161"/>
                      </a:lnTo>
                      <a:lnTo>
                        <a:pt x="2927261" y="397891"/>
                      </a:lnTo>
                      <a:lnTo>
                        <a:pt x="2920111" y="387731"/>
                      </a:lnTo>
                      <a:lnTo>
                        <a:pt x="2920301" y="387731"/>
                      </a:lnTo>
                      <a:lnTo>
                        <a:pt x="2921127" y="386461"/>
                      </a:lnTo>
                      <a:lnTo>
                        <a:pt x="2921355" y="385191"/>
                      </a:lnTo>
                      <a:lnTo>
                        <a:pt x="2921546" y="385191"/>
                      </a:lnTo>
                      <a:lnTo>
                        <a:pt x="2921317" y="383921"/>
                      </a:lnTo>
                      <a:lnTo>
                        <a:pt x="2920479" y="383921"/>
                      </a:lnTo>
                      <a:lnTo>
                        <a:pt x="2919006" y="382651"/>
                      </a:lnTo>
                      <a:lnTo>
                        <a:pt x="2916047" y="380111"/>
                      </a:lnTo>
                      <a:lnTo>
                        <a:pt x="2914332" y="378841"/>
                      </a:lnTo>
                      <a:lnTo>
                        <a:pt x="2913799" y="377571"/>
                      </a:lnTo>
                      <a:lnTo>
                        <a:pt x="2911170" y="377571"/>
                      </a:lnTo>
                      <a:lnTo>
                        <a:pt x="2910268" y="376301"/>
                      </a:lnTo>
                      <a:lnTo>
                        <a:pt x="2908173" y="376301"/>
                      </a:lnTo>
                      <a:lnTo>
                        <a:pt x="2907347" y="375031"/>
                      </a:lnTo>
                      <a:lnTo>
                        <a:pt x="2906039" y="375031"/>
                      </a:lnTo>
                      <a:lnTo>
                        <a:pt x="2903969" y="376301"/>
                      </a:lnTo>
                      <a:lnTo>
                        <a:pt x="2903055" y="376301"/>
                      </a:lnTo>
                      <a:lnTo>
                        <a:pt x="2899892" y="375031"/>
                      </a:lnTo>
                      <a:lnTo>
                        <a:pt x="2892704" y="372491"/>
                      </a:lnTo>
                      <a:lnTo>
                        <a:pt x="2890837" y="371221"/>
                      </a:lnTo>
                      <a:lnTo>
                        <a:pt x="2886837" y="368681"/>
                      </a:lnTo>
                      <a:lnTo>
                        <a:pt x="2878696" y="368681"/>
                      </a:lnTo>
                      <a:lnTo>
                        <a:pt x="2876880" y="369951"/>
                      </a:lnTo>
                      <a:lnTo>
                        <a:pt x="2878150" y="369963"/>
                      </a:lnTo>
                      <a:lnTo>
                        <a:pt x="2869400" y="369963"/>
                      </a:lnTo>
                      <a:lnTo>
                        <a:pt x="2862186" y="371221"/>
                      </a:lnTo>
                      <a:lnTo>
                        <a:pt x="2853791" y="372491"/>
                      </a:lnTo>
                      <a:lnTo>
                        <a:pt x="2849702" y="373761"/>
                      </a:lnTo>
                      <a:lnTo>
                        <a:pt x="2845181" y="373761"/>
                      </a:lnTo>
                      <a:lnTo>
                        <a:pt x="2842361" y="376301"/>
                      </a:lnTo>
                      <a:lnTo>
                        <a:pt x="2838539" y="380111"/>
                      </a:lnTo>
                      <a:lnTo>
                        <a:pt x="2836621" y="381381"/>
                      </a:lnTo>
                      <a:lnTo>
                        <a:pt x="2835745" y="382651"/>
                      </a:lnTo>
                      <a:lnTo>
                        <a:pt x="2834106" y="382651"/>
                      </a:lnTo>
                      <a:lnTo>
                        <a:pt x="2832925" y="383921"/>
                      </a:lnTo>
                      <a:lnTo>
                        <a:pt x="2832963" y="385191"/>
                      </a:lnTo>
                      <a:lnTo>
                        <a:pt x="2832595" y="386461"/>
                      </a:lnTo>
                      <a:lnTo>
                        <a:pt x="2832798" y="387731"/>
                      </a:lnTo>
                      <a:lnTo>
                        <a:pt x="2833586" y="387731"/>
                      </a:lnTo>
                      <a:lnTo>
                        <a:pt x="2833827" y="389001"/>
                      </a:lnTo>
                      <a:lnTo>
                        <a:pt x="2841853" y="389001"/>
                      </a:lnTo>
                      <a:lnTo>
                        <a:pt x="2842298" y="390271"/>
                      </a:lnTo>
                      <a:lnTo>
                        <a:pt x="2842006" y="392811"/>
                      </a:lnTo>
                      <a:lnTo>
                        <a:pt x="2841841" y="394081"/>
                      </a:lnTo>
                      <a:lnTo>
                        <a:pt x="2842615" y="395351"/>
                      </a:lnTo>
                      <a:lnTo>
                        <a:pt x="2843123" y="395351"/>
                      </a:lnTo>
                      <a:lnTo>
                        <a:pt x="2843339" y="396621"/>
                      </a:lnTo>
                      <a:lnTo>
                        <a:pt x="2842323" y="397891"/>
                      </a:lnTo>
                      <a:lnTo>
                        <a:pt x="2839999" y="400431"/>
                      </a:lnTo>
                      <a:lnTo>
                        <a:pt x="2832722" y="408051"/>
                      </a:lnTo>
                      <a:lnTo>
                        <a:pt x="2831490" y="410591"/>
                      </a:lnTo>
                      <a:lnTo>
                        <a:pt x="2830461" y="411861"/>
                      </a:lnTo>
                      <a:lnTo>
                        <a:pt x="2828556" y="415671"/>
                      </a:lnTo>
                      <a:lnTo>
                        <a:pt x="2825978" y="419481"/>
                      </a:lnTo>
                      <a:lnTo>
                        <a:pt x="2823705" y="424561"/>
                      </a:lnTo>
                      <a:lnTo>
                        <a:pt x="2823019" y="428371"/>
                      </a:lnTo>
                      <a:lnTo>
                        <a:pt x="2822905" y="432181"/>
                      </a:lnTo>
                      <a:lnTo>
                        <a:pt x="2822689" y="433451"/>
                      </a:lnTo>
                      <a:lnTo>
                        <a:pt x="2823057" y="434721"/>
                      </a:lnTo>
                      <a:lnTo>
                        <a:pt x="2822765" y="434721"/>
                      </a:lnTo>
                      <a:lnTo>
                        <a:pt x="2818561" y="437261"/>
                      </a:lnTo>
                      <a:lnTo>
                        <a:pt x="2812631" y="437261"/>
                      </a:lnTo>
                      <a:lnTo>
                        <a:pt x="2810560" y="438531"/>
                      </a:lnTo>
                      <a:lnTo>
                        <a:pt x="2807462" y="441071"/>
                      </a:lnTo>
                      <a:lnTo>
                        <a:pt x="2802966" y="444881"/>
                      </a:lnTo>
                      <a:lnTo>
                        <a:pt x="2798229" y="443611"/>
                      </a:lnTo>
                      <a:lnTo>
                        <a:pt x="2797911" y="443611"/>
                      </a:lnTo>
                      <a:lnTo>
                        <a:pt x="2797784" y="442341"/>
                      </a:lnTo>
                      <a:lnTo>
                        <a:pt x="2789136" y="439801"/>
                      </a:lnTo>
                      <a:lnTo>
                        <a:pt x="2786519" y="439801"/>
                      </a:lnTo>
                      <a:lnTo>
                        <a:pt x="2786164" y="438531"/>
                      </a:lnTo>
                      <a:lnTo>
                        <a:pt x="2785478" y="438531"/>
                      </a:lnTo>
                      <a:lnTo>
                        <a:pt x="2782468" y="437261"/>
                      </a:lnTo>
                      <a:lnTo>
                        <a:pt x="2780893" y="435991"/>
                      </a:lnTo>
                      <a:lnTo>
                        <a:pt x="2779585" y="435991"/>
                      </a:lnTo>
                      <a:lnTo>
                        <a:pt x="2769984" y="438531"/>
                      </a:lnTo>
                      <a:lnTo>
                        <a:pt x="2769501" y="437261"/>
                      </a:lnTo>
                      <a:lnTo>
                        <a:pt x="2769070" y="437261"/>
                      </a:lnTo>
                      <a:lnTo>
                        <a:pt x="2761869" y="433451"/>
                      </a:lnTo>
                      <a:lnTo>
                        <a:pt x="2759456" y="432181"/>
                      </a:lnTo>
                      <a:lnTo>
                        <a:pt x="2757576" y="432181"/>
                      </a:lnTo>
                      <a:lnTo>
                        <a:pt x="2755862" y="430911"/>
                      </a:lnTo>
                      <a:lnTo>
                        <a:pt x="2750642" y="432181"/>
                      </a:lnTo>
                      <a:lnTo>
                        <a:pt x="2747048" y="432181"/>
                      </a:lnTo>
                      <a:lnTo>
                        <a:pt x="2743631" y="434721"/>
                      </a:lnTo>
                      <a:lnTo>
                        <a:pt x="2740977" y="435991"/>
                      </a:lnTo>
                      <a:lnTo>
                        <a:pt x="2737904" y="438531"/>
                      </a:lnTo>
                      <a:lnTo>
                        <a:pt x="2731312" y="444881"/>
                      </a:lnTo>
                      <a:lnTo>
                        <a:pt x="2730614" y="444881"/>
                      </a:lnTo>
                      <a:lnTo>
                        <a:pt x="2720467" y="446151"/>
                      </a:lnTo>
                      <a:lnTo>
                        <a:pt x="2702547" y="451231"/>
                      </a:lnTo>
                      <a:lnTo>
                        <a:pt x="2701582" y="451231"/>
                      </a:lnTo>
                      <a:lnTo>
                        <a:pt x="2682189" y="448691"/>
                      </a:lnTo>
                      <a:lnTo>
                        <a:pt x="2669667" y="448691"/>
                      </a:lnTo>
                      <a:lnTo>
                        <a:pt x="2663202" y="443611"/>
                      </a:lnTo>
                      <a:lnTo>
                        <a:pt x="2662580" y="439801"/>
                      </a:lnTo>
                      <a:lnTo>
                        <a:pt x="2662339" y="438531"/>
                      </a:lnTo>
                      <a:lnTo>
                        <a:pt x="2661970" y="437261"/>
                      </a:lnTo>
                      <a:lnTo>
                        <a:pt x="2659557" y="437261"/>
                      </a:lnTo>
                      <a:lnTo>
                        <a:pt x="2657487" y="435991"/>
                      </a:lnTo>
                      <a:lnTo>
                        <a:pt x="2652458" y="435991"/>
                      </a:lnTo>
                      <a:lnTo>
                        <a:pt x="2646400" y="430911"/>
                      </a:lnTo>
                      <a:lnTo>
                        <a:pt x="2644114" y="429641"/>
                      </a:lnTo>
                      <a:lnTo>
                        <a:pt x="2634208" y="429641"/>
                      </a:lnTo>
                      <a:lnTo>
                        <a:pt x="2632799" y="428371"/>
                      </a:lnTo>
                      <a:lnTo>
                        <a:pt x="2628544" y="428371"/>
                      </a:lnTo>
                      <a:lnTo>
                        <a:pt x="2627160" y="427101"/>
                      </a:lnTo>
                      <a:lnTo>
                        <a:pt x="2622346" y="427101"/>
                      </a:lnTo>
                      <a:lnTo>
                        <a:pt x="2619895" y="428371"/>
                      </a:lnTo>
                      <a:lnTo>
                        <a:pt x="2617520" y="428371"/>
                      </a:lnTo>
                      <a:lnTo>
                        <a:pt x="2612504" y="429641"/>
                      </a:lnTo>
                      <a:lnTo>
                        <a:pt x="2609278" y="430911"/>
                      </a:lnTo>
                      <a:lnTo>
                        <a:pt x="2608618" y="430911"/>
                      </a:lnTo>
                      <a:lnTo>
                        <a:pt x="2607449" y="432181"/>
                      </a:lnTo>
                      <a:lnTo>
                        <a:pt x="2606205" y="432181"/>
                      </a:lnTo>
                      <a:lnTo>
                        <a:pt x="2605367" y="433451"/>
                      </a:lnTo>
                      <a:lnTo>
                        <a:pt x="2603728" y="433451"/>
                      </a:lnTo>
                      <a:lnTo>
                        <a:pt x="2585758" y="428371"/>
                      </a:lnTo>
                      <a:lnTo>
                        <a:pt x="2584335" y="428371"/>
                      </a:lnTo>
                      <a:lnTo>
                        <a:pt x="2583357" y="427101"/>
                      </a:lnTo>
                      <a:lnTo>
                        <a:pt x="2582824" y="427101"/>
                      </a:lnTo>
                      <a:lnTo>
                        <a:pt x="2581859" y="425831"/>
                      </a:lnTo>
                      <a:lnTo>
                        <a:pt x="2581338" y="425831"/>
                      </a:lnTo>
                      <a:lnTo>
                        <a:pt x="2581059" y="424561"/>
                      </a:lnTo>
                      <a:lnTo>
                        <a:pt x="2580894" y="424561"/>
                      </a:lnTo>
                      <a:lnTo>
                        <a:pt x="2580678" y="423291"/>
                      </a:lnTo>
                      <a:lnTo>
                        <a:pt x="2580119" y="422021"/>
                      </a:lnTo>
                      <a:lnTo>
                        <a:pt x="2579852" y="419481"/>
                      </a:lnTo>
                      <a:lnTo>
                        <a:pt x="2579649" y="418211"/>
                      </a:lnTo>
                      <a:lnTo>
                        <a:pt x="2579192" y="414401"/>
                      </a:lnTo>
                      <a:lnTo>
                        <a:pt x="2580221" y="413131"/>
                      </a:lnTo>
                      <a:lnTo>
                        <a:pt x="2579954" y="411861"/>
                      </a:lnTo>
                      <a:lnTo>
                        <a:pt x="2579484" y="410591"/>
                      </a:lnTo>
                      <a:lnTo>
                        <a:pt x="2578468" y="410591"/>
                      </a:lnTo>
                      <a:lnTo>
                        <a:pt x="2574429" y="409321"/>
                      </a:lnTo>
                      <a:lnTo>
                        <a:pt x="2565158" y="406781"/>
                      </a:lnTo>
                      <a:lnTo>
                        <a:pt x="2558338" y="404241"/>
                      </a:lnTo>
                      <a:lnTo>
                        <a:pt x="2553932" y="404241"/>
                      </a:lnTo>
                      <a:lnTo>
                        <a:pt x="2546134" y="402971"/>
                      </a:lnTo>
                      <a:lnTo>
                        <a:pt x="2536571" y="397891"/>
                      </a:lnTo>
                      <a:lnTo>
                        <a:pt x="2531783" y="395351"/>
                      </a:lnTo>
                      <a:lnTo>
                        <a:pt x="2525407" y="401701"/>
                      </a:lnTo>
                      <a:lnTo>
                        <a:pt x="2523185" y="402971"/>
                      </a:lnTo>
                      <a:lnTo>
                        <a:pt x="2522702" y="404241"/>
                      </a:lnTo>
                      <a:lnTo>
                        <a:pt x="2522207" y="404241"/>
                      </a:lnTo>
                      <a:lnTo>
                        <a:pt x="2521953" y="405511"/>
                      </a:lnTo>
                      <a:lnTo>
                        <a:pt x="2521508" y="406781"/>
                      </a:lnTo>
                      <a:lnTo>
                        <a:pt x="2521216" y="408051"/>
                      </a:lnTo>
                      <a:lnTo>
                        <a:pt x="2519286" y="408051"/>
                      </a:lnTo>
                      <a:lnTo>
                        <a:pt x="2518511" y="409321"/>
                      </a:lnTo>
                      <a:lnTo>
                        <a:pt x="2518245" y="409321"/>
                      </a:lnTo>
                      <a:lnTo>
                        <a:pt x="2517508" y="410591"/>
                      </a:lnTo>
                      <a:lnTo>
                        <a:pt x="2516644" y="414401"/>
                      </a:lnTo>
                      <a:lnTo>
                        <a:pt x="2516428" y="414401"/>
                      </a:lnTo>
                      <a:lnTo>
                        <a:pt x="2516060" y="416941"/>
                      </a:lnTo>
                      <a:lnTo>
                        <a:pt x="2521674" y="428371"/>
                      </a:lnTo>
                      <a:lnTo>
                        <a:pt x="2521801" y="428371"/>
                      </a:lnTo>
                      <a:lnTo>
                        <a:pt x="2519984" y="434721"/>
                      </a:lnTo>
                      <a:lnTo>
                        <a:pt x="2519845" y="434721"/>
                      </a:lnTo>
                      <a:lnTo>
                        <a:pt x="2519134" y="435991"/>
                      </a:lnTo>
                      <a:lnTo>
                        <a:pt x="2515171" y="437261"/>
                      </a:lnTo>
                      <a:lnTo>
                        <a:pt x="2512669" y="437261"/>
                      </a:lnTo>
                      <a:lnTo>
                        <a:pt x="2512225" y="438531"/>
                      </a:lnTo>
                      <a:lnTo>
                        <a:pt x="2511653" y="438531"/>
                      </a:lnTo>
                      <a:lnTo>
                        <a:pt x="2510472" y="439801"/>
                      </a:lnTo>
                      <a:lnTo>
                        <a:pt x="2508859" y="441071"/>
                      </a:lnTo>
                      <a:lnTo>
                        <a:pt x="2507691" y="441071"/>
                      </a:lnTo>
                      <a:lnTo>
                        <a:pt x="2504948" y="439801"/>
                      </a:lnTo>
                      <a:lnTo>
                        <a:pt x="2498039" y="438531"/>
                      </a:lnTo>
                      <a:lnTo>
                        <a:pt x="2496413" y="437261"/>
                      </a:lnTo>
                      <a:lnTo>
                        <a:pt x="2492616" y="435991"/>
                      </a:lnTo>
                      <a:lnTo>
                        <a:pt x="2486990" y="435991"/>
                      </a:lnTo>
                      <a:lnTo>
                        <a:pt x="2484475" y="437261"/>
                      </a:lnTo>
                      <a:lnTo>
                        <a:pt x="2481351" y="437261"/>
                      </a:lnTo>
                      <a:lnTo>
                        <a:pt x="2470632" y="435991"/>
                      </a:lnTo>
                      <a:lnTo>
                        <a:pt x="2470454" y="435991"/>
                      </a:lnTo>
                      <a:lnTo>
                        <a:pt x="2469477" y="433451"/>
                      </a:lnTo>
                      <a:lnTo>
                        <a:pt x="2468905" y="432181"/>
                      </a:lnTo>
                      <a:lnTo>
                        <a:pt x="2467330" y="428371"/>
                      </a:lnTo>
                      <a:lnTo>
                        <a:pt x="2466581" y="427101"/>
                      </a:lnTo>
                      <a:lnTo>
                        <a:pt x="2466289" y="425831"/>
                      </a:lnTo>
                      <a:lnTo>
                        <a:pt x="2464638" y="425831"/>
                      </a:lnTo>
                      <a:lnTo>
                        <a:pt x="2457323" y="424561"/>
                      </a:lnTo>
                      <a:lnTo>
                        <a:pt x="2452243" y="424561"/>
                      </a:lnTo>
                      <a:lnTo>
                        <a:pt x="2450579" y="423291"/>
                      </a:lnTo>
                      <a:lnTo>
                        <a:pt x="2449550" y="423291"/>
                      </a:lnTo>
                      <a:lnTo>
                        <a:pt x="2447582" y="422021"/>
                      </a:lnTo>
                      <a:lnTo>
                        <a:pt x="2446832" y="422021"/>
                      </a:lnTo>
                      <a:lnTo>
                        <a:pt x="2446401" y="420751"/>
                      </a:lnTo>
                      <a:lnTo>
                        <a:pt x="2439568" y="420751"/>
                      </a:lnTo>
                      <a:lnTo>
                        <a:pt x="2439162" y="419481"/>
                      </a:lnTo>
                      <a:lnTo>
                        <a:pt x="2437549" y="419481"/>
                      </a:lnTo>
                      <a:lnTo>
                        <a:pt x="2437104" y="420751"/>
                      </a:lnTo>
                      <a:lnTo>
                        <a:pt x="2436596" y="420751"/>
                      </a:lnTo>
                      <a:lnTo>
                        <a:pt x="2435707" y="423291"/>
                      </a:lnTo>
                      <a:lnTo>
                        <a:pt x="2428659" y="423291"/>
                      </a:lnTo>
                      <a:lnTo>
                        <a:pt x="2425509" y="424561"/>
                      </a:lnTo>
                      <a:lnTo>
                        <a:pt x="2424074" y="425831"/>
                      </a:lnTo>
                      <a:lnTo>
                        <a:pt x="2421242" y="427101"/>
                      </a:lnTo>
                      <a:lnTo>
                        <a:pt x="2416581" y="429641"/>
                      </a:lnTo>
                      <a:lnTo>
                        <a:pt x="2411107" y="432181"/>
                      </a:lnTo>
                      <a:lnTo>
                        <a:pt x="2408047" y="433451"/>
                      </a:lnTo>
                      <a:lnTo>
                        <a:pt x="2407107" y="434721"/>
                      </a:lnTo>
                      <a:lnTo>
                        <a:pt x="2405532" y="435991"/>
                      </a:lnTo>
                      <a:lnTo>
                        <a:pt x="2405215" y="434721"/>
                      </a:lnTo>
                      <a:lnTo>
                        <a:pt x="2404821" y="435991"/>
                      </a:lnTo>
                      <a:lnTo>
                        <a:pt x="2403271" y="435991"/>
                      </a:lnTo>
                      <a:lnTo>
                        <a:pt x="2402878" y="437261"/>
                      </a:lnTo>
                      <a:lnTo>
                        <a:pt x="2399284" y="437261"/>
                      </a:lnTo>
                      <a:lnTo>
                        <a:pt x="2396528" y="435991"/>
                      </a:lnTo>
                      <a:lnTo>
                        <a:pt x="2397747" y="438531"/>
                      </a:lnTo>
                      <a:lnTo>
                        <a:pt x="2398382" y="442341"/>
                      </a:lnTo>
                      <a:lnTo>
                        <a:pt x="2397912" y="442341"/>
                      </a:lnTo>
                      <a:lnTo>
                        <a:pt x="2394483" y="443611"/>
                      </a:lnTo>
                      <a:lnTo>
                        <a:pt x="2392019" y="444881"/>
                      </a:lnTo>
                      <a:lnTo>
                        <a:pt x="2385136" y="444881"/>
                      </a:lnTo>
                      <a:lnTo>
                        <a:pt x="2382761" y="446151"/>
                      </a:lnTo>
                      <a:lnTo>
                        <a:pt x="2378964" y="446151"/>
                      </a:lnTo>
                      <a:lnTo>
                        <a:pt x="2379040" y="447421"/>
                      </a:lnTo>
                      <a:lnTo>
                        <a:pt x="2378633" y="446151"/>
                      </a:lnTo>
                      <a:lnTo>
                        <a:pt x="2377821" y="446151"/>
                      </a:lnTo>
                      <a:lnTo>
                        <a:pt x="2377554" y="447421"/>
                      </a:lnTo>
                      <a:lnTo>
                        <a:pt x="2377173" y="448691"/>
                      </a:lnTo>
                      <a:lnTo>
                        <a:pt x="2377097" y="449961"/>
                      </a:lnTo>
                      <a:lnTo>
                        <a:pt x="2376919" y="449961"/>
                      </a:lnTo>
                      <a:lnTo>
                        <a:pt x="2372664" y="451231"/>
                      </a:lnTo>
                      <a:lnTo>
                        <a:pt x="2371445" y="451231"/>
                      </a:lnTo>
                      <a:lnTo>
                        <a:pt x="2371483" y="452501"/>
                      </a:lnTo>
                      <a:lnTo>
                        <a:pt x="2365743" y="452501"/>
                      </a:lnTo>
                      <a:lnTo>
                        <a:pt x="2359837" y="447421"/>
                      </a:lnTo>
                      <a:lnTo>
                        <a:pt x="2357513" y="444881"/>
                      </a:lnTo>
                      <a:lnTo>
                        <a:pt x="2356701" y="444881"/>
                      </a:lnTo>
                      <a:lnTo>
                        <a:pt x="2356739" y="442341"/>
                      </a:lnTo>
                      <a:lnTo>
                        <a:pt x="2356701" y="438531"/>
                      </a:lnTo>
                      <a:lnTo>
                        <a:pt x="2351773" y="443611"/>
                      </a:lnTo>
                      <a:lnTo>
                        <a:pt x="2350846" y="443611"/>
                      </a:lnTo>
                      <a:lnTo>
                        <a:pt x="2349195" y="446151"/>
                      </a:lnTo>
                      <a:lnTo>
                        <a:pt x="2348611" y="444881"/>
                      </a:lnTo>
                      <a:lnTo>
                        <a:pt x="2347341" y="446151"/>
                      </a:lnTo>
                      <a:lnTo>
                        <a:pt x="2347633" y="444881"/>
                      </a:lnTo>
                      <a:lnTo>
                        <a:pt x="2344623" y="444881"/>
                      </a:lnTo>
                      <a:lnTo>
                        <a:pt x="2336584" y="443611"/>
                      </a:lnTo>
                      <a:lnTo>
                        <a:pt x="2336533" y="442341"/>
                      </a:lnTo>
                      <a:lnTo>
                        <a:pt x="2336152" y="442341"/>
                      </a:lnTo>
                      <a:lnTo>
                        <a:pt x="2335123" y="441071"/>
                      </a:lnTo>
                      <a:lnTo>
                        <a:pt x="2334831" y="439801"/>
                      </a:lnTo>
                      <a:lnTo>
                        <a:pt x="2334272" y="438531"/>
                      </a:lnTo>
                      <a:lnTo>
                        <a:pt x="2333802" y="438531"/>
                      </a:lnTo>
                      <a:lnTo>
                        <a:pt x="2334272" y="437261"/>
                      </a:lnTo>
                      <a:lnTo>
                        <a:pt x="2334031" y="435991"/>
                      </a:lnTo>
                      <a:lnTo>
                        <a:pt x="2325255" y="430911"/>
                      </a:lnTo>
                      <a:lnTo>
                        <a:pt x="2322576" y="430911"/>
                      </a:lnTo>
                      <a:lnTo>
                        <a:pt x="2322042" y="428371"/>
                      </a:lnTo>
                      <a:lnTo>
                        <a:pt x="2320099" y="424561"/>
                      </a:lnTo>
                      <a:lnTo>
                        <a:pt x="2318613" y="422021"/>
                      </a:lnTo>
                      <a:lnTo>
                        <a:pt x="2317331" y="420751"/>
                      </a:lnTo>
                      <a:lnTo>
                        <a:pt x="2316696" y="420751"/>
                      </a:lnTo>
                      <a:lnTo>
                        <a:pt x="2316149" y="419481"/>
                      </a:lnTo>
                      <a:lnTo>
                        <a:pt x="2314308" y="419481"/>
                      </a:lnTo>
                      <a:lnTo>
                        <a:pt x="2306790" y="416941"/>
                      </a:lnTo>
                      <a:lnTo>
                        <a:pt x="2305799" y="416941"/>
                      </a:lnTo>
                      <a:lnTo>
                        <a:pt x="2300884" y="419481"/>
                      </a:lnTo>
                      <a:lnTo>
                        <a:pt x="2299474" y="419481"/>
                      </a:lnTo>
                      <a:lnTo>
                        <a:pt x="2298789" y="420751"/>
                      </a:lnTo>
                      <a:lnTo>
                        <a:pt x="2298738" y="422021"/>
                      </a:lnTo>
                      <a:lnTo>
                        <a:pt x="2281339" y="422021"/>
                      </a:lnTo>
                      <a:lnTo>
                        <a:pt x="2278850" y="419481"/>
                      </a:lnTo>
                      <a:lnTo>
                        <a:pt x="2277973" y="418211"/>
                      </a:lnTo>
                      <a:lnTo>
                        <a:pt x="2277364" y="418211"/>
                      </a:lnTo>
                      <a:lnTo>
                        <a:pt x="2277986" y="416941"/>
                      </a:lnTo>
                      <a:lnTo>
                        <a:pt x="2278100" y="415671"/>
                      </a:lnTo>
                      <a:lnTo>
                        <a:pt x="2278253" y="415671"/>
                      </a:lnTo>
                      <a:lnTo>
                        <a:pt x="2278265" y="414401"/>
                      </a:lnTo>
                      <a:lnTo>
                        <a:pt x="2277618" y="413131"/>
                      </a:lnTo>
                      <a:lnTo>
                        <a:pt x="2271433" y="411861"/>
                      </a:lnTo>
                      <a:lnTo>
                        <a:pt x="2270036" y="411861"/>
                      </a:lnTo>
                      <a:lnTo>
                        <a:pt x="2269198" y="413131"/>
                      </a:lnTo>
                      <a:lnTo>
                        <a:pt x="2266797" y="413131"/>
                      </a:lnTo>
                      <a:lnTo>
                        <a:pt x="2266467" y="414401"/>
                      </a:lnTo>
                      <a:lnTo>
                        <a:pt x="2266010" y="414401"/>
                      </a:lnTo>
                      <a:lnTo>
                        <a:pt x="2266048" y="415671"/>
                      </a:lnTo>
                      <a:lnTo>
                        <a:pt x="2266162" y="416941"/>
                      </a:lnTo>
                      <a:lnTo>
                        <a:pt x="2266734" y="416941"/>
                      </a:lnTo>
                      <a:lnTo>
                        <a:pt x="2266797" y="418211"/>
                      </a:lnTo>
                      <a:lnTo>
                        <a:pt x="2266670" y="418211"/>
                      </a:lnTo>
                      <a:lnTo>
                        <a:pt x="2267483" y="419481"/>
                      </a:lnTo>
                      <a:lnTo>
                        <a:pt x="2266632" y="418211"/>
                      </a:lnTo>
                      <a:lnTo>
                        <a:pt x="2266124" y="418211"/>
                      </a:lnTo>
                      <a:lnTo>
                        <a:pt x="2264473" y="419481"/>
                      </a:lnTo>
                      <a:lnTo>
                        <a:pt x="2263305" y="419481"/>
                      </a:lnTo>
                      <a:lnTo>
                        <a:pt x="2262797" y="420751"/>
                      </a:lnTo>
                      <a:lnTo>
                        <a:pt x="2261920" y="420751"/>
                      </a:lnTo>
                      <a:lnTo>
                        <a:pt x="2260904" y="419481"/>
                      </a:lnTo>
                      <a:lnTo>
                        <a:pt x="2257691" y="414401"/>
                      </a:lnTo>
                      <a:lnTo>
                        <a:pt x="2244788" y="392811"/>
                      </a:lnTo>
                      <a:lnTo>
                        <a:pt x="2238692" y="383921"/>
                      </a:lnTo>
                      <a:lnTo>
                        <a:pt x="2232241" y="375031"/>
                      </a:lnTo>
                      <a:lnTo>
                        <a:pt x="2230844" y="373761"/>
                      </a:lnTo>
                      <a:lnTo>
                        <a:pt x="2228951" y="372491"/>
                      </a:lnTo>
                      <a:lnTo>
                        <a:pt x="2226627" y="369951"/>
                      </a:lnTo>
                      <a:lnTo>
                        <a:pt x="2218550" y="364871"/>
                      </a:lnTo>
                      <a:lnTo>
                        <a:pt x="2215527" y="362331"/>
                      </a:lnTo>
                      <a:lnTo>
                        <a:pt x="2214549" y="361061"/>
                      </a:lnTo>
                      <a:lnTo>
                        <a:pt x="2212340" y="358521"/>
                      </a:lnTo>
                      <a:lnTo>
                        <a:pt x="2214892" y="358521"/>
                      </a:lnTo>
                      <a:lnTo>
                        <a:pt x="2215032" y="357251"/>
                      </a:lnTo>
                      <a:lnTo>
                        <a:pt x="2215718" y="357251"/>
                      </a:lnTo>
                      <a:lnTo>
                        <a:pt x="2215769" y="353441"/>
                      </a:lnTo>
                      <a:lnTo>
                        <a:pt x="2222728" y="348361"/>
                      </a:lnTo>
                      <a:lnTo>
                        <a:pt x="2200008" y="357251"/>
                      </a:lnTo>
                      <a:lnTo>
                        <a:pt x="2197963" y="357251"/>
                      </a:lnTo>
                      <a:lnTo>
                        <a:pt x="2190127" y="362331"/>
                      </a:lnTo>
                      <a:lnTo>
                        <a:pt x="2181695" y="364871"/>
                      </a:lnTo>
                      <a:lnTo>
                        <a:pt x="2181402" y="366141"/>
                      </a:lnTo>
                      <a:lnTo>
                        <a:pt x="2180590" y="366141"/>
                      </a:lnTo>
                      <a:lnTo>
                        <a:pt x="2180463" y="367411"/>
                      </a:lnTo>
                      <a:lnTo>
                        <a:pt x="2180221" y="368681"/>
                      </a:lnTo>
                      <a:lnTo>
                        <a:pt x="2180031" y="369951"/>
                      </a:lnTo>
                      <a:lnTo>
                        <a:pt x="2179624" y="368681"/>
                      </a:lnTo>
                      <a:lnTo>
                        <a:pt x="2178291" y="368681"/>
                      </a:lnTo>
                      <a:lnTo>
                        <a:pt x="2176665" y="367411"/>
                      </a:lnTo>
                      <a:lnTo>
                        <a:pt x="2170379" y="367411"/>
                      </a:lnTo>
                      <a:lnTo>
                        <a:pt x="2169083" y="368681"/>
                      </a:lnTo>
                      <a:lnTo>
                        <a:pt x="2167153" y="369951"/>
                      </a:lnTo>
                      <a:lnTo>
                        <a:pt x="2165489" y="367411"/>
                      </a:lnTo>
                      <a:lnTo>
                        <a:pt x="2165362" y="367411"/>
                      </a:lnTo>
                      <a:lnTo>
                        <a:pt x="2165820" y="366141"/>
                      </a:lnTo>
                      <a:lnTo>
                        <a:pt x="2166455" y="366141"/>
                      </a:lnTo>
                      <a:lnTo>
                        <a:pt x="2167305" y="364871"/>
                      </a:lnTo>
                      <a:lnTo>
                        <a:pt x="2167585" y="363601"/>
                      </a:lnTo>
                      <a:lnTo>
                        <a:pt x="2168626" y="363601"/>
                      </a:lnTo>
                      <a:lnTo>
                        <a:pt x="2169884" y="362331"/>
                      </a:lnTo>
                      <a:lnTo>
                        <a:pt x="2170569" y="362331"/>
                      </a:lnTo>
                      <a:lnTo>
                        <a:pt x="2171649" y="361061"/>
                      </a:lnTo>
                      <a:lnTo>
                        <a:pt x="2172258" y="359791"/>
                      </a:lnTo>
                      <a:lnTo>
                        <a:pt x="2173465" y="358521"/>
                      </a:lnTo>
                      <a:lnTo>
                        <a:pt x="2162594" y="359791"/>
                      </a:lnTo>
                      <a:lnTo>
                        <a:pt x="2161222" y="359791"/>
                      </a:lnTo>
                      <a:lnTo>
                        <a:pt x="2157349" y="357251"/>
                      </a:lnTo>
                      <a:lnTo>
                        <a:pt x="2153437" y="357251"/>
                      </a:lnTo>
                      <a:lnTo>
                        <a:pt x="2153094" y="358521"/>
                      </a:lnTo>
                      <a:lnTo>
                        <a:pt x="2152802" y="357251"/>
                      </a:lnTo>
                      <a:lnTo>
                        <a:pt x="2152421" y="355981"/>
                      </a:lnTo>
                      <a:lnTo>
                        <a:pt x="2151964" y="354711"/>
                      </a:lnTo>
                      <a:lnTo>
                        <a:pt x="2149398" y="352171"/>
                      </a:lnTo>
                      <a:lnTo>
                        <a:pt x="2146033" y="352171"/>
                      </a:lnTo>
                      <a:lnTo>
                        <a:pt x="2146312" y="354711"/>
                      </a:lnTo>
                      <a:lnTo>
                        <a:pt x="2146516" y="354711"/>
                      </a:lnTo>
                      <a:lnTo>
                        <a:pt x="2147011" y="355981"/>
                      </a:lnTo>
                      <a:lnTo>
                        <a:pt x="2145715" y="355981"/>
                      </a:lnTo>
                      <a:lnTo>
                        <a:pt x="2142045" y="357251"/>
                      </a:lnTo>
                      <a:lnTo>
                        <a:pt x="2134920" y="357251"/>
                      </a:lnTo>
                      <a:lnTo>
                        <a:pt x="2134463" y="355981"/>
                      </a:lnTo>
                      <a:lnTo>
                        <a:pt x="2134717" y="355981"/>
                      </a:lnTo>
                      <a:lnTo>
                        <a:pt x="2135835" y="354711"/>
                      </a:lnTo>
                      <a:lnTo>
                        <a:pt x="2136114" y="353441"/>
                      </a:lnTo>
                      <a:lnTo>
                        <a:pt x="2136025" y="352171"/>
                      </a:lnTo>
                      <a:lnTo>
                        <a:pt x="2135797" y="352171"/>
                      </a:lnTo>
                      <a:lnTo>
                        <a:pt x="2135721" y="350901"/>
                      </a:lnTo>
                      <a:lnTo>
                        <a:pt x="2135492" y="350901"/>
                      </a:lnTo>
                      <a:lnTo>
                        <a:pt x="2135403" y="349631"/>
                      </a:lnTo>
                      <a:lnTo>
                        <a:pt x="2136254" y="348361"/>
                      </a:lnTo>
                      <a:lnTo>
                        <a:pt x="2136406" y="348361"/>
                      </a:lnTo>
                      <a:lnTo>
                        <a:pt x="2136584" y="347091"/>
                      </a:lnTo>
                      <a:lnTo>
                        <a:pt x="2136610" y="345821"/>
                      </a:lnTo>
                      <a:lnTo>
                        <a:pt x="2133739" y="340741"/>
                      </a:lnTo>
                      <a:lnTo>
                        <a:pt x="2132761" y="339471"/>
                      </a:lnTo>
                      <a:lnTo>
                        <a:pt x="2130933" y="335661"/>
                      </a:lnTo>
                      <a:lnTo>
                        <a:pt x="2130323" y="334391"/>
                      </a:lnTo>
                      <a:lnTo>
                        <a:pt x="2129701" y="334391"/>
                      </a:lnTo>
                      <a:lnTo>
                        <a:pt x="2128863" y="333121"/>
                      </a:lnTo>
                      <a:lnTo>
                        <a:pt x="2128431" y="333121"/>
                      </a:lnTo>
                      <a:lnTo>
                        <a:pt x="2125510" y="334391"/>
                      </a:lnTo>
                      <a:lnTo>
                        <a:pt x="2123313" y="334391"/>
                      </a:lnTo>
                      <a:lnTo>
                        <a:pt x="2121674" y="335661"/>
                      </a:lnTo>
                      <a:lnTo>
                        <a:pt x="2120989" y="336931"/>
                      </a:lnTo>
                      <a:lnTo>
                        <a:pt x="2119147" y="336931"/>
                      </a:lnTo>
                      <a:lnTo>
                        <a:pt x="2117915" y="335661"/>
                      </a:lnTo>
                      <a:lnTo>
                        <a:pt x="2116632" y="335661"/>
                      </a:lnTo>
                      <a:lnTo>
                        <a:pt x="2115324" y="334391"/>
                      </a:lnTo>
                      <a:lnTo>
                        <a:pt x="2114385" y="333121"/>
                      </a:lnTo>
                      <a:lnTo>
                        <a:pt x="2098332" y="333121"/>
                      </a:lnTo>
                      <a:lnTo>
                        <a:pt x="2098040" y="334391"/>
                      </a:lnTo>
                      <a:lnTo>
                        <a:pt x="2097671" y="335661"/>
                      </a:lnTo>
                      <a:lnTo>
                        <a:pt x="2097316" y="335661"/>
                      </a:lnTo>
                      <a:lnTo>
                        <a:pt x="2097125" y="336931"/>
                      </a:lnTo>
                      <a:lnTo>
                        <a:pt x="2093379" y="338201"/>
                      </a:lnTo>
                      <a:lnTo>
                        <a:pt x="2092274" y="339471"/>
                      </a:lnTo>
                      <a:lnTo>
                        <a:pt x="2090940" y="340741"/>
                      </a:lnTo>
                      <a:lnTo>
                        <a:pt x="2085632" y="340741"/>
                      </a:lnTo>
                      <a:lnTo>
                        <a:pt x="2085352" y="342011"/>
                      </a:lnTo>
                      <a:lnTo>
                        <a:pt x="2079218" y="342011"/>
                      </a:lnTo>
                      <a:lnTo>
                        <a:pt x="2078139" y="343281"/>
                      </a:lnTo>
                      <a:lnTo>
                        <a:pt x="2073516" y="344551"/>
                      </a:lnTo>
                      <a:lnTo>
                        <a:pt x="2070823" y="344551"/>
                      </a:lnTo>
                      <a:lnTo>
                        <a:pt x="2069515" y="345821"/>
                      </a:lnTo>
                      <a:lnTo>
                        <a:pt x="2065858" y="345821"/>
                      </a:lnTo>
                      <a:lnTo>
                        <a:pt x="2061781" y="347091"/>
                      </a:lnTo>
                      <a:lnTo>
                        <a:pt x="2061095" y="347091"/>
                      </a:lnTo>
                      <a:lnTo>
                        <a:pt x="2060981" y="345821"/>
                      </a:lnTo>
                      <a:lnTo>
                        <a:pt x="2058631" y="345821"/>
                      </a:lnTo>
                      <a:lnTo>
                        <a:pt x="2057082" y="347091"/>
                      </a:lnTo>
                      <a:lnTo>
                        <a:pt x="2053399" y="347091"/>
                      </a:lnTo>
                      <a:lnTo>
                        <a:pt x="2047506" y="348361"/>
                      </a:lnTo>
                      <a:lnTo>
                        <a:pt x="2050338" y="348361"/>
                      </a:lnTo>
                      <a:lnTo>
                        <a:pt x="2049348" y="349631"/>
                      </a:lnTo>
                      <a:lnTo>
                        <a:pt x="2048052" y="349631"/>
                      </a:lnTo>
                      <a:lnTo>
                        <a:pt x="2048878" y="350901"/>
                      </a:lnTo>
                      <a:lnTo>
                        <a:pt x="2047367" y="350901"/>
                      </a:lnTo>
                      <a:lnTo>
                        <a:pt x="2046973" y="352171"/>
                      </a:lnTo>
                      <a:lnTo>
                        <a:pt x="2046224" y="352171"/>
                      </a:lnTo>
                      <a:lnTo>
                        <a:pt x="2045004" y="350901"/>
                      </a:lnTo>
                      <a:lnTo>
                        <a:pt x="2043480" y="352171"/>
                      </a:lnTo>
                      <a:lnTo>
                        <a:pt x="2036203" y="352171"/>
                      </a:lnTo>
                      <a:lnTo>
                        <a:pt x="2033981" y="353441"/>
                      </a:lnTo>
                      <a:lnTo>
                        <a:pt x="2030857" y="353441"/>
                      </a:lnTo>
                      <a:lnTo>
                        <a:pt x="2028672" y="354711"/>
                      </a:lnTo>
                      <a:lnTo>
                        <a:pt x="2027199" y="354711"/>
                      </a:lnTo>
                      <a:lnTo>
                        <a:pt x="2018169" y="355981"/>
                      </a:lnTo>
                      <a:lnTo>
                        <a:pt x="2018855" y="355981"/>
                      </a:lnTo>
                      <a:lnTo>
                        <a:pt x="2018436" y="357251"/>
                      </a:lnTo>
                      <a:lnTo>
                        <a:pt x="2013343" y="357251"/>
                      </a:lnTo>
                      <a:lnTo>
                        <a:pt x="2012950" y="358521"/>
                      </a:lnTo>
                      <a:lnTo>
                        <a:pt x="2008606" y="358521"/>
                      </a:lnTo>
                      <a:lnTo>
                        <a:pt x="2007527" y="359791"/>
                      </a:lnTo>
                      <a:lnTo>
                        <a:pt x="2005939" y="359791"/>
                      </a:lnTo>
                      <a:lnTo>
                        <a:pt x="2005241" y="358521"/>
                      </a:lnTo>
                      <a:lnTo>
                        <a:pt x="2005050" y="359791"/>
                      </a:lnTo>
                      <a:lnTo>
                        <a:pt x="2004974" y="358521"/>
                      </a:lnTo>
                      <a:lnTo>
                        <a:pt x="2004377" y="358521"/>
                      </a:lnTo>
                      <a:lnTo>
                        <a:pt x="2000783" y="359791"/>
                      </a:lnTo>
                      <a:lnTo>
                        <a:pt x="1997595" y="359791"/>
                      </a:lnTo>
                      <a:lnTo>
                        <a:pt x="1995766" y="358521"/>
                      </a:lnTo>
                      <a:lnTo>
                        <a:pt x="1992337" y="358521"/>
                      </a:lnTo>
                      <a:lnTo>
                        <a:pt x="1991271" y="359791"/>
                      </a:lnTo>
                      <a:lnTo>
                        <a:pt x="1989277" y="359791"/>
                      </a:lnTo>
                      <a:lnTo>
                        <a:pt x="1988947" y="361061"/>
                      </a:lnTo>
                      <a:lnTo>
                        <a:pt x="1988197" y="361061"/>
                      </a:lnTo>
                      <a:lnTo>
                        <a:pt x="1986508" y="362331"/>
                      </a:lnTo>
                      <a:lnTo>
                        <a:pt x="1990407" y="364871"/>
                      </a:lnTo>
                      <a:lnTo>
                        <a:pt x="1990077" y="364871"/>
                      </a:lnTo>
                      <a:lnTo>
                        <a:pt x="1989010" y="366141"/>
                      </a:lnTo>
                      <a:lnTo>
                        <a:pt x="1987016" y="366141"/>
                      </a:lnTo>
                      <a:lnTo>
                        <a:pt x="1986305" y="367411"/>
                      </a:lnTo>
                      <a:lnTo>
                        <a:pt x="1986546" y="368681"/>
                      </a:lnTo>
                      <a:lnTo>
                        <a:pt x="1988908" y="368681"/>
                      </a:lnTo>
                      <a:lnTo>
                        <a:pt x="1989886" y="369951"/>
                      </a:lnTo>
                      <a:lnTo>
                        <a:pt x="1991233" y="369951"/>
                      </a:lnTo>
                      <a:lnTo>
                        <a:pt x="1991194" y="371221"/>
                      </a:lnTo>
                      <a:lnTo>
                        <a:pt x="1990534" y="371221"/>
                      </a:lnTo>
                      <a:lnTo>
                        <a:pt x="1989848" y="372491"/>
                      </a:lnTo>
                      <a:lnTo>
                        <a:pt x="1990445" y="373761"/>
                      </a:lnTo>
                      <a:lnTo>
                        <a:pt x="1990890" y="373761"/>
                      </a:lnTo>
                      <a:lnTo>
                        <a:pt x="1990445" y="375031"/>
                      </a:lnTo>
                      <a:lnTo>
                        <a:pt x="1991448" y="375031"/>
                      </a:lnTo>
                      <a:lnTo>
                        <a:pt x="1992045" y="376301"/>
                      </a:lnTo>
                      <a:lnTo>
                        <a:pt x="1995512" y="376301"/>
                      </a:lnTo>
                      <a:lnTo>
                        <a:pt x="1995995" y="377571"/>
                      </a:lnTo>
                      <a:lnTo>
                        <a:pt x="1999056" y="377571"/>
                      </a:lnTo>
                      <a:lnTo>
                        <a:pt x="2003132" y="378841"/>
                      </a:lnTo>
                      <a:lnTo>
                        <a:pt x="2003577" y="378841"/>
                      </a:lnTo>
                      <a:lnTo>
                        <a:pt x="2003361" y="380111"/>
                      </a:lnTo>
                      <a:lnTo>
                        <a:pt x="2001799" y="380111"/>
                      </a:lnTo>
                      <a:lnTo>
                        <a:pt x="2001215" y="378841"/>
                      </a:lnTo>
                      <a:lnTo>
                        <a:pt x="2000199" y="380111"/>
                      </a:lnTo>
                      <a:lnTo>
                        <a:pt x="1999729" y="380111"/>
                      </a:lnTo>
                      <a:lnTo>
                        <a:pt x="1998827" y="378841"/>
                      </a:lnTo>
                      <a:lnTo>
                        <a:pt x="1998472" y="380111"/>
                      </a:lnTo>
                      <a:lnTo>
                        <a:pt x="1997710" y="380111"/>
                      </a:lnTo>
                      <a:lnTo>
                        <a:pt x="1997367" y="378841"/>
                      </a:lnTo>
                      <a:lnTo>
                        <a:pt x="1995995" y="378841"/>
                      </a:lnTo>
                      <a:lnTo>
                        <a:pt x="1995741" y="380111"/>
                      </a:lnTo>
                      <a:lnTo>
                        <a:pt x="1995728" y="378841"/>
                      </a:lnTo>
                      <a:lnTo>
                        <a:pt x="1989709" y="378841"/>
                      </a:lnTo>
                      <a:lnTo>
                        <a:pt x="1989302" y="380111"/>
                      </a:lnTo>
                      <a:lnTo>
                        <a:pt x="1988007" y="380111"/>
                      </a:lnTo>
                      <a:lnTo>
                        <a:pt x="1987854" y="381381"/>
                      </a:lnTo>
                      <a:lnTo>
                        <a:pt x="1986064" y="382651"/>
                      </a:lnTo>
                      <a:lnTo>
                        <a:pt x="1985175" y="383921"/>
                      </a:lnTo>
                      <a:lnTo>
                        <a:pt x="1984019" y="383921"/>
                      </a:lnTo>
                      <a:lnTo>
                        <a:pt x="1983790" y="385191"/>
                      </a:lnTo>
                      <a:lnTo>
                        <a:pt x="1976666" y="385191"/>
                      </a:lnTo>
                      <a:lnTo>
                        <a:pt x="1983905" y="386461"/>
                      </a:lnTo>
                      <a:lnTo>
                        <a:pt x="1988121" y="392811"/>
                      </a:lnTo>
                      <a:lnTo>
                        <a:pt x="1987219" y="392811"/>
                      </a:lnTo>
                      <a:lnTo>
                        <a:pt x="1985911" y="394081"/>
                      </a:lnTo>
                      <a:lnTo>
                        <a:pt x="1984857" y="394081"/>
                      </a:lnTo>
                      <a:lnTo>
                        <a:pt x="1984743" y="395351"/>
                      </a:lnTo>
                      <a:lnTo>
                        <a:pt x="1980996" y="395351"/>
                      </a:lnTo>
                      <a:lnTo>
                        <a:pt x="1979206" y="396621"/>
                      </a:lnTo>
                      <a:lnTo>
                        <a:pt x="1977809" y="397891"/>
                      </a:lnTo>
                      <a:lnTo>
                        <a:pt x="1978507" y="399161"/>
                      </a:lnTo>
                      <a:lnTo>
                        <a:pt x="1977567" y="397891"/>
                      </a:lnTo>
                      <a:lnTo>
                        <a:pt x="1977009" y="397891"/>
                      </a:lnTo>
                      <a:lnTo>
                        <a:pt x="1977009" y="399161"/>
                      </a:lnTo>
                      <a:lnTo>
                        <a:pt x="1976755" y="399161"/>
                      </a:lnTo>
                      <a:lnTo>
                        <a:pt x="1976704" y="397891"/>
                      </a:lnTo>
                      <a:lnTo>
                        <a:pt x="1976107" y="397891"/>
                      </a:lnTo>
                      <a:lnTo>
                        <a:pt x="1976081" y="399161"/>
                      </a:lnTo>
                      <a:lnTo>
                        <a:pt x="1976056" y="397891"/>
                      </a:lnTo>
                      <a:lnTo>
                        <a:pt x="1973859" y="397891"/>
                      </a:lnTo>
                      <a:lnTo>
                        <a:pt x="1973859" y="399161"/>
                      </a:lnTo>
                      <a:lnTo>
                        <a:pt x="1973389" y="400431"/>
                      </a:lnTo>
                      <a:lnTo>
                        <a:pt x="1974126" y="400431"/>
                      </a:lnTo>
                      <a:lnTo>
                        <a:pt x="1974303" y="401701"/>
                      </a:lnTo>
                      <a:lnTo>
                        <a:pt x="1974773" y="401701"/>
                      </a:lnTo>
                      <a:lnTo>
                        <a:pt x="1975434" y="402971"/>
                      </a:lnTo>
                      <a:lnTo>
                        <a:pt x="1975878" y="402971"/>
                      </a:lnTo>
                      <a:lnTo>
                        <a:pt x="1976755" y="404241"/>
                      </a:lnTo>
                      <a:lnTo>
                        <a:pt x="1978888" y="404241"/>
                      </a:lnTo>
                      <a:lnTo>
                        <a:pt x="1978393" y="405511"/>
                      </a:lnTo>
                      <a:lnTo>
                        <a:pt x="1979206" y="405511"/>
                      </a:lnTo>
                      <a:lnTo>
                        <a:pt x="1981390" y="406781"/>
                      </a:lnTo>
                      <a:lnTo>
                        <a:pt x="1981682" y="406781"/>
                      </a:lnTo>
                      <a:lnTo>
                        <a:pt x="1984209" y="408051"/>
                      </a:lnTo>
                      <a:lnTo>
                        <a:pt x="1988540" y="409321"/>
                      </a:lnTo>
                      <a:lnTo>
                        <a:pt x="1996668" y="413131"/>
                      </a:lnTo>
                      <a:lnTo>
                        <a:pt x="1996859" y="414401"/>
                      </a:lnTo>
                      <a:lnTo>
                        <a:pt x="1996986" y="414401"/>
                      </a:lnTo>
                      <a:lnTo>
                        <a:pt x="1995385" y="415671"/>
                      </a:lnTo>
                      <a:lnTo>
                        <a:pt x="1994801" y="418211"/>
                      </a:lnTo>
                      <a:lnTo>
                        <a:pt x="1994484" y="420751"/>
                      </a:lnTo>
                      <a:lnTo>
                        <a:pt x="1994128" y="422021"/>
                      </a:lnTo>
                      <a:lnTo>
                        <a:pt x="1992020" y="422021"/>
                      </a:lnTo>
                      <a:lnTo>
                        <a:pt x="1989620" y="423291"/>
                      </a:lnTo>
                      <a:lnTo>
                        <a:pt x="1980882" y="423291"/>
                      </a:lnTo>
                      <a:lnTo>
                        <a:pt x="1978812" y="422021"/>
                      </a:lnTo>
                      <a:lnTo>
                        <a:pt x="1977580" y="422021"/>
                      </a:lnTo>
                      <a:lnTo>
                        <a:pt x="1974126" y="419481"/>
                      </a:lnTo>
                      <a:lnTo>
                        <a:pt x="1973529" y="420751"/>
                      </a:lnTo>
                      <a:lnTo>
                        <a:pt x="1973364" y="422021"/>
                      </a:lnTo>
                      <a:lnTo>
                        <a:pt x="1973224" y="422021"/>
                      </a:lnTo>
                      <a:lnTo>
                        <a:pt x="1972932" y="423291"/>
                      </a:lnTo>
                      <a:lnTo>
                        <a:pt x="1972449" y="424561"/>
                      </a:lnTo>
                      <a:lnTo>
                        <a:pt x="1972005" y="424561"/>
                      </a:lnTo>
                      <a:lnTo>
                        <a:pt x="1971649" y="425831"/>
                      </a:lnTo>
                      <a:lnTo>
                        <a:pt x="1969058" y="425831"/>
                      </a:lnTo>
                      <a:lnTo>
                        <a:pt x="1968449" y="424561"/>
                      </a:lnTo>
                      <a:lnTo>
                        <a:pt x="1964905" y="424561"/>
                      </a:lnTo>
                      <a:lnTo>
                        <a:pt x="1962492" y="423291"/>
                      </a:lnTo>
                      <a:lnTo>
                        <a:pt x="1959978" y="423291"/>
                      </a:lnTo>
                      <a:lnTo>
                        <a:pt x="1959521" y="424561"/>
                      </a:lnTo>
                      <a:lnTo>
                        <a:pt x="1959673" y="423291"/>
                      </a:lnTo>
                      <a:lnTo>
                        <a:pt x="1958467" y="423291"/>
                      </a:lnTo>
                      <a:lnTo>
                        <a:pt x="1957908" y="422021"/>
                      </a:lnTo>
                      <a:lnTo>
                        <a:pt x="1956777" y="422021"/>
                      </a:lnTo>
                      <a:lnTo>
                        <a:pt x="1956282" y="420751"/>
                      </a:lnTo>
                      <a:lnTo>
                        <a:pt x="1955723" y="416941"/>
                      </a:lnTo>
                      <a:lnTo>
                        <a:pt x="1955342" y="414401"/>
                      </a:lnTo>
                      <a:lnTo>
                        <a:pt x="1942261" y="415671"/>
                      </a:lnTo>
                      <a:lnTo>
                        <a:pt x="1941741" y="415671"/>
                      </a:lnTo>
                      <a:lnTo>
                        <a:pt x="1941791" y="418211"/>
                      </a:lnTo>
                      <a:lnTo>
                        <a:pt x="1941271" y="419481"/>
                      </a:lnTo>
                      <a:lnTo>
                        <a:pt x="1938108" y="419481"/>
                      </a:lnTo>
                      <a:lnTo>
                        <a:pt x="1936775" y="418211"/>
                      </a:lnTo>
                      <a:lnTo>
                        <a:pt x="1936546" y="418211"/>
                      </a:lnTo>
                      <a:lnTo>
                        <a:pt x="1936064" y="416941"/>
                      </a:lnTo>
                      <a:lnTo>
                        <a:pt x="1934819" y="415671"/>
                      </a:lnTo>
                      <a:lnTo>
                        <a:pt x="1927593" y="415671"/>
                      </a:lnTo>
                      <a:lnTo>
                        <a:pt x="1923478" y="416941"/>
                      </a:lnTo>
                      <a:lnTo>
                        <a:pt x="1922919" y="416941"/>
                      </a:lnTo>
                      <a:lnTo>
                        <a:pt x="1922233" y="419481"/>
                      </a:lnTo>
                      <a:lnTo>
                        <a:pt x="1921459" y="419481"/>
                      </a:lnTo>
                      <a:lnTo>
                        <a:pt x="1919020" y="420751"/>
                      </a:lnTo>
                      <a:lnTo>
                        <a:pt x="1918195" y="422021"/>
                      </a:lnTo>
                      <a:lnTo>
                        <a:pt x="1917979" y="422021"/>
                      </a:lnTo>
                      <a:lnTo>
                        <a:pt x="1917890" y="423291"/>
                      </a:lnTo>
                      <a:lnTo>
                        <a:pt x="1916696" y="423291"/>
                      </a:lnTo>
                      <a:lnTo>
                        <a:pt x="1916328" y="424561"/>
                      </a:lnTo>
                      <a:lnTo>
                        <a:pt x="1914994" y="424561"/>
                      </a:lnTo>
                      <a:lnTo>
                        <a:pt x="1913356" y="425831"/>
                      </a:lnTo>
                      <a:lnTo>
                        <a:pt x="1912162" y="425831"/>
                      </a:lnTo>
                      <a:lnTo>
                        <a:pt x="1909495" y="424561"/>
                      </a:lnTo>
                      <a:lnTo>
                        <a:pt x="1907514" y="423291"/>
                      </a:lnTo>
                      <a:lnTo>
                        <a:pt x="1902663" y="419481"/>
                      </a:lnTo>
                      <a:lnTo>
                        <a:pt x="1900605" y="418211"/>
                      </a:lnTo>
                      <a:lnTo>
                        <a:pt x="1899335" y="416941"/>
                      </a:lnTo>
                      <a:lnTo>
                        <a:pt x="1897303" y="416941"/>
                      </a:lnTo>
                      <a:lnTo>
                        <a:pt x="1897303" y="425831"/>
                      </a:lnTo>
                      <a:lnTo>
                        <a:pt x="1896910" y="425831"/>
                      </a:lnTo>
                      <a:lnTo>
                        <a:pt x="1896732" y="424561"/>
                      </a:lnTo>
                      <a:lnTo>
                        <a:pt x="1896567" y="422021"/>
                      </a:lnTo>
                      <a:lnTo>
                        <a:pt x="1897011" y="422021"/>
                      </a:lnTo>
                      <a:lnTo>
                        <a:pt x="1897265" y="423291"/>
                      </a:lnTo>
                      <a:lnTo>
                        <a:pt x="1897303" y="425831"/>
                      </a:lnTo>
                      <a:lnTo>
                        <a:pt x="1897303" y="416941"/>
                      </a:lnTo>
                      <a:lnTo>
                        <a:pt x="1895652" y="416941"/>
                      </a:lnTo>
                      <a:lnTo>
                        <a:pt x="1895970" y="419481"/>
                      </a:lnTo>
                      <a:lnTo>
                        <a:pt x="1896300" y="419481"/>
                      </a:lnTo>
                      <a:lnTo>
                        <a:pt x="1896567" y="420751"/>
                      </a:lnTo>
                      <a:lnTo>
                        <a:pt x="1895767" y="419481"/>
                      </a:lnTo>
                      <a:lnTo>
                        <a:pt x="1895068" y="419481"/>
                      </a:lnTo>
                      <a:lnTo>
                        <a:pt x="1893519" y="418211"/>
                      </a:lnTo>
                      <a:lnTo>
                        <a:pt x="1884845" y="410591"/>
                      </a:lnTo>
                      <a:lnTo>
                        <a:pt x="1879536" y="408051"/>
                      </a:lnTo>
                      <a:lnTo>
                        <a:pt x="1869922" y="408051"/>
                      </a:lnTo>
                      <a:lnTo>
                        <a:pt x="1869097" y="409321"/>
                      </a:lnTo>
                      <a:lnTo>
                        <a:pt x="1868830" y="409321"/>
                      </a:lnTo>
                      <a:lnTo>
                        <a:pt x="1868551" y="408051"/>
                      </a:lnTo>
                      <a:lnTo>
                        <a:pt x="1868068" y="408051"/>
                      </a:lnTo>
                      <a:lnTo>
                        <a:pt x="1867776" y="406781"/>
                      </a:lnTo>
                      <a:lnTo>
                        <a:pt x="1867230" y="406781"/>
                      </a:lnTo>
                      <a:lnTo>
                        <a:pt x="1866887" y="405511"/>
                      </a:lnTo>
                      <a:lnTo>
                        <a:pt x="1866201" y="402971"/>
                      </a:lnTo>
                      <a:lnTo>
                        <a:pt x="1865503" y="401701"/>
                      </a:lnTo>
                      <a:lnTo>
                        <a:pt x="1861908" y="404241"/>
                      </a:lnTo>
                      <a:lnTo>
                        <a:pt x="1861273" y="404241"/>
                      </a:lnTo>
                      <a:lnTo>
                        <a:pt x="1856701" y="405511"/>
                      </a:lnTo>
                      <a:lnTo>
                        <a:pt x="1855889" y="408051"/>
                      </a:lnTo>
                      <a:lnTo>
                        <a:pt x="1855698" y="408051"/>
                      </a:lnTo>
                      <a:lnTo>
                        <a:pt x="1855431" y="409321"/>
                      </a:lnTo>
                      <a:lnTo>
                        <a:pt x="1854098" y="409321"/>
                      </a:lnTo>
                      <a:lnTo>
                        <a:pt x="1853717" y="408051"/>
                      </a:lnTo>
                      <a:lnTo>
                        <a:pt x="1853285" y="408051"/>
                      </a:lnTo>
                      <a:lnTo>
                        <a:pt x="1852904" y="409321"/>
                      </a:lnTo>
                      <a:lnTo>
                        <a:pt x="1853006" y="408051"/>
                      </a:lnTo>
                      <a:lnTo>
                        <a:pt x="1852396" y="408051"/>
                      </a:lnTo>
                      <a:lnTo>
                        <a:pt x="1852358" y="406781"/>
                      </a:lnTo>
                      <a:lnTo>
                        <a:pt x="1852206" y="405511"/>
                      </a:lnTo>
                      <a:lnTo>
                        <a:pt x="1851113" y="405511"/>
                      </a:lnTo>
                      <a:lnTo>
                        <a:pt x="1849526" y="404241"/>
                      </a:lnTo>
                      <a:lnTo>
                        <a:pt x="1848713" y="404241"/>
                      </a:lnTo>
                      <a:lnTo>
                        <a:pt x="1845437" y="402971"/>
                      </a:lnTo>
                      <a:lnTo>
                        <a:pt x="1841157" y="402971"/>
                      </a:lnTo>
                      <a:lnTo>
                        <a:pt x="1842147" y="405511"/>
                      </a:lnTo>
                      <a:lnTo>
                        <a:pt x="1842033" y="406781"/>
                      </a:lnTo>
                      <a:lnTo>
                        <a:pt x="1838731" y="406781"/>
                      </a:lnTo>
                      <a:lnTo>
                        <a:pt x="1836254" y="410591"/>
                      </a:lnTo>
                      <a:lnTo>
                        <a:pt x="1835670" y="411861"/>
                      </a:lnTo>
                      <a:lnTo>
                        <a:pt x="1835200" y="411861"/>
                      </a:lnTo>
                      <a:lnTo>
                        <a:pt x="1832813" y="413131"/>
                      </a:lnTo>
                      <a:lnTo>
                        <a:pt x="1820938" y="418211"/>
                      </a:lnTo>
                      <a:lnTo>
                        <a:pt x="1821980" y="419481"/>
                      </a:lnTo>
                      <a:lnTo>
                        <a:pt x="1822272" y="420751"/>
                      </a:lnTo>
                      <a:lnTo>
                        <a:pt x="1821726" y="420751"/>
                      </a:lnTo>
                      <a:lnTo>
                        <a:pt x="1818424" y="422021"/>
                      </a:lnTo>
                      <a:lnTo>
                        <a:pt x="1817408" y="422021"/>
                      </a:lnTo>
                      <a:lnTo>
                        <a:pt x="1816023" y="423291"/>
                      </a:lnTo>
                      <a:lnTo>
                        <a:pt x="1814283" y="424561"/>
                      </a:lnTo>
                      <a:lnTo>
                        <a:pt x="1813394" y="424561"/>
                      </a:lnTo>
                      <a:lnTo>
                        <a:pt x="1810461" y="423291"/>
                      </a:lnTo>
                      <a:lnTo>
                        <a:pt x="1810562" y="425831"/>
                      </a:lnTo>
                      <a:lnTo>
                        <a:pt x="1811604" y="428371"/>
                      </a:lnTo>
                      <a:lnTo>
                        <a:pt x="1812391" y="432181"/>
                      </a:lnTo>
                      <a:lnTo>
                        <a:pt x="1812556" y="432181"/>
                      </a:lnTo>
                      <a:lnTo>
                        <a:pt x="1812899" y="433451"/>
                      </a:lnTo>
                      <a:lnTo>
                        <a:pt x="1813318" y="433451"/>
                      </a:lnTo>
                      <a:lnTo>
                        <a:pt x="1813306" y="434721"/>
                      </a:lnTo>
                      <a:lnTo>
                        <a:pt x="1813115" y="434721"/>
                      </a:lnTo>
                      <a:lnTo>
                        <a:pt x="1813420" y="435991"/>
                      </a:lnTo>
                      <a:lnTo>
                        <a:pt x="1814817" y="435991"/>
                      </a:lnTo>
                      <a:lnTo>
                        <a:pt x="1814753" y="437261"/>
                      </a:lnTo>
                      <a:lnTo>
                        <a:pt x="1813394" y="437261"/>
                      </a:lnTo>
                      <a:lnTo>
                        <a:pt x="1810969" y="438531"/>
                      </a:lnTo>
                      <a:lnTo>
                        <a:pt x="1809673" y="438531"/>
                      </a:lnTo>
                      <a:lnTo>
                        <a:pt x="1809280" y="439801"/>
                      </a:lnTo>
                      <a:lnTo>
                        <a:pt x="1809115" y="439801"/>
                      </a:lnTo>
                      <a:lnTo>
                        <a:pt x="1808835" y="438531"/>
                      </a:lnTo>
                      <a:lnTo>
                        <a:pt x="1808403" y="438531"/>
                      </a:lnTo>
                      <a:lnTo>
                        <a:pt x="1807502" y="437261"/>
                      </a:lnTo>
                      <a:lnTo>
                        <a:pt x="1804682" y="434721"/>
                      </a:lnTo>
                      <a:lnTo>
                        <a:pt x="1800453" y="429641"/>
                      </a:lnTo>
                      <a:lnTo>
                        <a:pt x="1798535" y="429641"/>
                      </a:lnTo>
                      <a:lnTo>
                        <a:pt x="1798116" y="428371"/>
                      </a:lnTo>
                      <a:lnTo>
                        <a:pt x="1797596" y="428371"/>
                      </a:lnTo>
                      <a:lnTo>
                        <a:pt x="1795653" y="429641"/>
                      </a:lnTo>
                      <a:lnTo>
                        <a:pt x="1794471" y="429641"/>
                      </a:lnTo>
                      <a:lnTo>
                        <a:pt x="1793709" y="430911"/>
                      </a:lnTo>
                      <a:lnTo>
                        <a:pt x="1793468" y="430911"/>
                      </a:lnTo>
                      <a:lnTo>
                        <a:pt x="1792389" y="434721"/>
                      </a:lnTo>
                      <a:lnTo>
                        <a:pt x="1791881" y="435991"/>
                      </a:lnTo>
                      <a:lnTo>
                        <a:pt x="1791462" y="435991"/>
                      </a:lnTo>
                      <a:lnTo>
                        <a:pt x="1791258" y="437261"/>
                      </a:lnTo>
                      <a:lnTo>
                        <a:pt x="1790446" y="437261"/>
                      </a:lnTo>
                      <a:lnTo>
                        <a:pt x="1787093" y="438531"/>
                      </a:lnTo>
                      <a:lnTo>
                        <a:pt x="1786191" y="441071"/>
                      </a:lnTo>
                      <a:lnTo>
                        <a:pt x="1784769" y="448691"/>
                      </a:lnTo>
                      <a:lnTo>
                        <a:pt x="1784705" y="449961"/>
                      </a:lnTo>
                      <a:lnTo>
                        <a:pt x="1785404" y="449961"/>
                      </a:lnTo>
                      <a:lnTo>
                        <a:pt x="1786089" y="451231"/>
                      </a:lnTo>
                      <a:lnTo>
                        <a:pt x="1786915" y="451231"/>
                      </a:lnTo>
                      <a:lnTo>
                        <a:pt x="1788426" y="452501"/>
                      </a:lnTo>
                      <a:lnTo>
                        <a:pt x="1788134" y="453771"/>
                      </a:lnTo>
                      <a:lnTo>
                        <a:pt x="1787334" y="453771"/>
                      </a:lnTo>
                      <a:lnTo>
                        <a:pt x="1787042" y="455041"/>
                      </a:lnTo>
                      <a:lnTo>
                        <a:pt x="1785213" y="457581"/>
                      </a:lnTo>
                      <a:lnTo>
                        <a:pt x="1781695" y="462661"/>
                      </a:lnTo>
                      <a:lnTo>
                        <a:pt x="1780857" y="463931"/>
                      </a:lnTo>
                      <a:lnTo>
                        <a:pt x="1780590" y="465201"/>
                      </a:lnTo>
                      <a:lnTo>
                        <a:pt x="1780717" y="466471"/>
                      </a:lnTo>
                      <a:lnTo>
                        <a:pt x="1781263" y="467741"/>
                      </a:lnTo>
                      <a:lnTo>
                        <a:pt x="1782965" y="467741"/>
                      </a:lnTo>
                      <a:lnTo>
                        <a:pt x="1783994" y="469011"/>
                      </a:lnTo>
                      <a:lnTo>
                        <a:pt x="1786229" y="469011"/>
                      </a:lnTo>
                      <a:lnTo>
                        <a:pt x="1788871" y="470281"/>
                      </a:lnTo>
                      <a:lnTo>
                        <a:pt x="1789328" y="470281"/>
                      </a:lnTo>
                      <a:lnTo>
                        <a:pt x="1789607" y="471551"/>
                      </a:lnTo>
                      <a:lnTo>
                        <a:pt x="1789518" y="475361"/>
                      </a:lnTo>
                      <a:lnTo>
                        <a:pt x="1789607" y="477901"/>
                      </a:lnTo>
                      <a:lnTo>
                        <a:pt x="1791550" y="479171"/>
                      </a:lnTo>
                      <a:lnTo>
                        <a:pt x="1793341" y="480441"/>
                      </a:lnTo>
                      <a:lnTo>
                        <a:pt x="1797545" y="480441"/>
                      </a:lnTo>
                      <a:lnTo>
                        <a:pt x="1800580" y="479171"/>
                      </a:lnTo>
                      <a:lnTo>
                        <a:pt x="1804403" y="479171"/>
                      </a:lnTo>
                      <a:lnTo>
                        <a:pt x="1805063" y="480441"/>
                      </a:lnTo>
                      <a:lnTo>
                        <a:pt x="1806130" y="481711"/>
                      </a:lnTo>
                      <a:lnTo>
                        <a:pt x="1806676" y="482981"/>
                      </a:lnTo>
                      <a:lnTo>
                        <a:pt x="1811743" y="490601"/>
                      </a:lnTo>
                      <a:lnTo>
                        <a:pt x="1812937" y="491871"/>
                      </a:lnTo>
                      <a:lnTo>
                        <a:pt x="1815071" y="494411"/>
                      </a:lnTo>
                      <a:lnTo>
                        <a:pt x="1815693" y="495681"/>
                      </a:lnTo>
                      <a:lnTo>
                        <a:pt x="1816011" y="495681"/>
                      </a:lnTo>
                      <a:lnTo>
                        <a:pt x="1815642" y="496951"/>
                      </a:lnTo>
                      <a:lnTo>
                        <a:pt x="1814068" y="496951"/>
                      </a:lnTo>
                      <a:lnTo>
                        <a:pt x="1813991" y="499491"/>
                      </a:lnTo>
                      <a:lnTo>
                        <a:pt x="1811604" y="499491"/>
                      </a:lnTo>
                      <a:lnTo>
                        <a:pt x="1811159" y="498221"/>
                      </a:lnTo>
                      <a:lnTo>
                        <a:pt x="1811477" y="498221"/>
                      </a:lnTo>
                      <a:lnTo>
                        <a:pt x="1811629" y="496951"/>
                      </a:lnTo>
                      <a:lnTo>
                        <a:pt x="1811909" y="498221"/>
                      </a:lnTo>
                      <a:lnTo>
                        <a:pt x="1813318" y="498221"/>
                      </a:lnTo>
                      <a:lnTo>
                        <a:pt x="1813991" y="499491"/>
                      </a:lnTo>
                      <a:lnTo>
                        <a:pt x="1813991" y="496874"/>
                      </a:lnTo>
                      <a:lnTo>
                        <a:pt x="1811553" y="494411"/>
                      </a:lnTo>
                      <a:lnTo>
                        <a:pt x="1810067" y="495681"/>
                      </a:lnTo>
                      <a:lnTo>
                        <a:pt x="1809788" y="495681"/>
                      </a:lnTo>
                      <a:lnTo>
                        <a:pt x="1809242" y="496951"/>
                      </a:lnTo>
                      <a:lnTo>
                        <a:pt x="1809000" y="496951"/>
                      </a:lnTo>
                      <a:lnTo>
                        <a:pt x="1808416" y="498221"/>
                      </a:lnTo>
                      <a:lnTo>
                        <a:pt x="1809254" y="499491"/>
                      </a:lnTo>
                      <a:lnTo>
                        <a:pt x="1810042" y="500761"/>
                      </a:lnTo>
                      <a:lnTo>
                        <a:pt x="1811985" y="500761"/>
                      </a:lnTo>
                      <a:lnTo>
                        <a:pt x="1812544" y="502031"/>
                      </a:lnTo>
                      <a:lnTo>
                        <a:pt x="1813915" y="502031"/>
                      </a:lnTo>
                      <a:lnTo>
                        <a:pt x="1817103" y="503301"/>
                      </a:lnTo>
                      <a:lnTo>
                        <a:pt x="1818182" y="504571"/>
                      </a:lnTo>
                      <a:lnTo>
                        <a:pt x="1821141" y="504571"/>
                      </a:lnTo>
                      <a:lnTo>
                        <a:pt x="1821713" y="503301"/>
                      </a:lnTo>
                      <a:lnTo>
                        <a:pt x="1819440" y="502031"/>
                      </a:lnTo>
                      <a:lnTo>
                        <a:pt x="1818081" y="502031"/>
                      </a:lnTo>
                      <a:lnTo>
                        <a:pt x="1815795" y="500761"/>
                      </a:lnTo>
                      <a:lnTo>
                        <a:pt x="1815363" y="502031"/>
                      </a:lnTo>
                      <a:lnTo>
                        <a:pt x="1815477" y="500761"/>
                      </a:lnTo>
                      <a:lnTo>
                        <a:pt x="1814118" y="499491"/>
                      </a:lnTo>
                      <a:lnTo>
                        <a:pt x="1815655" y="499491"/>
                      </a:lnTo>
                      <a:lnTo>
                        <a:pt x="1816493" y="498221"/>
                      </a:lnTo>
                      <a:lnTo>
                        <a:pt x="1817039" y="498221"/>
                      </a:lnTo>
                      <a:lnTo>
                        <a:pt x="1817878" y="496951"/>
                      </a:lnTo>
                      <a:lnTo>
                        <a:pt x="1818170" y="496951"/>
                      </a:lnTo>
                      <a:lnTo>
                        <a:pt x="1818132" y="494411"/>
                      </a:lnTo>
                      <a:lnTo>
                        <a:pt x="1813483" y="489331"/>
                      </a:lnTo>
                      <a:lnTo>
                        <a:pt x="1808391" y="481711"/>
                      </a:lnTo>
                      <a:lnTo>
                        <a:pt x="1807908" y="480441"/>
                      </a:lnTo>
                      <a:lnTo>
                        <a:pt x="1806638" y="479171"/>
                      </a:lnTo>
                      <a:lnTo>
                        <a:pt x="1805495" y="477901"/>
                      </a:lnTo>
                      <a:lnTo>
                        <a:pt x="1804898" y="477901"/>
                      </a:lnTo>
                      <a:lnTo>
                        <a:pt x="1803552" y="476631"/>
                      </a:lnTo>
                      <a:lnTo>
                        <a:pt x="1802511" y="476631"/>
                      </a:lnTo>
                      <a:lnTo>
                        <a:pt x="1801152" y="477901"/>
                      </a:lnTo>
                      <a:lnTo>
                        <a:pt x="1797164" y="477901"/>
                      </a:lnTo>
                      <a:lnTo>
                        <a:pt x="1794878" y="479171"/>
                      </a:lnTo>
                      <a:lnTo>
                        <a:pt x="1793976" y="477901"/>
                      </a:lnTo>
                      <a:lnTo>
                        <a:pt x="1792693" y="477901"/>
                      </a:lnTo>
                      <a:lnTo>
                        <a:pt x="1791703" y="476631"/>
                      </a:lnTo>
                      <a:lnTo>
                        <a:pt x="1791792" y="470281"/>
                      </a:lnTo>
                      <a:lnTo>
                        <a:pt x="1791855" y="469011"/>
                      </a:lnTo>
                      <a:lnTo>
                        <a:pt x="1789912" y="467741"/>
                      </a:lnTo>
                      <a:lnTo>
                        <a:pt x="1786966" y="467741"/>
                      </a:lnTo>
                      <a:lnTo>
                        <a:pt x="1784819" y="466471"/>
                      </a:lnTo>
                      <a:lnTo>
                        <a:pt x="1782737" y="466471"/>
                      </a:lnTo>
                      <a:lnTo>
                        <a:pt x="1782737" y="466318"/>
                      </a:lnTo>
                      <a:lnTo>
                        <a:pt x="1782711" y="466471"/>
                      </a:lnTo>
                      <a:lnTo>
                        <a:pt x="1782737" y="465201"/>
                      </a:lnTo>
                      <a:lnTo>
                        <a:pt x="1782737" y="466318"/>
                      </a:lnTo>
                      <a:lnTo>
                        <a:pt x="1782927" y="465201"/>
                      </a:lnTo>
                      <a:lnTo>
                        <a:pt x="1783588" y="463931"/>
                      </a:lnTo>
                      <a:lnTo>
                        <a:pt x="1786915" y="458851"/>
                      </a:lnTo>
                      <a:lnTo>
                        <a:pt x="1788744" y="456311"/>
                      </a:lnTo>
                      <a:lnTo>
                        <a:pt x="1789061" y="455041"/>
                      </a:lnTo>
                      <a:lnTo>
                        <a:pt x="1790128" y="453771"/>
                      </a:lnTo>
                      <a:lnTo>
                        <a:pt x="1791030" y="452501"/>
                      </a:lnTo>
                      <a:lnTo>
                        <a:pt x="1788515" y="449961"/>
                      </a:lnTo>
                      <a:lnTo>
                        <a:pt x="1787804" y="449961"/>
                      </a:lnTo>
                      <a:lnTo>
                        <a:pt x="1787410" y="448691"/>
                      </a:lnTo>
                      <a:lnTo>
                        <a:pt x="1786826" y="448691"/>
                      </a:lnTo>
                      <a:lnTo>
                        <a:pt x="1787118" y="447421"/>
                      </a:lnTo>
                      <a:lnTo>
                        <a:pt x="1788007" y="442341"/>
                      </a:lnTo>
                      <a:lnTo>
                        <a:pt x="1788299" y="441071"/>
                      </a:lnTo>
                      <a:lnTo>
                        <a:pt x="1788604" y="441071"/>
                      </a:lnTo>
                      <a:lnTo>
                        <a:pt x="1789150" y="439801"/>
                      </a:lnTo>
                      <a:lnTo>
                        <a:pt x="1791525" y="439801"/>
                      </a:lnTo>
                      <a:lnTo>
                        <a:pt x="1792185" y="438531"/>
                      </a:lnTo>
                      <a:lnTo>
                        <a:pt x="1792859" y="438531"/>
                      </a:lnTo>
                      <a:lnTo>
                        <a:pt x="1793138" y="437261"/>
                      </a:lnTo>
                      <a:lnTo>
                        <a:pt x="1793494" y="437261"/>
                      </a:lnTo>
                      <a:lnTo>
                        <a:pt x="1794370" y="435991"/>
                      </a:lnTo>
                      <a:lnTo>
                        <a:pt x="1795272" y="432181"/>
                      </a:lnTo>
                      <a:lnTo>
                        <a:pt x="1795462" y="432181"/>
                      </a:lnTo>
                      <a:lnTo>
                        <a:pt x="1795564" y="430911"/>
                      </a:lnTo>
                      <a:lnTo>
                        <a:pt x="1797697" y="430911"/>
                      </a:lnTo>
                      <a:lnTo>
                        <a:pt x="1799259" y="432181"/>
                      </a:lnTo>
                      <a:lnTo>
                        <a:pt x="1802765" y="435991"/>
                      </a:lnTo>
                      <a:lnTo>
                        <a:pt x="1803146" y="435991"/>
                      </a:lnTo>
                      <a:lnTo>
                        <a:pt x="1804949" y="438531"/>
                      </a:lnTo>
                      <a:lnTo>
                        <a:pt x="1806028" y="439801"/>
                      </a:lnTo>
                      <a:lnTo>
                        <a:pt x="1807006" y="439801"/>
                      </a:lnTo>
                      <a:lnTo>
                        <a:pt x="1807883" y="441071"/>
                      </a:lnTo>
                      <a:lnTo>
                        <a:pt x="1809102" y="442341"/>
                      </a:lnTo>
                      <a:lnTo>
                        <a:pt x="1810385" y="441071"/>
                      </a:lnTo>
                      <a:lnTo>
                        <a:pt x="1811794" y="441071"/>
                      </a:lnTo>
                      <a:lnTo>
                        <a:pt x="1813636" y="439801"/>
                      </a:lnTo>
                      <a:lnTo>
                        <a:pt x="1814830" y="439801"/>
                      </a:lnTo>
                      <a:lnTo>
                        <a:pt x="1815452" y="438531"/>
                      </a:lnTo>
                      <a:lnTo>
                        <a:pt x="1816379" y="438531"/>
                      </a:lnTo>
                      <a:lnTo>
                        <a:pt x="1816874" y="437261"/>
                      </a:lnTo>
                      <a:lnTo>
                        <a:pt x="1816976" y="435991"/>
                      </a:lnTo>
                      <a:lnTo>
                        <a:pt x="1816785" y="435991"/>
                      </a:lnTo>
                      <a:lnTo>
                        <a:pt x="1816341" y="434721"/>
                      </a:lnTo>
                      <a:lnTo>
                        <a:pt x="1815490" y="434721"/>
                      </a:lnTo>
                      <a:lnTo>
                        <a:pt x="1815490" y="433451"/>
                      </a:lnTo>
                      <a:lnTo>
                        <a:pt x="1815249" y="433451"/>
                      </a:lnTo>
                      <a:lnTo>
                        <a:pt x="1814931" y="432181"/>
                      </a:lnTo>
                      <a:lnTo>
                        <a:pt x="1814576" y="432181"/>
                      </a:lnTo>
                      <a:lnTo>
                        <a:pt x="1814449" y="430911"/>
                      </a:lnTo>
                      <a:lnTo>
                        <a:pt x="1813915" y="428371"/>
                      </a:lnTo>
                      <a:lnTo>
                        <a:pt x="1813369" y="427101"/>
                      </a:lnTo>
                      <a:lnTo>
                        <a:pt x="1814576" y="427101"/>
                      </a:lnTo>
                      <a:lnTo>
                        <a:pt x="1817865" y="424561"/>
                      </a:lnTo>
                      <a:lnTo>
                        <a:pt x="1819160" y="424561"/>
                      </a:lnTo>
                      <a:lnTo>
                        <a:pt x="1822323" y="423291"/>
                      </a:lnTo>
                      <a:lnTo>
                        <a:pt x="1823427" y="422021"/>
                      </a:lnTo>
                      <a:lnTo>
                        <a:pt x="1824050" y="422021"/>
                      </a:lnTo>
                      <a:lnTo>
                        <a:pt x="1824672" y="420751"/>
                      </a:lnTo>
                      <a:lnTo>
                        <a:pt x="1824380" y="419481"/>
                      </a:lnTo>
                      <a:lnTo>
                        <a:pt x="1823999" y="419481"/>
                      </a:lnTo>
                      <a:lnTo>
                        <a:pt x="1833626" y="414401"/>
                      </a:lnTo>
                      <a:lnTo>
                        <a:pt x="1836762" y="414401"/>
                      </a:lnTo>
                      <a:lnTo>
                        <a:pt x="1837817" y="413131"/>
                      </a:lnTo>
                      <a:lnTo>
                        <a:pt x="1837804" y="411861"/>
                      </a:lnTo>
                      <a:lnTo>
                        <a:pt x="1838629" y="410591"/>
                      </a:lnTo>
                      <a:lnTo>
                        <a:pt x="1839925" y="408051"/>
                      </a:lnTo>
                      <a:lnTo>
                        <a:pt x="1843887" y="408051"/>
                      </a:lnTo>
                      <a:lnTo>
                        <a:pt x="1844014" y="406781"/>
                      </a:lnTo>
                      <a:lnTo>
                        <a:pt x="1844230" y="406781"/>
                      </a:lnTo>
                      <a:lnTo>
                        <a:pt x="1844281" y="405511"/>
                      </a:lnTo>
                      <a:lnTo>
                        <a:pt x="1846033" y="405511"/>
                      </a:lnTo>
                      <a:lnTo>
                        <a:pt x="1848002" y="406781"/>
                      </a:lnTo>
                      <a:lnTo>
                        <a:pt x="1850047" y="406781"/>
                      </a:lnTo>
                      <a:lnTo>
                        <a:pt x="1849615" y="408051"/>
                      </a:lnTo>
                      <a:lnTo>
                        <a:pt x="1850288" y="409321"/>
                      </a:lnTo>
                      <a:lnTo>
                        <a:pt x="1851063" y="409321"/>
                      </a:lnTo>
                      <a:lnTo>
                        <a:pt x="1852218" y="410591"/>
                      </a:lnTo>
                      <a:lnTo>
                        <a:pt x="1852612" y="409321"/>
                      </a:lnTo>
                      <a:lnTo>
                        <a:pt x="1852536" y="410591"/>
                      </a:lnTo>
                      <a:lnTo>
                        <a:pt x="1857451" y="410591"/>
                      </a:lnTo>
                      <a:lnTo>
                        <a:pt x="1857844" y="409321"/>
                      </a:lnTo>
                      <a:lnTo>
                        <a:pt x="1858098" y="409321"/>
                      </a:lnTo>
                      <a:lnTo>
                        <a:pt x="1858137" y="408051"/>
                      </a:lnTo>
                      <a:lnTo>
                        <a:pt x="1857971" y="408051"/>
                      </a:lnTo>
                      <a:lnTo>
                        <a:pt x="1858302" y="406781"/>
                      </a:lnTo>
                      <a:lnTo>
                        <a:pt x="1862569" y="406781"/>
                      </a:lnTo>
                      <a:lnTo>
                        <a:pt x="1864563" y="405511"/>
                      </a:lnTo>
                      <a:lnTo>
                        <a:pt x="1865299" y="406781"/>
                      </a:lnTo>
                      <a:lnTo>
                        <a:pt x="1865706" y="408051"/>
                      </a:lnTo>
                      <a:lnTo>
                        <a:pt x="1866277" y="409321"/>
                      </a:lnTo>
                      <a:lnTo>
                        <a:pt x="1866900" y="409321"/>
                      </a:lnTo>
                      <a:lnTo>
                        <a:pt x="1867166" y="410591"/>
                      </a:lnTo>
                      <a:lnTo>
                        <a:pt x="1870735" y="410591"/>
                      </a:lnTo>
                      <a:lnTo>
                        <a:pt x="1870506" y="409321"/>
                      </a:lnTo>
                      <a:lnTo>
                        <a:pt x="1871014" y="410591"/>
                      </a:lnTo>
                      <a:lnTo>
                        <a:pt x="1873669" y="410591"/>
                      </a:lnTo>
                      <a:lnTo>
                        <a:pt x="1877441" y="409321"/>
                      </a:lnTo>
                      <a:lnTo>
                        <a:pt x="1879346" y="410591"/>
                      </a:lnTo>
                      <a:lnTo>
                        <a:pt x="1883689" y="411861"/>
                      </a:lnTo>
                      <a:lnTo>
                        <a:pt x="1892160" y="419481"/>
                      </a:lnTo>
                      <a:lnTo>
                        <a:pt x="1894065" y="420751"/>
                      </a:lnTo>
                      <a:lnTo>
                        <a:pt x="1894598" y="422021"/>
                      </a:lnTo>
                      <a:lnTo>
                        <a:pt x="1894408" y="422021"/>
                      </a:lnTo>
                      <a:lnTo>
                        <a:pt x="1894687" y="425831"/>
                      </a:lnTo>
                      <a:lnTo>
                        <a:pt x="1895500" y="429641"/>
                      </a:lnTo>
                      <a:lnTo>
                        <a:pt x="1899043" y="427101"/>
                      </a:lnTo>
                      <a:lnTo>
                        <a:pt x="1899259" y="425831"/>
                      </a:lnTo>
                      <a:lnTo>
                        <a:pt x="1899551" y="425831"/>
                      </a:lnTo>
                      <a:lnTo>
                        <a:pt x="1899386" y="422021"/>
                      </a:lnTo>
                      <a:lnTo>
                        <a:pt x="1899094" y="420751"/>
                      </a:lnTo>
                      <a:lnTo>
                        <a:pt x="1898777" y="420751"/>
                      </a:lnTo>
                      <a:lnTo>
                        <a:pt x="1898243" y="419481"/>
                      </a:lnTo>
                      <a:lnTo>
                        <a:pt x="1899500" y="419481"/>
                      </a:lnTo>
                      <a:lnTo>
                        <a:pt x="1901647" y="420751"/>
                      </a:lnTo>
                      <a:lnTo>
                        <a:pt x="1906320" y="424561"/>
                      </a:lnTo>
                      <a:lnTo>
                        <a:pt x="1908365" y="425831"/>
                      </a:lnTo>
                      <a:lnTo>
                        <a:pt x="1910829" y="427101"/>
                      </a:lnTo>
                      <a:lnTo>
                        <a:pt x="1912480" y="428371"/>
                      </a:lnTo>
                      <a:lnTo>
                        <a:pt x="1914093" y="428371"/>
                      </a:lnTo>
                      <a:lnTo>
                        <a:pt x="1914563" y="427101"/>
                      </a:lnTo>
                      <a:lnTo>
                        <a:pt x="1916010" y="427101"/>
                      </a:lnTo>
                      <a:lnTo>
                        <a:pt x="1917001" y="425831"/>
                      </a:lnTo>
                      <a:lnTo>
                        <a:pt x="1918030" y="425831"/>
                      </a:lnTo>
                      <a:lnTo>
                        <a:pt x="1918931" y="424561"/>
                      </a:lnTo>
                      <a:lnTo>
                        <a:pt x="1919922" y="423291"/>
                      </a:lnTo>
                      <a:lnTo>
                        <a:pt x="1920087" y="422021"/>
                      </a:lnTo>
                      <a:lnTo>
                        <a:pt x="1922538" y="422021"/>
                      </a:lnTo>
                      <a:lnTo>
                        <a:pt x="1923999" y="420751"/>
                      </a:lnTo>
                      <a:lnTo>
                        <a:pt x="1924621" y="418211"/>
                      </a:lnTo>
                      <a:lnTo>
                        <a:pt x="1933536" y="418211"/>
                      </a:lnTo>
                      <a:lnTo>
                        <a:pt x="1934502" y="419481"/>
                      </a:lnTo>
                      <a:lnTo>
                        <a:pt x="1935099" y="419481"/>
                      </a:lnTo>
                      <a:lnTo>
                        <a:pt x="1935949" y="420751"/>
                      </a:lnTo>
                      <a:lnTo>
                        <a:pt x="1936991" y="422021"/>
                      </a:lnTo>
                      <a:lnTo>
                        <a:pt x="1941525" y="422021"/>
                      </a:lnTo>
                      <a:lnTo>
                        <a:pt x="1942642" y="420751"/>
                      </a:lnTo>
                      <a:lnTo>
                        <a:pt x="1943188" y="420751"/>
                      </a:lnTo>
                      <a:lnTo>
                        <a:pt x="1943341" y="419481"/>
                      </a:lnTo>
                      <a:lnTo>
                        <a:pt x="1943925" y="419481"/>
                      </a:lnTo>
                      <a:lnTo>
                        <a:pt x="1943887" y="416941"/>
                      </a:lnTo>
                      <a:lnTo>
                        <a:pt x="1950656" y="416941"/>
                      </a:lnTo>
                      <a:lnTo>
                        <a:pt x="1953196" y="418211"/>
                      </a:lnTo>
                      <a:lnTo>
                        <a:pt x="1953869" y="419481"/>
                      </a:lnTo>
                      <a:lnTo>
                        <a:pt x="1954149" y="420751"/>
                      </a:lnTo>
                      <a:lnTo>
                        <a:pt x="1954187" y="422021"/>
                      </a:lnTo>
                      <a:lnTo>
                        <a:pt x="1955342" y="423291"/>
                      </a:lnTo>
                      <a:lnTo>
                        <a:pt x="1956828" y="424561"/>
                      </a:lnTo>
                      <a:lnTo>
                        <a:pt x="1958073" y="424561"/>
                      </a:lnTo>
                      <a:lnTo>
                        <a:pt x="1958898" y="425831"/>
                      </a:lnTo>
                      <a:lnTo>
                        <a:pt x="1964334" y="425831"/>
                      </a:lnTo>
                      <a:lnTo>
                        <a:pt x="1965858" y="427101"/>
                      </a:lnTo>
                      <a:lnTo>
                        <a:pt x="1967382" y="427101"/>
                      </a:lnTo>
                      <a:lnTo>
                        <a:pt x="1967191" y="428371"/>
                      </a:lnTo>
                      <a:lnTo>
                        <a:pt x="1967191" y="430911"/>
                      </a:lnTo>
                      <a:lnTo>
                        <a:pt x="1969160" y="428371"/>
                      </a:lnTo>
                      <a:lnTo>
                        <a:pt x="1972297" y="428371"/>
                      </a:lnTo>
                      <a:lnTo>
                        <a:pt x="1972589" y="427101"/>
                      </a:lnTo>
                      <a:lnTo>
                        <a:pt x="1973021" y="427101"/>
                      </a:lnTo>
                      <a:lnTo>
                        <a:pt x="1973821" y="425831"/>
                      </a:lnTo>
                      <a:lnTo>
                        <a:pt x="1974189" y="425831"/>
                      </a:lnTo>
                      <a:lnTo>
                        <a:pt x="1974392" y="424561"/>
                      </a:lnTo>
                      <a:lnTo>
                        <a:pt x="1974723" y="424561"/>
                      </a:lnTo>
                      <a:lnTo>
                        <a:pt x="1974989" y="423291"/>
                      </a:lnTo>
                      <a:lnTo>
                        <a:pt x="1976589" y="423291"/>
                      </a:lnTo>
                      <a:lnTo>
                        <a:pt x="1978177" y="424561"/>
                      </a:lnTo>
                      <a:lnTo>
                        <a:pt x="1980349" y="424561"/>
                      </a:lnTo>
                      <a:lnTo>
                        <a:pt x="1982457" y="425831"/>
                      </a:lnTo>
                      <a:lnTo>
                        <a:pt x="1988146" y="425831"/>
                      </a:lnTo>
                      <a:lnTo>
                        <a:pt x="1992210" y="424561"/>
                      </a:lnTo>
                      <a:lnTo>
                        <a:pt x="1994268" y="423291"/>
                      </a:lnTo>
                      <a:lnTo>
                        <a:pt x="1995347" y="423291"/>
                      </a:lnTo>
                      <a:lnTo>
                        <a:pt x="1996211" y="422021"/>
                      </a:lnTo>
                      <a:lnTo>
                        <a:pt x="1996846" y="419481"/>
                      </a:lnTo>
                      <a:lnTo>
                        <a:pt x="1997036" y="418211"/>
                      </a:lnTo>
                      <a:lnTo>
                        <a:pt x="1997341" y="416941"/>
                      </a:lnTo>
                      <a:lnTo>
                        <a:pt x="1999259" y="414401"/>
                      </a:lnTo>
                      <a:lnTo>
                        <a:pt x="2001951" y="414401"/>
                      </a:lnTo>
                      <a:lnTo>
                        <a:pt x="2000021" y="413131"/>
                      </a:lnTo>
                      <a:lnTo>
                        <a:pt x="2000605" y="413131"/>
                      </a:lnTo>
                      <a:lnTo>
                        <a:pt x="1998713" y="411861"/>
                      </a:lnTo>
                      <a:lnTo>
                        <a:pt x="1998637" y="413131"/>
                      </a:lnTo>
                      <a:lnTo>
                        <a:pt x="1998395" y="411861"/>
                      </a:lnTo>
                      <a:lnTo>
                        <a:pt x="1991017" y="409321"/>
                      </a:lnTo>
                      <a:lnTo>
                        <a:pt x="1991017" y="408051"/>
                      </a:lnTo>
                      <a:lnTo>
                        <a:pt x="1990102" y="408051"/>
                      </a:lnTo>
                      <a:lnTo>
                        <a:pt x="1985137" y="405511"/>
                      </a:lnTo>
                      <a:lnTo>
                        <a:pt x="1981758" y="405511"/>
                      </a:lnTo>
                      <a:lnTo>
                        <a:pt x="1982393" y="404241"/>
                      </a:lnTo>
                      <a:lnTo>
                        <a:pt x="1980844" y="402971"/>
                      </a:lnTo>
                      <a:lnTo>
                        <a:pt x="1977948" y="401701"/>
                      </a:lnTo>
                      <a:lnTo>
                        <a:pt x="1977085" y="401701"/>
                      </a:lnTo>
                      <a:lnTo>
                        <a:pt x="1976666" y="400431"/>
                      </a:lnTo>
                      <a:lnTo>
                        <a:pt x="1981365" y="400431"/>
                      </a:lnTo>
                      <a:lnTo>
                        <a:pt x="1979066" y="399161"/>
                      </a:lnTo>
                      <a:lnTo>
                        <a:pt x="1980476" y="397891"/>
                      </a:lnTo>
                      <a:lnTo>
                        <a:pt x="1984527" y="397891"/>
                      </a:lnTo>
                      <a:lnTo>
                        <a:pt x="1984984" y="396621"/>
                      </a:lnTo>
                      <a:lnTo>
                        <a:pt x="1986407" y="396621"/>
                      </a:lnTo>
                      <a:lnTo>
                        <a:pt x="1986711" y="395351"/>
                      </a:lnTo>
                      <a:lnTo>
                        <a:pt x="1987943" y="395351"/>
                      </a:lnTo>
                      <a:lnTo>
                        <a:pt x="1989124" y="394081"/>
                      </a:lnTo>
                      <a:lnTo>
                        <a:pt x="1989759" y="394081"/>
                      </a:lnTo>
                      <a:lnTo>
                        <a:pt x="1990559" y="392811"/>
                      </a:lnTo>
                      <a:lnTo>
                        <a:pt x="1990318" y="392811"/>
                      </a:lnTo>
                      <a:lnTo>
                        <a:pt x="1990039" y="391541"/>
                      </a:lnTo>
                      <a:lnTo>
                        <a:pt x="1989747" y="391541"/>
                      </a:lnTo>
                      <a:lnTo>
                        <a:pt x="1989099" y="390271"/>
                      </a:lnTo>
                      <a:lnTo>
                        <a:pt x="1985810" y="386461"/>
                      </a:lnTo>
                      <a:lnTo>
                        <a:pt x="1985987" y="385191"/>
                      </a:lnTo>
                      <a:lnTo>
                        <a:pt x="1986330" y="385191"/>
                      </a:lnTo>
                      <a:lnTo>
                        <a:pt x="1987448" y="383921"/>
                      </a:lnTo>
                      <a:lnTo>
                        <a:pt x="1989937" y="381381"/>
                      </a:lnTo>
                      <a:lnTo>
                        <a:pt x="1997240" y="381381"/>
                      </a:lnTo>
                      <a:lnTo>
                        <a:pt x="1998103" y="382651"/>
                      </a:lnTo>
                      <a:lnTo>
                        <a:pt x="1998611" y="381381"/>
                      </a:lnTo>
                      <a:lnTo>
                        <a:pt x="2001723" y="381381"/>
                      </a:lnTo>
                      <a:lnTo>
                        <a:pt x="2002370" y="382651"/>
                      </a:lnTo>
                      <a:lnTo>
                        <a:pt x="2003818" y="382651"/>
                      </a:lnTo>
                      <a:lnTo>
                        <a:pt x="2003882" y="381381"/>
                      </a:lnTo>
                      <a:lnTo>
                        <a:pt x="2005126" y="381381"/>
                      </a:lnTo>
                      <a:lnTo>
                        <a:pt x="2005253" y="380111"/>
                      </a:lnTo>
                      <a:lnTo>
                        <a:pt x="2005914" y="378841"/>
                      </a:lnTo>
                      <a:lnTo>
                        <a:pt x="2006346" y="378841"/>
                      </a:lnTo>
                      <a:lnTo>
                        <a:pt x="2004707" y="377571"/>
                      </a:lnTo>
                      <a:lnTo>
                        <a:pt x="2002955" y="376301"/>
                      </a:lnTo>
                      <a:lnTo>
                        <a:pt x="1998980" y="375031"/>
                      </a:lnTo>
                      <a:lnTo>
                        <a:pt x="1996884" y="375031"/>
                      </a:lnTo>
                      <a:lnTo>
                        <a:pt x="1996859" y="376301"/>
                      </a:lnTo>
                      <a:lnTo>
                        <a:pt x="1996541" y="375031"/>
                      </a:lnTo>
                      <a:lnTo>
                        <a:pt x="1995258" y="373761"/>
                      </a:lnTo>
                      <a:lnTo>
                        <a:pt x="1993036" y="373761"/>
                      </a:lnTo>
                      <a:lnTo>
                        <a:pt x="1995017" y="372491"/>
                      </a:lnTo>
                      <a:lnTo>
                        <a:pt x="1996173" y="372491"/>
                      </a:lnTo>
                      <a:lnTo>
                        <a:pt x="1996338" y="371221"/>
                      </a:lnTo>
                      <a:lnTo>
                        <a:pt x="1997633" y="371221"/>
                      </a:lnTo>
                      <a:lnTo>
                        <a:pt x="1997862" y="368681"/>
                      </a:lnTo>
                      <a:lnTo>
                        <a:pt x="1996770" y="367411"/>
                      </a:lnTo>
                      <a:lnTo>
                        <a:pt x="1994065" y="367411"/>
                      </a:lnTo>
                      <a:lnTo>
                        <a:pt x="1993328" y="368681"/>
                      </a:lnTo>
                      <a:lnTo>
                        <a:pt x="1990826" y="367411"/>
                      </a:lnTo>
                      <a:lnTo>
                        <a:pt x="1991588" y="367411"/>
                      </a:lnTo>
                      <a:lnTo>
                        <a:pt x="1991728" y="366141"/>
                      </a:lnTo>
                      <a:lnTo>
                        <a:pt x="1992388" y="366141"/>
                      </a:lnTo>
                      <a:lnTo>
                        <a:pt x="1992566" y="364871"/>
                      </a:lnTo>
                      <a:lnTo>
                        <a:pt x="1992871" y="364871"/>
                      </a:lnTo>
                      <a:lnTo>
                        <a:pt x="1992833" y="363601"/>
                      </a:lnTo>
                      <a:lnTo>
                        <a:pt x="1992630" y="363601"/>
                      </a:lnTo>
                      <a:lnTo>
                        <a:pt x="1990940" y="362331"/>
                      </a:lnTo>
                      <a:lnTo>
                        <a:pt x="1991779" y="362331"/>
                      </a:lnTo>
                      <a:lnTo>
                        <a:pt x="1992414" y="361061"/>
                      </a:lnTo>
                      <a:lnTo>
                        <a:pt x="1994484" y="361061"/>
                      </a:lnTo>
                      <a:lnTo>
                        <a:pt x="1994776" y="359791"/>
                      </a:lnTo>
                      <a:lnTo>
                        <a:pt x="1995106" y="361061"/>
                      </a:lnTo>
                      <a:lnTo>
                        <a:pt x="2004631" y="361061"/>
                      </a:lnTo>
                      <a:lnTo>
                        <a:pt x="2004872" y="359791"/>
                      </a:lnTo>
                      <a:lnTo>
                        <a:pt x="2005037" y="361061"/>
                      </a:lnTo>
                      <a:lnTo>
                        <a:pt x="2007870" y="361061"/>
                      </a:lnTo>
                      <a:lnTo>
                        <a:pt x="2008390" y="362331"/>
                      </a:lnTo>
                      <a:lnTo>
                        <a:pt x="2008924" y="362331"/>
                      </a:lnTo>
                      <a:lnTo>
                        <a:pt x="2008301" y="363601"/>
                      </a:lnTo>
                      <a:lnTo>
                        <a:pt x="2009787" y="363601"/>
                      </a:lnTo>
                      <a:lnTo>
                        <a:pt x="2010587" y="362331"/>
                      </a:lnTo>
                      <a:lnTo>
                        <a:pt x="2010905" y="362331"/>
                      </a:lnTo>
                      <a:lnTo>
                        <a:pt x="2012200" y="361061"/>
                      </a:lnTo>
                      <a:lnTo>
                        <a:pt x="2012721" y="361061"/>
                      </a:lnTo>
                      <a:lnTo>
                        <a:pt x="2012721" y="359791"/>
                      </a:lnTo>
                      <a:lnTo>
                        <a:pt x="2015401" y="359791"/>
                      </a:lnTo>
                      <a:lnTo>
                        <a:pt x="2019211" y="358521"/>
                      </a:lnTo>
                      <a:lnTo>
                        <a:pt x="2020087" y="358521"/>
                      </a:lnTo>
                      <a:lnTo>
                        <a:pt x="2020112" y="357251"/>
                      </a:lnTo>
                      <a:lnTo>
                        <a:pt x="2020379" y="358521"/>
                      </a:lnTo>
                      <a:lnTo>
                        <a:pt x="2022094" y="358521"/>
                      </a:lnTo>
                      <a:lnTo>
                        <a:pt x="2027288" y="357251"/>
                      </a:lnTo>
                      <a:lnTo>
                        <a:pt x="2027745" y="357251"/>
                      </a:lnTo>
                      <a:lnTo>
                        <a:pt x="2027707" y="355981"/>
                      </a:lnTo>
                      <a:lnTo>
                        <a:pt x="2028063" y="357251"/>
                      </a:lnTo>
                      <a:lnTo>
                        <a:pt x="2028355" y="357251"/>
                      </a:lnTo>
                      <a:lnTo>
                        <a:pt x="2031644" y="355981"/>
                      </a:lnTo>
                      <a:lnTo>
                        <a:pt x="2033524" y="355981"/>
                      </a:lnTo>
                      <a:lnTo>
                        <a:pt x="2036178" y="354711"/>
                      </a:lnTo>
                      <a:lnTo>
                        <a:pt x="2043823" y="354711"/>
                      </a:lnTo>
                      <a:lnTo>
                        <a:pt x="2045169" y="353441"/>
                      </a:lnTo>
                      <a:lnTo>
                        <a:pt x="2045589" y="353441"/>
                      </a:lnTo>
                      <a:lnTo>
                        <a:pt x="2046287" y="354711"/>
                      </a:lnTo>
                      <a:lnTo>
                        <a:pt x="2047163" y="354711"/>
                      </a:lnTo>
                      <a:lnTo>
                        <a:pt x="2048395" y="353441"/>
                      </a:lnTo>
                      <a:lnTo>
                        <a:pt x="2048624" y="353441"/>
                      </a:lnTo>
                      <a:lnTo>
                        <a:pt x="2049005" y="352171"/>
                      </a:lnTo>
                      <a:lnTo>
                        <a:pt x="2049995" y="350901"/>
                      </a:lnTo>
                      <a:lnTo>
                        <a:pt x="2053094" y="349631"/>
                      </a:lnTo>
                      <a:lnTo>
                        <a:pt x="2057996" y="349631"/>
                      </a:lnTo>
                      <a:lnTo>
                        <a:pt x="2058390" y="348361"/>
                      </a:lnTo>
                      <a:lnTo>
                        <a:pt x="2059114" y="348361"/>
                      </a:lnTo>
                      <a:lnTo>
                        <a:pt x="2059114" y="349631"/>
                      </a:lnTo>
                      <a:lnTo>
                        <a:pt x="2061959" y="349631"/>
                      </a:lnTo>
                      <a:lnTo>
                        <a:pt x="2062340" y="348361"/>
                      </a:lnTo>
                      <a:lnTo>
                        <a:pt x="2066429" y="348361"/>
                      </a:lnTo>
                      <a:lnTo>
                        <a:pt x="2067623" y="347091"/>
                      </a:lnTo>
                      <a:lnTo>
                        <a:pt x="2077580" y="347091"/>
                      </a:lnTo>
                      <a:lnTo>
                        <a:pt x="2075688" y="345821"/>
                      </a:lnTo>
                      <a:lnTo>
                        <a:pt x="2078774" y="344551"/>
                      </a:lnTo>
                      <a:lnTo>
                        <a:pt x="2086698" y="343281"/>
                      </a:lnTo>
                      <a:lnTo>
                        <a:pt x="2087041" y="343281"/>
                      </a:lnTo>
                      <a:lnTo>
                        <a:pt x="2087232" y="342011"/>
                      </a:lnTo>
                      <a:lnTo>
                        <a:pt x="2088184" y="342011"/>
                      </a:lnTo>
                      <a:lnTo>
                        <a:pt x="2088807" y="343281"/>
                      </a:lnTo>
                      <a:lnTo>
                        <a:pt x="2090826" y="343281"/>
                      </a:lnTo>
                      <a:lnTo>
                        <a:pt x="2091385" y="342011"/>
                      </a:lnTo>
                      <a:lnTo>
                        <a:pt x="2092020" y="342011"/>
                      </a:lnTo>
                      <a:lnTo>
                        <a:pt x="2094509" y="340741"/>
                      </a:lnTo>
                      <a:lnTo>
                        <a:pt x="2098827" y="338201"/>
                      </a:lnTo>
                      <a:lnTo>
                        <a:pt x="2099195" y="336931"/>
                      </a:lnTo>
                      <a:lnTo>
                        <a:pt x="2099602" y="336931"/>
                      </a:lnTo>
                      <a:lnTo>
                        <a:pt x="2100097" y="334391"/>
                      </a:lnTo>
                      <a:lnTo>
                        <a:pt x="2101469" y="335661"/>
                      </a:lnTo>
                      <a:lnTo>
                        <a:pt x="2106790" y="335661"/>
                      </a:lnTo>
                      <a:lnTo>
                        <a:pt x="2107400" y="334391"/>
                      </a:lnTo>
                      <a:lnTo>
                        <a:pt x="2112822" y="334391"/>
                      </a:lnTo>
                      <a:lnTo>
                        <a:pt x="2113013" y="335661"/>
                      </a:lnTo>
                      <a:lnTo>
                        <a:pt x="2114004" y="335661"/>
                      </a:lnTo>
                      <a:lnTo>
                        <a:pt x="2115477" y="336931"/>
                      </a:lnTo>
                      <a:lnTo>
                        <a:pt x="2116455" y="338201"/>
                      </a:lnTo>
                      <a:lnTo>
                        <a:pt x="2116467" y="336931"/>
                      </a:lnTo>
                      <a:lnTo>
                        <a:pt x="2117179" y="338201"/>
                      </a:lnTo>
                      <a:lnTo>
                        <a:pt x="2119782" y="338201"/>
                      </a:lnTo>
                      <a:lnTo>
                        <a:pt x="2120709" y="339471"/>
                      </a:lnTo>
                      <a:lnTo>
                        <a:pt x="2121789" y="338201"/>
                      </a:lnTo>
                      <a:lnTo>
                        <a:pt x="2122487" y="338201"/>
                      </a:lnTo>
                      <a:lnTo>
                        <a:pt x="2123313" y="336931"/>
                      </a:lnTo>
                      <a:lnTo>
                        <a:pt x="2124621" y="336931"/>
                      </a:lnTo>
                      <a:lnTo>
                        <a:pt x="2125878" y="335661"/>
                      </a:lnTo>
                      <a:lnTo>
                        <a:pt x="2128736" y="335661"/>
                      </a:lnTo>
                      <a:lnTo>
                        <a:pt x="2130882" y="339471"/>
                      </a:lnTo>
                      <a:lnTo>
                        <a:pt x="2133600" y="345821"/>
                      </a:lnTo>
                      <a:lnTo>
                        <a:pt x="2134501" y="347091"/>
                      </a:lnTo>
                      <a:lnTo>
                        <a:pt x="2134019" y="347548"/>
                      </a:lnTo>
                      <a:lnTo>
                        <a:pt x="2134019" y="355981"/>
                      </a:lnTo>
                      <a:lnTo>
                        <a:pt x="2133625" y="355981"/>
                      </a:lnTo>
                      <a:lnTo>
                        <a:pt x="2133460" y="354711"/>
                      </a:lnTo>
                      <a:lnTo>
                        <a:pt x="2134019" y="355981"/>
                      </a:lnTo>
                      <a:lnTo>
                        <a:pt x="2134019" y="347548"/>
                      </a:lnTo>
                      <a:lnTo>
                        <a:pt x="2133231" y="348361"/>
                      </a:lnTo>
                      <a:lnTo>
                        <a:pt x="2133384" y="350901"/>
                      </a:lnTo>
                      <a:lnTo>
                        <a:pt x="2133676" y="352171"/>
                      </a:lnTo>
                      <a:lnTo>
                        <a:pt x="2133828" y="353441"/>
                      </a:lnTo>
                      <a:lnTo>
                        <a:pt x="2131034" y="353441"/>
                      </a:lnTo>
                      <a:lnTo>
                        <a:pt x="2130907" y="354711"/>
                      </a:lnTo>
                      <a:lnTo>
                        <a:pt x="2131085" y="355981"/>
                      </a:lnTo>
                      <a:lnTo>
                        <a:pt x="2131491" y="355981"/>
                      </a:lnTo>
                      <a:lnTo>
                        <a:pt x="2131796" y="357251"/>
                      </a:lnTo>
                      <a:lnTo>
                        <a:pt x="2132660" y="357251"/>
                      </a:lnTo>
                      <a:lnTo>
                        <a:pt x="2133155" y="358521"/>
                      </a:lnTo>
                      <a:lnTo>
                        <a:pt x="2133562" y="358521"/>
                      </a:lnTo>
                      <a:lnTo>
                        <a:pt x="2134895" y="359791"/>
                      </a:lnTo>
                      <a:lnTo>
                        <a:pt x="2140127" y="359791"/>
                      </a:lnTo>
                      <a:lnTo>
                        <a:pt x="2142477" y="358521"/>
                      </a:lnTo>
                      <a:lnTo>
                        <a:pt x="2147074" y="358521"/>
                      </a:lnTo>
                      <a:lnTo>
                        <a:pt x="2148586" y="359791"/>
                      </a:lnTo>
                      <a:lnTo>
                        <a:pt x="2149665" y="357251"/>
                      </a:lnTo>
                      <a:lnTo>
                        <a:pt x="2149348" y="355981"/>
                      </a:lnTo>
                      <a:lnTo>
                        <a:pt x="2148941" y="354711"/>
                      </a:lnTo>
                      <a:lnTo>
                        <a:pt x="2150160" y="355981"/>
                      </a:lnTo>
                      <a:lnTo>
                        <a:pt x="2150440" y="357251"/>
                      </a:lnTo>
                      <a:lnTo>
                        <a:pt x="2150694" y="357251"/>
                      </a:lnTo>
                      <a:lnTo>
                        <a:pt x="2150859" y="358521"/>
                      </a:lnTo>
                      <a:lnTo>
                        <a:pt x="2150541" y="358521"/>
                      </a:lnTo>
                      <a:lnTo>
                        <a:pt x="2150745" y="359791"/>
                      </a:lnTo>
                      <a:lnTo>
                        <a:pt x="2151138" y="359791"/>
                      </a:lnTo>
                      <a:lnTo>
                        <a:pt x="2151151" y="361061"/>
                      </a:lnTo>
                      <a:lnTo>
                        <a:pt x="2150999" y="361061"/>
                      </a:lnTo>
                      <a:lnTo>
                        <a:pt x="2150122" y="363601"/>
                      </a:lnTo>
                      <a:lnTo>
                        <a:pt x="2152307" y="362331"/>
                      </a:lnTo>
                      <a:lnTo>
                        <a:pt x="2153869" y="362331"/>
                      </a:lnTo>
                      <a:lnTo>
                        <a:pt x="2154758" y="361061"/>
                      </a:lnTo>
                      <a:lnTo>
                        <a:pt x="2156383" y="361061"/>
                      </a:lnTo>
                      <a:lnTo>
                        <a:pt x="2157018" y="359791"/>
                      </a:lnTo>
                      <a:lnTo>
                        <a:pt x="2160473" y="361061"/>
                      </a:lnTo>
                      <a:lnTo>
                        <a:pt x="2161921" y="362331"/>
                      </a:lnTo>
                      <a:lnTo>
                        <a:pt x="2162340" y="362331"/>
                      </a:lnTo>
                      <a:lnTo>
                        <a:pt x="2168601" y="361061"/>
                      </a:lnTo>
                      <a:lnTo>
                        <a:pt x="2167331" y="362331"/>
                      </a:lnTo>
                      <a:lnTo>
                        <a:pt x="2166061" y="362331"/>
                      </a:lnTo>
                      <a:lnTo>
                        <a:pt x="2165654" y="363601"/>
                      </a:lnTo>
                      <a:lnTo>
                        <a:pt x="2164727" y="364871"/>
                      </a:lnTo>
                      <a:lnTo>
                        <a:pt x="2164156" y="364871"/>
                      </a:lnTo>
                      <a:lnTo>
                        <a:pt x="2163965" y="366141"/>
                      </a:lnTo>
                      <a:lnTo>
                        <a:pt x="2162962" y="367411"/>
                      </a:lnTo>
                      <a:lnTo>
                        <a:pt x="2166645" y="373761"/>
                      </a:lnTo>
                      <a:lnTo>
                        <a:pt x="2170252" y="369951"/>
                      </a:lnTo>
                      <a:lnTo>
                        <a:pt x="2178088" y="369951"/>
                      </a:lnTo>
                      <a:lnTo>
                        <a:pt x="2178380" y="371221"/>
                      </a:lnTo>
                      <a:lnTo>
                        <a:pt x="2178608" y="371221"/>
                      </a:lnTo>
                      <a:lnTo>
                        <a:pt x="2180247" y="372491"/>
                      </a:lnTo>
                      <a:lnTo>
                        <a:pt x="2181898" y="371221"/>
                      </a:lnTo>
                      <a:lnTo>
                        <a:pt x="2182177" y="369963"/>
                      </a:lnTo>
                      <a:lnTo>
                        <a:pt x="2182291" y="368681"/>
                      </a:lnTo>
                      <a:lnTo>
                        <a:pt x="2182533" y="367411"/>
                      </a:lnTo>
                      <a:lnTo>
                        <a:pt x="2182685" y="367411"/>
                      </a:lnTo>
                      <a:lnTo>
                        <a:pt x="2191029" y="363601"/>
                      </a:lnTo>
                      <a:lnTo>
                        <a:pt x="2198878" y="359791"/>
                      </a:lnTo>
                      <a:lnTo>
                        <a:pt x="2200821" y="358521"/>
                      </a:lnTo>
                      <a:lnTo>
                        <a:pt x="2213660" y="353441"/>
                      </a:lnTo>
                      <a:lnTo>
                        <a:pt x="2213724" y="355981"/>
                      </a:lnTo>
                      <a:lnTo>
                        <a:pt x="2213305" y="355981"/>
                      </a:lnTo>
                      <a:lnTo>
                        <a:pt x="2213191" y="357251"/>
                      </a:lnTo>
                      <a:lnTo>
                        <a:pt x="2212568" y="357251"/>
                      </a:lnTo>
                      <a:lnTo>
                        <a:pt x="2211933" y="355981"/>
                      </a:lnTo>
                      <a:lnTo>
                        <a:pt x="2209304" y="355981"/>
                      </a:lnTo>
                      <a:lnTo>
                        <a:pt x="2207425" y="357251"/>
                      </a:lnTo>
                      <a:lnTo>
                        <a:pt x="2208542" y="358521"/>
                      </a:lnTo>
                      <a:lnTo>
                        <a:pt x="2211197" y="361061"/>
                      </a:lnTo>
                      <a:lnTo>
                        <a:pt x="2212162" y="361061"/>
                      </a:lnTo>
                      <a:lnTo>
                        <a:pt x="2214130" y="363601"/>
                      </a:lnTo>
                      <a:lnTo>
                        <a:pt x="2217229" y="366141"/>
                      </a:lnTo>
                      <a:lnTo>
                        <a:pt x="2228685" y="375031"/>
                      </a:lnTo>
                      <a:lnTo>
                        <a:pt x="2230590" y="376301"/>
                      </a:lnTo>
                      <a:lnTo>
                        <a:pt x="2236139" y="383921"/>
                      </a:lnTo>
                      <a:lnTo>
                        <a:pt x="2242997" y="394081"/>
                      </a:lnTo>
                      <a:lnTo>
                        <a:pt x="2255901" y="415671"/>
                      </a:lnTo>
                      <a:lnTo>
                        <a:pt x="2259114" y="420751"/>
                      </a:lnTo>
                      <a:lnTo>
                        <a:pt x="2259241" y="420751"/>
                      </a:lnTo>
                      <a:lnTo>
                        <a:pt x="2260485" y="422021"/>
                      </a:lnTo>
                      <a:lnTo>
                        <a:pt x="2261298" y="423291"/>
                      </a:lnTo>
                      <a:lnTo>
                        <a:pt x="2261793" y="424561"/>
                      </a:lnTo>
                      <a:lnTo>
                        <a:pt x="2262467" y="424561"/>
                      </a:lnTo>
                      <a:lnTo>
                        <a:pt x="2263432" y="423291"/>
                      </a:lnTo>
                      <a:lnTo>
                        <a:pt x="2264003" y="422021"/>
                      </a:lnTo>
                      <a:lnTo>
                        <a:pt x="2264537" y="422021"/>
                      </a:lnTo>
                      <a:lnTo>
                        <a:pt x="2264880" y="420751"/>
                      </a:lnTo>
                      <a:lnTo>
                        <a:pt x="2267813" y="420751"/>
                      </a:lnTo>
                      <a:lnTo>
                        <a:pt x="2268588" y="419481"/>
                      </a:lnTo>
                      <a:lnTo>
                        <a:pt x="2268715" y="419481"/>
                      </a:lnTo>
                      <a:lnTo>
                        <a:pt x="2268867" y="418211"/>
                      </a:lnTo>
                      <a:lnTo>
                        <a:pt x="2268969" y="416941"/>
                      </a:lnTo>
                      <a:lnTo>
                        <a:pt x="2268753" y="416941"/>
                      </a:lnTo>
                      <a:lnTo>
                        <a:pt x="2268156" y="415671"/>
                      </a:lnTo>
                      <a:lnTo>
                        <a:pt x="2270620" y="415671"/>
                      </a:lnTo>
                      <a:lnTo>
                        <a:pt x="2271306" y="414401"/>
                      </a:lnTo>
                      <a:lnTo>
                        <a:pt x="2276106" y="415671"/>
                      </a:lnTo>
                      <a:lnTo>
                        <a:pt x="2275357" y="416941"/>
                      </a:lnTo>
                      <a:lnTo>
                        <a:pt x="2275332" y="418211"/>
                      </a:lnTo>
                      <a:lnTo>
                        <a:pt x="2275421" y="419481"/>
                      </a:lnTo>
                      <a:lnTo>
                        <a:pt x="2275687" y="420751"/>
                      </a:lnTo>
                      <a:lnTo>
                        <a:pt x="2276652" y="420751"/>
                      </a:lnTo>
                      <a:lnTo>
                        <a:pt x="2276868" y="419481"/>
                      </a:lnTo>
                      <a:lnTo>
                        <a:pt x="2276906" y="420751"/>
                      </a:lnTo>
                      <a:lnTo>
                        <a:pt x="2277643" y="420751"/>
                      </a:lnTo>
                      <a:lnTo>
                        <a:pt x="2280031" y="423291"/>
                      </a:lnTo>
                      <a:lnTo>
                        <a:pt x="2280831" y="423291"/>
                      </a:lnTo>
                      <a:lnTo>
                        <a:pt x="2281301" y="424561"/>
                      </a:lnTo>
                      <a:lnTo>
                        <a:pt x="2285365" y="424561"/>
                      </a:lnTo>
                      <a:lnTo>
                        <a:pt x="2287384" y="423291"/>
                      </a:lnTo>
                      <a:lnTo>
                        <a:pt x="2288260" y="423291"/>
                      </a:lnTo>
                      <a:lnTo>
                        <a:pt x="2294813" y="424561"/>
                      </a:lnTo>
                      <a:lnTo>
                        <a:pt x="2298420" y="424561"/>
                      </a:lnTo>
                      <a:lnTo>
                        <a:pt x="2298776" y="423291"/>
                      </a:lnTo>
                      <a:lnTo>
                        <a:pt x="2300084" y="423291"/>
                      </a:lnTo>
                      <a:lnTo>
                        <a:pt x="2301125" y="422021"/>
                      </a:lnTo>
                      <a:lnTo>
                        <a:pt x="2301214" y="420751"/>
                      </a:lnTo>
                      <a:lnTo>
                        <a:pt x="2301621" y="420751"/>
                      </a:lnTo>
                      <a:lnTo>
                        <a:pt x="2306269" y="419481"/>
                      </a:lnTo>
                      <a:lnTo>
                        <a:pt x="2313762" y="420751"/>
                      </a:lnTo>
                      <a:lnTo>
                        <a:pt x="2315108" y="422021"/>
                      </a:lnTo>
                      <a:lnTo>
                        <a:pt x="2315413" y="422021"/>
                      </a:lnTo>
                      <a:lnTo>
                        <a:pt x="2316759" y="423291"/>
                      </a:lnTo>
                      <a:lnTo>
                        <a:pt x="2318283" y="424561"/>
                      </a:lnTo>
                      <a:lnTo>
                        <a:pt x="2318829" y="425831"/>
                      </a:lnTo>
                      <a:lnTo>
                        <a:pt x="2320455" y="430911"/>
                      </a:lnTo>
                      <a:lnTo>
                        <a:pt x="2320607" y="432181"/>
                      </a:lnTo>
                      <a:lnTo>
                        <a:pt x="2320798" y="432181"/>
                      </a:lnTo>
                      <a:lnTo>
                        <a:pt x="2321052" y="433451"/>
                      </a:lnTo>
                      <a:lnTo>
                        <a:pt x="2324468" y="433451"/>
                      </a:lnTo>
                      <a:lnTo>
                        <a:pt x="2331059" y="437261"/>
                      </a:lnTo>
                      <a:lnTo>
                        <a:pt x="2332126" y="437261"/>
                      </a:lnTo>
                      <a:lnTo>
                        <a:pt x="2331034" y="438531"/>
                      </a:lnTo>
                      <a:lnTo>
                        <a:pt x="2331123" y="439801"/>
                      </a:lnTo>
                      <a:lnTo>
                        <a:pt x="2331821" y="439801"/>
                      </a:lnTo>
                      <a:lnTo>
                        <a:pt x="2332698" y="441071"/>
                      </a:lnTo>
                      <a:lnTo>
                        <a:pt x="2333193" y="441071"/>
                      </a:lnTo>
                      <a:lnTo>
                        <a:pt x="2333409" y="442341"/>
                      </a:lnTo>
                      <a:lnTo>
                        <a:pt x="2334247" y="443611"/>
                      </a:lnTo>
                      <a:lnTo>
                        <a:pt x="2334412" y="443611"/>
                      </a:lnTo>
                      <a:lnTo>
                        <a:pt x="2334857" y="444881"/>
                      </a:lnTo>
                      <a:lnTo>
                        <a:pt x="2335009" y="444881"/>
                      </a:lnTo>
                      <a:lnTo>
                        <a:pt x="2335644" y="446151"/>
                      </a:lnTo>
                      <a:lnTo>
                        <a:pt x="2345029" y="446151"/>
                      </a:lnTo>
                      <a:lnTo>
                        <a:pt x="2345055" y="447421"/>
                      </a:lnTo>
                      <a:lnTo>
                        <a:pt x="2348395" y="447421"/>
                      </a:lnTo>
                      <a:lnTo>
                        <a:pt x="2349042" y="448691"/>
                      </a:lnTo>
                      <a:lnTo>
                        <a:pt x="2352306" y="446151"/>
                      </a:lnTo>
                      <a:lnTo>
                        <a:pt x="2354542" y="443611"/>
                      </a:lnTo>
                      <a:lnTo>
                        <a:pt x="2354122" y="444881"/>
                      </a:lnTo>
                      <a:lnTo>
                        <a:pt x="2354846" y="446151"/>
                      </a:lnTo>
                      <a:lnTo>
                        <a:pt x="2355697" y="446151"/>
                      </a:lnTo>
                      <a:lnTo>
                        <a:pt x="2356091" y="447421"/>
                      </a:lnTo>
                      <a:lnTo>
                        <a:pt x="2358237" y="448691"/>
                      </a:lnTo>
                      <a:lnTo>
                        <a:pt x="2362555" y="452501"/>
                      </a:lnTo>
                      <a:lnTo>
                        <a:pt x="2359507" y="452501"/>
                      </a:lnTo>
                      <a:lnTo>
                        <a:pt x="2358237" y="453771"/>
                      </a:lnTo>
                      <a:lnTo>
                        <a:pt x="2357577" y="453771"/>
                      </a:lnTo>
                      <a:lnTo>
                        <a:pt x="2357056" y="456311"/>
                      </a:lnTo>
                      <a:lnTo>
                        <a:pt x="2356866" y="457581"/>
                      </a:lnTo>
                      <a:lnTo>
                        <a:pt x="2356713" y="458851"/>
                      </a:lnTo>
                      <a:lnTo>
                        <a:pt x="2357170" y="458851"/>
                      </a:lnTo>
                      <a:lnTo>
                        <a:pt x="2356955" y="460121"/>
                      </a:lnTo>
                      <a:lnTo>
                        <a:pt x="2356358" y="461391"/>
                      </a:lnTo>
                      <a:lnTo>
                        <a:pt x="2354923" y="462661"/>
                      </a:lnTo>
                      <a:lnTo>
                        <a:pt x="2351671" y="463931"/>
                      </a:lnTo>
                      <a:lnTo>
                        <a:pt x="2349754" y="465201"/>
                      </a:lnTo>
                      <a:lnTo>
                        <a:pt x="2344978" y="465201"/>
                      </a:lnTo>
                      <a:lnTo>
                        <a:pt x="2341854" y="466471"/>
                      </a:lnTo>
                      <a:lnTo>
                        <a:pt x="2339327" y="472821"/>
                      </a:lnTo>
                      <a:lnTo>
                        <a:pt x="2339556" y="474091"/>
                      </a:lnTo>
                      <a:lnTo>
                        <a:pt x="2339784" y="476631"/>
                      </a:lnTo>
                      <a:lnTo>
                        <a:pt x="2341054" y="482981"/>
                      </a:lnTo>
                      <a:lnTo>
                        <a:pt x="2341613" y="488061"/>
                      </a:lnTo>
                      <a:lnTo>
                        <a:pt x="2339683" y="489331"/>
                      </a:lnTo>
                      <a:lnTo>
                        <a:pt x="2331656" y="493141"/>
                      </a:lnTo>
                      <a:lnTo>
                        <a:pt x="2327465" y="491871"/>
                      </a:lnTo>
                      <a:lnTo>
                        <a:pt x="2322055" y="490601"/>
                      </a:lnTo>
                      <a:lnTo>
                        <a:pt x="2318181" y="493141"/>
                      </a:lnTo>
                      <a:lnTo>
                        <a:pt x="2313622" y="490601"/>
                      </a:lnTo>
                      <a:lnTo>
                        <a:pt x="2311438" y="489331"/>
                      </a:lnTo>
                      <a:lnTo>
                        <a:pt x="2309241" y="488061"/>
                      </a:lnTo>
                      <a:lnTo>
                        <a:pt x="2307691" y="488061"/>
                      </a:lnTo>
                      <a:lnTo>
                        <a:pt x="2303869" y="486791"/>
                      </a:lnTo>
                      <a:lnTo>
                        <a:pt x="2302738" y="489331"/>
                      </a:lnTo>
                      <a:lnTo>
                        <a:pt x="2292883" y="518541"/>
                      </a:lnTo>
                      <a:lnTo>
                        <a:pt x="2293582" y="519811"/>
                      </a:lnTo>
                      <a:lnTo>
                        <a:pt x="2297315" y="521081"/>
                      </a:lnTo>
                      <a:lnTo>
                        <a:pt x="2297722" y="521081"/>
                      </a:lnTo>
                      <a:lnTo>
                        <a:pt x="2297392" y="523621"/>
                      </a:lnTo>
                      <a:lnTo>
                        <a:pt x="2287562" y="523621"/>
                      </a:lnTo>
                      <a:lnTo>
                        <a:pt x="2287422" y="522351"/>
                      </a:lnTo>
                      <a:lnTo>
                        <a:pt x="2287282" y="521081"/>
                      </a:lnTo>
                      <a:lnTo>
                        <a:pt x="2283536" y="521081"/>
                      </a:lnTo>
                      <a:lnTo>
                        <a:pt x="2281237" y="522351"/>
                      </a:lnTo>
                      <a:lnTo>
                        <a:pt x="2266543" y="526161"/>
                      </a:lnTo>
                      <a:lnTo>
                        <a:pt x="2262924" y="526161"/>
                      </a:lnTo>
                      <a:lnTo>
                        <a:pt x="2259660" y="527431"/>
                      </a:lnTo>
                      <a:lnTo>
                        <a:pt x="2258682" y="528701"/>
                      </a:lnTo>
                      <a:lnTo>
                        <a:pt x="2258555" y="528701"/>
                      </a:lnTo>
                      <a:lnTo>
                        <a:pt x="2257691" y="529971"/>
                      </a:lnTo>
                      <a:lnTo>
                        <a:pt x="2259558" y="532511"/>
                      </a:lnTo>
                      <a:lnTo>
                        <a:pt x="2266226" y="532511"/>
                      </a:lnTo>
                      <a:lnTo>
                        <a:pt x="2265807" y="533781"/>
                      </a:lnTo>
                      <a:lnTo>
                        <a:pt x="2265464" y="533781"/>
                      </a:lnTo>
                      <a:lnTo>
                        <a:pt x="2264511" y="536321"/>
                      </a:lnTo>
                      <a:lnTo>
                        <a:pt x="2266035" y="545211"/>
                      </a:lnTo>
                      <a:lnTo>
                        <a:pt x="2267254" y="547751"/>
                      </a:lnTo>
                      <a:lnTo>
                        <a:pt x="2268893" y="552831"/>
                      </a:lnTo>
                      <a:lnTo>
                        <a:pt x="2270214" y="555371"/>
                      </a:lnTo>
                      <a:lnTo>
                        <a:pt x="2270404" y="555371"/>
                      </a:lnTo>
                      <a:lnTo>
                        <a:pt x="2271166" y="559181"/>
                      </a:lnTo>
                      <a:lnTo>
                        <a:pt x="2271331" y="559181"/>
                      </a:lnTo>
                      <a:lnTo>
                        <a:pt x="2270925" y="560451"/>
                      </a:lnTo>
                      <a:lnTo>
                        <a:pt x="2266048" y="560451"/>
                      </a:lnTo>
                      <a:lnTo>
                        <a:pt x="2264956" y="562991"/>
                      </a:lnTo>
                      <a:lnTo>
                        <a:pt x="2265997" y="564261"/>
                      </a:lnTo>
                      <a:lnTo>
                        <a:pt x="2266835" y="564261"/>
                      </a:lnTo>
                      <a:lnTo>
                        <a:pt x="2265845" y="565531"/>
                      </a:lnTo>
                      <a:lnTo>
                        <a:pt x="2263902" y="565531"/>
                      </a:lnTo>
                      <a:lnTo>
                        <a:pt x="2263483" y="566280"/>
                      </a:lnTo>
                      <a:lnTo>
                        <a:pt x="2263483" y="578231"/>
                      </a:lnTo>
                      <a:lnTo>
                        <a:pt x="2263063" y="579501"/>
                      </a:lnTo>
                      <a:lnTo>
                        <a:pt x="2262174" y="579501"/>
                      </a:lnTo>
                      <a:lnTo>
                        <a:pt x="2253881" y="582041"/>
                      </a:lnTo>
                      <a:lnTo>
                        <a:pt x="2250122" y="583311"/>
                      </a:lnTo>
                      <a:lnTo>
                        <a:pt x="2244115" y="585851"/>
                      </a:lnTo>
                      <a:lnTo>
                        <a:pt x="2242413" y="587121"/>
                      </a:lnTo>
                      <a:lnTo>
                        <a:pt x="2240673" y="587121"/>
                      </a:lnTo>
                      <a:lnTo>
                        <a:pt x="2238006" y="590931"/>
                      </a:lnTo>
                      <a:lnTo>
                        <a:pt x="2237257" y="592201"/>
                      </a:lnTo>
                      <a:lnTo>
                        <a:pt x="2237079" y="592201"/>
                      </a:lnTo>
                      <a:lnTo>
                        <a:pt x="2235847" y="593471"/>
                      </a:lnTo>
                      <a:lnTo>
                        <a:pt x="2235136" y="593471"/>
                      </a:lnTo>
                      <a:lnTo>
                        <a:pt x="2231199" y="594741"/>
                      </a:lnTo>
                      <a:lnTo>
                        <a:pt x="2219464" y="594741"/>
                      </a:lnTo>
                      <a:lnTo>
                        <a:pt x="2216429" y="596011"/>
                      </a:lnTo>
                      <a:lnTo>
                        <a:pt x="2213902" y="599821"/>
                      </a:lnTo>
                      <a:lnTo>
                        <a:pt x="2212644" y="599821"/>
                      </a:lnTo>
                      <a:lnTo>
                        <a:pt x="2212213" y="601091"/>
                      </a:lnTo>
                      <a:lnTo>
                        <a:pt x="2211870" y="601091"/>
                      </a:lnTo>
                      <a:lnTo>
                        <a:pt x="2211667" y="602361"/>
                      </a:lnTo>
                      <a:lnTo>
                        <a:pt x="2211730" y="603631"/>
                      </a:lnTo>
                      <a:lnTo>
                        <a:pt x="2211578" y="603631"/>
                      </a:lnTo>
                      <a:lnTo>
                        <a:pt x="2211120" y="604901"/>
                      </a:lnTo>
                      <a:lnTo>
                        <a:pt x="2210638" y="604901"/>
                      </a:lnTo>
                      <a:lnTo>
                        <a:pt x="2209749" y="606171"/>
                      </a:lnTo>
                      <a:lnTo>
                        <a:pt x="2209558" y="606171"/>
                      </a:lnTo>
                      <a:lnTo>
                        <a:pt x="2209304" y="607441"/>
                      </a:lnTo>
                      <a:lnTo>
                        <a:pt x="2208733" y="607441"/>
                      </a:lnTo>
                      <a:lnTo>
                        <a:pt x="2207387" y="606171"/>
                      </a:lnTo>
                      <a:lnTo>
                        <a:pt x="2205202" y="606171"/>
                      </a:lnTo>
                      <a:lnTo>
                        <a:pt x="2204732" y="607441"/>
                      </a:lnTo>
                      <a:lnTo>
                        <a:pt x="2202484" y="607441"/>
                      </a:lnTo>
                      <a:lnTo>
                        <a:pt x="2202230" y="608711"/>
                      </a:lnTo>
                      <a:lnTo>
                        <a:pt x="2200440" y="608711"/>
                      </a:lnTo>
                      <a:lnTo>
                        <a:pt x="2200173" y="607441"/>
                      </a:lnTo>
                      <a:lnTo>
                        <a:pt x="2199576" y="604901"/>
                      </a:lnTo>
                      <a:lnTo>
                        <a:pt x="2199259" y="604901"/>
                      </a:lnTo>
                      <a:lnTo>
                        <a:pt x="2199246" y="603631"/>
                      </a:lnTo>
                      <a:lnTo>
                        <a:pt x="2198560" y="603631"/>
                      </a:lnTo>
                      <a:lnTo>
                        <a:pt x="2198179" y="602361"/>
                      </a:lnTo>
                      <a:lnTo>
                        <a:pt x="2196261" y="602361"/>
                      </a:lnTo>
                      <a:lnTo>
                        <a:pt x="2194128" y="604901"/>
                      </a:lnTo>
                      <a:lnTo>
                        <a:pt x="2191664" y="606171"/>
                      </a:lnTo>
                      <a:lnTo>
                        <a:pt x="2190864" y="606171"/>
                      </a:lnTo>
                      <a:lnTo>
                        <a:pt x="2187206" y="604901"/>
                      </a:lnTo>
                      <a:lnTo>
                        <a:pt x="2185962" y="604901"/>
                      </a:lnTo>
                      <a:lnTo>
                        <a:pt x="2185987" y="606247"/>
                      </a:lnTo>
                      <a:lnTo>
                        <a:pt x="2186559" y="608711"/>
                      </a:lnTo>
                      <a:lnTo>
                        <a:pt x="2185505" y="608711"/>
                      </a:lnTo>
                      <a:lnTo>
                        <a:pt x="2180094" y="609981"/>
                      </a:lnTo>
                      <a:lnTo>
                        <a:pt x="2174341" y="612521"/>
                      </a:lnTo>
                      <a:lnTo>
                        <a:pt x="2173782" y="616331"/>
                      </a:lnTo>
                      <a:lnTo>
                        <a:pt x="2173173" y="618871"/>
                      </a:lnTo>
                      <a:lnTo>
                        <a:pt x="2172893" y="620141"/>
                      </a:lnTo>
                      <a:lnTo>
                        <a:pt x="2172805" y="621411"/>
                      </a:lnTo>
                      <a:lnTo>
                        <a:pt x="2170938" y="621411"/>
                      </a:lnTo>
                      <a:lnTo>
                        <a:pt x="2169934" y="622681"/>
                      </a:lnTo>
                      <a:lnTo>
                        <a:pt x="2166963" y="622681"/>
                      </a:lnTo>
                      <a:lnTo>
                        <a:pt x="2165985" y="623951"/>
                      </a:lnTo>
                      <a:lnTo>
                        <a:pt x="2152053" y="623951"/>
                      </a:lnTo>
                      <a:lnTo>
                        <a:pt x="2151011" y="625221"/>
                      </a:lnTo>
                      <a:lnTo>
                        <a:pt x="2149754" y="626491"/>
                      </a:lnTo>
                      <a:lnTo>
                        <a:pt x="2148535" y="626491"/>
                      </a:lnTo>
                      <a:lnTo>
                        <a:pt x="2144966" y="625221"/>
                      </a:lnTo>
                      <a:lnTo>
                        <a:pt x="2143963" y="625221"/>
                      </a:lnTo>
                      <a:lnTo>
                        <a:pt x="2143671" y="622681"/>
                      </a:lnTo>
                      <a:lnTo>
                        <a:pt x="2140648" y="622681"/>
                      </a:lnTo>
                      <a:lnTo>
                        <a:pt x="2140559" y="621411"/>
                      </a:lnTo>
                      <a:lnTo>
                        <a:pt x="2140254" y="620141"/>
                      </a:lnTo>
                      <a:lnTo>
                        <a:pt x="2138565" y="620141"/>
                      </a:lnTo>
                      <a:lnTo>
                        <a:pt x="2133663" y="622681"/>
                      </a:lnTo>
                      <a:lnTo>
                        <a:pt x="2129980" y="622681"/>
                      </a:lnTo>
                      <a:lnTo>
                        <a:pt x="2127364" y="621411"/>
                      </a:lnTo>
                      <a:lnTo>
                        <a:pt x="2124494" y="621411"/>
                      </a:lnTo>
                      <a:lnTo>
                        <a:pt x="2119820" y="620141"/>
                      </a:lnTo>
                      <a:lnTo>
                        <a:pt x="2114461" y="621411"/>
                      </a:lnTo>
                      <a:lnTo>
                        <a:pt x="2108898" y="621411"/>
                      </a:lnTo>
                      <a:lnTo>
                        <a:pt x="2109063" y="616331"/>
                      </a:lnTo>
                      <a:lnTo>
                        <a:pt x="2109317" y="617601"/>
                      </a:lnTo>
                      <a:lnTo>
                        <a:pt x="2110270" y="616331"/>
                      </a:lnTo>
                      <a:lnTo>
                        <a:pt x="2111641" y="613791"/>
                      </a:lnTo>
                      <a:lnTo>
                        <a:pt x="2112441" y="613791"/>
                      </a:lnTo>
                      <a:lnTo>
                        <a:pt x="2116124" y="612521"/>
                      </a:lnTo>
                      <a:lnTo>
                        <a:pt x="2118715" y="612521"/>
                      </a:lnTo>
                      <a:lnTo>
                        <a:pt x="2121725" y="613791"/>
                      </a:lnTo>
                      <a:lnTo>
                        <a:pt x="2123808" y="613791"/>
                      </a:lnTo>
                      <a:lnTo>
                        <a:pt x="2123414" y="615061"/>
                      </a:lnTo>
                      <a:lnTo>
                        <a:pt x="2123338" y="616331"/>
                      </a:lnTo>
                      <a:lnTo>
                        <a:pt x="2125865" y="616331"/>
                      </a:lnTo>
                      <a:lnTo>
                        <a:pt x="2128621" y="613791"/>
                      </a:lnTo>
                      <a:lnTo>
                        <a:pt x="2128774" y="613791"/>
                      </a:lnTo>
                      <a:lnTo>
                        <a:pt x="2131314" y="612521"/>
                      </a:lnTo>
                      <a:lnTo>
                        <a:pt x="2131860" y="611251"/>
                      </a:lnTo>
                      <a:lnTo>
                        <a:pt x="2133943" y="611251"/>
                      </a:lnTo>
                      <a:lnTo>
                        <a:pt x="2134819" y="609981"/>
                      </a:lnTo>
                      <a:lnTo>
                        <a:pt x="2137562" y="609981"/>
                      </a:lnTo>
                      <a:lnTo>
                        <a:pt x="2138134" y="611251"/>
                      </a:lnTo>
                      <a:lnTo>
                        <a:pt x="2139581" y="611251"/>
                      </a:lnTo>
                      <a:lnTo>
                        <a:pt x="2142477" y="613791"/>
                      </a:lnTo>
                      <a:lnTo>
                        <a:pt x="2146477" y="611251"/>
                      </a:lnTo>
                      <a:lnTo>
                        <a:pt x="2147392" y="611251"/>
                      </a:lnTo>
                      <a:lnTo>
                        <a:pt x="2147951" y="609981"/>
                      </a:lnTo>
                      <a:lnTo>
                        <a:pt x="2148192" y="608711"/>
                      </a:lnTo>
                      <a:lnTo>
                        <a:pt x="2148789" y="608711"/>
                      </a:lnTo>
                      <a:lnTo>
                        <a:pt x="2148941" y="607441"/>
                      </a:lnTo>
                      <a:lnTo>
                        <a:pt x="2149906" y="608711"/>
                      </a:lnTo>
                      <a:lnTo>
                        <a:pt x="2153653" y="609981"/>
                      </a:lnTo>
                      <a:lnTo>
                        <a:pt x="2153297" y="607441"/>
                      </a:lnTo>
                      <a:lnTo>
                        <a:pt x="2152954" y="606247"/>
                      </a:lnTo>
                      <a:lnTo>
                        <a:pt x="2154644" y="607441"/>
                      </a:lnTo>
                      <a:lnTo>
                        <a:pt x="2156980" y="606171"/>
                      </a:lnTo>
                      <a:lnTo>
                        <a:pt x="2158441" y="604901"/>
                      </a:lnTo>
                      <a:lnTo>
                        <a:pt x="2158606" y="603631"/>
                      </a:lnTo>
                      <a:lnTo>
                        <a:pt x="2161082" y="603631"/>
                      </a:lnTo>
                      <a:lnTo>
                        <a:pt x="2161895" y="602361"/>
                      </a:lnTo>
                      <a:lnTo>
                        <a:pt x="2162886" y="602361"/>
                      </a:lnTo>
                      <a:lnTo>
                        <a:pt x="2163343" y="601091"/>
                      </a:lnTo>
                      <a:lnTo>
                        <a:pt x="2163648" y="601091"/>
                      </a:lnTo>
                      <a:lnTo>
                        <a:pt x="2164207" y="599821"/>
                      </a:lnTo>
                      <a:lnTo>
                        <a:pt x="2162238" y="598551"/>
                      </a:lnTo>
                      <a:lnTo>
                        <a:pt x="2155825" y="598551"/>
                      </a:lnTo>
                      <a:lnTo>
                        <a:pt x="2155482" y="597281"/>
                      </a:lnTo>
                      <a:lnTo>
                        <a:pt x="2154517" y="597281"/>
                      </a:lnTo>
                      <a:lnTo>
                        <a:pt x="2152358" y="596011"/>
                      </a:lnTo>
                      <a:lnTo>
                        <a:pt x="2152015" y="597281"/>
                      </a:lnTo>
                      <a:lnTo>
                        <a:pt x="2151977" y="596011"/>
                      </a:lnTo>
                      <a:lnTo>
                        <a:pt x="2150135" y="596011"/>
                      </a:lnTo>
                      <a:lnTo>
                        <a:pt x="2150097" y="594741"/>
                      </a:lnTo>
                      <a:lnTo>
                        <a:pt x="2149983" y="593471"/>
                      </a:lnTo>
                      <a:lnTo>
                        <a:pt x="2149424" y="593471"/>
                      </a:lnTo>
                      <a:lnTo>
                        <a:pt x="2148751" y="592201"/>
                      </a:lnTo>
                      <a:lnTo>
                        <a:pt x="2146757" y="593471"/>
                      </a:lnTo>
                      <a:lnTo>
                        <a:pt x="2146566" y="593471"/>
                      </a:lnTo>
                      <a:lnTo>
                        <a:pt x="2143874" y="588391"/>
                      </a:lnTo>
                      <a:lnTo>
                        <a:pt x="2139873" y="587121"/>
                      </a:lnTo>
                      <a:lnTo>
                        <a:pt x="2139734" y="590931"/>
                      </a:lnTo>
                      <a:lnTo>
                        <a:pt x="2139226" y="590931"/>
                      </a:lnTo>
                      <a:lnTo>
                        <a:pt x="2137829" y="589661"/>
                      </a:lnTo>
                      <a:lnTo>
                        <a:pt x="2137257" y="592201"/>
                      </a:lnTo>
                      <a:lnTo>
                        <a:pt x="2137245" y="593471"/>
                      </a:lnTo>
                      <a:lnTo>
                        <a:pt x="2132342" y="593471"/>
                      </a:lnTo>
                      <a:lnTo>
                        <a:pt x="2130260" y="592201"/>
                      </a:lnTo>
                      <a:lnTo>
                        <a:pt x="2129472" y="592201"/>
                      </a:lnTo>
                      <a:lnTo>
                        <a:pt x="2129142" y="590931"/>
                      </a:lnTo>
                      <a:lnTo>
                        <a:pt x="2128799" y="589661"/>
                      </a:lnTo>
                      <a:lnTo>
                        <a:pt x="2128316" y="588391"/>
                      </a:lnTo>
                      <a:lnTo>
                        <a:pt x="2124913" y="589661"/>
                      </a:lnTo>
                      <a:lnTo>
                        <a:pt x="2124748" y="588391"/>
                      </a:lnTo>
                      <a:lnTo>
                        <a:pt x="2122589" y="588391"/>
                      </a:lnTo>
                      <a:lnTo>
                        <a:pt x="2122233" y="587121"/>
                      </a:lnTo>
                      <a:lnTo>
                        <a:pt x="2122513" y="587121"/>
                      </a:lnTo>
                      <a:lnTo>
                        <a:pt x="2125281" y="584581"/>
                      </a:lnTo>
                      <a:lnTo>
                        <a:pt x="2134425" y="579501"/>
                      </a:lnTo>
                      <a:lnTo>
                        <a:pt x="2138642" y="576961"/>
                      </a:lnTo>
                      <a:lnTo>
                        <a:pt x="2134971" y="575691"/>
                      </a:lnTo>
                      <a:lnTo>
                        <a:pt x="2132825" y="575691"/>
                      </a:lnTo>
                      <a:lnTo>
                        <a:pt x="2131961" y="574421"/>
                      </a:lnTo>
                      <a:lnTo>
                        <a:pt x="2132152" y="574421"/>
                      </a:lnTo>
                      <a:lnTo>
                        <a:pt x="2132812" y="573151"/>
                      </a:lnTo>
                      <a:lnTo>
                        <a:pt x="2135200" y="570611"/>
                      </a:lnTo>
                      <a:lnTo>
                        <a:pt x="2136775" y="569341"/>
                      </a:lnTo>
                      <a:lnTo>
                        <a:pt x="2137333" y="569341"/>
                      </a:lnTo>
                      <a:lnTo>
                        <a:pt x="2137638" y="568071"/>
                      </a:lnTo>
                      <a:lnTo>
                        <a:pt x="2149792" y="568071"/>
                      </a:lnTo>
                      <a:lnTo>
                        <a:pt x="2150707" y="569341"/>
                      </a:lnTo>
                      <a:lnTo>
                        <a:pt x="2152002" y="569341"/>
                      </a:lnTo>
                      <a:lnTo>
                        <a:pt x="2155342" y="570611"/>
                      </a:lnTo>
                      <a:lnTo>
                        <a:pt x="2166023" y="573151"/>
                      </a:lnTo>
                      <a:lnTo>
                        <a:pt x="2170557" y="574421"/>
                      </a:lnTo>
                      <a:lnTo>
                        <a:pt x="2168906" y="571881"/>
                      </a:lnTo>
                      <a:lnTo>
                        <a:pt x="2168677" y="571881"/>
                      </a:lnTo>
                      <a:lnTo>
                        <a:pt x="2168423" y="570611"/>
                      </a:lnTo>
                      <a:lnTo>
                        <a:pt x="2167775" y="566801"/>
                      </a:lnTo>
                      <a:lnTo>
                        <a:pt x="2168918" y="564261"/>
                      </a:lnTo>
                      <a:lnTo>
                        <a:pt x="2172347" y="561721"/>
                      </a:lnTo>
                      <a:lnTo>
                        <a:pt x="2173973" y="561721"/>
                      </a:lnTo>
                      <a:lnTo>
                        <a:pt x="2175421" y="560451"/>
                      </a:lnTo>
                      <a:lnTo>
                        <a:pt x="2177554" y="560451"/>
                      </a:lnTo>
                      <a:lnTo>
                        <a:pt x="2180552" y="561721"/>
                      </a:lnTo>
                      <a:lnTo>
                        <a:pt x="2182926" y="562991"/>
                      </a:lnTo>
                      <a:lnTo>
                        <a:pt x="2184184" y="562991"/>
                      </a:lnTo>
                      <a:lnTo>
                        <a:pt x="2185593" y="564261"/>
                      </a:lnTo>
                      <a:lnTo>
                        <a:pt x="2186432" y="564261"/>
                      </a:lnTo>
                      <a:lnTo>
                        <a:pt x="2187537" y="565531"/>
                      </a:lnTo>
                      <a:lnTo>
                        <a:pt x="2190115" y="565531"/>
                      </a:lnTo>
                      <a:lnTo>
                        <a:pt x="2191918" y="566801"/>
                      </a:lnTo>
                      <a:lnTo>
                        <a:pt x="2197354" y="566801"/>
                      </a:lnTo>
                      <a:lnTo>
                        <a:pt x="2199360" y="565531"/>
                      </a:lnTo>
                      <a:lnTo>
                        <a:pt x="2201316" y="565531"/>
                      </a:lnTo>
                      <a:lnTo>
                        <a:pt x="2203272" y="564261"/>
                      </a:lnTo>
                      <a:lnTo>
                        <a:pt x="2206371" y="565531"/>
                      </a:lnTo>
                      <a:lnTo>
                        <a:pt x="2223973" y="565531"/>
                      </a:lnTo>
                      <a:lnTo>
                        <a:pt x="2224024" y="564261"/>
                      </a:lnTo>
                      <a:lnTo>
                        <a:pt x="2224316" y="565531"/>
                      </a:lnTo>
                      <a:lnTo>
                        <a:pt x="2233752" y="566801"/>
                      </a:lnTo>
                      <a:lnTo>
                        <a:pt x="2241067" y="566801"/>
                      </a:lnTo>
                      <a:lnTo>
                        <a:pt x="2243366" y="568071"/>
                      </a:lnTo>
                      <a:lnTo>
                        <a:pt x="2249093" y="568071"/>
                      </a:lnTo>
                      <a:lnTo>
                        <a:pt x="2249741" y="569341"/>
                      </a:lnTo>
                      <a:lnTo>
                        <a:pt x="2250643" y="570611"/>
                      </a:lnTo>
                      <a:lnTo>
                        <a:pt x="2252129" y="573151"/>
                      </a:lnTo>
                      <a:lnTo>
                        <a:pt x="2256815" y="573151"/>
                      </a:lnTo>
                      <a:lnTo>
                        <a:pt x="2258187" y="574421"/>
                      </a:lnTo>
                      <a:lnTo>
                        <a:pt x="2259939" y="574421"/>
                      </a:lnTo>
                      <a:lnTo>
                        <a:pt x="2260752" y="575691"/>
                      </a:lnTo>
                      <a:lnTo>
                        <a:pt x="2262365" y="576961"/>
                      </a:lnTo>
                      <a:lnTo>
                        <a:pt x="2262987" y="576961"/>
                      </a:lnTo>
                      <a:lnTo>
                        <a:pt x="2263089" y="578231"/>
                      </a:lnTo>
                      <a:lnTo>
                        <a:pt x="2263483" y="578231"/>
                      </a:lnTo>
                      <a:lnTo>
                        <a:pt x="2263483" y="566280"/>
                      </a:lnTo>
                      <a:lnTo>
                        <a:pt x="2262467" y="568071"/>
                      </a:lnTo>
                      <a:lnTo>
                        <a:pt x="2262327" y="569341"/>
                      </a:lnTo>
                      <a:lnTo>
                        <a:pt x="2263178" y="573151"/>
                      </a:lnTo>
                      <a:lnTo>
                        <a:pt x="2263330" y="574421"/>
                      </a:lnTo>
                      <a:lnTo>
                        <a:pt x="2262136" y="573151"/>
                      </a:lnTo>
                      <a:lnTo>
                        <a:pt x="2261260" y="573151"/>
                      </a:lnTo>
                      <a:lnTo>
                        <a:pt x="2260714" y="571881"/>
                      </a:lnTo>
                      <a:lnTo>
                        <a:pt x="2254123" y="571881"/>
                      </a:lnTo>
                      <a:lnTo>
                        <a:pt x="2253361" y="570611"/>
                      </a:lnTo>
                      <a:lnTo>
                        <a:pt x="2252472" y="569341"/>
                      </a:lnTo>
                      <a:lnTo>
                        <a:pt x="2251278" y="568071"/>
                      </a:lnTo>
                      <a:lnTo>
                        <a:pt x="2250414" y="565531"/>
                      </a:lnTo>
                      <a:lnTo>
                        <a:pt x="2242959" y="565531"/>
                      </a:lnTo>
                      <a:lnTo>
                        <a:pt x="2241664" y="564261"/>
                      </a:lnTo>
                      <a:lnTo>
                        <a:pt x="2224087" y="564261"/>
                      </a:lnTo>
                      <a:lnTo>
                        <a:pt x="2220645" y="562991"/>
                      </a:lnTo>
                      <a:lnTo>
                        <a:pt x="2199119" y="562991"/>
                      </a:lnTo>
                      <a:lnTo>
                        <a:pt x="2198586" y="564261"/>
                      </a:lnTo>
                      <a:lnTo>
                        <a:pt x="2190737" y="564261"/>
                      </a:lnTo>
                      <a:lnTo>
                        <a:pt x="2188057" y="562991"/>
                      </a:lnTo>
                      <a:lnTo>
                        <a:pt x="2187283" y="562991"/>
                      </a:lnTo>
                      <a:lnTo>
                        <a:pt x="2186521" y="561721"/>
                      </a:lnTo>
                      <a:lnTo>
                        <a:pt x="2184958" y="561721"/>
                      </a:lnTo>
                      <a:lnTo>
                        <a:pt x="2184044" y="560451"/>
                      </a:lnTo>
                      <a:lnTo>
                        <a:pt x="2181275" y="559181"/>
                      </a:lnTo>
                      <a:lnTo>
                        <a:pt x="2173173" y="559181"/>
                      </a:lnTo>
                      <a:lnTo>
                        <a:pt x="2171471" y="560451"/>
                      </a:lnTo>
                      <a:lnTo>
                        <a:pt x="2167039" y="561721"/>
                      </a:lnTo>
                      <a:lnTo>
                        <a:pt x="2165527" y="566801"/>
                      </a:lnTo>
                      <a:lnTo>
                        <a:pt x="2166404" y="571855"/>
                      </a:lnTo>
                      <a:lnTo>
                        <a:pt x="2155914" y="568071"/>
                      </a:lnTo>
                      <a:lnTo>
                        <a:pt x="2152561" y="566801"/>
                      </a:lnTo>
                      <a:lnTo>
                        <a:pt x="2136127" y="566801"/>
                      </a:lnTo>
                      <a:lnTo>
                        <a:pt x="2135289" y="568071"/>
                      </a:lnTo>
                      <a:lnTo>
                        <a:pt x="2133587" y="569341"/>
                      </a:lnTo>
                      <a:lnTo>
                        <a:pt x="2131237" y="571881"/>
                      </a:lnTo>
                      <a:lnTo>
                        <a:pt x="2130615" y="573151"/>
                      </a:lnTo>
                      <a:lnTo>
                        <a:pt x="2130171" y="573151"/>
                      </a:lnTo>
                      <a:lnTo>
                        <a:pt x="2129726" y="574421"/>
                      </a:lnTo>
                      <a:lnTo>
                        <a:pt x="2129485" y="574421"/>
                      </a:lnTo>
                      <a:lnTo>
                        <a:pt x="2129498" y="575691"/>
                      </a:lnTo>
                      <a:lnTo>
                        <a:pt x="2129815" y="575691"/>
                      </a:lnTo>
                      <a:lnTo>
                        <a:pt x="2114524" y="584581"/>
                      </a:lnTo>
                      <a:lnTo>
                        <a:pt x="2107946" y="589661"/>
                      </a:lnTo>
                      <a:lnTo>
                        <a:pt x="2110752" y="589661"/>
                      </a:lnTo>
                      <a:lnTo>
                        <a:pt x="2113927" y="587121"/>
                      </a:lnTo>
                      <a:lnTo>
                        <a:pt x="2115655" y="585851"/>
                      </a:lnTo>
                      <a:lnTo>
                        <a:pt x="2131898" y="576961"/>
                      </a:lnTo>
                      <a:lnTo>
                        <a:pt x="2133181" y="576961"/>
                      </a:lnTo>
                      <a:lnTo>
                        <a:pt x="2123986" y="583311"/>
                      </a:lnTo>
                      <a:lnTo>
                        <a:pt x="2121128" y="585851"/>
                      </a:lnTo>
                      <a:lnTo>
                        <a:pt x="2119769" y="587121"/>
                      </a:lnTo>
                      <a:lnTo>
                        <a:pt x="2118944" y="587121"/>
                      </a:lnTo>
                      <a:lnTo>
                        <a:pt x="2119426" y="588391"/>
                      </a:lnTo>
                      <a:lnTo>
                        <a:pt x="2119579" y="589661"/>
                      </a:lnTo>
                      <a:lnTo>
                        <a:pt x="2122246" y="589661"/>
                      </a:lnTo>
                      <a:lnTo>
                        <a:pt x="2123097" y="590931"/>
                      </a:lnTo>
                      <a:lnTo>
                        <a:pt x="2123986" y="592201"/>
                      </a:lnTo>
                      <a:lnTo>
                        <a:pt x="2126958" y="590931"/>
                      </a:lnTo>
                      <a:lnTo>
                        <a:pt x="2127694" y="593471"/>
                      </a:lnTo>
                      <a:lnTo>
                        <a:pt x="2128228" y="593471"/>
                      </a:lnTo>
                      <a:lnTo>
                        <a:pt x="2131187" y="594741"/>
                      </a:lnTo>
                      <a:lnTo>
                        <a:pt x="2132965" y="596011"/>
                      </a:lnTo>
                      <a:lnTo>
                        <a:pt x="2139315" y="596011"/>
                      </a:lnTo>
                      <a:lnTo>
                        <a:pt x="2139378" y="593471"/>
                      </a:lnTo>
                      <a:lnTo>
                        <a:pt x="2141778" y="593471"/>
                      </a:lnTo>
                      <a:lnTo>
                        <a:pt x="2141867" y="590931"/>
                      </a:lnTo>
                      <a:lnTo>
                        <a:pt x="2142871" y="590931"/>
                      </a:lnTo>
                      <a:lnTo>
                        <a:pt x="2144712" y="594741"/>
                      </a:lnTo>
                      <a:lnTo>
                        <a:pt x="2147951" y="594741"/>
                      </a:lnTo>
                      <a:lnTo>
                        <a:pt x="2148040" y="597281"/>
                      </a:lnTo>
                      <a:lnTo>
                        <a:pt x="2148243" y="598551"/>
                      </a:lnTo>
                      <a:lnTo>
                        <a:pt x="2151392" y="598551"/>
                      </a:lnTo>
                      <a:lnTo>
                        <a:pt x="2151672" y="597281"/>
                      </a:lnTo>
                      <a:lnTo>
                        <a:pt x="2151672" y="598551"/>
                      </a:lnTo>
                      <a:lnTo>
                        <a:pt x="2153805" y="598551"/>
                      </a:lnTo>
                      <a:lnTo>
                        <a:pt x="2153996" y="599821"/>
                      </a:lnTo>
                      <a:lnTo>
                        <a:pt x="2154478" y="599821"/>
                      </a:lnTo>
                      <a:lnTo>
                        <a:pt x="2156129" y="601091"/>
                      </a:lnTo>
                      <a:lnTo>
                        <a:pt x="2158517" y="601091"/>
                      </a:lnTo>
                      <a:lnTo>
                        <a:pt x="2157857" y="602361"/>
                      </a:lnTo>
                      <a:lnTo>
                        <a:pt x="2156955" y="602361"/>
                      </a:lnTo>
                      <a:lnTo>
                        <a:pt x="2156752" y="603631"/>
                      </a:lnTo>
                      <a:lnTo>
                        <a:pt x="2155723" y="604901"/>
                      </a:lnTo>
                      <a:lnTo>
                        <a:pt x="2155075" y="604901"/>
                      </a:lnTo>
                      <a:lnTo>
                        <a:pt x="2154009" y="603631"/>
                      </a:lnTo>
                      <a:lnTo>
                        <a:pt x="2150783" y="603631"/>
                      </a:lnTo>
                      <a:lnTo>
                        <a:pt x="2150656" y="604901"/>
                      </a:lnTo>
                      <a:lnTo>
                        <a:pt x="2150707" y="606171"/>
                      </a:lnTo>
                      <a:lnTo>
                        <a:pt x="2146985" y="606171"/>
                      </a:lnTo>
                      <a:lnTo>
                        <a:pt x="2146643" y="607441"/>
                      </a:lnTo>
                      <a:lnTo>
                        <a:pt x="2146439" y="607441"/>
                      </a:lnTo>
                      <a:lnTo>
                        <a:pt x="2146211" y="608711"/>
                      </a:lnTo>
                      <a:lnTo>
                        <a:pt x="2145792" y="608711"/>
                      </a:lnTo>
                      <a:lnTo>
                        <a:pt x="2145461" y="609981"/>
                      </a:lnTo>
                      <a:lnTo>
                        <a:pt x="2143277" y="609981"/>
                      </a:lnTo>
                      <a:lnTo>
                        <a:pt x="2142464" y="611251"/>
                      </a:lnTo>
                      <a:lnTo>
                        <a:pt x="2140508" y="609981"/>
                      </a:lnTo>
                      <a:lnTo>
                        <a:pt x="2139924" y="609981"/>
                      </a:lnTo>
                      <a:lnTo>
                        <a:pt x="2139518" y="608711"/>
                      </a:lnTo>
                      <a:lnTo>
                        <a:pt x="2131504" y="608711"/>
                      </a:lnTo>
                      <a:lnTo>
                        <a:pt x="2130996" y="609981"/>
                      </a:lnTo>
                      <a:lnTo>
                        <a:pt x="2128443" y="609981"/>
                      </a:lnTo>
                      <a:lnTo>
                        <a:pt x="2128329" y="609790"/>
                      </a:lnTo>
                      <a:lnTo>
                        <a:pt x="2128329" y="611251"/>
                      </a:lnTo>
                      <a:lnTo>
                        <a:pt x="2126170" y="613791"/>
                      </a:lnTo>
                      <a:lnTo>
                        <a:pt x="2124329" y="612521"/>
                      </a:lnTo>
                      <a:lnTo>
                        <a:pt x="2119820" y="609981"/>
                      </a:lnTo>
                      <a:lnTo>
                        <a:pt x="2115769" y="609981"/>
                      </a:lnTo>
                      <a:lnTo>
                        <a:pt x="2112289" y="611251"/>
                      </a:lnTo>
                      <a:lnTo>
                        <a:pt x="2110270" y="611251"/>
                      </a:lnTo>
                      <a:lnTo>
                        <a:pt x="2108885" y="613791"/>
                      </a:lnTo>
                      <a:lnTo>
                        <a:pt x="2107387" y="612521"/>
                      </a:lnTo>
                      <a:lnTo>
                        <a:pt x="2108885" y="612521"/>
                      </a:lnTo>
                      <a:lnTo>
                        <a:pt x="2108733" y="611251"/>
                      </a:lnTo>
                      <a:lnTo>
                        <a:pt x="2108568" y="609981"/>
                      </a:lnTo>
                      <a:lnTo>
                        <a:pt x="2107387" y="606171"/>
                      </a:lnTo>
                      <a:lnTo>
                        <a:pt x="2107730" y="604901"/>
                      </a:lnTo>
                      <a:lnTo>
                        <a:pt x="2108936" y="602361"/>
                      </a:lnTo>
                      <a:lnTo>
                        <a:pt x="2109609" y="602361"/>
                      </a:lnTo>
                      <a:lnTo>
                        <a:pt x="2111870" y="603631"/>
                      </a:lnTo>
                      <a:lnTo>
                        <a:pt x="2113673" y="604901"/>
                      </a:lnTo>
                      <a:lnTo>
                        <a:pt x="2116975" y="602361"/>
                      </a:lnTo>
                      <a:lnTo>
                        <a:pt x="2119617" y="602361"/>
                      </a:lnTo>
                      <a:lnTo>
                        <a:pt x="2122093" y="599821"/>
                      </a:lnTo>
                      <a:lnTo>
                        <a:pt x="2122919" y="599821"/>
                      </a:lnTo>
                      <a:lnTo>
                        <a:pt x="2124011" y="598551"/>
                      </a:lnTo>
                      <a:lnTo>
                        <a:pt x="2127580" y="602361"/>
                      </a:lnTo>
                      <a:lnTo>
                        <a:pt x="2125726" y="603631"/>
                      </a:lnTo>
                      <a:lnTo>
                        <a:pt x="2123960" y="604901"/>
                      </a:lnTo>
                      <a:lnTo>
                        <a:pt x="2121128" y="607441"/>
                      </a:lnTo>
                      <a:lnTo>
                        <a:pt x="2125294" y="609981"/>
                      </a:lnTo>
                      <a:lnTo>
                        <a:pt x="2126653" y="611251"/>
                      </a:lnTo>
                      <a:lnTo>
                        <a:pt x="2128329" y="611251"/>
                      </a:lnTo>
                      <a:lnTo>
                        <a:pt x="2128329" y="609790"/>
                      </a:lnTo>
                      <a:lnTo>
                        <a:pt x="2127694" y="608711"/>
                      </a:lnTo>
                      <a:lnTo>
                        <a:pt x="2126729" y="608711"/>
                      </a:lnTo>
                      <a:lnTo>
                        <a:pt x="2124684" y="607441"/>
                      </a:lnTo>
                      <a:lnTo>
                        <a:pt x="2128024" y="604901"/>
                      </a:lnTo>
                      <a:lnTo>
                        <a:pt x="2130653" y="602361"/>
                      </a:lnTo>
                      <a:lnTo>
                        <a:pt x="2126958" y="598551"/>
                      </a:lnTo>
                      <a:lnTo>
                        <a:pt x="2124481" y="596011"/>
                      </a:lnTo>
                      <a:lnTo>
                        <a:pt x="2122982" y="596011"/>
                      </a:lnTo>
                      <a:lnTo>
                        <a:pt x="2121624" y="597281"/>
                      </a:lnTo>
                      <a:lnTo>
                        <a:pt x="2120823" y="598551"/>
                      </a:lnTo>
                      <a:lnTo>
                        <a:pt x="2118410" y="599821"/>
                      </a:lnTo>
                      <a:lnTo>
                        <a:pt x="2117763" y="599821"/>
                      </a:lnTo>
                      <a:lnTo>
                        <a:pt x="2117115" y="601091"/>
                      </a:lnTo>
                      <a:lnTo>
                        <a:pt x="2116175" y="601091"/>
                      </a:lnTo>
                      <a:lnTo>
                        <a:pt x="2114131" y="602361"/>
                      </a:lnTo>
                      <a:lnTo>
                        <a:pt x="2113102" y="602361"/>
                      </a:lnTo>
                      <a:lnTo>
                        <a:pt x="2109889" y="601091"/>
                      </a:lnTo>
                      <a:lnTo>
                        <a:pt x="2107311" y="601091"/>
                      </a:lnTo>
                      <a:lnTo>
                        <a:pt x="2106231" y="602361"/>
                      </a:lnTo>
                      <a:lnTo>
                        <a:pt x="2105736" y="603631"/>
                      </a:lnTo>
                      <a:lnTo>
                        <a:pt x="2105190" y="606171"/>
                      </a:lnTo>
                      <a:lnTo>
                        <a:pt x="2106282" y="609981"/>
                      </a:lnTo>
                      <a:lnTo>
                        <a:pt x="2096808" y="609981"/>
                      </a:lnTo>
                      <a:lnTo>
                        <a:pt x="2097659" y="612521"/>
                      </a:lnTo>
                      <a:lnTo>
                        <a:pt x="2098725" y="612521"/>
                      </a:lnTo>
                      <a:lnTo>
                        <a:pt x="2099868" y="613791"/>
                      </a:lnTo>
                      <a:lnTo>
                        <a:pt x="2099043" y="615061"/>
                      </a:lnTo>
                      <a:lnTo>
                        <a:pt x="2097366" y="616331"/>
                      </a:lnTo>
                      <a:lnTo>
                        <a:pt x="2096985" y="617601"/>
                      </a:lnTo>
                      <a:lnTo>
                        <a:pt x="2096477" y="618871"/>
                      </a:lnTo>
                      <a:lnTo>
                        <a:pt x="2096135" y="620141"/>
                      </a:lnTo>
                      <a:lnTo>
                        <a:pt x="2095919" y="621411"/>
                      </a:lnTo>
                      <a:lnTo>
                        <a:pt x="2092896" y="621411"/>
                      </a:lnTo>
                      <a:lnTo>
                        <a:pt x="2091944" y="620141"/>
                      </a:lnTo>
                      <a:lnTo>
                        <a:pt x="2083727" y="620141"/>
                      </a:lnTo>
                      <a:lnTo>
                        <a:pt x="2082165" y="621411"/>
                      </a:lnTo>
                      <a:lnTo>
                        <a:pt x="2080158" y="622681"/>
                      </a:lnTo>
                      <a:lnTo>
                        <a:pt x="2079256" y="625221"/>
                      </a:lnTo>
                      <a:lnTo>
                        <a:pt x="2079167" y="626491"/>
                      </a:lnTo>
                      <a:lnTo>
                        <a:pt x="2079548" y="627761"/>
                      </a:lnTo>
                      <a:lnTo>
                        <a:pt x="2080488" y="629031"/>
                      </a:lnTo>
                      <a:lnTo>
                        <a:pt x="2081123" y="629031"/>
                      </a:lnTo>
                      <a:lnTo>
                        <a:pt x="2082177" y="630301"/>
                      </a:lnTo>
                      <a:lnTo>
                        <a:pt x="2084133" y="631571"/>
                      </a:lnTo>
                      <a:lnTo>
                        <a:pt x="2084641" y="631571"/>
                      </a:lnTo>
                      <a:lnTo>
                        <a:pt x="2088489" y="632841"/>
                      </a:lnTo>
                      <a:lnTo>
                        <a:pt x="2090686" y="632841"/>
                      </a:lnTo>
                      <a:lnTo>
                        <a:pt x="2090889" y="634111"/>
                      </a:lnTo>
                      <a:lnTo>
                        <a:pt x="2090242" y="636651"/>
                      </a:lnTo>
                      <a:lnTo>
                        <a:pt x="2089861" y="639191"/>
                      </a:lnTo>
                      <a:lnTo>
                        <a:pt x="2090013" y="640461"/>
                      </a:lnTo>
                      <a:lnTo>
                        <a:pt x="2090369" y="641731"/>
                      </a:lnTo>
                      <a:lnTo>
                        <a:pt x="2090712" y="641731"/>
                      </a:lnTo>
                      <a:lnTo>
                        <a:pt x="2091817" y="643001"/>
                      </a:lnTo>
                      <a:lnTo>
                        <a:pt x="2092883" y="644271"/>
                      </a:lnTo>
                      <a:lnTo>
                        <a:pt x="2093468" y="644271"/>
                      </a:lnTo>
                      <a:lnTo>
                        <a:pt x="2093683" y="645541"/>
                      </a:lnTo>
                      <a:lnTo>
                        <a:pt x="2088616" y="651891"/>
                      </a:lnTo>
                      <a:lnTo>
                        <a:pt x="2086825" y="654431"/>
                      </a:lnTo>
                      <a:lnTo>
                        <a:pt x="2086038" y="655701"/>
                      </a:lnTo>
                      <a:lnTo>
                        <a:pt x="2085632" y="656971"/>
                      </a:lnTo>
                      <a:lnTo>
                        <a:pt x="2085708" y="658241"/>
                      </a:lnTo>
                      <a:lnTo>
                        <a:pt x="2085403" y="659511"/>
                      </a:lnTo>
                      <a:lnTo>
                        <a:pt x="2084882" y="659511"/>
                      </a:lnTo>
                      <a:lnTo>
                        <a:pt x="2084882" y="660781"/>
                      </a:lnTo>
                      <a:lnTo>
                        <a:pt x="2078761" y="660781"/>
                      </a:lnTo>
                      <a:lnTo>
                        <a:pt x="2078151" y="659511"/>
                      </a:lnTo>
                      <a:lnTo>
                        <a:pt x="2077859" y="659511"/>
                      </a:lnTo>
                      <a:lnTo>
                        <a:pt x="2076627" y="658241"/>
                      </a:lnTo>
                      <a:lnTo>
                        <a:pt x="2075662" y="658241"/>
                      </a:lnTo>
                      <a:lnTo>
                        <a:pt x="2073783" y="656971"/>
                      </a:lnTo>
                      <a:lnTo>
                        <a:pt x="2069769" y="656971"/>
                      </a:lnTo>
                      <a:lnTo>
                        <a:pt x="2070392" y="651891"/>
                      </a:lnTo>
                      <a:lnTo>
                        <a:pt x="2070747" y="650621"/>
                      </a:lnTo>
                      <a:lnTo>
                        <a:pt x="2070912" y="650621"/>
                      </a:lnTo>
                      <a:lnTo>
                        <a:pt x="2071027" y="649351"/>
                      </a:lnTo>
                      <a:lnTo>
                        <a:pt x="2070976" y="648081"/>
                      </a:lnTo>
                      <a:lnTo>
                        <a:pt x="2066899" y="645541"/>
                      </a:lnTo>
                      <a:lnTo>
                        <a:pt x="2065439" y="645541"/>
                      </a:lnTo>
                      <a:lnTo>
                        <a:pt x="2064042" y="644271"/>
                      </a:lnTo>
                      <a:lnTo>
                        <a:pt x="2061921" y="643001"/>
                      </a:lnTo>
                      <a:lnTo>
                        <a:pt x="2059787" y="641731"/>
                      </a:lnTo>
                      <a:lnTo>
                        <a:pt x="2057387" y="643001"/>
                      </a:lnTo>
                      <a:lnTo>
                        <a:pt x="2054987" y="643001"/>
                      </a:lnTo>
                      <a:lnTo>
                        <a:pt x="2051913" y="640461"/>
                      </a:lnTo>
                      <a:lnTo>
                        <a:pt x="2048979" y="637921"/>
                      </a:lnTo>
                      <a:lnTo>
                        <a:pt x="2047316" y="636651"/>
                      </a:lnTo>
                      <a:lnTo>
                        <a:pt x="2046211" y="636651"/>
                      </a:lnTo>
                      <a:lnTo>
                        <a:pt x="2040636" y="634111"/>
                      </a:lnTo>
                      <a:lnTo>
                        <a:pt x="2036622" y="630301"/>
                      </a:lnTo>
                      <a:lnTo>
                        <a:pt x="2027936" y="625221"/>
                      </a:lnTo>
                      <a:lnTo>
                        <a:pt x="2011464" y="613791"/>
                      </a:lnTo>
                      <a:lnTo>
                        <a:pt x="2011159" y="613791"/>
                      </a:lnTo>
                      <a:lnTo>
                        <a:pt x="2010829" y="612521"/>
                      </a:lnTo>
                      <a:lnTo>
                        <a:pt x="2010079" y="609981"/>
                      </a:lnTo>
                      <a:lnTo>
                        <a:pt x="2009775" y="608711"/>
                      </a:lnTo>
                      <a:lnTo>
                        <a:pt x="2009317" y="607441"/>
                      </a:lnTo>
                      <a:lnTo>
                        <a:pt x="2006828" y="606171"/>
                      </a:lnTo>
                      <a:lnTo>
                        <a:pt x="2006168" y="603631"/>
                      </a:lnTo>
                      <a:lnTo>
                        <a:pt x="2002637" y="596011"/>
                      </a:lnTo>
                      <a:lnTo>
                        <a:pt x="2000250" y="593471"/>
                      </a:lnTo>
                      <a:lnTo>
                        <a:pt x="1996821" y="590931"/>
                      </a:lnTo>
                      <a:lnTo>
                        <a:pt x="1994750" y="590931"/>
                      </a:lnTo>
                      <a:lnTo>
                        <a:pt x="1994319" y="592201"/>
                      </a:lnTo>
                      <a:lnTo>
                        <a:pt x="1993785" y="592201"/>
                      </a:lnTo>
                      <a:lnTo>
                        <a:pt x="1993595" y="593471"/>
                      </a:lnTo>
                      <a:lnTo>
                        <a:pt x="1990521" y="593471"/>
                      </a:lnTo>
                      <a:lnTo>
                        <a:pt x="1986203" y="592201"/>
                      </a:lnTo>
                      <a:lnTo>
                        <a:pt x="1980819" y="592201"/>
                      </a:lnTo>
                      <a:lnTo>
                        <a:pt x="1978177" y="590931"/>
                      </a:lnTo>
                      <a:lnTo>
                        <a:pt x="1977377" y="589661"/>
                      </a:lnTo>
                      <a:lnTo>
                        <a:pt x="1976843" y="589661"/>
                      </a:lnTo>
                      <a:lnTo>
                        <a:pt x="1977478" y="588391"/>
                      </a:lnTo>
                      <a:lnTo>
                        <a:pt x="1977669" y="587121"/>
                      </a:lnTo>
                      <a:lnTo>
                        <a:pt x="1977656" y="585851"/>
                      </a:lnTo>
                      <a:lnTo>
                        <a:pt x="1978520" y="585851"/>
                      </a:lnTo>
                      <a:lnTo>
                        <a:pt x="1980247" y="584581"/>
                      </a:lnTo>
                      <a:lnTo>
                        <a:pt x="1977948" y="582041"/>
                      </a:lnTo>
                      <a:lnTo>
                        <a:pt x="1976831" y="582041"/>
                      </a:lnTo>
                      <a:lnTo>
                        <a:pt x="1975535" y="580771"/>
                      </a:lnTo>
                      <a:lnTo>
                        <a:pt x="1975942" y="579501"/>
                      </a:lnTo>
                      <a:lnTo>
                        <a:pt x="1975650" y="578231"/>
                      </a:lnTo>
                      <a:lnTo>
                        <a:pt x="1977872" y="576961"/>
                      </a:lnTo>
                      <a:lnTo>
                        <a:pt x="1972030" y="574421"/>
                      </a:lnTo>
                      <a:lnTo>
                        <a:pt x="1967153" y="574421"/>
                      </a:lnTo>
                      <a:lnTo>
                        <a:pt x="1965579" y="573151"/>
                      </a:lnTo>
                      <a:lnTo>
                        <a:pt x="1964867" y="573151"/>
                      </a:lnTo>
                      <a:lnTo>
                        <a:pt x="1963318" y="570611"/>
                      </a:lnTo>
                      <a:lnTo>
                        <a:pt x="1962531" y="569341"/>
                      </a:lnTo>
                      <a:lnTo>
                        <a:pt x="1961502" y="570611"/>
                      </a:lnTo>
                      <a:lnTo>
                        <a:pt x="1959927" y="570611"/>
                      </a:lnTo>
                      <a:lnTo>
                        <a:pt x="1959483" y="569341"/>
                      </a:lnTo>
                      <a:lnTo>
                        <a:pt x="1958746" y="569341"/>
                      </a:lnTo>
                      <a:lnTo>
                        <a:pt x="1957755" y="568071"/>
                      </a:lnTo>
                      <a:lnTo>
                        <a:pt x="1955774" y="565531"/>
                      </a:lnTo>
                      <a:lnTo>
                        <a:pt x="1954771" y="565531"/>
                      </a:lnTo>
                      <a:lnTo>
                        <a:pt x="1953666" y="566801"/>
                      </a:lnTo>
                      <a:lnTo>
                        <a:pt x="1950300" y="569341"/>
                      </a:lnTo>
                      <a:lnTo>
                        <a:pt x="1950250" y="571881"/>
                      </a:lnTo>
                      <a:lnTo>
                        <a:pt x="1949399" y="570611"/>
                      </a:lnTo>
                      <a:lnTo>
                        <a:pt x="1945271" y="570611"/>
                      </a:lnTo>
                      <a:lnTo>
                        <a:pt x="1943938" y="574421"/>
                      </a:lnTo>
                      <a:lnTo>
                        <a:pt x="1943277" y="575691"/>
                      </a:lnTo>
                      <a:lnTo>
                        <a:pt x="1942909" y="576961"/>
                      </a:lnTo>
                      <a:lnTo>
                        <a:pt x="1940547" y="576961"/>
                      </a:lnTo>
                      <a:lnTo>
                        <a:pt x="1936343" y="578231"/>
                      </a:lnTo>
                      <a:lnTo>
                        <a:pt x="1934298" y="578231"/>
                      </a:lnTo>
                      <a:lnTo>
                        <a:pt x="1933689" y="579501"/>
                      </a:lnTo>
                      <a:lnTo>
                        <a:pt x="1932686" y="579501"/>
                      </a:lnTo>
                      <a:lnTo>
                        <a:pt x="1931149" y="584581"/>
                      </a:lnTo>
                      <a:lnTo>
                        <a:pt x="1930463" y="585851"/>
                      </a:lnTo>
                      <a:lnTo>
                        <a:pt x="1930463" y="587121"/>
                      </a:lnTo>
                      <a:lnTo>
                        <a:pt x="1930704" y="587121"/>
                      </a:lnTo>
                      <a:lnTo>
                        <a:pt x="1930819" y="588391"/>
                      </a:lnTo>
                      <a:lnTo>
                        <a:pt x="1931149" y="589661"/>
                      </a:lnTo>
                      <a:lnTo>
                        <a:pt x="1931466" y="589661"/>
                      </a:lnTo>
                      <a:lnTo>
                        <a:pt x="1931631" y="590931"/>
                      </a:lnTo>
                      <a:lnTo>
                        <a:pt x="1918335" y="590931"/>
                      </a:lnTo>
                      <a:lnTo>
                        <a:pt x="1918296" y="528701"/>
                      </a:lnTo>
                      <a:lnTo>
                        <a:pt x="1919871" y="528701"/>
                      </a:lnTo>
                      <a:lnTo>
                        <a:pt x="1923313" y="527431"/>
                      </a:lnTo>
                      <a:lnTo>
                        <a:pt x="1930400" y="524891"/>
                      </a:lnTo>
                      <a:lnTo>
                        <a:pt x="1947799" y="521081"/>
                      </a:lnTo>
                      <a:lnTo>
                        <a:pt x="1950974" y="519811"/>
                      </a:lnTo>
                      <a:lnTo>
                        <a:pt x="1955469" y="519811"/>
                      </a:lnTo>
                      <a:lnTo>
                        <a:pt x="1955774" y="518541"/>
                      </a:lnTo>
                      <a:lnTo>
                        <a:pt x="1954745" y="518541"/>
                      </a:lnTo>
                      <a:lnTo>
                        <a:pt x="1955088" y="517271"/>
                      </a:lnTo>
                      <a:lnTo>
                        <a:pt x="1950516" y="517271"/>
                      </a:lnTo>
                      <a:lnTo>
                        <a:pt x="1948065" y="518541"/>
                      </a:lnTo>
                      <a:lnTo>
                        <a:pt x="1943252" y="519811"/>
                      </a:lnTo>
                      <a:lnTo>
                        <a:pt x="1929828" y="523621"/>
                      </a:lnTo>
                      <a:lnTo>
                        <a:pt x="1922754" y="524891"/>
                      </a:lnTo>
                      <a:lnTo>
                        <a:pt x="1919185" y="526161"/>
                      </a:lnTo>
                      <a:lnTo>
                        <a:pt x="1918296" y="526161"/>
                      </a:lnTo>
                      <a:lnTo>
                        <a:pt x="1916176" y="527431"/>
                      </a:lnTo>
                      <a:lnTo>
                        <a:pt x="1916214" y="590931"/>
                      </a:lnTo>
                      <a:lnTo>
                        <a:pt x="1909889" y="590931"/>
                      </a:lnTo>
                      <a:lnTo>
                        <a:pt x="1908479" y="589661"/>
                      </a:lnTo>
                      <a:lnTo>
                        <a:pt x="1906676" y="587121"/>
                      </a:lnTo>
                      <a:lnTo>
                        <a:pt x="1905622" y="585851"/>
                      </a:lnTo>
                      <a:lnTo>
                        <a:pt x="1905076" y="584581"/>
                      </a:lnTo>
                      <a:lnTo>
                        <a:pt x="1904149" y="583311"/>
                      </a:lnTo>
                      <a:lnTo>
                        <a:pt x="1900212" y="580771"/>
                      </a:lnTo>
                      <a:lnTo>
                        <a:pt x="1895043" y="575691"/>
                      </a:lnTo>
                      <a:lnTo>
                        <a:pt x="1893252" y="574421"/>
                      </a:lnTo>
                      <a:lnTo>
                        <a:pt x="1892554" y="574421"/>
                      </a:lnTo>
                      <a:lnTo>
                        <a:pt x="1891779" y="573151"/>
                      </a:lnTo>
                      <a:lnTo>
                        <a:pt x="1887156" y="573151"/>
                      </a:lnTo>
                      <a:lnTo>
                        <a:pt x="1884032" y="574421"/>
                      </a:lnTo>
                      <a:lnTo>
                        <a:pt x="1879206" y="574421"/>
                      </a:lnTo>
                      <a:lnTo>
                        <a:pt x="1875777" y="575691"/>
                      </a:lnTo>
                      <a:lnTo>
                        <a:pt x="1872119" y="578231"/>
                      </a:lnTo>
                      <a:lnTo>
                        <a:pt x="1870367" y="579501"/>
                      </a:lnTo>
                      <a:lnTo>
                        <a:pt x="1869478" y="580771"/>
                      </a:lnTo>
                      <a:lnTo>
                        <a:pt x="1868614" y="580771"/>
                      </a:lnTo>
                      <a:lnTo>
                        <a:pt x="1867801" y="582041"/>
                      </a:lnTo>
                      <a:lnTo>
                        <a:pt x="1866188" y="583311"/>
                      </a:lnTo>
                      <a:lnTo>
                        <a:pt x="1865744" y="583311"/>
                      </a:lnTo>
                      <a:lnTo>
                        <a:pt x="1865541" y="584581"/>
                      </a:lnTo>
                      <a:lnTo>
                        <a:pt x="1864766" y="584581"/>
                      </a:lnTo>
                      <a:lnTo>
                        <a:pt x="1865528" y="585851"/>
                      </a:lnTo>
                      <a:lnTo>
                        <a:pt x="1864728" y="585851"/>
                      </a:lnTo>
                      <a:lnTo>
                        <a:pt x="1865490" y="587121"/>
                      </a:lnTo>
                      <a:lnTo>
                        <a:pt x="1867662" y="584581"/>
                      </a:lnTo>
                      <a:lnTo>
                        <a:pt x="1869211" y="583311"/>
                      </a:lnTo>
                      <a:lnTo>
                        <a:pt x="1870024" y="583311"/>
                      </a:lnTo>
                      <a:lnTo>
                        <a:pt x="1870849" y="582041"/>
                      </a:lnTo>
                      <a:lnTo>
                        <a:pt x="1871751" y="582041"/>
                      </a:lnTo>
                      <a:lnTo>
                        <a:pt x="1873377" y="579501"/>
                      </a:lnTo>
                      <a:lnTo>
                        <a:pt x="1876615" y="578231"/>
                      </a:lnTo>
                      <a:lnTo>
                        <a:pt x="1879765" y="576961"/>
                      </a:lnTo>
                      <a:lnTo>
                        <a:pt x="1884362" y="576961"/>
                      </a:lnTo>
                      <a:lnTo>
                        <a:pt x="1887588" y="575691"/>
                      </a:lnTo>
                      <a:lnTo>
                        <a:pt x="1891601" y="575691"/>
                      </a:lnTo>
                      <a:lnTo>
                        <a:pt x="1892033" y="576961"/>
                      </a:lnTo>
                      <a:lnTo>
                        <a:pt x="1893785" y="576961"/>
                      </a:lnTo>
                      <a:lnTo>
                        <a:pt x="1903869" y="587121"/>
                      </a:lnTo>
                      <a:lnTo>
                        <a:pt x="1904949" y="588391"/>
                      </a:lnTo>
                      <a:lnTo>
                        <a:pt x="1905889" y="589661"/>
                      </a:lnTo>
                      <a:lnTo>
                        <a:pt x="1906943" y="590931"/>
                      </a:lnTo>
                      <a:lnTo>
                        <a:pt x="1908086" y="592201"/>
                      </a:lnTo>
                      <a:lnTo>
                        <a:pt x="1908606" y="593471"/>
                      </a:lnTo>
                      <a:lnTo>
                        <a:pt x="1928329" y="593471"/>
                      </a:lnTo>
                      <a:lnTo>
                        <a:pt x="1940445" y="590931"/>
                      </a:lnTo>
                      <a:lnTo>
                        <a:pt x="1934273" y="589661"/>
                      </a:lnTo>
                      <a:lnTo>
                        <a:pt x="1933498" y="589661"/>
                      </a:lnTo>
                      <a:lnTo>
                        <a:pt x="1933346" y="588391"/>
                      </a:lnTo>
                      <a:lnTo>
                        <a:pt x="1933041" y="588391"/>
                      </a:lnTo>
                      <a:lnTo>
                        <a:pt x="1932876" y="587121"/>
                      </a:lnTo>
                      <a:lnTo>
                        <a:pt x="1932673" y="585851"/>
                      </a:lnTo>
                      <a:lnTo>
                        <a:pt x="1933105" y="585851"/>
                      </a:lnTo>
                      <a:lnTo>
                        <a:pt x="1934514" y="580771"/>
                      </a:lnTo>
                      <a:lnTo>
                        <a:pt x="1935937" y="580771"/>
                      </a:lnTo>
                      <a:lnTo>
                        <a:pt x="1936915" y="579501"/>
                      </a:lnTo>
                      <a:lnTo>
                        <a:pt x="1941055" y="579501"/>
                      </a:lnTo>
                      <a:lnTo>
                        <a:pt x="1944789" y="578231"/>
                      </a:lnTo>
                      <a:lnTo>
                        <a:pt x="1945881" y="575691"/>
                      </a:lnTo>
                      <a:lnTo>
                        <a:pt x="1946732" y="573151"/>
                      </a:lnTo>
                      <a:lnTo>
                        <a:pt x="1949907" y="573151"/>
                      </a:lnTo>
                      <a:lnTo>
                        <a:pt x="1950440" y="574421"/>
                      </a:lnTo>
                      <a:lnTo>
                        <a:pt x="1951189" y="574421"/>
                      </a:lnTo>
                      <a:lnTo>
                        <a:pt x="1952231" y="575691"/>
                      </a:lnTo>
                      <a:lnTo>
                        <a:pt x="1958467" y="579501"/>
                      </a:lnTo>
                      <a:lnTo>
                        <a:pt x="1952828" y="573151"/>
                      </a:lnTo>
                      <a:lnTo>
                        <a:pt x="1952434" y="571881"/>
                      </a:lnTo>
                      <a:lnTo>
                        <a:pt x="1952028" y="570611"/>
                      </a:lnTo>
                      <a:lnTo>
                        <a:pt x="1952599" y="570611"/>
                      </a:lnTo>
                      <a:lnTo>
                        <a:pt x="1954885" y="568071"/>
                      </a:lnTo>
                      <a:lnTo>
                        <a:pt x="1957336" y="570611"/>
                      </a:lnTo>
                      <a:lnTo>
                        <a:pt x="1958606" y="571881"/>
                      </a:lnTo>
                      <a:lnTo>
                        <a:pt x="1961540" y="571881"/>
                      </a:lnTo>
                      <a:lnTo>
                        <a:pt x="1962937" y="574421"/>
                      </a:lnTo>
                      <a:lnTo>
                        <a:pt x="1963229" y="574421"/>
                      </a:lnTo>
                      <a:lnTo>
                        <a:pt x="1964016" y="575691"/>
                      </a:lnTo>
                      <a:lnTo>
                        <a:pt x="1969846" y="575691"/>
                      </a:lnTo>
                      <a:lnTo>
                        <a:pt x="1971001" y="576961"/>
                      </a:lnTo>
                      <a:lnTo>
                        <a:pt x="1973707" y="576961"/>
                      </a:lnTo>
                      <a:lnTo>
                        <a:pt x="1973465" y="578231"/>
                      </a:lnTo>
                      <a:lnTo>
                        <a:pt x="1973745" y="579501"/>
                      </a:lnTo>
                      <a:lnTo>
                        <a:pt x="1970811" y="580771"/>
                      </a:lnTo>
                      <a:lnTo>
                        <a:pt x="1974481" y="582041"/>
                      </a:lnTo>
                      <a:lnTo>
                        <a:pt x="1975510" y="583311"/>
                      </a:lnTo>
                      <a:lnTo>
                        <a:pt x="1976551" y="583311"/>
                      </a:lnTo>
                      <a:lnTo>
                        <a:pt x="1974100" y="584581"/>
                      </a:lnTo>
                      <a:lnTo>
                        <a:pt x="1975561" y="587121"/>
                      </a:lnTo>
                      <a:lnTo>
                        <a:pt x="1974888" y="588391"/>
                      </a:lnTo>
                      <a:lnTo>
                        <a:pt x="1974316" y="590931"/>
                      </a:lnTo>
                      <a:lnTo>
                        <a:pt x="1976501" y="592201"/>
                      </a:lnTo>
                      <a:lnTo>
                        <a:pt x="1977085" y="592201"/>
                      </a:lnTo>
                      <a:lnTo>
                        <a:pt x="1980285" y="594741"/>
                      </a:lnTo>
                      <a:lnTo>
                        <a:pt x="1990077" y="594741"/>
                      </a:lnTo>
                      <a:lnTo>
                        <a:pt x="1992109" y="596011"/>
                      </a:lnTo>
                      <a:lnTo>
                        <a:pt x="1993353" y="596011"/>
                      </a:lnTo>
                      <a:lnTo>
                        <a:pt x="1995360" y="593471"/>
                      </a:lnTo>
                      <a:lnTo>
                        <a:pt x="1997011" y="593471"/>
                      </a:lnTo>
                      <a:lnTo>
                        <a:pt x="1998764" y="594741"/>
                      </a:lnTo>
                      <a:lnTo>
                        <a:pt x="2000859" y="597281"/>
                      </a:lnTo>
                      <a:lnTo>
                        <a:pt x="2004237" y="604901"/>
                      </a:lnTo>
                      <a:lnTo>
                        <a:pt x="2005076" y="607441"/>
                      </a:lnTo>
                      <a:lnTo>
                        <a:pt x="2007489" y="608711"/>
                      </a:lnTo>
                      <a:lnTo>
                        <a:pt x="2008047" y="611251"/>
                      </a:lnTo>
                      <a:lnTo>
                        <a:pt x="2008822" y="613791"/>
                      </a:lnTo>
                      <a:lnTo>
                        <a:pt x="2009279" y="615061"/>
                      </a:lnTo>
                      <a:lnTo>
                        <a:pt x="2009724" y="615061"/>
                      </a:lnTo>
                      <a:lnTo>
                        <a:pt x="2010613" y="616331"/>
                      </a:lnTo>
                      <a:lnTo>
                        <a:pt x="2013966" y="618871"/>
                      </a:lnTo>
                      <a:lnTo>
                        <a:pt x="2017522" y="621411"/>
                      </a:lnTo>
                      <a:lnTo>
                        <a:pt x="2023745" y="626491"/>
                      </a:lnTo>
                      <a:lnTo>
                        <a:pt x="2026945" y="627761"/>
                      </a:lnTo>
                      <a:lnTo>
                        <a:pt x="2035416" y="631571"/>
                      </a:lnTo>
                      <a:lnTo>
                        <a:pt x="2039404" y="635381"/>
                      </a:lnTo>
                      <a:lnTo>
                        <a:pt x="2044573" y="637921"/>
                      </a:lnTo>
                      <a:lnTo>
                        <a:pt x="2045246" y="639191"/>
                      </a:lnTo>
                      <a:lnTo>
                        <a:pt x="2046185" y="639191"/>
                      </a:lnTo>
                      <a:lnTo>
                        <a:pt x="2047722" y="640461"/>
                      </a:lnTo>
                      <a:lnTo>
                        <a:pt x="2051329" y="643001"/>
                      </a:lnTo>
                      <a:lnTo>
                        <a:pt x="2055177" y="645541"/>
                      </a:lnTo>
                      <a:lnTo>
                        <a:pt x="2057704" y="645541"/>
                      </a:lnTo>
                      <a:lnTo>
                        <a:pt x="2059025" y="644271"/>
                      </a:lnTo>
                      <a:lnTo>
                        <a:pt x="2059647" y="644271"/>
                      </a:lnTo>
                      <a:lnTo>
                        <a:pt x="2063051" y="645541"/>
                      </a:lnTo>
                      <a:lnTo>
                        <a:pt x="2064499" y="646811"/>
                      </a:lnTo>
                      <a:lnTo>
                        <a:pt x="2068893" y="649351"/>
                      </a:lnTo>
                      <a:lnTo>
                        <a:pt x="2068741" y="650621"/>
                      </a:lnTo>
                      <a:lnTo>
                        <a:pt x="2068563" y="650621"/>
                      </a:lnTo>
                      <a:lnTo>
                        <a:pt x="2067826" y="654431"/>
                      </a:lnTo>
                      <a:lnTo>
                        <a:pt x="2067775" y="655701"/>
                      </a:lnTo>
                      <a:lnTo>
                        <a:pt x="2067636" y="655701"/>
                      </a:lnTo>
                      <a:lnTo>
                        <a:pt x="2067471" y="656971"/>
                      </a:lnTo>
                      <a:lnTo>
                        <a:pt x="2067052" y="656971"/>
                      </a:lnTo>
                      <a:lnTo>
                        <a:pt x="2067064" y="658241"/>
                      </a:lnTo>
                      <a:lnTo>
                        <a:pt x="2065147" y="658241"/>
                      </a:lnTo>
                      <a:lnTo>
                        <a:pt x="2064194" y="656971"/>
                      </a:lnTo>
                      <a:lnTo>
                        <a:pt x="2061337" y="656971"/>
                      </a:lnTo>
                      <a:lnTo>
                        <a:pt x="2060613" y="655701"/>
                      </a:lnTo>
                      <a:lnTo>
                        <a:pt x="2059876" y="655701"/>
                      </a:lnTo>
                      <a:lnTo>
                        <a:pt x="2058250" y="654431"/>
                      </a:lnTo>
                      <a:lnTo>
                        <a:pt x="2056676" y="654431"/>
                      </a:lnTo>
                      <a:lnTo>
                        <a:pt x="2056320" y="655701"/>
                      </a:lnTo>
                      <a:lnTo>
                        <a:pt x="2055787" y="655701"/>
                      </a:lnTo>
                      <a:lnTo>
                        <a:pt x="2053450" y="659511"/>
                      </a:lnTo>
                      <a:lnTo>
                        <a:pt x="2049360" y="659511"/>
                      </a:lnTo>
                      <a:lnTo>
                        <a:pt x="2040280" y="668401"/>
                      </a:lnTo>
                      <a:lnTo>
                        <a:pt x="2040001" y="669671"/>
                      </a:lnTo>
                      <a:lnTo>
                        <a:pt x="2039683" y="669671"/>
                      </a:lnTo>
                      <a:lnTo>
                        <a:pt x="2039556" y="670941"/>
                      </a:lnTo>
                      <a:lnTo>
                        <a:pt x="2039467" y="673481"/>
                      </a:lnTo>
                      <a:lnTo>
                        <a:pt x="2035657" y="677291"/>
                      </a:lnTo>
                      <a:lnTo>
                        <a:pt x="2033841" y="677291"/>
                      </a:lnTo>
                      <a:lnTo>
                        <a:pt x="2032520" y="678561"/>
                      </a:lnTo>
                      <a:lnTo>
                        <a:pt x="2031136" y="678561"/>
                      </a:lnTo>
                      <a:lnTo>
                        <a:pt x="2025802" y="681101"/>
                      </a:lnTo>
                      <a:lnTo>
                        <a:pt x="2023783" y="682371"/>
                      </a:lnTo>
                      <a:lnTo>
                        <a:pt x="2021611" y="682371"/>
                      </a:lnTo>
                      <a:lnTo>
                        <a:pt x="2018931" y="684911"/>
                      </a:lnTo>
                      <a:lnTo>
                        <a:pt x="2019528" y="686181"/>
                      </a:lnTo>
                      <a:lnTo>
                        <a:pt x="2017979" y="687451"/>
                      </a:lnTo>
                      <a:lnTo>
                        <a:pt x="2016798" y="689991"/>
                      </a:lnTo>
                      <a:lnTo>
                        <a:pt x="2015451" y="691261"/>
                      </a:lnTo>
                      <a:lnTo>
                        <a:pt x="2009609" y="691261"/>
                      </a:lnTo>
                      <a:lnTo>
                        <a:pt x="2008136" y="692531"/>
                      </a:lnTo>
                      <a:lnTo>
                        <a:pt x="2007527" y="693801"/>
                      </a:lnTo>
                      <a:lnTo>
                        <a:pt x="2007133" y="692531"/>
                      </a:lnTo>
                      <a:lnTo>
                        <a:pt x="2006371" y="692531"/>
                      </a:lnTo>
                      <a:lnTo>
                        <a:pt x="2005063" y="691261"/>
                      </a:lnTo>
                      <a:lnTo>
                        <a:pt x="2004656" y="689991"/>
                      </a:lnTo>
                      <a:lnTo>
                        <a:pt x="2003234" y="688721"/>
                      </a:lnTo>
                      <a:lnTo>
                        <a:pt x="2001189" y="688721"/>
                      </a:lnTo>
                      <a:lnTo>
                        <a:pt x="1999449" y="687451"/>
                      </a:lnTo>
                      <a:lnTo>
                        <a:pt x="1996020" y="687451"/>
                      </a:lnTo>
                      <a:lnTo>
                        <a:pt x="1994547" y="686181"/>
                      </a:lnTo>
                      <a:lnTo>
                        <a:pt x="1993734" y="686181"/>
                      </a:lnTo>
                      <a:lnTo>
                        <a:pt x="1993328" y="683641"/>
                      </a:lnTo>
                      <a:lnTo>
                        <a:pt x="1992782" y="682371"/>
                      </a:lnTo>
                      <a:lnTo>
                        <a:pt x="1992503" y="681101"/>
                      </a:lnTo>
                      <a:lnTo>
                        <a:pt x="1992604" y="672211"/>
                      </a:lnTo>
                      <a:lnTo>
                        <a:pt x="1992210" y="670941"/>
                      </a:lnTo>
                      <a:lnTo>
                        <a:pt x="1992147" y="669671"/>
                      </a:lnTo>
                      <a:lnTo>
                        <a:pt x="1990191" y="669671"/>
                      </a:lnTo>
                      <a:lnTo>
                        <a:pt x="1988934" y="668401"/>
                      </a:lnTo>
                      <a:lnTo>
                        <a:pt x="1987423" y="668401"/>
                      </a:lnTo>
                      <a:lnTo>
                        <a:pt x="1982749" y="669671"/>
                      </a:lnTo>
                      <a:lnTo>
                        <a:pt x="1980844" y="669671"/>
                      </a:lnTo>
                      <a:lnTo>
                        <a:pt x="1980374" y="668401"/>
                      </a:lnTo>
                      <a:lnTo>
                        <a:pt x="1979104" y="668401"/>
                      </a:lnTo>
                      <a:lnTo>
                        <a:pt x="1977593" y="665861"/>
                      </a:lnTo>
                      <a:lnTo>
                        <a:pt x="1976602" y="664591"/>
                      </a:lnTo>
                      <a:lnTo>
                        <a:pt x="1976107" y="663321"/>
                      </a:lnTo>
                      <a:lnTo>
                        <a:pt x="1975027" y="663321"/>
                      </a:lnTo>
                      <a:lnTo>
                        <a:pt x="1973846" y="662051"/>
                      </a:lnTo>
                      <a:lnTo>
                        <a:pt x="1969719" y="660781"/>
                      </a:lnTo>
                      <a:lnTo>
                        <a:pt x="1968093" y="658241"/>
                      </a:lnTo>
                      <a:lnTo>
                        <a:pt x="1967522" y="656971"/>
                      </a:lnTo>
                      <a:lnTo>
                        <a:pt x="1966696" y="655701"/>
                      </a:lnTo>
                      <a:lnTo>
                        <a:pt x="1966048" y="655701"/>
                      </a:lnTo>
                      <a:lnTo>
                        <a:pt x="1965325" y="654431"/>
                      </a:lnTo>
                      <a:lnTo>
                        <a:pt x="1964029" y="654431"/>
                      </a:lnTo>
                      <a:lnTo>
                        <a:pt x="1963547" y="653161"/>
                      </a:lnTo>
                      <a:lnTo>
                        <a:pt x="1950529" y="653161"/>
                      </a:lnTo>
                      <a:lnTo>
                        <a:pt x="1949856" y="651891"/>
                      </a:lnTo>
                      <a:lnTo>
                        <a:pt x="1948141" y="650621"/>
                      </a:lnTo>
                      <a:lnTo>
                        <a:pt x="1947506" y="650621"/>
                      </a:lnTo>
                      <a:lnTo>
                        <a:pt x="1946173" y="649351"/>
                      </a:lnTo>
                      <a:lnTo>
                        <a:pt x="1943963" y="649351"/>
                      </a:lnTo>
                      <a:lnTo>
                        <a:pt x="1943290" y="648081"/>
                      </a:lnTo>
                      <a:lnTo>
                        <a:pt x="1938070" y="648081"/>
                      </a:lnTo>
                      <a:lnTo>
                        <a:pt x="1937702" y="646811"/>
                      </a:lnTo>
                      <a:lnTo>
                        <a:pt x="1936318" y="646811"/>
                      </a:lnTo>
                      <a:lnTo>
                        <a:pt x="1937169" y="645541"/>
                      </a:lnTo>
                      <a:lnTo>
                        <a:pt x="1936559" y="644271"/>
                      </a:lnTo>
                      <a:lnTo>
                        <a:pt x="1935949" y="643001"/>
                      </a:lnTo>
                      <a:lnTo>
                        <a:pt x="1932990" y="643001"/>
                      </a:lnTo>
                      <a:lnTo>
                        <a:pt x="1929498" y="641731"/>
                      </a:lnTo>
                      <a:lnTo>
                        <a:pt x="1925675" y="641731"/>
                      </a:lnTo>
                      <a:lnTo>
                        <a:pt x="1923338" y="643001"/>
                      </a:lnTo>
                      <a:lnTo>
                        <a:pt x="1922449" y="643001"/>
                      </a:lnTo>
                      <a:lnTo>
                        <a:pt x="1920697" y="645541"/>
                      </a:lnTo>
                      <a:lnTo>
                        <a:pt x="1919033" y="645541"/>
                      </a:lnTo>
                      <a:lnTo>
                        <a:pt x="1918919" y="646811"/>
                      </a:lnTo>
                      <a:lnTo>
                        <a:pt x="1918703" y="645541"/>
                      </a:lnTo>
                      <a:lnTo>
                        <a:pt x="1908797" y="645541"/>
                      </a:lnTo>
                      <a:lnTo>
                        <a:pt x="1906485" y="646811"/>
                      </a:lnTo>
                      <a:lnTo>
                        <a:pt x="1888121" y="665861"/>
                      </a:lnTo>
                      <a:lnTo>
                        <a:pt x="1889607" y="667131"/>
                      </a:lnTo>
                      <a:lnTo>
                        <a:pt x="1907565" y="649351"/>
                      </a:lnTo>
                      <a:lnTo>
                        <a:pt x="1909572" y="648081"/>
                      </a:lnTo>
                      <a:lnTo>
                        <a:pt x="1911794" y="648081"/>
                      </a:lnTo>
                      <a:lnTo>
                        <a:pt x="1915706" y="646811"/>
                      </a:lnTo>
                      <a:lnTo>
                        <a:pt x="1917077" y="648081"/>
                      </a:lnTo>
                      <a:lnTo>
                        <a:pt x="1921510" y="648081"/>
                      </a:lnTo>
                      <a:lnTo>
                        <a:pt x="1923834" y="645541"/>
                      </a:lnTo>
                      <a:lnTo>
                        <a:pt x="1924113" y="644271"/>
                      </a:lnTo>
                      <a:lnTo>
                        <a:pt x="1934375" y="644271"/>
                      </a:lnTo>
                      <a:lnTo>
                        <a:pt x="1934667" y="645541"/>
                      </a:lnTo>
                      <a:lnTo>
                        <a:pt x="1935353" y="646811"/>
                      </a:lnTo>
                      <a:lnTo>
                        <a:pt x="1935632" y="648081"/>
                      </a:lnTo>
                      <a:lnTo>
                        <a:pt x="1936305" y="649351"/>
                      </a:lnTo>
                      <a:lnTo>
                        <a:pt x="1938210" y="649351"/>
                      </a:lnTo>
                      <a:lnTo>
                        <a:pt x="1938731" y="650621"/>
                      </a:lnTo>
                      <a:lnTo>
                        <a:pt x="1942769" y="650621"/>
                      </a:lnTo>
                      <a:lnTo>
                        <a:pt x="1945132" y="651891"/>
                      </a:lnTo>
                      <a:lnTo>
                        <a:pt x="1946224" y="651891"/>
                      </a:lnTo>
                      <a:lnTo>
                        <a:pt x="1948776" y="654431"/>
                      </a:lnTo>
                      <a:lnTo>
                        <a:pt x="1958555" y="654431"/>
                      </a:lnTo>
                      <a:lnTo>
                        <a:pt x="1961730" y="655701"/>
                      </a:lnTo>
                      <a:lnTo>
                        <a:pt x="1963699" y="655701"/>
                      </a:lnTo>
                      <a:lnTo>
                        <a:pt x="1964880" y="656971"/>
                      </a:lnTo>
                      <a:lnTo>
                        <a:pt x="1965121" y="656971"/>
                      </a:lnTo>
                      <a:lnTo>
                        <a:pt x="1965731" y="658241"/>
                      </a:lnTo>
                      <a:lnTo>
                        <a:pt x="1966252" y="659511"/>
                      </a:lnTo>
                      <a:lnTo>
                        <a:pt x="1967699" y="662051"/>
                      </a:lnTo>
                      <a:lnTo>
                        <a:pt x="1968068" y="663321"/>
                      </a:lnTo>
                      <a:lnTo>
                        <a:pt x="1969401" y="663321"/>
                      </a:lnTo>
                      <a:lnTo>
                        <a:pt x="1973072" y="664591"/>
                      </a:lnTo>
                      <a:lnTo>
                        <a:pt x="1974443" y="664591"/>
                      </a:lnTo>
                      <a:lnTo>
                        <a:pt x="1974888" y="665861"/>
                      </a:lnTo>
                      <a:lnTo>
                        <a:pt x="1975510" y="665873"/>
                      </a:lnTo>
                      <a:lnTo>
                        <a:pt x="1976323" y="667131"/>
                      </a:lnTo>
                      <a:lnTo>
                        <a:pt x="1977415" y="669671"/>
                      </a:lnTo>
                      <a:lnTo>
                        <a:pt x="1978291" y="669671"/>
                      </a:lnTo>
                      <a:lnTo>
                        <a:pt x="1978456" y="670941"/>
                      </a:lnTo>
                      <a:lnTo>
                        <a:pt x="1990090" y="670941"/>
                      </a:lnTo>
                      <a:lnTo>
                        <a:pt x="1990166" y="672211"/>
                      </a:lnTo>
                      <a:lnTo>
                        <a:pt x="1990471" y="672211"/>
                      </a:lnTo>
                      <a:lnTo>
                        <a:pt x="1990394" y="681101"/>
                      </a:lnTo>
                      <a:lnTo>
                        <a:pt x="1991410" y="684911"/>
                      </a:lnTo>
                      <a:lnTo>
                        <a:pt x="1991664" y="686181"/>
                      </a:lnTo>
                      <a:lnTo>
                        <a:pt x="1991855" y="687451"/>
                      </a:lnTo>
                      <a:lnTo>
                        <a:pt x="1992718" y="687451"/>
                      </a:lnTo>
                      <a:lnTo>
                        <a:pt x="1992845" y="688721"/>
                      </a:lnTo>
                      <a:lnTo>
                        <a:pt x="1993087" y="688721"/>
                      </a:lnTo>
                      <a:lnTo>
                        <a:pt x="1990864" y="689991"/>
                      </a:lnTo>
                      <a:lnTo>
                        <a:pt x="1989582" y="695071"/>
                      </a:lnTo>
                      <a:lnTo>
                        <a:pt x="1989467" y="696341"/>
                      </a:lnTo>
                      <a:lnTo>
                        <a:pt x="1989239" y="697611"/>
                      </a:lnTo>
                      <a:lnTo>
                        <a:pt x="1988858" y="697611"/>
                      </a:lnTo>
                      <a:lnTo>
                        <a:pt x="1988413" y="700151"/>
                      </a:lnTo>
                      <a:lnTo>
                        <a:pt x="1984844" y="703961"/>
                      </a:lnTo>
                      <a:lnTo>
                        <a:pt x="1983435" y="705231"/>
                      </a:lnTo>
                      <a:lnTo>
                        <a:pt x="1984603" y="706501"/>
                      </a:lnTo>
                      <a:lnTo>
                        <a:pt x="1985429" y="706501"/>
                      </a:lnTo>
                      <a:lnTo>
                        <a:pt x="1981974" y="710311"/>
                      </a:lnTo>
                      <a:lnTo>
                        <a:pt x="1982279" y="710311"/>
                      </a:lnTo>
                      <a:lnTo>
                        <a:pt x="1980971" y="711581"/>
                      </a:lnTo>
                      <a:lnTo>
                        <a:pt x="1980666" y="714121"/>
                      </a:lnTo>
                      <a:lnTo>
                        <a:pt x="1980653" y="716661"/>
                      </a:lnTo>
                      <a:lnTo>
                        <a:pt x="1981060" y="719201"/>
                      </a:lnTo>
                      <a:lnTo>
                        <a:pt x="1981339" y="719201"/>
                      </a:lnTo>
                      <a:lnTo>
                        <a:pt x="1982381" y="720471"/>
                      </a:lnTo>
                      <a:lnTo>
                        <a:pt x="1983460" y="721741"/>
                      </a:lnTo>
                      <a:lnTo>
                        <a:pt x="1985860" y="721741"/>
                      </a:lnTo>
                      <a:lnTo>
                        <a:pt x="1983765" y="724281"/>
                      </a:lnTo>
                      <a:lnTo>
                        <a:pt x="1982050" y="725551"/>
                      </a:lnTo>
                      <a:lnTo>
                        <a:pt x="1982038" y="726821"/>
                      </a:lnTo>
                      <a:lnTo>
                        <a:pt x="1982914" y="731901"/>
                      </a:lnTo>
                      <a:lnTo>
                        <a:pt x="1983155" y="731901"/>
                      </a:lnTo>
                      <a:lnTo>
                        <a:pt x="1984603" y="738251"/>
                      </a:lnTo>
                      <a:lnTo>
                        <a:pt x="1985340" y="739521"/>
                      </a:lnTo>
                      <a:lnTo>
                        <a:pt x="1985492" y="740791"/>
                      </a:lnTo>
                      <a:lnTo>
                        <a:pt x="1985581" y="742061"/>
                      </a:lnTo>
                      <a:lnTo>
                        <a:pt x="1985314" y="743331"/>
                      </a:lnTo>
                      <a:lnTo>
                        <a:pt x="1985187" y="747141"/>
                      </a:lnTo>
                      <a:lnTo>
                        <a:pt x="1985378" y="749681"/>
                      </a:lnTo>
                      <a:lnTo>
                        <a:pt x="1986432" y="748411"/>
                      </a:lnTo>
                      <a:lnTo>
                        <a:pt x="1985391" y="749681"/>
                      </a:lnTo>
                      <a:lnTo>
                        <a:pt x="1985327" y="752221"/>
                      </a:lnTo>
                      <a:lnTo>
                        <a:pt x="1985518" y="752221"/>
                      </a:lnTo>
                      <a:lnTo>
                        <a:pt x="1985657" y="753491"/>
                      </a:lnTo>
                      <a:lnTo>
                        <a:pt x="1985987" y="754761"/>
                      </a:lnTo>
                      <a:lnTo>
                        <a:pt x="1988286" y="754761"/>
                      </a:lnTo>
                      <a:lnTo>
                        <a:pt x="1996668" y="756031"/>
                      </a:lnTo>
                      <a:lnTo>
                        <a:pt x="1997290" y="756031"/>
                      </a:lnTo>
                      <a:lnTo>
                        <a:pt x="1998484" y="758571"/>
                      </a:lnTo>
                      <a:lnTo>
                        <a:pt x="1998853" y="758571"/>
                      </a:lnTo>
                      <a:lnTo>
                        <a:pt x="1999335" y="759841"/>
                      </a:lnTo>
                      <a:lnTo>
                        <a:pt x="1999488" y="759841"/>
                      </a:lnTo>
                      <a:lnTo>
                        <a:pt x="1999780" y="761111"/>
                      </a:lnTo>
                      <a:lnTo>
                        <a:pt x="1999538" y="762381"/>
                      </a:lnTo>
                      <a:lnTo>
                        <a:pt x="1998103" y="764921"/>
                      </a:lnTo>
                      <a:lnTo>
                        <a:pt x="1995233" y="767461"/>
                      </a:lnTo>
                      <a:lnTo>
                        <a:pt x="1994331" y="768731"/>
                      </a:lnTo>
                      <a:lnTo>
                        <a:pt x="1986127" y="778891"/>
                      </a:lnTo>
                      <a:lnTo>
                        <a:pt x="1984679" y="778891"/>
                      </a:lnTo>
                      <a:lnTo>
                        <a:pt x="1986051" y="780161"/>
                      </a:lnTo>
                      <a:lnTo>
                        <a:pt x="1986572" y="780161"/>
                      </a:lnTo>
                      <a:lnTo>
                        <a:pt x="1989569" y="785241"/>
                      </a:lnTo>
                      <a:lnTo>
                        <a:pt x="1998891" y="796671"/>
                      </a:lnTo>
                      <a:lnTo>
                        <a:pt x="2001469" y="800481"/>
                      </a:lnTo>
                      <a:lnTo>
                        <a:pt x="2003196" y="801751"/>
                      </a:lnTo>
                      <a:lnTo>
                        <a:pt x="2004631" y="801751"/>
                      </a:lnTo>
                      <a:lnTo>
                        <a:pt x="2007400" y="803021"/>
                      </a:lnTo>
                      <a:lnTo>
                        <a:pt x="2008517" y="803021"/>
                      </a:lnTo>
                      <a:lnTo>
                        <a:pt x="2011184" y="804291"/>
                      </a:lnTo>
                      <a:lnTo>
                        <a:pt x="2012175" y="805561"/>
                      </a:lnTo>
                      <a:lnTo>
                        <a:pt x="2013686" y="805561"/>
                      </a:lnTo>
                      <a:lnTo>
                        <a:pt x="2013305" y="809371"/>
                      </a:lnTo>
                      <a:lnTo>
                        <a:pt x="2014359" y="809371"/>
                      </a:lnTo>
                      <a:lnTo>
                        <a:pt x="2013267" y="810641"/>
                      </a:lnTo>
                      <a:lnTo>
                        <a:pt x="2013165" y="815721"/>
                      </a:lnTo>
                      <a:lnTo>
                        <a:pt x="2013000" y="817003"/>
                      </a:lnTo>
                      <a:lnTo>
                        <a:pt x="2013153" y="818261"/>
                      </a:lnTo>
                      <a:lnTo>
                        <a:pt x="2013724" y="820801"/>
                      </a:lnTo>
                      <a:lnTo>
                        <a:pt x="2020379" y="820801"/>
                      </a:lnTo>
                      <a:lnTo>
                        <a:pt x="2018728" y="827151"/>
                      </a:lnTo>
                      <a:lnTo>
                        <a:pt x="2018652" y="828421"/>
                      </a:lnTo>
                      <a:lnTo>
                        <a:pt x="2015439" y="828421"/>
                      </a:lnTo>
                      <a:lnTo>
                        <a:pt x="2007997" y="829691"/>
                      </a:lnTo>
                      <a:lnTo>
                        <a:pt x="2007146" y="829691"/>
                      </a:lnTo>
                      <a:lnTo>
                        <a:pt x="2005584" y="830961"/>
                      </a:lnTo>
                      <a:lnTo>
                        <a:pt x="2003209" y="833501"/>
                      </a:lnTo>
                      <a:lnTo>
                        <a:pt x="2000364" y="834771"/>
                      </a:lnTo>
                      <a:lnTo>
                        <a:pt x="2000123" y="834771"/>
                      </a:lnTo>
                      <a:lnTo>
                        <a:pt x="1999030" y="839851"/>
                      </a:lnTo>
                      <a:lnTo>
                        <a:pt x="1997506" y="847471"/>
                      </a:lnTo>
                      <a:lnTo>
                        <a:pt x="1997125" y="848741"/>
                      </a:lnTo>
                      <a:lnTo>
                        <a:pt x="1996846" y="850011"/>
                      </a:lnTo>
                      <a:lnTo>
                        <a:pt x="1996694" y="850011"/>
                      </a:lnTo>
                      <a:lnTo>
                        <a:pt x="1996655" y="851281"/>
                      </a:lnTo>
                      <a:lnTo>
                        <a:pt x="1998776" y="851281"/>
                      </a:lnTo>
                      <a:lnTo>
                        <a:pt x="1999183" y="850011"/>
                      </a:lnTo>
                      <a:lnTo>
                        <a:pt x="1999589" y="847471"/>
                      </a:lnTo>
                      <a:lnTo>
                        <a:pt x="2000516" y="843661"/>
                      </a:lnTo>
                      <a:lnTo>
                        <a:pt x="2001100" y="841121"/>
                      </a:lnTo>
                      <a:lnTo>
                        <a:pt x="2002053" y="836041"/>
                      </a:lnTo>
                      <a:lnTo>
                        <a:pt x="2004415" y="834771"/>
                      </a:lnTo>
                      <a:lnTo>
                        <a:pt x="2006815" y="832231"/>
                      </a:lnTo>
                      <a:lnTo>
                        <a:pt x="2008632" y="832231"/>
                      </a:lnTo>
                      <a:lnTo>
                        <a:pt x="2015693" y="830961"/>
                      </a:lnTo>
                      <a:lnTo>
                        <a:pt x="2018893" y="830961"/>
                      </a:lnTo>
                      <a:lnTo>
                        <a:pt x="2019693" y="829691"/>
                      </a:lnTo>
                      <a:lnTo>
                        <a:pt x="2020341" y="829691"/>
                      </a:lnTo>
                      <a:lnTo>
                        <a:pt x="2020608" y="828421"/>
                      </a:lnTo>
                      <a:lnTo>
                        <a:pt x="2020836" y="828421"/>
                      </a:lnTo>
                      <a:lnTo>
                        <a:pt x="2022030" y="823341"/>
                      </a:lnTo>
                      <a:lnTo>
                        <a:pt x="2022716" y="820801"/>
                      </a:lnTo>
                      <a:lnTo>
                        <a:pt x="2022970" y="819531"/>
                      </a:lnTo>
                      <a:lnTo>
                        <a:pt x="2020379" y="818261"/>
                      </a:lnTo>
                      <a:lnTo>
                        <a:pt x="2016810" y="818261"/>
                      </a:lnTo>
                      <a:lnTo>
                        <a:pt x="2016277" y="819531"/>
                      </a:lnTo>
                      <a:lnTo>
                        <a:pt x="2016112" y="819531"/>
                      </a:lnTo>
                      <a:lnTo>
                        <a:pt x="2015769" y="818261"/>
                      </a:lnTo>
                      <a:lnTo>
                        <a:pt x="2015210" y="818261"/>
                      </a:lnTo>
                      <a:lnTo>
                        <a:pt x="2015426" y="809371"/>
                      </a:lnTo>
                      <a:lnTo>
                        <a:pt x="2015756" y="806831"/>
                      </a:lnTo>
                      <a:lnTo>
                        <a:pt x="2015858" y="805561"/>
                      </a:lnTo>
                      <a:lnTo>
                        <a:pt x="2015286" y="804291"/>
                      </a:lnTo>
                      <a:lnTo>
                        <a:pt x="2014931" y="804291"/>
                      </a:lnTo>
                      <a:lnTo>
                        <a:pt x="2014232" y="803021"/>
                      </a:lnTo>
                      <a:lnTo>
                        <a:pt x="2012022" y="803021"/>
                      </a:lnTo>
                      <a:lnTo>
                        <a:pt x="2009343" y="801751"/>
                      </a:lnTo>
                      <a:lnTo>
                        <a:pt x="2008174" y="801751"/>
                      </a:lnTo>
                      <a:lnTo>
                        <a:pt x="2005418" y="800481"/>
                      </a:lnTo>
                      <a:lnTo>
                        <a:pt x="2004377" y="799211"/>
                      </a:lnTo>
                      <a:lnTo>
                        <a:pt x="2002891" y="799211"/>
                      </a:lnTo>
                      <a:lnTo>
                        <a:pt x="2000605" y="795401"/>
                      </a:lnTo>
                      <a:lnTo>
                        <a:pt x="1994725" y="787781"/>
                      </a:lnTo>
                      <a:lnTo>
                        <a:pt x="1992871" y="785241"/>
                      </a:lnTo>
                      <a:lnTo>
                        <a:pt x="1989518" y="780161"/>
                      </a:lnTo>
                      <a:lnTo>
                        <a:pt x="2011857" y="786511"/>
                      </a:lnTo>
                      <a:lnTo>
                        <a:pt x="2032101" y="786511"/>
                      </a:lnTo>
                      <a:lnTo>
                        <a:pt x="2032431" y="787781"/>
                      </a:lnTo>
                      <a:lnTo>
                        <a:pt x="2032838" y="787781"/>
                      </a:lnTo>
                      <a:lnTo>
                        <a:pt x="2032901" y="786511"/>
                      </a:lnTo>
                      <a:lnTo>
                        <a:pt x="2035746" y="786511"/>
                      </a:lnTo>
                      <a:lnTo>
                        <a:pt x="2037664" y="785241"/>
                      </a:lnTo>
                      <a:lnTo>
                        <a:pt x="2038870" y="783971"/>
                      </a:lnTo>
                      <a:lnTo>
                        <a:pt x="2047633" y="783971"/>
                      </a:lnTo>
                      <a:lnTo>
                        <a:pt x="2052916" y="782701"/>
                      </a:lnTo>
                      <a:lnTo>
                        <a:pt x="2056244" y="782701"/>
                      </a:lnTo>
                      <a:lnTo>
                        <a:pt x="2058822" y="781431"/>
                      </a:lnTo>
                      <a:lnTo>
                        <a:pt x="2062949" y="780161"/>
                      </a:lnTo>
                      <a:lnTo>
                        <a:pt x="2064804" y="780161"/>
                      </a:lnTo>
                      <a:lnTo>
                        <a:pt x="2065197" y="778891"/>
                      </a:lnTo>
                      <a:lnTo>
                        <a:pt x="2065705" y="778891"/>
                      </a:lnTo>
                      <a:lnTo>
                        <a:pt x="2066010" y="777621"/>
                      </a:lnTo>
                      <a:lnTo>
                        <a:pt x="2065921" y="776351"/>
                      </a:lnTo>
                      <a:lnTo>
                        <a:pt x="2065502" y="775081"/>
                      </a:lnTo>
                      <a:lnTo>
                        <a:pt x="2065159" y="775081"/>
                      </a:lnTo>
                      <a:lnTo>
                        <a:pt x="2065642" y="773811"/>
                      </a:lnTo>
                      <a:lnTo>
                        <a:pt x="2065794" y="772541"/>
                      </a:lnTo>
                      <a:lnTo>
                        <a:pt x="2065820" y="771271"/>
                      </a:lnTo>
                      <a:lnTo>
                        <a:pt x="2066036" y="771271"/>
                      </a:lnTo>
                      <a:lnTo>
                        <a:pt x="2065959" y="768731"/>
                      </a:lnTo>
                      <a:lnTo>
                        <a:pt x="2066798" y="763651"/>
                      </a:lnTo>
                      <a:lnTo>
                        <a:pt x="2067179" y="763651"/>
                      </a:lnTo>
                      <a:lnTo>
                        <a:pt x="2067407" y="762381"/>
                      </a:lnTo>
                      <a:lnTo>
                        <a:pt x="2069147" y="761111"/>
                      </a:lnTo>
                      <a:lnTo>
                        <a:pt x="2069973" y="759841"/>
                      </a:lnTo>
                      <a:lnTo>
                        <a:pt x="2070557" y="759841"/>
                      </a:lnTo>
                      <a:lnTo>
                        <a:pt x="2072360" y="758571"/>
                      </a:lnTo>
                      <a:lnTo>
                        <a:pt x="2073173" y="757301"/>
                      </a:lnTo>
                      <a:lnTo>
                        <a:pt x="2075713" y="757301"/>
                      </a:lnTo>
                      <a:lnTo>
                        <a:pt x="2077872" y="758571"/>
                      </a:lnTo>
                      <a:lnTo>
                        <a:pt x="2082749" y="758571"/>
                      </a:lnTo>
                      <a:lnTo>
                        <a:pt x="2084412" y="757301"/>
                      </a:lnTo>
                      <a:lnTo>
                        <a:pt x="2086076" y="756031"/>
                      </a:lnTo>
                      <a:lnTo>
                        <a:pt x="2088273" y="756031"/>
                      </a:lnTo>
                      <a:lnTo>
                        <a:pt x="2085517" y="753491"/>
                      </a:lnTo>
                      <a:lnTo>
                        <a:pt x="2086762" y="753491"/>
                      </a:lnTo>
                      <a:lnTo>
                        <a:pt x="2089061" y="750951"/>
                      </a:lnTo>
                      <a:lnTo>
                        <a:pt x="2090788" y="750951"/>
                      </a:lnTo>
                      <a:lnTo>
                        <a:pt x="2091690" y="749681"/>
                      </a:lnTo>
                      <a:lnTo>
                        <a:pt x="2097887" y="749681"/>
                      </a:lnTo>
                      <a:lnTo>
                        <a:pt x="2099640" y="750951"/>
                      </a:lnTo>
                      <a:lnTo>
                        <a:pt x="2100465" y="752221"/>
                      </a:lnTo>
                      <a:lnTo>
                        <a:pt x="2102916" y="752221"/>
                      </a:lnTo>
                      <a:lnTo>
                        <a:pt x="2103399" y="750951"/>
                      </a:lnTo>
                      <a:lnTo>
                        <a:pt x="2106244" y="748411"/>
                      </a:lnTo>
                      <a:lnTo>
                        <a:pt x="2107857" y="747141"/>
                      </a:lnTo>
                      <a:lnTo>
                        <a:pt x="2109114" y="747141"/>
                      </a:lnTo>
                      <a:lnTo>
                        <a:pt x="2108949" y="744601"/>
                      </a:lnTo>
                      <a:lnTo>
                        <a:pt x="2108670" y="742061"/>
                      </a:lnTo>
                      <a:lnTo>
                        <a:pt x="2108149" y="738251"/>
                      </a:lnTo>
                      <a:lnTo>
                        <a:pt x="2108276" y="738251"/>
                      </a:lnTo>
                      <a:lnTo>
                        <a:pt x="2110282" y="735711"/>
                      </a:lnTo>
                      <a:lnTo>
                        <a:pt x="2110562" y="735711"/>
                      </a:lnTo>
                      <a:lnTo>
                        <a:pt x="2110625" y="734441"/>
                      </a:lnTo>
                      <a:lnTo>
                        <a:pt x="2110752" y="734441"/>
                      </a:lnTo>
                      <a:lnTo>
                        <a:pt x="2110892" y="733171"/>
                      </a:lnTo>
                      <a:lnTo>
                        <a:pt x="2111502" y="730631"/>
                      </a:lnTo>
                      <a:lnTo>
                        <a:pt x="2112048" y="729361"/>
                      </a:lnTo>
                      <a:lnTo>
                        <a:pt x="2116658" y="729361"/>
                      </a:lnTo>
                      <a:lnTo>
                        <a:pt x="2118195" y="728091"/>
                      </a:lnTo>
                      <a:lnTo>
                        <a:pt x="2120887" y="726821"/>
                      </a:lnTo>
                      <a:lnTo>
                        <a:pt x="2123821" y="724281"/>
                      </a:lnTo>
                      <a:lnTo>
                        <a:pt x="2123402" y="723011"/>
                      </a:lnTo>
                      <a:lnTo>
                        <a:pt x="2120544" y="719201"/>
                      </a:lnTo>
                      <a:lnTo>
                        <a:pt x="2119274" y="716661"/>
                      </a:lnTo>
                      <a:lnTo>
                        <a:pt x="2118283" y="716661"/>
                      </a:lnTo>
                      <a:lnTo>
                        <a:pt x="2117369" y="715391"/>
                      </a:lnTo>
                      <a:lnTo>
                        <a:pt x="2117153" y="714121"/>
                      </a:lnTo>
                      <a:lnTo>
                        <a:pt x="2122106" y="714121"/>
                      </a:lnTo>
                      <a:lnTo>
                        <a:pt x="2123249" y="715391"/>
                      </a:lnTo>
                      <a:lnTo>
                        <a:pt x="2129891" y="715391"/>
                      </a:lnTo>
                      <a:lnTo>
                        <a:pt x="2132101" y="714121"/>
                      </a:lnTo>
                      <a:lnTo>
                        <a:pt x="2132850" y="712851"/>
                      </a:lnTo>
                      <a:lnTo>
                        <a:pt x="2133498" y="712851"/>
                      </a:lnTo>
                      <a:lnTo>
                        <a:pt x="2134374" y="711581"/>
                      </a:lnTo>
                      <a:lnTo>
                        <a:pt x="2134679" y="710311"/>
                      </a:lnTo>
                      <a:lnTo>
                        <a:pt x="2134895" y="710311"/>
                      </a:lnTo>
                      <a:lnTo>
                        <a:pt x="2134984" y="709041"/>
                      </a:lnTo>
                      <a:lnTo>
                        <a:pt x="2134997" y="707771"/>
                      </a:lnTo>
                      <a:lnTo>
                        <a:pt x="2134603" y="707771"/>
                      </a:lnTo>
                      <a:lnTo>
                        <a:pt x="2133536" y="706501"/>
                      </a:lnTo>
                      <a:lnTo>
                        <a:pt x="2132927" y="705231"/>
                      </a:lnTo>
                      <a:lnTo>
                        <a:pt x="2133511" y="703961"/>
                      </a:lnTo>
                      <a:lnTo>
                        <a:pt x="2134095" y="703961"/>
                      </a:lnTo>
                      <a:lnTo>
                        <a:pt x="2135530" y="702691"/>
                      </a:lnTo>
                      <a:lnTo>
                        <a:pt x="2136737" y="700151"/>
                      </a:lnTo>
                      <a:lnTo>
                        <a:pt x="2137537" y="698881"/>
                      </a:lnTo>
                      <a:lnTo>
                        <a:pt x="2140267" y="698881"/>
                      </a:lnTo>
                      <a:lnTo>
                        <a:pt x="2140635" y="696341"/>
                      </a:lnTo>
                      <a:lnTo>
                        <a:pt x="2141194" y="695071"/>
                      </a:lnTo>
                      <a:lnTo>
                        <a:pt x="2141944" y="695071"/>
                      </a:lnTo>
                      <a:lnTo>
                        <a:pt x="2142121" y="693801"/>
                      </a:lnTo>
                      <a:lnTo>
                        <a:pt x="2141956" y="692531"/>
                      </a:lnTo>
                      <a:lnTo>
                        <a:pt x="2141461" y="692531"/>
                      </a:lnTo>
                      <a:lnTo>
                        <a:pt x="2141524" y="689991"/>
                      </a:lnTo>
                      <a:lnTo>
                        <a:pt x="2141626" y="688721"/>
                      </a:lnTo>
                      <a:lnTo>
                        <a:pt x="2141207" y="687451"/>
                      </a:lnTo>
                      <a:lnTo>
                        <a:pt x="2140394" y="686181"/>
                      </a:lnTo>
                      <a:lnTo>
                        <a:pt x="2139150" y="684911"/>
                      </a:lnTo>
                      <a:lnTo>
                        <a:pt x="2138743" y="683641"/>
                      </a:lnTo>
                      <a:lnTo>
                        <a:pt x="2137245" y="681101"/>
                      </a:lnTo>
                      <a:lnTo>
                        <a:pt x="2136190" y="679831"/>
                      </a:lnTo>
                      <a:lnTo>
                        <a:pt x="2137930" y="678561"/>
                      </a:lnTo>
                      <a:lnTo>
                        <a:pt x="2141537" y="674751"/>
                      </a:lnTo>
                      <a:lnTo>
                        <a:pt x="2144674" y="674751"/>
                      </a:lnTo>
                      <a:lnTo>
                        <a:pt x="2146109" y="673481"/>
                      </a:lnTo>
                      <a:lnTo>
                        <a:pt x="2148421" y="672211"/>
                      </a:lnTo>
                      <a:lnTo>
                        <a:pt x="2152231" y="669671"/>
                      </a:lnTo>
                      <a:lnTo>
                        <a:pt x="2155139" y="668401"/>
                      </a:lnTo>
                      <a:lnTo>
                        <a:pt x="2162429" y="668401"/>
                      </a:lnTo>
                      <a:lnTo>
                        <a:pt x="2169096" y="667131"/>
                      </a:lnTo>
                      <a:lnTo>
                        <a:pt x="2172246" y="667131"/>
                      </a:lnTo>
                      <a:lnTo>
                        <a:pt x="2175129" y="668401"/>
                      </a:lnTo>
                      <a:lnTo>
                        <a:pt x="2177084" y="668401"/>
                      </a:lnTo>
                      <a:lnTo>
                        <a:pt x="2178456" y="667131"/>
                      </a:lnTo>
                      <a:lnTo>
                        <a:pt x="2182660" y="665861"/>
                      </a:lnTo>
                      <a:lnTo>
                        <a:pt x="2183333" y="664591"/>
                      </a:lnTo>
                      <a:lnTo>
                        <a:pt x="2185009" y="664591"/>
                      </a:lnTo>
                      <a:lnTo>
                        <a:pt x="2186749" y="665861"/>
                      </a:lnTo>
                      <a:lnTo>
                        <a:pt x="2191905" y="665873"/>
                      </a:lnTo>
                      <a:lnTo>
                        <a:pt x="2194052" y="667131"/>
                      </a:lnTo>
                      <a:lnTo>
                        <a:pt x="2197011" y="668401"/>
                      </a:lnTo>
                      <a:lnTo>
                        <a:pt x="2198217" y="669671"/>
                      </a:lnTo>
                      <a:lnTo>
                        <a:pt x="2199068" y="669671"/>
                      </a:lnTo>
                      <a:lnTo>
                        <a:pt x="2200135" y="670941"/>
                      </a:lnTo>
                      <a:lnTo>
                        <a:pt x="2201227" y="670941"/>
                      </a:lnTo>
                      <a:lnTo>
                        <a:pt x="2202434" y="673481"/>
                      </a:lnTo>
                      <a:lnTo>
                        <a:pt x="2202675" y="674751"/>
                      </a:lnTo>
                      <a:lnTo>
                        <a:pt x="2202929" y="674751"/>
                      </a:lnTo>
                      <a:lnTo>
                        <a:pt x="2202891" y="677291"/>
                      </a:lnTo>
                      <a:lnTo>
                        <a:pt x="2202510" y="677291"/>
                      </a:lnTo>
                      <a:lnTo>
                        <a:pt x="2200948" y="679831"/>
                      </a:lnTo>
                      <a:lnTo>
                        <a:pt x="2203716" y="682371"/>
                      </a:lnTo>
                      <a:lnTo>
                        <a:pt x="2204618" y="683641"/>
                      </a:lnTo>
                      <a:lnTo>
                        <a:pt x="2204897" y="683641"/>
                      </a:lnTo>
                      <a:lnTo>
                        <a:pt x="2205190" y="684911"/>
                      </a:lnTo>
                      <a:lnTo>
                        <a:pt x="2209660" y="684911"/>
                      </a:lnTo>
                      <a:lnTo>
                        <a:pt x="2210828" y="683641"/>
                      </a:lnTo>
                      <a:lnTo>
                        <a:pt x="2211006" y="684911"/>
                      </a:lnTo>
                      <a:lnTo>
                        <a:pt x="2211209" y="684911"/>
                      </a:lnTo>
                      <a:lnTo>
                        <a:pt x="2211819" y="686181"/>
                      </a:lnTo>
                      <a:lnTo>
                        <a:pt x="2213114" y="686181"/>
                      </a:lnTo>
                      <a:lnTo>
                        <a:pt x="2217204" y="688721"/>
                      </a:lnTo>
                      <a:lnTo>
                        <a:pt x="2221204" y="689991"/>
                      </a:lnTo>
                      <a:lnTo>
                        <a:pt x="2225103" y="689991"/>
                      </a:lnTo>
                      <a:lnTo>
                        <a:pt x="2222411" y="692531"/>
                      </a:lnTo>
                      <a:lnTo>
                        <a:pt x="2221014" y="692531"/>
                      </a:lnTo>
                      <a:lnTo>
                        <a:pt x="2216747" y="695071"/>
                      </a:lnTo>
                      <a:lnTo>
                        <a:pt x="2214486" y="698881"/>
                      </a:lnTo>
                      <a:lnTo>
                        <a:pt x="2213546" y="698881"/>
                      </a:lnTo>
                      <a:lnTo>
                        <a:pt x="2212886" y="700151"/>
                      </a:lnTo>
                      <a:lnTo>
                        <a:pt x="2208961" y="700151"/>
                      </a:lnTo>
                      <a:lnTo>
                        <a:pt x="2207806" y="701421"/>
                      </a:lnTo>
                      <a:lnTo>
                        <a:pt x="2205698" y="701421"/>
                      </a:lnTo>
                      <a:lnTo>
                        <a:pt x="2204262" y="702691"/>
                      </a:lnTo>
                      <a:lnTo>
                        <a:pt x="2202129" y="703961"/>
                      </a:lnTo>
                      <a:lnTo>
                        <a:pt x="2196071" y="703961"/>
                      </a:lnTo>
                      <a:lnTo>
                        <a:pt x="2194102" y="702691"/>
                      </a:lnTo>
                      <a:lnTo>
                        <a:pt x="2193277" y="701421"/>
                      </a:lnTo>
                      <a:lnTo>
                        <a:pt x="2189657" y="701421"/>
                      </a:lnTo>
                      <a:lnTo>
                        <a:pt x="2184882" y="700151"/>
                      </a:lnTo>
                      <a:lnTo>
                        <a:pt x="2182672" y="700151"/>
                      </a:lnTo>
                      <a:lnTo>
                        <a:pt x="2176996" y="701421"/>
                      </a:lnTo>
                      <a:lnTo>
                        <a:pt x="2173871" y="701421"/>
                      </a:lnTo>
                      <a:lnTo>
                        <a:pt x="2173224" y="702691"/>
                      </a:lnTo>
                      <a:lnTo>
                        <a:pt x="2172919" y="702691"/>
                      </a:lnTo>
                      <a:lnTo>
                        <a:pt x="2172424" y="703961"/>
                      </a:lnTo>
                      <a:lnTo>
                        <a:pt x="2171839" y="705231"/>
                      </a:lnTo>
                      <a:lnTo>
                        <a:pt x="2171611" y="705231"/>
                      </a:lnTo>
                      <a:lnTo>
                        <a:pt x="2171179" y="706501"/>
                      </a:lnTo>
                      <a:lnTo>
                        <a:pt x="2170912" y="706501"/>
                      </a:lnTo>
                      <a:lnTo>
                        <a:pt x="2171014" y="707771"/>
                      </a:lnTo>
                      <a:lnTo>
                        <a:pt x="2171458" y="709041"/>
                      </a:lnTo>
                      <a:lnTo>
                        <a:pt x="2173643" y="709041"/>
                      </a:lnTo>
                      <a:lnTo>
                        <a:pt x="2173592" y="710311"/>
                      </a:lnTo>
                      <a:lnTo>
                        <a:pt x="2172881" y="711581"/>
                      </a:lnTo>
                      <a:lnTo>
                        <a:pt x="2172551" y="712851"/>
                      </a:lnTo>
                      <a:lnTo>
                        <a:pt x="2173871" y="714121"/>
                      </a:lnTo>
                      <a:lnTo>
                        <a:pt x="2177364" y="714121"/>
                      </a:lnTo>
                      <a:lnTo>
                        <a:pt x="2176399" y="715391"/>
                      </a:lnTo>
                      <a:lnTo>
                        <a:pt x="2175116" y="715391"/>
                      </a:lnTo>
                      <a:lnTo>
                        <a:pt x="2174583" y="716661"/>
                      </a:lnTo>
                      <a:lnTo>
                        <a:pt x="2174163" y="716661"/>
                      </a:lnTo>
                      <a:lnTo>
                        <a:pt x="2174138" y="717931"/>
                      </a:lnTo>
                      <a:lnTo>
                        <a:pt x="2174341" y="717931"/>
                      </a:lnTo>
                      <a:lnTo>
                        <a:pt x="2174875" y="719201"/>
                      </a:lnTo>
                      <a:lnTo>
                        <a:pt x="2176538" y="721741"/>
                      </a:lnTo>
                      <a:lnTo>
                        <a:pt x="2176297" y="721741"/>
                      </a:lnTo>
                      <a:lnTo>
                        <a:pt x="2174951" y="724281"/>
                      </a:lnTo>
                      <a:lnTo>
                        <a:pt x="2174862" y="725551"/>
                      </a:lnTo>
                      <a:lnTo>
                        <a:pt x="2174583" y="725551"/>
                      </a:lnTo>
                      <a:lnTo>
                        <a:pt x="2174684" y="726821"/>
                      </a:lnTo>
                      <a:lnTo>
                        <a:pt x="2175154" y="728091"/>
                      </a:lnTo>
                      <a:lnTo>
                        <a:pt x="2175967" y="729361"/>
                      </a:lnTo>
                      <a:lnTo>
                        <a:pt x="2177846" y="731901"/>
                      </a:lnTo>
                      <a:lnTo>
                        <a:pt x="2178596" y="733171"/>
                      </a:lnTo>
                      <a:lnTo>
                        <a:pt x="2180094" y="734441"/>
                      </a:lnTo>
                      <a:lnTo>
                        <a:pt x="2182152" y="734441"/>
                      </a:lnTo>
                      <a:lnTo>
                        <a:pt x="2183536" y="733171"/>
                      </a:lnTo>
                      <a:lnTo>
                        <a:pt x="2183498" y="735711"/>
                      </a:lnTo>
                      <a:lnTo>
                        <a:pt x="2184158" y="736981"/>
                      </a:lnTo>
                      <a:lnTo>
                        <a:pt x="2184323" y="736981"/>
                      </a:lnTo>
                      <a:lnTo>
                        <a:pt x="2184450" y="738251"/>
                      </a:lnTo>
                      <a:lnTo>
                        <a:pt x="2186013" y="738251"/>
                      </a:lnTo>
                      <a:lnTo>
                        <a:pt x="2190318" y="739521"/>
                      </a:lnTo>
                      <a:lnTo>
                        <a:pt x="2192337" y="739521"/>
                      </a:lnTo>
                      <a:lnTo>
                        <a:pt x="2193023" y="740791"/>
                      </a:lnTo>
                      <a:lnTo>
                        <a:pt x="2192756" y="742061"/>
                      </a:lnTo>
                      <a:lnTo>
                        <a:pt x="2192413" y="742061"/>
                      </a:lnTo>
                      <a:lnTo>
                        <a:pt x="2188908" y="743331"/>
                      </a:lnTo>
                      <a:lnTo>
                        <a:pt x="2185974" y="744601"/>
                      </a:lnTo>
                      <a:lnTo>
                        <a:pt x="2185797" y="744601"/>
                      </a:lnTo>
                      <a:lnTo>
                        <a:pt x="2185124" y="745871"/>
                      </a:lnTo>
                      <a:lnTo>
                        <a:pt x="2183676" y="745871"/>
                      </a:lnTo>
                      <a:lnTo>
                        <a:pt x="2182431" y="747141"/>
                      </a:lnTo>
                      <a:lnTo>
                        <a:pt x="2181682" y="748411"/>
                      </a:lnTo>
                      <a:lnTo>
                        <a:pt x="2181428" y="748411"/>
                      </a:lnTo>
                      <a:lnTo>
                        <a:pt x="2181237" y="749681"/>
                      </a:lnTo>
                      <a:lnTo>
                        <a:pt x="2181796" y="753491"/>
                      </a:lnTo>
                      <a:lnTo>
                        <a:pt x="2182063" y="756031"/>
                      </a:lnTo>
                      <a:lnTo>
                        <a:pt x="2182672" y="759841"/>
                      </a:lnTo>
                      <a:lnTo>
                        <a:pt x="2182698" y="761111"/>
                      </a:lnTo>
                      <a:lnTo>
                        <a:pt x="2181529" y="761111"/>
                      </a:lnTo>
                      <a:lnTo>
                        <a:pt x="2180513" y="762381"/>
                      </a:lnTo>
                      <a:lnTo>
                        <a:pt x="2176157" y="764921"/>
                      </a:lnTo>
                      <a:lnTo>
                        <a:pt x="2175675" y="766191"/>
                      </a:lnTo>
                      <a:lnTo>
                        <a:pt x="2174900" y="766191"/>
                      </a:lnTo>
                      <a:lnTo>
                        <a:pt x="2172957" y="768731"/>
                      </a:lnTo>
                      <a:lnTo>
                        <a:pt x="2172627" y="770001"/>
                      </a:lnTo>
                      <a:lnTo>
                        <a:pt x="2172385" y="770001"/>
                      </a:lnTo>
                      <a:lnTo>
                        <a:pt x="2171852" y="771271"/>
                      </a:lnTo>
                      <a:lnTo>
                        <a:pt x="2172601" y="772541"/>
                      </a:lnTo>
                      <a:lnTo>
                        <a:pt x="2172957" y="773811"/>
                      </a:lnTo>
                      <a:lnTo>
                        <a:pt x="2171027" y="773811"/>
                      </a:lnTo>
                      <a:lnTo>
                        <a:pt x="2168347" y="775081"/>
                      </a:lnTo>
                      <a:lnTo>
                        <a:pt x="2167217" y="776351"/>
                      </a:lnTo>
                      <a:lnTo>
                        <a:pt x="2165985" y="776351"/>
                      </a:lnTo>
                      <a:lnTo>
                        <a:pt x="2165502" y="777621"/>
                      </a:lnTo>
                      <a:lnTo>
                        <a:pt x="2164613" y="778891"/>
                      </a:lnTo>
                      <a:lnTo>
                        <a:pt x="2163737" y="782701"/>
                      </a:lnTo>
                      <a:lnTo>
                        <a:pt x="2163356" y="783971"/>
                      </a:lnTo>
                      <a:lnTo>
                        <a:pt x="2162733" y="785241"/>
                      </a:lnTo>
                      <a:lnTo>
                        <a:pt x="2161679" y="786511"/>
                      </a:lnTo>
                      <a:lnTo>
                        <a:pt x="2161552" y="786511"/>
                      </a:lnTo>
                      <a:lnTo>
                        <a:pt x="2160790" y="787781"/>
                      </a:lnTo>
                      <a:lnTo>
                        <a:pt x="2159038" y="790321"/>
                      </a:lnTo>
                      <a:lnTo>
                        <a:pt x="2158517" y="791591"/>
                      </a:lnTo>
                      <a:lnTo>
                        <a:pt x="2155164" y="792861"/>
                      </a:lnTo>
                      <a:lnTo>
                        <a:pt x="2153170" y="794131"/>
                      </a:lnTo>
                      <a:lnTo>
                        <a:pt x="2152129" y="795401"/>
                      </a:lnTo>
                      <a:lnTo>
                        <a:pt x="2150707" y="796671"/>
                      </a:lnTo>
                      <a:lnTo>
                        <a:pt x="2151583" y="797941"/>
                      </a:lnTo>
                      <a:lnTo>
                        <a:pt x="2150453" y="796671"/>
                      </a:lnTo>
                      <a:lnTo>
                        <a:pt x="2142261" y="808101"/>
                      </a:lnTo>
                      <a:lnTo>
                        <a:pt x="2142020" y="808101"/>
                      </a:lnTo>
                      <a:lnTo>
                        <a:pt x="2141461" y="809371"/>
                      </a:lnTo>
                      <a:lnTo>
                        <a:pt x="2133663" y="809371"/>
                      </a:lnTo>
                      <a:lnTo>
                        <a:pt x="2132546" y="810641"/>
                      </a:lnTo>
                      <a:lnTo>
                        <a:pt x="2131250" y="810641"/>
                      </a:lnTo>
                      <a:lnTo>
                        <a:pt x="2130107" y="811911"/>
                      </a:lnTo>
                      <a:lnTo>
                        <a:pt x="2129764" y="810641"/>
                      </a:lnTo>
                      <a:lnTo>
                        <a:pt x="2128990" y="810641"/>
                      </a:lnTo>
                      <a:lnTo>
                        <a:pt x="2127796" y="808101"/>
                      </a:lnTo>
                      <a:lnTo>
                        <a:pt x="2127135" y="808101"/>
                      </a:lnTo>
                      <a:lnTo>
                        <a:pt x="2126653" y="806831"/>
                      </a:lnTo>
                      <a:lnTo>
                        <a:pt x="2122246" y="806831"/>
                      </a:lnTo>
                      <a:lnTo>
                        <a:pt x="2120315" y="809371"/>
                      </a:lnTo>
                      <a:lnTo>
                        <a:pt x="2119236" y="809371"/>
                      </a:lnTo>
                      <a:lnTo>
                        <a:pt x="2118055" y="811911"/>
                      </a:lnTo>
                      <a:lnTo>
                        <a:pt x="2116963" y="813181"/>
                      </a:lnTo>
                      <a:lnTo>
                        <a:pt x="2112289" y="818261"/>
                      </a:lnTo>
                      <a:lnTo>
                        <a:pt x="2109368" y="823341"/>
                      </a:lnTo>
                      <a:lnTo>
                        <a:pt x="2108822" y="824611"/>
                      </a:lnTo>
                      <a:lnTo>
                        <a:pt x="2109457" y="827151"/>
                      </a:lnTo>
                      <a:lnTo>
                        <a:pt x="2109711" y="827151"/>
                      </a:lnTo>
                      <a:lnTo>
                        <a:pt x="2110892" y="829691"/>
                      </a:lnTo>
                      <a:lnTo>
                        <a:pt x="2112238" y="829691"/>
                      </a:lnTo>
                      <a:lnTo>
                        <a:pt x="2114435" y="830961"/>
                      </a:lnTo>
                      <a:lnTo>
                        <a:pt x="2119084" y="830961"/>
                      </a:lnTo>
                      <a:lnTo>
                        <a:pt x="2119160" y="832231"/>
                      </a:lnTo>
                      <a:lnTo>
                        <a:pt x="2118525" y="837311"/>
                      </a:lnTo>
                      <a:lnTo>
                        <a:pt x="2119058" y="838581"/>
                      </a:lnTo>
                      <a:lnTo>
                        <a:pt x="2120023" y="842391"/>
                      </a:lnTo>
                      <a:lnTo>
                        <a:pt x="2121331" y="843661"/>
                      </a:lnTo>
                      <a:lnTo>
                        <a:pt x="2121852" y="843661"/>
                      </a:lnTo>
                      <a:lnTo>
                        <a:pt x="2122220" y="844931"/>
                      </a:lnTo>
                      <a:lnTo>
                        <a:pt x="2125268" y="844931"/>
                      </a:lnTo>
                      <a:lnTo>
                        <a:pt x="2126221" y="843661"/>
                      </a:lnTo>
                      <a:lnTo>
                        <a:pt x="2126373" y="844931"/>
                      </a:lnTo>
                      <a:lnTo>
                        <a:pt x="2126589" y="844931"/>
                      </a:lnTo>
                      <a:lnTo>
                        <a:pt x="2126907" y="847471"/>
                      </a:lnTo>
                      <a:lnTo>
                        <a:pt x="2127161" y="847471"/>
                      </a:lnTo>
                      <a:lnTo>
                        <a:pt x="2127656" y="848741"/>
                      </a:lnTo>
                      <a:lnTo>
                        <a:pt x="2128202" y="851281"/>
                      </a:lnTo>
                      <a:lnTo>
                        <a:pt x="2131834" y="858901"/>
                      </a:lnTo>
                      <a:lnTo>
                        <a:pt x="2131123" y="858901"/>
                      </a:lnTo>
                      <a:lnTo>
                        <a:pt x="2131034" y="860171"/>
                      </a:lnTo>
                      <a:lnTo>
                        <a:pt x="2130793" y="860171"/>
                      </a:lnTo>
                      <a:lnTo>
                        <a:pt x="2130755" y="862711"/>
                      </a:lnTo>
                      <a:lnTo>
                        <a:pt x="2130272" y="862711"/>
                      </a:lnTo>
                      <a:lnTo>
                        <a:pt x="2129637" y="863981"/>
                      </a:lnTo>
                      <a:lnTo>
                        <a:pt x="2127135" y="863981"/>
                      </a:lnTo>
                      <a:lnTo>
                        <a:pt x="2127275" y="862711"/>
                      </a:lnTo>
                      <a:lnTo>
                        <a:pt x="2126488" y="861441"/>
                      </a:lnTo>
                      <a:lnTo>
                        <a:pt x="2123757" y="862711"/>
                      </a:lnTo>
                      <a:lnTo>
                        <a:pt x="2119642" y="862711"/>
                      </a:lnTo>
                      <a:lnTo>
                        <a:pt x="2118271" y="863981"/>
                      </a:lnTo>
                      <a:lnTo>
                        <a:pt x="2118131" y="865251"/>
                      </a:lnTo>
                      <a:lnTo>
                        <a:pt x="2113254" y="865251"/>
                      </a:lnTo>
                      <a:lnTo>
                        <a:pt x="2099094" y="862711"/>
                      </a:lnTo>
                      <a:lnTo>
                        <a:pt x="2098890" y="865251"/>
                      </a:lnTo>
                      <a:lnTo>
                        <a:pt x="2098827" y="867791"/>
                      </a:lnTo>
                      <a:lnTo>
                        <a:pt x="2098649" y="867791"/>
                      </a:lnTo>
                      <a:lnTo>
                        <a:pt x="2098624" y="869061"/>
                      </a:lnTo>
                      <a:lnTo>
                        <a:pt x="2096046" y="869061"/>
                      </a:lnTo>
                      <a:lnTo>
                        <a:pt x="2091309" y="871601"/>
                      </a:lnTo>
                      <a:lnTo>
                        <a:pt x="2091994" y="872871"/>
                      </a:lnTo>
                      <a:lnTo>
                        <a:pt x="2091080" y="874141"/>
                      </a:lnTo>
                      <a:lnTo>
                        <a:pt x="2091702" y="874141"/>
                      </a:lnTo>
                      <a:lnTo>
                        <a:pt x="2096731" y="870331"/>
                      </a:lnTo>
                      <a:lnTo>
                        <a:pt x="2100605" y="870331"/>
                      </a:lnTo>
                      <a:lnTo>
                        <a:pt x="2100707" y="869061"/>
                      </a:lnTo>
                      <a:lnTo>
                        <a:pt x="2100935" y="867791"/>
                      </a:lnTo>
                      <a:lnTo>
                        <a:pt x="2100999" y="865251"/>
                      </a:lnTo>
                      <a:lnTo>
                        <a:pt x="2106180" y="866521"/>
                      </a:lnTo>
                      <a:lnTo>
                        <a:pt x="2108784" y="866521"/>
                      </a:lnTo>
                      <a:lnTo>
                        <a:pt x="2108924" y="865251"/>
                      </a:lnTo>
                      <a:lnTo>
                        <a:pt x="2109139" y="866521"/>
                      </a:lnTo>
                      <a:lnTo>
                        <a:pt x="2113343" y="866521"/>
                      </a:lnTo>
                      <a:lnTo>
                        <a:pt x="2115477" y="867791"/>
                      </a:lnTo>
                      <a:lnTo>
                        <a:pt x="2118182" y="867791"/>
                      </a:lnTo>
                      <a:lnTo>
                        <a:pt x="2119223" y="866521"/>
                      </a:lnTo>
                      <a:lnTo>
                        <a:pt x="2119973" y="866521"/>
                      </a:lnTo>
                      <a:lnTo>
                        <a:pt x="2120023" y="865251"/>
                      </a:lnTo>
                      <a:lnTo>
                        <a:pt x="2120823" y="865251"/>
                      </a:lnTo>
                      <a:lnTo>
                        <a:pt x="2125014" y="863981"/>
                      </a:lnTo>
                      <a:lnTo>
                        <a:pt x="2125611" y="865251"/>
                      </a:lnTo>
                      <a:lnTo>
                        <a:pt x="2126030" y="865251"/>
                      </a:lnTo>
                      <a:lnTo>
                        <a:pt x="2127643" y="866521"/>
                      </a:lnTo>
                      <a:lnTo>
                        <a:pt x="2129726" y="866521"/>
                      </a:lnTo>
                      <a:lnTo>
                        <a:pt x="2130844" y="865251"/>
                      </a:lnTo>
                      <a:lnTo>
                        <a:pt x="2132584" y="865251"/>
                      </a:lnTo>
                      <a:lnTo>
                        <a:pt x="2132990" y="863981"/>
                      </a:lnTo>
                      <a:lnTo>
                        <a:pt x="2134336" y="863981"/>
                      </a:lnTo>
                      <a:lnTo>
                        <a:pt x="2134209" y="862711"/>
                      </a:lnTo>
                      <a:lnTo>
                        <a:pt x="2133752" y="861441"/>
                      </a:lnTo>
                      <a:lnTo>
                        <a:pt x="2132888" y="861441"/>
                      </a:lnTo>
                      <a:lnTo>
                        <a:pt x="2133003" y="860171"/>
                      </a:lnTo>
                      <a:lnTo>
                        <a:pt x="2133689" y="860171"/>
                      </a:lnTo>
                      <a:lnTo>
                        <a:pt x="2133904" y="858901"/>
                      </a:lnTo>
                      <a:lnTo>
                        <a:pt x="2133955" y="857631"/>
                      </a:lnTo>
                      <a:lnTo>
                        <a:pt x="2133790" y="857631"/>
                      </a:lnTo>
                      <a:lnTo>
                        <a:pt x="2131123" y="851281"/>
                      </a:lnTo>
                      <a:lnTo>
                        <a:pt x="2130628" y="851281"/>
                      </a:lnTo>
                      <a:lnTo>
                        <a:pt x="2130120" y="850011"/>
                      </a:lnTo>
                      <a:lnTo>
                        <a:pt x="2129980" y="850011"/>
                      </a:lnTo>
                      <a:lnTo>
                        <a:pt x="2129650" y="848741"/>
                      </a:lnTo>
                      <a:lnTo>
                        <a:pt x="2129205" y="847471"/>
                      </a:lnTo>
                      <a:lnTo>
                        <a:pt x="2128977" y="846201"/>
                      </a:lnTo>
                      <a:lnTo>
                        <a:pt x="2128647" y="844931"/>
                      </a:lnTo>
                      <a:lnTo>
                        <a:pt x="2128456" y="843661"/>
                      </a:lnTo>
                      <a:lnTo>
                        <a:pt x="2128164" y="843661"/>
                      </a:lnTo>
                      <a:lnTo>
                        <a:pt x="2127681" y="842391"/>
                      </a:lnTo>
                      <a:lnTo>
                        <a:pt x="2122551" y="842391"/>
                      </a:lnTo>
                      <a:lnTo>
                        <a:pt x="2121928" y="841121"/>
                      </a:lnTo>
                      <a:lnTo>
                        <a:pt x="2121090" y="838581"/>
                      </a:lnTo>
                      <a:lnTo>
                        <a:pt x="2120696" y="837311"/>
                      </a:lnTo>
                      <a:lnTo>
                        <a:pt x="2121382" y="832231"/>
                      </a:lnTo>
                      <a:lnTo>
                        <a:pt x="2121255" y="830961"/>
                      </a:lnTo>
                      <a:lnTo>
                        <a:pt x="2121077" y="830961"/>
                      </a:lnTo>
                      <a:lnTo>
                        <a:pt x="2120620" y="829691"/>
                      </a:lnTo>
                      <a:lnTo>
                        <a:pt x="2119553" y="828421"/>
                      </a:lnTo>
                      <a:lnTo>
                        <a:pt x="2114880" y="828421"/>
                      </a:lnTo>
                      <a:lnTo>
                        <a:pt x="2114664" y="829691"/>
                      </a:lnTo>
                      <a:lnTo>
                        <a:pt x="2114537" y="828421"/>
                      </a:lnTo>
                      <a:lnTo>
                        <a:pt x="2113203" y="828421"/>
                      </a:lnTo>
                      <a:lnTo>
                        <a:pt x="2112238" y="827151"/>
                      </a:lnTo>
                      <a:lnTo>
                        <a:pt x="2111527" y="825881"/>
                      </a:lnTo>
                      <a:lnTo>
                        <a:pt x="2111349" y="825881"/>
                      </a:lnTo>
                      <a:lnTo>
                        <a:pt x="2118639" y="814451"/>
                      </a:lnTo>
                      <a:lnTo>
                        <a:pt x="2119376" y="813181"/>
                      </a:lnTo>
                      <a:lnTo>
                        <a:pt x="2120836" y="811911"/>
                      </a:lnTo>
                      <a:lnTo>
                        <a:pt x="2122055" y="810641"/>
                      </a:lnTo>
                      <a:lnTo>
                        <a:pt x="2122627" y="809371"/>
                      </a:lnTo>
                      <a:lnTo>
                        <a:pt x="2122830" y="809371"/>
                      </a:lnTo>
                      <a:lnTo>
                        <a:pt x="2122182" y="808101"/>
                      </a:lnTo>
                      <a:lnTo>
                        <a:pt x="2123109" y="809371"/>
                      </a:lnTo>
                      <a:lnTo>
                        <a:pt x="2123554" y="809371"/>
                      </a:lnTo>
                      <a:lnTo>
                        <a:pt x="2124392" y="808101"/>
                      </a:lnTo>
                      <a:lnTo>
                        <a:pt x="2125065" y="808101"/>
                      </a:lnTo>
                      <a:lnTo>
                        <a:pt x="2125586" y="809371"/>
                      </a:lnTo>
                      <a:lnTo>
                        <a:pt x="2126132" y="809371"/>
                      </a:lnTo>
                      <a:lnTo>
                        <a:pt x="2127288" y="811911"/>
                      </a:lnTo>
                      <a:lnTo>
                        <a:pt x="2127834" y="811911"/>
                      </a:lnTo>
                      <a:lnTo>
                        <a:pt x="2128355" y="813181"/>
                      </a:lnTo>
                      <a:lnTo>
                        <a:pt x="2131987" y="813181"/>
                      </a:lnTo>
                      <a:lnTo>
                        <a:pt x="2133333" y="811911"/>
                      </a:lnTo>
                      <a:lnTo>
                        <a:pt x="2135822" y="811911"/>
                      </a:lnTo>
                      <a:lnTo>
                        <a:pt x="2135797" y="810641"/>
                      </a:lnTo>
                      <a:lnTo>
                        <a:pt x="2136140" y="811911"/>
                      </a:lnTo>
                      <a:lnTo>
                        <a:pt x="2137397" y="811911"/>
                      </a:lnTo>
                      <a:lnTo>
                        <a:pt x="2140826" y="810641"/>
                      </a:lnTo>
                      <a:lnTo>
                        <a:pt x="2143480" y="810641"/>
                      </a:lnTo>
                      <a:lnTo>
                        <a:pt x="2152675" y="797941"/>
                      </a:lnTo>
                      <a:lnTo>
                        <a:pt x="2153628" y="796671"/>
                      </a:lnTo>
                      <a:lnTo>
                        <a:pt x="2154453" y="795401"/>
                      </a:lnTo>
                      <a:lnTo>
                        <a:pt x="2156193" y="795401"/>
                      </a:lnTo>
                      <a:lnTo>
                        <a:pt x="2159800" y="792861"/>
                      </a:lnTo>
                      <a:lnTo>
                        <a:pt x="2160574" y="792861"/>
                      </a:lnTo>
                      <a:lnTo>
                        <a:pt x="2162556" y="789051"/>
                      </a:lnTo>
                      <a:lnTo>
                        <a:pt x="2165312" y="783971"/>
                      </a:lnTo>
                      <a:lnTo>
                        <a:pt x="2165781" y="782701"/>
                      </a:lnTo>
                      <a:lnTo>
                        <a:pt x="2166569" y="778891"/>
                      </a:lnTo>
                      <a:lnTo>
                        <a:pt x="2167699" y="778891"/>
                      </a:lnTo>
                      <a:lnTo>
                        <a:pt x="2168220" y="777621"/>
                      </a:lnTo>
                      <a:lnTo>
                        <a:pt x="2169337" y="777621"/>
                      </a:lnTo>
                      <a:lnTo>
                        <a:pt x="2174036" y="775081"/>
                      </a:lnTo>
                      <a:lnTo>
                        <a:pt x="2175040" y="775081"/>
                      </a:lnTo>
                      <a:lnTo>
                        <a:pt x="2176018" y="773811"/>
                      </a:lnTo>
                      <a:lnTo>
                        <a:pt x="2175154" y="772541"/>
                      </a:lnTo>
                      <a:lnTo>
                        <a:pt x="2174506" y="772541"/>
                      </a:lnTo>
                      <a:lnTo>
                        <a:pt x="2174151" y="771271"/>
                      </a:lnTo>
                      <a:lnTo>
                        <a:pt x="2174341" y="771271"/>
                      </a:lnTo>
                      <a:lnTo>
                        <a:pt x="2174659" y="770001"/>
                      </a:lnTo>
                      <a:lnTo>
                        <a:pt x="2176462" y="768731"/>
                      </a:lnTo>
                      <a:lnTo>
                        <a:pt x="2177097" y="767461"/>
                      </a:lnTo>
                      <a:lnTo>
                        <a:pt x="2177529" y="767461"/>
                      </a:lnTo>
                      <a:lnTo>
                        <a:pt x="2181796" y="763651"/>
                      </a:lnTo>
                      <a:lnTo>
                        <a:pt x="2182876" y="763651"/>
                      </a:lnTo>
                      <a:lnTo>
                        <a:pt x="2184476" y="762381"/>
                      </a:lnTo>
                      <a:lnTo>
                        <a:pt x="2185085" y="761111"/>
                      </a:lnTo>
                      <a:lnTo>
                        <a:pt x="2184641" y="758571"/>
                      </a:lnTo>
                      <a:lnTo>
                        <a:pt x="2184298" y="756031"/>
                      </a:lnTo>
                      <a:lnTo>
                        <a:pt x="2184095" y="754761"/>
                      </a:lnTo>
                      <a:lnTo>
                        <a:pt x="2183447" y="749681"/>
                      </a:lnTo>
                      <a:lnTo>
                        <a:pt x="2183587" y="748411"/>
                      </a:lnTo>
                      <a:lnTo>
                        <a:pt x="2184984" y="748411"/>
                      </a:lnTo>
                      <a:lnTo>
                        <a:pt x="2185276" y="747141"/>
                      </a:lnTo>
                      <a:lnTo>
                        <a:pt x="2186508" y="747141"/>
                      </a:lnTo>
                      <a:lnTo>
                        <a:pt x="2189213" y="745871"/>
                      </a:lnTo>
                      <a:lnTo>
                        <a:pt x="2189696" y="745871"/>
                      </a:lnTo>
                      <a:lnTo>
                        <a:pt x="2193887" y="744601"/>
                      </a:lnTo>
                      <a:lnTo>
                        <a:pt x="2194699" y="742061"/>
                      </a:lnTo>
                      <a:lnTo>
                        <a:pt x="2195182" y="740791"/>
                      </a:lnTo>
                      <a:lnTo>
                        <a:pt x="2194915" y="739521"/>
                      </a:lnTo>
                      <a:lnTo>
                        <a:pt x="2193607" y="738251"/>
                      </a:lnTo>
                      <a:lnTo>
                        <a:pt x="2192540" y="738251"/>
                      </a:lnTo>
                      <a:lnTo>
                        <a:pt x="2191486" y="736981"/>
                      </a:lnTo>
                      <a:lnTo>
                        <a:pt x="2186241" y="736981"/>
                      </a:lnTo>
                      <a:lnTo>
                        <a:pt x="2185898" y="735711"/>
                      </a:lnTo>
                      <a:lnTo>
                        <a:pt x="2185632" y="735711"/>
                      </a:lnTo>
                      <a:lnTo>
                        <a:pt x="2185695" y="734441"/>
                      </a:lnTo>
                      <a:lnTo>
                        <a:pt x="2185657" y="733171"/>
                      </a:lnTo>
                      <a:lnTo>
                        <a:pt x="2186101" y="733171"/>
                      </a:lnTo>
                      <a:lnTo>
                        <a:pt x="2186127" y="731901"/>
                      </a:lnTo>
                      <a:lnTo>
                        <a:pt x="2186724" y="730631"/>
                      </a:lnTo>
                      <a:lnTo>
                        <a:pt x="2184336" y="730631"/>
                      </a:lnTo>
                      <a:lnTo>
                        <a:pt x="2181390" y="731901"/>
                      </a:lnTo>
                      <a:lnTo>
                        <a:pt x="2180348" y="731901"/>
                      </a:lnTo>
                      <a:lnTo>
                        <a:pt x="2178418" y="729361"/>
                      </a:lnTo>
                      <a:lnTo>
                        <a:pt x="2177072" y="726821"/>
                      </a:lnTo>
                      <a:lnTo>
                        <a:pt x="2176792" y="726821"/>
                      </a:lnTo>
                      <a:lnTo>
                        <a:pt x="2176843" y="725551"/>
                      </a:lnTo>
                      <a:lnTo>
                        <a:pt x="2179116" y="721741"/>
                      </a:lnTo>
                      <a:lnTo>
                        <a:pt x="2176640" y="717931"/>
                      </a:lnTo>
                      <a:lnTo>
                        <a:pt x="2176259" y="717931"/>
                      </a:lnTo>
                      <a:lnTo>
                        <a:pt x="2176488" y="716661"/>
                      </a:lnTo>
                      <a:lnTo>
                        <a:pt x="2178875" y="716661"/>
                      </a:lnTo>
                      <a:lnTo>
                        <a:pt x="2180069" y="715391"/>
                      </a:lnTo>
                      <a:lnTo>
                        <a:pt x="2180056" y="714121"/>
                      </a:lnTo>
                      <a:lnTo>
                        <a:pt x="2179840" y="714121"/>
                      </a:lnTo>
                      <a:lnTo>
                        <a:pt x="2179358" y="712851"/>
                      </a:lnTo>
                      <a:lnTo>
                        <a:pt x="2177910" y="711581"/>
                      </a:lnTo>
                      <a:lnTo>
                        <a:pt x="2175243" y="711581"/>
                      </a:lnTo>
                      <a:lnTo>
                        <a:pt x="2176081" y="709041"/>
                      </a:lnTo>
                      <a:lnTo>
                        <a:pt x="2175459" y="707771"/>
                      </a:lnTo>
                      <a:lnTo>
                        <a:pt x="2173427" y="707771"/>
                      </a:lnTo>
                      <a:lnTo>
                        <a:pt x="2173173" y="706501"/>
                      </a:lnTo>
                      <a:lnTo>
                        <a:pt x="2173528" y="706501"/>
                      </a:lnTo>
                      <a:lnTo>
                        <a:pt x="2173782" y="705231"/>
                      </a:lnTo>
                      <a:lnTo>
                        <a:pt x="2174329" y="705231"/>
                      </a:lnTo>
                      <a:lnTo>
                        <a:pt x="2174722" y="703961"/>
                      </a:lnTo>
                      <a:lnTo>
                        <a:pt x="2175967" y="703961"/>
                      </a:lnTo>
                      <a:lnTo>
                        <a:pt x="2177377" y="702691"/>
                      </a:lnTo>
                      <a:lnTo>
                        <a:pt x="2184768" y="702691"/>
                      </a:lnTo>
                      <a:lnTo>
                        <a:pt x="2189353" y="703961"/>
                      </a:lnTo>
                      <a:lnTo>
                        <a:pt x="2192629" y="703961"/>
                      </a:lnTo>
                      <a:lnTo>
                        <a:pt x="2194483" y="705231"/>
                      </a:lnTo>
                      <a:lnTo>
                        <a:pt x="2195919" y="705231"/>
                      </a:lnTo>
                      <a:lnTo>
                        <a:pt x="2198497" y="706501"/>
                      </a:lnTo>
                      <a:lnTo>
                        <a:pt x="2200948" y="706501"/>
                      </a:lnTo>
                      <a:lnTo>
                        <a:pt x="2202738" y="705231"/>
                      </a:lnTo>
                      <a:lnTo>
                        <a:pt x="2206561" y="703961"/>
                      </a:lnTo>
                      <a:lnTo>
                        <a:pt x="2207323" y="703961"/>
                      </a:lnTo>
                      <a:lnTo>
                        <a:pt x="2207984" y="702691"/>
                      </a:lnTo>
                      <a:lnTo>
                        <a:pt x="2212213" y="702691"/>
                      </a:lnTo>
                      <a:lnTo>
                        <a:pt x="2213991" y="701421"/>
                      </a:lnTo>
                      <a:lnTo>
                        <a:pt x="2214969" y="701421"/>
                      </a:lnTo>
                      <a:lnTo>
                        <a:pt x="2216112" y="700151"/>
                      </a:lnTo>
                      <a:lnTo>
                        <a:pt x="2217483" y="697611"/>
                      </a:lnTo>
                      <a:lnTo>
                        <a:pt x="2218207" y="696341"/>
                      </a:lnTo>
                      <a:lnTo>
                        <a:pt x="2222131" y="695071"/>
                      </a:lnTo>
                      <a:lnTo>
                        <a:pt x="2223503" y="693801"/>
                      </a:lnTo>
                      <a:lnTo>
                        <a:pt x="2229993" y="689991"/>
                      </a:lnTo>
                      <a:lnTo>
                        <a:pt x="2232075" y="689991"/>
                      </a:lnTo>
                      <a:lnTo>
                        <a:pt x="2231466" y="691261"/>
                      </a:lnTo>
                      <a:lnTo>
                        <a:pt x="2231555" y="693801"/>
                      </a:lnTo>
                      <a:lnTo>
                        <a:pt x="2231898" y="693801"/>
                      </a:lnTo>
                      <a:lnTo>
                        <a:pt x="2232533" y="695071"/>
                      </a:lnTo>
                      <a:lnTo>
                        <a:pt x="2233384" y="696341"/>
                      </a:lnTo>
                      <a:lnTo>
                        <a:pt x="2235225" y="701421"/>
                      </a:lnTo>
                      <a:lnTo>
                        <a:pt x="2235454" y="702691"/>
                      </a:lnTo>
                      <a:lnTo>
                        <a:pt x="2236063" y="703961"/>
                      </a:lnTo>
                      <a:lnTo>
                        <a:pt x="2237105" y="705231"/>
                      </a:lnTo>
                      <a:lnTo>
                        <a:pt x="2239873" y="706501"/>
                      </a:lnTo>
                      <a:lnTo>
                        <a:pt x="2244852" y="707771"/>
                      </a:lnTo>
                      <a:lnTo>
                        <a:pt x="2242540" y="710311"/>
                      </a:lnTo>
                      <a:lnTo>
                        <a:pt x="2242312" y="711581"/>
                      </a:lnTo>
                      <a:lnTo>
                        <a:pt x="2241867" y="711581"/>
                      </a:lnTo>
                      <a:lnTo>
                        <a:pt x="2241715" y="712851"/>
                      </a:lnTo>
                      <a:lnTo>
                        <a:pt x="2241867" y="714121"/>
                      </a:lnTo>
                      <a:lnTo>
                        <a:pt x="2242350" y="715391"/>
                      </a:lnTo>
                      <a:lnTo>
                        <a:pt x="2243315" y="719201"/>
                      </a:lnTo>
                      <a:lnTo>
                        <a:pt x="2244039" y="721741"/>
                      </a:lnTo>
                      <a:lnTo>
                        <a:pt x="2244382" y="721741"/>
                      </a:lnTo>
                      <a:lnTo>
                        <a:pt x="2244509" y="723011"/>
                      </a:lnTo>
                      <a:lnTo>
                        <a:pt x="2244737" y="723011"/>
                      </a:lnTo>
                      <a:lnTo>
                        <a:pt x="2245080" y="724281"/>
                      </a:lnTo>
                      <a:lnTo>
                        <a:pt x="2247176" y="725551"/>
                      </a:lnTo>
                      <a:lnTo>
                        <a:pt x="2248408" y="726821"/>
                      </a:lnTo>
                      <a:lnTo>
                        <a:pt x="2251214" y="726821"/>
                      </a:lnTo>
                      <a:lnTo>
                        <a:pt x="2251405" y="728091"/>
                      </a:lnTo>
                      <a:lnTo>
                        <a:pt x="2251646" y="730631"/>
                      </a:lnTo>
                      <a:lnTo>
                        <a:pt x="2251938" y="731901"/>
                      </a:lnTo>
                      <a:lnTo>
                        <a:pt x="2252268" y="733171"/>
                      </a:lnTo>
                      <a:lnTo>
                        <a:pt x="2252599" y="733171"/>
                      </a:lnTo>
                      <a:lnTo>
                        <a:pt x="2250186" y="736981"/>
                      </a:lnTo>
                      <a:lnTo>
                        <a:pt x="2247836" y="738251"/>
                      </a:lnTo>
                      <a:lnTo>
                        <a:pt x="2245880" y="738251"/>
                      </a:lnTo>
                      <a:lnTo>
                        <a:pt x="2245004" y="736981"/>
                      </a:lnTo>
                      <a:lnTo>
                        <a:pt x="2244255" y="735711"/>
                      </a:lnTo>
                      <a:lnTo>
                        <a:pt x="2244102" y="735711"/>
                      </a:lnTo>
                      <a:lnTo>
                        <a:pt x="2244991" y="734441"/>
                      </a:lnTo>
                      <a:lnTo>
                        <a:pt x="2240102" y="734441"/>
                      </a:lnTo>
                      <a:lnTo>
                        <a:pt x="2239480" y="735711"/>
                      </a:lnTo>
                      <a:lnTo>
                        <a:pt x="2237727" y="735711"/>
                      </a:lnTo>
                      <a:lnTo>
                        <a:pt x="2236813" y="736981"/>
                      </a:lnTo>
                      <a:lnTo>
                        <a:pt x="2237676" y="740791"/>
                      </a:lnTo>
                      <a:lnTo>
                        <a:pt x="2238311" y="742061"/>
                      </a:lnTo>
                      <a:lnTo>
                        <a:pt x="2239378" y="743331"/>
                      </a:lnTo>
                      <a:lnTo>
                        <a:pt x="2241029" y="745871"/>
                      </a:lnTo>
                      <a:lnTo>
                        <a:pt x="2241715" y="747141"/>
                      </a:lnTo>
                      <a:lnTo>
                        <a:pt x="2241664" y="750951"/>
                      </a:lnTo>
                      <a:lnTo>
                        <a:pt x="2241410" y="753491"/>
                      </a:lnTo>
                      <a:lnTo>
                        <a:pt x="2241829" y="753491"/>
                      </a:lnTo>
                      <a:lnTo>
                        <a:pt x="2242134" y="754761"/>
                      </a:lnTo>
                      <a:lnTo>
                        <a:pt x="2242616" y="756031"/>
                      </a:lnTo>
                      <a:lnTo>
                        <a:pt x="2243747" y="757301"/>
                      </a:lnTo>
                      <a:lnTo>
                        <a:pt x="2244572" y="758571"/>
                      </a:lnTo>
                      <a:lnTo>
                        <a:pt x="2246122" y="757301"/>
                      </a:lnTo>
                      <a:lnTo>
                        <a:pt x="2246579" y="756031"/>
                      </a:lnTo>
                      <a:lnTo>
                        <a:pt x="2249741" y="756031"/>
                      </a:lnTo>
                      <a:lnTo>
                        <a:pt x="2248966" y="757301"/>
                      </a:lnTo>
                      <a:lnTo>
                        <a:pt x="2249373" y="757301"/>
                      </a:lnTo>
                      <a:lnTo>
                        <a:pt x="2250262" y="758571"/>
                      </a:lnTo>
                      <a:lnTo>
                        <a:pt x="2251087" y="759841"/>
                      </a:lnTo>
                      <a:lnTo>
                        <a:pt x="2251532" y="759841"/>
                      </a:lnTo>
                      <a:lnTo>
                        <a:pt x="2251799" y="761111"/>
                      </a:lnTo>
                      <a:lnTo>
                        <a:pt x="2252484" y="761111"/>
                      </a:lnTo>
                      <a:lnTo>
                        <a:pt x="2253196" y="762381"/>
                      </a:lnTo>
                      <a:lnTo>
                        <a:pt x="2254554" y="762381"/>
                      </a:lnTo>
                      <a:lnTo>
                        <a:pt x="2260130" y="763651"/>
                      </a:lnTo>
                      <a:lnTo>
                        <a:pt x="2261933" y="764921"/>
                      </a:lnTo>
                      <a:lnTo>
                        <a:pt x="2262809" y="764921"/>
                      </a:lnTo>
                      <a:lnTo>
                        <a:pt x="2263381" y="766191"/>
                      </a:lnTo>
                      <a:lnTo>
                        <a:pt x="2262746" y="767461"/>
                      </a:lnTo>
                      <a:lnTo>
                        <a:pt x="2262924" y="768731"/>
                      </a:lnTo>
                      <a:lnTo>
                        <a:pt x="2263749" y="768731"/>
                      </a:lnTo>
                      <a:lnTo>
                        <a:pt x="2264219" y="767461"/>
                      </a:lnTo>
                      <a:lnTo>
                        <a:pt x="2264016" y="768731"/>
                      </a:lnTo>
                      <a:lnTo>
                        <a:pt x="2273909" y="773811"/>
                      </a:lnTo>
                      <a:lnTo>
                        <a:pt x="2265883" y="781431"/>
                      </a:lnTo>
                      <a:lnTo>
                        <a:pt x="2265629" y="782701"/>
                      </a:lnTo>
                      <a:lnTo>
                        <a:pt x="2265210" y="782701"/>
                      </a:lnTo>
                      <a:lnTo>
                        <a:pt x="2264245" y="783971"/>
                      </a:lnTo>
                      <a:lnTo>
                        <a:pt x="2263991" y="783971"/>
                      </a:lnTo>
                      <a:lnTo>
                        <a:pt x="2263800" y="785241"/>
                      </a:lnTo>
                      <a:lnTo>
                        <a:pt x="2263559" y="785241"/>
                      </a:lnTo>
                      <a:lnTo>
                        <a:pt x="2263610" y="786511"/>
                      </a:lnTo>
                      <a:lnTo>
                        <a:pt x="2264156" y="787781"/>
                      </a:lnTo>
                      <a:lnTo>
                        <a:pt x="2262949" y="789051"/>
                      </a:lnTo>
                      <a:lnTo>
                        <a:pt x="2262352" y="790321"/>
                      </a:lnTo>
                      <a:lnTo>
                        <a:pt x="2261959" y="790321"/>
                      </a:lnTo>
                      <a:lnTo>
                        <a:pt x="2261451" y="792861"/>
                      </a:lnTo>
                      <a:lnTo>
                        <a:pt x="2261285" y="792861"/>
                      </a:lnTo>
                      <a:lnTo>
                        <a:pt x="2260828" y="795401"/>
                      </a:lnTo>
                      <a:lnTo>
                        <a:pt x="2261476" y="796671"/>
                      </a:lnTo>
                      <a:lnTo>
                        <a:pt x="2263190" y="797941"/>
                      </a:lnTo>
                      <a:lnTo>
                        <a:pt x="2264295" y="797941"/>
                      </a:lnTo>
                      <a:lnTo>
                        <a:pt x="2266404" y="799211"/>
                      </a:lnTo>
                      <a:lnTo>
                        <a:pt x="2268753" y="800481"/>
                      </a:lnTo>
                      <a:lnTo>
                        <a:pt x="2269172" y="799211"/>
                      </a:lnTo>
                      <a:lnTo>
                        <a:pt x="2272906" y="800481"/>
                      </a:lnTo>
                      <a:lnTo>
                        <a:pt x="2274062" y="801751"/>
                      </a:lnTo>
                      <a:lnTo>
                        <a:pt x="2275992" y="803021"/>
                      </a:lnTo>
                      <a:lnTo>
                        <a:pt x="2277059" y="803021"/>
                      </a:lnTo>
                      <a:lnTo>
                        <a:pt x="2277910" y="804291"/>
                      </a:lnTo>
                      <a:lnTo>
                        <a:pt x="2278646" y="803021"/>
                      </a:lnTo>
                      <a:lnTo>
                        <a:pt x="2278215" y="804291"/>
                      </a:lnTo>
                      <a:lnTo>
                        <a:pt x="2280120" y="806831"/>
                      </a:lnTo>
                      <a:lnTo>
                        <a:pt x="2282139" y="808101"/>
                      </a:lnTo>
                      <a:lnTo>
                        <a:pt x="2282825" y="808101"/>
                      </a:lnTo>
                      <a:lnTo>
                        <a:pt x="2285682" y="810641"/>
                      </a:lnTo>
                      <a:lnTo>
                        <a:pt x="2291219" y="810641"/>
                      </a:lnTo>
                      <a:lnTo>
                        <a:pt x="2292235" y="811911"/>
                      </a:lnTo>
                      <a:lnTo>
                        <a:pt x="2298255" y="813181"/>
                      </a:lnTo>
                      <a:lnTo>
                        <a:pt x="2298700" y="813181"/>
                      </a:lnTo>
                      <a:lnTo>
                        <a:pt x="2299271" y="815721"/>
                      </a:lnTo>
                      <a:lnTo>
                        <a:pt x="2300186" y="816991"/>
                      </a:lnTo>
                      <a:lnTo>
                        <a:pt x="2303996" y="816991"/>
                      </a:lnTo>
                      <a:lnTo>
                        <a:pt x="2305812" y="818261"/>
                      </a:lnTo>
                      <a:lnTo>
                        <a:pt x="2306650" y="818261"/>
                      </a:lnTo>
                      <a:lnTo>
                        <a:pt x="2307501" y="819531"/>
                      </a:lnTo>
                      <a:lnTo>
                        <a:pt x="2309228" y="819531"/>
                      </a:lnTo>
                      <a:lnTo>
                        <a:pt x="2309761" y="818261"/>
                      </a:lnTo>
                      <a:lnTo>
                        <a:pt x="2310612" y="818261"/>
                      </a:lnTo>
                      <a:lnTo>
                        <a:pt x="2311476" y="817003"/>
                      </a:lnTo>
                      <a:lnTo>
                        <a:pt x="2315489" y="819531"/>
                      </a:lnTo>
                      <a:lnTo>
                        <a:pt x="2315921" y="818261"/>
                      </a:lnTo>
                      <a:lnTo>
                        <a:pt x="2317610" y="818261"/>
                      </a:lnTo>
                      <a:lnTo>
                        <a:pt x="2318054" y="816991"/>
                      </a:lnTo>
                      <a:lnTo>
                        <a:pt x="2317877" y="815721"/>
                      </a:lnTo>
                      <a:lnTo>
                        <a:pt x="2316200" y="815721"/>
                      </a:lnTo>
                      <a:lnTo>
                        <a:pt x="2315527" y="816991"/>
                      </a:lnTo>
                      <a:lnTo>
                        <a:pt x="2312289" y="815721"/>
                      </a:lnTo>
                      <a:lnTo>
                        <a:pt x="2309838" y="815721"/>
                      </a:lnTo>
                      <a:lnTo>
                        <a:pt x="2308720" y="816991"/>
                      </a:lnTo>
                      <a:lnTo>
                        <a:pt x="2308441" y="816991"/>
                      </a:lnTo>
                      <a:lnTo>
                        <a:pt x="2307285" y="815721"/>
                      </a:lnTo>
                      <a:lnTo>
                        <a:pt x="2304465" y="815721"/>
                      </a:lnTo>
                      <a:lnTo>
                        <a:pt x="2302014" y="814451"/>
                      </a:lnTo>
                      <a:lnTo>
                        <a:pt x="2301151" y="814451"/>
                      </a:lnTo>
                      <a:lnTo>
                        <a:pt x="2300668" y="813181"/>
                      </a:lnTo>
                      <a:lnTo>
                        <a:pt x="2300287" y="811911"/>
                      </a:lnTo>
                      <a:lnTo>
                        <a:pt x="2299728" y="811911"/>
                      </a:lnTo>
                      <a:lnTo>
                        <a:pt x="2294356" y="809371"/>
                      </a:lnTo>
                      <a:lnTo>
                        <a:pt x="2294026" y="810641"/>
                      </a:lnTo>
                      <a:lnTo>
                        <a:pt x="2294051" y="809371"/>
                      </a:lnTo>
                      <a:lnTo>
                        <a:pt x="2292096" y="809371"/>
                      </a:lnTo>
                      <a:lnTo>
                        <a:pt x="2290788" y="808101"/>
                      </a:lnTo>
                      <a:lnTo>
                        <a:pt x="2289225" y="808101"/>
                      </a:lnTo>
                      <a:lnTo>
                        <a:pt x="2287867" y="809371"/>
                      </a:lnTo>
                      <a:lnTo>
                        <a:pt x="2287333" y="809371"/>
                      </a:lnTo>
                      <a:lnTo>
                        <a:pt x="2286622" y="808101"/>
                      </a:lnTo>
                      <a:lnTo>
                        <a:pt x="2283980" y="806831"/>
                      </a:lnTo>
                      <a:lnTo>
                        <a:pt x="2283333" y="806831"/>
                      </a:lnTo>
                      <a:lnTo>
                        <a:pt x="2282469" y="805561"/>
                      </a:lnTo>
                      <a:lnTo>
                        <a:pt x="2281504" y="804291"/>
                      </a:lnTo>
                      <a:lnTo>
                        <a:pt x="2278367" y="801751"/>
                      </a:lnTo>
                      <a:lnTo>
                        <a:pt x="2277186" y="800481"/>
                      </a:lnTo>
                      <a:lnTo>
                        <a:pt x="2275116" y="799211"/>
                      </a:lnTo>
                      <a:lnTo>
                        <a:pt x="2273922" y="799211"/>
                      </a:lnTo>
                      <a:lnTo>
                        <a:pt x="2270061" y="796671"/>
                      </a:lnTo>
                      <a:lnTo>
                        <a:pt x="2269096" y="796671"/>
                      </a:lnTo>
                      <a:lnTo>
                        <a:pt x="2267420" y="795401"/>
                      </a:lnTo>
                      <a:lnTo>
                        <a:pt x="2267331" y="797941"/>
                      </a:lnTo>
                      <a:lnTo>
                        <a:pt x="2265083" y="796671"/>
                      </a:lnTo>
                      <a:lnTo>
                        <a:pt x="2264359" y="795401"/>
                      </a:lnTo>
                      <a:lnTo>
                        <a:pt x="2263025" y="795401"/>
                      </a:lnTo>
                      <a:lnTo>
                        <a:pt x="2263216" y="794131"/>
                      </a:lnTo>
                      <a:lnTo>
                        <a:pt x="2263914" y="791591"/>
                      </a:lnTo>
                      <a:lnTo>
                        <a:pt x="2264245" y="791591"/>
                      </a:lnTo>
                      <a:lnTo>
                        <a:pt x="2264702" y="790321"/>
                      </a:lnTo>
                      <a:lnTo>
                        <a:pt x="2265705" y="789051"/>
                      </a:lnTo>
                      <a:lnTo>
                        <a:pt x="2266188" y="789051"/>
                      </a:lnTo>
                      <a:lnTo>
                        <a:pt x="2266340" y="786511"/>
                      </a:lnTo>
                      <a:lnTo>
                        <a:pt x="2265705" y="785241"/>
                      </a:lnTo>
                      <a:lnTo>
                        <a:pt x="2265984" y="785241"/>
                      </a:lnTo>
                      <a:lnTo>
                        <a:pt x="2267470" y="783971"/>
                      </a:lnTo>
                      <a:lnTo>
                        <a:pt x="2267610" y="782701"/>
                      </a:lnTo>
                      <a:lnTo>
                        <a:pt x="2275370" y="775081"/>
                      </a:lnTo>
                      <a:lnTo>
                        <a:pt x="2275662" y="776351"/>
                      </a:lnTo>
                      <a:lnTo>
                        <a:pt x="2276157" y="776351"/>
                      </a:lnTo>
                      <a:lnTo>
                        <a:pt x="2276805" y="777621"/>
                      </a:lnTo>
                      <a:lnTo>
                        <a:pt x="2277376" y="777621"/>
                      </a:lnTo>
                      <a:lnTo>
                        <a:pt x="2279281" y="776351"/>
                      </a:lnTo>
                      <a:lnTo>
                        <a:pt x="2279891" y="776351"/>
                      </a:lnTo>
                      <a:lnTo>
                        <a:pt x="2281161" y="773811"/>
                      </a:lnTo>
                      <a:lnTo>
                        <a:pt x="2281948" y="772541"/>
                      </a:lnTo>
                      <a:lnTo>
                        <a:pt x="2282380" y="771271"/>
                      </a:lnTo>
                      <a:lnTo>
                        <a:pt x="2286825" y="771271"/>
                      </a:lnTo>
                      <a:lnTo>
                        <a:pt x="2288794" y="772541"/>
                      </a:lnTo>
                      <a:lnTo>
                        <a:pt x="2289670" y="772541"/>
                      </a:lnTo>
                      <a:lnTo>
                        <a:pt x="2290559" y="775081"/>
                      </a:lnTo>
                      <a:lnTo>
                        <a:pt x="2291067" y="776351"/>
                      </a:lnTo>
                      <a:lnTo>
                        <a:pt x="2291969" y="776351"/>
                      </a:lnTo>
                      <a:lnTo>
                        <a:pt x="2292743" y="777621"/>
                      </a:lnTo>
                      <a:lnTo>
                        <a:pt x="2295233" y="777621"/>
                      </a:lnTo>
                      <a:lnTo>
                        <a:pt x="2296757" y="778891"/>
                      </a:lnTo>
                      <a:lnTo>
                        <a:pt x="2297658" y="778891"/>
                      </a:lnTo>
                      <a:lnTo>
                        <a:pt x="2298306" y="780161"/>
                      </a:lnTo>
                      <a:lnTo>
                        <a:pt x="2300224" y="781431"/>
                      </a:lnTo>
                      <a:lnTo>
                        <a:pt x="2301329" y="782701"/>
                      </a:lnTo>
                      <a:lnTo>
                        <a:pt x="2302395" y="782701"/>
                      </a:lnTo>
                      <a:lnTo>
                        <a:pt x="2304465" y="783971"/>
                      </a:lnTo>
                      <a:lnTo>
                        <a:pt x="2307107" y="783971"/>
                      </a:lnTo>
                      <a:lnTo>
                        <a:pt x="2307628" y="785241"/>
                      </a:lnTo>
                      <a:lnTo>
                        <a:pt x="2308491" y="783971"/>
                      </a:lnTo>
                      <a:lnTo>
                        <a:pt x="2307894" y="785241"/>
                      </a:lnTo>
                      <a:lnTo>
                        <a:pt x="2308758" y="786511"/>
                      </a:lnTo>
                      <a:lnTo>
                        <a:pt x="2310396" y="787781"/>
                      </a:lnTo>
                      <a:lnTo>
                        <a:pt x="2312251" y="790321"/>
                      </a:lnTo>
                      <a:lnTo>
                        <a:pt x="2318639" y="790321"/>
                      </a:lnTo>
                      <a:lnTo>
                        <a:pt x="2319223" y="789051"/>
                      </a:lnTo>
                      <a:lnTo>
                        <a:pt x="2319731" y="790321"/>
                      </a:lnTo>
                      <a:lnTo>
                        <a:pt x="2319477" y="790321"/>
                      </a:lnTo>
                      <a:lnTo>
                        <a:pt x="2320036" y="791591"/>
                      </a:lnTo>
                      <a:lnTo>
                        <a:pt x="2320531" y="792861"/>
                      </a:lnTo>
                      <a:lnTo>
                        <a:pt x="2320328" y="794131"/>
                      </a:lnTo>
                      <a:lnTo>
                        <a:pt x="2322906" y="796671"/>
                      </a:lnTo>
                      <a:lnTo>
                        <a:pt x="2327364" y="799211"/>
                      </a:lnTo>
                      <a:lnTo>
                        <a:pt x="2328697" y="799211"/>
                      </a:lnTo>
                      <a:lnTo>
                        <a:pt x="2329523" y="800481"/>
                      </a:lnTo>
                      <a:lnTo>
                        <a:pt x="2333421" y="800481"/>
                      </a:lnTo>
                      <a:lnTo>
                        <a:pt x="2333053" y="801751"/>
                      </a:lnTo>
                      <a:lnTo>
                        <a:pt x="2332761" y="801751"/>
                      </a:lnTo>
                      <a:lnTo>
                        <a:pt x="2333625" y="804291"/>
                      </a:lnTo>
                      <a:lnTo>
                        <a:pt x="2342540" y="804291"/>
                      </a:lnTo>
                      <a:lnTo>
                        <a:pt x="2344077" y="806831"/>
                      </a:lnTo>
                      <a:lnTo>
                        <a:pt x="2347798" y="811911"/>
                      </a:lnTo>
                      <a:lnTo>
                        <a:pt x="2349322" y="808101"/>
                      </a:lnTo>
                      <a:lnTo>
                        <a:pt x="2350071" y="809371"/>
                      </a:lnTo>
                      <a:lnTo>
                        <a:pt x="2355519" y="809371"/>
                      </a:lnTo>
                      <a:lnTo>
                        <a:pt x="2356231" y="808101"/>
                      </a:lnTo>
                      <a:lnTo>
                        <a:pt x="2357767" y="808101"/>
                      </a:lnTo>
                      <a:lnTo>
                        <a:pt x="2359469" y="809371"/>
                      </a:lnTo>
                      <a:lnTo>
                        <a:pt x="2360904" y="809371"/>
                      </a:lnTo>
                      <a:lnTo>
                        <a:pt x="2363787" y="810641"/>
                      </a:lnTo>
                      <a:lnTo>
                        <a:pt x="2365286" y="810641"/>
                      </a:lnTo>
                      <a:lnTo>
                        <a:pt x="2369782" y="811911"/>
                      </a:lnTo>
                      <a:lnTo>
                        <a:pt x="2372537" y="811911"/>
                      </a:lnTo>
                      <a:lnTo>
                        <a:pt x="2375928" y="810641"/>
                      </a:lnTo>
                      <a:lnTo>
                        <a:pt x="2375560" y="813181"/>
                      </a:lnTo>
                      <a:lnTo>
                        <a:pt x="2375128" y="814451"/>
                      </a:lnTo>
                      <a:lnTo>
                        <a:pt x="2374696" y="817003"/>
                      </a:lnTo>
                      <a:lnTo>
                        <a:pt x="2374227" y="819531"/>
                      </a:lnTo>
                      <a:lnTo>
                        <a:pt x="2374214" y="820801"/>
                      </a:lnTo>
                      <a:lnTo>
                        <a:pt x="2374519" y="822071"/>
                      </a:lnTo>
                      <a:lnTo>
                        <a:pt x="2374722" y="823341"/>
                      </a:lnTo>
                      <a:lnTo>
                        <a:pt x="2375090" y="823341"/>
                      </a:lnTo>
                      <a:lnTo>
                        <a:pt x="2375293" y="824611"/>
                      </a:lnTo>
                      <a:lnTo>
                        <a:pt x="2375535" y="824611"/>
                      </a:lnTo>
                      <a:lnTo>
                        <a:pt x="2376538" y="825881"/>
                      </a:lnTo>
                      <a:lnTo>
                        <a:pt x="2376919" y="828421"/>
                      </a:lnTo>
                      <a:lnTo>
                        <a:pt x="2375128" y="832231"/>
                      </a:lnTo>
                      <a:lnTo>
                        <a:pt x="2372855" y="832231"/>
                      </a:lnTo>
                      <a:lnTo>
                        <a:pt x="2370874" y="830961"/>
                      </a:lnTo>
                      <a:lnTo>
                        <a:pt x="2363330" y="830961"/>
                      </a:lnTo>
                      <a:lnTo>
                        <a:pt x="2363025" y="829691"/>
                      </a:lnTo>
                      <a:lnTo>
                        <a:pt x="2362403" y="829691"/>
                      </a:lnTo>
                      <a:lnTo>
                        <a:pt x="2362200" y="828421"/>
                      </a:lnTo>
                      <a:lnTo>
                        <a:pt x="2361463" y="828421"/>
                      </a:lnTo>
                      <a:lnTo>
                        <a:pt x="2360599" y="829691"/>
                      </a:lnTo>
                      <a:lnTo>
                        <a:pt x="2359177" y="829691"/>
                      </a:lnTo>
                      <a:lnTo>
                        <a:pt x="2358110" y="830961"/>
                      </a:lnTo>
                      <a:lnTo>
                        <a:pt x="2357094" y="830961"/>
                      </a:lnTo>
                      <a:lnTo>
                        <a:pt x="2354427" y="829691"/>
                      </a:lnTo>
                      <a:lnTo>
                        <a:pt x="2353475" y="829691"/>
                      </a:lnTo>
                      <a:lnTo>
                        <a:pt x="2352192" y="828421"/>
                      </a:lnTo>
                      <a:lnTo>
                        <a:pt x="2345067" y="828421"/>
                      </a:lnTo>
                      <a:lnTo>
                        <a:pt x="2344420" y="827151"/>
                      </a:lnTo>
                      <a:lnTo>
                        <a:pt x="2343835" y="827151"/>
                      </a:lnTo>
                      <a:lnTo>
                        <a:pt x="2343366" y="825881"/>
                      </a:lnTo>
                      <a:lnTo>
                        <a:pt x="2342718" y="825881"/>
                      </a:lnTo>
                      <a:lnTo>
                        <a:pt x="2342311" y="824611"/>
                      </a:lnTo>
                      <a:lnTo>
                        <a:pt x="2340432" y="824611"/>
                      </a:lnTo>
                      <a:lnTo>
                        <a:pt x="2339429" y="825881"/>
                      </a:lnTo>
                      <a:lnTo>
                        <a:pt x="2337028" y="825881"/>
                      </a:lnTo>
                      <a:lnTo>
                        <a:pt x="2335923" y="824611"/>
                      </a:lnTo>
                      <a:lnTo>
                        <a:pt x="2335149" y="824611"/>
                      </a:lnTo>
                      <a:lnTo>
                        <a:pt x="2333904" y="823341"/>
                      </a:lnTo>
                      <a:lnTo>
                        <a:pt x="2332545" y="823341"/>
                      </a:lnTo>
                      <a:lnTo>
                        <a:pt x="2329599" y="822071"/>
                      </a:lnTo>
                      <a:lnTo>
                        <a:pt x="2328545" y="822071"/>
                      </a:lnTo>
                      <a:lnTo>
                        <a:pt x="2328214" y="820801"/>
                      </a:lnTo>
                      <a:lnTo>
                        <a:pt x="2327999" y="819531"/>
                      </a:lnTo>
                      <a:lnTo>
                        <a:pt x="2327795" y="818261"/>
                      </a:lnTo>
                      <a:lnTo>
                        <a:pt x="2325509" y="815721"/>
                      </a:lnTo>
                      <a:lnTo>
                        <a:pt x="2321953" y="814451"/>
                      </a:lnTo>
                      <a:lnTo>
                        <a:pt x="2317902" y="814451"/>
                      </a:lnTo>
                      <a:lnTo>
                        <a:pt x="2318029" y="815721"/>
                      </a:lnTo>
                      <a:lnTo>
                        <a:pt x="2317877" y="815721"/>
                      </a:lnTo>
                      <a:lnTo>
                        <a:pt x="2318359" y="816991"/>
                      </a:lnTo>
                      <a:lnTo>
                        <a:pt x="2321725" y="816991"/>
                      </a:lnTo>
                      <a:lnTo>
                        <a:pt x="2324570" y="818261"/>
                      </a:lnTo>
                      <a:lnTo>
                        <a:pt x="2325776" y="819531"/>
                      </a:lnTo>
                      <a:lnTo>
                        <a:pt x="2325916" y="819531"/>
                      </a:lnTo>
                      <a:lnTo>
                        <a:pt x="2326157" y="822071"/>
                      </a:lnTo>
                      <a:lnTo>
                        <a:pt x="2326868" y="823341"/>
                      </a:lnTo>
                      <a:lnTo>
                        <a:pt x="2327402" y="823341"/>
                      </a:lnTo>
                      <a:lnTo>
                        <a:pt x="2328392" y="824611"/>
                      </a:lnTo>
                      <a:lnTo>
                        <a:pt x="2331948" y="825881"/>
                      </a:lnTo>
                      <a:lnTo>
                        <a:pt x="2334247" y="825881"/>
                      </a:lnTo>
                      <a:lnTo>
                        <a:pt x="2334641" y="827151"/>
                      </a:lnTo>
                      <a:lnTo>
                        <a:pt x="2335936" y="827151"/>
                      </a:lnTo>
                      <a:lnTo>
                        <a:pt x="2336330" y="828421"/>
                      </a:lnTo>
                      <a:lnTo>
                        <a:pt x="2339073" y="828421"/>
                      </a:lnTo>
                      <a:lnTo>
                        <a:pt x="2340546" y="827151"/>
                      </a:lnTo>
                      <a:lnTo>
                        <a:pt x="2341981" y="827151"/>
                      </a:lnTo>
                      <a:lnTo>
                        <a:pt x="2343035" y="829691"/>
                      </a:lnTo>
                      <a:lnTo>
                        <a:pt x="2343632" y="829691"/>
                      </a:lnTo>
                      <a:lnTo>
                        <a:pt x="2343924" y="830961"/>
                      </a:lnTo>
                      <a:lnTo>
                        <a:pt x="2353132" y="830961"/>
                      </a:lnTo>
                      <a:lnTo>
                        <a:pt x="2355469" y="832231"/>
                      </a:lnTo>
                      <a:lnTo>
                        <a:pt x="2356116" y="832231"/>
                      </a:lnTo>
                      <a:lnTo>
                        <a:pt x="2356523" y="833501"/>
                      </a:lnTo>
                      <a:lnTo>
                        <a:pt x="2357678" y="833501"/>
                      </a:lnTo>
                      <a:lnTo>
                        <a:pt x="2358123" y="832231"/>
                      </a:lnTo>
                      <a:lnTo>
                        <a:pt x="2359558" y="832231"/>
                      </a:lnTo>
                      <a:lnTo>
                        <a:pt x="2361247" y="830961"/>
                      </a:lnTo>
                      <a:lnTo>
                        <a:pt x="2361336" y="832231"/>
                      </a:lnTo>
                      <a:lnTo>
                        <a:pt x="2362009" y="832231"/>
                      </a:lnTo>
                      <a:lnTo>
                        <a:pt x="2362809" y="833501"/>
                      </a:lnTo>
                      <a:lnTo>
                        <a:pt x="2376817" y="833501"/>
                      </a:lnTo>
                      <a:lnTo>
                        <a:pt x="2378748" y="829691"/>
                      </a:lnTo>
                      <a:lnTo>
                        <a:pt x="2378849" y="828421"/>
                      </a:lnTo>
                      <a:lnTo>
                        <a:pt x="2378824" y="825881"/>
                      </a:lnTo>
                      <a:lnTo>
                        <a:pt x="2377440" y="823341"/>
                      </a:lnTo>
                      <a:lnTo>
                        <a:pt x="2377211" y="823341"/>
                      </a:lnTo>
                      <a:lnTo>
                        <a:pt x="2376678" y="822071"/>
                      </a:lnTo>
                      <a:lnTo>
                        <a:pt x="2376551" y="822071"/>
                      </a:lnTo>
                      <a:lnTo>
                        <a:pt x="2376335" y="820801"/>
                      </a:lnTo>
                      <a:lnTo>
                        <a:pt x="2376360" y="819531"/>
                      </a:lnTo>
                      <a:lnTo>
                        <a:pt x="2376779" y="816991"/>
                      </a:lnTo>
                      <a:lnTo>
                        <a:pt x="2378176" y="810641"/>
                      </a:lnTo>
                      <a:lnTo>
                        <a:pt x="2378710" y="810641"/>
                      </a:lnTo>
                      <a:lnTo>
                        <a:pt x="2382266" y="808101"/>
                      </a:lnTo>
                      <a:lnTo>
                        <a:pt x="2383332" y="808101"/>
                      </a:lnTo>
                      <a:lnTo>
                        <a:pt x="2384298" y="806831"/>
                      </a:lnTo>
                      <a:lnTo>
                        <a:pt x="2385034" y="808101"/>
                      </a:lnTo>
                      <a:lnTo>
                        <a:pt x="2386507" y="808101"/>
                      </a:lnTo>
                      <a:lnTo>
                        <a:pt x="2386711" y="809371"/>
                      </a:lnTo>
                      <a:lnTo>
                        <a:pt x="2386863" y="810641"/>
                      </a:lnTo>
                      <a:lnTo>
                        <a:pt x="2386622" y="811911"/>
                      </a:lnTo>
                      <a:lnTo>
                        <a:pt x="2386330" y="813181"/>
                      </a:lnTo>
                      <a:lnTo>
                        <a:pt x="2386076" y="813181"/>
                      </a:lnTo>
                      <a:lnTo>
                        <a:pt x="2385822" y="814451"/>
                      </a:lnTo>
                      <a:lnTo>
                        <a:pt x="2385555" y="814451"/>
                      </a:lnTo>
                      <a:lnTo>
                        <a:pt x="2385580" y="815721"/>
                      </a:lnTo>
                      <a:lnTo>
                        <a:pt x="2385847" y="817003"/>
                      </a:lnTo>
                      <a:lnTo>
                        <a:pt x="2386723" y="818261"/>
                      </a:lnTo>
                      <a:lnTo>
                        <a:pt x="2387054" y="818261"/>
                      </a:lnTo>
                      <a:lnTo>
                        <a:pt x="2385923" y="819531"/>
                      </a:lnTo>
                      <a:lnTo>
                        <a:pt x="2384285" y="820801"/>
                      </a:lnTo>
                      <a:lnTo>
                        <a:pt x="2386101" y="822071"/>
                      </a:lnTo>
                      <a:lnTo>
                        <a:pt x="2386292" y="822071"/>
                      </a:lnTo>
                      <a:lnTo>
                        <a:pt x="2387003" y="823341"/>
                      </a:lnTo>
                      <a:lnTo>
                        <a:pt x="2387879" y="824611"/>
                      </a:lnTo>
                      <a:lnTo>
                        <a:pt x="2388628" y="824611"/>
                      </a:lnTo>
                      <a:lnTo>
                        <a:pt x="2389111" y="825881"/>
                      </a:lnTo>
                      <a:lnTo>
                        <a:pt x="2390190" y="825881"/>
                      </a:lnTo>
                      <a:lnTo>
                        <a:pt x="2390762" y="827151"/>
                      </a:lnTo>
                      <a:lnTo>
                        <a:pt x="2396883" y="827151"/>
                      </a:lnTo>
                      <a:lnTo>
                        <a:pt x="2398852" y="828421"/>
                      </a:lnTo>
                      <a:lnTo>
                        <a:pt x="2399030" y="828421"/>
                      </a:lnTo>
                      <a:lnTo>
                        <a:pt x="2399373" y="827151"/>
                      </a:lnTo>
                      <a:lnTo>
                        <a:pt x="2399284" y="828421"/>
                      </a:lnTo>
                      <a:lnTo>
                        <a:pt x="2405418" y="828421"/>
                      </a:lnTo>
                      <a:lnTo>
                        <a:pt x="2406916" y="827151"/>
                      </a:lnTo>
                      <a:lnTo>
                        <a:pt x="2407793" y="827151"/>
                      </a:lnTo>
                      <a:lnTo>
                        <a:pt x="2408263" y="825881"/>
                      </a:lnTo>
                      <a:lnTo>
                        <a:pt x="2409787" y="825881"/>
                      </a:lnTo>
                      <a:lnTo>
                        <a:pt x="2410231" y="827151"/>
                      </a:lnTo>
                      <a:lnTo>
                        <a:pt x="2415425" y="827151"/>
                      </a:lnTo>
                      <a:lnTo>
                        <a:pt x="2415806" y="828421"/>
                      </a:lnTo>
                      <a:lnTo>
                        <a:pt x="2417991" y="827151"/>
                      </a:lnTo>
                      <a:lnTo>
                        <a:pt x="2433523" y="827151"/>
                      </a:lnTo>
                      <a:lnTo>
                        <a:pt x="2434196" y="825881"/>
                      </a:lnTo>
                      <a:lnTo>
                        <a:pt x="2435326" y="824611"/>
                      </a:lnTo>
                      <a:lnTo>
                        <a:pt x="2435504" y="823341"/>
                      </a:lnTo>
                      <a:lnTo>
                        <a:pt x="2433967" y="822071"/>
                      </a:lnTo>
                      <a:lnTo>
                        <a:pt x="2433942" y="820801"/>
                      </a:lnTo>
                      <a:lnTo>
                        <a:pt x="2435098" y="819531"/>
                      </a:lnTo>
                      <a:lnTo>
                        <a:pt x="2434526" y="818261"/>
                      </a:lnTo>
                      <a:lnTo>
                        <a:pt x="2434272" y="816991"/>
                      </a:lnTo>
                      <a:lnTo>
                        <a:pt x="2433726" y="816991"/>
                      </a:lnTo>
                      <a:lnTo>
                        <a:pt x="2433193" y="815721"/>
                      </a:lnTo>
                      <a:lnTo>
                        <a:pt x="2433167" y="824611"/>
                      </a:lnTo>
                      <a:lnTo>
                        <a:pt x="2422715" y="824611"/>
                      </a:lnTo>
                      <a:lnTo>
                        <a:pt x="2420353" y="825881"/>
                      </a:lnTo>
                      <a:lnTo>
                        <a:pt x="2412962" y="825881"/>
                      </a:lnTo>
                      <a:lnTo>
                        <a:pt x="2411679" y="824611"/>
                      </a:lnTo>
                      <a:lnTo>
                        <a:pt x="2410879" y="824611"/>
                      </a:lnTo>
                      <a:lnTo>
                        <a:pt x="2410002" y="823341"/>
                      </a:lnTo>
                      <a:lnTo>
                        <a:pt x="2409228" y="823341"/>
                      </a:lnTo>
                      <a:lnTo>
                        <a:pt x="2407831" y="824611"/>
                      </a:lnTo>
                      <a:lnTo>
                        <a:pt x="2406637" y="824611"/>
                      </a:lnTo>
                      <a:lnTo>
                        <a:pt x="2404668" y="825881"/>
                      </a:lnTo>
                      <a:lnTo>
                        <a:pt x="2403043" y="827151"/>
                      </a:lnTo>
                      <a:lnTo>
                        <a:pt x="2400592" y="827151"/>
                      </a:lnTo>
                      <a:lnTo>
                        <a:pt x="2398979" y="825881"/>
                      </a:lnTo>
                      <a:lnTo>
                        <a:pt x="2397607" y="825881"/>
                      </a:lnTo>
                      <a:lnTo>
                        <a:pt x="2396274" y="824611"/>
                      </a:lnTo>
                      <a:lnTo>
                        <a:pt x="2390825" y="824611"/>
                      </a:lnTo>
                      <a:lnTo>
                        <a:pt x="2389784" y="823341"/>
                      </a:lnTo>
                      <a:lnTo>
                        <a:pt x="2388628" y="822071"/>
                      </a:lnTo>
                      <a:lnTo>
                        <a:pt x="2387841" y="820801"/>
                      </a:lnTo>
                      <a:lnTo>
                        <a:pt x="2388730" y="819531"/>
                      </a:lnTo>
                      <a:lnTo>
                        <a:pt x="2389276" y="819531"/>
                      </a:lnTo>
                      <a:lnTo>
                        <a:pt x="2389784" y="818261"/>
                      </a:lnTo>
                      <a:lnTo>
                        <a:pt x="2390216" y="816991"/>
                      </a:lnTo>
                      <a:lnTo>
                        <a:pt x="2390851" y="815721"/>
                      </a:lnTo>
                      <a:lnTo>
                        <a:pt x="2391486" y="815721"/>
                      </a:lnTo>
                      <a:lnTo>
                        <a:pt x="2392007" y="814451"/>
                      </a:lnTo>
                      <a:lnTo>
                        <a:pt x="2392553" y="814451"/>
                      </a:lnTo>
                      <a:lnTo>
                        <a:pt x="2393899" y="811911"/>
                      </a:lnTo>
                      <a:lnTo>
                        <a:pt x="2397379" y="808101"/>
                      </a:lnTo>
                      <a:lnTo>
                        <a:pt x="2399055" y="806831"/>
                      </a:lnTo>
                      <a:lnTo>
                        <a:pt x="2401328" y="805561"/>
                      </a:lnTo>
                      <a:lnTo>
                        <a:pt x="2405583" y="804291"/>
                      </a:lnTo>
                      <a:lnTo>
                        <a:pt x="2408453" y="804291"/>
                      </a:lnTo>
                      <a:lnTo>
                        <a:pt x="2408631" y="805561"/>
                      </a:lnTo>
                      <a:lnTo>
                        <a:pt x="2408923" y="806831"/>
                      </a:lnTo>
                      <a:lnTo>
                        <a:pt x="2409926" y="808101"/>
                      </a:lnTo>
                      <a:lnTo>
                        <a:pt x="2416098" y="808101"/>
                      </a:lnTo>
                      <a:lnTo>
                        <a:pt x="2416937" y="809371"/>
                      </a:lnTo>
                      <a:lnTo>
                        <a:pt x="2419464" y="809371"/>
                      </a:lnTo>
                      <a:lnTo>
                        <a:pt x="2421420" y="808101"/>
                      </a:lnTo>
                      <a:lnTo>
                        <a:pt x="2424671" y="808101"/>
                      </a:lnTo>
                      <a:lnTo>
                        <a:pt x="2425763" y="809371"/>
                      </a:lnTo>
                      <a:lnTo>
                        <a:pt x="2426932" y="809371"/>
                      </a:lnTo>
                      <a:lnTo>
                        <a:pt x="2427008" y="810641"/>
                      </a:lnTo>
                      <a:lnTo>
                        <a:pt x="2426728" y="810641"/>
                      </a:lnTo>
                      <a:lnTo>
                        <a:pt x="2426665" y="811911"/>
                      </a:lnTo>
                      <a:lnTo>
                        <a:pt x="2426106" y="811911"/>
                      </a:lnTo>
                      <a:lnTo>
                        <a:pt x="2425928" y="813181"/>
                      </a:lnTo>
                      <a:lnTo>
                        <a:pt x="2425916" y="814451"/>
                      </a:lnTo>
                      <a:lnTo>
                        <a:pt x="2426093" y="814451"/>
                      </a:lnTo>
                      <a:lnTo>
                        <a:pt x="2426182" y="815721"/>
                      </a:lnTo>
                      <a:lnTo>
                        <a:pt x="2427198" y="815721"/>
                      </a:lnTo>
                      <a:lnTo>
                        <a:pt x="2427401" y="816991"/>
                      </a:lnTo>
                      <a:lnTo>
                        <a:pt x="2428367" y="816991"/>
                      </a:lnTo>
                      <a:lnTo>
                        <a:pt x="2429700" y="818261"/>
                      </a:lnTo>
                      <a:lnTo>
                        <a:pt x="2432570" y="818261"/>
                      </a:lnTo>
                      <a:lnTo>
                        <a:pt x="2432710" y="819531"/>
                      </a:lnTo>
                      <a:lnTo>
                        <a:pt x="2431885" y="819531"/>
                      </a:lnTo>
                      <a:lnTo>
                        <a:pt x="2431669" y="820801"/>
                      </a:lnTo>
                      <a:lnTo>
                        <a:pt x="2431707" y="822071"/>
                      </a:lnTo>
                      <a:lnTo>
                        <a:pt x="2432037" y="823341"/>
                      </a:lnTo>
                      <a:lnTo>
                        <a:pt x="2433167" y="824611"/>
                      </a:lnTo>
                      <a:lnTo>
                        <a:pt x="2433167" y="815721"/>
                      </a:lnTo>
                      <a:lnTo>
                        <a:pt x="2429040" y="815721"/>
                      </a:lnTo>
                      <a:lnTo>
                        <a:pt x="2428468" y="814451"/>
                      </a:lnTo>
                      <a:lnTo>
                        <a:pt x="2428113" y="814451"/>
                      </a:lnTo>
                      <a:lnTo>
                        <a:pt x="2428011" y="813181"/>
                      </a:lnTo>
                      <a:lnTo>
                        <a:pt x="2428862" y="813181"/>
                      </a:lnTo>
                      <a:lnTo>
                        <a:pt x="2429205" y="811911"/>
                      </a:lnTo>
                      <a:lnTo>
                        <a:pt x="2439454" y="811911"/>
                      </a:lnTo>
                      <a:lnTo>
                        <a:pt x="2440533" y="810641"/>
                      </a:lnTo>
                      <a:lnTo>
                        <a:pt x="2441613" y="810641"/>
                      </a:lnTo>
                      <a:lnTo>
                        <a:pt x="2442705" y="809371"/>
                      </a:lnTo>
                      <a:lnTo>
                        <a:pt x="2443454" y="809371"/>
                      </a:lnTo>
                      <a:lnTo>
                        <a:pt x="2443797" y="808101"/>
                      </a:lnTo>
                      <a:lnTo>
                        <a:pt x="2443962" y="808101"/>
                      </a:lnTo>
                      <a:lnTo>
                        <a:pt x="2443784" y="806831"/>
                      </a:lnTo>
                      <a:lnTo>
                        <a:pt x="2443784" y="805561"/>
                      </a:lnTo>
                      <a:lnTo>
                        <a:pt x="2444800" y="805561"/>
                      </a:lnTo>
                      <a:lnTo>
                        <a:pt x="2447150" y="804291"/>
                      </a:lnTo>
                      <a:lnTo>
                        <a:pt x="2447747" y="804291"/>
                      </a:lnTo>
                      <a:lnTo>
                        <a:pt x="2448407" y="803021"/>
                      </a:lnTo>
                      <a:lnTo>
                        <a:pt x="2449131" y="803021"/>
                      </a:lnTo>
                      <a:lnTo>
                        <a:pt x="2449652" y="801751"/>
                      </a:lnTo>
                      <a:lnTo>
                        <a:pt x="2449830" y="801751"/>
                      </a:lnTo>
                      <a:lnTo>
                        <a:pt x="2450503" y="800481"/>
                      </a:lnTo>
                      <a:lnTo>
                        <a:pt x="2450947" y="799211"/>
                      </a:lnTo>
                      <a:lnTo>
                        <a:pt x="2452941" y="799211"/>
                      </a:lnTo>
                      <a:lnTo>
                        <a:pt x="2454706" y="797941"/>
                      </a:lnTo>
                      <a:lnTo>
                        <a:pt x="2457488" y="797941"/>
                      </a:lnTo>
                      <a:lnTo>
                        <a:pt x="2459786" y="796671"/>
                      </a:lnTo>
                      <a:lnTo>
                        <a:pt x="2461374" y="796671"/>
                      </a:lnTo>
                      <a:lnTo>
                        <a:pt x="2464333" y="792861"/>
                      </a:lnTo>
                      <a:lnTo>
                        <a:pt x="2464549" y="792861"/>
                      </a:lnTo>
                      <a:lnTo>
                        <a:pt x="2465552" y="791591"/>
                      </a:lnTo>
                      <a:lnTo>
                        <a:pt x="2466733" y="791591"/>
                      </a:lnTo>
                      <a:lnTo>
                        <a:pt x="2468943" y="790321"/>
                      </a:lnTo>
                      <a:lnTo>
                        <a:pt x="2470061" y="789051"/>
                      </a:lnTo>
                      <a:lnTo>
                        <a:pt x="2471509" y="789051"/>
                      </a:lnTo>
                      <a:lnTo>
                        <a:pt x="2472055" y="790321"/>
                      </a:lnTo>
                      <a:lnTo>
                        <a:pt x="2473934" y="790321"/>
                      </a:lnTo>
                      <a:lnTo>
                        <a:pt x="2475331" y="791591"/>
                      </a:lnTo>
                      <a:lnTo>
                        <a:pt x="2476677" y="791591"/>
                      </a:lnTo>
                      <a:lnTo>
                        <a:pt x="2478684" y="792861"/>
                      </a:lnTo>
                      <a:lnTo>
                        <a:pt x="2482558" y="792861"/>
                      </a:lnTo>
                      <a:lnTo>
                        <a:pt x="2482951" y="791591"/>
                      </a:lnTo>
                      <a:lnTo>
                        <a:pt x="2489631" y="786511"/>
                      </a:lnTo>
                      <a:lnTo>
                        <a:pt x="2490901" y="786511"/>
                      </a:lnTo>
                      <a:lnTo>
                        <a:pt x="2491600" y="787781"/>
                      </a:lnTo>
                      <a:lnTo>
                        <a:pt x="2492565" y="787781"/>
                      </a:lnTo>
                      <a:lnTo>
                        <a:pt x="2494000" y="789051"/>
                      </a:lnTo>
                      <a:lnTo>
                        <a:pt x="2492781" y="789051"/>
                      </a:lnTo>
                      <a:lnTo>
                        <a:pt x="2491587" y="790321"/>
                      </a:lnTo>
                      <a:lnTo>
                        <a:pt x="2489111" y="790321"/>
                      </a:lnTo>
                      <a:lnTo>
                        <a:pt x="2491333" y="792861"/>
                      </a:lnTo>
                      <a:lnTo>
                        <a:pt x="2491498" y="792861"/>
                      </a:lnTo>
                      <a:lnTo>
                        <a:pt x="2491498" y="796671"/>
                      </a:lnTo>
                      <a:lnTo>
                        <a:pt x="2493988" y="794131"/>
                      </a:lnTo>
                      <a:lnTo>
                        <a:pt x="2494877" y="794131"/>
                      </a:lnTo>
                      <a:lnTo>
                        <a:pt x="2495956" y="792861"/>
                      </a:lnTo>
                      <a:lnTo>
                        <a:pt x="2496515" y="794131"/>
                      </a:lnTo>
                      <a:lnTo>
                        <a:pt x="2497582" y="795401"/>
                      </a:lnTo>
                      <a:lnTo>
                        <a:pt x="2496401" y="796671"/>
                      </a:lnTo>
                      <a:lnTo>
                        <a:pt x="2495092" y="797941"/>
                      </a:lnTo>
                      <a:lnTo>
                        <a:pt x="2495245" y="797941"/>
                      </a:lnTo>
                      <a:lnTo>
                        <a:pt x="2494305" y="799211"/>
                      </a:lnTo>
                      <a:lnTo>
                        <a:pt x="2493988" y="799211"/>
                      </a:lnTo>
                      <a:lnTo>
                        <a:pt x="2493734" y="800481"/>
                      </a:lnTo>
                      <a:lnTo>
                        <a:pt x="2493492" y="800481"/>
                      </a:lnTo>
                      <a:lnTo>
                        <a:pt x="2493391" y="801751"/>
                      </a:lnTo>
                      <a:lnTo>
                        <a:pt x="2493365" y="803021"/>
                      </a:lnTo>
                      <a:lnTo>
                        <a:pt x="2497594" y="803021"/>
                      </a:lnTo>
                      <a:lnTo>
                        <a:pt x="2497798" y="801751"/>
                      </a:lnTo>
                      <a:lnTo>
                        <a:pt x="2498191" y="803021"/>
                      </a:lnTo>
                      <a:lnTo>
                        <a:pt x="2505672" y="803021"/>
                      </a:lnTo>
                      <a:lnTo>
                        <a:pt x="2506154" y="804291"/>
                      </a:lnTo>
                      <a:lnTo>
                        <a:pt x="2506713" y="804291"/>
                      </a:lnTo>
                      <a:lnTo>
                        <a:pt x="2507665" y="805561"/>
                      </a:lnTo>
                      <a:lnTo>
                        <a:pt x="2507945" y="805561"/>
                      </a:lnTo>
                      <a:lnTo>
                        <a:pt x="2508643" y="808101"/>
                      </a:lnTo>
                      <a:lnTo>
                        <a:pt x="2508186" y="808101"/>
                      </a:lnTo>
                      <a:lnTo>
                        <a:pt x="2505329" y="810641"/>
                      </a:lnTo>
                      <a:lnTo>
                        <a:pt x="2501582" y="813181"/>
                      </a:lnTo>
                      <a:lnTo>
                        <a:pt x="2501557" y="814451"/>
                      </a:lnTo>
                      <a:lnTo>
                        <a:pt x="2502585" y="816991"/>
                      </a:lnTo>
                      <a:lnTo>
                        <a:pt x="2502814" y="816991"/>
                      </a:lnTo>
                      <a:lnTo>
                        <a:pt x="2502395" y="818261"/>
                      </a:lnTo>
                      <a:lnTo>
                        <a:pt x="2499652" y="815721"/>
                      </a:lnTo>
                      <a:lnTo>
                        <a:pt x="2495118" y="818261"/>
                      </a:lnTo>
                      <a:lnTo>
                        <a:pt x="2489073" y="820801"/>
                      </a:lnTo>
                      <a:lnTo>
                        <a:pt x="2486228" y="822071"/>
                      </a:lnTo>
                      <a:lnTo>
                        <a:pt x="2481618" y="825881"/>
                      </a:lnTo>
                      <a:lnTo>
                        <a:pt x="2475712" y="828421"/>
                      </a:lnTo>
                      <a:lnTo>
                        <a:pt x="2475979" y="832231"/>
                      </a:lnTo>
                      <a:lnTo>
                        <a:pt x="2477058" y="837311"/>
                      </a:lnTo>
                      <a:lnTo>
                        <a:pt x="2474963" y="841121"/>
                      </a:lnTo>
                      <a:lnTo>
                        <a:pt x="2474963" y="842391"/>
                      </a:lnTo>
                      <a:lnTo>
                        <a:pt x="2474595" y="843661"/>
                      </a:lnTo>
                      <a:lnTo>
                        <a:pt x="2473261" y="843661"/>
                      </a:lnTo>
                      <a:lnTo>
                        <a:pt x="2468981" y="846201"/>
                      </a:lnTo>
                      <a:lnTo>
                        <a:pt x="2468727" y="847471"/>
                      </a:lnTo>
                      <a:lnTo>
                        <a:pt x="2470061" y="851281"/>
                      </a:lnTo>
                      <a:lnTo>
                        <a:pt x="2471166" y="853821"/>
                      </a:lnTo>
                      <a:lnTo>
                        <a:pt x="2469159" y="857631"/>
                      </a:lnTo>
                      <a:lnTo>
                        <a:pt x="2465463" y="862711"/>
                      </a:lnTo>
                      <a:lnTo>
                        <a:pt x="2464320" y="866521"/>
                      </a:lnTo>
                      <a:lnTo>
                        <a:pt x="2464028" y="866521"/>
                      </a:lnTo>
                      <a:lnTo>
                        <a:pt x="2462733" y="867791"/>
                      </a:lnTo>
                      <a:lnTo>
                        <a:pt x="2461323" y="869061"/>
                      </a:lnTo>
                      <a:lnTo>
                        <a:pt x="2457513" y="867791"/>
                      </a:lnTo>
                      <a:lnTo>
                        <a:pt x="2450414" y="867791"/>
                      </a:lnTo>
                      <a:lnTo>
                        <a:pt x="2450731" y="870331"/>
                      </a:lnTo>
                      <a:lnTo>
                        <a:pt x="2452205" y="874141"/>
                      </a:lnTo>
                      <a:lnTo>
                        <a:pt x="2451989" y="877951"/>
                      </a:lnTo>
                      <a:lnTo>
                        <a:pt x="2451265" y="881761"/>
                      </a:lnTo>
                      <a:lnTo>
                        <a:pt x="2453436" y="881761"/>
                      </a:lnTo>
                      <a:lnTo>
                        <a:pt x="2453665" y="880491"/>
                      </a:lnTo>
                      <a:lnTo>
                        <a:pt x="2454656" y="874141"/>
                      </a:lnTo>
                      <a:lnTo>
                        <a:pt x="2453322" y="871601"/>
                      </a:lnTo>
                      <a:lnTo>
                        <a:pt x="2452967" y="870331"/>
                      </a:lnTo>
                      <a:lnTo>
                        <a:pt x="2458707" y="870331"/>
                      </a:lnTo>
                      <a:lnTo>
                        <a:pt x="2461793" y="871601"/>
                      </a:lnTo>
                      <a:lnTo>
                        <a:pt x="2463139" y="870331"/>
                      </a:lnTo>
                      <a:lnTo>
                        <a:pt x="2464485" y="869061"/>
                      </a:lnTo>
                      <a:lnTo>
                        <a:pt x="2465743" y="867791"/>
                      </a:lnTo>
                      <a:lnTo>
                        <a:pt x="2465997" y="867791"/>
                      </a:lnTo>
                      <a:lnTo>
                        <a:pt x="2467127" y="863981"/>
                      </a:lnTo>
                      <a:lnTo>
                        <a:pt x="2472131" y="856361"/>
                      </a:lnTo>
                      <a:lnTo>
                        <a:pt x="2473185" y="852551"/>
                      </a:lnTo>
                      <a:lnTo>
                        <a:pt x="2471991" y="850011"/>
                      </a:lnTo>
                      <a:lnTo>
                        <a:pt x="2471051" y="847471"/>
                      </a:lnTo>
                      <a:lnTo>
                        <a:pt x="2474455" y="846201"/>
                      </a:lnTo>
                      <a:lnTo>
                        <a:pt x="2476385" y="844931"/>
                      </a:lnTo>
                      <a:lnTo>
                        <a:pt x="2477084" y="842391"/>
                      </a:lnTo>
                      <a:lnTo>
                        <a:pt x="2477084" y="841121"/>
                      </a:lnTo>
                      <a:lnTo>
                        <a:pt x="2478633" y="839851"/>
                      </a:lnTo>
                      <a:lnTo>
                        <a:pt x="2478786" y="838581"/>
                      </a:lnTo>
                      <a:lnTo>
                        <a:pt x="2479103" y="837311"/>
                      </a:lnTo>
                      <a:lnTo>
                        <a:pt x="2478087" y="832231"/>
                      </a:lnTo>
                      <a:lnTo>
                        <a:pt x="2477947" y="830961"/>
                      </a:lnTo>
                      <a:lnTo>
                        <a:pt x="2478455" y="829691"/>
                      </a:lnTo>
                      <a:lnTo>
                        <a:pt x="2482748" y="828421"/>
                      </a:lnTo>
                      <a:lnTo>
                        <a:pt x="2487345" y="824611"/>
                      </a:lnTo>
                      <a:lnTo>
                        <a:pt x="2490000" y="823341"/>
                      </a:lnTo>
                      <a:lnTo>
                        <a:pt x="2496477" y="819531"/>
                      </a:lnTo>
                      <a:lnTo>
                        <a:pt x="2499677" y="818261"/>
                      </a:lnTo>
                      <a:lnTo>
                        <a:pt x="2501163" y="819531"/>
                      </a:lnTo>
                      <a:lnTo>
                        <a:pt x="2501709" y="822071"/>
                      </a:lnTo>
                      <a:lnTo>
                        <a:pt x="2505278" y="816991"/>
                      </a:lnTo>
                      <a:lnTo>
                        <a:pt x="2504338" y="815721"/>
                      </a:lnTo>
                      <a:lnTo>
                        <a:pt x="2503754" y="814451"/>
                      </a:lnTo>
                      <a:lnTo>
                        <a:pt x="2504503" y="813181"/>
                      </a:lnTo>
                      <a:lnTo>
                        <a:pt x="2506535" y="811911"/>
                      </a:lnTo>
                      <a:lnTo>
                        <a:pt x="2511044" y="809371"/>
                      </a:lnTo>
                      <a:lnTo>
                        <a:pt x="2510078" y="804291"/>
                      </a:lnTo>
                      <a:lnTo>
                        <a:pt x="2510663" y="804291"/>
                      </a:lnTo>
                      <a:lnTo>
                        <a:pt x="2511793" y="801751"/>
                      </a:lnTo>
                      <a:lnTo>
                        <a:pt x="2512555" y="800481"/>
                      </a:lnTo>
                      <a:lnTo>
                        <a:pt x="2513634" y="800481"/>
                      </a:lnTo>
                      <a:lnTo>
                        <a:pt x="2513685" y="801751"/>
                      </a:lnTo>
                      <a:lnTo>
                        <a:pt x="2514523" y="801751"/>
                      </a:lnTo>
                      <a:lnTo>
                        <a:pt x="2515019" y="803021"/>
                      </a:lnTo>
                      <a:lnTo>
                        <a:pt x="2517038" y="803021"/>
                      </a:lnTo>
                      <a:lnTo>
                        <a:pt x="2517495" y="804291"/>
                      </a:lnTo>
                      <a:lnTo>
                        <a:pt x="2517889" y="804291"/>
                      </a:lnTo>
                      <a:lnTo>
                        <a:pt x="2519616" y="806831"/>
                      </a:lnTo>
                      <a:lnTo>
                        <a:pt x="2520696" y="811911"/>
                      </a:lnTo>
                      <a:lnTo>
                        <a:pt x="2521432" y="813181"/>
                      </a:lnTo>
                      <a:lnTo>
                        <a:pt x="2522118" y="813181"/>
                      </a:lnTo>
                      <a:lnTo>
                        <a:pt x="2523058" y="814451"/>
                      </a:lnTo>
                      <a:lnTo>
                        <a:pt x="2527617" y="814451"/>
                      </a:lnTo>
                      <a:lnTo>
                        <a:pt x="2527757" y="815721"/>
                      </a:lnTo>
                      <a:lnTo>
                        <a:pt x="2528316" y="817003"/>
                      </a:lnTo>
                      <a:lnTo>
                        <a:pt x="2528443" y="824611"/>
                      </a:lnTo>
                      <a:lnTo>
                        <a:pt x="2528620" y="827151"/>
                      </a:lnTo>
                      <a:lnTo>
                        <a:pt x="2528735" y="828421"/>
                      </a:lnTo>
                      <a:lnTo>
                        <a:pt x="2528252" y="830961"/>
                      </a:lnTo>
                      <a:lnTo>
                        <a:pt x="2527808" y="832231"/>
                      </a:lnTo>
                      <a:lnTo>
                        <a:pt x="2526792" y="834771"/>
                      </a:lnTo>
                      <a:lnTo>
                        <a:pt x="2526588" y="836041"/>
                      </a:lnTo>
                      <a:lnTo>
                        <a:pt x="2526207" y="836041"/>
                      </a:lnTo>
                      <a:lnTo>
                        <a:pt x="2526093" y="838581"/>
                      </a:lnTo>
                      <a:lnTo>
                        <a:pt x="2526500" y="838581"/>
                      </a:lnTo>
                      <a:lnTo>
                        <a:pt x="2526715" y="839851"/>
                      </a:lnTo>
                      <a:lnTo>
                        <a:pt x="2526969" y="839851"/>
                      </a:lnTo>
                      <a:lnTo>
                        <a:pt x="2527173" y="841121"/>
                      </a:lnTo>
                      <a:lnTo>
                        <a:pt x="2526309" y="841121"/>
                      </a:lnTo>
                      <a:lnTo>
                        <a:pt x="2523845" y="843661"/>
                      </a:lnTo>
                      <a:lnTo>
                        <a:pt x="2522931" y="844931"/>
                      </a:lnTo>
                      <a:lnTo>
                        <a:pt x="2521153" y="843661"/>
                      </a:lnTo>
                      <a:lnTo>
                        <a:pt x="2519857" y="844931"/>
                      </a:lnTo>
                      <a:lnTo>
                        <a:pt x="2519591" y="844931"/>
                      </a:lnTo>
                      <a:lnTo>
                        <a:pt x="2519172" y="847471"/>
                      </a:lnTo>
                      <a:lnTo>
                        <a:pt x="2518892" y="847471"/>
                      </a:lnTo>
                      <a:lnTo>
                        <a:pt x="2516975" y="848741"/>
                      </a:lnTo>
                      <a:lnTo>
                        <a:pt x="2516467" y="848741"/>
                      </a:lnTo>
                      <a:lnTo>
                        <a:pt x="2515082" y="850011"/>
                      </a:lnTo>
                      <a:lnTo>
                        <a:pt x="2514904" y="850011"/>
                      </a:lnTo>
                      <a:lnTo>
                        <a:pt x="2514422" y="852551"/>
                      </a:lnTo>
                      <a:lnTo>
                        <a:pt x="2514422" y="856361"/>
                      </a:lnTo>
                      <a:lnTo>
                        <a:pt x="2513088" y="856361"/>
                      </a:lnTo>
                      <a:lnTo>
                        <a:pt x="2510840" y="857631"/>
                      </a:lnTo>
                      <a:lnTo>
                        <a:pt x="2510802" y="861441"/>
                      </a:lnTo>
                      <a:lnTo>
                        <a:pt x="2511056" y="862711"/>
                      </a:lnTo>
                      <a:lnTo>
                        <a:pt x="2511564" y="862711"/>
                      </a:lnTo>
                      <a:lnTo>
                        <a:pt x="2512022" y="863981"/>
                      </a:lnTo>
                      <a:lnTo>
                        <a:pt x="2513012" y="863981"/>
                      </a:lnTo>
                      <a:lnTo>
                        <a:pt x="2513380" y="865251"/>
                      </a:lnTo>
                      <a:lnTo>
                        <a:pt x="2513025" y="866521"/>
                      </a:lnTo>
                      <a:lnTo>
                        <a:pt x="2511856" y="867791"/>
                      </a:lnTo>
                      <a:lnTo>
                        <a:pt x="2511577" y="869061"/>
                      </a:lnTo>
                      <a:lnTo>
                        <a:pt x="2511310" y="869061"/>
                      </a:lnTo>
                      <a:lnTo>
                        <a:pt x="2510929" y="870331"/>
                      </a:lnTo>
                      <a:lnTo>
                        <a:pt x="2512644" y="871601"/>
                      </a:lnTo>
                      <a:lnTo>
                        <a:pt x="2514562" y="872871"/>
                      </a:lnTo>
                      <a:lnTo>
                        <a:pt x="2516619" y="871601"/>
                      </a:lnTo>
                      <a:lnTo>
                        <a:pt x="2518435" y="870331"/>
                      </a:lnTo>
                      <a:lnTo>
                        <a:pt x="2520238" y="869061"/>
                      </a:lnTo>
                      <a:lnTo>
                        <a:pt x="2521305" y="869061"/>
                      </a:lnTo>
                      <a:lnTo>
                        <a:pt x="2522156" y="867791"/>
                      </a:lnTo>
                      <a:lnTo>
                        <a:pt x="2524785" y="869061"/>
                      </a:lnTo>
                      <a:lnTo>
                        <a:pt x="2529027" y="869061"/>
                      </a:lnTo>
                      <a:lnTo>
                        <a:pt x="2527731" y="870331"/>
                      </a:lnTo>
                      <a:lnTo>
                        <a:pt x="2527554" y="871601"/>
                      </a:lnTo>
                      <a:lnTo>
                        <a:pt x="2527541" y="872871"/>
                      </a:lnTo>
                      <a:lnTo>
                        <a:pt x="2527795" y="872871"/>
                      </a:lnTo>
                      <a:lnTo>
                        <a:pt x="2528963" y="876681"/>
                      </a:lnTo>
                      <a:lnTo>
                        <a:pt x="2529268" y="877951"/>
                      </a:lnTo>
                      <a:lnTo>
                        <a:pt x="2530297" y="880491"/>
                      </a:lnTo>
                      <a:lnTo>
                        <a:pt x="2531072" y="881761"/>
                      </a:lnTo>
                      <a:lnTo>
                        <a:pt x="2532189" y="883031"/>
                      </a:lnTo>
                      <a:lnTo>
                        <a:pt x="2533980" y="883031"/>
                      </a:lnTo>
                      <a:lnTo>
                        <a:pt x="2535059" y="884301"/>
                      </a:lnTo>
                      <a:lnTo>
                        <a:pt x="2535732" y="884301"/>
                      </a:lnTo>
                      <a:lnTo>
                        <a:pt x="2536113" y="883031"/>
                      </a:lnTo>
                      <a:lnTo>
                        <a:pt x="2536025" y="884301"/>
                      </a:lnTo>
                      <a:lnTo>
                        <a:pt x="2539631" y="884301"/>
                      </a:lnTo>
                      <a:lnTo>
                        <a:pt x="2539695" y="885571"/>
                      </a:lnTo>
                      <a:lnTo>
                        <a:pt x="2538946" y="885571"/>
                      </a:lnTo>
                      <a:lnTo>
                        <a:pt x="2537866" y="886841"/>
                      </a:lnTo>
                      <a:lnTo>
                        <a:pt x="2537333" y="886841"/>
                      </a:lnTo>
                      <a:lnTo>
                        <a:pt x="2536825" y="888111"/>
                      </a:lnTo>
                      <a:lnTo>
                        <a:pt x="2536456" y="889381"/>
                      </a:lnTo>
                      <a:lnTo>
                        <a:pt x="2535986" y="891921"/>
                      </a:lnTo>
                      <a:lnTo>
                        <a:pt x="2535326" y="894461"/>
                      </a:lnTo>
                      <a:lnTo>
                        <a:pt x="2534856" y="895731"/>
                      </a:lnTo>
                      <a:lnTo>
                        <a:pt x="2534247" y="897001"/>
                      </a:lnTo>
                      <a:lnTo>
                        <a:pt x="2533726" y="898271"/>
                      </a:lnTo>
                      <a:lnTo>
                        <a:pt x="2545156" y="899541"/>
                      </a:lnTo>
                      <a:lnTo>
                        <a:pt x="2545677" y="899541"/>
                      </a:lnTo>
                      <a:lnTo>
                        <a:pt x="2545562" y="900811"/>
                      </a:lnTo>
                      <a:lnTo>
                        <a:pt x="2545600" y="902081"/>
                      </a:lnTo>
                      <a:lnTo>
                        <a:pt x="2545791" y="903351"/>
                      </a:lnTo>
                      <a:lnTo>
                        <a:pt x="2546007" y="903351"/>
                      </a:lnTo>
                      <a:lnTo>
                        <a:pt x="2546858" y="904621"/>
                      </a:lnTo>
                      <a:lnTo>
                        <a:pt x="2547480" y="905891"/>
                      </a:lnTo>
                      <a:lnTo>
                        <a:pt x="2547874" y="907161"/>
                      </a:lnTo>
                      <a:lnTo>
                        <a:pt x="2548547" y="907161"/>
                      </a:lnTo>
                      <a:lnTo>
                        <a:pt x="2548902" y="908431"/>
                      </a:lnTo>
                      <a:lnTo>
                        <a:pt x="2550845" y="908431"/>
                      </a:lnTo>
                      <a:lnTo>
                        <a:pt x="2557068" y="907161"/>
                      </a:lnTo>
                      <a:lnTo>
                        <a:pt x="2558250" y="905891"/>
                      </a:lnTo>
                      <a:lnTo>
                        <a:pt x="2559951" y="905891"/>
                      </a:lnTo>
                      <a:lnTo>
                        <a:pt x="2561767" y="904621"/>
                      </a:lnTo>
                      <a:lnTo>
                        <a:pt x="2562390" y="904621"/>
                      </a:lnTo>
                      <a:lnTo>
                        <a:pt x="2562314" y="905891"/>
                      </a:lnTo>
                      <a:lnTo>
                        <a:pt x="2561691" y="905891"/>
                      </a:lnTo>
                      <a:lnTo>
                        <a:pt x="2558440" y="907161"/>
                      </a:lnTo>
                      <a:lnTo>
                        <a:pt x="2557475" y="908431"/>
                      </a:lnTo>
                      <a:lnTo>
                        <a:pt x="2556637" y="909701"/>
                      </a:lnTo>
                      <a:lnTo>
                        <a:pt x="2556192" y="909701"/>
                      </a:lnTo>
                      <a:lnTo>
                        <a:pt x="2555532" y="910971"/>
                      </a:lnTo>
                      <a:lnTo>
                        <a:pt x="2554567" y="913511"/>
                      </a:lnTo>
                      <a:lnTo>
                        <a:pt x="2554338" y="913511"/>
                      </a:lnTo>
                      <a:lnTo>
                        <a:pt x="2554097" y="914781"/>
                      </a:lnTo>
                      <a:lnTo>
                        <a:pt x="2554401" y="916051"/>
                      </a:lnTo>
                      <a:lnTo>
                        <a:pt x="2552293" y="916051"/>
                      </a:lnTo>
                      <a:lnTo>
                        <a:pt x="2550858" y="917321"/>
                      </a:lnTo>
                      <a:lnTo>
                        <a:pt x="2549309" y="918591"/>
                      </a:lnTo>
                      <a:lnTo>
                        <a:pt x="2548623" y="919861"/>
                      </a:lnTo>
                      <a:lnTo>
                        <a:pt x="2548090" y="922401"/>
                      </a:lnTo>
                      <a:lnTo>
                        <a:pt x="2545181" y="917321"/>
                      </a:lnTo>
                      <a:lnTo>
                        <a:pt x="2546705" y="921131"/>
                      </a:lnTo>
                      <a:lnTo>
                        <a:pt x="2545804" y="921131"/>
                      </a:lnTo>
                      <a:lnTo>
                        <a:pt x="2545524" y="922401"/>
                      </a:lnTo>
                      <a:lnTo>
                        <a:pt x="2542756" y="922401"/>
                      </a:lnTo>
                      <a:lnTo>
                        <a:pt x="2542057" y="923671"/>
                      </a:lnTo>
                      <a:lnTo>
                        <a:pt x="2540546" y="923671"/>
                      </a:lnTo>
                      <a:lnTo>
                        <a:pt x="2537968" y="921131"/>
                      </a:lnTo>
                      <a:lnTo>
                        <a:pt x="2538336" y="924941"/>
                      </a:lnTo>
                      <a:lnTo>
                        <a:pt x="2538780" y="926211"/>
                      </a:lnTo>
                      <a:lnTo>
                        <a:pt x="2534462" y="926211"/>
                      </a:lnTo>
                      <a:lnTo>
                        <a:pt x="2533777" y="927481"/>
                      </a:lnTo>
                      <a:lnTo>
                        <a:pt x="2532799" y="930021"/>
                      </a:lnTo>
                      <a:lnTo>
                        <a:pt x="2532621" y="930021"/>
                      </a:lnTo>
                      <a:lnTo>
                        <a:pt x="2532367" y="931291"/>
                      </a:lnTo>
                      <a:lnTo>
                        <a:pt x="2531186" y="931291"/>
                      </a:lnTo>
                      <a:lnTo>
                        <a:pt x="2528366" y="932561"/>
                      </a:lnTo>
                      <a:lnTo>
                        <a:pt x="2527744" y="932561"/>
                      </a:lnTo>
                      <a:lnTo>
                        <a:pt x="2527884" y="933831"/>
                      </a:lnTo>
                      <a:lnTo>
                        <a:pt x="2527490" y="932561"/>
                      </a:lnTo>
                      <a:lnTo>
                        <a:pt x="2521826" y="932561"/>
                      </a:lnTo>
                      <a:lnTo>
                        <a:pt x="2521318" y="931291"/>
                      </a:lnTo>
                      <a:lnTo>
                        <a:pt x="2521013" y="932561"/>
                      </a:lnTo>
                      <a:lnTo>
                        <a:pt x="2520937" y="931291"/>
                      </a:lnTo>
                      <a:lnTo>
                        <a:pt x="2519362" y="931291"/>
                      </a:lnTo>
                      <a:lnTo>
                        <a:pt x="2518168" y="932561"/>
                      </a:lnTo>
                      <a:lnTo>
                        <a:pt x="2517927" y="932561"/>
                      </a:lnTo>
                      <a:lnTo>
                        <a:pt x="2515743" y="935101"/>
                      </a:lnTo>
                      <a:lnTo>
                        <a:pt x="2515501" y="936371"/>
                      </a:lnTo>
                      <a:lnTo>
                        <a:pt x="2515298" y="938911"/>
                      </a:lnTo>
                      <a:lnTo>
                        <a:pt x="2515171" y="941451"/>
                      </a:lnTo>
                      <a:lnTo>
                        <a:pt x="2514130" y="943991"/>
                      </a:lnTo>
                      <a:lnTo>
                        <a:pt x="2513800" y="946531"/>
                      </a:lnTo>
                      <a:lnTo>
                        <a:pt x="2514054" y="947801"/>
                      </a:lnTo>
                      <a:lnTo>
                        <a:pt x="2514269" y="949071"/>
                      </a:lnTo>
                      <a:lnTo>
                        <a:pt x="2514041" y="949071"/>
                      </a:lnTo>
                      <a:lnTo>
                        <a:pt x="2513406" y="950341"/>
                      </a:lnTo>
                      <a:lnTo>
                        <a:pt x="2509926" y="949071"/>
                      </a:lnTo>
                      <a:lnTo>
                        <a:pt x="2507843" y="949071"/>
                      </a:lnTo>
                      <a:lnTo>
                        <a:pt x="2508859" y="951611"/>
                      </a:lnTo>
                      <a:lnTo>
                        <a:pt x="2510104" y="955421"/>
                      </a:lnTo>
                      <a:lnTo>
                        <a:pt x="2512618" y="955421"/>
                      </a:lnTo>
                      <a:lnTo>
                        <a:pt x="2512911" y="956691"/>
                      </a:lnTo>
                      <a:lnTo>
                        <a:pt x="2513139" y="957961"/>
                      </a:lnTo>
                      <a:lnTo>
                        <a:pt x="2513825" y="959231"/>
                      </a:lnTo>
                      <a:lnTo>
                        <a:pt x="2513241" y="960501"/>
                      </a:lnTo>
                      <a:lnTo>
                        <a:pt x="2512822" y="961771"/>
                      </a:lnTo>
                      <a:lnTo>
                        <a:pt x="2513431" y="961771"/>
                      </a:lnTo>
                      <a:lnTo>
                        <a:pt x="2515158" y="964311"/>
                      </a:lnTo>
                      <a:lnTo>
                        <a:pt x="2516835" y="966851"/>
                      </a:lnTo>
                      <a:lnTo>
                        <a:pt x="2518473" y="968121"/>
                      </a:lnTo>
                      <a:lnTo>
                        <a:pt x="2519565" y="969391"/>
                      </a:lnTo>
                      <a:lnTo>
                        <a:pt x="2522372" y="973201"/>
                      </a:lnTo>
                      <a:lnTo>
                        <a:pt x="2524010" y="974471"/>
                      </a:lnTo>
                      <a:lnTo>
                        <a:pt x="2524671" y="974471"/>
                      </a:lnTo>
                      <a:lnTo>
                        <a:pt x="2525001" y="975741"/>
                      </a:lnTo>
                      <a:lnTo>
                        <a:pt x="2525153" y="975741"/>
                      </a:lnTo>
                      <a:lnTo>
                        <a:pt x="2525496" y="977011"/>
                      </a:lnTo>
                      <a:lnTo>
                        <a:pt x="2525776" y="977011"/>
                      </a:lnTo>
                      <a:lnTo>
                        <a:pt x="2526195" y="978281"/>
                      </a:lnTo>
                      <a:lnTo>
                        <a:pt x="2527198" y="983361"/>
                      </a:lnTo>
                      <a:lnTo>
                        <a:pt x="2527439" y="983361"/>
                      </a:lnTo>
                      <a:lnTo>
                        <a:pt x="2528341" y="985901"/>
                      </a:lnTo>
                      <a:lnTo>
                        <a:pt x="2525776" y="985901"/>
                      </a:lnTo>
                      <a:lnTo>
                        <a:pt x="2525788" y="990981"/>
                      </a:lnTo>
                      <a:lnTo>
                        <a:pt x="2525852" y="992251"/>
                      </a:lnTo>
                      <a:lnTo>
                        <a:pt x="2525941" y="997331"/>
                      </a:lnTo>
                      <a:lnTo>
                        <a:pt x="2523617" y="997331"/>
                      </a:lnTo>
                      <a:lnTo>
                        <a:pt x="2520619" y="998601"/>
                      </a:lnTo>
                      <a:lnTo>
                        <a:pt x="2520543" y="1002411"/>
                      </a:lnTo>
                      <a:lnTo>
                        <a:pt x="2520607" y="1003681"/>
                      </a:lnTo>
                      <a:lnTo>
                        <a:pt x="2520912" y="1003681"/>
                      </a:lnTo>
                      <a:lnTo>
                        <a:pt x="2523540" y="1010031"/>
                      </a:lnTo>
                      <a:lnTo>
                        <a:pt x="2528709" y="1015111"/>
                      </a:lnTo>
                      <a:lnTo>
                        <a:pt x="2529306" y="1016381"/>
                      </a:lnTo>
                      <a:lnTo>
                        <a:pt x="2533192" y="1020191"/>
                      </a:lnTo>
                      <a:lnTo>
                        <a:pt x="2534094" y="1021461"/>
                      </a:lnTo>
                      <a:lnTo>
                        <a:pt x="2534348" y="1022731"/>
                      </a:lnTo>
                      <a:lnTo>
                        <a:pt x="2534666" y="1022731"/>
                      </a:lnTo>
                      <a:lnTo>
                        <a:pt x="2534513" y="1026541"/>
                      </a:lnTo>
                      <a:lnTo>
                        <a:pt x="2534640" y="1027811"/>
                      </a:lnTo>
                      <a:lnTo>
                        <a:pt x="2534716" y="1029081"/>
                      </a:lnTo>
                      <a:lnTo>
                        <a:pt x="2533942" y="1030351"/>
                      </a:lnTo>
                      <a:lnTo>
                        <a:pt x="2533510" y="1030351"/>
                      </a:lnTo>
                      <a:lnTo>
                        <a:pt x="2533370" y="1031621"/>
                      </a:lnTo>
                      <a:lnTo>
                        <a:pt x="2535059" y="1034161"/>
                      </a:lnTo>
                      <a:lnTo>
                        <a:pt x="2535351" y="1035431"/>
                      </a:lnTo>
                      <a:lnTo>
                        <a:pt x="2537930" y="1037971"/>
                      </a:lnTo>
                      <a:lnTo>
                        <a:pt x="2538209" y="1040511"/>
                      </a:lnTo>
                      <a:lnTo>
                        <a:pt x="2538679" y="1044321"/>
                      </a:lnTo>
                      <a:lnTo>
                        <a:pt x="2539098" y="1045591"/>
                      </a:lnTo>
                      <a:lnTo>
                        <a:pt x="2540038" y="1045591"/>
                      </a:lnTo>
                      <a:lnTo>
                        <a:pt x="2540355" y="1049401"/>
                      </a:lnTo>
                      <a:lnTo>
                        <a:pt x="2540812" y="1049401"/>
                      </a:lnTo>
                      <a:lnTo>
                        <a:pt x="2540254" y="1050671"/>
                      </a:lnTo>
                      <a:lnTo>
                        <a:pt x="2539581" y="1051941"/>
                      </a:lnTo>
                      <a:lnTo>
                        <a:pt x="2537853" y="1054481"/>
                      </a:lnTo>
                      <a:lnTo>
                        <a:pt x="2536888" y="1055751"/>
                      </a:lnTo>
                      <a:lnTo>
                        <a:pt x="2534729" y="1059561"/>
                      </a:lnTo>
                      <a:lnTo>
                        <a:pt x="2533764" y="1060831"/>
                      </a:lnTo>
                      <a:lnTo>
                        <a:pt x="2532862" y="1060831"/>
                      </a:lnTo>
                      <a:lnTo>
                        <a:pt x="2531122" y="1063371"/>
                      </a:lnTo>
                      <a:lnTo>
                        <a:pt x="2530081" y="1065911"/>
                      </a:lnTo>
                      <a:lnTo>
                        <a:pt x="2529281" y="1067181"/>
                      </a:lnTo>
                      <a:lnTo>
                        <a:pt x="2525509" y="1076071"/>
                      </a:lnTo>
                      <a:lnTo>
                        <a:pt x="2527465" y="1076071"/>
                      </a:lnTo>
                      <a:lnTo>
                        <a:pt x="2531224" y="1068451"/>
                      </a:lnTo>
                      <a:lnTo>
                        <a:pt x="2531935" y="1065911"/>
                      </a:lnTo>
                      <a:lnTo>
                        <a:pt x="2532875" y="1064641"/>
                      </a:lnTo>
                      <a:lnTo>
                        <a:pt x="2534399" y="1063371"/>
                      </a:lnTo>
                      <a:lnTo>
                        <a:pt x="2535364" y="1062101"/>
                      </a:lnTo>
                      <a:lnTo>
                        <a:pt x="2536393" y="1060831"/>
                      </a:lnTo>
                      <a:lnTo>
                        <a:pt x="2538641" y="1057021"/>
                      </a:lnTo>
                      <a:lnTo>
                        <a:pt x="2541613" y="1053211"/>
                      </a:lnTo>
                      <a:lnTo>
                        <a:pt x="2542425" y="1050671"/>
                      </a:lnTo>
                      <a:lnTo>
                        <a:pt x="2543073" y="1049401"/>
                      </a:lnTo>
                      <a:lnTo>
                        <a:pt x="2543619" y="1049401"/>
                      </a:lnTo>
                      <a:lnTo>
                        <a:pt x="2542590" y="1048131"/>
                      </a:lnTo>
                      <a:lnTo>
                        <a:pt x="2542413" y="1048131"/>
                      </a:lnTo>
                      <a:lnTo>
                        <a:pt x="2542032" y="1044321"/>
                      </a:lnTo>
                      <a:lnTo>
                        <a:pt x="2540927" y="1044321"/>
                      </a:lnTo>
                      <a:lnTo>
                        <a:pt x="2540698" y="1043051"/>
                      </a:lnTo>
                      <a:lnTo>
                        <a:pt x="2540228" y="1039241"/>
                      </a:lnTo>
                      <a:lnTo>
                        <a:pt x="2539962" y="1037971"/>
                      </a:lnTo>
                      <a:lnTo>
                        <a:pt x="2537104" y="1034161"/>
                      </a:lnTo>
                      <a:lnTo>
                        <a:pt x="2535542" y="1031621"/>
                      </a:lnTo>
                      <a:lnTo>
                        <a:pt x="2536317" y="1030351"/>
                      </a:lnTo>
                      <a:lnTo>
                        <a:pt x="2536926" y="1029081"/>
                      </a:lnTo>
                      <a:lnTo>
                        <a:pt x="2536647" y="1026541"/>
                      </a:lnTo>
                      <a:lnTo>
                        <a:pt x="2536761" y="1022731"/>
                      </a:lnTo>
                      <a:lnTo>
                        <a:pt x="2536177" y="1021461"/>
                      </a:lnTo>
                      <a:lnTo>
                        <a:pt x="2536012" y="1020191"/>
                      </a:lnTo>
                      <a:lnTo>
                        <a:pt x="2535669" y="1020191"/>
                      </a:lnTo>
                      <a:lnTo>
                        <a:pt x="2534755" y="1018921"/>
                      </a:lnTo>
                      <a:lnTo>
                        <a:pt x="2533510" y="1017651"/>
                      </a:lnTo>
                      <a:lnTo>
                        <a:pt x="2530335" y="1013841"/>
                      </a:lnTo>
                      <a:lnTo>
                        <a:pt x="2525318" y="1008761"/>
                      </a:lnTo>
                      <a:lnTo>
                        <a:pt x="2522944" y="1003681"/>
                      </a:lnTo>
                      <a:lnTo>
                        <a:pt x="2522702" y="1002411"/>
                      </a:lnTo>
                      <a:lnTo>
                        <a:pt x="2522651" y="999871"/>
                      </a:lnTo>
                      <a:lnTo>
                        <a:pt x="2526169" y="999871"/>
                      </a:lnTo>
                      <a:lnTo>
                        <a:pt x="2526817" y="998601"/>
                      </a:lnTo>
                      <a:lnTo>
                        <a:pt x="2527922" y="998601"/>
                      </a:lnTo>
                      <a:lnTo>
                        <a:pt x="2528151" y="996061"/>
                      </a:lnTo>
                      <a:lnTo>
                        <a:pt x="2528074" y="993521"/>
                      </a:lnTo>
                      <a:lnTo>
                        <a:pt x="2527922" y="990981"/>
                      </a:lnTo>
                      <a:lnTo>
                        <a:pt x="2527871" y="988441"/>
                      </a:lnTo>
                      <a:lnTo>
                        <a:pt x="2530360" y="988441"/>
                      </a:lnTo>
                      <a:lnTo>
                        <a:pt x="2531135" y="987171"/>
                      </a:lnTo>
                      <a:lnTo>
                        <a:pt x="2531453" y="987171"/>
                      </a:lnTo>
                      <a:lnTo>
                        <a:pt x="2531783" y="985901"/>
                      </a:lnTo>
                      <a:lnTo>
                        <a:pt x="2532151" y="985901"/>
                      </a:lnTo>
                      <a:lnTo>
                        <a:pt x="2532392" y="984631"/>
                      </a:lnTo>
                      <a:lnTo>
                        <a:pt x="2532634" y="984631"/>
                      </a:lnTo>
                      <a:lnTo>
                        <a:pt x="2532659" y="983361"/>
                      </a:lnTo>
                      <a:lnTo>
                        <a:pt x="2532608" y="982091"/>
                      </a:lnTo>
                      <a:lnTo>
                        <a:pt x="2532227" y="982091"/>
                      </a:lnTo>
                      <a:lnTo>
                        <a:pt x="2530779" y="979551"/>
                      </a:lnTo>
                      <a:lnTo>
                        <a:pt x="2530513" y="979868"/>
                      </a:lnTo>
                      <a:lnTo>
                        <a:pt x="2530513" y="983361"/>
                      </a:lnTo>
                      <a:lnTo>
                        <a:pt x="2530462" y="984631"/>
                      </a:lnTo>
                      <a:lnTo>
                        <a:pt x="2530221" y="984631"/>
                      </a:lnTo>
                      <a:lnTo>
                        <a:pt x="2529573" y="985901"/>
                      </a:lnTo>
                      <a:lnTo>
                        <a:pt x="2529040" y="985901"/>
                      </a:lnTo>
                      <a:lnTo>
                        <a:pt x="2529687" y="984631"/>
                      </a:lnTo>
                      <a:lnTo>
                        <a:pt x="2530208" y="984631"/>
                      </a:lnTo>
                      <a:lnTo>
                        <a:pt x="2530513" y="983361"/>
                      </a:lnTo>
                      <a:lnTo>
                        <a:pt x="2530513" y="979868"/>
                      </a:lnTo>
                      <a:lnTo>
                        <a:pt x="2529687" y="980821"/>
                      </a:lnTo>
                      <a:lnTo>
                        <a:pt x="2529128" y="982091"/>
                      </a:lnTo>
                      <a:lnTo>
                        <a:pt x="2528252" y="978281"/>
                      </a:lnTo>
                      <a:lnTo>
                        <a:pt x="2527782" y="977011"/>
                      </a:lnTo>
                      <a:lnTo>
                        <a:pt x="2527465" y="975741"/>
                      </a:lnTo>
                      <a:lnTo>
                        <a:pt x="2526982" y="974471"/>
                      </a:lnTo>
                      <a:lnTo>
                        <a:pt x="2526855" y="974471"/>
                      </a:lnTo>
                      <a:lnTo>
                        <a:pt x="2526296" y="973201"/>
                      </a:lnTo>
                      <a:lnTo>
                        <a:pt x="2525776" y="973201"/>
                      </a:lnTo>
                      <a:lnTo>
                        <a:pt x="2525039" y="971931"/>
                      </a:lnTo>
                      <a:lnTo>
                        <a:pt x="2523629" y="971931"/>
                      </a:lnTo>
                      <a:lnTo>
                        <a:pt x="2521254" y="968121"/>
                      </a:lnTo>
                      <a:lnTo>
                        <a:pt x="2520150" y="966851"/>
                      </a:lnTo>
                      <a:lnTo>
                        <a:pt x="2518562" y="965581"/>
                      </a:lnTo>
                      <a:lnTo>
                        <a:pt x="2516936" y="963041"/>
                      </a:lnTo>
                      <a:lnTo>
                        <a:pt x="2515298" y="961771"/>
                      </a:lnTo>
                      <a:lnTo>
                        <a:pt x="2515946" y="959231"/>
                      </a:lnTo>
                      <a:lnTo>
                        <a:pt x="2515717" y="957961"/>
                      </a:lnTo>
                      <a:lnTo>
                        <a:pt x="2515501" y="957961"/>
                      </a:lnTo>
                      <a:lnTo>
                        <a:pt x="2514587" y="955421"/>
                      </a:lnTo>
                      <a:lnTo>
                        <a:pt x="2514396" y="955421"/>
                      </a:lnTo>
                      <a:lnTo>
                        <a:pt x="2514308" y="954151"/>
                      </a:lnTo>
                      <a:lnTo>
                        <a:pt x="2512466" y="954151"/>
                      </a:lnTo>
                      <a:lnTo>
                        <a:pt x="2511856" y="952881"/>
                      </a:lnTo>
                      <a:lnTo>
                        <a:pt x="2511475" y="952881"/>
                      </a:lnTo>
                      <a:lnTo>
                        <a:pt x="2511082" y="951611"/>
                      </a:lnTo>
                      <a:lnTo>
                        <a:pt x="2516454" y="951611"/>
                      </a:lnTo>
                      <a:lnTo>
                        <a:pt x="2516403" y="950341"/>
                      </a:lnTo>
                      <a:lnTo>
                        <a:pt x="2516428" y="949071"/>
                      </a:lnTo>
                      <a:lnTo>
                        <a:pt x="2516149" y="947801"/>
                      </a:lnTo>
                      <a:lnTo>
                        <a:pt x="2516162" y="945261"/>
                      </a:lnTo>
                      <a:lnTo>
                        <a:pt x="2517254" y="941451"/>
                      </a:lnTo>
                      <a:lnTo>
                        <a:pt x="2517406" y="940181"/>
                      </a:lnTo>
                      <a:lnTo>
                        <a:pt x="2517584" y="936371"/>
                      </a:lnTo>
                      <a:lnTo>
                        <a:pt x="2519578" y="933831"/>
                      </a:lnTo>
                      <a:lnTo>
                        <a:pt x="2522309" y="933831"/>
                      </a:lnTo>
                      <a:lnTo>
                        <a:pt x="2523337" y="935101"/>
                      </a:lnTo>
                      <a:lnTo>
                        <a:pt x="2527744" y="935101"/>
                      </a:lnTo>
                      <a:lnTo>
                        <a:pt x="2527617" y="933831"/>
                      </a:lnTo>
                      <a:lnTo>
                        <a:pt x="2528036" y="935101"/>
                      </a:lnTo>
                      <a:lnTo>
                        <a:pt x="2529052" y="933831"/>
                      </a:lnTo>
                      <a:lnTo>
                        <a:pt x="2532900" y="933831"/>
                      </a:lnTo>
                      <a:lnTo>
                        <a:pt x="2533510" y="932561"/>
                      </a:lnTo>
                      <a:lnTo>
                        <a:pt x="2534145" y="932561"/>
                      </a:lnTo>
                      <a:lnTo>
                        <a:pt x="2534526" y="931291"/>
                      </a:lnTo>
                      <a:lnTo>
                        <a:pt x="2535224" y="930021"/>
                      </a:lnTo>
                      <a:lnTo>
                        <a:pt x="2535644" y="928751"/>
                      </a:lnTo>
                      <a:lnTo>
                        <a:pt x="2540254" y="928751"/>
                      </a:lnTo>
                      <a:lnTo>
                        <a:pt x="2541536" y="927481"/>
                      </a:lnTo>
                      <a:lnTo>
                        <a:pt x="2540749" y="924941"/>
                      </a:lnTo>
                      <a:lnTo>
                        <a:pt x="2541955" y="926211"/>
                      </a:lnTo>
                      <a:lnTo>
                        <a:pt x="2542298" y="926211"/>
                      </a:lnTo>
                      <a:lnTo>
                        <a:pt x="2542921" y="924941"/>
                      </a:lnTo>
                      <a:lnTo>
                        <a:pt x="2545118" y="924941"/>
                      </a:lnTo>
                      <a:lnTo>
                        <a:pt x="2546489" y="923671"/>
                      </a:lnTo>
                      <a:lnTo>
                        <a:pt x="2547404" y="924941"/>
                      </a:lnTo>
                      <a:lnTo>
                        <a:pt x="2547645" y="924941"/>
                      </a:lnTo>
                      <a:lnTo>
                        <a:pt x="2548242" y="926211"/>
                      </a:lnTo>
                      <a:lnTo>
                        <a:pt x="2548636" y="926211"/>
                      </a:lnTo>
                      <a:lnTo>
                        <a:pt x="2548877" y="927481"/>
                      </a:lnTo>
                      <a:lnTo>
                        <a:pt x="2552420" y="932561"/>
                      </a:lnTo>
                      <a:lnTo>
                        <a:pt x="2551988" y="932561"/>
                      </a:lnTo>
                      <a:lnTo>
                        <a:pt x="2551696" y="933831"/>
                      </a:lnTo>
                      <a:lnTo>
                        <a:pt x="2552166" y="933831"/>
                      </a:lnTo>
                      <a:lnTo>
                        <a:pt x="2552573" y="935101"/>
                      </a:lnTo>
                      <a:lnTo>
                        <a:pt x="2552789" y="935101"/>
                      </a:lnTo>
                      <a:lnTo>
                        <a:pt x="2554020" y="936371"/>
                      </a:lnTo>
                      <a:lnTo>
                        <a:pt x="2554554" y="937641"/>
                      </a:lnTo>
                      <a:lnTo>
                        <a:pt x="2563164" y="937641"/>
                      </a:lnTo>
                      <a:lnTo>
                        <a:pt x="2564219" y="941451"/>
                      </a:lnTo>
                      <a:lnTo>
                        <a:pt x="2565222" y="942721"/>
                      </a:lnTo>
                      <a:lnTo>
                        <a:pt x="2565285" y="943991"/>
                      </a:lnTo>
                      <a:lnTo>
                        <a:pt x="2564676" y="943991"/>
                      </a:lnTo>
                      <a:lnTo>
                        <a:pt x="2564142" y="945261"/>
                      </a:lnTo>
                      <a:lnTo>
                        <a:pt x="2563977" y="946531"/>
                      </a:lnTo>
                      <a:lnTo>
                        <a:pt x="2563888" y="949071"/>
                      </a:lnTo>
                      <a:lnTo>
                        <a:pt x="2563025" y="950341"/>
                      </a:lnTo>
                      <a:lnTo>
                        <a:pt x="2562771" y="950341"/>
                      </a:lnTo>
                      <a:lnTo>
                        <a:pt x="2561679" y="951611"/>
                      </a:lnTo>
                      <a:lnTo>
                        <a:pt x="2561552" y="954151"/>
                      </a:lnTo>
                      <a:lnTo>
                        <a:pt x="2562707" y="957961"/>
                      </a:lnTo>
                      <a:lnTo>
                        <a:pt x="2562339" y="959231"/>
                      </a:lnTo>
                      <a:lnTo>
                        <a:pt x="2561844" y="959231"/>
                      </a:lnTo>
                      <a:lnTo>
                        <a:pt x="2561107" y="960501"/>
                      </a:lnTo>
                      <a:lnTo>
                        <a:pt x="2559481" y="963041"/>
                      </a:lnTo>
                      <a:lnTo>
                        <a:pt x="2559634" y="965581"/>
                      </a:lnTo>
                      <a:lnTo>
                        <a:pt x="2560091" y="966851"/>
                      </a:lnTo>
                      <a:lnTo>
                        <a:pt x="2561463" y="966851"/>
                      </a:lnTo>
                      <a:lnTo>
                        <a:pt x="2562275" y="968121"/>
                      </a:lnTo>
                      <a:lnTo>
                        <a:pt x="2564612" y="968121"/>
                      </a:lnTo>
                      <a:lnTo>
                        <a:pt x="2565044" y="966851"/>
                      </a:lnTo>
                      <a:lnTo>
                        <a:pt x="2565857" y="966851"/>
                      </a:lnTo>
                      <a:lnTo>
                        <a:pt x="2567559" y="964311"/>
                      </a:lnTo>
                      <a:lnTo>
                        <a:pt x="2569375" y="963041"/>
                      </a:lnTo>
                      <a:lnTo>
                        <a:pt x="2571318" y="961771"/>
                      </a:lnTo>
                      <a:lnTo>
                        <a:pt x="2572626" y="960501"/>
                      </a:lnTo>
                      <a:lnTo>
                        <a:pt x="2577147" y="957961"/>
                      </a:lnTo>
                      <a:lnTo>
                        <a:pt x="2577604" y="957961"/>
                      </a:lnTo>
                      <a:lnTo>
                        <a:pt x="2582735" y="961771"/>
                      </a:lnTo>
                      <a:lnTo>
                        <a:pt x="2587853" y="964311"/>
                      </a:lnTo>
                      <a:lnTo>
                        <a:pt x="2586520" y="961771"/>
                      </a:lnTo>
                      <a:lnTo>
                        <a:pt x="2587460" y="960501"/>
                      </a:lnTo>
                      <a:lnTo>
                        <a:pt x="2590927" y="960501"/>
                      </a:lnTo>
                      <a:lnTo>
                        <a:pt x="2591943" y="959231"/>
                      </a:lnTo>
                      <a:lnTo>
                        <a:pt x="2592298" y="957961"/>
                      </a:lnTo>
                      <a:lnTo>
                        <a:pt x="2595537" y="954151"/>
                      </a:lnTo>
                      <a:lnTo>
                        <a:pt x="2599512" y="954151"/>
                      </a:lnTo>
                      <a:lnTo>
                        <a:pt x="2603589" y="955421"/>
                      </a:lnTo>
                      <a:lnTo>
                        <a:pt x="2604605" y="956691"/>
                      </a:lnTo>
                      <a:lnTo>
                        <a:pt x="2605290" y="957961"/>
                      </a:lnTo>
                      <a:lnTo>
                        <a:pt x="2606167" y="956691"/>
                      </a:lnTo>
                      <a:lnTo>
                        <a:pt x="2605494" y="957961"/>
                      </a:lnTo>
                      <a:lnTo>
                        <a:pt x="2606370" y="959231"/>
                      </a:lnTo>
                      <a:lnTo>
                        <a:pt x="2607754" y="963041"/>
                      </a:lnTo>
                      <a:lnTo>
                        <a:pt x="2613863" y="968121"/>
                      </a:lnTo>
                      <a:lnTo>
                        <a:pt x="2614498" y="968121"/>
                      </a:lnTo>
                      <a:lnTo>
                        <a:pt x="2614777" y="969391"/>
                      </a:lnTo>
                      <a:lnTo>
                        <a:pt x="2614968" y="969391"/>
                      </a:lnTo>
                      <a:lnTo>
                        <a:pt x="2614904" y="970661"/>
                      </a:lnTo>
                      <a:lnTo>
                        <a:pt x="2614777" y="971931"/>
                      </a:lnTo>
                      <a:lnTo>
                        <a:pt x="2613812" y="974471"/>
                      </a:lnTo>
                      <a:lnTo>
                        <a:pt x="2613710" y="977011"/>
                      </a:lnTo>
                      <a:lnTo>
                        <a:pt x="2613964" y="978281"/>
                      </a:lnTo>
                      <a:lnTo>
                        <a:pt x="2614028" y="979551"/>
                      </a:lnTo>
                      <a:lnTo>
                        <a:pt x="2614295" y="980821"/>
                      </a:lnTo>
                      <a:lnTo>
                        <a:pt x="2614663" y="982091"/>
                      </a:lnTo>
                      <a:lnTo>
                        <a:pt x="2615057" y="982091"/>
                      </a:lnTo>
                      <a:lnTo>
                        <a:pt x="2617813" y="985901"/>
                      </a:lnTo>
                      <a:lnTo>
                        <a:pt x="2618155" y="985901"/>
                      </a:lnTo>
                      <a:lnTo>
                        <a:pt x="2618829" y="987171"/>
                      </a:lnTo>
                      <a:lnTo>
                        <a:pt x="2620302" y="988441"/>
                      </a:lnTo>
                      <a:lnTo>
                        <a:pt x="2621724" y="988441"/>
                      </a:lnTo>
                      <a:lnTo>
                        <a:pt x="2623020" y="989711"/>
                      </a:lnTo>
                      <a:lnTo>
                        <a:pt x="2622854" y="989711"/>
                      </a:lnTo>
                      <a:lnTo>
                        <a:pt x="2622956" y="990981"/>
                      </a:lnTo>
                      <a:lnTo>
                        <a:pt x="2623286" y="990981"/>
                      </a:lnTo>
                      <a:lnTo>
                        <a:pt x="2624556" y="993521"/>
                      </a:lnTo>
                      <a:lnTo>
                        <a:pt x="2626436" y="993521"/>
                      </a:lnTo>
                      <a:lnTo>
                        <a:pt x="2626499" y="994791"/>
                      </a:lnTo>
                      <a:lnTo>
                        <a:pt x="2626347" y="996061"/>
                      </a:lnTo>
                      <a:lnTo>
                        <a:pt x="2624963" y="997331"/>
                      </a:lnTo>
                      <a:lnTo>
                        <a:pt x="2624340" y="998601"/>
                      </a:lnTo>
                      <a:lnTo>
                        <a:pt x="2624175" y="1001141"/>
                      </a:lnTo>
                      <a:lnTo>
                        <a:pt x="2625572" y="1008761"/>
                      </a:lnTo>
                      <a:lnTo>
                        <a:pt x="2625001" y="1010031"/>
                      </a:lnTo>
                      <a:lnTo>
                        <a:pt x="2623883" y="1010031"/>
                      </a:lnTo>
                      <a:lnTo>
                        <a:pt x="2622080" y="1011301"/>
                      </a:lnTo>
                      <a:lnTo>
                        <a:pt x="2620213" y="1012571"/>
                      </a:lnTo>
                      <a:lnTo>
                        <a:pt x="2620010" y="1012571"/>
                      </a:lnTo>
                      <a:lnTo>
                        <a:pt x="2619819" y="1011301"/>
                      </a:lnTo>
                      <a:lnTo>
                        <a:pt x="2616758" y="1011301"/>
                      </a:lnTo>
                      <a:lnTo>
                        <a:pt x="2615666" y="1010031"/>
                      </a:lnTo>
                      <a:lnTo>
                        <a:pt x="2612186" y="1011301"/>
                      </a:lnTo>
                      <a:lnTo>
                        <a:pt x="2592730" y="1011301"/>
                      </a:lnTo>
                      <a:lnTo>
                        <a:pt x="2590622" y="1012571"/>
                      </a:lnTo>
                      <a:lnTo>
                        <a:pt x="2589238" y="1013841"/>
                      </a:lnTo>
                      <a:lnTo>
                        <a:pt x="2588615" y="1013841"/>
                      </a:lnTo>
                      <a:lnTo>
                        <a:pt x="2587561" y="1015111"/>
                      </a:lnTo>
                      <a:lnTo>
                        <a:pt x="2587015" y="1016381"/>
                      </a:lnTo>
                      <a:lnTo>
                        <a:pt x="2586558" y="1017651"/>
                      </a:lnTo>
                      <a:lnTo>
                        <a:pt x="2585364" y="1018921"/>
                      </a:lnTo>
                      <a:lnTo>
                        <a:pt x="2584043" y="1021461"/>
                      </a:lnTo>
                      <a:lnTo>
                        <a:pt x="2582202" y="1022731"/>
                      </a:lnTo>
                      <a:lnTo>
                        <a:pt x="2581338" y="1022731"/>
                      </a:lnTo>
                      <a:lnTo>
                        <a:pt x="2580424" y="1024001"/>
                      </a:lnTo>
                      <a:lnTo>
                        <a:pt x="2578379" y="1026541"/>
                      </a:lnTo>
                      <a:lnTo>
                        <a:pt x="2581376" y="1031621"/>
                      </a:lnTo>
                      <a:lnTo>
                        <a:pt x="2581872" y="1032891"/>
                      </a:lnTo>
                      <a:lnTo>
                        <a:pt x="2582037" y="1032891"/>
                      </a:lnTo>
                      <a:lnTo>
                        <a:pt x="2581999" y="1036701"/>
                      </a:lnTo>
                      <a:lnTo>
                        <a:pt x="2582710" y="1037971"/>
                      </a:lnTo>
                      <a:lnTo>
                        <a:pt x="2582926" y="1037971"/>
                      </a:lnTo>
                      <a:lnTo>
                        <a:pt x="2585097" y="1040511"/>
                      </a:lnTo>
                      <a:lnTo>
                        <a:pt x="2585732" y="1040511"/>
                      </a:lnTo>
                      <a:lnTo>
                        <a:pt x="2585885" y="1041781"/>
                      </a:lnTo>
                      <a:lnTo>
                        <a:pt x="2585885" y="1044321"/>
                      </a:lnTo>
                      <a:lnTo>
                        <a:pt x="2586786" y="1049401"/>
                      </a:lnTo>
                      <a:lnTo>
                        <a:pt x="2588869" y="1049401"/>
                      </a:lnTo>
                      <a:lnTo>
                        <a:pt x="2588006" y="1044321"/>
                      </a:lnTo>
                      <a:lnTo>
                        <a:pt x="2588056" y="1041781"/>
                      </a:lnTo>
                      <a:lnTo>
                        <a:pt x="2587739" y="1040511"/>
                      </a:lnTo>
                      <a:lnTo>
                        <a:pt x="2587612" y="1040511"/>
                      </a:lnTo>
                      <a:lnTo>
                        <a:pt x="2587460" y="1039241"/>
                      </a:lnTo>
                      <a:lnTo>
                        <a:pt x="2587129" y="1039241"/>
                      </a:lnTo>
                      <a:lnTo>
                        <a:pt x="2586621" y="1037971"/>
                      </a:lnTo>
                      <a:lnTo>
                        <a:pt x="2585859" y="1037971"/>
                      </a:lnTo>
                      <a:lnTo>
                        <a:pt x="2584678" y="1036701"/>
                      </a:lnTo>
                      <a:lnTo>
                        <a:pt x="2584145" y="1036701"/>
                      </a:lnTo>
                      <a:lnTo>
                        <a:pt x="2581097" y="1026541"/>
                      </a:lnTo>
                      <a:lnTo>
                        <a:pt x="2582824" y="1025271"/>
                      </a:lnTo>
                      <a:lnTo>
                        <a:pt x="2583040" y="1025271"/>
                      </a:lnTo>
                      <a:lnTo>
                        <a:pt x="2583586" y="1024001"/>
                      </a:lnTo>
                      <a:lnTo>
                        <a:pt x="2585618" y="1022731"/>
                      </a:lnTo>
                      <a:lnTo>
                        <a:pt x="2587028" y="1020191"/>
                      </a:lnTo>
                      <a:lnTo>
                        <a:pt x="2588399" y="1018921"/>
                      </a:lnTo>
                      <a:lnTo>
                        <a:pt x="2589326" y="1016381"/>
                      </a:lnTo>
                      <a:lnTo>
                        <a:pt x="2590012" y="1016381"/>
                      </a:lnTo>
                      <a:lnTo>
                        <a:pt x="2590596" y="1015111"/>
                      </a:lnTo>
                      <a:lnTo>
                        <a:pt x="2591778" y="1013841"/>
                      </a:lnTo>
                      <a:lnTo>
                        <a:pt x="2595867" y="1013841"/>
                      </a:lnTo>
                      <a:lnTo>
                        <a:pt x="2596337" y="1012571"/>
                      </a:lnTo>
                      <a:lnTo>
                        <a:pt x="2599347" y="1012571"/>
                      </a:lnTo>
                      <a:lnTo>
                        <a:pt x="2605138" y="1013841"/>
                      </a:lnTo>
                      <a:lnTo>
                        <a:pt x="2612390" y="1013841"/>
                      </a:lnTo>
                      <a:lnTo>
                        <a:pt x="2613558" y="1012571"/>
                      </a:lnTo>
                      <a:lnTo>
                        <a:pt x="2617851" y="1012571"/>
                      </a:lnTo>
                      <a:lnTo>
                        <a:pt x="2617952" y="1013841"/>
                      </a:lnTo>
                      <a:lnTo>
                        <a:pt x="2618422" y="1013841"/>
                      </a:lnTo>
                      <a:lnTo>
                        <a:pt x="2618981" y="1015111"/>
                      </a:lnTo>
                      <a:lnTo>
                        <a:pt x="2620886" y="1015111"/>
                      </a:lnTo>
                      <a:lnTo>
                        <a:pt x="2621800" y="1013841"/>
                      </a:lnTo>
                      <a:lnTo>
                        <a:pt x="2623045" y="1016381"/>
                      </a:lnTo>
                      <a:lnTo>
                        <a:pt x="2623845" y="1017651"/>
                      </a:lnTo>
                      <a:lnTo>
                        <a:pt x="2628938" y="1017651"/>
                      </a:lnTo>
                      <a:lnTo>
                        <a:pt x="2630208" y="1018921"/>
                      </a:lnTo>
                      <a:lnTo>
                        <a:pt x="2630843" y="1018921"/>
                      </a:lnTo>
                      <a:lnTo>
                        <a:pt x="2631694" y="1020191"/>
                      </a:lnTo>
                      <a:lnTo>
                        <a:pt x="2634424" y="1020191"/>
                      </a:lnTo>
                      <a:lnTo>
                        <a:pt x="2635491" y="1018921"/>
                      </a:lnTo>
                      <a:lnTo>
                        <a:pt x="2636113" y="1017651"/>
                      </a:lnTo>
                      <a:lnTo>
                        <a:pt x="2636431" y="1017651"/>
                      </a:lnTo>
                      <a:lnTo>
                        <a:pt x="2636507" y="1015111"/>
                      </a:lnTo>
                      <a:lnTo>
                        <a:pt x="2635681" y="1013841"/>
                      </a:lnTo>
                      <a:lnTo>
                        <a:pt x="2634881" y="1013841"/>
                      </a:lnTo>
                      <a:lnTo>
                        <a:pt x="2635300" y="1012571"/>
                      </a:lnTo>
                      <a:lnTo>
                        <a:pt x="2636507" y="1012571"/>
                      </a:lnTo>
                      <a:lnTo>
                        <a:pt x="2638120" y="1011301"/>
                      </a:lnTo>
                      <a:lnTo>
                        <a:pt x="2638895" y="1011301"/>
                      </a:lnTo>
                      <a:lnTo>
                        <a:pt x="2639733" y="1010031"/>
                      </a:lnTo>
                      <a:lnTo>
                        <a:pt x="2640330" y="1010031"/>
                      </a:lnTo>
                      <a:lnTo>
                        <a:pt x="2640723" y="1011301"/>
                      </a:lnTo>
                      <a:lnTo>
                        <a:pt x="2641346" y="1011301"/>
                      </a:lnTo>
                      <a:lnTo>
                        <a:pt x="2645194" y="1012571"/>
                      </a:lnTo>
                      <a:lnTo>
                        <a:pt x="2646311" y="1013841"/>
                      </a:lnTo>
                      <a:lnTo>
                        <a:pt x="2647340" y="1013841"/>
                      </a:lnTo>
                      <a:lnTo>
                        <a:pt x="2648585" y="1012571"/>
                      </a:lnTo>
                      <a:lnTo>
                        <a:pt x="2653195" y="1010031"/>
                      </a:lnTo>
                      <a:lnTo>
                        <a:pt x="2651315" y="1015111"/>
                      </a:lnTo>
                      <a:lnTo>
                        <a:pt x="2651023" y="1016381"/>
                      </a:lnTo>
                      <a:lnTo>
                        <a:pt x="2651518" y="1017651"/>
                      </a:lnTo>
                      <a:lnTo>
                        <a:pt x="2653004" y="1018921"/>
                      </a:lnTo>
                      <a:lnTo>
                        <a:pt x="2652953" y="1020191"/>
                      </a:lnTo>
                      <a:lnTo>
                        <a:pt x="2653525" y="1022731"/>
                      </a:lnTo>
                      <a:lnTo>
                        <a:pt x="2655443" y="1025271"/>
                      </a:lnTo>
                      <a:lnTo>
                        <a:pt x="2655290" y="1026541"/>
                      </a:lnTo>
                      <a:lnTo>
                        <a:pt x="2655049" y="1027811"/>
                      </a:lnTo>
                      <a:lnTo>
                        <a:pt x="2654947" y="1029081"/>
                      </a:lnTo>
                      <a:lnTo>
                        <a:pt x="2653919" y="1031621"/>
                      </a:lnTo>
                      <a:lnTo>
                        <a:pt x="2653766" y="1032891"/>
                      </a:lnTo>
                      <a:lnTo>
                        <a:pt x="2654541" y="1037971"/>
                      </a:lnTo>
                      <a:lnTo>
                        <a:pt x="2654592" y="1039241"/>
                      </a:lnTo>
                      <a:lnTo>
                        <a:pt x="2655646" y="1039241"/>
                      </a:lnTo>
                      <a:lnTo>
                        <a:pt x="2654566" y="1040511"/>
                      </a:lnTo>
                      <a:lnTo>
                        <a:pt x="2654325" y="1041781"/>
                      </a:lnTo>
                      <a:lnTo>
                        <a:pt x="2649118" y="1041781"/>
                      </a:lnTo>
                      <a:lnTo>
                        <a:pt x="2648496" y="1043051"/>
                      </a:lnTo>
                      <a:lnTo>
                        <a:pt x="2647302" y="1044321"/>
                      </a:lnTo>
                      <a:lnTo>
                        <a:pt x="2644711" y="1044321"/>
                      </a:lnTo>
                      <a:lnTo>
                        <a:pt x="2642870" y="1045591"/>
                      </a:lnTo>
                      <a:lnTo>
                        <a:pt x="2639161" y="1045591"/>
                      </a:lnTo>
                      <a:lnTo>
                        <a:pt x="2637650" y="1046861"/>
                      </a:lnTo>
                      <a:lnTo>
                        <a:pt x="2637891" y="1048131"/>
                      </a:lnTo>
                      <a:lnTo>
                        <a:pt x="2638234" y="1050671"/>
                      </a:lnTo>
                      <a:lnTo>
                        <a:pt x="2633764" y="1049401"/>
                      </a:lnTo>
                      <a:lnTo>
                        <a:pt x="2632202" y="1049401"/>
                      </a:lnTo>
                      <a:lnTo>
                        <a:pt x="2629141" y="1051941"/>
                      </a:lnTo>
                      <a:lnTo>
                        <a:pt x="2630030" y="1057021"/>
                      </a:lnTo>
                      <a:lnTo>
                        <a:pt x="2631998" y="1059561"/>
                      </a:lnTo>
                      <a:lnTo>
                        <a:pt x="2634221" y="1062101"/>
                      </a:lnTo>
                      <a:lnTo>
                        <a:pt x="2634437" y="1063371"/>
                      </a:lnTo>
                      <a:lnTo>
                        <a:pt x="2633561" y="1062101"/>
                      </a:lnTo>
                      <a:lnTo>
                        <a:pt x="2630792" y="1060831"/>
                      </a:lnTo>
                      <a:lnTo>
                        <a:pt x="2626233" y="1060831"/>
                      </a:lnTo>
                      <a:lnTo>
                        <a:pt x="2621661" y="1062101"/>
                      </a:lnTo>
                      <a:lnTo>
                        <a:pt x="2620632" y="1060831"/>
                      </a:lnTo>
                      <a:lnTo>
                        <a:pt x="2619159" y="1060831"/>
                      </a:lnTo>
                      <a:lnTo>
                        <a:pt x="2618930" y="1062101"/>
                      </a:lnTo>
                      <a:lnTo>
                        <a:pt x="2617940" y="1062101"/>
                      </a:lnTo>
                      <a:lnTo>
                        <a:pt x="2617952" y="1064641"/>
                      </a:lnTo>
                      <a:lnTo>
                        <a:pt x="2616428" y="1067181"/>
                      </a:lnTo>
                      <a:lnTo>
                        <a:pt x="2612517" y="1067181"/>
                      </a:lnTo>
                      <a:lnTo>
                        <a:pt x="2610916" y="1068451"/>
                      </a:lnTo>
                      <a:lnTo>
                        <a:pt x="2610129" y="1068451"/>
                      </a:lnTo>
                      <a:lnTo>
                        <a:pt x="2611209" y="1070991"/>
                      </a:lnTo>
                      <a:lnTo>
                        <a:pt x="2611882" y="1069721"/>
                      </a:lnTo>
                      <a:lnTo>
                        <a:pt x="2613253" y="1069721"/>
                      </a:lnTo>
                      <a:lnTo>
                        <a:pt x="2617393" y="1068451"/>
                      </a:lnTo>
                      <a:lnTo>
                        <a:pt x="2620175" y="1067181"/>
                      </a:lnTo>
                      <a:lnTo>
                        <a:pt x="2620010" y="1063371"/>
                      </a:lnTo>
                      <a:lnTo>
                        <a:pt x="2626550" y="1063371"/>
                      </a:lnTo>
                      <a:lnTo>
                        <a:pt x="2629103" y="1062101"/>
                      </a:lnTo>
                      <a:lnTo>
                        <a:pt x="2630106" y="1062101"/>
                      </a:lnTo>
                      <a:lnTo>
                        <a:pt x="2633548" y="1064641"/>
                      </a:lnTo>
                      <a:lnTo>
                        <a:pt x="2637396" y="1065911"/>
                      </a:lnTo>
                      <a:lnTo>
                        <a:pt x="2636774" y="1063371"/>
                      </a:lnTo>
                      <a:lnTo>
                        <a:pt x="2639072" y="1063371"/>
                      </a:lnTo>
                      <a:lnTo>
                        <a:pt x="2636215" y="1060831"/>
                      </a:lnTo>
                      <a:lnTo>
                        <a:pt x="2633484" y="1058291"/>
                      </a:lnTo>
                      <a:lnTo>
                        <a:pt x="2632037" y="1057021"/>
                      </a:lnTo>
                      <a:lnTo>
                        <a:pt x="2631529" y="1053211"/>
                      </a:lnTo>
                      <a:lnTo>
                        <a:pt x="2631757" y="1051941"/>
                      </a:lnTo>
                      <a:lnTo>
                        <a:pt x="2632557" y="1051941"/>
                      </a:lnTo>
                      <a:lnTo>
                        <a:pt x="2633459" y="1050671"/>
                      </a:lnTo>
                      <a:lnTo>
                        <a:pt x="2640749" y="1053211"/>
                      </a:lnTo>
                      <a:lnTo>
                        <a:pt x="2640622" y="1050671"/>
                      </a:lnTo>
                      <a:lnTo>
                        <a:pt x="2640063" y="1048131"/>
                      </a:lnTo>
                      <a:lnTo>
                        <a:pt x="2643517" y="1046861"/>
                      </a:lnTo>
                      <a:lnTo>
                        <a:pt x="2648204" y="1046861"/>
                      </a:lnTo>
                      <a:lnTo>
                        <a:pt x="2648928" y="1045591"/>
                      </a:lnTo>
                      <a:lnTo>
                        <a:pt x="2649994" y="1044321"/>
                      </a:lnTo>
                      <a:lnTo>
                        <a:pt x="2650464" y="1043051"/>
                      </a:lnTo>
                      <a:lnTo>
                        <a:pt x="2650972" y="1043051"/>
                      </a:lnTo>
                      <a:lnTo>
                        <a:pt x="2653157" y="1044321"/>
                      </a:lnTo>
                      <a:lnTo>
                        <a:pt x="2655493" y="1043051"/>
                      </a:lnTo>
                      <a:lnTo>
                        <a:pt x="2656357" y="1043051"/>
                      </a:lnTo>
                      <a:lnTo>
                        <a:pt x="2656586" y="1040511"/>
                      </a:lnTo>
                      <a:lnTo>
                        <a:pt x="2656662" y="1037971"/>
                      </a:lnTo>
                      <a:lnTo>
                        <a:pt x="2655925" y="1032891"/>
                      </a:lnTo>
                      <a:lnTo>
                        <a:pt x="2657043" y="1029081"/>
                      </a:lnTo>
                      <a:lnTo>
                        <a:pt x="2657132" y="1027811"/>
                      </a:lnTo>
                      <a:lnTo>
                        <a:pt x="2657335" y="1026541"/>
                      </a:lnTo>
                      <a:lnTo>
                        <a:pt x="2657729" y="1025271"/>
                      </a:lnTo>
                      <a:lnTo>
                        <a:pt x="2655570" y="1021461"/>
                      </a:lnTo>
                      <a:lnTo>
                        <a:pt x="2655163" y="1021461"/>
                      </a:lnTo>
                      <a:lnTo>
                        <a:pt x="2655151" y="1018921"/>
                      </a:lnTo>
                      <a:lnTo>
                        <a:pt x="2654719" y="1017651"/>
                      </a:lnTo>
                      <a:lnTo>
                        <a:pt x="2653550" y="1016381"/>
                      </a:lnTo>
                      <a:lnTo>
                        <a:pt x="2653411" y="1016381"/>
                      </a:lnTo>
                      <a:lnTo>
                        <a:pt x="2654884" y="1011301"/>
                      </a:lnTo>
                      <a:lnTo>
                        <a:pt x="2655303" y="1010031"/>
                      </a:lnTo>
                      <a:lnTo>
                        <a:pt x="2655722" y="1008761"/>
                      </a:lnTo>
                      <a:lnTo>
                        <a:pt x="2656040" y="1007491"/>
                      </a:lnTo>
                      <a:lnTo>
                        <a:pt x="2655252" y="1003681"/>
                      </a:lnTo>
                      <a:lnTo>
                        <a:pt x="2656268" y="1002411"/>
                      </a:lnTo>
                      <a:lnTo>
                        <a:pt x="2657665" y="1001141"/>
                      </a:lnTo>
                      <a:lnTo>
                        <a:pt x="2657906" y="999871"/>
                      </a:lnTo>
                      <a:lnTo>
                        <a:pt x="2657830" y="998601"/>
                      </a:lnTo>
                      <a:lnTo>
                        <a:pt x="2657119" y="997331"/>
                      </a:lnTo>
                      <a:lnTo>
                        <a:pt x="2656281" y="996061"/>
                      </a:lnTo>
                      <a:lnTo>
                        <a:pt x="2655722" y="995286"/>
                      </a:lnTo>
                      <a:lnTo>
                        <a:pt x="2655722" y="999871"/>
                      </a:lnTo>
                      <a:lnTo>
                        <a:pt x="2654884" y="1001141"/>
                      </a:lnTo>
                      <a:lnTo>
                        <a:pt x="2652890" y="1002411"/>
                      </a:lnTo>
                      <a:lnTo>
                        <a:pt x="2653919" y="1006221"/>
                      </a:lnTo>
                      <a:lnTo>
                        <a:pt x="2647531" y="1011301"/>
                      </a:lnTo>
                      <a:lnTo>
                        <a:pt x="2645905" y="1011301"/>
                      </a:lnTo>
                      <a:lnTo>
                        <a:pt x="2642616" y="1010031"/>
                      </a:lnTo>
                      <a:lnTo>
                        <a:pt x="2642311" y="1008761"/>
                      </a:lnTo>
                      <a:lnTo>
                        <a:pt x="2641790" y="1008761"/>
                      </a:lnTo>
                      <a:lnTo>
                        <a:pt x="2641104" y="1007491"/>
                      </a:lnTo>
                      <a:lnTo>
                        <a:pt x="2640419" y="1007491"/>
                      </a:lnTo>
                      <a:lnTo>
                        <a:pt x="2639606" y="1008761"/>
                      </a:lnTo>
                      <a:lnTo>
                        <a:pt x="2637879" y="1008761"/>
                      </a:lnTo>
                      <a:lnTo>
                        <a:pt x="2634069" y="1011301"/>
                      </a:lnTo>
                      <a:lnTo>
                        <a:pt x="2630665" y="1010031"/>
                      </a:lnTo>
                      <a:lnTo>
                        <a:pt x="2632278" y="1013841"/>
                      </a:lnTo>
                      <a:lnTo>
                        <a:pt x="2634361" y="1016381"/>
                      </a:lnTo>
                      <a:lnTo>
                        <a:pt x="2634323" y="1017651"/>
                      </a:lnTo>
                      <a:lnTo>
                        <a:pt x="2632989" y="1017651"/>
                      </a:lnTo>
                      <a:lnTo>
                        <a:pt x="2632989" y="1018921"/>
                      </a:lnTo>
                      <a:lnTo>
                        <a:pt x="2632532" y="1017651"/>
                      </a:lnTo>
                      <a:lnTo>
                        <a:pt x="2631681" y="1017651"/>
                      </a:lnTo>
                      <a:lnTo>
                        <a:pt x="2630170" y="1015111"/>
                      </a:lnTo>
                      <a:lnTo>
                        <a:pt x="2624620" y="1015111"/>
                      </a:lnTo>
                      <a:lnTo>
                        <a:pt x="2623515" y="1012571"/>
                      </a:lnTo>
                      <a:lnTo>
                        <a:pt x="2625699" y="1012571"/>
                      </a:lnTo>
                      <a:lnTo>
                        <a:pt x="2626106" y="1011301"/>
                      </a:lnTo>
                      <a:lnTo>
                        <a:pt x="2626436" y="1011301"/>
                      </a:lnTo>
                      <a:lnTo>
                        <a:pt x="2627045" y="1010031"/>
                      </a:lnTo>
                      <a:lnTo>
                        <a:pt x="2627769" y="1008761"/>
                      </a:lnTo>
                      <a:lnTo>
                        <a:pt x="2626322" y="1001141"/>
                      </a:lnTo>
                      <a:lnTo>
                        <a:pt x="2626360" y="998601"/>
                      </a:lnTo>
                      <a:lnTo>
                        <a:pt x="2626639" y="998601"/>
                      </a:lnTo>
                      <a:lnTo>
                        <a:pt x="2628341" y="997331"/>
                      </a:lnTo>
                      <a:lnTo>
                        <a:pt x="2628519" y="996061"/>
                      </a:lnTo>
                      <a:lnTo>
                        <a:pt x="2628633" y="993521"/>
                      </a:lnTo>
                      <a:lnTo>
                        <a:pt x="2628379" y="993521"/>
                      </a:lnTo>
                      <a:lnTo>
                        <a:pt x="2628087" y="992251"/>
                      </a:lnTo>
                      <a:lnTo>
                        <a:pt x="2627477" y="992251"/>
                      </a:lnTo>
                      <a:lnTo>
                        <a:pt x="2625877" y="990981"/>
                      </a:lnTo>
                      <a:lnTo>
                        <a:pt x="2625191" y="990981"/>
                      </a:lnTo>
                      <a:lnTo>
                        <a:pt x="2625026" y="989711"/>
                      </a:lnTo>
                      <a:lnTo>
                        <a:pt x="2625229" y="989711"/>
                      </a:lnTo>
                      <a:lnTo>
                        <a:pt x="2627503" y="988441"/>
                      </a:lnTo>
                      <a:lnTo>
                        <a:pt x="2624721" y="987171"/>
                      </a:lnTo>
                      <a:lnTo>
                        <a:pt x="2621280" y="987171"/>
                      </a:lnTo>
                      <a:lnTo>
                        <a:pt x="2620556" y="985901"/>
                      </a:lnTo>
                      <a:lnTo>
                        <a:pt x="2620086" y="984631"/>
                      </a:lnTo>
                      <a:lnTo>
                        <a:pt x="2619476" y="984631"/>
                      </a:lnTo>
                      <a:lnTo>
                        <a:pt x="2617622" y="982091"/>
                      </a:lnTo>
                      <a:lnTo>
                        <a:pt x="2616784" y="980821"/>
                      </a:lnTo>
                      <a:lnTo>
                        <a:pt x="2616454" y="980821"/>
                      </a:lnTo>
                      <a:lnTo>
                        <a:pt x="2616263" y="979551"/>
                      </a:lnTo>
                      <a:lnTo>
                        <a:pt x="2616123" y="979551"/>
                      </a:lnTo>
                      <a:lnTo>
                        <a:pt x="2616073" y="978281"/>
                      </a:lnTo>
                      <a:lnTo>
                        <a:pt x="2615857" y="977011"/>
                      </a:lnTo>
                      <a:lnTo>
                        <a:pt x="2615933" y="975741"/>
                      </a:lnTo>
                      <a:lnTo>
                        <a:pt x="2616733" y="971931"/>
                      </a:lnTo>
                      <a:lnTo>
                        <a:pt x="2616962" y="970661"/>
                      </a:lnTo>
                      <a:lnTo>
                        <a:pt x="2617101" y="969391"/>
                      </a:lnTo>
                      <a:lnTo>
                        <a:pt x="2616987" y="968121"/>
                      </a:lnTo>
                      <a:lnTo>
                        <a:pt x="2616733" y="968121"/>
                      </a:lnTo>
                      <a:lnTo>
                        <a:pt x="2616174" y="966851"/>
                      </a:lnTo>
                      <a:lnTo>
                        <a:pt x="2615336" y="966851"/>
                      </a:lnTo>
                      <a:lnTo>
                        <a:pt x="2609469" y="960501"/>
                      </a:lnTo>
                      <a:lnTo>
                        <a:pt x="2608237" y="957961"/>
                      </a:lnTo>
                      <a:lnTo>
                        <a:pt x="2607322" y="956691"/>
                      </a:lnTo>
                      <a:lnTo>
                        <a:pt x="2606408" y="955421"/>
                      </a:lnTo>
                      <a:lnTo>
                        <a:pt x="2605659" y="954151"/>
                      </a:lnTo>
                      <a:lnTo>
                        <a:pt x="2604897" y="952881"/>
                      </a:lnTo>
                      <a:lnTo>
                        <a:pt x="2600007" y="952881"/>
                      </a:lnTo>
                      <a:lnTo>
                        <a:pt x="2598991" y="951611"/>
                      </a:lnTo>
                      <a:lnTo>
                        <a:pt x="2595524" y="951611"/>
                      </a:lnTo>
                      <a:lnTo>
                        <a:pt x="2594800" y="952881"/>
                      </a:lnTo>
                      <a:lnTo>
                        <a:pt x="2591765" y="955421"/>
                      </a:lnTo>
                      <a:lnTo>
                        <a:pt x="2590965" y="955421"/>
                      </a:lnTo>
                      <a:lnTo>
                        <a:pt x="2590317" y="956691"/>
                      </a:lnTo>
                      <a:lnTo>
                        <a:pt x="2590228" y="957961"/>
                      </a:lnTo>
                      <a:lnTo>
                        <a:pt x="2587904" y="957961"/>
                      </a:lnTo>
                      <a:lnTo>
                        <a:pt x="2586761" y="959231"/>
                      </a:lnTo>
                      <a:lnTo>
                        <a:pt x="2585275" y="960501"/>
                      </a:lnTo>
                      <a:lnTo>
                        <a:pt x="2584970" y="960501"/>
                      </a:lnTo>
                      <a:lnTo>
                        <a:pt x="2583269" y="959231"/>
                      </a:lnTo>
                      <a:lnTo>
                        <a:pt x="2581757" y="957961"/>
                      </a:lnTo>
                      <a:lnTo>
                        <a:pt x="2578735" y="955421"/>
                      </a:lnTo>
                      <a:lnTo>
                        <a:pt x="2576169" y="955421"/>
                      </a:lnTo>
                      <a:lnTo>
                        <a:pt x="2574747" y="956691"/>
                      </a:lnTo>
                      <a:lnTo>
                        <a:pt x="2573617" y="956691"/>
                      </a:lnTo>
                      <a:lnTo>
                        <a:pt x="2571407" y="959231"/>
                      </a:lnTo>
                      <a:lnTo>
                        <a:pt x="2570302" y="959231"/>
                      </a:lnTo>
                      <a:lnTo>
                        <a:pt x="2568041" y="961771"/>
                      </a:lnTo>
                      <a:lnTo>
                        <a:pt x="2564333" y="964311"/>
                      </a:lnTo>
                      <a:lnTo>
                        <a:pt x="2563774" y="965581"/>
                      </a:lnTo>
                      <a:lnTo>
                        <a:pt x="2562212" y="965581"/>
                      </a:lnTo>
                      <a:lnTo>
                        <a:pt x="2561767" y="964311"/>
                      </a:lnTo>
                      <a:lnTo>
                        <a:pt x="2561602" y="964311"/>
                      </a:lnTo>
                      <a:lnTo>
                        <a:pt x="2563888" y="960501"/>
                      </a:lnTo>
                      <a:lnTo>
                        <a:pt x="2564130" y="959231"/>
                      </a:lnTo>
                      <a:lnTo>
                        <a:pt x="2564587" y="959231"/>
                      </a:lnTo>
                      <a:lnTo>
                        <a:pt x="2564727" y="957961"/>
                      </a:lnTo>
                      <a:lnTo>
                        <a:pt x="2564879" y="957961"/>
                      </a:lnTo>
                      <a:lnTo>
                        <a:pt x="2563698" y="954151"/>
                      </a:lnTo>
                      <a:lnTo>
                        <a:pt x="2563749" y="952881"/>
                      </a:lnTo>
                      <a:lnTo>
                        <a:pt x="2564371" y="951611"/>
                      </a:lnTo>
                      <a:lnTo>
                        <a:pt x="2564841" y="951611"/>
                      </a:lnTo>
                      <a:lnTo>
                        <a:pt x="2565997" y="949071"/>
                      </a:lnTo>
                      <a:lnTo>
                        <a:pt x="2566098" y="946531"/>
                      </a:lnTo>
                      <a:lnTo>
                        <a:pt x="2566314" y="945261"/>
                      </a:lnTo>
                      <a:lnTo>
                        <a:pt x="2567254" y="945261"/>
                      </a:lnTo>
                      <a:lnTo>
                        <a:pt x="2567368" y="943991"/>
                      </a:lnTo>
                      <a:lnTo>
                        <a:pt x="2567559" y="942721"/>
                      </a:lnTo>
                      <a:lnTo>
                        <a:pt x="2566174" y="940181"/>
                      </a:lnTo>
                      <a:lnTo>
                        <a:pt x="2565450" y="938911"/>
                      </a:lnTo>
                      <a:lnTo>
                        <a:pt x="2565463" y="937641"/>
                      </a:lnTo>
                      <a:lnTo>
                        <a:pt x="2566098" y="937641"/>
                      </a:lnTo>
                      <a:lnTo>
                        <a:pt x="2566365" y="936371"/>
                      </a:lnTo>
                      <a:lnTo>
                        <a:pt x="2566555" y="936371"/>
                      </a:lnTo>
                      <a:lnTo>
                        <a:pt x="2566263" y="935101"/>
                      </a:lnTo>
                      <a:lnTo>
                        <a:pt x="2564688" y="935101"/>
                      </a:lnTo>
                      <a:lnTo>
                        <a:pt x="2558580" y="936371"/>
                      </a:lnTo>
                      <a:lnTo>
                        <a:pt x="2556052" y="936371"/>
                      </a:lnTo>
                      <a:lnTo>
                        <a:pt x="2554884" y="933831"/>
                      </a:lnTo>
                      <a:lnTo>
                        <a:pt x="2554401" y="933831"/>
                      </a:lnTo>
                      <a:lnTo>
                        <a:pt x="2554186" y="932561"/>
                      </a:lnTo>
                      <a:lnTo>
                        <a:pt x="2555036" y="932561"/>
                      </a:lnTo>
                      <a:lnTo>
                        <a:pt x="2555189" y="931291"/>
                      </a:lnTo>
                      <a:lnTo>
                        <a:pt x="2555735" y="930021"/>
                      </a:lnTo>
                      <a:lnTo>
                        <a:pt x="2555989" y="930021"/>
                      </a:lnTo>
                      <a:lnTo>
                        <a:pt x="2556421" y="927481"/>
                      </a:lnTo>
                      <a:lnTo>
                        <a:pt x="2556256" y="926211"/>
                      </a:lnTo>
                      <a:lnTo>
                        <a:pt x="2554694" y="924941"/>
                      </a:lnTo>
                      <a:lnTo>
                        <a:pt x="2554224" y="924458"/>
                      </a:lnTo>
                      <a:lnTo>
                        <a:pt x="2554224" y="927481"/>
                      </a:lnTo>
                      <a:lnTo>
                        <a:pt x="2554059" y="928751"/>
                      </a:lnTo>
                      <a:lnTo>
                        <a:pt x="2553932" y="928751"/>
                      </a:lnTo>
                      <a:lnTo>
                        <a:pt x="2553716" y="930021"/>
                      </a:lnTo>
                      <a:lnTo>
                        <a:pt x="2553246" y="931291"/>
                      </a:lnTo>
                      <a:lnTo>
                        <a:pt x="2552662" y="931291"/>
                      </a:lnTo>
                      <a:lnTo>
                        <a:pt x="2550591" y="926211"/>
                      </a:lnTo>
                      <a:lnTo>
                        <a:pt x="2550947" y="924941"/>
                      </a:lnTo>
                      <a:lnTo>
                        <a:pt x="2552077" y="924941"/>
                      </a:lnTo>
                      <a:lnTo>
                        <a:pt x="2552674" y="926211"/>
                      </a:lnTo>
                      <a:lnTo>
                        <a:pt x="2553792" y="927481"/>
                      </a:lnTo>
                      <a:lnTo>
                        <a:pt x="2554224" y="927481"/>
                      </a:lnTo>
                      <a:lnTo>
                        <a:pt x="2554224" y="924458"/>
                      </a:lnTo>
                      <a:lnTo>
                        <a:pt x="2553487" y="923671"/>
                      </a:lnTo>
                      <a:lnTo>
                        <a:pt x="2552674" y="922401"/>
                      </a:lnTo>
                      <a:lnTo>
                        <a:pt x="2550807" y="922401"/>
                      </a:lnTo>
                      <a:lnTo>
                        <a:pt x="2550401" y="923671"/>
                      </a:lnTo>
                      <a:lnTo>
                        <a:pt x="2549829" y="923671"/>
                      </a:lnTo>
                      <a:lnTo>
                        <a:pt x="2550528" y="921131"/>
                      </a:lnTo>
                      <a:lnTo>
                        <a:pt x="2551061" y="919861"/>
                      </a:lnTo>
                      <a:lnTo>
                        <a:pt x="2552293" y="918591"/>
                      </a:lnTo>
                      <a:lnTo>
                        <a:pt x="2552979" y="918591"/>
                      </a:lnTo>
                      <a:lnTo>
                        <a:pt x="2555532" y="917321"/>
                      </a:lnTo>
                      <a:lnTo>
                        <a:pt x="2557665" y="917321"/>
                      </a:lnTo>
                      <a:lnTo>
                        <a:pt x="2556726" y="916051"/>
                      </a:lnTo>
                      <a:lnTo>
                        <a:pt x="2556218" y="914781"/>
                      </a:lnTo>
                      <a:lnTo>
                        <a:pt x="2556472" y="913511"/>
                      </a:lnTo>
                      <a:lnTo>
                        <a:pt x="2557513" y="912241"/>
                      </a:lnTo>
                      <a:lnTo>
                        <a:pt x="2557970" y="910971"/>
                      </a:lnTo>
                      <a:lnTo>
                        <a:pt x="2558262" y="910971"/>
                      </a:lnTo>
                      <a:lnTo>
                        <a:pt x="2559685" y="909701"/>
                      </a:lnTo>
                      <a:lnTo>
                        <a:pt x="2562885" y="907161"/>
                      </a:lnTo>
                      <a:lnTo>
                        <a:pt x="2563558" y="909701"/>
                      </a:lnTo>
                      <a:lnTo>
                        <a:pt x="2564168" y="912241"/>
                      </a:lnTo>
                      <a:lnTo>
                        <a:pt x="2569603" y="912241"/>
                      </a:lnTo>
                      <a:lnTo>
                        <a:pt x="2571966" y="913511"/>
                      </a:lnTo>
                      <a:lnTo>
                        <a:pt x="2572702" y="913511"/>
                      </a:lnTo>
                      <a:lnTo>
                        <a:pt x="2575509" y="910971"/>
                      </a:lnTo>
                      <a:lnTo>
                        <a:pt x="2573845" y="909701"/>
                      </a:lnTo>
                      <a:lnTo>
                        <a:pt x="2573210" y="909701"/>
                      </a:lnTo>
                      <a:lnTo>
                        <a:pt x="2572880" y="908431"/>
                      </a:lnTo>
                      <a:lnTo>
                        <a:pt x="2573490" y="904621"/>
                      </a:lnTo>
                      <a:lnTo>
                        <a:pt x="2573667" y="902081"/>
                      </a:lnTo>
                      <a:lnTo>
                        <a:pt x="2573477" y="902081"/>
                      </a:lnTo>
                      <a:lnTo>
                        <a:pt x="2572232" y="899541"/>
                      </a:lnTo>
                      <a:lnTo>
                        <a:pt x="2570696" y="897001"/>
                      </a:lnTo>
                      <a:lnTo>
                        <a:pt x="2570429" y="897001"/>
                      </a:lnTo>
                      <a:lnTo>
                        <a:pt x="2570556" y="895731"/>
                      </a:lnTo>
                      <a:lnTo>
                        <a:pt x="2571839" y="893191"/>
                      </a:lnTo>
                      <a:lnTo>
                        <a:pt x="2573096" y="893191"/>
                      </a:lnTo>
                      <a:lnTo>
                        <a:pt x="2576195" y="894461"/>
                      </a:lnTo>
                      <a:lnTo>
                        <a:pt x="2577173" y="894461"/>
                      </a:lnTo>
                      <a:lnTo>
                        <a:pt x="2578798" y="895731"/>
                      </a:lnTo>
                      <a:lnTo>
                        <a:pt x="2580652" y="898271"/>
                      </a:lnTo>
                      <a:lnTo>
                        <a:pt x="2581541" y="899541"/>
                      </a:lnTo>
                      <a:lnTo>
                        <a:pt x="2582037" y="899541"/>
                      </a:lnTo>
                      <a:lnTo>
                        <a:pt x="2583307" y="900811"/>
                      </a:lnTo>
                      <a:lnTo>
                        <a:pt x="2584335" y="904621"/>
                      </a:lnTo>
                      <a:lnTo>
                        <a:pt x="2584780" y="905891"/>
                      </a:lnTo>
                      <a:lnTo>
                        <a:pt x="2587256" y="905891"/>
                      </a:lnTo>
                      <a:lnTo>
                        <a:pt x="2588463" y="904621"/>
                      </a:lnTo>
                      <a:lnTo>
                        <a:pt x="2588958" y="904621"/>
                      </a:lnTo>
                      <a:lnTo>
                        <a:pt x="2588552" y="905891"/>
                      </a:lnTo>
                      <a:lnTo>
                        <a:pt x="2588298" y="905891"/>
                      </a:lnTo>
                      <a:lnTo>
                        <a:pt x="2587917" y="907161"/>
                      </a:lnTo>
                      <a:lnTo>
                        <a:pt x="2587828" y="908431"/>
                      </a:lnTo>
                      <a:lnTo>
                        <a:pt x="2587650" y="908431"/>
                      </a:lnTo>
                      <a:lnTo>
                        <a:pt x="2587764" y="909701"/>
                      </a:lnTo>
                      <a:lnTo>
                        <a:pt x="2587828" y="910971"/>
                      </a:lnTo>
                      <a:lnTo>
                        <a:pt x="2588031" y="910971"/>
                      </a:lnTo>
                      <a:lnTo>
                        <a:pt x="2588260" y="912241"/>
                      </a:lnTo>
                      <a:lnTo>
                        <a:pt x="2589250" y="914781"/>
                      </a:lnTo>
                      <a:lnTo>
                        <a:pt x="2590800" y="917321"/>
                      </a:lnTo>
                      <a:lnTo>
                        <a:pt x="2593098" y="918591"/>
                      </a:lnTo>
                      <a:lnTo>
                        <a:pt x="2595156" y="918591"/>
                      </a:lnTo>
                      <a:lnTo>
                        <a:pt x="2596642" y="919861"/>
                      </a:lnTo>
                      <a:lnTo>
                        <a:pt x="2599512" y="919861"/>
                      </a:lnTo>
                      <a:lnTo>
                        <a:pt x="2599791" y="921131"/>
                      </a:lnTo>
                      <a:lnTo>
                        <a:pt x="2600414" y="919861"/>
                      </a:lnTo>
                      <a:lnTo>
                        <a:pt x="2600731" y="919861"/>
                      </a:lnTo>
                      <a:lnTo>
                        <a:pt x="2600693" y="918591"/>
                      </a:lnTo>
                      <a:lnTo>
                        <a:pt x="2601493" y="919861"/>
                      </a:lnTo>
                      <a:lnTo>
                        <a:pt x="2601950" y="919861"/>
                      </a:lnTo>
                      <a:lnTo>
                        <a:pt x="2602407" y="918591"/>
                      </a:lnTo>
                      <a:lnTo>
                        <a:pt x="2602954" y="917321"/>
                      </a:lnTo>
                      <a:lnTo>
                        <a:pt x="2605430" y="916051"/>
                      </a:lnTo>
                      <a:lnTo>
                        <a:pt x="2607449" y="916051"/>
                      </a:lnTo>
                      <a:lnTo>
                        <a:pt x="2608402" y="917321"/>
                      </a:lnTo>
                      <a:lnTo>
                        <a:pt x="2608999" y="917321"/>
                      </a:lnTo>
                      <a:lnTo>
                        <a:pt x="2609253" y="918591"/>
                      </a:lnTo>
                      <a:lnTo>
                        <a:pt x="2611082" y="918591"/>
                      </a:lnTo>
                      <a:lnTo>
                        <a:pt x="2611475" y="919861"/>
                      </a:lnTo>
                      <a:lnTo>
                        <a:pt x="2611691" y="919861"/>
                      </a:lnTo>
                      <a:lnTo>
                        <a:pt x="2610294" y="921131"/>
                      </a:lnTo>
                      <a:lnTo>
                        <a:pt x="2609215" y="921131"/>
                      </a:lnTo>
                      <a:lnTo>
                        <a:pt x="2607907" y="923671"/>
                      </a:lnTo>
                      <a:lnTo>
                        <a:pt x="2613025" y="923671"/>
                      </a:lnTo>
                      <a:lnTo>
                        <a:pt x="2614523" y="924941"/>
                      </a:lnTo>
                      <a:lnTo>
                        <a:pt x="2616809" y="927481"/>
                      </a:lnTo>
                      <a:lnTo>
                        <a:pt x="2617051" y="928751"/>
                      </a:lnTo>
                      <a:lnTo>
                        <a:pt x="2616657" y="930021"/>
                      </a:lnTo>
                      <a:lnTo>
                        <a:pt x="2616352" y="930021"/>
                      </a:lnTo>
                      <a:lnTo>
                        <a:pt x="2615971" y="931291"/>
                      </a:lnTo>
                      <a:lnTo>
                        <a:pt x="2613926" y="932561"/>
                      </a:lnTo>
                      <a:lnTo>
                        <a:pt x="2613202" y="932561"/>
                      </a:lnTo>
                      <a:lnTo>
                        <a:pt x="2613037" y="933831"/>
                      </a:lnTo>
                      <a:lnTo>
                        <a:pt x="2610878" y="933831"/>
                      </a:lnTo>
                      <a:lnTo>
                        <a:pt x="2609088" y="932561"/>
                      </a:lnTo>
                      <a:lnTo>
                        <a:pt x="2604274" y="932561"/>
                      </a:lnTo>
                      <a:lnTo>
                        <a:pt x="2603576" y="933831"/>
                      </a:lnTo>
                      <a:lnTo>
                        <a:pt x="2603690" y="935101"/>
                      </a:lnTo>
                      <a:lnTo>
                        <a:pt x="2603766" y="936371"/>
                      </a:lnTo>
                      <a:lnTo>
                        <a:pt x="2603728" y="937641"/>
                      </a:lnTo>
                      <a:lnTo>
                        <a:pt x="2603017" y="937641"/>
                      </a:lnTo>
                      <a:lnTo>
                        <a:pt x="2602573" y="938911"/>
                      </a:lnTo>
                      <a:lnTo>
                        <a:pt x="2600464" y="938911"/>
                      </a:lnTo>
                      <a:lnTo>
                        <a:pt x="2606167" y="943991"/>
                      </a:lnTo>
                      <a:lnTo>
                        <a:pt x="2618549" y="949071"/>
                      </a:lnTo>
                      <a:lnTo>
                        <a:pt x="2619959" y="950341"/>
                      </a:lnTo>
                      <a:lnTo>
                        <a:pt x="2619667" y="950341"/>
                      </a:lnTo>
                      <a:lnTo>
                        <a:pt x="2619527" y="951611"/>
                      </a:lnTo>
                      <a:lnTo>
                        <a:pt x="2619464" y="952881"/>
                      </a:lnTo>
                      <a:lnTo>
                        <a:pt x="2619641" y="952881"/>
                      </a:lnTo>
                      <a:lnTo>
                        <a:pt x="2620822" y="955421"/>
                      </a:lnTo>
                      <a:lnTo>
                        <a:pt x="2625737" y="959231"/>
                      </a:lnTo>
                      <a:lnTo>
                        <a:pt x="2626957" y="960501"/>
                      </a:lnTo>
                      <a:lnTo>
                        <a:pt x="2628379" y="964311"/>
                      </a:lnTo>
                      <a:lnTo>
                        <a:pt x="2629268" y="964311"/>
                      </a:lnTo>
                      <a:lnTo>
                        <a:pt x="2630449" y="965581"/>
                      </a:lnTo>
                      <a:lnTo>
                        <a:pt x="2634043" y="968121"/>
                      </a:lnTo>
                      <a:lnTo>
                        <a:pt x="2636431" y="970661"/>
                      </a:lnTo>
                      <a:lnTo>
                        <a:pt x="2636977" y="970661"/>
                      </a:lnTo>
                      <a:lnTo>
                        <a:pt x="2637853" y="973201"/>
                      </a:lnTo>
                      <a:lnTo>
                        <a:pt x="2638018" y="973201"/>
                      </a:lnTo>
                      <a:lnTo>
                        <a:pt x="2638183" y="974471"/>
                      </a:lnTo>
                      <a:lnTo>
                        <a:pt x="2639911" y="974471"/>
                      </a:lnTo>
                      <a:lnTo>
                        <a:pt x="2639898" y="978281"/>
                      </a:lnTo>
                      <a:lnTo>
                        <a:pt x="2640088" y="978281"/>
                      </a:lnTo>
                      <a:lnTo>
                        <a:pt x="2640203" y="979551"/>
                      </a:lnTo>
                      <a:lnTo>
                        <a:pt x="2640380" y="979551"/>
                      </a:lnTo>
                      <a:lnTo>
                        <a:pt x="2640584" y="980821"/>
                      </a:lnTo>
                      <a:lnTo>
                        <a:pt x="2640774" y="980821"/>
                      </a:lnTo>
                      <a:lnTo>
                        <a:pt x="2641650" y="982091"/>
                      </a:lnTo>
                      <a:lnTo>
                        <a:pt x="2644978" y="982091"/>
                      </a:lnTo>
                      <a:lnTo>
                        <a:pt x="2645537" y="983361"/>
                      </a:lnTo>
                      <a:lnTo>
                        <a:pt x="2645841" y="983361"/>
                      </a:lnTo>
                      <a:lnTo>
                        <a:pt x="2646095" y="984631"/>
                      </a:lnTo>
                      <a:lnTo>
                        <a:pt x="2648191" y="984631"/>
                      </a:lnTo>
                      <a:lnTo>
                        <a:pt x="2648559" y="985901"/>
                      </a:lnTo>
                      <a:lnTo>
                        <a:pt x="2649093" y="985901"/>
                      </a:lnTo>
                      <a:lnTo>
                        <a:pt x="2652306" y="987171"/>
                      </a:lnTo>
                      <a:lnTo>
                        <a:pt x="2652534" y="988441"/>
                      </a:lnTo>
                      <a:lnTo>
                        <a:pt x="2651709" y="988441"/>
                      </a:lnTo>
                      <a:lnTo>
                        <a:pt x="2651239" y="989711"/>
                      </a:lnTo>
                      <a:lnTo>
                        <a:pt x="2649156" y="989711"/>
                      </a:lnTo>
                      <a:lnTo>
                        <a:pt x="2648877" y="990981"/>
                      </a:lnTo>
                      <a:lnTo>
                        <a:pt x="2648750" y="992251"/>
                      </a:lnTo>
                      <a:lnTo>
                        <a:pt x="2649232" y="992251"/>
                      </a:lnTo>
                      <a:lnTo>
                        <a:pt x="2649613" y="993521"/>
                      </a:lnTo>
                      <a:lnTo>
                        <a:pt x="2650553" y="994791"/>
                      </a:lnTo>
                      <a:lnTo>
                        <a:pt x="2653982" y="997331"/>
                      </a:lnTo>
                      <a:lnTo>
                        <a:pt x="2654693" y="997331"/>
                      </a:lnTo>
                      <a:lnTo>
                        <a:pt x="2655265" y="998601"/>
                      </a:lnTo>
                      <a:lnTo>
                        <a:pt x="2655722" y="999871"/>
                      </a:lnTo>
                      <a:lnTo>
                        <a:pt x="2655722" y="995286"/>
                      </a:lnTo>
                      <a:lnTo>
                        <a:pt x="2655379" y="994791"/>
                      </a:lnTo>
                      <a:lnTo>
                        <a:pt x="2652077" y="992251"/>
                      </a:lnTo>
                      <a:lnTo>
                        <a:pt x="2651099" y="990981"/>
                      </a:lnTo>
                      <a:lnTo>
                        <a:pt x="2653411" y="990981"/>
                      </a:lnTo>
                      <a:lnTo>
                        <a:pt x="2653766" y="989711"/>
                      </a:lnTo>
                      <a:lnTo>
                        <a:pt x="2654350" y="989711"/>
                      </a:lnTo>
                      <a:lnTo>
                        <a:pt x="2654579" y="988441"/>
                      </a:lnTo>
                      <a:lnTo>
                        <a:pt x="2654770" y="988441"/>
                      </a:lnTo>
                      <a:lnTo>
                        <a:pt x="2654884" y="987171"/>
                      </a:lnTo>
                      <a:lnTo>
                        <a:pt x="2654262" y="987171"/>
                      </a:lnTo>
                      <a:lnTo>
                        <a:pt x="2653665" y="985901"/>
                      </a:lnTo>
                      <a:lnTo>
                        <a:pt x="2650794" y="984631"/>
                      </a:lnTo>
                      <a:lnTo>
                        <a:pt x="2650363" y="984631"/>
                      </a:lnTo>
                      <a:lnTo>
                        <a:pt x="2650007" y="983361"/>
                      </a:lnTo>
                      <a:lnTo>
                        <a:pt x="2647835" y="983361"/>
                      </a:lnTo>
                      <a:lnTo>
                        <a:pt x="2647632" y="982091"/>
                      </a:lnTo>
                      <a:lnTo>
                        <a:pt x="2647429" y="982091"/>
                      </a:lnTo>
                      <a:lnTo>
                        <a:pt x="2646832" y="980821"/>
                      </a:lnTo>
                      <a:lnTo>
                        <a:pt x="2646527" y="980821"/>
                      </a:lnTo>
                      <a:lnTo>
                        <a:pt x="2645994" y="979551"/>
                      </a:lnTo>
                      <a:lnTo>
                        <a:pt x="2643695" y="979551"/>
                      </a:lnTo>
                      <a:lnTo>
                        <a:pt x="2643390" y="980821"/>
                      </a:lnTo>
                      <a:lnTo>
                        <a:pt x="2642819" y="980821"/>
                      </a:lnTo>
                      <a:lnTo>
                        <a:pt x="2642679" y="979551"/>
                      </a:lnTo>
                      <a:lnTo>
                        <a:pt x="2642476" y="979551"/>
                      </a:lnTo>
                      <a:lnTo>
                        <a:pt x="2642197" y="978281"/>
                      </a:lnTo>
                      <a:lnTo>
                        <a:pt x="2642057" y="978281"/>
                      </a:lnTo>
                      <a:lnTo>
                        <a:pt x="2642031" y="975741"/>
                      </a:lnTo>
                      <a:lnTo>
                        <a:pt x="2642031" y="973201"/>
                      </a:lnTo>
                      <a:lnTo>
                        <a:pt x="2640063" y="973201"/>
                      </a:lnTo>
                      <a:lnTo>
                        <a:pt x="2639771" y="971931"/>
                      </a:lnTo>
                      <a:lnTo>
                        <a:pt x="2638996" y="970661"/>
                      </a:lnTo>
                      <a:lnTo>
                        <a:pt x="2638831" y="969391"/>
                      </a:lnTo>
                      <a:lnTo>
                        <a:pt x="2638615" y="969391"/>
                      </a:lnTo>
                      <a:lnTo>
                        <a:pt x="2637980" y="968121"/>
                      </a:lnTo>
                      <a:lnTo>
                        <a:pt x="2633065" y="965581"/>
                      </a:lnTo>
                      <a:lnTo>
                        <a:pt x="2631884" y="964311"/>
                      </a:lnTo>
                      <a:lnTo>
                        <a:pt x="2631033" y="964311"/>
                      </a:lnTo>
                      <a:lnTo>
                        <a:pt x="2630843" y="963041"/>
                      </a:lnTo>
                      <a:lnTo>
                        <a:pt x="2630208" y="963041"/>
                      </a:lnTo>
                      <a:lnTo>
                        <a:pt x="2628735" y="959231"/>
                      </a:lnTo>
                      <a:lnTo>
                        <a:pt x="2627007" y="957961"/>
                      </a:lnTo>
                      <a:lnTo>
                        <a:pt x="2622499" y="954151"/>
                      </a:lnTo>
                      <a:lnTo>
                        <a:pt x="2621673" y="952881"/>
                      </a:lnTo>
                      <a:lnTo>
                        <a:pt x="2621572" y="951611"/>
                      </a:lnTo>
                      <a:lnTo>
                        <a:pt x="2621902" y="951611"/>
                      </a:lnTo>
                      <a:lnTo>
                        <a:pt x="2622067" y="950341"/>
                      </a:lnTo>
                      <a:lnTo>
                        <a:pt x="2623197" y="949071"/>
                      </a:lnTo>
                      <a:lnTo>
                        <a:pt x="2620238" y="947801"/>
                      </a:lnTo>
                      <a:lnTo>
                        <a:pt x="2608224" y="941451"/>
                      </a:lnTo>
                      <a:lnTo>
                        <a:pt x="2604465" y="938911"/>
                      </a:lnTo>
                      <a:lnTo>
                        <a:pt x="2605316" y="938911"/>
                      </a:lnTo>
                      <a:lnTo>
                        <a:pt x="2605544" y="937641"/>
                      </a:lnTo>
                      <a:lnTo>
                        <a:pt x="2606040" y="937641"/>
                      </a:lnTo>
                      <a:lnTo>
                        <a:pt x="2605824" y="935101"/>
                      </a:lnTo>
                      <a:lnTo>
                        <a:pt x="2608211" y="935101"/>
                      </a:lnTo>
                      <a:lnTo>
                        <a:pt x="2610383" y="936371"/>
                      </a:lnTo>
                      <a:lnTo>
                        <a:pt x="2613698" y="936371"/>
                      </a:lnTo>
                      <a:lnTo>
                        <a:pt x="2613990" y="935101"/>
                      </a:lnTo>
                      <a:lnTo>
                        <a:pt x="2614917" y="935101"/>
                      </a:lnTo>
                      <a:lnTo>
                        <a:pt x="2615019" y="933831"/>
                      </a:lnTo>
                      <a:lnTo>
                        <a:pt x="2616098" y="933831"/>
                      </a:lnTo>
                      <a:lnTo>
                        <a:pt x="2617444" y="932561"/>
                      </a:lnTo>
                      <a:lnTo>
                        <a:pt x="2618028" y="931291"/>
                      </a:lnTo>
                      <a:lnTo>
                        <a:pt x="2618867" y="930021"/>
                      </a:lnTo>
                      <a:lnTo>
                        <a:pt x="2619171" y="928751"/>
                      </a:lnTo>
                      <a:lnTo>
                        <a:pt x="2619019" y="927481"/>
                      </a:lnTo>
                      <a:lnTo>
                        <a:pt x="2618740" y="926211"/>
                      </a:lnTo>
                      <a:lnTo>
                        <a:pt x="2615831" y="923671"/>
                      </a:lnTo>
                      <a:lnTo>
                        <a:pt x="2614447" y="922401"/>
                      </a:lnTo>
                      <a:lnTo>
                        <a:pt x="2613152" y="922401"/>
                      </a:lnTo>
                      <a:lnTo>
                        <a:pt x="2613520" y="921131"/>
                      </a:lnTo>
                      <a:lnTo>
                        <a:pt x="2614269" y="921131"/>
                      </a:lnTo>
                      <a:lnTo>
                        <a:pt x="2614409" y="919861"/>
                      </a:lnTo>
                      <a:lnTo>
                        <a:pt x="2614193" y="918591"/>
                      </a:lnTo>
                      <a:lnTo>
                        <a:pt x="2613634" y="918591"/>
                      </a:lnTo>
                      <a:lnTo>
                        <a:pt x="2612567" y="917321"/>
                      </a:lnTo>
                      <a:lnTo>
                        <a:pt x="2610853" y="917321"/>
                      </a:lnTo>
                      <a:lnTo>
                        <a:pt x="2610764" y="916051"/>
                      </a:lnTo>
                      <a:lnTo>
                        <a:pt x="2610091" y="917321"/>
                      </a:lnTo>
                      <a:lnTo>
                        <a:pt x="2610497" y="916051"/>
                      </a:lnTo>
                      <a:lnTo>
                        <a:pt x="2610269" y="916051"/>
                      </a:lnTo>
                      <a:lnTo>
                        <a:pt x="2609583" y="917321"/>
                      </a:lnTo>
                      <a:lnTo>
                        <a:pt x="2609951" y="916051"/>
                      </a:lnTo>
                      <a:lnTo>
                        <a:pt x="2609799" y="916051"/>
                      </a:lnTo>
                      <a:lnTo>
                        <a:pt x="2608643" y="914781"/>
                      </a:lnTo>
                      <a:lnTo>
                        <a:pt x="2607297" y="914781"/>
                      </a:lnTo>
                      <a:lnTo>
                        <a:pt x="2606497" y="913511"/>
                      </a:lnTo>
                      <a:lnTo>
                        <a:pt x="2605862" y="913511"/>
                      </a:lnTo>
                      <a:lnTo>
                        <a:pt x="2604693" y="914781"/>
                      </a:lnTo>
                      <a:lnTo>
                        <a:pt x="2604287" y="914781"/>
                      </a:lnTo>
                      <a:lnTo>
                        <a:pt x="2601239" y="916051"/>
                      </a:lnTo>
                      <a:lnTo>
                        <a:pt x="2600515" y="917321"/>
                      </a:lnTo>
                      <a:lnTo>
                        <a:pt x="2600236" y="917321"/>
                      </a:lnTo>
                      <a:lnTo>
                        <a:pt x="2599982" y="918591"/>
                      </a:lnTo>
                      <a:lnTo>
                        <a:pt x="2599207" y="918591"/>
                      </a:lnTo>
                      <a:lnTo>
                        <a:pt x="2598432" y="917321"/>
                      </a:lnTo>
                      <a:lnTo>
                        <a:pt x="2597137" y="917321"/>
                      </a:lnTo>
                      <a:lnTo>
                        <a:pt x="2596096" y="916051"/>
                      </a:lnTo>
                      <a:lnTo>
                        <a:pt x="2593822" y="916051"/>
                      </a:lnTo>
                      <a:lnTo>
                        <a:pt x="2592298" y="914781"/>
                      </a:lnTo>
                      <a:lnTo>
                        <a:pt x="2591079" y="913511"/>
                      </a:lnTo>
                      <a:lnTo>
                        <a:pt x="2590317" y="910971"/>
                      </a:lnTo>
                      <a:lnTo>
                        <a:pt x="2589987" y="910971"/>
                      </a:lnTo>
                      <a:lnTo>
                        <a:pt x="2589796" y="908431"/>
                      </a:lnTo>
                      <a:lnTo>
                        <a:pt x="2589923" y="908431"/>
                      </a:lnTo>
                      <a:lnTo>
                        <a:pt x="2590190" y="907161"/>
                      </a:lnTo>
                      <a:lnTo>
                        <a:pt x="2590596" y="905891"/>
                      </a:lnTo>
                      <a:lnTo>
                        <a:pt x="2591219" y="904621"/>
                      </a:lnTo>
                      <a:lnTo>
                        <a:pt x="2590863" y="903351"/>
                      </a:lnTo>
                      <a:lnTo>
                        <a:pt x="2590393" y="903351"/>
                      </a:lnTo>
                      <a:lnTo>
                        <a:pt x="2589390" y="902081"/>
                      </a:lnTo>
                      <a:lnTo>
                        <a:pt x="2587371" y="902081"/>
                      </a:lnTo>
                      <a:lnTo>
                        <a:pt x="2586507" y="903351"/>
                      </a:lnTo>
                      <a:lnTo>
                        <a:pt x="2586253" y="903351"/>
                      </a:lnTo>
                      <a:lnTo>
                        <a:pt x="2585199" y="899541"/>
                      </a:lnTo>
                      <a:lnTo>
                        <a:pt x="2583383" y="898271"/>
                      </a:lnTo>
                      <a:lnTo>
                        <a:pt x="2583129" y="897001"/>
                      </a:lnTo>
                      <a:lnTo>
                        <a:pt x="2582214" y="897001"/>
                      </a:lnTo>
                      <a:lnTo>
                        <a:pt x="2579293" y="893191"/>
                      </a:lnTo>
                      <a:lnTo>
                        <a:pt x="2580602" y="891921"/>
                      </a:lnTo>
                      <a:lnTo>
                        <a:pt x="2581706" y="891921"/>
                      </a:lnTo>
                      <a:lnTo>
                        <a:pt x="2583205" y="889381"/>
                      </a:lnTo>
                      <a:lnTo>
                        <a:pt x="2583992" y="889381"/>
                      </a:lnTo>
                      <a:lnTo>
                        <a:pt x="2586952" y="890651"/>
                      </a:lnTo>
                      <a:lnTo>
                        <a:pt x="2587574" y="891921"/>
                      </a:lnTo>
                      <a:lnTo>
                        <a:pt x="2588323" y="891921"/>
                      </a:lnTo>
                      <a:lnTo>
                        <a:pt x="2590063" y="894461"/>
                      </a:lnTo>
                      <a:lnTo>
                        <a:pt x="2590990" y="893191"/>
                      </a:lnTo>
                      <a:lnTo>
                        <a:pt x="2592082" y="893191"/>
                      </a:lnTo>
                      <a:lnTo>
                        <a:pt x="2592514" y="891921"/>
                      </a:lnTo>
                      <a:lnTo>
                        <a:pt x="2593086" y="891921"/>
                      </a:lnTo>
                      <a:lnTo>
                        <a:pt x="2594089" y="890651"/>
                      </a:lnTo>
                      <a:lnTo>
                        <a:pt x="2595092" y="889381"/>
                      </a:lnTo>
                      <a:lnTo>
                        <a:pt x="2595600" y="889381"/>
                      </a:lnTo>
                      <a:lnTo>
                        <a:pt x="2596616" y="890651"/>
                      </a:lnTo>
                      <a:lnTo>
                        <a:pt x="2597429" y="891921"/>
                      </a:lnTo>
                      <a:lnTo>
                        <a:pt x="2598902" y="890651"/>
                      </a:lnTo>
                      <a:lnTo>
                        <a:pt x="2599309" y="890651"/>
                      </a:lnTo>
                      <a:lnTo>
                        <a:pt x="2599677" y="889381"/>
                      </a:lnTo>
                      <a:lnTo>
                        <a:pt x="2600198" y="889381"/>
                      </a:lnTo>
                      <a:lnTo>
                        <a:pt x="2600922" y="890651"/>
                      </a:lnTo>
                      <a:lnTo>
                        <a:pt x="2601150" y="890651"/>
                      </a:lnTo>
                      <a:lnTo>
                        <a:pt x="2602763" y="893191"/>
                      </a:lnTo>
                      <a:lnTo>
                        <a:pt x="2604300" y="893191"/>
                      </a:lnTo>
                      <a:lnTo>
                        <a:pt x="2604833" y="891921"/>
                      </a:lnTo>
                      <a:lnTo>
                        <a:pt x="2608110" y="888111"/>
                      </a:lnTo>
                      <a:lnTo>
                        <a:pt x="2608796" y="889381"/>
                      </a:lnTo>
                      <a:lnTo>
                        <a:pt x="2610853" y="889381"/>
                      </a:lnTo>
                      <a:lnTo>
                        <a:pt x="2614434" y="888111"/>
                      </a:lnTo>
                      <a:lnTo>
                        <a:pt x="2615082" y="888111"/>
                      </a:lnTo>
                      <a:lnTo>
                        <a:pt x="2616162" y="886841"/>
                      </a:lnTo>
                      <a:lnTo>
                        <a:pt x="2616860" y="886841"/>
                      </a:lnTo>
                      <a:lnTo>
                        <a:pt x="2617305" y="885571"/>
                      </a:lnTo>
                      <a:lnTo>
                        <a:pt x="2618016" y="885571"/>
                      </a:lnTo>
                      <a:lnTo>
                        <a:pt x="2619489" y="881761"/>
                      </a:lnTo>
                      <a:lnTo>
                        <a:pt x="2622105" y="880491"/>
                      </a:lnTo>
                      <a:lnTo>
                        <a:pt x="2624302" y="880491"/>
                      </a:lnTo>
                      <a:lnTo>
                        <a:pt x="2624848" y="881761"/>
                      </a:lnTo>
                      <a:lnTo>
                        <a:pt x="2625153" y="881761"/>
                      </a:lnTo>
                      <a:lnTo>
                        <a:pt x="2627287" y="884301"/>
                      </a:lnTo>
                      <a:lnTo>
                        <a:pt x="2631478" y="886841"/>
                      </a:lnTo>
                      <a:lnTo>
                        <a:pt x="2642590" y="886841"/>
                      </a:lnTo>
                      <a:lnTo>
                        <a:pt x="2642451" y="888111"/>
                      </a:lnTo>
                      <a:lnTo>
                        <a:pt x="2643162" y="888111"/>
                      </a:lnTo>
                      <a:lnTo>
                        <a:pt x="2641447" y="890651"/>
                      </a:lnTo>
                      <a:lnTo>
                        <a:pt x="2639822" y="893191"/>
                      </a:lnTo>
                      <a:lnTo>
                        <a:pt x="2640457" y="894461"/>
                      </a:lnTo>
                      <a:lnTo>
                        <a:pt x="2641346" y="895731"/>
                      </a:lnTo>
                      <a:lnTo>
                        <a:pt x="2641600" y="897001"/>
                      </a:lnTo>
                      <a:lnTo>
                        <a:pt x="2641816" y="897001"/>
                      </a:lnTo>
                      <a:lnTo>
                        <a:pt x="2641968" y="898271"/>
                      </a:lnTo>
                      <a:lnTo>
                        <a:pt x="2641828" y="898271"/>
                      </a:lnTo>
                      <a:lnTo>
                        <a:pt x="2641663" y="899541"/>
                      </a:lnTo>
                      <a:lnTo>
                        <a:pt x="2642184" y="900811"/>
                      </a:lnTo>
                      <a:lnTo>
                        <a:pt x="2647264" y="900811"/>
                      </a:lnTo>
                      <a:lnTo>
                        <a:pt x="2647569" y="902081"/>
                      </a:lnTo>
                      <a:lnTo>
                        <a:pt x="2648470" y="902081"/>
                      </a:lnTo>
                      <a:lnTo>
                        <a:pt x="2649588" y="903351"/>
                      </a:lnTo>
                      <a:lnTo>
                        <a:pt x="2651988" y="907161"/>
                      </a:lnTo>
                      <a:lnTo>
                        <a:pt x="2654084" y="905891"/>
                      </a:lnTo>
                      <a:lnTo>
                        <a:pt x="2656497" y="905891"/>
                      </a:lnTo>
                      <a:lnTo>
                        <a:pt x="2660205" y="907161"/>
                      </a:lnTo>
                      <a:lnTo>
                        <a:pt x="2661335" y="907161"/>
                      </a:lnTo>
                      <a:lnTo>
                        <a:pt x="2662428" y="905891"/>
                      </a:lnTo>
                      <a:lnTo>
                        <a:pt x="2661666" y="904621"/>
                      </a:lnTo>
                      <a:lnTo>
                        <a:pt x="2660853" y="904621"/>
                      </a:lnTo>
                      <a:lnTo>
                        <a:pt x="2656865" y="903351"/>
                      </a:lnTo>
                      <a:lnTo>
                        <a:pt x="2653830" y="903351"/>
                      </a:lnTo>
                      <a:lnTo>
                        <a:pt x="2652814" y="904621"/>
                      </a:lnTo>
                      <a:lnTo>
                        <a:pt x="2652611" y="904621"/>
                      </a:lnTo>
                      <a:lnTo>
                        <a:pt x="2652153" y="903351"/>
                      </a:lnTo>
                      <a:lnTo>
                        <a:pt x="2651150" y="902081"/>
                      </a:lnTo>
                      <a:lnTo>
                        <a:pt x="2650032" y="900811"/>
                      </a:lnTo>
                      <a:lnTo>
                        <a:pt x="2649270" y="900811"/>
                      </a:lnTo>
                      <a:lnTo>
                        <a:pt x="2648686" y="899541"/>
                      </a:lnTo>
                      <a:lnTo>
                        <a:pt x="2643898" y="899541"/>
                      </a:lnTo>
                      <a:lnTo>
                        <a:pt x="2644114" y="898271"/>
                      </a:lnTo>
                      <a:lnTo>
                        <a:pt x="2644025" y="897001"/>
                      </a:lnTo>
                      <a:lnTo>
                        <a:pt x="2643860" y="897001"/>
                      </a:lnTo>
                      <a:lnTo>
                        <a:pt x="2643581" y="895731"/>
                      </a:lnTo>
                      <a:lnTo>
                        <a:pt x="2643327" y="895731"/>
                      </a:lnTo>
                      <a:lnTo>
                        <a:pt x="2642616" y="894461"/>
                      </a:lnTo>
                      <a:lnTo>
                        <a:pt x="2642400" y="893191"/>
                      </a:lnTo>
                      <a:lnTo>
                        <a:pt x="2642197" y="893191"/>
                      </a:lnTo>
                      <a:lnTo>
                        <a:pt x="2643721" y="890651"/>
                      </a:lnTo>
                      <a:lnTo>
                        <a:pt x="2645105" y="889381"/>
                      </a:lnTo>
                      <a:lnTo>
                        <a:pt x="2646070" y="886841"/>
                      </a:lnTo>
                      <a:lnTo>
                        <a:pt x="2644317" y="886841"/>
                      </a:lnTo>
                      <a:lnTo>
                        <a:pt x="2644051" y="885571"/>
                      </a:lnTo>
                      <a:lnTo>
                        <a:pt x="2642933" y="885571"/>
                      </a:lnTo>
                      <a:lnTo>
                        <a:pt x="2641536" y="884301"/>
                      </a:lnTo>
                      <a:lnTo>
                        <a:pt x="2637345" y="885571"/>
                      </a:lnTo>
                      <a:lnTo>
                        <a:pt x="2632113" y="884301"/>
                      </a:lnTo>
                      <a:lnTo>
                        <a:pt x="2628658" y="883031"/>
                      </a:lnTo>
                      <a:lnTo>
                        <a:pt x="2626779" y="880491"/>
                      </a:lnTo>
                      <a:lnTo>
                        <a:pt x="2626436" y="880491"/>
                      </a:lnTo>
                      <a:lnTo>
                        <a:pt x="2626068" y="879221"/>
                      </a:lnTo>
                      <a:lnTo>
                        <a:pt x="2624734" y="879221"/>
                      </a:lnTo>
                      <a:lnTo>
                        <a:pt x="2624582" y="877951"/>
                      </a:lnTo>
                      <a:lnTo>
                        <a:pt x="2620949" y="877951"/>
                      </a:lnTo>
                      <a:lnTo>
                        <a:pt x="2618384" y="880491"/>
                      </a:lnTo>
                      <a:lnTo>
                        <a:pt x="2617889" y="880491"/>
                      </a:lnTo>
                      <a:lnTo>
                        <a:pt x="2616644" y="883031"/>
                      </a:lnTo>
                      <a:lnTo>
                        <a:pt x="2616225" y="884301"/>
                      </a:lnTo>
                      <a:lnTo>
                        <a:pt x="2615692" y="884301"/>
                      </a:lnTo>
                      <a:lnTo>
                        <a:pt x="2615031" y="885571"/>
                      </a:lnTo>
                      <a:lnTo>
                        <a:pt x="2614485" y="885571"/>
                      </a:lnTo>
                      <a:lnTo>
                        <a:pt x="2613914" y="886841"/>
                      </a:lnTo>
                      <a:lnTo>
                        <a:pt x="2613418" y="886841"/>
                      </a:lnTo>
                      <a:lnTo>
                        <a:pt x="2610281" y="888111"/>
                      </a:lnTo>
                      <a:lnTo>
                        <a:pt x="2609977" y="888111"/>
                      </a:lnTo>
                      <a:lnTo>
                        <a:pt x="2608338" y="885571"/>
                      </a:lnTo>
                      <a:lnTo>
                        <a:pt x="2603843" y="890651"/>
                      </a:lnTo>
                      <a:lnTo>
                        <a:pt x="2603703" y="890651"/>
                      </a:lnTo>
                      <a:lnTo>
                        <a:pt x="2602649" y="889381"/>
                      </a:lnTo>
                      <a:lnTo>
                        <a:pt x="2601557" y="888111"/>
                      </a:lnTo>
                      <a:lnTo>
                        <a:pt x="2600896" y="888111"/>
                      </a:lnTo>
                      <a:lnTo>
                        <a:pt x="2599398" y="885571"/>
                      </a:lnTo>
                      <a:lnTo>
                        <a:pt x="2598356" y="886841"/>
                      </a:lnTo>
                      <a:lnTo>
                        <a:pt x="2597683" y="888111"/>
                      </a:lnTo>
                      <a:lnTo>
                        <a:pt x="2597048" y="888111"/>
                      </a:lnTo>
                      <a:lnTo>
                        <a:pt x="2596769" y="886841"/>
                      </a:lnTo>
                      <a:lnTo>
                        <a:pt x="2595283" y="886841"/>
                      </a:lnTo>
                      <a:lnTo>
                        <a:pt x="2595270" y="888111"/>
                      </a:lnTo>
                      <a:lnTo>
                        <a:pt x="2595194" y="886841"/>
                      </a:lnTo>
                      <a:lnTo>
                        <a:pt x="2593695" y="886841"/>
                      </a:lnTo>
                      <a:lnTo>
                        <a:pt x="2593467" y="888111"/>
                      </a:lnTo>
                      <a:lnTo>
                        <a:pt x="2592578" y="889381"/>
                      </a:lnTo>
                      <a:lnTo>
                        <a:pt x="2591587" y="889381"/>
                      </a:lnTo>
                      <a:lnTo>
                        <a:pt x="2591295" y="890651"/>
                      </a:lnTo>
                      <a:lnTo>
                        <a:pt x="2589784" y="890651"/>
                      </a:lnTo>
                      <a:lnTo>
                        <a:pt x="2589022" y="889381"/>
                      </a:lnTo>
                      <a:lnTo>
                        <a:pt x="2588095" y="889381"/>
                      </a:lnTo>
                      <a:lnTo>
                        <a:pt x="2584831" y="886841"/>
                      </a:lnTo>
                      <a:lnTo>
                        <a:pt x="2582062" y="886841"/>
                      </a:lnTo>
                      <a:lnTo>
                        <a:pt x="2580957" y="888111"/>
                      </a:lnTo>
                      <a:lnTo>
                        <a:pt x="2580081" y="889381"/>
                      </a:lnTo>
                      <a:lnTo>
                        <a:pt x="2579039" y="890651"/>
                      </a:lnTo>
                      <a:lnTo>
                        <a:pt x="2577795" y="891921"/>
                      </a:lnTo>
                      <a:lnTo>
                        <a:pt x="2577007" y="891921"/>
                      </a:lnTo>
                      <a:lnTo>
                        <a:pt x="2574569" y="890651"/>
                      </a:lnTo>
                      <a:lnTo>
                        <a:pt x="2571394" y="890651"/>
                      </a:lnTo>
                      <a:lnTo>
                        <a:pt x="2570810" y="891921"/>
                      </a:lnTo>
                      <a:lnTo>
                        <a:pt x="2570175" y="891921"/>
                      </a:lnTo>
                      <a:lnTo>
                        <a:pt x="2568867" y="894461"/>
                      </a:lnTo>
                      <a:lnTo>
                        <a:pt x="2568562" y="894461"/>
                      </a:lnTo>
                      <a:lnTo>
                        <a:pt x="2568473" y="895731"/>
                      </a:lnTo>
                      <a:lnTo>
                        <a:pt x="2568143" y="897001"/>
                      </a:lnTo>
                      <a:lnTo>
                        <a:pt x="2570149" y="899541"/>
                      </a:lnTo>
                      <a:lnTo>
                        <a:pt x="2570594" y="900811"/>
                      </a:lnTo>
                      <a:lnTo>
                        <a:pt x="2571419" y="902081"/>
                      </a:lnTo>
                      <a:lnTo>
                        <a:pt x="2571381" y="904621"/>
                      </a:lnTo>
                      <a:lnTo>
                        <a:pt x="2570886" y="907161"/>
                      </a:lnTo>
                      <a:lnTo>
                        <a:pt x="2570645" y="909701"/>
                      </a:lnTo>
                      <a:lnTo>
                        <a:pt x="2571877" y="910971"/>
                      </a:lnTo>
                      <a:lnTo>
                        <a:pt x="2571318" y="910971"/>
                      </a:lnTo>
                      <a:lnTo>
                        <a:pt x="2568714" y="909701"/>
                      </a:lnTo>
                      <a:lnTo>
                        <a:pt x="2566339" y="909701"/>
                      </a:lnTo>
                      <a:lnTo>
                        <a:pt x="2565984" y="910971"/>
                      </a:lnTo>
                      <a:lnTo>
                        <a:pt x="2565552" y="909701"/>
                      </a:lnTo>
                      <a:lnTo>
                        <a:pt x="2564930" y="907161"/>
                      </a:lnTo>
                      <a:lnTo>
                        <a:pt x="2564612" y="905891"/>
                      </a:lnTo>
                      <a:lnTo>
                        <a:pt x="2564460" y="904621"/>
                      </a:lnTo>
                      <a:lnTo>
                        <a:pt x="2563952" y="903351"/>
                      </a:lnTo>
                      <a:lnTo>
                        <a:pt x="2563507" y="900811"/>
                      </a:lnTo>
                      <a:lnTo>
                        <a:pt x="2562136" y="902081"/>
                      </a:lnTo>
                      <a:lnTo>
                        <a:pt x="2561310" y="902081"/>
                      </a:lnTo>
                      <a:lnTo>
                        <a:pt x="2558567" y="903351"/>
                      </a:lnTo>
                      <a:lnTo>
                        <a:pt x="2557513" y="904621"/>
                      </a:lnTo>
                      <a:lnTo>
                        <a:pt x="2556395" y="904621"/>
                      </a:lnTo>
                      <a:lnTo>
                        <a:pt x="2550515" y="907161"/>
                      </a:lnTo>
                      <a:lnTo>
                        <a:pt x="2550249" y="905891"/>
                      </a:lnTo>
                      <a:lnTo>
                        <a:pt x="2549690" y="905891"/>
                      </a:lnTo>
                      <a:lnTo>
                        <a:pt x="2549042" y="904621"/>
                      </a:lnTo>
                      <a:lnTo>
                        <a:pt x="2547912" y="902081"/>
                      </a:lnTo>
                      <a:lnTo>
                        <a:pt x="2547670" y="902081"/>
                      </a:lnTo>
                      <a:lnTo>
                        <a:pt x="2547670" y="900811"/>
                      </a:lnTo>
                      <a:lnTo>
                        <a:pt x="2547848" y="899541"/>
                      </a:lnTo>
                      <a:lnTo>
                        <a:pt x="2547683" y="899541"/>
                      </a:lnTo>
                      <a:lnTo>
                        <a:pt x="2547569" y="898271"/>
                      </a:lnTo>
                      <a:lnTo>
                        <a:pt x="2546591" y="898271"/>
                      </a:lnTo>
                      <a:lnTo>
                        <a:pt x="2545867" y="897001"/>
                      </a:lnTo>
                      <a:lnTo>
                        <a:pt x="2536748" y="895731"/>
                      </a:lnTo>
                      <a:lnTo>
                        <a:pt x="2537129" y="895731"/>
                      </a:lnTo>
                      <a:lnTo>
                        <a:pt x="2537485" y="894461"/>
                      </a:lnTo>
                      <a:lnTo>
                        <a:pt x="2538031" y="893191"/>
                      </a:lnTo>
                      <a:lnTo>
                        <a:pt x="2538514" y="890651"/>
                      </a:lnTo>
                      <a:lnTo>
                        <a:pt x="2539187" y="888111"/>
                      </a:lnTo>
                      <a:lnTo>
                        <a:pt x="2539352" y="888111"/>
                      </a:lnTo>
                      <a:lnTo>
                        <a:pt x="2540266" y="886841"/>
                      </a:lnTo>
                      <a:lnTo>
                        <a:pt x="2541600" y="886841"/>
                      </a:lnTo>
                      <a:lnTo>
                        <a:pt x="2542032" y="885571"/>
                      </a:lnTo>
                      <a:lnTo>
                        <a:pt x="2541574" y="884301"/>
                      </a:lnTo>
                      <a:lnTo>
                        <a:pt x="2541409" y="884301"/>
                      </a:lnTo>
                      <a:lnTo>
                        <a:pt x="2541333" y="883031"/>
                      </a:lnTo>
                      <a:lnTo>
                        <a:pt x="2540863" y="881761"/>
                      </a:lnTo>
                      <a:lnTo>
                        <a:pt x="2534564" y="881761"/>
                      </a:lnTo>
                      <a:lnTo>
                        <a:pt x="2533421" y="880491"/>
                      </a:lnTo>
                      <a:lnTo>
                        <a:pt x="2532761" y="880491"/>
                      </a:lnTo>
                      <a:lnTo>
                        <a:pt x="2532253" y="879221"/>
                      </a:lnTo>
                      <a:lnTo>
                        <a:pt x="2531287" y="876681"/>
                      </a:lnTo>
                      <a:lnTo>
                        <a:pt x="2530983" y="875411"/>
                      </a:lnTo>
                      <a:lnTo>
                        <a:pt x="2530170" y="874141"/>
                      </a:lnTo>
                      <a:lnTo>
                        <a:pt x="2529763" y="872871"/>
                      </a:lnTo>
                      <a:lnTo>
                        <a:pt x="2529586" y="871601"/>
                      </a:lnTo>
                      <a:lnTo>
                        <a:pt x="2531935" y="867791"/>
                      </a:lnTo>
                      <a:lnTo>
                        <a:pt x="2533523" y="865251"/>
                      </a:lnTo>
                      <a:lnTo>
                        <a:pt x="2529052" y="866521"/>
                      </a:lnTo>
                      <a:lnTo>
                        <a:pt x="2519222" y="866521"/>
                      </a:lnTo>
                      <a:lnTo>
                        <a:pt x="2514638" y="870331"/>
                      </a:lnTo>
                      <a:lnTo>
                        <a:pt x="2513393" y="870331"/>
                      </a:lnTo>
                      <a:lnTo>
                        <a:pt x="2513571" y="869061"/>
                      </a:lnTo>
                      <a:lnTo>
                        <a:pt x="2514650" y="867791"/>
                      </a:lnTo>
                      <a:lnTo>
                        <a:pt x="2514917" y="867791"/>
                      </a:lnTo>
                      <a:lnTo>
                        <a:pt x="2515641" y="866521"/>
                      </a:lnTo>
                      <a:lnTo>
                        <a:pt x="2515603" y="863981"/>
                      </a:lnTo>
                      <a:lnTo>
                        <a:pt x="2514943" y="863981"/>
                      </a:lnTo>
                      <a:lnTo>
                        <a:pt x="2514536" y="862711"/>
                      </a:lnTo>
                      <a:lnTo>
                        <a:pt x="2513190" y="861441"/>
                      </a:lnTo>
                      <a:lnTo>
                        <a:pt x="2512949" y="861441"/>
                      </a:lnTo>
                      <a:lnTo>
                        <a:pt x="2512987" y="858901"/>
                      </a:lnTo>
                      <a:lnTo>
                        <a:pt x="2514473" y="857631"/>
                      </a:lnTo>
                      <a:lnTo>
                        <a:pt x="2516200" y="857631"/>
                      </a:lnTo>
                      <a:lnTo>
                        <a:pt x="2517165" y="855091"/>
                      </a:lnTo>
                      <a:lnTo>
                        <a:pt x="2516467" y="855091"/>
                      </a:lnTo>
                      <a:lnTo>
                        <a:pt x="2516530" y="853821"/>
                      </a:lnTo>
                      <a:lnTo>
                        <a:pt x="2516949" y="851281"/>
                      </a:lnTo>
                      <a:lnTo>
                        <a:pt x="2517838" y="850011"/>
                      </a:lnTo>
                      <a:lnTo>
                        <a:pt x="2520797" y="850011"/>
                      </a:lnTo>
                      <a:lnTo>
                        <a:pt x="2521191" y="847471"/>
                      </a:lnTo>
                      <a:lnTo>
                        <a:pt x="2521318" y="847471"/>
                      </a:lnTo>
                      <a:lnTo>
                        <a:pt x="2521572" y="846201"/>
                      </a:lnTo>
                      <a:lnTo>
                        <a:pt x="2524988" y="846201"/>
                      </a:lnTo>
                      <a:lnTo>
                        <a:pt x="2527338" y="843661"/>
                      </a:lnTo>
                      <a:lnTo>
                        <a:pt x="2527731" y="843661"/>
                      </a:lnTo>
                      <a:lnTo>
                        <a:pt x="2528252" y="842391"/>
                      </a:lnTo>
                      <a:lnTo>
                        <a:pt x="2528989" y="842391"/>
                      </a:lnTo>
                      <a:lnTo>
                        <a:pt x="2529649" y="841121"/>
                      </a:lnTo>
                      <a:lnTo>
                        <a:pt x="2529065" y="839851"/>
                      </a:lnTo>
                      <a:lnTo>
                        <a:pt x="2528239" y="837311"/>
                      </a:lnTo>
                      <a:lnTo>
                        <a:pt x="2528493" y="836041"/>
                      </a:lnTo>
                      <a:lnTo>
                        <a:pt x="2529052" y="834771"/>
                      </a:lnTo>
                      <a:lnTo>
                        <a:pt x="2529243" y="834771"/>
                      </a:lnTo>
                      <a:lnTo>
                        <a:pt x="2529763" y="833501"/>
                      </a:lnTo>
                      <a:lnTo>
                        <a:pt x="2530170" y="832231"/>
                      </a:lnTo>
                      <a:lnTo>
                        <a:pt x="2530881" y="828421"/>
                      </a:lnTo>
                      <a:lnTo>
                        <a:pt x="2530754" y="827151"/>
                      </a:lnTo>
                      <a:lnTo>
                        <a:pt x="2530576" y="824611"/>
                      </a:lnTo>
                      <a:lnTo>
                        <a:pt x="2530449" y="819531"/>
                      </a:lnTo>
                      <a:lnTo>
                        <a:pt x="2530424" y="816991"/>
                      </a:lnTo>
                      <a:lnTo>
                        <a:pt x="2529878" y="815721"/>
                      </a:lnTo>
                      <a:lnTo>
                        <a:pt x="2529789" y="814451"/>
                      </a:lnTo>
                      <a:lnTo>
                        <a:pt x="2529586" y="814451"/>
                      </a:lnTo>
                      <a:lnTo>
                        <a:pt x="2529446" y="813181"/>
                      </a:lnTo>
                      <a:lnTo>
                        <a:pt x="2527706" y="811911"/>
                      </a:lnTo>
                      <a:lnTo>
                        <a:pt x="2527414" y="813181"/>
                      </a:lnTo>
                      <a:lnTo>
                        <a:pt x="2526931" y="811911"/>
                      </a:lnTo>
                      <a:lnTo>
                        <a:pt x="2523375" y="811911"/>
                      </a:lnTo>
                      <a:lnTo>
                        <a:pt x="2522690" y="810641"/>
                      </a:lnTo>
                      <a:lnTo>
                        <a:pt x="2521585" y="805561"/>
                      </a:lnTo>
                      <a:lnTo>
                        <a:pt x="2519400" y="803021"/>
                      </a:lnTo>
                      <a:lnTo>
                        <a:pt x="2518130" y="801751"/>
                      </a:lnTo>
                      <a:lnTo>
                        <a:pt x="2517190" y="800481"/>
                      </a:lnTo>
                      <a:lnTo>
                        <a:pt x="2515654" y="800481"/>
                      </a:lnTo>
                      <a:lnTo>
                        <a:pt x="2515539" y="799211"/>
                      </a:lnTo>
                      <a:lnTo>
                        <a:pt x="2515006" y="799211"/>
                      </a:lnTo>
                      <a:lnTo>
                        <a:pt x="2514320" y="797941"/>
                      </a:lnTo>
                      <a:lnTo>
                        <a:pt x="2511806" y="799211"/>
                      </a:lnTo>
                      <a:lnTo>
                        <a:pt x="2510980" y="799211"/>
                      </a:lnTo>
                      <a:lnTo>
                        <a:pt x="2510066" y="800481"/>
                      </a:lnTo>
                      <a:lnTo>
                        <a:pt x="2509355" y="801751"/>
                      </a:lnTo>
                      <a:lnTo>
                        <a:pt x="2508910" y="803021"/>
                      </a:lnTo>
                      <a:lnTo>
                        <a:pt x="2507932" y="803021"/>
                      </a:lnTo>
                      <a:lnTo>
                        <a:pt x="2506599" y="801751"/>
                      </a:lnTo>
                      <a:lnTo>
                        <a:pt x="2505329" y="801751"/>
                      </a:lnTo>
                      <a:lnTo>
                        <a:pt x="2504871" y="800481"/>
                      </a:lnTo>
                      <a:lnTo>
                        <a:pt x="2496540" y="800481"/>
                      </a:lnTo>
                      <a:lnTo>
                        <a:pt x="2495677" y="801751"/>
                      </a:lnTo>
                      <a:lnTo>
                        <a:pt x="2495943" y="800481"/>
                      </a:lnTo>
                      <a:lnTo>
                        <a:pt x="2496197" y="800481"/>
                      </a:lnTo>
                      <a:lnTo>
                        <a:pt x="2496693" y="799211"/>
                      </a:lnTo>
                      <a:lnTo>
                        <a:pt x="2497442" y="797941"/>
                      </a:lnTo>
                      <a:lnTo>
                        <a:pt x="2498826" y="797941"/>
                      </a:lnTo>
                      <a:lnTo>
                        <a:pt x="2499753" y="796671"/>
                      </a:lnTo>
                      <a:lnTo>
                        <a:pt x="2499664" y="794131"/>
                      </a:lnTo>
                      <a:lnTo>
                        <a:pt x="2498128" y="792861"/>
                      </a:lnTo>
                      <a:lnTo>
                        <a:pt x="2497899" y="792861"/>
                      </a:lnTo>
                      <a:lnTo>
                        <a:pt x="2498001" y="791591"/>
                      </a:lnTo>
                      <a:lnTo>
                        <a:pt x="2500211" y="789051"/>
                      </a:lnTo>
                      <a:lnTo>
                        <a:pt x="2496515" y="790321"/>
                      </a:lnTo>
                      <a:lnTo>
                        <a:pt x="2494800" y="791591"/>
                      </a:lnTo>
                      <a:lnTo>
                        <a:pt x="2493937" y="791591"/>
                      </a:lnTo>
                      <a:lnTo>
                        <a:pt x="2494673" y="790321"/>
                      </a:lnTo>
                      <a:lnTo>
                        <a:pt x="2495766" y="790321"/>
                      </a:lnTo>
                      <a:lnTo>
                        <a:pt x="2495943" y="789051"/>
                      </a:lnTo>
                      <a:lnTo>
                        <a:pt x="2496299" y="789051"/>
                      </a:lnTo>
                      <a:lnTo>
                        <a:pt x="2496312" y="787781"/>
                      </a:lnTo>
                      <a:lnTo>
                        <a:pt x="2496121" y="786511"/>
                      </a:lnTo>
                      <a:lnTo>
                        <a:pt x="2493162" y="786511"/>
                      </a:lnTo>
                      <a:lnTo>
                        <a:pt x="2492197" y="785241"/>
                      </a:lnTo>
                      <a:lnTo>
                        <a:pt x="2491638" y="783971"/>
                      </a:lnTo>
                      <a:lnTo>
                        <a:pt x="2490012" y="783971"/>
                      </a:lnTo>
                      <a:lnTo>
                        <a:pt x="2487434" y="785241"/>
                      </a:lnTo>
                      <a:lnTo>
                        <a:pt x="2481694" y="790321"/>
                      </a:lnTo>
                      <a:lnTo>
                        <a:pt x="2479522" y="790321"/>
                      </a:lnTo>
                      <a:lnTo>
                        <a:pt x="2477351" y="789051"/>
                      </a:lnTo>
                      <a:lnTo>
                        <a:pt x="2473528" y="789051"/>
                      </a:lnTo>
                      <a:lnTo>
                        <a:pt x="2473071" y="787781"/>
                      </a:lnTo>
                      <a:lnTo>
                        <a:pt x="2472144" y="786511"/>
                      </a:lnTo>
                      <a:lnTo>
                        <a:pt x="2468943" y="786511"/>
                      </a:lnTo>
                      <a:lnTo>
                        <a:pt x="2468207" y="787781"/>
                      </a:lnTo>
                      <a:lnTo>
                        <a:pt x="2464231" y="790321"/>
                      </a:lnTo>
                      <a:lnTo>
                        <a:pt x="2463165" y="791591"/>
                      </a:lnTo>
                      <a:lnTo>
                        <a:pt x="2462619" y="791591"/>
                      </a:lnTo>
                      <a:lnTo>
                        <a:pt x="2460218" y="794131"/>
                      </a:lnTo>
                      <a:lnTo>
                        <a:pt x="2459177" y="794131"/>
                      </a:lnTo>
                      <a:lnTo>
                        <a:pt x="2455570" y="795401"/>
                      </a:lnTo>
                      <a:lnTo>
                        <a:pt x="2454198" y="796671"/>
                      </a:lnTo>
                      <a:lnTo>
                        <a:pt x="2450147" y="796671"/>
                      </a:lnTo>
                      <a:lnTo>
                        <a:pt x="2449207" y="797941"/>
                      </a:lnTo>
                      <a:lnTo>
                        <a:pt x="2448471" y="799211"/>
                      </a:lnTo>
                      <a:lnTo>
                        <a:pt x="2447937" y="800481"/>
                      </a:lnTo>
                      <a:lnTo>
                        <a:pt x="2447709" y="801751"/>
                      </a:lnTo>
                      <a:lnTo>
                        <a:pt x="2446197" y="801751"/>
                      </a:lnTo>
                      <a:lnTo>
                        <a:pt x="2444369" y="803021"/>
                      </a:lnTo>
                      <a:lnTo>
                        <a:pt x="2443594" y="803021"/>
                      </a:lnTo>
                      <a:lnTo>
                        <a:pt x="2443073" y="804291"/>
                      </a:lnTo>
                      <a:lnTo>
                        <a:pt x="2442057" y="804291"/>
                      </a:lnTo>
                      <a:lnTo>
                        <a:pt x="2441613" y="805561"/>
                      </a:lnTo>
                      <a:lnTo>
                        <a:pt x="2441600" y="806831"/>
                      </a:lnTo>
                      <a:lnTo>
                        <a:pt x="2441765" y="808101"/>
                      </a:lnTo>
                      <a:lnTo>
                        <a:pt x="2441219" y="808101"/>
                      </a:lnTo>
                      <a:lnTo>
                        <a:pt x="2440368" y="809371"/>
                      </a:lnTo>
                      <a:lnTo>
                        <a:pt x="2438831" y="809371"/>
                      </a:lnTo>
                      <a:lnTo>
                        <a:pt x="2431059" y="810641"/>
                      </a:lnTo>
                      <a:lnTo>
                        <a:pt x="2429065" y="810641"/>
                      </a:lnTo>
                      <a:lnTo>
                        <a:pt x="2429091" y="809371"/>
                      </a:lnTo>
                      <a:lnTo>
                        <a:pt x="2428900" y="809371"/>
                      </a:lnTo>
                      <a:lnTo>
                        <a:pt x="2428494" y="808101"/>
                      </a:lnTo>
                      <a:lnTo>
                        <a:pt x="2428240" y="808101"/>
                      </a:lnTo>
                      <a:lnTo>
                        <a:pt x="2427389" y="806831"/>
                      </a:lnTo>
                      <a:lnTo>
                        <a:pt x="2424252" y="806831"/>
                      </a:lnTo>
                      <a:lnTo>
                        <a:pt x="2422690" y="805561"/>
                      </a:lnTo>
                      <a:lnTo>
                        <a:pt x="2420848" y="805561"/>
                      </a:lnTo>
                      <a:lnTo>
                        <a:pt x="2418931" y="806831"/>
                      </a:lnTo>
                      <a:lnTo>
                        <a:pt x="2415705" y="806831"/>
                      </a:lnTo>
                      <a:lnTo>
                        <a:pt x="2414676" y="805561"/>
                      </a:lnTo>
                      <a:lnTo>
                        <a:pt x="2410866" y="805561"/>
                      </a:lnTo>
                      <a:lnTo>
                        <a:pt x="2410676" y="804291"/>
                      </a:lnTo>
                      <a:lnTo>
                        <a:pt x="2410460" y="804291"/>
                      </a:lnTo>
                      <a:lnTo>
                        <a:pt x="2410320" y="803021"/>
                      </a:lnTo>
                      <a:lnTo>
                        <a:pt x="2409545" y="803021"/>
                      </a:lnTo>
                      <a:lnTo>
                        <a:pt x="2408339" y="801751"/>
                      </a:lnTo>
                      <a:lnTo>
                        <a:pt x="2405532" y="801751"/>
                      </a:lnTo>
                      <a:lnTo>
                        <a:pt x="2400376" y="803021"/>
                      </a:lnTo>
                      <a:lnTo>
                        <a:pt x="2397810" y="804291"/>
                      </a:lnTo>
                      <a:lnTo>
                        <a:pt x="2396185" y="806831"/>
                      </a:lnTo>
                      <a:lnTo>
                        <a:pt x="2395817" y="806831"/>
                      </a:lnTo>
                      <a:lnTo>
                        <a:pt x="2392159" y="810641"/>
                      </a:lnTo>
                      <a:lnTo>
                        <a:pt x="2391435" y="811911"/>
                      </a:lnTo>
                      <a:lnTo>
                        <a:pt x="2390825" y="813181"/>
                      </a:lnTo>
                      <a:lnTo>
                        <a:pt x="2390241" y="813181"/>
                      </a:lnTo>
                      <a:lnTo>
                        <a:pt x="2389759" y="814451"/>
                      </a:lnTo>
                      <a:lnTo>
                        <a:pt x="2389238" y="814451"/>
                      </a:lnTo>
                      <a:lnTo>
                        <a:pt x="2388692" y="815721"/>
                      </a:lnTo>
                      <a:lnTo>
                        <a:pt x="2388260" y="816991"/>
                      </a:lnTo>
                      <a:lnTo>
                        <a:pt x="2387816" y="815721"/>
                      </a:lnTo>
                      <a:lnTo>
                        <a:pt x="2387727" y="814451"/>
                      </a:lnTo>
                      <a:lnTo>
                        <a:pt x="2387993" y="814451"/>
                      </a:lnTo>
                      <a:lnTo>
                        <a:pt x="2388349" y="813181"/>
                      </a:lnTo>
                      <a:lnTo>
                        <a:pt x="2388959" y="810641"/>
                      </a:lnTo>
                      <a:lnTo>
                        <a:pt x="2387904" y="810641"/>
                      </a:lnTo>
                      <a:lnTo>
                        <a:pt x="2388984" y="809371"/>
                      </a:lnTo>
                      <a:lnTo>
                        <a:pt x="2388412" y="808101"/>
                      </a:lnTo>
                      <a:lnTo>
                        <a:pt x="2388438" y="806831"/>
                      </a:lnTo>
                      <a:lnTo>
                        <a:pt x="2387485" y="806831"/>
                      </a:lnTo>
                      <a:lnTo>
                        <a:pt x="2386533" y="805561"/>
                      </a:lnTo>
                      <a:lnTo>
                        <a:pt x="2382786" y="805561"/>
                      </a:lnTo>
                      <a:lnTo>
                        <a:pt x="2381326" y="806831"/>
                      </a:lnTo>
                      <a:lnTo>
                        <a:pt x="2377160" y="809371"/>
                      </a:lnTo>
                      <a:lnTo>
                        <a:pt x="2368943" y="809371"/>
                      </a:lnTo>
                      <a:lnTo>
                        <a:pt x="2365705" y="808101"/>
                      </a:lnTo>
                      <a:lnTo>
                        <a:pt x="2361590" y="808101"/>
                      </a:lnTo>
                      <a:lnTo>
                        <a:pt x="2360257" y="806831"/>
                      </a:lnTo>
                      <a:lnTo>
                        <a:pt x="2358885" y="806831"/>
                      </a:lnTo>
                      <a:lnTo>
                        <a:pt x="2358225" y="805561"/>
                      </a:lnTo>
                      <a:lnTo>
                        <a:pt x="2354884" y="805561"/>
                      </a:lnTo>
                      <a:lnTo>
                        <a:pt x="2353957" y="806831"/>
                      </a:lnTo>
                      <a:lnTo>
                        <a:pt x="2350541" y="806831"/>
                      </a:lnTo>
                      <a:lnTo>
                        <a:pt x="2350833" y="803021"/>
                      </a:lnTo>
                      <a:lnTo>
                        <a:pt x="2348077" y="805561"/>
                      </a:lnTo>
                      <a:lnTo>
                        <a:pt x="2347620" y="806831"/>
                      </a:lnTo>
                      <a:lnTo>
                        <a:pt x="2347252" y="808101"/>
                      </a:lnTo>
                      <a:lnTo>
                        <a:pt x="2345766" y="805561"/>
                      </a:lnTo>
                      <a:lnTo>
                        <a:pt x="2344191" y="803021"/>
                      </a:lnTo>
                      <a:lnTo>
                        <a:pt x="2343632" y="803021"/>
                      </a:lnTo>
                      <a:lnTo>
                        <a:pt x="2342921" y="801751"/>
                      </a:lnTo>
                      <a:lnTo>
                        <a:pt x="2335060" y="801751"/>
                      </a:lnTo>
                      <a:lnTo>
                        <a:pt x="2335453" y="800481"/>
                      </a:lnTo>
                      <a:lnTo>
                        <a:pt x="2336012" y="799211"/>
                      </a:lnTo>
                      <a:lnTo>
                        <a:pt x="2336723" y="797941"/>
                      </a:lnTo>
                      <a:lnTo>
                        <a:pt x="2329523" y="797941"/>
                      </a:lnTo>
                      <a:lnTo>
                        <a:pt x="2328380" y="796671"/>
                      </a:lnTo>
                      <a:lnTo>
                        <a:pt x="2326284" y="795401"/>
                      </a:lnTo>
                      <a:lnTo>
                        <a:pt x="2324468" y="795401"/>
                      </a:lnTo>
                      <a:lnTo>
                        <a:pt x="2323871" y="794131"/>
                      </a:lnTo>
                      <a:lnTo>
                        <a:pt x="2322728" y="794131"/>
                      </a:lnTo>
                      <a:lnTo>
                        <a:pt x="2322626" y="792861"/>
                      </a:lnTo>
                      <a:lnTo>
                        <a:pt x="2322830" y="791591"/>
                      </a:lnTo>
                      <a:lnTo>
                        <a:pt x="2322398" y="791591"/>
                      </a:lnTo>
                      <a:lnTo>
                        <a:pt x="2322068" y="790321"/>
                      </a:lnTo>
                      <a:lnTo>
                        <a:pt x="2321636" y="790321"/>
                      </a:lnTo>
                      <a:lnTo>
                        <a:pt x="2321712" y="789051"/>
                      </a:lnTo>
                      <a:lnTo>
                        <a:pt x="2320467" y="787781"/>
                      </a:lnTo>
                      <a:lnTo>
                        <a:pt x="2317153" y="787781"/>
                      </a:lnTo>
                      <a:lnTo>
                        <a:pt x="2314321" y="789051"/>
                      </a:lnTo>
                      <a:lnTo>
                        <a:pt x="2313381" y="789051"/>
                      </a:lnTo>
                      <a:lnTo>
                        <a:pt x="2311882" y="786511"/>
                      </a:lnTo>
                      <a:lnTo>
                        <a:pt x="2310981" y="785241"/>
                      </a:lnTo>
                      <a:lnTo>
                        <a:pt x="2309228" y="783971"/>
                      </a:lnTo>
                      <a:lnTo>
                        <a:pt x="2308860" y="782701"/>
                      </a:lnTo>
                      <a:lnTo>
                        <a:pt x="2307399" y="782701"/>
                      </a:lnTo>
                      <a:lnTo>
                        <a:pt x="2307044" y="781431"/>
                      </a:lnTo>
                      <a:lnTo>
                        <a:pt x="2305862" y="781431"/>
                      </a:lnTo>
                      <a:lnTo>
                        <a:pt x="2305685" y="782701"/>
                      </a:lnTo>
                      <a:lnTo>
                        <a:pt x="2305583" y="781431"/>
                      </a:lnTo>
                      <a:lnTo>
                        <a:pt x="2302256" y="781431"/>
                      </a:lnTo>
                      <a:lnTo>
                        <a:pt x="2301583" y="780161"/>
                      </a:lnTo>
                      <a:lnTo>
                        <a:pt x="2299741" y="778891"/>
                      </a:lnTo>
                      <a:lnTo>
                        <a:pt x="2298484" y="777621"/>
                      </a:lnTo>
                      <a:lnTo>
                        <a:pt x="2297823" y="776351"/>
                      </a:lnTo>
                      <a:lnTo>
                        <a:pt x="2295042" y="776351"/>
                      </a:lnTo>
                      <a:lnTo>
                        <a:pt x="2294559" y="775081"/>
                      </a:lnTo>
                      <a:lnTo>
                        <a:pt x="2292642" y="775081"/>
                      </a:lnTo>
                      <a:lnTo>
                        <a:pt x="2292451" y="773811"/>
                      </a:lnTo>
                      <a:lnTo>
                        <a:pt x="2291461" y="771271"/>
                      </a:lnTo>
                      <a:lnTo>
                        <a:pt x="2290534" y="770001"/>
                      </a:lnTo>
                      <a:lnTo>
                        <a:pt x="2289441" y="770001"/>
                      </a:lnTo>
                      <a:lnTo>
                        <a:pt x="2286762" y="768731"/>
                      </a:lnTo>
                      <a:lnTo>
                        <a:pt x="2282266" y="768731"/>
                      </a:lnTo>
                      <a:lnTo>
                        <a:pt x="2281161" y="770001"/>
                      </a:lnTo>
                      <a:lnTo>
                        <a:pt x="2280907" y="770001"/>
                      </a:lnTo>
                      <a:lnTo>
                        <a:pt x="2280615" y="771271"/>
                      </a:lnTo>
                      <a:lnTo>
                        <a:pt x="2280272" y="771271"/>
                      </a:lnTo>
                      <a:lnTo>
                        <a:pt x="2279281" y="772541"/>
                      </a:lnTo>
                      <a:lnTo>
                        <a:pt x="2278354" y="775081"/>
                      </a:lnTo>
                      <a:lnTo>
                        <a:pt x="2277427" y="775081"/>
                      </a:lnTo>
                      <a:lnTo>
                        <a:pt x="2277160" y="773811"/>
                      </a:lnTo>
                      <a:lnTo>
                        <a:pt x="2276132" y="772541"/>
                      </a:lnTo>
                      <a:lnTo>
                        <a:pt x="2275509" y="772541"/>
                      </a:lnTo>
                      <a:lnTo>
                        <a:pt x="2265083" y="767461"/>
                      </a:lnTo>
                      <a:lnTo>
                        <a:pt x="2265540" y="766191"/>
                      </a:lnTo>
                      <a:lnTo>
                        <a:pt x="2265642" y="764921"/>
                      </a:lnTo>
                      <a:lnTo>
                        <a:pt x="2265464" y="764921"/>
                      </a:lnTo>
                      <a:lnTo>
                        <a:pt x="2265159" y="763651"/>
                      </a:lnTo>
                      <a:lnTo>
                        <a:pt x="2264397" y="763651"/>
                      </a:lnTo>
                      <a:lnTo>
                        <a:pt x="2262911" y="762381"/>
                      </a:lnTo>
                      <a:lnTo>
                        <a:pt x="2260955" y="762381"/>
                      </a:lnTo>
                      <a:lnTo>
                        <a:pt x="2254605" y="759841"/>
                      </a:lnTo>
                      <a:lnTo>
                        <a:pt x="2253361" y="759841"/>
                      </a:lnTo>
                      <a:lnTo>
                        <a:pt x="2253183" y="758571"/>
                      </a:lnTo>
                      <a:lnTo>
                        <a:pt x="2252649" y="758571"/>
                      </a:lnTo>
                      <a:lnTo>
                        <a:pt x="2251049" y="756031"/>
                      </a:lnTo>
                      <a:lnTo>
                        <a:pt x="2250541" y="754761"/>
                      </a:lnTo>
                      <a:lnTo>
                        <a:pt x="2249665" y="754761"/>
                      </a:lnTo>
                      <a:lnTo>
                        <a:pt x="2249487" y="753491"/>
                      </a:lnTo>
                      <a:lnTo>
                        <a:pt x="2247150" y="753491"/>
                      </a:lnTo>
                      <a:lnTo>
                        <a:pt x="2245918" y="754761"/>
                      </a:lnTo>
                      <a:lnTo>
                        <a:pt x="2244369" y="754761"/>
                      </a:lnTo>
                      <a:lnTo>
                        <a:pt x="2244026" y="753491"/>
                      </a:lnTo>
                      <a:lnTo>
                        <a:pt x="2243658" y="753491"/>
                      </a:lnTo>
                      <a:lnTo>
                        <a:pt x="2243569" y="752221"/>
                      </a:lnTo>
                      <a:lnTo>
                        <a:pt x="2243912" y="749681"/>
                      </a:lnTo>
                      <a:lnTo>
                        <a:pt x="2243937" y="745871"/>
                      </a:lnTo>
                      <a:lnTo>
                        <a:pt x="2243759" y="745871"/>
                      </a:lnTo>
                      <a:lnTo>
                        <a:pt x="2242743" y="744601"/>
                      </a:lnTo>
                      <a:lnTo>
                        <a:pt x="2241181" y="742061"/>
                      </a:lnTo>
                      <a:lnTo>
                        <a:pt x="2240229" y="740791"/>
                      </a:lnTo>
                      <a:lnTo>
                        <a:pt x="2239683" y="739521"/>
                      </a:lnTo>
                      <a:lnTo>
                        <a:pt x="2239124" y="736981"/>
                      </a:lnTo>
                      <a:lnTo>
                        <a:pt x="2242159" y="736981"/>
                      </a:lnTo>
                      <a:lnTo>
                        <a:pt x="2242743" y="738251"/>
                      </a:lnTo>
                      <a:lnTo>
                        <a:pt x="2244191" y="739521"/>
                      </a:lnTo>
                      <a:lnTo>
                        <a:pt x="2246490" y="740791"/>
                      </a:lnTo>
                      <a:lnTo>
                        <a:pt x="2249487" y="740791"/>
                      </a:lnTo>
                      <a:lnTo>
                        <a:pt x="2251252" y="738251"/>
                      </a:lnTo>
                      <a:lnTo>
                        <a:pt x="2253005" y="735711"/>
                      </a:lnTo>
                      <a:lnTo>
                        <a:pt x="2255583" y="733171"/>
                      </a:lnTo>
                      <a:lnTo>
                        <a:pt x="2254389" y="731901"/>
                      </a:lnTo>
                      <a:lnTo>
                        <a:pt x="2254097" y="731901"/>
                      </a:lnTo>
                      <a:lnTo>
                        <a:pt x="2253945" y="730631"/>
                      </a:lnTo>
                      <a:lnTo>
                        <a:pt x="2253818" y="730631"/>
                      </a:lnTo>
                      <a:lnTo>
                        <a:pt x="2253488" y="726821"/>
                      </a:lnTo>
                      <a:lnTo>
                        <a:pt x="2253259" y="726821"/>
                      </a:lnTo>
                      <a:lnTo>
                        <a:pt x="2252764" y="725551"/>
                      </a:lnTo>
                      <a:lnTo>
                        <a:pt x="2250884" y="725551"/>
                      </a:lnTo>
                      <a:lnTo>
                        <a:pt x="2249525" y="724281"/>
                      </a:lnTo>
                      <a:lnTo>
                        <a:pt x="2248395" y="724281"/>
                      </a:lnTo>
                      <a:lnTo>
                        <a:pt x="2246706" y="721741"/>
                      </a:lnTo>
                      <a:lnTo>
                        <a:pt x="2246452" y="721741"/>
                      </a:lnTo>
                      <a:lnTo>
                        <a:pt x="2246033" y="720471"/>
                      </a:lnTo>
                      <a:lnTo>
                        <a:pt x="2245296" y="717931"/>
                      </a:lnTo>
                      <a:lnTo>
                        <a:pt x="2244229" y="714121"/>
                      </a:lnTo>
                      <a:lnTo>
                        <a:pt x="2243937" y="712851"/>
                      </a:lnTo>
                      <a:lnTo>
                        <a:pt x="2246363" y="710311"/>
                      </a:lnTo>
                      <a:lnTo>
                        <a:pt x="2246807" y="709041"/>
                      </a:lnTo>
                      <a:lnTo>
                        <a:pt x="2247100" y="709041"/>
                      </a:lnTo>
                      <a:lnTo>
                        <a:pt x="2247722" y="707771"/>
                      </a:lnTo>
                      <a:lnTo>
                        <a:pt x="2245918" y="706501"/>
                      </a:lnTo>
                      <a:lnTo>
                        <a:pt x="2242185" y="705231"/>
                      </a:lnTo>
                      <a:lnTo>
                        <a:pt x="2240800" y="703961"/>
                      </a:lnTo>
                      <a:lnTo>
                        <a:pt x="2238540" y="702691"/>
                      </a:lnTo>
                      <a:lnTo>
                        <a:pt x="2237790" y="702691"/>
                      </a:lnTo>
                      <a:lnTo>
                        <a:pt x="2235581" y="696341"/>
                      </a:lnTo>
                      <a:lnTo>
                        <a:pt x="2235339" y="696341"/>
                      </a:lnTo>
                      <a:lnTo>
                        <a:pt x="2234069" y="693801"/>
                      </a:lnTo>
                      <a:lnTo>
                        <a:pt x="2233853" y="693801"/>
                      </a:lnTo>
                      <a:lnTo>
                        <a:pt x="2233638" y="692531"/>
                      </a:lnTo>
                      <a:lnTo>
                        <a:pt x="2234222" y="689991"/>
                      </a:lnTo>
                      <a:lnTo>
                        <a:pt x="2234374" y="689991"/>
                      </a:lnTo>
                      <a:lnTo>
                        <a:pt x="2234336" y="688721"/>
                      </a:lnTo>
                      <a:lnTo>
                        <a:pt x="2234133" y="688721"/>
                      </a:lnTo>
                      <a:lnTo>
                        <a:pt x="2233980" y="687451"/>
                      </a:lnTo>
                      <a:lnTo>
                        <a:pt x="2233828" y="686181"/>
                      </a:lnTo>
                      <a:lnTo>
                        <a:pt x="2232710" y="687451"/>
                      </a:lnTo>
                      <a:lnTo>
                        <a:pt x="2217940" y="687451"/>
                      </a:lnTo>
                      <a:lnTo>
                        <a:pt x="2214397" y="684911"/>
                      </a:lnTo>
                      <a:lnTo>
                        <a:pt x="2213813" y="684911"/>
                      </a:lnTo>
                      <a:lnTo>
                        <a:pt x="2213279" y="683641"/>
                      </a:lnTo>
                      <a:lnTo>
                        <a:pt x="2212911" y="683641"/>
                      </a:lnTo>
                      <a:lnTo>
                        <a:pt x="2212657" y="682371"/>
                      </a:lnTo>
                      <a:lnTo>
                        <a:pt x="2211984" y="679831"/>
                      </a:lnTo>
                      <a:lnTo>
                        <a:pt x="2210422" y="682371"/>
                      </a:lnTo>
                      <a:lnTo>
                        <a:pt x="2206155" y="682371"/>
                      </a:lnTo>
                      <a:lnTo>
                        <a:pt x="2205304" y="681101"/>
                      </a:lnTo>
                      <a:lnTo>
                        <a:pt x="2204656" y="679831"/>
                      </a:lnTo>
                      <a:lnTo>
                        <a:pt x="2203818" y="679831"/>
                      </a:lnTo>
                      <a:lnTo>
                        <a:pt x="2204440" y="678561"/>
                      </a:lnTo>
                      <a:lnTo>
                        <a:pt x="2204682" y="678561"/>
                      </a:lnTo>
                      <a:lnTo>
                        <a:pt x="2204974" y="677291"/>
                      </a:lnTo>
                      <a:lnTo>
                        <a:pt x="2205050" y="674751"/>
                      </a:lnTo>
                      <a:lnTo>
                        <a:pt x="2204885" y="674751"/>
                      </a:lnTo>
                      <a:lnTo>
                        <a:pt x="2204694" y="673481"/>
                      </a:lnTo>
                      <a:lnTo>
                        <a:pt x="2204377" y="672211"/>
                      </a:lnTo>
                      <a:lnTo>
                        <a:pt x="2202827" y="669671"/>
                      </a:lnTo>
                      <a:lnTo>
                        <a:pt x="2201367" y="668401"/>
                      </a:lnTo>
                      <a:lnTo>
                        <a:pt x="2200084" y="668401"/>
                      </a:lnTo>
                      <a:lnTo>
                        <a:pt x="2199081" y="667131"/>
                      </a:lnTo>
                      <a:lnTo>
                        <a:pt x="2198116" y="667131"/>
                      </a:lnTo>
                      <a:lnTo>
                        <a:pt x="2195080" y="664591"/>
                      </a:lnTo>
                      <a:lnTo>
                        <a:pt x="2192299" y="663321"/>
                      </a:lnTo>
                      <a:lnTo>
                        <a:pt x="2186876" y="663321"/>
                      </a:lnTo>
                      <a:lnTo>
                        <a:pt x="2189302" y="662051"/>
                      </a:lnTo>
                      <a:lnTo>
                        <a:pt x="2191715" y="660781"/>
                      </a:lnTo>
                      <a:lnTo>
                        <a:pt x="2188375" y="661924"/>
                      </a:lnTo>
                      <a:lnTo>
                        <a:pt x="2188489" y="660781"/>
                      </a:lnTo>
                      <a:lnTo>
                        <a:pt x="2190013" y="660781"/>
                      </a:lnTo>
                      <a:lnTo>
                        <a:pt x="2191321" y="659511"/>
                      </a:lnTo>
                      <a:lnTo>
                        <a:pt x="2193455" y="656971"/>
                      </a:lnTo>
                      <a:lnTo>
                        <a:pt x="2191423" y="655701"/>
                      </a:lnTo>
                      <a:lnTo>
                        <a:pt x="2190381" y="654431"/>
                      </a:lnTo>
                      <a:lnTo>
                        <a:pt x="2190191" y="653567"/>
                      </a:lnTo>
                      <a:lnTo>
                        <a:pt x="2190191" y="658241"/>
                      </a:lnTo>
                      <a:lnTo>
                        <a:pt x="2189403" y="658241"/>
                      </a:lnTo>
                      <a:lnTo>
                        <a:pt x="2188591" y="659511"/>
                      </a:lnTo>
                      <a:lnTo>
                        <a:pt x="2187994" y="659511"/>
                      </a:lnTo>
                      <a:lnTo>
                        <a:pt x="2187994" y="662051"/>
                      </a:lnTo>
                      <a:lnTo>
                        <a:pt x="2184311" y="663321"/>
                      </a:lnTo>
                      <a:lnTo>
                        <a:pt x="2183257" y="663321"/>
                      </a:lnTo>
                      <a:lnTo>
                        <a:pt x="2182469" y="662051"/>
                      </a:lnTo>
                      <a:lnTo>
                        <a:pt x="2187994" y="662051"/>
                      </a:lnTo>
                      <a:lnTo>
                        <a:pt x="2187994" y="659511"/>
                      </a:lnTo>
                      <a:lnTo>
                        <a:pt x="2187664" y="659511"/>
                      </a:lnTo>
                      <a:lnTo>
                        <a:pt x="2183930" y="658241"/>
                      </a:lnTo>
                      <a:lnTo>
                        <a:pt x="2182330" y="656971"/>
                      </a:lnTo>
                      <a:lnTo>
                        <a:pt x="2177262" y="656971"/>
                      </a:lnTo>
                      <a:lnTo>
                        <a:pt x="2177173" y="658241"/>
                      </a:lnTo>
                      <a:lnTo>
                        <a:pt x="2174316" y="658241"/>
                      </a:lnTo>
                      <a:lnTo>
                        <a:pt x="2172716" y="659511"/>
                      </a:lnTo>
                      <a:lnTo>
                        <a:pt x="2171204" y="658241"/>
                      </a:lnTo>
                      <a:lnTo>
                        <a:pt x="2170557" y="656971"/>
                      </a:lnTo>
                      <a:lnTo>
                        <a:pt x="2167940" y="655701"/>
                      </a:lnTo>
                      <a:lnTo>
                        <a:pt x="2166061" y="655701"/>
                      </a:lnTo>
                      <a:lnTo>
                        <a:pt x="2163495" y="656971"/>
                      </a:lnTo>
                      <a:lnTo>
                        <a:pt x="2162975" y="656971"/>
                      </a:lnTo>
                      <a:lnTo>
                        <a:pt x="2159800" y="658241"/>
                      </a:lnTo>
                      <a:lnTo>
                        <a:pt x="2157857" y="660781"/>
                      </a:lnTo>
                      <a:lnTo>
                        <a:pt x="2154771" y="663321"/>
                      </a:lnTo>
                      <a:lnTo>
                        <a:pt x="2149983" y="664591"/>
                      </a:lnTo>
                      <a:lnTo>
                        <a:pt x="2148624" y="665873"/>
                      </a:lnTo>
                      <a:lnTo>
                        <a:pt x="2141690" y="668401"/>
                      </a:lnTo>
                      <a:lnTo>
                        <a:pt x="2141347" y="668401"/>
                      </a:lnTo>
                      <a:lnTo>
                        <a:pt x="2140166" y="665861"/>
                      </a:lnTo>
                      <a:lnTo>
                        <a:pt x="2139518" y="664591"/>
                      </a:lnTo>
                      <a:lnTo>
                        <a:pt x="2139353" y="664591"/>
                      </a:lnTo>
                      <a:lnTo>
                        <a:pt x="2139391" y="663321"/>
                      </a:lnTo>
                      <a:lnTo>
                        <a:pt x="2139683" y="661924"/>
                      </a:lnTo>
                      <a:lnTo>
                        <a:pt x="2140318" y="659511"/>
                      </a:lnTo>
                      <a:lnTo>
                        <a:pt x="2140635" y="656971"/>
                      </a:lnTo>
                      <a:lnTo>
                        <a:pt x="2140978" y="653161"/>
                      </a:lnTo>
                      <a:lnTo>
                        <a:pt x="2141067" y="651891"/>
                      </a:lnTo>
                      <a:lnTo>
                        <a:pt x="2141156" y="649351"/>
                      </a:lnTo>
                      <a:lnTo>
                        <a:pt x="2140775" y="648081"/>
                      </a:lnTo>
                      <a:lnTo>
                        <a:pt x="2139302" y="648081"/>
                      </a:lnTo>
                      <a:lnTo>
                        <a:pt x="2138299" y="646811"/>
                      </a:lnTo>
                      <a:lnTo>
                        <a:pt x="2137638" y="646811"/>
                      </a:lnTo>
                      <a:lnTo>
                        <a:pt x="2137854" y="645541"/>
                      </a:lnTo>
                      <a:lnTo>
                        <a:pt x="2137549" y="644271"/>
                      </a:lnTo>
                      <a:lnTo>
                        <a:pt x="2136813" y="644271"/>
                      </a:lnTo>
                      <a:lnTo>
                        <a:pt x="2135555" y="641731"/>
                      </a:lnTo>
                      <a:lnTo>
                        <a:pt x="2134730" y="643001"/>
                      </a:lnTo>
                      <a:lnTo>
                        <a:pt x="2134171" y="644271"/>
                      </a:lnTo>
                      <a:lnTo>
                        <a:pt x="2135073" y="645541"/>
                      </a:lnTo>
                      <a:lnTo>
                        <a:pt x="2135619" y="645541"/>
                      </a:lnTo>
                      <a:lnTo>
                        <a:pt x="2135492" y="646811"/>
                      </a:lnTo>
                      <a:lnTo>
                        <a:pt x="2134362" y="649351"/>
                      </a:lnTo>
                      <a:lnTo>
                        <a:pt x="2139010" y="649351"/>
                      </a:lnTo>
                      <a:lnTo>
                        <a:pt x="2138857" y="653161"/>
                      </a:lnTo>
                      <a:lnTo>
                        <a:pt x="2138527" y="656971"/>
                      </a:lnTo>
                      <a:lnTo>
                        <a:pt x="2138235" y="658241"/>
                      </a:lnTo>
                      <a:lnTo>
                        <a:pt x="2137791" y="660781"/>
                      </a:lnTo>
                      <a:lnTo>
                        <a:pt x="2137460" y="662051"/>
                      </a:lnTo>
                      <a:lnTo>
                        <a:pt x="2137270" y="662051"/>
                      </a:lnTo>
                      <a:lnTo>
                        <a:pt x="2137219" y="664591"/>
                      </a:lnTo>
                      <a:lnTo>
                        <a:pt x="2137460" y="665873"/>
                      </a:lnTo>
                      <a:lnTo>
                        <a:pt x="2138083" y="667131"/>
                      </a:lnTo>
                      <a:lnTo>
                        <a:pt x="2138349" y="667131"/>
                      </a:lnTo>
                      <a:lnTo>
                        <a:pt x="2139772" y="669671"/>
                      </a:lnTo>
                      <a:lnTo>
                        <a:pt x="2141029" y="670941"/>
                      </a:lnTo>
                      <a:lnTo>
                        <a:pt x="2142185" y="670941"/>
                      </a:lnTo>
                      <a:lnTo>
                        <a:pt x="2147239" y="668401"/>
                      </a:lnTo>
                      <a:lnTo>
                        <a:pt x="2149767" y="667131"/>
                      </a:lnTo>
                      <a:lnTo>
                        <a:pt x="2155901" y="665873"/>
                      </a:lnTo>
                      <a:lnTo>
                        <a:pt x="2157285" y="664591"/>
                      </a:lnTo>
                      <a:lnTo>
                        <a:pt x="2159266" y="662051"/>
                      </a:lnTo>
                      <a:lnTo>
                        <a:pt x="2161095" y="660781"/>
                      </a:lnTo>
                      <a:lnTo>
                        <a:pt x="2163902" y="658241"/>
                      </a:lnTo>
                      <a:lnTo>
                        <a:pt x="2167369" y="658241"/>
                      </a:lnTo>
                      <a:lnTo>
                        <a:pt x="2169007" y="659511"/>
                      </a:lnTo>
                      <a:lnTo>
                        <a:pt x="2168614" y="659511"/>
                      </a:lnTo>
                      <a:lnTo>
                        <a:pt x="2168537" y="660781"/>
                      </a:lnTo>
                      <a:lnTo>
                        <a:pt x="2169033" y="660781"/>
                      </a:lnTo>
                      <a:lnTo>
                        <a:pt x="2169464" y="662051"/>
                      </a:lnTo>
                      <a:lnTo>
                        <a:pt x="2171306" y="662051"/>
                      </a:lnTo>
                      <a:lnTo>
                        <a:pt x="2173033" y="660781"/>
                      </a:lnTo>
                      <a:lnTo>
                        <a:pt x="2175421" y="660781"/>
                      </a:lnTo>
                      <a:lnTo>
                        <a:pt x="2177262" y="659511"/>
                      </a:lnTo>
                      <a:lnTo>
                        <a:pt x="2179256" y="659511"/>
                      </a:lnTo>
                      <a:lnTo>
                        <a:pt x="2179282" y="658241"/>
                      </a:lnTo>
                      <a:lnTo>
                        <a:pt x="2180221" y="658241"/>
                      </a:lnTo>
                      <a:lnTo>
                        <a:pt x="2181085" y="659511"/>
                      </a:lnTo>
                      <a:lnTo>
                        <a:pt x="2182507" y="659511"/>
                      </a:lnTo>
                      <a:lnTo>
                        <a:pt x="2181974" y="660781"/>
                      </a:lnTo>
                      <a:lnTo>
                        <a:pt x="2179663" y="660781"/>
                      </a:lnTo>
                      <a:lnTo>
                        <a:pt x="2179523" y="662051"/>
                      </a:lnTo>
                      <a:lnTo>
                        <a:pt x="2181047" y="663321"/>
                      </a:lnTo>
                      <a:lnTo>
                        <a:pt x="2177631" y="665861"/>
                      </a:lnTo>
                      <a:lnTo>
                        <a:pt x="2155901" y="665873"/>
                      </a:lnTo>
                      <a:lnTo>
                        <a:pt x="2154491" y="667131"/>
                      </a:lnTo>
                      <a:lnTo>
                        <a:pt x="2151227" y="668401"/>
                      </a:lnTo>
                      <a:lnTo>
                        <a:pt x="2144966" y="672211"/>
                      </a:lnTo>
                      <a:lnTo>
                        <a:pt x="2140750" y="672211"/>
                      </a:lnTo>
                      <a:lnTo>
                        <a:pt x="2135975" y="677291"/>
                      </a:lnTo>
                      <a:lnTo>
                        <a:pt x="2132990" y="681101"/>
                      </a:lnTo>
                      <a:lnTo>
                        <a:pt x="2134209" y="681101"/>
                      </a:lnTo>
                      <a:lnTo>
                        <a:pt x="2135505" y="682371"/>
                      </a:lnTo>
                      <a:lnTo>
                        <a:pt x="2137079" y="684911"/>
                      </a:lnTo>
                      <a:lnTo>
                        <a:pt x="2138565" y="687451"/>
                      </a:lnTo>
                      <a:lnTo>
                        <a:pt x="2138972" y="687451"/>
                      </a:lnTo>
                      <a:lnTo>
                        <a:pt x="2139467" y="688721"/>
                      </a:lnTo>
                      <a:lnTo>
                        <a:pt x="2139277" y="692531"/>
                      </a:lnTo>
                      <a:lnTo>
                        <a:pt x="2139467" y="692531"/>
                      </a:lnTo>
                      <a:lnTo>
                        <a:pt x="2139467" y="693801"/>
                      </a:lnTo>
                      <a:lnTo>
                        <a:pt x="2139873" y="693801"/>
                      </a:lnTo>
                      <a:lnTo>
                        <a:pt x="2138680" y="695071"/>
                      </a:lnTo>
                      <a:lnTo>
                        <a:pt x="2138375" y="696341"/>
                      </a:lnTo>
                      <a:lnTo>
                        <a:pt x="2136419" y="697611"/>
                      </a:lnTo>
                      <a:lnTo>
                        <a:pt x="2135060" y="698881"/>
                      </a:lnTo>
                      <a:lnTo>
                        <a:pt x="2133917" y="701421"/>
                      </a:lnTo>
                      <a:lnTo>
                        <a:pt x="2132723" y="701421"/>
                      </a:lnTo>
                      <a:lnTo>
                        <a:pt x="2132228" y="702691"/>
                      </a:lnTo>
                      <a:lnTo>
                        <a:pt x="2131885" y="702691"/>
                      </a:lnTo>
                      <a:lnTo>
                        <a:pt x="2130488" y="703961"/>
                      </a:lnTo>
                      <a:lnTo>
                        <a:pt x="2130818" y="705231"/>
                      </a:lnTo>
                      <a:lnTo>
                        <a:pt x="2131809" y="707771"/>
                      </a:lnTo>
                      <a:lnTo>
                        <a:pt x="2132850" y="709041"/>
                      </a:lnTo>
                      <a:lnTo>
                        <a:pt x="2132495" y="710311"/>
                      </a:lnTo>
                      <a:lnTo>
                        <a:pt x="2131911" y="711581"/>
                      </a:lnTo>
                      <a:lnTo>
                        <a:pt x="2130971" y="711581"/>
                      </a:lnTo>
                      <a:lnTo>
                        <a:pt x="2129815" y="712851"/>
                      </a:lnTo>
                      <a:lnTo>
                        <a:pt x="2122703" y="712851"/>
                      </a:lnTo>
                      <a:lnTo>
                        <a:pt x="2119160" y="711581"/>
                      </a:lnTo>
                      <a:lnTo>
                        <a:pt x="2115909" y="711581"/>
                      </a:lnTo>
                      <a:lnTo>
                        <a:pt x="2115604" y="712851"/>
                      </a:lnTo>
                      <a:lnTo>
                        <a:pt x="2114829" y="712851"/>
                      </a:lnTo>
                      <a:lnTo>
                        <a:pt x="2114778" y="714121"/>
                      </a:lnTo>
                      <a:lnTo>
                        <a:pt x="2115451" y="715391"/>
                      </a:lnTo>
                      <a:lnTo>
                        <a:pt x="2116658" y="717931"/>
                      </a:lnTo>
                      <a:lnTo>
                        <a:pt x="2117610" y="717931"/>
                      </a:lnTo>
                      <a:lnTo>
                        <a:pt x="2118741" y="720471"/>
                      </a:lnTo>
                      <a:lnTo>
                        <a:pt x="2119807" y="721741"/>
                      </a:lnTo>
                      <a:lnTo>
                        <a:pt x="2121027" y="724281"/>
                      </a:lnTo>
                      <a:lnTo>
                        <a:pt x="2119579" y="725551"/>
                      </a:lnTo>
                      <a:lnTo>
                        <a:pt x="2117179" y="726821"/>
                      </a:lnTo>
                      <a:lnTo>
                        <a:pt x="2116048" y="726821"/>
                      </a:lnTo>
                      <a:lnTo>
                        <a:pt x="2116353" y="728091"/>
                      </a:lnTo>
                      <a:lnTo>
                        <a:pt x="2115731" y="726821"/>
                      </a:lnTo>
                      <a:lnTo>
                        <a:pt x="2111210" y="726821"/>
                      </a:lnTo>
                      <a:lnTo>
                        <a:pt x="2110790" y="728091"/>
                      </a:lnTo>
                      <a:lnTo>
                        <a:pt x="2110511" y="728091"/>
                      </a:lnTo>
                      <a:lnTo>
                        <a:pt x="2109533" y="729361"/>
                      </a:lnTo>
                      <a:lnTo>
                        <a:pt x="2108568" y="734441"/>
                      </a:lnTo>
                      <a:lnTo>
                        <a:pt x="2108390" y="734441"/>
                      </a:lnTo>
                      <a:lnTo>
                        <a:pt x="2107031" y="735711"/>
                      </a:lnTo>
                      <a:lnTo>
                        <a:pt x="2106726" y="736981"/>
                      </a:lnTo>
                      <a:lnTo>
                        <a:pt x="2105952" y="736981"/>
                      </a:lnTo>
                      <a:lnTo>
                        <a:pt x="2106422" y="742061"/>
                      </a:lnTo>
                      <a:lnTo>
                        <a:pt x="2106955" y="745871"/>
                      </a:lnTo>
                      <a:lnTo>
                        <a:pt x="2106333" y="745871"/>
                      </a:lnTo>
                      <a:lnTo>
                        <a:pt x="2104872" y="747141"/>
                      </a:lnTo>
                      <a:lnTo>
                        <a:pt x="2102015" y="749681"/>
                      </a:lnTo>
                      <a:lnTo>
                        <a:pt x="2100948" y="749681"/>
                      </a:lnTo>
                      <a:lnTo>
                        <a:pt x="2099005" y="748411"/>
                      </a:lnTo>
                      <a:lnTo>
                        <a:pt x="2098611" y="748411"/>
                      </a:lnTo>
                      <a:lnTo>
                        <a:pt x="2098205" y="747141"/>
                      </a:lnTo>
                      <a:lnTo>
                        <a:pt x="2092820" y="747141"/>
                      </a:lnTo>
                      <a:lnTo>
                        <a:pt x="2092121" y="748411"/>
                      </a:lnTo>
                      <a:lnTo>
                        <a:pt x="2089302" y="748411"/>
                      </a:lnTo>
                      <a:lnTo>
                        <a:pt x="2088121" y="749681"/>
                      </a:lnTo>
                      <a:lnTo>
                        <a:pt x="2085187" y="750951"/>
                      </a:lnTo>
                      <a:lnTo>
                        <a:pt x="2080260" y="752221"/>
                      </a:lnTo>
                      <a:lnTo>
                        <a:pt x="2084197" y="754761"/>
                      </a:lnTo>
                      <a:lnTo>
                        <a:pt x="2082050" y="756031"/>
                      </a:lnTo>
                      <a:lnTo>
                        <a:pt x="2077377" y="756031"/>
                      </a:lnTo>
                      <a:lnTo>
                        <a:pt x="2075484" y="754761"/>
                      </a:lnTo>
                      <a:lnTo>
                        <a:pt x="2074697" y="754761"/>
                      </a:lnTo>
                      <a:lnTo>
                        <a:pt x="2073541" y="756031"/>
                      </a:lnTo>
                      <a:lnTo>
                        <a:pt x="2071179" y="756031"/>
                      </a:lnTo>
                      <a:lnTo>
                        <a:pt x="2069249" y="758571"/>
                      </a:lnTo>
                      <a:lnTo>
                        <a:pt x="2068576" y="758571"/>
                      </a:lnTo>
                      <a:lnTo>
                        <a:pt x="2067661" y="759841"/>
                      </a:lnTo>
                      <a:lnTo>
                        <a:pt x="2065705" y="761111"/>
                      </a:lnTo>
                      <a:lnTo>
                        <a:pt x="2065362" y="762381"/>
                      </a:lnTo>
                      <a:lnTo>
                        <a:pt x="2064969" y="762381"/>
                      </a:lnTo>
                      <a:lnTo>
                        <a:pt x="2064854" y="763651"/>
                      </a:lnTo>
                      <a:lnTo>
                        <a:pt x="2064512" y="764921"/>
                      </a:lnTo>
                      <a:lnTo>
                        <a:pt x="2063826" y="768731"/>
                      </a:lnTo>
                      <a:lnTo>
                        <a:pt x="2063864" y="771271"/>
                      </a:lnTo>
                      <a:lnTo>
                        <a:pt x="2063724" y="771271"/>
                      </a:lnTo>
                      <a:lnTo>
                        <a:pt x="2063686" y="772541"/>
                      </a:lnTo>
                      <a:lnTo>
                        <a:pt x="2063559" y="772541"/>
                      </a:lnTo>
                      <a:lnTo>
                        <a:pt x="2063216" y="773811"/>
                      </a:lnTo>
                      <a:lnTo>
                        <a:pt x="2062810" y="775081"/>
                      </a:lnTo>
                      <a:lnTo>
                        <a:pt x="2062988" y="776351"/>
                      </a:lnTo>
                      <a:lnTo>
                        <a:pt x="2063851" y="776351"/>
                      </a:lnTo>
                      <a:lnTo>
                        <a:pt x="2063864" y="777621"/>
                      </a:lnTo>
                      <a:lnTo>
                        <a:pt x="2063343" y="777621"/>
                      </a:lnTo>
                      <a:lnTo>
                        <a:pt x="2063140" y="778891"/>
                      </a:lnTo>
                      <a:lnTo>
                        <a:pt x="2062391" y="778891"/>
                      </a:lnTo>
                      <a:lnTo>
                        <a:pt x="2058212" y="780161"/>
                      </a:lnTo>
                      <a:lnTo>
                        <a:pt x="2055736" y="780161"/>
                      </a:lnTo>
                      <a:lnTo>
                        <a:pt x="2054186" y="781431"/>
                      </a:lnTo>
                      <a:lnTo>
                        <a:pt x="2040686" y="781431"/>
                      </a:lnTo>
                      <a:lnTo>
                        <a:pt x="2038184" y="782701"/>
                      </a:lnTo>
                      <a:lnTo>
                        <a:pt x="2036711" y="782701"/>
                      </a:lnTo>
                      <a:lnTo>
                        <a:pt x="2033308" y="785241"/>
                      </a:lnTo>
                      <a:lnTo>
                        <a:pt x="2031885" y="785241"/>
                      </a:lnTo>
                      <a:lnTo>
                        <a:pt x="2029879" y="783971"/>
                      </a:lnTo>
                      <a:lnTo>
                        <a:pt x="2018893" y="783971"/>
                      </a:lnTo>
                      <a:lnTo>
                        <a:pt x="2018969" y="785241"/>
                      </a:lnTo>
                      <a:lnTo>
                        <a:pt x="2018576" y="783971"/>
                      </a:lnTo>
                      <a:lnTo>
                        <a:pt x="2015985" y="783971"/>
                      </a:lnTo>
                      <a:lnTo>
                        <a:pt x="2013877" y="785241"/>
                      </a:lnTo>
                      <a:lnTo>
                        <a:pt x="2012200" y="785241"/>
                      </a:lnTo>
                      <a:lnTo>
                        <a:pt x="1988870" y="778891"/>
                      </a:lnTo>
                      <a:lnTo>
                        <a:pt x="1997278" y="768731"/>
                      </a:lnTo>
                      <a:lnTo>
                        <a:pt x="1999818" y="766191"/>
                      </a:lnTo>
                      <a:lnTo>
                        <a:pt x="2001634" y="762381"/>
                      </a:lnTo>
                      <a:lnTo>
                        <a:pt x="2001977" y="761111"/>
                      </a:lnTo>
                      <a:lnTo>
                        <a:pt x="2001507" y="758571"/>
                      </a:lnTo>
                      <a:lnTo>
                        <a:pt x="2001253" y="758571"/>
                      </a:lnTo>
                      <a:lnTo>
                        <a:pt x="2000669" y="757301"/>
                      </a:lnTo>
                      <a:lnTo>
                        <a:pt x="2000288" y="757301"/>
                      </a:lnTo>
                      <a:lnTo>
                        <a:pt x="1998967" y="754761"/>
                      </a:lnTo>
                      <a:lnTo>
                        <a:pt x="1998497" y="754761"/>
                      </a:lnTo>
                      <a:lnTo>
                        <a:pt x="1997710" y="753491"/>
                      </a:lnTo>
                      <a:lnTo>
                        <a:pt x="1988527" y="752221"/>
                      </a:lnTo>
                      <a:lnTo>
                        <a:pt x="1987499" y="752221"/>
                      </a:lnTo>
                      <a:lnTo>
                        <a:pt x="1987423" y="748411"/>
                      </a:lnTo>
                      <a:lnTo>
                        <a:pt x="1987219" y="745871"/>
                      </a:lnTo>
                      <a:lnTo>
                        <a:pt x="1987181" y="744601"/>
                      </a:lnTo>
                      <a:lnTo>
                        <a:pt x="1987435" y="743331"/>
                      </a:lnTo>
                      <a:lnTo>
                        <a:pt x="1987664" y="743331"/>
                      </a:lnTo>
                      <a:lnTo>
                        <a:pt x="1987727" y="742061"/>
                      </a:lnTo>
                      <a:lnTo>
                        <a:pt x="1987562" y="740791"/>
                      </a:lnTo>
                      <a:lnTo>
                        <a:pt x="1987499" y="739521"/>
                      </a:lnTo>
                      <a:lnTo>
                        <a:pt x="1986635" y="736981"/>
                      </a:lnTo>
                      <a:lnTo>
                        <a:pt x="1984133" y="726821"/>
                      </a:lnTo>
                      <a:lnTo>
                        <a:pt x="1988489" y="721741"/>
                      </a:lnTo>
                      <a:lnTo>
                        <a:pt x="1989899" y="720471"/>
                      </a:lnTo>
                      <a:lnTo>
                        <a:pt x="1987892" y="720471"/>
                      </a:lnTo>
                      <a:lnTo>
                        <a:pt x="1985632" y="719201"/>
                      </a:lnTo>
                      <a:lnTo>
                        <a:pt x="1983574" y="719201"/>
                      </a:lnTo>
                      <a:lnTo>
                        <a:pt x="1983308" y="717931"/>
                      </a:lnTo>
                      <a:lnTo>
                        <a:pt x="1983066" y="717931"/>
                      </a:lnTo>
                      <a:lnTo>
                        <a:pt x="1982838" y="716661"/>
                      </a:lnTo>
                      <a:lnTo>
                        <a:pt x="1982876" y="712851"/>
                      </a:lnTo>
                      <a:lnTo>
                        <a:pt x="1988261" y="707771"/>
                      </a:lnTo>
                      <a:lnTo>
                        <a:pt x="1987677" y="706501"/>
                      </a:lnTo>
                      <a:lnTo>
                        <a:pt x="1986838" y="705231"/>
                      </a:lnTo>
                      <a:lnTo>
                        <a:pt x="1986356" y="705231"/>
                      </a:lnTo>
                      <a:lnTo>
                        <a:pt x="1986851" y="703961"/>
                      </a:lnTo>
                      <a:lnTo>
                        <a:pt x="1990229" y="701421"/>
                      </a:lnTo>
                      <a:lnTo>
                        <a:pt x="1990445" y="701421"/>
                      </a:lnTo>
                      <a:lnTo>
                        <a:pt x="1990801" y="698881"/>
                      </a:lnTo>
                      <a:lnTo>
                        <a:pt x="1991283" y="698881"/>
                      </a:lnTo>
                      <a:lnTo>
                        <a:pt x="1991385" y="697611"/>
                      </a:lnTo>
                      <a:lnTo>
                        <a:pt x="1991550" y="696341"/>
                      </a:lnTo>
                      <a:lnTo>
                        <a:pt x="1992769" y="691261"/>
                      </a:lnTo>
                      <a:lnTo>
                        <a:pt x="1995131" y="688721"/>
                      </a:lnTo>
                      <a:lnTo>
                        <a:pt x="1995525" y="689991"/>
                      </a:lnTo>
                      <a:lnTo>
                        <a:pt x="2000631" y="689991"/>
                      </a:lnTo>
                      <a:lnTo>
                        <a:pt x="2001431" y="691261"/>
                      </a:lnTo>
                      <a:lnTo>
                        <a:pt x="2003221" y="691261"/>
                      </a:lnTo>
                      <a:lnTo>
                        <a:pt x="2006346" y="695071"/>
                      </a:lnTo>
                      <a:lnTo>
                        <a:pt x="2008835" y="695071"/>
                      </a:lnTo>
                      <a:lnTo>
                        <a:pt x="2009381" y="693801"/>
                      </a:lnTo>
                      <a:lnTo>
                        <a:pt x="2014499" y="693801"/>
                      </a:lnTo>
                      <a:lnTo>
                        <a:pt x="2015070" y="692531"/>
                      </a:lnTo>
                      <a:lnTo>
                        <a:pt x="2016417" y="692531"/>
                      </a:lnTo>
                      <a:lnTo>
                        <a:pt x="2017801" y="691261"/>
                      </a:lnTo>
                      <a:lnTo>
                        <a:pt x="2018995" y="689991"/>
                      </a:lnTo>
                      <a:lnTo>
                        <a:pt x="2020125" y="688721"/>
                      </a:lnTo>
                      <a:lnTo>
                        <a:pt x="2021827" y="686181"/>
                      </a:lnTo>
                      <a:lnTo>
                        <a:pt x="2021586" y="684911"/>
                      </a:lnTo>
                      <a:lnTo>
                        <a:pt x="2022563" y="683641"/>
                      </a:lnTo>
                      <a:lnTo>
                        <a:pt x="2024481" y="683641"/>
                      </a:lnTo>
                      <a:lnTo>
                        <a:pt x="2026551" y="682371"/>
                      </a:lnTo>
                      <a:lnTo>
                        <a:pt x="2031936" y="681101"/>
                      </a:lnTo>
                      <a:lnTo>
                        <a:pt x="2033397" y="679831"/>
                      </a:lnTo>
                      <a:lnTo>
                        <a:pt x="2034616" y="679831"/>
                      </a:lnTo>
                      <a:lnTo>
                        <a:pt x="2036686" y="678561"/>
                      </a:lnTo>
                      <a:lnTo>
                        <a:pt x="2041550" y="674751"/>
                      </a:lnTo>
                      <a:lnTo>
                        <a:pt x="2041652" y="670941"/>
                      </a:lnTo>
                      <a:lnTo>
                        <a:pt x="2041906" y="669671"/>
                      </a:lnTo>
                      <a:lnTo>
                        <a:pt x="2050211" y="662051"/>
                      </a:lnTo>
                      <a:lnTo>
                        <a:pt x="2053132" y="662051"/>
                      </a:lnTo>
                      <a:lnTo>
                        <a:pt x="2054910" y="660781"/>
                      </a:lnTo>
                      <a:lnTo>
                        <a:pt x="2056993" y="656971"/>
                      </a:lnTo>
                      <a:lnTo>
                        <a:pt x="2059038" y="656971"/>
                      </a:lnTo>
                      <a:lnTo>
                        <a:pt x="2059686" y="658241"/>
                      </a:lnTo>
                      <a:lnTo>
                        <a:pt x="2061286" y="658241"/>
                      </a:lnTo>
                      <a:lnTo>
                        <a:pt x="2062708" y="659511"/>
                      </a:lnTo>
                      <a:lnTo>
                        <a:pt x="2075434" y="659511"/>
                      </a:lnTo>
                      <a:lnTo>
                        <a:pt x="2076297" y="660781"/>
                      </a:lnTo>
                      <a:lnTo>
                        <a:pt x="2076691" y="660781"/>
                      </a:lnTo>
                      <a:lnTo>
                        <a:pt x="2077300" y="662051"/>
                      </a:lnTo>
                      <a:lnTo>
                        <a:pt x="2084984" y="662051"/>
                      </a:lnTo>
                      <a:lnTo>
                        <a:pt x="2085009" y="663321"/>
                      </a:lnTo>
                      <a:lnTo>
                        <a:pt x="2085416" y="663321"/>
                      </a:lnTo>
                      <a:lnTo>
                        <a:pt x="2088857" y="665861"/>
                      </a:lnTo>
                      <a:lnTo>
                        <a:pt x="2089378" y="665873"/>
                      </a:lnTo>
                      <a:lnTo>
                        <a:pt x="2089683" y="667131"/>
                      </a:lnTo>
                      <a:lnTo>
                        <a:pt x="2090445" y="667131"/>
                      </a:lnTo>
                      <a:lnTo>
                        <a:pt x="2092604" y="664591"/>
                      </a:lnTo>
                      <a:lnTo>
                        <a:pt x="2093252" y="664591"/>
                      </a:lnTo>
                      <a:lnTo>
                        <a:pt x="2094331" y="663321"/>
                      </a:lnTo>
                      <a:lnTo>
                        <a:pt x="2095017" y="663321"/>
                      </a:lnTo>
                      <a:lnTo>
                        <a:pt x="2098090" y="662051"/>
                      </a:lnTo>
                      <a:lnTo>
                        <a:pt x="2099843" y="662051"/>
                      </a:lnTo>
                      <a:lnTo>
                        <a:pt x="2101164" y="660781"/>
                      </a:lnTo>
                      <a:lnTo>
                        <a:pt x="2103247" y="660781"/>
                      </a:lnTo>
                      <a:lnTo>
                        <a:pt x="2105025" y="662051"/>
                      </a:lnTo>
                      <a:lnTo>
                        <a:pt x="2105660" y="663321"/>
                      </a:lnTo>
                      <a:lnTo>
                        <a:pt x="2109800" y="663321"/>
                      </a:lnTo>
                      <a:lnTo>
                        <a:pt x="2110067" y="662051"/>
                      </a:lnTo>
                      <a:lnTo>
                        <a:pt x="2110321" y="660781"/>
                      </a:lnTo>
                      <a:lnTo>
                        <a:pt x="2110524" y="659511"/>
                      </a:lnTo>
                      <a:lnTo>
                        <a:pt x="2110994" y="658241"/>
                      </a:lnTo>
                      <a:lnTo>
                        <a:pt x="2111248" y="656971"/>
                      </a:lnTo>
                      <a:lnTo>
                        <a:pt x="2111616" y="656971"/>
                      </a:lnTo>
                      <a:lnTo>
                        <a:pt x="2111857" y="655701"/>
                      </a:lnTo>
                      <a:lnTo>
                        <a:pt x="2114753" y="655701"/>
                      </a:lnTo>
                      <a:lnTo>
                        <a:pt x="2117979" y="656971"/>
                      </a:lnTo>
                      <a:lnTo>
                        <a:pt x="2120277" y="656971"/>
                      </a:lnTo>
                      <a:lnTo>
                        <a:pt x="2121281" y="655701"/>
                      </a:lnTo>
                      <a:lnTo>
                        <a:pt x="2121712" y="655701"/>
                      </a:lnTo>
                      <a:lnTo>
                        <a:pt x="2122398" y="654431"/>
                      </a:lnTo>
                      <a:lnTo>
                        <a:pt x="2122601" y="654431"/>
                      </a:lnTo>
                      <a:lnTo>
                        <a:pt x="2122728" y="653161"/>
                      </a:lnTo>
                      <a:lnTo>
                        <a:pt x="2122589" y="651891"/>
                      </a:lnTo>
                      <a:lnTo>
                        <a:pt x="2122373" y="651891"/>
                      </a:lnTo>
                      <a:lnTo>
                        <a:pt x="2121217" y="650621"/>
                      </a:lnTo>
                      <a:lnTo>
                        <a:pt x="2121001" y="649351"/>
                      </a:lnTo>
                      <a:lnTo>
                        <a:pt x="2121789" y="649351"/>
                      </a:lnTo>
                      <a:lnTo>
                        <a:pt x="2123554" y="648081"/>
                      </a:lnTo>
                      <a:lnTo>
                        <a:pt x="2123871" y="648081"/>
                      </a:lnTo>
                      <a:lnTo>
                        <a:pt x="2124557" y="646811"/>
                      </a:lnTo>
                      <a:lnTo>
                        <a:pt x="2127859" y="643001"/>
                      </a:lnTo>
                      <a:lnTo>
                        <a:pt x="2129002" y="641731"/>
                      </a:lnTo>
                      <a:lnTo>
                        <a:pt x="2131999" y="641731"/>
                      </a:lnTo>
                      <a:lnTo>
                        <a:pt x="2133028" y="643001"/>
                      </a:lnTo>
                      <a:lnTo>
                        <a:pt x="2134730" y="643001"/>
                      </a:lnTo>
                      <a:lnTo>
                        <a:pt x="2135352" y="641731"/>
                      </a:lnTo>
                      <a:lnTo>
                        <a:pt x="2134920" y="641731"/>
                      </a:lnTo>
                      <a:lnTo>
                        <a:pt x="2134501" y="640461"/>
                      </a:lnTo>
                      <a:lnTo>
                        <a:pt x="2133574" y="640461"/>
                      </a:lnTo>
                      <a:lnTo>
                        <a:pt x="2133041" y="639191"/>
                      </a:lnTo>
                      <a:lnTo>
                        <a:pt x="2128710" y="639191"/>
                      </a:lnTo>
                      <a:lnTo>
                        <a:pt x="2127796" y="640461"/>
                      </a:lnTo>
                      <a:lnTo>
                        <a:pt x="2126411" y="641731"/>
                      </a:lnTo>
                      <a:lnTo>
                        <a:pt x="2122982" y="645541"/>
                      </a:lnTo>
                      <a:lnTo>
                        <a:pt x="2122373" y="646811"/>
                      </a:lnTo>
                      <a:lnTo>
                        <a:pt x="2120468" y="648081"/>
                      </a:lnTo>
                      <a:lnTo>
                        <a:pt x="2119896" y="648081"/>
                      </a:lnTo>
                      <a:lnTo>
                        <a:pt x="2118703" y="649351"/>
                      </a:lnTo>
                      <a:lnTo>
                        <a:pt x="2118855" y="649351"/>
                      </a:lnTo>
                      <a:lnTo>
                        <a:pt x="2118982" y="650621"/>
                      </a:lnTo>
                      <a:lnTo>
                        <a:pt x="2119325" y="651891"/>
                      </a:lnTo>
                      <a:lnTo>
                        <a:pt x="2120481" y="653161"/>
                      </a:lnTo>
                      <a:lnTo>
                        <a:pt x="2120125" y="654431"/>
                      </a:lnTo>
                      <a:lnTo>
                        <a:pt x="2119617" y="654431"/>
                      </a:lnTo>
                      <a:lnTo>
                        <a:pt x="2119858" y="655701"/>
                      </a:lnTo>
                      <a:lnTo>
                        <a:pt x="2119350" y="654431"/>
                      </a:lnTo>
                      <a:lnTo>
                        <a:pt x="2115286" y="654431"/>
                      </a:lnTo>
                      <a:lnTo>
                        <a:pt x="2113915" y="653161"/>
                      </a:lnTo>
                      <a:lnTo>
                        <a:pt x="2110397" y="653161"/>
                      </a:lnTo>
                      <a:lnTo>
                        <a:pt x="2109800" y="655701"/>
                      </a:lnTo>
                      <a:lnTo>
                        <a:pt x="2109241" y="655701"/>
                      </a:lnTo>
                      <a:lnTo>
                        <a:pt x="2109025" y="656971"/>
                      </a:lnTo>
                      <a:lnTo>
                        <a:pt x="2108949" y="658241"/>
                      </a:lnTo>
                      <a:lnTo>
                        <a:pt x="2108441" y="659511"/>
                      </a:lnTo>
                      <a:lnTo>
                        <a:pt x="2108289" y="660781"/>
                      </a:lnTo>
                      <a:lnTo>
                        <a:pt x="2108047" y="660781"/>
                      </a:lnTo>
                      <a:lnTo>
                        <a:pt x="2107781" y="662051"/>
                      </a:lnTo>
                      <a:lnTo>
                        <a:pt x="2106841" y="662051"/>
                      </a:lnTo>
                      <a:lnTo>
                        <a:pt x="2104834" y="659511"/>
                      </a:lnTo>
                      <a:lnTo>
                        <a:pt x="2104237" y="659511"/>
                      </a:lnTo>
                      <a:lnTo>
                        <a:pt x="2103132" y="658241"/>
                      </a:lnTo>
                      <a:lnTo>
                        <a:pt x="2100249" y="658241"/>
                      </a:lnTo>
                      <a:lnTo>
                        <a:pt x="2098954" y="659511"/>
                      </a:lnTo>
                      <a:lnTo>
                        <a:pt x="2097328" y="660781"/>
                      </a:lnTo>
                      <a:lnTo>
                        <a:pt x="2094128" y="660781"/>
                      </a:lnTo>
                      <a:lnTo>
                        <a:pt x="2093633" y="662051"/>
                      </a:lnTo>
                      <a:lnTo>
                        <a:pt x="2092490" y="662051"/>
                      </a:lnTo>
                      <a:lnTo>
                        <a:pt x="2091550" y="663321"/>
                      </a:lnTo>
                      <a:lnTo>
                        <a:pt x="2089734" y="664591"/>
                      </a:lnTo>
                      <a:lnTo>
                        <a:pt x="2087105" y="662051"/>
                      </a:lnTo>
                      <a:lnTo>
                        <a:pt x="2087054" y="660781"/>
                      </a:lnTo>
                      <a:lnTo>
                        <a:pt x="2087448" y="660781"/>
                      </a:lnTo>
                      <a:lnTo>
                        <a:pt x="2087778" y="658241"/>
                      </a:lnTo>
                      <a:lnTo>
                        <a:pt x="2087905" y="658241"/>
                      </a:lnTo>
                      <a:lnTo>
                        <a:pt x="2087740" y="656971"/>
                      </a:lnTo>
                      <a:lnTo>
                        <a:pt x="2090343" y="653161"/>
                      </a:lnTo>
                      <a:lnTo>
                        <a:pt x="2094039" y="648081"/>
                      </a:lnTo>
                      <a:lnTo>
                        <a:pt x="2096566" y="645541"/>
                      </a:lnTo>
                      <a:lnTo>
                        <a:pt x="2094776" y="643001"/>
                      </a:lnTo>
                      <a:lnTo>
                        <a:pt x="2094509" y="643001"/>
                      </a:lnTo>
                      <a:lnTo>
                        <a:pt x="2093315" y="641731"/>
                      </a:lnTo>
                      <a:lnTo>
                        <a:pt x="2092388" y="640461"/>
                      </a:lnTo>
                      <a:lnTo>
                        <a:pt x="2092083" y="640461"/>
                      </a:lnTo>
                      <a:lnTo>
                        <a:pt x="2092007" y="639191"/>
                      </a:lnTo>
                      <a:lnTo>
                        <a:pt x="2092337" y="636651"/>
                      </a:lnTo>
                      <a:lnTo>
                        <a:pt x="2092680" y="635381"/>
                      </a:lnTo>
                      <a:lnTo>
                        <a:pt x="2092934" y="634111"/>
                      </a:lnTo>
                      <a:lnTo>
                        <a:pt x="2092794" y="632841"/>
                      </a:lnTo>
                      <a:lnTo>
                        <a:pt x="2092058" y="631571"/>
                      </a:lnTo>
                      <a:lnTo>
                        <a:pt x="2090420" y="630301"/>
                      </a:lnTo>
                      <a:lnTo>
                        <a:pt x="2085149" y="630301"/>
                      </a:lnTo>
                      <a:lnTo>
                        <a:pt x="2083523" y="627761"/>
                      </a:lnTo>
                      <a:lnTo>
                        <a:pt x="2082622" y="627761"/>
                      </a:lnTo>
                      <a:lnTo>
                        <a:pt x="2081987" y="626491"/>
                      </a:lnTo>
                      <a:lnTo>
                        <a:pt x="2081339" y="626491"/>
                      </a:lnTo>
                      <a:lnTo>
                        <a:pt x="2081326" y="625221"/>
                      </a:lnTo>
                      <a:lnTo>
                        <a:pt x="2081784" y="623951"/>
                      </a:lnTo>
                      <a:lnTo>
                        <a:pt x="2081987" y="623951"/>
                      </a:lnTo>
                      <a:lnTo>
                        <a:pt x="2084197" y="622681"/>
                      </a:lnTo>
                      <a:lnTo>
                        <a:pt x="2084768" y="622681"/>
                      </a:lnTo>
                      <a:lnTo>
                        <a:pt x="2085467" y="621411"/>
                      </a:lnTo>
                      <a:lnTo>
                        <a:pt x="2085873" y="621411"/>
                      </a:lnTo>
                      <a:lnTo>
                        <a:pt x="2088489" y="622681"/>
                      </a:lnTo>
                      <a:lnTo>
                        <a:pt x="2097722" y="622681"/>
                      </a:lnTo>
                      <a:lnTo>
                        <a:pt x="2098167" y="621411"/>
                      </a:lnTo>
                      <a:lnTo>
                        <a:pt x="2099005" y="617601"/>
                      </a:lnTo>
                      <a:lnTo>
                        <a:pt x="2099221" y="617601"/>
                      </a:lnTo>
                      <a:lnTo>
                        <a:pt x="2100059" y="616331"/>
                      </a:lnTo>
                      <a:lnTo>
                        <a:pt x="2101989" y="621411"/>
                      </a:lnTo>
                      <a:lnTo>
                        <a:pt x="2102307" y="616331"/>
                      </a:lnTo>
                      <a:lnTo>
                        <a:pt x="2102269" y="615061"/>
                      </a:lnTo>
                      <a:lnTo>
                        <a:pt x="2102370" y="613791"/>
                      </a:lnTo>
                      <a:lnTo>
                        <a:pt x="2103005" y="615061"/>
                      </a:lnTo>
                      <a:lnTo>
                        <a:pt x="2103272" y="613791"/>
                      </a:lnTo>
                      <a:lnTo>
                        <a:pt x="2104555" y="613791"/>
                      </a:lnTo>
                      <a:lnTo>
                        <a:pt x="2104694" y="612521"/>
                      </a:lnTo>
                      <a:lnTo>
                        <a:pt x="2104390" y="612521"/>
                      </a:lnTo>
                      <a:lnTo>
                        <a:pt x="2104224" y="611251"/>
                      </a:lnTo>
                      <a:lnTo>
                        <a:pt x="2104529" y="611251"/>
                      </a:lnTo>
                      <a:lnTo>
                        <a:pt x="2105914" y="612521"/>
                      </a:lnTo>
                      <a:lnTo>
                        <a:pt x="2107069" y="612521"/>
                      </a:lnTo>
                      <a:lnTo>
                        <a:pt x="2106790" y="621411"/>
                      </a:lnTo>
                      <a:lnTo>
                        <a:pt x="2106676" y="623951"/>
                      </a:lnTo>
                      <a:lnTo>
                        <a:pt x="2114143" y="622681"/>
                      </a:lnTo>
                      <a:lnTo>
                        <a:pt x="2119566" y="622681"/>
                      </a:lnTo>
                      <a:lnTo>
                        <a:pt x="2124202" y="623951"/>
                      </a:lnTo>
                      <a:lnTo>
                        <a:pt x="2129485" y="623951"/>
                      </a:lnTo>
                      <a:lnTo>
                        <a:pt x="2131834" y="625221"/>
                      </a:lnTo>
                      <a:lnTo>
                        <a:pt x="2132126" y="623951"/>
                      </a:lnTo>
                      <a:lnTo>
                        <a:pt x="2132190" y="625221"/>
                      </a:lnTo>
                      <a:lnTo>
                        <a:pt x="2133511" y="625221"/>
                      </a:lnTo>
                      <a:lnTo>
                        <a:pt x="2135606" y="623951"/>
                      </a:lnTo>
                      <a:lnTo>
                        <a:pt x="2138565" y="622681"/>
                      </a:lnTo>
                      <a:lnTo>
                        <a:pt x="2138756" y="623951"/>
                      </a:lnTo>
                      <a:lnTo>
                        <a:pt x="2139734" y="623951"/>
                      </a:lnTo>
                      <a:lnTo>
                        <a:pt x="2140102" y="625221"/>
                      </a:lnTo>
                      <a:lnTo>
                        <a:pt x="2141855" y="625221"/>
                      </a:lnTo>
                      <a:lnTo>
                        <a:pt x="2141867" y="626491"/>
                      </a:lnTo>
                      <a:lnTo>
                        <a:pt x="2142680" y="627761"/>
                      </a:lnTo>
                      <a:lnTo>
                        <a:pt x="2148471" y="627761"/>
                      </a:lnTo>
                      <a:lnTo>
                        <a:pt x="2150097" y="629031"/>
                      </a:lnTo>
                      <a:lnTo>
                        <a:pt x="2153018" y="626491"/>
                      </a:lnTo>
                      <a:lnTo>
                        <a:pt x="2160854" y="626491"/>
                      </a:lnTo>
                      <a:lnTo>
                        <a:pt x="2163178" y="625221"/>
                      </a:lnTo>
                      <a:lnTo>
                        <a:pt x="2168982" y="625221"/>
                      </a:lnTo>
                      <a:lnTo>
                        <a:pt x="2168525" y="627761"/>
                      </a:lnTo>
                      <a:lnTo>
                        <a:pt x="2168741" y="629031"/>
                      </a:lnTo>
                      <a:lnTo>
                        <a:pt x="2169401" y="629031"/>
                      </a:lnTo>
                      <a:lnTo>
                        <a:pt x="2169998" y="630301"/>
                      </a:lnTo>
                      <a:lnTo>
                        <a:pt x="2170239" y="630301"/>
                      </a:lnTo>
                      <a:lnTo>
                        <a:pt x="2170823" y="631571"/>
                      </a:lnTo>
                      <a:lnTo>
                        <a:pt x="2170290" y="631571"/>
                      </a:lnTo>
                      <a:lnTo>
                        <a:pt x="2169401" y="632841"/>
                      </a:lnTo>
                      <a:lnTo>
                        <a:pt x="2169909" y="634111"/>
                      </a:lnTo>
                      <a:lnTo>
                        <a:pt x="2170328" y="635381"/>
                      </a:lnTo>
                      <a:lnTo>
                        <a:pt x="2170582" y="636651"/>
                      </a:lnTo>
                      <a:lnTo>
                        <a:pt x="2170861" y="636651"/>
                      </a:lnTo>
                      <a:lnTo>
                        <a:pt x="2171128" y="637921"/>
                      </a:lnTo>
                      <a:lnTo>
                        <a:pt x="2171801" y="637921"/>
                      </a:lnTo>
                      <a:lnTo>
                        <a:pt x="2172703" y="639191"/>
                      </a:lnTo>
                      <a:lnTo>
                        <a:pt x="2174151" y="639191"/>
                      </a:lnTo>
                      <a:lnTo>
                        <a:pt x="2174964" y="637921"/>
                      </a:lnTo>
                      <a:lnTo>
                        <a:pt x="2181085" y="637921"/>
                      </a:lnTo>
                      <a:lnTo>
                        <a:pt x="2181593" y="639191"/>
                      </a:lnTo>
                      <a:lnTo>
                        <a:pt x="2183587" y="640461"/>
                      </a:lnTo>
                      <a:lnTo>
                        <a:pt x="2186317" y="641731"/>
                      </a:lnTo>
                      <a:lnTo>
                        <a:pt x="2186533" y="643001"/>
                      </a:lnTo>
                      <a:lnTo>
                        <a:pt x="2186838" y="645541"/>
                      </a:lnTo>
                      <a:lnTo>
                        <a:pt x="2187879" y="653161"/>
                      </a:lnTo>
                      <a:lnTo>
                        <a:pt x="2188006" y="653161"/>
                      </a:lnTo>
                      <a:lnTo>
                        <a:pt x="2188375" y="655701"/>
                      </a:lnTo>
                      <a:lnTo>
                        <a:pt x="2189327" y="656971"/>
                      </a:lnTo>
                      <a:lnTo>
                        <a:pt x="2190191" y="658241"/>
                      </a:lnTo>
                      <a:lnTo>
                        <a:pt x="2190191" y="653567"/>
                      </a:lnTo>
                      <a:lnTo>
                        <a:pt x="2190102" y="653161"/>
                      </a:lnTo>
                      <a:lnTo>
                        <a:pt x="2189975" y="653161"/>
                      </a:lnTo>
                      <a:lnTo>
                        <a:pt x="2188946" y="645541"/>
                      </a:lnTo>
                      <a:lnTo>
                        <a:pt x="2188629" y="643001"/>
                      </a:lnTo>
                      <a:lnTo>
                        <a:pt x="2188260" y="640461"/>
                      </a:lnTo>
                      <a:lnTo>
                        <a:pt x="2187498" y="640461"/>
                      </a:lnTo>
                      <a:lnTo>
                        <a:pt x="2184755" y="637921"/>
                      </a:lnTo>
                      <a:lnTo>
                        <a:pt x="2183307" y="637921"/>
                      </a:lnTo>
                      <a:lnTo>
                        <a:pt x="2182774" y="636651"/>
                      </a:lnTo>
                      <a:lnTo>
                        <a:pt x="2181390" y="636651"/>
                      </a:lnTo>
                      <a:lnTo>
                        <a:pt x="2180412" y="635381"/>
                      </a:lnTo>
                      <a:lnTo>
                        <a:pt x="2176830" y="635381"/>
                      </a:lnTo>
                      <a:lnTo>
                        <a:pt x="2174392" y="636651"/>
                      </a:lnTo>
                      <a:lnTo>
                        <a:pt x="2172652" y="636651"/>
                      </a:lnTo>
                      <a:lnTo>
                        <a:pt x="2172385" y="635381"/>
                      </a:lnTo>
                      <a:lnTo>
                        <a:pt x="2172246" y="634111"/>
                      </a:lnTo>
                      <a:lnTo>
                        <a:pt x="2171827" y="634111"/>
                      </a:lnTo>
                      <a:lnTo>
                        <a:pt x="2171827" y="632841"/>
                      </a:lnTo>
                      <a:lnTo>
                        <a:pt x="2173655" y="632841"/>
                      </a:lnTo>
                      <a:lnTo>
                        <a:pt x="2173554" y="631571"/>
                      </a:lnTo>
                      <a:lnTo>
                        <a:pt x="2173414" y="631571"/>
                      </a:lnTo>
                      <a:lnTo>
                        <a:pt x="2173249" y="630301"/>
                      </a:lnTo>
                      <a:lnTo>
                        <a:pt x="2173008" y="630301"/>
                      </a:lnTo>
                      <a:lnTo>
                        <a:pt x="2171966" y="629031"/>
                      </a:lnTo>
                      <a:lnTo>
                        <a:pt x="2171573" y="629031"/>
                      </a:lnTo>
                      <a:lnTo>
                        <a:pt x="2170823" y="627761"/>
                      </a:lnTo>
                      <a:lnTo>
                        <a:pt x="2170684" y="627761"/>
                      </a:lnTo>
                      <a:lnTo>
                        <a:pt x="2171077" y="625221"/>
                      </a:lnTo>
                      <a:lnTo>
                        <a:pt x="2171268" y="623951"/>
                      </a:lnTo>
                      <a:lnTo>
                        <a:pt x="2171535" y="623951"/>
                      </a:lnTo>
                      <a:lnTo>
                        <a:pt x="2173719" y="622681"/>
                      </a:lnTo>
                      <a:lnTo>
                        <a:pt x="2174481" y="622681"/>
                      </a:lnTo>
                      <a:lnTo>
                        <a:pt x="2175040" y="621411"/>
                      </a:lnTo>
                      <a:lnTo>
                        <a:pt x="2174913" y="621411"/>
                      </a:lnTo>
                      <a:lnTo>
                        <a:pt x="2175116" y="620141"/>
                      </a:lnTo>
                      <a:lnTo>
                        <a:pt x="2175853" y="616331"/>
                      </a:lnTo>
                      <a:lnTo>
                        <a:pt x="2176183" y="615061"/>
                      </a:lnTo>
                      <a:lnTo>
                        <a:pt x="2176348" y="613791"/>
                      </a:lnTo>
                      <a:lnTo>
                        <a:pt x="2180767" y="612521"/>
                      </a:lnTo>
                      <a:lnTo>
                        <a:pt x="2184209" y="611251"/>
                      </a:lnTo>
                      <a:lnTo>
                        <a:pt x="2186673" y="611251"/>
                      </a:lnTo>
                      <a:lnTo>
                        <a:pt x="2188248" y="609981"/>
                      </a:lnTo>
                      <a:lnTo>
                        <a:pt x="2188553" y="609981"/>
                      </a:lnTo>
                      <a:lnTo>
                        <a:pt x="2188870" y="608711"/>
                      </a:lnTo>
                      <a:lnTo>
                        <a:pt x="2188464" y="607441"/>
                      </a:lnTo>
                      <a:lnTo>
                        <a:pt x="2192871" y="607441"/>
                      </a:lnTo>
                      <a:lnTo>
                        <a:pt x="2195449" y="606171"/>
                      </a:lnTo>
                      <a:lnTo>
                        <a:pt x="2196731" y="604901"/>
                      </a:lnTo>
                      <a:lnTo>
                        <a:pt x="2197227" y="604901"/>
                      </a:lnTo>
                      <a:lnTo>
                        <a:pt x="2197354" y="606171"/>
                      </a:lnTo>
                      <a:lnTo>
                        <a:pt x="2197570" y="606171"/>
                      </a:lnTo>
                      <a:lnTo>
                        <a:pt x="2198039" y="607441"/>
                      </a:lnTo>
                      <a:lnTo>
                        <a:pt x="2198205" y="608711"/>
                      </a:lnTo>
                      <a:lnTo>
                        <a:pt x="2198814" y="609981"/>
                      </a:lnTo>
                      <a:lnTo>
                        <a:pt x="2203894" y="609981"/>
                      </a:lnTo>
                      <a:lnTo>
                        <a:pt x="2204034" y="608711"/>
                      </a:lnTo>
                      <a:lnTo>
                        <a:pt x="2210993" y="608711"/>
                      </a:lnTo>
                      <a:lnTo>
                        <a:pt x="2211311" y="607441"/>
                      </a:lnTo>
                      <a:lnTo>
                        <a:pt x="2211819" y="607441"/>
                      </a:lnTo>
                      <a:lnTo>
                        <a:pt x="2212340" y="606171"/>
                      </a:lnTo>
                      <a:lnTo>
                        <a:pt x="2213419" y="604901"/>
                      </a:lnTo>
                      <a:lnTo>
                        <a:pt x="2213737" y="604901"/>
                      </a:lnTo>
                      <a:lnTo>
                        <a:pt x="2213800" y="602361"/>
                      </a:lnTo>
                      <a:lnTo>
                        <a:pt x="2214156" y="602361"/>
                      </a:lnTo>
                      <a:lnTo>
                        <a:pt x="2215057" y="601091"/>
                      </a:lnTo>
                      <a:lnTo>
                        <a:pt x="2215489" y="601091"/>
                      </a:lnTo>
                      <a:lnTo>
                        <a:pt x="2217712" y="598551"/>
                      </a:lnTo>
                      <a:lnTo>
                        <a:pt x="2219922" y="597281"/>
                      </a:lnTo>
                      <a:lnTo>
                        <a:pt x="2223452" y="597281"/>
                      </a:lnTo>
                      <a:lnTo>
                        <a:pt x="2230043" y="596011"/>
                      </a:lnTo>
                      <a:lnTo>
                        <a:pt x="2235466" y="596011"/>
                      </a:lnTo>
                      <a:lnTo>
                        <a:pt x="2236762" y="594741"/>
                      </a:lnTo>
                      <a:lnTo>
                        <a:pt x="2237384" y="594741"/>
                      </a:lnTo>
                      <a:lnTo>
                        <a:pt x="2238032" y="593471"/>
                      </a:lnTo>
                      <a:lnTo>
                        <a:pt x="2238641" y="593471"/>
                      </a:lnTo>
                      <a:lnTo>
                        <a:pt x="2239022" y="592201"/>
                      </a:lnTo>
                      <a:lnTo>
                        <a:pt x="2239530" y="592201"/>
                      </a:lnTo>
                      <a:lnTo>
                        <a:pt x="2241943" y="589661"/>
                      </a:lnTo>
                      <a:lnTo>
                        <a:pt x="2243366" y="588391"/>
                      </a:lnTo>
                      <a:lnTo>
                        <a:pt x="2245029" y="588391"/>
                      </a:lnTo>
                      <a:lnTo>
                        <a:pt x="2250910" y="585851"/>
                      </a:lnTo>
                      <a:lnTo>
                        <a:pt x="2254643" y="584581"/>
                      </a:lnTo>
                      <a:lnTo>
                        <a:pt x="2263305" y="580771"/>
                      </a:lnTo>
                      <a:lnTo>
                        <a:pt x="2264943" y="580771"/>
                      </a:lnTo>
                      <a:lnTo>
                        <a:pt x="2265426" y="579501"/>
                      </a:lnTo>
                      <a:lnTo>
                        <a:pt x="2265781" y="579501"/>
                      </a:lnTo>
                      <a:lnTo>
                        <a:pt x="2265730" y="578231"/>
                      </a:lnTo>
                      <a:lnTo>
                        <a:pt x="2265540" y="578231"/>
                      </a:lnTo>
                      <a:lnTo>
                        <a:pt x="2265349" y="576961"/>
                      </a:lnTo>
                      <a:lnTo>
                        <a:pt x="2265692" y="574421"/>
                      </a:lnTo>
                      <a:lnTo>
                        <a:pt x="2265057" y="571855"/>
                      </a:lnTo>
                      <a:lnTo>
                        <a:pt x="2264499" y="569341"/>
                      </a:lnTo>
                      <a:lnTo>
                        <a:pt x="2265210" y="566801"/>
                      </a:lnTo>
                      <a:lnTo>
                        <a:pt x="2268715" y="566801"/>
                      </a:lnTo>
                      <a:lnTo>
                        <a:pt x="2269756" y="565531"/>
                      </a:lnTo>
                      <a:lnTo>
                        <a:pt x="2269972" y="564261"/>
                      </a:lnTo>
                      <a:lnTo>
                        <a:pt x="2267559" y="562991"/>
                      </a:lnTo>
                      <a:lnTo>
                        <a:pt x="2267737" y="562991"/>
                      </a:lnTo>
                      <a:lnTo>
                        <a:pt x="2272944" y="561721"/>
                      </a:lnTo>
                      <a:lnTo>
                        <a:pt x="2273325" y="560451"/>
                      </a:lnTo>
                      <a:lnTo>
                        <a:pt x="2273706" y="560451"/>
                      </a:lnTo>
                      <a:lnTo>
                        <a:pt x="2272512" y="555371"/>
                      </a:lnTo>
                      <a:lnTo>
                        <a:pt x="2272207" y="554101"/>
                      </a:lnTo>
                      <a:lnTo>
                        <a:pt x="2270823" y="551561"/>
                      </a:lnTo>
                      <a:lnTo>
                        <a:pt x="2269210" y="547751"/>
                      </a:lnTo>
                      <a:lnTo>
                        <a:pt x="2268080" y="545211"/>
                      </a:lnTo>
                      <a:lnTo>
                        <a:pt x="2266696" y="536321"/>
                      </a:lnTo>
                      <a:lnTo>
                        <a:pt x="2267343" y="535051"/>
                      </a:lnTo>
                      <a:lnTo>
                        <a:pt x="2268512" y="533781"/>
                      </a:lnTo>
                      <a:lnTo>
                        <a:pt x="2269909" y="532511"/>
                      </a:lnTo>
                      <a:lnTo>
                        <a:pt x="2267394" y="531241"/>
                      </a:lnTo>
                      <a:lnTo>
                        <a:pt x="2265349" y="529971"/>
                      </a:lnTo>
                      <a:lnTo>
                        <a:pt x="2262619" y="529971"/>
                      </a:lnTo>
                      <a:lnTo>
                        <a:pt x="2261451" y="531241"/>
                      </a:lnTo>
                      <a:lnTo>
                        <a:pt x="2261311" y="531241"/>
                      </a:lnTo>
                      <a:lnTo>
                        <a:pt x="2260600" y="529971"/>
                      </a:lnTo>
                      <a:lnTo>
                        <a:pt x="2261057" y="528701"/>
                      </a:lnTo>
                      <a:lnTo>
                        <a:pt x="2264054" y="528701"/>
                      </a:lnTo>
                      <a:lnTo>
                        <a:pt x="2267077" y="527431"/>
                      </a:lnTo>
                      <a:lnTo>
                        <a:pt x="2281821" y="523621"/>
                      </a:lnTo>
                      <a:lnTo>
                        <a:pt x="2284793" y="522351"/>
                      </a:lnTo>
                      <a:lnTo>
                        <a:pt x="2285365" y="522351"/>
                      </a:lnTo>
                      <a:lnTo>
                        <a:pt x="2285390" y="523621"/>
                      </a:lnTo>
                      <a:lnTo>
                        <a:pt x="2285542" y="523621"/>
                      </a:lnTo>
                      <a:lnTo>
                        <a:pt x="2285898" y="524891"/>
                      </a:lnTo>
                      <a:lnTo>
                        <a:pt x="2287066" y="526161"/>
                      </a:lnTo>
                      <a:lnTo>
                        <a:pt x="2299297" y="526161"/>
                      </a:lnTo>
                      <a:lnTo>
                        <a:pt x="2299500" y="523621"/>
                      </a:lnTo>
                      <a:lnTo>
                        <a:pt x="2299982" y="519811"/>
                      </a:lnTo>
                      <a:lnTo>
                        <a:pt x="2298522" y="518541"/>
                      </a:lnTo>
                      <a:lnTo>
                        <a:pt x="2295220" y="518541"/>
                      </a:lnTo>
                      <a:lnTo>
                        <a:pt x="2305227" y="489331"/>
                      </a:lnTo>
                      <a:lnTo>
                        <a:pt x="2306917" y="489331"/>
                      </a:lnTo>
                      <a:lnTo>
                        <a:pt x="2310079" y="491871"/>
                      </a:lnTo>
                      <a:lnTo>
                        <a:pt x="2311946" y="491871"/>
                      </a:lnTo>
                      <a:lnTo>
                        <a:pt x="2317877" y="495681"/>
                      </a:lnTo>
                      <a:lnTo>
                        <a:pt x="2322157" y="493141"/>
                      </a:lnTo>
                      <a:lnTo>
                        <a:pt x="2326779" y="493141"/>
                      </a:lnTo>
                      <a:lnTo>
                        <a:pt x="2331720" y="495681"/>
                      </a:lnTo>
                      <a:lnTo>
                        <a:pt x="2340305" y="491871"/>
                      </a:lnTo>
                      <a:lnTo>
                        <a:pt x="2343924" y="489331"/>
                      </a:lnTo>
                      <a:lnTo>
                        <a:pt x="2343162" y="482981"/>
                      </a:lnTo>
                      <a:lnTo>
                        <a:pt x="2341664" y="474091"/>
                      </a:lnTo>
                      <a:lnTo>
                        <a:pt x="2341499" y="472821"/>
                      </a:lnTo>
                      <a:lnTo>
                        <a:pt x="2343835" y="467741"/>
                      </a:lnTo>
                      <a:lnTo>
                        <a:pt x="2350122" y="467741"/>
                      </a:lnTo>
                      <a:lnTo>
                        <a:pt x="2352294" y="466471"/>
                      </a:lnTo>
                      <a:lnTo>
                        <a:pt x="2356561" y="465201"/>
                      </a:lnTo>
                      <a:lnTo>
                        <a:pt x="2358301" y="462661"/>
                      </a:lnTo>
                      <a:lnTo>
                        <a:pt x="2358872" y="461391"/>
                      </a:lnTo>
                      <a:lnTo>
                        <a:pt x="2359139" y="460121"/>
                      </a:lnTo>
                      <a:lnTo>
                        <a:pt x="2359406" y="460121"/>
                      </a:lnTo>
                      <a:lnTo>
                        <a:pt x="2359406" y="458851"/>
                      </a:lnTo>
                      <a:lnTo>
                        <a:pt x="2358961" y="457581"/>
                      </a:lnTo>
                      <a:lnTo>
                        <a:pt x="2359533" y="455041"/>
                      </a:lnTo>
                      <a:lnTo>
                        <a:pt x="2369235" y="455041"/>
                      </a:lnTo>
                      <a:lnTo>
                        <a:pt x="2370201" y="453771"/>
                      </a:lnTo>
                      <a:lnTo>
                        <a:pt x="2372233" y="453771"/>
                      </a:lnTo>
                      <a:lnTo>
                        <a:pt x="2372106" y="455041"/>
                      </a:lnTo>
                      <a:lnTo>
                        <a:pt x="2370912" y="457581"/>
                      </a:lnTo>
                      <a:lnTo>
                        <a:pt x="2371407" y="458851"/>
                      </a:lnTo>
                      <a:lnTo>
                        <a:pt x="2371661" y="460121"/>
                      </a:lnTo>
                      <a:lnTo>
                        <a:pt x="2371979" y="460121"/>
                      </a:lnTo>
                      <a:lnTo>
                        <a:pt x="2372830" y="461391"/>
                      </a:lnTo>
                      <a:lnTo>
                        <a:pt x="2375255" y="461391"/>
                      </a:lnTo>
                      <a:lnTo>
                        <a:pt x="2373719" y="462661"/>
                      </a:lnTo>
                      <a:lnTo>
                        <a:pt x="2374252" y="463931"/>
                      </a:lnTo>
                      <a:lnTo>
                        <a:pt x="2374557" y="465201"/>
                      </a:lnTo>
                      <a:lnTo>
                        <a:pt x="2377198" y="465201"/>
                      </a:lnTo>
                      <a:lnTo>
                        <a:pt x="2379091" y="466471"/>
                      </a:lnTo>
                      <a:lnTo>
                        <a:pt x="2381186" y="467741"/>
                      </a:lnTo>
                      <a:lnTo>
                        <a:pt x="2382545" y="467741"/>
                      </a:lnTo>
                      <a:lnTo>
                        <a:pt x="2384691" y="471551"/>
                      </a:lnTo>
                      <a:lnTo>
                        <a:pt x="2388946" y="474091"/>
                      </a:lnTo>
                      <a:lnTo>
                        <a:pt x="2389784" y="475361"/>
                      </a:lnTo>
                      <a:lnTo>
                        <a:pt x="2396426" y="475361"/>
                      </a:lnTo>
                      <a:lnTo>
                        <a:pt x="2399436" y="477901"/>
                      </a:lnTo>
                      <a:lnTo>
                        <a:pt x="2405164" y="477901"/>
                      </a:lnTo>
                      <a:lnTo>
                        <a:pt x="2405900" y="479171"/>
                      </a:lnTo>
                      <a:lnTo>
                        <a:pt x="2407691" y="480441"/>
                      </a:lnTo>
                      <a:lnTo>
                        <a:pt x="2408783" y="481711"/>
                      </a:lnTo>
                      <a:lnTo>
                        <a:pt x="2409875" y="485521"/>
                      </a:lnTo>
                      <a:lnTo>
                        <a:pt x="2410015" y="485521"/>
                      </a:lnTo>
                      <a:lnTo>
                        <a:pt x="2410599" y="486791"/>
                      </a:lnTo>
                      <a:lnTo>
                        <a:pt x="2417521" y="498221"/>
                      </a:lnTo>
                      <a:lnTo>
                        <a:pt x="2417953" y="498221"/>
                      </a:lnTo>
                      <a:lnTo>
                        <a:pt x="2417546" y="500761"/>
                      </a:lnTo>
                      <a:lnTo>
                        <a:pt x="2417470" y="505841"/>
                      </a:lnTo>
                      <a:lnTo>
                        <a:pt x="2417584" y="508381"/>
                      </a:lnTo>
                      <a:lnTo>
                        <a:pt x="2417521" y="509651"/>
                      </a:lnTo>
                      <a:lnTo>
                        <a:pt x="2417343" y="509651"/>
                      </a:lnTo>
                      <a:lnTo>
                        <a:pt x="2416670" y="512191"/>
                      </a:lnTo>
                      <a:lnTo>
                        <a:pt x="2415387" y="513461"/>
                      </a:lnTo>
                      <a:lnTo>
                        <a:pt x="2415184" y="514731"/>
                      </a:lnTo>
                      <a:lnTo>
                        <a:pt x="2414435" y="516001"/>
                      </a:lnTo>
                      <a:lnTo>
                        <a:pt x="2412288" y="518541"/>
                      </a:lnTo>
                      <a:lnTo>
                        <a:pt x="2413330" y="521081"/>
                      </a:lnTo>
                      <a:lnTo>
                        <a:pt x="2414155" y="522351"/>
                      </a:lnTo>
                      <a:lnTo>
                        <a:pt x="2414930" y="523621"/>
                      </a:lnTo>
                      <a:lnTo>
                        <a:pt x="2415933" y="524891"/>
                      </a:lnTo>
                      <a:lnTo>
                        <a:pt x="2416378" y="524891"/>
                      </a:lnTo>
                      <a:lnTo>
                        <a:pt x="2417330" y="526161"/>
                      </a:lnTo>
                      <a:lnTo>
                        <a:pt x="2422144" y="526161"/>
                      </a:lnTo>
                      <a:lnTo>
                        <a:pt x="2427224" y="527431"/>
                      </a:lnTo>
                      <a:lnTo>
                        <a:pt x="2443975" y="528701"/>
                      </a:lnTo>
                      <a:lnTo>
                        <a:pt x="2449893" y="528701"/>
                      </a:lnTo>
                      <a:lnTo>
                        <a:pt x="2451443" y="529971"/>
                      </a:lnTo>
                      <a:lnTo>
                        <a:pt x="2453957" y="529971"/>
                      </a:lnTo>
                      <a:lnTo>
                        <a:pt x="2466162" y="537591"/>
                      </a:lnTo>
                      <a:lnTo>
                        <a:pt x="2471775" y="540131"/>
                      </a:lnTo>
                      <a:lnTo>
                        <a:pt x="2476042" y="542671"/>
                      </a:lnTo>
                      <a:lnTo>
                        <a:pt x="2477947" y="542671"/>
                      </a:lnTo>
                      <a:lnTo>
                        <a:pt x="2479916" y="541401"/>
                      </a:lnTo>
                      <a:lnTo>
                        <a:pt x="2479649" y="542671"/>
                      </a:lnTo>
                      <a:lnTo>
                        <a:pt x="2479395" y="542671"/>
                      </a:lnTo>
                      <a:lnTo>
                        <a:pt x="2479624" y="545211"/>
                      </a:lnTo>
                      <a:lnTo>
                        <a:pt x="2479814" y="545211"/>
                      </a:lnTo>
                      <a:lnTo>
                        <a:pt x="2480005" y="546481"/>
                      </a:lnTo>
                      <a:lnTo>
                        <a:pt x="2481580" y="546481"/>
                      </a:lnTo>
                      <a:lnTo>
                        <a:pt x="2482075" y="545211"/>
                      </a:lnTo>
                      <a:lnTo>
                        <a:pt x="2481910" y="546481"/>
                      </a:lnTo>
                      <a:lnTo>
                        <a:pt x="2482392" y="546481"/>
                      </a:lnTo>
                      <a:lnTo>
                        <a:pt x="2482519" y="547751"/>
                      </a:lnTo>
                      <a:lnTo>
                        <a:pt x="2483612" y="549021"/>
                      </a:lnTo>
                      <a:lnTo>
                        <a:pt x="2487930" y="560451"/>
                      </a:lnTo>
                      <a:lnTo>
                        <a:pt x="2492730" y="565531"/>
                      </a:lnTo>
                      <a:lnTo>
                        <a:pt x="2492984" y="565531"/>
                      </a:lnTo>
                      <a:lnTo>
                        <a:pt x="2493861" y="566801"/>
                      </a:lnTo>
                      <a:lnTo>
                        <a:pt x="2494089" y="566801"/>
                      </a:lnTo>
                      <a:lnTo>
                        <a:pt x="2494597" y="568071"/>
                      </a:lnTo>
                      <a:lnTo>
                        <a:pt x="2494051" y="569341"/>
                      </a:lnTo>
                      <a:lnTo>
                        <a:pt x="2502712" y="568071"/>
                      </a:lnTo>
                      <a:lnTo>
                        <a:pt x="2507056" y="568071"/>
                      </a:lnTo>
                      <a:lnTo>
                        <a:pt x="2512669" y="569341"/>
                      </a:lnTo>
                      <a:lnTo>
                        <a:pt x="2519642" y="569341"/>
                      </a:lnTo>
                      <a:lnTo>
                        <a:pt x="2521547" y="570611"/>
                      </a:lnTo>
                      <a:lnTo>
                        <a:pt x="2542971" y="570611"/>
                      </a:lnTo>
                      <a:lnTo>
                        <a:pt x="2545283" y="569341"/>
                      </a:lnTo>
                      <a:lnTo>
                        <a:pt x="2548864" y="569341"/>
                      </a:lnTo>
                      <a:lnTo>
                        <a:pt x="2568740" y="573151"/>
                      </a:lnTo>
                      <a:lnTo>
                        <a:pt x="2571623" y="573151"/>
                      </a:lnTo>
                      <a:lnTo>
                        <a:pt x="2572156" y="574421"/>
                      </a:lnTo>
                      <a:lnTo>
                        <a:pt x="2573020" y="574421"/>
                      </a:lnTo>
                      <a:lnTo>
                        <a:pt x="2574366" y="576961"/>
                      </a:lnTo>
                      <a:lnTo>
                        <a:pt x="2574937" y="576961"/>
                      </a:lnTo>
                      <a:lnTo>
                        <a:pt x="2575255" y="578231"/>
                      </a:lnTo>
                      <a:lnTo>
                        <a:pt x="2575509" y="578231"/>
                      </a:lnTo>
                      <a:lnTo>
                        <a:pt x="2582291" y="579501"/>
                      </a:lnTo>
                      <a:lnTo>
                        <a:pt x="2584932" y="580771"/>
                      </a:lnTo>
                      <a:lnTo>
                        <a:pt x="2590685" y="580771"/>
                      </a:lnTo>
                      <a:lnTo>
                        <a:pt x="2597620" y="584581"/>
                      </a:lnTo>
                      <a:lnTo>
                        <a:pt x="2609621" y="584581"/>
                      </a:lnTo>
                      <a:lnTo>
                        <a:pt x="2610548" y="585851"/>
                      </a:lnTo>
                      <a:lnTo>
                        <a:pt x="2610878" y="585851"/>
                      </a:lnTo>
                      <a:lnTo>
                        <a:pt x="2611615" y="587121"/>
                      </a:lnTo>
                      <a:lnTo>
                        <a:pt x="2612783" y="587121"/>
                      </a:lnTo>
                      <a:lnTo>
                        <a:pt x="2616454" y="588391"/>
                      </a:lnTo>
                      <a:lnTo>
                        <a:pt x="2619235" y="588391"/>
                      </a:lnTo>
                      <a:lnTo>
                        <a:pt x="2619845" y="587121"/>
                      </a:lnTo>
                      <a:lnTo>
                        <a:pt x="2620708" y="587121"/>
                      </a:lnTo>
                      <a:lnTo>
                        <a:pt x="2621724" y="585851"/>
                      </a:lnTo>
                      <a:lnTo>
                        <a:pt x="2623439" y="585851"/>
                      </a:lnTo>
                      <a:lnTo>
                        <a:pt x="2625407" y="584581"/>
                      </a:lnTo>
                      <a:lnTo>
                        <a:pt x="2632278" y="580771"/>
                      </a:lnTo>
                      <a:lnTo>
                        <a:pt x="2640114" y="578231"/>
                      </a:lnTo>
                      <a:lnTo>
                        <a:pt x="2642578" y="576961"/>
                      </a:lnTo>
                      <a:lnTo>
                        <a:pt x="2642247" y="575691"/>
                      </a:lnTo>
                      <a:lnTo>
                        <a:pt x="2642920" y="576961"/>
                      </a:lnTo>
                      <a:lnTo>
                        <a:pt x="2644292" y="576961"/>
                      </a:lnTo>
                      <a:lnTo>
                        <a:pt x="2647226" y="575691"/>
                      </a:lnTo>
                      <a:lnTo>
                        <a:pt x="2656852" y="574421"/>
                      </a:lnTo>
                      <a:lnTo>
                        <a:pt x="2682087" y="574421"/>
                      </a:lnTo>
                      <a:lnTo>
                        <a:pt x="2685465" y="571881"/>
                      </a:lnTo>
                      <a:lnTo>
                        <a:pt x="2689682" y="570611"/>
                      </a:lnTo>
                      <a:lnTo>
                        <a:pt x="2694394" y="568071"/>
                      </a:lnTo>
                      <a:lnTo>
                        <a:pt x="2696845" y="568071"/>
                      </a:lnTo>
                      <a:lnTo>
                        <a:pt x="2697937" y="566801"/>
                      </a:lnTo>
                      <a:lnTo>
                        <a:pt x="2699156" y="565531"/>
                      </a:lnTo>
                      <a:lnTo>
                        <a:pt x="2699855" y="564261"/>
                      </a:lnTo>
                      <a:lnTo>
                        <a:pt x="2703423" y="559181"/>
                      </a:lnTo>
                      <a:lnTo>
                        <a:pt x="2705074" y="559181"/>
                      </a:lnTo>
                      <a:lnTo>
                        <a:pt x="2706332" y="557911"/>
                      </a:lnTo>
                      <a:lnTo>
                        <a:pt x="2710954" y="555371"/>
                      </a:lnTo>
                      <a:lnTo>
                        <a:pt x="2713342" y="554101"/>
                      </a:lnTo>
                      <a:lnTo>
                        <a:pt x="2715323" y="552831"/>
                      </a:lnTo>
                      <a:lnTo>
                        <a:pt x="2719882" y="550291"/>
                      </a:lnTo>
                      <a:lnTo>
                        <a:pt x="2719006" y="547751"/>
                      </a:lnTo>
                      <a:lnTo>
                        <a:pt x="2718447" y="547751"/>
                      </a:lnTo>
                      <a:lnTo>
                        <a:pt x="2717647" y="546481"/>
                      </a:lnTo>
                      <a:lnTo>
                        <a:pt x="2715399" y="543941"/>
                      </a:lnTo>
                      <a:lnTo>
                        <a:pt x="2714307" y="543941"/>
                      </a:lnTo>
                      <a:lnTo>
                        <a:pt x="2713901" y="542671"/>
                      </a:lnTo>
                      <a:lnTo>
                        <a:pt x="2713190" y="541401"/>
                      </a:lnTo>
                      <a:lnTo>
                        <a:pt x="2712351" y="540131"/>
                      </a:lnTo>
                      <a:lnTo>
                        <a:pt x="2711869" y="538861"/>
                      </a:lnTo>
                      <a:lnTo>
                        <a:pt x="2712186" y="537591"/>
                      </a:lnTo>
                      <a:lnTo>
                        <a:pt x="2714256" y="533781"/>
                      </a:lnTo>
                      <a:lnTo>
                        <a:pt x="2715323" y="531241"/>
                      </a:lnTo>
                      <a:lnTo>
                        <a:pt x="2717558" y="528701"/>
                      </a:lnTo>
                      <a:lnTo>
                        <a:pt x="2718346" y="528701"/>
                      </a:lnTo>
                      <a:lnTo>
                        <a:pt x="2718803" y="527431"/>
                      </a:lnTo>
                      <a:lnTo>
                        <a:pt x="2724505" y="527431"/>
                      </a:lnTo>
                      <a:lnTo>
                        <a:pt x="2725686" y="528701"/>
                      </a:lnTo>
                      <a:lnTo>
                        <a:pt x="2727871" y="528701"/>
                      </a:lnTo>
                      <a:lnTo>
                        <a:pt x="2733713" y="531241"/>
                      </a:lnTo>
                      <a:lnTo>
                        <a:pt x="2734551" y="532511"/>
                      </a:lnTo>
                      <a:lnTo>
                        <a:pt x="2736977" y="532511"/>
                      </a:lnTo>
                      <a:lnTo>
                        <a:pt x="2740088" y="533781"/>
                      </a:lnTo>
                      <a:lnTo>
                        <a:pt x="2742234" y="533781"/>
                      </a:lnTo>
                      <a:lnTo>
                        <a:pt x="2743631" y="532511"/>
                      </a:lnTo>
                      <a:lnTo>
                        <a:pt x="2745219" y="532511"/>
                      </a:lnTo>
                      <a:lnTo>
                        <a:pt x="2746857" y="531241"/>
                      </a:lnTo>
                      <a:lnTo>
                        <a:pt x="2750362" y="528701"/>
                      </a:lnTo>
                      <a:lnTo>
                        <a:pt x="2752941" y="526161"/>
                      </a:lnTo>
                      <a:lnTo>
                        <a:pt x="2755328" y="523621"/>
                      </a:lnTo>
                      <a:lnTo>
                        <a:pt x="2755874" y="523621"/>
                      </a:lnTo>
                      <a:lnTo>
                        <a:pt x="2757068" y="522351"/>
                      </a:lnTo>
                      <a:lnTo>
                        <a:pt x="2757538" y="522351"/>
                      </a:lnTo>
                      <a:lnTo>
                        <a:pt x="2758033" y="521081"/>
                      </a:lnTo>
                      <a:lnTo>
                        <a:pt x="2772905" y="521081"/>
                      </a:lnTo>
                      <a:lnTo>
                        <a:pt x="2773248" y="519811"/>
                      </a:lnTo>
                      <a:lnTo>
                        <a:pt x="2774492" y="519811"/>
                      </a:lnTo>
                      <a:lnTo>
                        <a:pt x="2775216" y="518541"/>
                      </a:lnTo>
                      <a:lnTo>
                        <a:pt x="2776309" y="518541"/>
                      </a:lnTo>
                      <a:lnTo>
                        <a:pt x="2777248" y="517271"/>
                      </a:lnTo>
                      <a:lnTo>
                        <a:pt x="2778760" y="517271"/>
                      </a:lnTo>
                      <a:lnTo>
                        <a:pt x="2779471" y="516001"/>
                      </a:lnTo>
                      <a:lnTo>
                        <a:pt x="2780296" y="516001"/>
                      </a:lnTo>
                      <a:lnTo>
                        <a:pt x="2781084" y="513461"/>
                      </a:lnTo>
                      <a:lnTo>
                        <a:pt x="2780690" y="513461"/>
                      </a:lnTo>
                      <a:lnTo>
                        <a:pt x="2780677" y="510921"/>
                      </a:lnTo>
                      <a:lnTo>
                        <a:pt x="2782455" y="508381"/>
                      </a:lnTo>
                      <a:lnTo>
                        <a:pt x="2784602" y="507111"/>
                      </a:lnTo>
                      <a:lnTo>
                        <a:pt x="2785757" y="505841"/>
                      </a:lnTo>
                      <a:lnTo>
                        <a:pt x="2787675" y="504571"/>
                      </a:lnTo>
                      <a:lnTo>
                        <a:pt x="2796349" y="504571"/>
                      </a:lnTo>
                      <a:lnTo>
                        <a:pt x="2799778" y="503301"/>
                      </a:lnTo>
                      <a:lnTo>
                        <a:pt x="2813469" y="498221"/>
                      </a:lnTo>
                      <a:lnTo>
                        <a:pt x="2816644" y="498221"/>
                      </a:lnTo>
                      <a:lnTo>
                        <a:pt x="2822003" y="499491"/>
                      </a:lnTo>
                      <a:lnTo>
                        <a:pt x="2832252" y="499491"/>
                      </a:lnTo>
                      <a:lnTo>
                        <a:pt x="2832925" y="498221"/>
                      </a:lnTo>
                      <a:lnTo>
                        <a:pt x="2833230" y="494411"/>
                      </a:lnTo>
                      <a:lnTo>
                        <a:pt x="2832976" y="491871"/>
                      </a:lnTo>
                      <a:lnTo>
                        <a:pt x="2831071" y="489648"/>
                      </a:lnTo>
                      <a:lnTo>
                        <a:pt x="2831071" y="494411"/>
                      </a:lnTo>
                      <a:lnTo>
                        <a:pt x="2830880" y="496951"/>
                      </a:lnTo>
                      <a:lnTo>
                        <a:pt x="2812110" y="496951"/>
                      </a:lnTo>
                      <a:lnTo>
                        <a:pt x="2806141" y="499491"/>
                      </a:lnTo>
                      <a:lnTo>
                        <a:pt x="2795981" y="502031"/>
                      </a:lnTo>
                      <a:lnTo>
                        <a:pt x="2795574" y="503301"/>
                      </a:lnTo>
                      <a:lnTo>
                        <a:pt x="2795155" y="503301"/>
                      </a:lnTo>
                      <a:lnTo>
                        <a:pt x="2791841" y="502031"/>
                      </a:lnTo>
                      <a:lnTo>
                        <a:pt x="2788361" y="502031"/>
                      </a:lnTo>
                      <a:lnTo>
                        <a:pt x="2778480" y="512191"/>
                      </a:lnTo>
                      <a:lnTo>
                        <a:pt x="2778480" y="513461"/>
                      </a:lnTo>
                      <a:lnTo>
                        <a:pt x="2778810" y="513461"/>
                      </a:lnTo>
                      <a:lnTo>
                        <a:pt x="2778556" y="514731"/>
                      </a:lnTo>
                      <a:lnTo>
                        <a:pt x="2777629" y="514731"/>
                      </a:lnTo>
                      <a:lnTo>
                        <a:pt x="2776220" y="516001"/>
                      </a:lnTo>
                      <a:lnTo>
                        <a:pt x="2775394" y="516001"/>
                      </a:lnTo>
                      <a:lnTo>
                        <a:pt x="2774162" y="517271"/>
                      </a:lnTo>
                      <a:lnTo>
                        <a:pt x="2773337" y="517271"/>
                      </a:lnTo>
                      <a:lnTo>
                        <a:pt x="2772079" y="518541"/>
                      </a:lnTo>
                      <a:lnTo>
                        <a:pt x="2770962" y="518541"/>
                      </a:lnTo>
                      <a:lnTo>
                        <a:pt x="2761564" y="519811"/>
                      </a:lnTo>
                      <a:lnTo>
                        <a:pt x="2756204" y="519811"/>
                      </a:lnTo>
                      <a:lnTo>
                        <a:pt x="2755747" y="521081"/>
                      </a:lnTo>
                      <a:lnTo>
                        <a:pt x="2754160" y="522351"/>
                      </a:lnTo>
                      <a:lnTo>
                        <a:pt x="2753880" y="522351"/>
                      </a:lnTo>
                      <a:lnTo>
                        <a:pt x="2751569" y="524891"/>
                      </a:lnTo>
                      <a:lnTo>
                        <a:pt x="2749067" y="526161"/>
                      </a:lnTo>
                      <a:lnTo>
                        <a:pt x="2745651" y="528701"/>
                      </a:lnTo>
                      <a:lnTo>
                        <a:pt x="2744673" y="529971"/>
                      </a:lnTo>
                      <a:lnTo>
                        <a:pt x="2744114" y="529971"/>
                      </a:lnTo>
                      <a:lnTo>
                        <a:pt x="2742908" y="531241"/>
                      </a:lnTo>
                      <a:lnTo>
                        <a:pt x="2737383" y="531241"/>
                      </a:lnTo>
                      <a:lnTo>
                        <a:pt x="2736342" y="529971"/>
                      </a:lnTo>
                      <a:lnTo>
                        <a:pt x="2735326" y="529971"/>
                      </a:lnTo>
                      <a:lnTo>
                        <a:pt x="2728607" y="527431"/>
                      </a:lnTo>
                      <a:lnTo>
                        <a:pt x="2726182" y="526161"/>
                      </a:lnTo>
                      <a:lnTo>
                        <a:pt x="2722346" y="526161"/>
                      </a:lnTo>
                      <a:lnTo>
                        <a:pt x="2720632" y="524891"/>
                      </a:lnTo>
                      <a:lnTo>
                        <a:pt x="2718320" y="524891"/>
                      </a:lnTo>
                      <a:lnTo>
                        <a:pt x="2717609" y="526161"/>
                      </a:lnTo>
                      <a:lnTo>
                        <a:pt x="2717076" y="526161"/>
                      </a:lnTo>
                      <a:lnTo>
                        <a:pt x="2716555" y="527431"/>
                      </a:lnTo>
                      <a:lnTo>
                        <a:pt x="2716047" y="527431"/>
                      </a:lnTo>
                      <a:lnTo>
                        <a:pt x="2714675" y="528701"/>
                      </a:lnTo>
                      <a:lnTo>
                        <a:pt x="2713494" y="529971"/>
                      </a:lnTo>
                      <a:lnTo>
                        <a:pt x="2712301" y="532511"/>
                      </a:lnTo>
                      <a:lnTo>
                        <a:pt x="2710815" y="536321"/>
                      </a:lnTo>
                      <a:lnTo>
                        <a:pt x="2710396" y="537591"/>
                      </a:lnTo>
                      <a:lnTo>
                        <a:pt x="2709862" y="537591"/>
                      </a:lnTo>
                      <a:lnTo>
                        <a:pt x="2709583" y="538861"/>
                      </a:lnTo>
                      <a:lnTo>
                        <a:pt x="2710396" y="541401"/>
                      </a:lnTo>
                      <a:lnTo>
                        <a:pt x="2711310" y="542671"/>
                      </a:lnTo>
                      <a:lnTo>
                        <a:pt x="2712097" y="543941"/>
                      </a:lnTo>
                      <a:lnTo>
                        <a:pt x="2712529" y="543941"/>
                      </a:lnTo>
                      <a:lnTo>
                        <a:pt x="2713024" y="545211"/>
                      </a:lnTo>
                      <a:lnTo>
                        <a:pt x="2714104" y="546481"/>
                      </a:lnTo>
                      <a:lnTo>
                        <a:pt x="2716098" y="547751"/>
                      </a:lnTo>
                      <a:lnTo>
                        <a:pt x="2716771" y="549021"/>
                      </a:lnTo>
                      <a:lnTo>
                        <a:pt x="2717127" y="549021"/>
                      </a:lnTo>
                      <a:lnTo>
                        <a:pt x="2714218" y="551561"/>
                      </a:lnTo>
                      <a:lnTo>
                        <a:pt x="2712275" y="552831"/>
                      </a:lnTo>
                      <a:lnTo>
                        <a:pt x="2710027" y="554101"/>
                      </a:lnTo>
                      <a:lnTo>
                        <a:pt x="2705189" y="555371"/>
                      </a:lnTo>
                      <a:lnTo>
                        <a:pt x="2703817" y="556641"/>
                      </a:lnTo>
                      <a:lnTo>
                        <a:pt x="2701937" y="557911"/>
                      </a:lnTo>
                      <a:lnTo>
                        <a:pt x="2698191" y="562991"/>
                      </a:lnTo>
                      <a:lnTo>
                        <a:pt x="2697607" y="564261"/>
                      </a:lnTo>
                      <a:lnTo>
                        <a:pt x="2696654" y="565531"/>
                      </a:lnTo>
                      <a:lnTo>
                        <a:pt x="2695778" y="565531"/>
                      </a:lnTo>
                      <a:lnTo>
                        <a:pt x="2693530" y="566801"/>
                      </a:lnTo>
                      <a:lnTo>
                        <a:pt x="2688869" y="569341"/>
                      </a:lnTo>
                      <a:lnTo>
                        <a:pt x="2684665" y="570611"/>
                      </a:lnTo>
                      <a:lnTo>
                        <a:pt x="2681617" y="571881"/>
                      </a:lnTo>
                      <a:lnTo>
                        <a:pt x="2663456" y="571881"/>
                      </a:lnTo>
                      <a:lnTo>
                        <a:pt x="2656611" y="573151"/>
                      </a:lnTo>
                      <a:lnTo>
                        <a:pt x="2646845" y="573151"/>
                      </a:lnTo>
                      <a:lnTo>
                        <a:pt x="2643390" y="574421"/>
                      </a:lnTo>
                      <a:lnTo>
                        <a:pt x="2642260" y="574421"/>
                      </a:lnTo>
                      <a:lnTo>
                        <a:pt x="2642590" y="575691"/>
                      </a:lnTo>
                      <a:lnTo>
                        <a:pt x="2641904" y="574421"/>
                      </a:lnTo>
                      <a:lnTo>
                        <a:pt x="2639339" y="575691"/>
                      </a:lnTo>
                      <a:lnTo>
                        <a:pt x="2631440" y="579501"/>
                      </a:lnTo>
                      <a:lnTo>
                        <a:pt x="2624455" y="582041"/>
                      </a:lnTo>
                      <a:lnTo>
                        <a:pt x="2622181" y="583311"/>
                      </a:lnTo>
                      <a:lnTo>
                        <a:pt x="2621076" y="584581"/>
                      </a:lnTo>
                      <a:lnTo>
                        <a:pt x="2619603" y="584581"/>
                      </a:lnTo>
                      <a:lnTo>
                        <a:pt x="2618638" y="585851"/>
                      </a:lnTo>
                      <a:lnTo>
                        <a:pt x="2613393" y="585851"/>
                      </a:lnTo>
                      <a:lnTo>
                        <a:pt x="2612974" y="584581"/>
                      </a:lnTo>
                      <a:lnTo>
                        <a:pt x="2612174" y="585851"/>
                      </a:lnTo>
                      <a:lnTo>
                        <a:pt x="2612745" y="584581"/>
                      </a:lnTo>
                      <a:lnTo>
                        <a:pt x="2612491" y="584581"/>
                      </a:lnTo>
                      <a:lnTo>
                        <a:pt x="2611971" y="583311"/>
                      </a:lnTo>
                      <a:lnTo>
                        <a:pt x="2611069" y="584581"/>
                      </a:lnTo>
                      <a:lnTo>
                        <a:pt x="2611818" y="583311"/>
                      </a:lnTo>
                      <a:lnTo>
                        <a:pt x="2611031" y="582041"/>
                      </a:lnTo>
                      <a:lnTo>
                        <a:pt x="2604389" y="582041"/>
                      </a:lnTo>
                      <a:lnTo>
                        <a:pt x="2602547" y="583311"/>
                      </a:lnTo>
                      <a:lnTo>
                        <a:pt x="2601430" y="583311"/>
                      </a:lnTo>
                      <a:lnTo>
                        <a:pt x="2599918" y="582041"/>
                      </a:lnTo>
                      <a:lnTo>
                        <a:pt x="2598255" y="582041"/>
                      </a:lnTo>
                      <a:lnTo>
                        <a:pt x="2591295" y="579501"/>
                      </a:lnTo>
                      <a:lnTo>
                        <a:pt x="2587383" y="578231"/>
                      </a:lnTo>
                      <a:lnTo>
                        <a:pt x="2585389" y="578231"/>
                      </a:lnTo>
                      <a:lnTo>
                        <a:pt x="2582824" y="576961"/>
                      </a:lnTo>
                      <a:lnTo>
                        <a:pt x="2576106" y="575691"/>
                      </a:lnTo>
                      <a:lnTo>
                        <a:pt x="2574696" y="573151"/>
                      </a:lnTo>
                      <a:lnTo>
                        <a:pt x="2574175" y="573151"/>
                      </a:lnTo>
                      <a:lnTo>
                        <a:pt x="2573642" y="571881"/>
                      </a:lnTo>
                      <a:lnTo>
                        <a:pt x="2572270" y="571881"/>
                      </a:lnTo>
                      <a:lnTo>
                        <a:pt x="2569032" y="570611"/>
                      </a:lnTo>
                      <a:lnTo>
                        <a:pt x="2556992" y="569341"/>
                      </a:lnTo>
                      <a:lnTo>
                        <a:pt x="2549309" y="568071"/>
                      </a:lnTo>
                      <a:lnTo>
                        <a:pt x="2547797" y="568071"/>
                      </a:lnTo>
                      <a:lnTo>
                        <a:pt x="2546210" y="566801"/>
                      </a:lnTo>
                      <a:lnTo>
                        <a:pt x="2543556" y="568071"/>
                      </a:lnTo>
                      <a:lnTo>
                        <a:pt x="2542311" y="569341"/>
                      </a:lnTo>
                      <a:lnTo>
                        <a:pt x="2528697" y="569341"/>
                      </a:lnTo>
                      <a:lnTo>
                        <a:pt x="2522766" y="568071"/>
                      </a:lnTo>
                      <a:lnTo>
                        <a:pt x="2516632" y="566801"/>
                      </a:lnTo>
                      <a:lnTo>
                        <a:pt x="2513063" y="566801"/>
                      </a:lnTo>
                      <a:lnTo>
                        <a:pt x="2507107" y="565531"/>
                      </a:lnTo>
                      <a:lnTo>
                        <a:pt x="2502497" y="565531"/>
                      </a:lnTo>
                      <a:lnTo>
                        <a:pt x="2496388" y="566801"/>
                      </a:lnTo>
                      <a:lnTo>
                        <a:pt x="2495994" y="565531"/>
                      </a:lnTo>
                      <a:lnTo>
                        <a:pt x="2495766" y="565531"/>
                      </a:lnTo>
                      <a:lnTo>
                        <a:pt x="2495219" y="564261"/>
                      </a:lnTo>
                      <a:lnTo>
                        <a:pt x="2494597" y="564261"/>
                      </a:lnTo>
                      <a:lnTo>
                        <a:pt x="2494318" y="562991"/>
                      </a:lnTo>
                      <a:lnTo>
                        <a:pt x="2492832" y="561721"/>
                      </a:lnTo>
                      <a:lnTo>
                        <a:pt x="2489746" y="559181"/>
                      </a:lnTo>
                      <a:lnTo>
                        <a:pt x="2488946" y="556641"/>
                      </a:lnTo>
                      <a:lnTo>
                        <a:pt x="2485352" y="547751"/>
                      </a:lnTo>
                      <a:lnTo>
                        <a:pt x="2484653" y="546481"/>
                      </a:lnTo>
                      <a:lnTo>
                        <a:pt x="2484145" y="545211"/>
                      </a:lnTo>
                      <a:lnTo>
                        <a:pt x="2482570" y="545211"/>
                      </a:lnTo>
                      <a:lnTo>
                        <a:pt x="2481694" y="543941"/>
                      </a:lnTo>
                      <a:lnTo>
                        <a:pt x="2481567" y="543941"/>
                      </a:lnTo>
                      <a:lnTo>
                        <a:pt x="2482354" y="541401"/>
                      </a:lnTo>
                      <a:lnTo>
                        <a:pt x="2482519" y="540131"/>
                      </a:lnTo>
                      <a:lnTo>
                        <a:pt x="2482685" y="538861"/>
                      </a:lnTo>
                      <a:lnTo>
                        <a:pt x="2480043" y="540131"/>
                      </a:lnTo>
                      <a:lnTo>
                        <a:pt x="2476512" y="540131"/>
                      </a:lnTo>
                      <a:lnTo>
                        <a:pt x="2472715" y="538861"/>
                      </a:lnTo>
                      <a:lnTo>
                        <a:pt x="2466568" y="535051"/>
                      </a:lnTo>
                      <a:lnTo>
                        <a:pt x="2454554" y="527431"/>
                      </a:lnTo>
                      <a:lnTo>
                        <a:pt x="2450147" y="527431"/>
                      </a:lnTo>
                      <a:lnTo>
                        <a:pt x="2444204" y="526161"/>
                      </a:lnTo>
                      <a:lnTo>
                        <a:pt x="2427414" y="524891"/>
                      </a:lnTo>
                      <a:lnTo>
                        <a:pt x="2422410" y="524891"/>
                      </a:lnTo>
                      <a:lnTo>
                        <a:pt x="2420455" y="523621"/>
                      </a:lnTo>
                      <a:lnTo>
                        <a:pt x="2417788" y="523621"/>
                      </a:lnTo>
                      <a:lnTo>
                        <a:pt x="2416606" y="522351"/>
                      </a:lnTo>
                      <a:lnTo>
                        <a:pt x="2415933" y="521081"/>
                      </a:lnTo>
                      <a:lnTo>
                        <a:pt x="2415197" y="519811"/>
                      </a:lnTo>
                      <a:lnTo>
                        <a:pt x="2414752" y="518541"/>
                      </a:lnTo>
                      <a:lnTo>
                        <a:pt x="2415286" y="518541"/>
                      </a:lnTo>
                      <a:lnTo>
                        <a:pt x="2416784" y="516001"/>
                      </a:lnTo>
                      <a:lnTo>
                        <a:pt x="2417686" y="514731"/>
                      </a:lnTo>
                      <a:lnTo>
                        <a:pt x="2418575" y="512191"/>
                      </a:lnTo>
                      <a:lnTo>
                        <a:pt x="2419375" y="510921"/>
                      </a:lnTo>
                      <a:lnTo>
                        <a:pt x="2419629" y="509651"/>
                      </a:lnTo>
                      <a:lnTo>
                        <a:pt x="2419680" y="508381"/>
                      </a:lnTo>
                      <a:lnTo>
                        <a:pt x="2419464" y="503301"/>
                      </a:lnTo>
                      <a:lnTo>
                        <a:pt x="2419654" y="502031"/>
                      </a:lnTo>
                      <a:lnTo>
                        <a:pt x="2420162" y="498221"/>
                      </a:lnTo>
                      <a:lnTo>
                        <a:pt x="2413914" y="488061"/>
                      </a:lnTo>
                      <a:lnTo>
                        <a:pt x="2412466" y="485521"/>
                      </a:lnTo>
                      <a:lnTo>
                        <a:pt x="2411996" y="485521"/>
                      </a:lnTo>
                      <a:lnTo>
                        <a:pt x="2410637" y="480441"/>
                      </a:lnTo>
                      <a:lnTo>
                        <a:pt x="2409177" y="479171"/>
                      </a:lnTo>
                      <a:lnTo>
                        <a:pt x="2406116" y="476631"/>
                      </a:lnTo>
                      <a:lnTo>
                        <a:pt x="2401506" y="476631"/>
                      </a:lnTo>
                      <a:lnTo>
                        <a:pt x="2400846" y="475361"/>
                      </a:lnTo>
                      <a:lnTo>
                        <a:pt x="2397252" y="472821"/>
                      </a:lnTo>
                      <a:lnTo>
                        <a:pt x="2390711" y="472821"/>
                      </a:lnTo>
                      <a:lnTo>
                        <a:pt x="2389403" y="471551"/>
                      </a:lnTo>
                      <a:lnTo>
                        <a:pt x="2386266" y="470281"/>
                      </a:lnTo>
                      <a:lnTo>
                        <a:pt x="2384082" y="466471"/>
                      </a:lnTo>
                      <a:lnTo>
                        <a:pt x="2382291" y="465201"/>
                      </a:lnTo>
                      <a:lnTo>
                        <a:pt x="2380500" y="465201"/>
                      </a:lnTo>
                      <a:lnTo>
                        <a:pt x="2379840" y="463931"/>
                      </a:lnTo>
                      <a:lnTo>
                        <a:pt x="2376919" y="463931"/>
                      </a:lnTo>
                      <a:lnTo>
                        <a:pt x="2376665" y="462661"/>
                      </a:lnTo>
                      <a:lnTo>
                        <a:pt x="2377694" y="462661"/>
                      </a:lnTo>
                      <a:lnTo>
                        <a:pt x="2377592" y="461391"/>
                      </a:lnTo>
                      <a:lnTo>
                        <a:pt x="2377452" y="460121"/>
                      </a:lnTo>
                      <a:lnTo>
                        <a:pt x="2373909" y="458851"/>
                      </a:lnTo>
                      <a:lnTo>
                        <a:pt x="2373363" y="458851"/>
                      </a:lnTo>
                      <a:lnTo>
                        <a:pt x="2373185" y="457581"/>
                      </a:lnTo>
                      <a:lnTo>
                        <a:pt x="2374087" y="455041"/>
                      </a:lnTo>
                      <a:lnTo>
                        <a:pt x="2374404" y="455041"/>
                      </a:lnTo>
                      <a:lnTo>
                        <a:pt x="2374417" y="453771"/>
                      </a:lnTo>
                      <a:lnTo>
                        <a:pt x="2377325" y="452501"/>
                      </a:lnTo>
                      <a:lnTo>
                        <a:pt x="2378621" y="451231"/>
                      </a:lnTo>
                      <a:lnTo>
                        <a:pt x="2378875" y="451231"/>
                      </a:lnTo>
                      <a:lnTo>
                        <a:pt x="2379129" y="449961"/>
                      </a:lnTo>
                      <a:lnTo>
                        <a:pt x="2379268" y="448691"/>
                      </a:lnTo>
                      <a:lnTo>
                        <a:pt x="2380069" y="448691"/>
                      </a:lnTo>
                      <a:lnTo>
                        <a:pt x="2380348" y="447421"/>
                      </a:lnTo>
                      <a:lnTo>
                        <a:pt x="2381847" y="448691"/>
                      </a:lnTo>
                      <a:lnTo>
                        <a:pt x="2382990" y="448691"/>
                      </a:lnTo>
                      <a:lnTo>
                        <a:pt x="2385390" y="447421"/>
                      </a:lnTo>
                      <a:lnTo>
                        <a:pt x="2389403" y="447421"/>
                      </a:lnTo>
                      <a:lnTo>
                        <a:pt x="2392540" y="446151"/>
                      </a:lnTo>
                      <a:lnTo>
                        <a:pt x="2395194" y="446151"/>
                      </a:lnTo>
                      <a:lnTo>
                        <a:pt x="2399855" y="443611"/>
                      </a:lnTo>
                      <a:lnTo>
                        <a:pt x="2400643" y="443611"/>
                      </a:lnTo>
                      <a:lnTo>
                        <a:pt x="2401049" y="442341"/>
                      </a:lnTo>
                      <a:lnTo>
                        <a:pt x="2400477" y="441071"/>
                      </a:lnTo>
                      <a:lnTo>
                        <a:pt x="2405761" y="437261"/>
                      </a:lnTo>
                      <a:lnTo>
                        <a:pt x="2408263" y="435991"/>
                      </a:lnTo>
                      <a:lnTo>
                        <a:pt x="2409202" y="435991"/>
                      </a:lnTo>
                      <a:lnTo>
                        <a:pt x="2412123" y="433451"/>
                      </a:lnTo>
                      <a:lnTo>
                        <a:pt x="2417483" y="430911"/>
                      </a:lnTo>
                      <a:lnTo>
                        <a:pt x="2422194" y="428371"/>
                      </a:lnTo>
                      <a:lnTo>
                        <a:pt x="2424963" y="427101"/>
                      </a:lnTo>
                      <a:lnTo>
                        <a:pt x="2426398" y="427101"/>
                      </a:lnTo>
                      <a:lnTo>
                        <a:pt x="2429192" y="425831"/>
                      </a:lnTo>
                      <a:lnTo>
                        <a:pt x="2433688" y="425831"/>
                      </a:lnTo>
                      <a:lnTo>
                        <a:pt x="2435644" y="424561"/>
                      </a:lnTo>
                      <a:lnTo>
                        <a:pt x="2437307" y="424561"/>
                      </a:lnTo>
                      <a:lnTo>
                        <a:pt x="2438196" y="422021"/>
                      </a:lnTo>
                      <a:lnTo>
                        <a:pt x="2438831" y="422021"/>
                      </a:lnTo>
                      <a:lnTo>
                        <a:pt x="2439708" y="423291"/>
                      </a:lnTo>
                      <a:lnTo>
                        <a:pt x="2446477" y="423291"/>
                      </a:lnTo>
                      <a:lnTo>
                        <a:pt x="2448560" y="424561"/>
                      </a:lnTo>
                      <a:lnTo>
                        <a:pt x="2449398" y="425831"/>
                      </a:lnTo>
                      <a:lnTo>
                        <a:pt x="2451709" y="425831"/>
                      </a:lnTo>
                      <a:lnTo>
                        <a:pt x="2453627" y="427101"/>
                      </a:lnTo>
                      <a:lnTo>
                        <a:pt x="2464397" y="427101"/>
                      </a:lnTo>
                      <a:lnTo>
                        <a:pt x="2464816" y="428371"/>
                      </a:lnTo>
                      <a:lnTo>
                        <a:pt x="2465374" y="428371"/>
                      </a:lnTo>
                      <a:lnTo>
                        <a:pt x="2466962" y="433451"/>
                      </a:lnTo>
                      <a:lnTo>
                        <a:pt x="2467597" y="434721"/>
                      </a:lnTo>
                      <a:lnTo>
                        <a:pt x="2468969" y="437261"/>
                      </a:lnTo>
                      <a:lnTo>
                        <a:pt x="2469705" y="437261"/>
                      </a:lnTo>
                      <a:lnTo>
                        <a:pt x="2480843" y="439801"/>
                      </a:lnTo>
                      <a:lnTo>
                        <a:pt x="2484247" y="439801"/>
                      </a:lnTo>
                      <a:lnTo>
                        <a:pt x="2485326" y="438531"/>
                      </a:lnTo>
                      <a:lnTo>
                        <a:pt x="2492095" y="438531"/>
                      </a:lnTo>
                      <a:lnTo>
                        <a:pt x="2495905" y="439801"/>
                      </a:lnTo>
                      <a:lnTo>
                        <a:pt x="2497823" y="439801"/>
                      </a:lnTo>
                      <a:lnTo>
                        <a:pt x="2501188" y="441071"/>
                      </a:lnTo>
                      <a:lnTo>
                        <a:pt x="2504313" y="441071"/>
                      </a:lnTo>
                      <a:lnTo>
                        <a:pt x="2508783" y="443611"/>
                      </a:lnTo>
                      <a:lnTo>
                        <a:pt x="2511844" y="442341"/>
                      </a:lnTo>
                      <a:lnTo>
                        <a:pt x="2513304" y="439801"/>
                      </a:lnTo>
                      <a:lnTo>
                        <a:pt x="2514168" y="439801"/>
                      </a:lnTo>
                      <a:lnTo>
                        <a:pt x="2515781" y="438531"/>
                      </a:lnTo>
                      <a:lnTo>
                        <a:pt x="2520454" y="437261"/>
                      </a:lnTo>
                      <a:lnTo>
                        <a:pt x="2521826" y="435991"/>
                      </a:lnTo>
                      <a:lnTo>
                        <a:pt x="2521953" y="434721"/>
                      </a:lnTo>
                      <a:lnTo>
                        <a:pt x="2523617" y="429641"/>
                      </a:lnTo>
                      <a:lnTo>
                        <a:pt x="2524315" y="427101"/>
                      </a:lnTo>
                      <a:lnTo>
                        <a:pt x="2523337" y="425831"/>
                      </a:lnTo>
                      <a:lnTo>
                        <a:pt x="2521102" y="425831"/>
                      </a:lnTo>
                      <a:lnTo>
                        <a:pt x="2519934" y="424561"/>
                      </a:lnTo>
                      <a:lnTo>
                        <a:pt x="2519375" y="423291"/>
                      </a:lnTo>
                      <a:lnTo>
                        <a:pt x="2518346" y="420751"/>
                      </a:lnTo>
                      <a:lnTo>
                        <a:pt x="2518079" y="419481"/>
                      </a:lnTo>
                      <a:lnTo>
                        <a:pt x="2518168" y="416941"/>
                      </a:lnTo>
                      <a:lnTo>
                        <a:pt x="2518753" y="414401"/>
                      </a:lnTo>
                      <a:lnTo>
                        <a:pt x="2519476" y="411861"/>
                      </a:lnTo>
                      <a:lnTo>
                        <a:pt x="2520188" y="410591"/>
                      </a:lnTo>
                      <a:lnTo>
                        <a:pt x="2522918" y="410591"/>
                      </a:lnTo>
                      <a:lnTo>
                        <a:pt x="2523248" y="409321"/>
                      </a:lnTo>
                      <a:lnTo>
                        <a:pt x="2523566" y="406781"/>
                      </a:lnTo>
                      <a:lnTo>
                        <a:pt x="2523731" y="406781"/>
                      </a:lnTo>
                      <a:lnTo>
                        <a:pt x="2523896" y="405511"/>
                      </a:lnTo>
                      <a:lnTo>
                        <a:pt x="2524239" y="405511"/>
                      </a:lnTo>
                      <a:lnTo>
                        <a:pt x="2523553" y="404241"/>
                      </a:lnTo>
                      <a:lnTo>
                        <a:pt x="2524493" y="405511"/>
                      </a:lnTo>
                      <a:lnTo>
                        <a:pt x="2524912" y="404241"/>
                      </a:lnTo>
                      <a:lnTo>
                        <a:pt x="2526855" y="402971"/>
                      </a:lnTo>
                      <a:lnTo>
                        <a:pt x="2532151" y="397891"/>
                      </a:lnTo>
                      <a:lnTo>
                        <a:pt x="2533485" y="397891"/>
                      </a:lnTo>
                      <a:lnTo>
                        <a:pt x="2533294" y="399161"/>
                      </a:lnTo>
                      <a:lnTo>
                        <a:pt x="2545499" y="405511"/>
                      </a:lnTo>
                      <a:lnTo>
                        <a:pt x="2555989" y="405511"/>
                      </a:lnTo>
                      <a:lnTo>
                        <a:pt x="2557767" y="406781"/>
                      </a:lnTo>
                      <a:lnTo>
                        <a:pt x="2564434" y="409321"/>
                      </a:lnTo>
                      <a:lnTo>
                        <a:pt x="2573972" y="411861"/>
                      </a:lnTo>
                      <a:lnTo>
                        <a:pt x="2576703" y="413131"/>
                      </a:lnTo>
                      <a:lnTo>
                        <a:pt x="2577300" y="413131"/>
                      </a:lnTo>
                      <a:lnTo>
                        <a:pt x="2576957" y="414401"/>
                      </a:lnTo>
                      <a:lnTo>
                        <a:pt x="2577249" y="415671"/>
                      </a:lnTo>
                      <a:lnTo>
                        <a:pt x="2577554" y="418211"/>
                      </a:lnTo>
                      <a:lnTo>
                        <a:pt x="2577769" y="419481"/>
                      </a:lnTo>
                      <a:lnTo>
                        <a:pt x="2577985" y="422021"/>
                      </a:lnTo>
                      <a:lnTo>
                        <a:pt x="2578608" y="423291"/>
                      </a:lnTo>
                      <a:lnTo>
                        <a:pt x="2578862" y="425831"/>
                      </a:lnTo>
                      <a:lnTo>
                        <a:pt x="2579116" y="425831"/>
                      </a:lnTo>
                      <a:lnTo>
                        <a:pt x="2579687" y="427101"/>
                      </a:lnTo>
                      <a:lnTo>
                        <a:pt x="2581351" y="428371"/>
                      </a:lnTo>
                      <a:lnTo>
                        <a:pt x="2582037" y="429641"/>
                      </a:lnTo>
                      <a:lnTo>
                        <a:pt x="2583345" y="429641"/>
                      </a:lnTo>
                      <a:lnTo>
                        <a:pt x="2585021" y="430911"/>
                      </a:lnTo>
                      <a:lnTo>
                        <a:pt x="2605138" y="435991"/>
                      </a:lnTo>
                      <a:lnTo>
                        <a:pt x="2606903" y="434721"/>
                      </a:lnTo>
                      <a:lnTo>
                        <a:pt x="2608796" y="433451"/>
                      </a:lnTo>
                      <a:lnTo>
                        <a:pt x="2610370" y="433451"/>
                      </a:lnTo>
                      <a:lnTo>
                        <a:pt x="2611031" y="432181"/>
                      </a:lnTo>
                      <a:lnTo>
                        <a:pt x="2613202" y="430911"/>
                      </a:lnTo>
                      <a:lnTo>
                        <a:pt x="2618206" y="430911"/>
                      </a:lnTo>
                      <a:lnTo>
                        <a:pt x="2620289" y="429641"/>
                      </a:lnTo>
                      <a:lnTo>
                        <a:pt x="2629852" y="429641"/>
                      </a:lnTo>
                      <a:lnTo>
                        <a:pt x="2632062" y="430911"/>
                      </a:lnTo>
                      <a:lnTo>
                        <a:pt x="2633662" y="430911"/>
                      </a:lnTo>
                      <a:lnTo>
                        <a:pt x="2634221" y="432181"/>
                      </a:lnTo>
                      <a:lnTo>
                        <a:pt x="2643543" y="432181"/>
                      </a:lnTo>
                      <a:lnTo>
                        <a:pt x="2645321" y="433451"/>
                      </a:lnTo>
                      <a:lnTo>
                        <a:pt x="2651607" y="438531"/>
                      </a:lnTo>
                      <a:lnTo>
                        <a:pt x="2659913" y="438531"/>
                      </a:lnTo>
                      <a:lnTo>
                        <a:pt x="2660307" y="439801"/>
                      </a:lnTo>
                      <a:lnTo>
                        <a:pt x="2661145" y="444881"/>
                      </a:lnTo>
                      <a:lnTo>
                        <a:pt x="2661628" y="444881"/>
                      </a:lnTo>
                      <a:lnTo>
                        <a:pt x="2668752" y="449961"/>
                      </a:lnTo>
                      <a:lnTo>
                        <a:pt x="2678620" y="449961"/>
                      </a:lnTo>
                      <a:lnTo>
                        <a:pt x="2680830" y="451231"/>
                      </a:lnTo>
                      <a:lnTo>
                        <a:pt x="2681287" y="451231"/>
                      </a:lnTo>
                      <a:lnTo>
                        <a:pt x="2694114" y="452501"/>
                      </a:lnTo>
                      <a:lnTo>
                        <a:pt x="2701429" y="453771"/>
                      </a:lnTo>
                      <a:lnTo>
                        <a:pt x="2702877" y="453771"/>
                      </a:lnTo>
                      <a:lnTo>
                        <a:pt x="2720924" y="448691"/>
                      </a:lnTo>
                      <a:lnTo>
                        <a:pt x="2731465" y="447421"/>
                      </a:lnTo>
                      <a:lnTo>
                        <a:pt x="2731935" y="446151"/>
                      </a:lnTo>
                      <a:lnTo>
                        <a:pt x="2732392" y="446151"/>
                      </a:lnTo>
                      <a:lnTo>
                        <a:pt x="2739263" y="439801"/>
                      </a:lnTo>
                      <a:lnTo>
                        <a:pt x="2742095" y="438531"/>
                      </a:lnTo>
                      <a:lnTo>
                        <a:pt x="2744635" y="435991"/>
                      </a:lnTo>
                      <a:lnTo>
                        <a:pt x="2748762" y="433451"/>
                      </a:lnTo>
                      <a:lnTo>
                        <a:pt x="2758846" y="433451"/>
                      </a:lnTo>
                      <a:lnTo>
                        <a:pt x="2768117" y="439801"/>
                      </a:lnTo>
                      <a:lnTo>
                        <a:pt x="2770479" y="439801"/>
                      </a:lnTo>
                      <a:lnTo>
                        <a:pt x="2774937" y="438531"/>
                      </a:lnTo>
                      <a:lnTo>
                        <a:pt x="2779382" y="437261"/>
                      </a:lnTo>
                      <a:lnTo>
                        <a:pt x="2780220" y="437261"/>
                      </a:lnTo>
                      <a:lnTo>
                        <a:pt x="2784284" y="441071"/>
                      </a:lnTo>
                      <a:lnTo>
                        <a:pt x="2784779" y="441071"/>
                      </a:lnTo>
                      <a:lnTo>
                        <a:pt x="2781414" y="447421"/>
                      </a:lnTo>
                      <a:lnTo>
                        <a:pt x="2779928" y="449961"/>
                      </a:lnTo>
                      <a:lnTo>
                        <a:pt x="2772130" y="465201"/>
                      </a:lnTo>
                      <a:lnTo>
                        <a:pt x="2772537" y="467741"/>
                      </a:lnTo>
                      <a:lnTo>
                        <a:pt x="2772613" y="469011"/>
                      </a:lnTo>
                      <a:lnTo>
                        <a:pt x="2772003" y="469011"/>
                      </a:lnTo>
                      <a:lnTo>
                        <a:pt x="2768333" y="470281"/>
                      </a:lnTo>
                      <a:lnTo>
                        <a:pt x="2768828" y="474091"/>
                      </a:lnTo>
                      <a:lnTo>
                        <a:pt x="2769044" y="474091"/>
                      </a:lnTo>
                      <a:lnTo>
                        <a:pt x="2769133" y="475361"/>
                      </a:lnTo>
                      <a:lnTo>
                        <a:pt x="2769984" y="476631"/>
                      </a:lnTo>
                      <a:lnTo>
                        <a:pt x="2770657" y="477901"/>
                      </a:lnTo>
                      <a:lnTo>
                        <a:pt x="2771571" y="477901"/>
                      </a:lnTo>
                      <a:lnTo>
                        <a:pt x="2773261" y="480441"/>
                      </a:lnTo>
                      <a:lnTo>
                        <a:pt x="2776550" y="480441"/>
                      </a:lnTo>
                      <a:lnTo>
                        <a:pt x="2777540" y="479171"/>
                      </a:lnTo>
                      <a:lnTo>
                        <a:pt x="2780258" y="479171"/>
                      </a:lnTo>
                      <a:lnTo>
                        <a:pt x="2788374" y="477901"/>
                      </a:lnTo>
                      <a:lnTo>
                        <a:pt x="2789707" y="477901"/>
                      </a:lnTo>
                      <a:lnTo>
                        <a:pt x="2790596" y="479171"/>
                      </a:lnTo>
                      <a:lnTo>
                        <a:pt x="2793060" y="480441"/>
                      </a:lnTo>
                      <a:lnTo>
                        <a:pt x="2794647" y="481711"/>
                      </a:lnTo>
                      <a:lnTo>
                        <a:pt x="2796984" y="481711"/>
                      </a:lnTo>
                      <a:lnTo>
                        <a:pt x="2797454" y="480441"/>
                      </a:lnTo>
                      <a:lnTo>
                        <a:pt x="2798318" y="479171"/>
                      </a:lnTo>
                      <a:lnTo>
                        <a:pt x="2799715" y="477901"/>
                      </a:lnTo>
                      <a:lnTo>
                        <a:pt x="2800616" y="476631"/>
                      </a:lnTo>
                      <a:lnTo>
                        <a:pt x="2806674" y="476631"/>
                      </a:lnTo>
                      <a:lnTo>
                        <a:pt x="2810395" y="475361"/>
                      </a:lnTo>
                      <a:lnTo>
                        <a:pt x="2812097" y="475361"/>
                      </a:lnTo>
                      <a:lnTo>
                        <a:pt x="2812542" y="476631"/>
                      </a:lnTo>
                      <a:lnTo>
                        <a:pt x="2813062" y="476631"/>
                      </a:lnTo>
                      <a:lnTo>
                        <a:pt x="2813913" y="477901"/>
                      </a:lnTo>
                      <a:lnTo>
                        <a:pt x="2815145" y="479171"/>
                      </a:lnTo>
                      <a:lnTo>
                        <a:pt x="2816199" y="479171"/>
                      </a:lnTo>
                      <a:lnTo>
                        <a:pt x="2817241" y="480441"/>
                      </a:lnTo>
                      <a:lnTo>
                        <a:pt x="2819196" y="480441"/>
                      </a:lnTo>
                      <a:lnTo>
                        <a:pt x="2819844" y="481711"/>
                      </a:lnTo>
                      <a:lnTo>
                        <a:pt x="2820136" y="482981"/>
                      </a:lnTo>
                      <a:lnTo>
                        <a:pt x="2821241" y="484251"/>
                      </a:lnTo>
                      <a:lnTo>
                        <a:pt x="2824111" y="485521"/>
                      </a:lnTo>
                      <a:lnTo>
                        <a:pt x="2825369" y="486791"/>
                      </a:lnTo>
                      <a:lnTo>
                        <a:pt x="2828569" y="490601"/>
                      </a:lnTo>
                      <a:lnTo>
                        <a:pt x="2830804" y="493141"/>
                      </a:lnTo>
                      <a:lnTo>
                        <a:pt x="2831071" y="494411"/>
                      </a:lnTo>
                      <a:lnTo>
                        <a:pt x="2831071" y="489648"/>
                      </a:lnTo>
                      <a:lnTo>
                        <a:pt x="2830804" y="489331"/>
                      </a:lnTo>
                      <a:lnTo>
                        <a:pt x="2830131" y="488061"/>
                      </a:lnTo>
                      <a:lnTo>
                        <a:pt x="2826931" y="485521"/>
                      </a:lnTo>
                      <a:lnTo>
                        <a:pt x="2825623" y="484251"/>
                      </a:lnTo>
                      <a:lnTo>
                        <a:pt x="2822676" y="481711"/>
                      </a:lnTo>
                      <a:lnTo>
                        <a:pt x="2821990" y="481711"/>
                      </a:lnTo>
                      <a:lnTo>
                        <a:pt x="2821736" y="480441"/>
                      </a:lnTo>
                      <a:lnTo>
                        <a:pt x="2821521" y="480441"/>
                      </a:lnTo>
                      <a:lnTo>
                        <a:pt x="2820505" y="479171"/>
                      </a:lnTo>
                      <a:lnTo>
                        <a:pt x="2819438" y="479171"/>
                      </a:lnTo>
                      <a:lnTo>
                        <a:pt x="2818130" y="477901"/>
                      </a:lnTo>
                      <a:lnTo>
                        <a:pt x="2817177" y="477901"/>
                      </a:lnTo>
                      <a:lnTo>
                        <a:pt x="2816352" y="476631"/>
                      </a:lnTo>
                      <a:lnTo>
                        <a:pt x="2815564" y="476631"/>
                      </a:lnTo>
                      <a:lnTo>
                        <a:pt x="2814713" y="475361"/>
                      </a:lnTo>
                      <a:lnTo>
                        <a:pt x="2814269" y="474091"/>
                      </a:lnTo>
                      <a:lnTo>
                        <a:pt x="2802852" y="474091"/>
                      </a:lnTo>
                      <a:lnTo>
                        <a:pt x="2799689" y="475361"/>
                      </a:lnTo>
                      <a:lnTo>
                        <a:pt x="2798394" y="476631"/>
                      </a:lnTo>
                      <a:lnTo>
                        <a:pt x="2796679" y="477901"/>
                      </a:lnTo>
                      <a:lnTo>
                        <a:pt x="2795905" y="479171"/>
                      </a:lnTo>
                      <a:lnTo>
                        <a:pt x="2794965" y="479171"/>
                      </a:lnTo>
                      <a:lnTo>
                        <a:pt x="2793530" y="477901"/>
                      </a:lnTo>
                      <a:lnTo>
                        <a:pt x="2792082" y="476631"/>
                      </a:lnTo>
                      <a:lnTo>
                        <a:pt x="2790583" y="476631"/>
                      </a:lnTo>
                      <a:lnTo>
                        <a:pt x="2789720" y="475361"/>
                      </a:lnTo>
                      <a:lnTo>
                        <a:pt x="2788399" y="475361"/>
                      </a:lnTo>
                      <a:lnTo>
                        <a:pt x="2779941" y="476631"/>
                      </a:lnTo>
                      <a:lnTo>
                        <a:pt x="2778518" y="476631"/>
                      </a:lnTo>
                      <a:lnTo>
                        <a:pt x="2776296" y="477901"/>
                      </a:lnTo>
                      <a:lnTo>
                        <a:pt x="2775394" y="479171"/>
                      </a:lnTo>
                      <a:lnTo>
                        <a:pt x="2775064" y="479171"/>
                      </a:lnTo>
                      <a:lnTo>
                        <a:pt x="2774404" y="477901"/>
                      </a:lnTo>
                      <a:lnTo>
                        <a:pt x="2772981" y="476631"/>
                      </a:lnTo>
                      <a:lnTo>
                        <a:pt x="2772232" y="476631"/>
                      </a:lnTo>
                      <a:lnTo>
                        <a:pt x="2771737" y="475361"/>
                      </a:lnTo>
                      <a:lnTo>
                        <a:pt x="2771330" y="474091"/>
                      </a:lnTo>
                      <a:lnTo>
                        <a:pt x="2771102" y="474091"/>
                      </a:lnTo>
                      <a:lnTo>
                        <a:pt x="2770721" y="472821"/>
                      </a:lnTo>
                      <a:lnTo>
                        <a:pt x="2771152" y="471551"/>
                      </a:lnTo>
                      <a:lnTo>
                        <a:pt x="2773095" y="471551"/>
                      </a:lnTo>
                      <a:lnTo>
                        <a:pt x="2773692" y="470281"/>
                      </a:lnTo>
                      <a:lnTo>
                        <a:pt x="2774721" y="469011"/>
                      </a:lnTo>
                      <a:lnTo>
                        <a:pt x="2774670" y="467741"/>
                      </a:lnTo>
                      <a:lnTo>
                        <a:pt x="2774365" y="465201"/>
                      </a:lnTo>
                      <a:lnTo>
                        <a:pt x="2783306" y="448691"/>
                      </a:lnTo>
                      <a:lnTo>
                        <a:pt x="2786786" y="442341"/>
                      </a:lnTo>
                      <a:lnTo>
                        <a:pt x="2789212" y="442341"/>
                      </a:lnTo>
                      <a:lnTo>
                        <a:pt x="2803334" y="447421"/>
                      </a:lnTo>
                      <a:lnTo>
                        <a:pt x="2807017" y="444881"/>
                      </a:lnTo>
                      <a:lnTo>
                        <a:pt x="2808846" y="443611"/>
                      </a:lnTo>
                      <a:lnTo>
                        <a:pt x="2811742" y="439801"/>
                      </a:lnTo>
                      <a:lnTo>
                        <a:pt x="2813304" y="439801"/>
                      </a:lnTo>
                      <a:lnTo>
                        <a:pt x="2819133" y="438531"/>
                      </a:lnTo>
                      <a:lnTo>
                        <a:pt x="2823565" y="435991"/>
                      </a:lnTo>
                      <a:lnTo>
                        <a:pt x="2824683" y="435991"/>
                      </a:lnTo>
                      <a:lnTo>
                        <a:pt x="2824924" y="434721"/>
                      </a:lnTo>
                      <a:lnTo>
                        <a:pt x="2825102" y="434721"/>
                      </a:lnTo>
                      <a:lnTo>
                        <a:pt x="2825077" y="433451"/>
                      </a:lnTo>
                      <a:lnTo>
                        <a:pt x="2824911" y="432181"/>
                      </a:lnTo>
                      <a:lnTo>
                        <a:pt x="2825267" y="430911"/>
                      </a:lnTo>
                      <a:lnTo>
                        <a:pt x="2824911" y="429641"/>
                      </a:lnTo>
                      <a:lnTo>
                        <a:pt x="2825686" y="424561"/>
                      </a:lnTo>
                      <a:lnTo>
                        <a:pt x="2827845" y="420751"/>
                      </a:lnTo>
                      <a:lnTo>
                        <a:pt x="2830398" y="415671"/>
                      </a:lnTo>
                      <a:lnTo>
                        <a:pt x="2832252" y="413131"/>
                      </a:lnTo>
                      <a:lnTo>
                        <a:pt x="2833293" y="410591"/>
                      </a:lnTo>
                      <a:lnTo>
                        <a:pt x="2834271" y="409321"/>
                      </a:lnTo>
                      <a:lnTo>
                        <a:pt x="2844038" y="399161"/>
                      </a:lnTo>
                      <a:lnTo>
                        <a:pt x="2845282" y="397891"/>
                      </a:lnTo>
                      <a:lnTo>
                        <a:pt x="2845612" y="396621"/>
                      </a:lnTo>
                      <a:lnTo>
                        <a:pt x="2845651" y="395351"/>
                      </a:lnTo>
                      <a:lnTo>
                        <a:pt x="2845320" y="395351"/>
                      </a:lnTo>
                      <a:lnTo>
                        <a:pt x="2845003" y="394081"/>
                      </a:lnTo>
                      <a:lnTo>
                        <a:pt x="2844431" y="394081"/>
                      </a:lnTo>
                      <a:lnTo>
                        <a:pt x="2844012" y="392811"/>
                      </a:lnTo>
                      <a:lnTo>
                        <a:pt x="2844495" y="390271"/>
                      </a:lnTo>
                      <a:lnTo>
                        <a:pt x="2844419" y="389001"/>
                      </a:lnTo>
                      <a:lnTo>
                        <a:pt x="2843606" y="387731"/>
                      </a:lnTo>
                      <a:lnTo>
                        <a:pt x="2841891" y="387731"/>
                      </a:lnTo>
                      <a:lnTo>
                        <a:pt x="2841701" y="386461"/>
                      </a:lnTo>
                      <a:lnTo>
                        <a:pt x="2834919" y="386461"/>
                      </a:lnTo>
                      <a:lnTo>
                        <a:pt x="2835059" y="385191"/>
                      </a:lnTo>
                      <a:lnTo>
                        <a:pt x="2835275" y="385191"/>
                      </a:lnTo>
                      <a:lnTo>
                        <a:pt x="2836189" y="383921"/>
                      </a:lnTo>
                      <a:lnTo>
                        <a:pt x="2837002" y="383921"/>
                      </a:lnTo>
                      <a:lnTo>
                        <a:pt x="2839199" y="382651"/>
                      </a:lnTo>
                      <a:lnTo>
                        <a:pt x="2842590" y="378841"/>
                      </a:lnTo>
                      <a:lnTo>
                        <a:pt x="2843746" y="377571"/>
                      </a:lnTo>
                      <a:lnTo>
                        <a:pt x="2846324" y="376301"/>
                      </a:lnTo>
                      <a:lnTo>
                        <a:pt x="2847327" y="376301"/>
                      </a:lnTo>
                      <a:lnTo>
                        <a:pt x="2848000" y="375031"/>
                      </a:lnTo>
                      <a:lnTo>
                        <a:pt x="2854134" y="375031"/>
                      </a:lnTo>
                      <a:lnTo>
                        <a:pt x="2860598" y="373761"/>
                      </a:lnTo>
                      <a:lnTo>
                        <a:pt x="2862491" y="373761"/>
                      </a:lnTo>
                      <a:lnTo>
                        <a:pt x="2869654" y="372491"/>
                      </a:lnTo>
                      <a:lnTo>
                        <a:pt x="2874276" y="372491"/>
                      </a:lnTo>
                      <a:lnTo>
                        <a:pt x="2878734" y="371221"/>
                      </a:lnTo>
                      <a:lnTo>
                        <a:pt x="2879725" y="371221"/>
                      </a:lnTo>
                      <a:lnTo>
                        <a:pt x="2880156" y="369963"/>
                      </a:lnTo>
                      <a:lnTo>
                        <a:pt x="2882544" y="371221"/>
                      </a:lnTo>
                      <a:lnTo>
                        <a:pt x="2883814" y="369963"/>
                      </a:lnTo>
                      <a:lnTo>
                        <a:pt x="2884474" y="371221"/>
                      </a:lnTo>
                      <a:lnTo>
                        <a:pt x="2887980" y="371221"/>
                      </a:lnTo>
                      <a:lnTo>
                        <a:pt x="2889885" y="372491"/>
                      </a:lnTo>
                      <a:lnTo>
                        <a:pt x="2891726" y="373761"/>
                      </a:lnTo>
                      <a:lnTo>
                        <a:pt x="2899003" y="377571"/>
                      </a:lnTo>
                      <a:lnTo>
                        <a:pt x="2908262" y="377571"/>
                      </a:lnTo>
                      <a:lnTo>
                        <a:pt x="2909265" y="378841"/>
                      </a:lnTo>
                      <a:lnTo>
                        <a:pt x="2910319" y="378841"/>
                      </a:lnTo>
                      <a:lnTo>
                        <a:pt x="2912110" y="380111"/>
                      </a:lnTo>
                      <a:lnTo>
                        <a:pt x="2913189" y="380111"/>
                      </a:lnTo>
                      <a:lnTo>
                        <a:pt x="2916999" y="383921"/>
                      </a:lnTo>
                      <a:lnTo>
                        <a:pt x="2917710" y="382651"/>
                      </a:lnTo>
                      <a:lnTo>
                        <a:pt x="2917253" y="383921"/>
                      </a:lnTo>
                      <a:lnTo>
                        <a:pt x="2917672" y="383921"/>
                      </a:lnTo>
                      <a:lnTo>
                        <a:pt x="2919057" y="385191"/>
                      </a:lnTo>
                      <a:lnTo>
                        <a:pt x="2918726" y="386461"/>
                      </a:lnTo>
                      <a:lnTo>
                        <a:pt x="2917837" y="386461"/>
                      </a:lnTo>
                      <a:lnTo>
                        <a:pt x="2917761" y="387731"/>
                      </a:lnTo>
                      <a:lnTo>
                        <a:pt x="2918523" y="389001"/>
                      </a:lnTo>
                      <a:lnTo>
                        <a:pt x="2919742" y="390271"/>
                      </a:lnTo>
                      <a:lnTo>
                        <a:pt x="2924352" y="395351"/>
                      </a:lnTo>
                      <a:lnTo>
                        <a:pt x="2925000" y="396621"/>
                      </a:lnTo>
                      <a:lnTo>
                        <a:pt x="2925280" y="396621"/>
                      </a:lnTo>
                      <a:lnTo>
                        <a:pt x="2925114" y="397891"/>
                      </a:lnTo>
                      <a:lnTo>
                        <a:pt x="2924848" y="399161"/>
                      </a:lnTo>
                      <a:lnTo>
                        <a:pt x="2924632" y="399161"/>
                      </a:lnTo>
                      <a:lnTo>
                        <a:pt x="2924683" y="400431"/>
                      </a:lnTo>
                      <a:lnTo>
                        <a:pt x="2925013" y="400431"/>
                      </a:lnTo>
                      <a:lnTo>
                        <a:pt x="2925356" y="401701"/>
                      </a:lnTo>
                      <a:lnTo>
                        <a:pt x="2926524" y="404241"/>
                      </a:lnTo>
                      <a:lnTo>
                        <a:pt x="2927769" y="408051"/>
                      </a:lnTo>
                      <a:lnTo>
                        <a:pt x="2929039" y="410591"/>
                      </a:lnTo>
                      <a:lnTo>
                        <a:pt x="2929864" y="411861"/>
                      </a:lnTo>
                      <a:lnTo>
                        <a:pt x="2929801" y="413131"/>
                      </a:lnTo>
                      <a:lnTo>
                        <a:pt x="2930245" y="414401"/>
                      </a:lnTo>
                      <a:lnTo>
                        <a:pt x="2932353" y="414401"/>
                      </a:lnTo>
                      <a:lnTo>
                        <a:pt x="2933154" y="419481"/>
                      </a:lnTo>
                      <a:lnTo>
                        <a:pt x="2934741" y="420751"/>
                      </a:lnTo>
                      <a:lnTo>
                        <a:pt x="2939097" y="430911"/>
                      </a:lnTo>
                      <a:lnTo>
                        <a:pt x="2940494" y="433451"/>
                      </a:lnTo>
                      <a:lnTo>
                        <a:pt x="2940748" y="433451"/>
                      </a:lnTo>
                      <a:lnTo>
                        <a:pt x="2940532" y="434721"/>
                      </a:lnTo>
                      <a:lnTo>
                        <a:pt x="2940189" y="435991"/>
                      </a:lnTo>
                      <a:lnTo>
                        <a:pt x="2939923" y="437261"/>
                      </a:lnTo>
                      <a:lnTo>
                        <a:pt x="2940024" y="438531"/>
                      </a:lnTo>
                      <a:lnTo>
                        <a:pt x="2940570" y="439801"/>
                      </a:lnTo>
                      <a:lnTo>
                        <a:pt x="2942285" y="442341"/>
                      </a:lnTo>
                      <a:lnTo>
                        <a:pt x="2943860" y="444881"/>
                      </a:lnTo>
                      <a:lnTo>
                        <a:pt x="2944863" y="446151"/>
                      </a:lnTo>
                      <a:lnTo>
                        <a:pt x="2956026" y="446151"/>
                      </a:lnTo>
                      <a:lnTo>
                        <a:pt x="2959976" y="447421"/>
                      </a:lnTo>
                      <a:lnTo>
                        <a:pt x="2965780" y="449961"/>
                      </a:lnTo>
                      <a:lnTo>
                        <a:pt x="2966466" y="449961"/>
                      </a:lnTo>
                      <a:lnTo>
                        <a:pt x="2968193" y="448691"/>
                      </a:lnTo>
                      <a:lnTo>
                        <a:pt x="2968739" y="448691"/>
                      </a:lnTo>
                      <a:lnTo>
                        <a:pt x="2972879" y="453771"/>
                      </a:lnTo>
                      <a:lnTo>
                        <a:pt x="2979140" y="458851"/>
                      </a:lnTo>
                      <a:lnTo>
                        <a:pt x="2979826" y="458851"/>
                      </a:lnTo>
                      <a:lnTo>
                        <a:pt x="2980156" y="460121"/>
                      </a:lnTo>
                      <a:lnTo>
                        <a:pt x="2980728" y="458851"/>
                      </a:lnTo>
                      <a:lnTo>
                        <a:pt x="2984169" y="458851"/>
                      </a:lnTo>
                      <a:lnTo>
                        <a:pt x="2983560" y="461391"/>
                      </a:lnTo>
                      <a:lnTo>
                        <a:pt x="2983369" y="462661"/>
                      </a:lnTo>
                      <a:lnTo>
                        <a:pt x="2983369" y="463931"/>
                      </a:lnTo>
                      <a:lnTo>
                        <a:pt x="2983700" y="463931"/>
                      </a:lnTo>
                      <a:lnTo>
                        <a:pt x="2984119" y="465201"/>
                      </a:lnTo>
                      <a:lnTo>
                        <a:pt x="2986392" y="466471"/>
                      </a:lnTo>
                      <a:lnTo>
                        <a:pt x="2986773" y="466471"/>
                      </a:lnTo>
                      <a:lnTo>
                        <a:pt x="2987230" y="467741"/>
                      </a:lnTo>
                      <a:lnTo>
                        <a:pt x="2987357" y="469011"/>
                      </a:lnTo>
                      <a:lnTo>
                        <a:pt x="2986748" y="469011"/>
                      </a:lnTo>
                      <a:lnTo>
                        <a:pt x="2986659" y="470281"/>
                      </a:lnTo>
                      <a:lnTo>
                        <a:pt x="2986455" y="470281"/>
                      </a:lnTo>
                      <a:lnTo>
                        <a:pt x="2984855" y="472821"/>
                      </a:lnTo>
                      <a:lnTo>
                        <a:pt x="2988233" y="476631"/>
                      </a:lnTo>
                      <a:lnTo>
                        <a:pt x="2988386" y="476631"/>
                      </a:lnTo>
                      <a:lnTo>
                        <a:pt x="2988907" y="477901"/>
                      </a:lnTo>
                      <a:lnTo>
                        <a:pt x="2988970" y="479171"/>
                      </a:lnTo>
                      <a:lnTo>
                        <a:pt x="2989275" y="479171"/>
                      </a:lnTo>
                      <a:lnTo>
                        <a:pt x="2989897" y="480441"/>
                      </a:lnTo>
                      <a:lnTo>
                        <a:pt x="2990431" y="480441"/>
                      </a:lnTo>
                      <a:lnTo>
                        <a:pt x="2993288" y="481711"/>
                      </a:lnTo>
                      <a:lnTo>
                        <a:pt x="2995472" y="480441"/>
                      </a:lnTo>
                      <a:lnTo>
                        <a:pt x="3001734" y="481711"/>
                      </a:lnTo>
                      <a:lnTo>
                        <a:pt x="3005925" y="481711"/>
                      </a:lnTo>
                      <a:lnTo>
                        <a:pt x="3011030" y="480441"/>
                      </a:lnTo>
                      <a:lnTo>
                        <a:pt x="3013214" y="480441"/>
                      </a:lnTo>
                      <a:lnTo>
                        <a:pt x="3014662" y="477901"/>
                      </a:lnTo>
                      <a:lnTo>
                        <a:pt x="3015729" y="475361"/>
                      </a:lnTo>
                      <a:lnTo>
                        <a:pt x="3018078" y="475361"/>
                      </a:lnTo>
                      <a:lnTo>
                        <a:pt x="3020441" y="474091"/>
                      </a:lnTo>
                      <a:lnTo>
                        <a:pt x="3023324" y="474091"/>
                      </a:lnTo>
                      <a:lnTo>
                        <a:pt x="3024492" y="472821"/>
                      </a:lnTo>
                      <a:lnTo>
                        <a:pt x="3028937" y="471551"/>
                      </a:lnTo>
                      <a:lnTo>
                        <a:pt x="3034246" y="469011"/>
                      </a:lnTo>
                      <a:lnTo>
                        <a:pt x="3036633" y="469011"/>
                      </a:lnTo>
                      <a:lnTo>
                        <a:pt x="3038894" y="467741"/>
                      </a:lnTo>
                      <a:lnTo>
                        <a:pt x="3044304" y="467741"/>
                      </a:lnTo>
                      <a:lnTo>
                        <a:pt x="3043872" y="469011"/>
                      </a:lnTo>
                      <a:lnTo>
                        <a:pt x="3043313" y="469011"/>
                      </a:lnTo>
                      <a:lnTo>
                        <a:pt x="3040773" y="472821"/>
                      </a:lnTo>
                      <a:lnTo>
                        <a:pt x="3040913" y="474091"/>
                      </a:lnTo>
                      <a:lnTo>
                        <a:pt x="3041154" y="475361"/>
                      </a:lnTo>
                      <a:lnTo>
                        <a:pt x="3043326" y="477901"/>
                      </a:lnTo>
                      <a:lnTo>
                        <a:pt x="3043517" y="479171"/>
                      </a:lnTo>
                      <a:lnTo>
                        <a:pt x="3043631" y="480441"/>
                      </a:lnTo>
                      <a:lnTo>
                        <a:pt x="3039275" y="482981"/>
                      </a:lnTo>
                      <a:lnTo>
                        <a:pt x="3037687" y="484251"/>
                      </a:lnTo>
                      <a:lnTo>
                        <a:pt x="3036722" y="484251"/>
                      </a:lnTo>
                      <a:lnTo>
                        <a:pt x="3036405" y="485521"/>
                      </a:lnTo>
                      <a:lnTo>
                        <a:pt x="3035782" y="486791"/>
                      </a:lnTo>
                      <a:lnTo>
                        <a:pt x="3035630" y="488061"/>
                      </a:lnTo>
                      <a:lnTo>
                        <a:pt x="3035325" y="489331"/>
                      </a:lnTo>
                      <a:lnTo>
                        <a:pt x="3035135" y="490601"/>
                      </a:lnTo>
                      <a:lnTo>
                        <a:pt x="3033979" y="494411"/>
                      </a:lnTo>
                      <a:lnTo>
                        <a:pt x="3033331" y="496951"/>
                      </a:lnTo>
                      <a:lnTo>
                        <a:pt x="3032785" y="498221"/>
                      </a:lnTo>
                      <a:lnTo>
                        <a:pt x="3032163" y="499491"/>
                      </a:lnTo>
                      <a:lnTo>
                        <a:pt x="3031655" y="499491"/>
                      </a:lnTo>
                      <a:lnTo>
                        <a:pt x="3031286" y="500761"/>
                      </a:lnTo>
                      <a:lnTo>
                        <a:pt x="3031032" y="503301"/>
                      </a:lnTo>
                      <a:lnTo>
                        <a:pt x="3030944" y="505841"/>
                      </a:lnTo>
                      <a:lnTo>
                        <a:pt x="3030537" y="505841"/>
                      </a:lnTo>
                      <a:lnTo>
                        <a:pt x="3030410" y="507111"/>
                      </a:lnTo>
                      <a:lnTo>
                        <a:pt x="3030283" y="507111"/>
                      </a:lnTo>
                      <a:lnTo>
                        <a:pt x="3027146" y="510921"/>
                      </a:lnTo>
                      <a:lnTo>
                        <a:pt x="3025787" y="512191"/>
                      </a:lnTo>
                      <a:lnTo>
                        <a:pt x="3025406" y="516001"/>
                      </a:lnTo>
                      <a:lnTo>
                        <a:pt x="3025165" y="516001"/>
                      </a:lnTo>
                      <a:lnTo>
                        <a:pt x="3024390" y="517271"/>
                      </a:lnTo>
                      <a:lnTo>
                        <a:pt x="3022028" y="518541"/>
                      </a:lnTo>
                      <a:lnTo>
                        <a:pt x="3021279" y="519811"/>
                      </a:lnTo>
                      <a:lnTo>
                        <a:pt x="3020466" y="519811"/>
                      </a:lnTo>
                      <a:lnTo>
                        <a:pt x="3020047" y="522351"/>
                      </a:lnTo>
                      <a:lnTo>
                        <a:pt x="3019920" y="523621"/>
                      </a:lnTo>
                      <a:lnTo>
                        <a:pt x="3020060" y="524891"/>
                      </a:lnTo>
                      <a:lnTo>
                        <a:pt x="3019882" y="524891"/>
                      </a:lnTo>
                      <a:lnTo>
                        <a:pt x="3017990" y="526161"/>
                      </a:lnTo>
                      <a:lnTo>
                        <a:pt x="3016212" y="526161"/>
                      </a:lnTo>
                      <a:lnTo>
                        <a:pt x="3014345" y="524891"/>
                      </a:lnTo>
                      <a:lnTo>
                        <a:pt x="3011157" y="524891"/>
                      </a:lnTo>
                      <a:lnTo>
                        <a:pt x="3006318" y="523621"/>
                      </a:lnTo>
                      <a:lnTo>
                        <a:pt x="3005213" y="522351"/>
                      </a:lnTo>
                      <a:lnTo>
                        <a:pt x="3004502" y="521081"/>
                      </a:lnTo>
                      <a:lnTo>
                        <a:pt x="3002153" y="521081"/>
                      </a:lnTo>
                      <a:lnTo>
                        <a:pt x="3001657" y="522351"/>
                      </a:lnTo>
                      <a:lnTo>
                        <a:pt x="3000870" y="523621"/>
                      </a:lnTo>
                      <a:lnTo>
                        <a:pt x="3001568" y="524891"/>
                      </a:lnTo>
                      <a:lnTo>
                        <a:pt x="3000679" y="523621"/>
                      </a:lnTo>
                      <a:lnTo>
                        <a:pt x="2999905" y="524891"/>
                      </a:lnTo>
                      <a:lnTo>
                        <a:pt x="2999003" y="526161"/>
                      </a:lnTo>
                      <a:lnTo>
                        <a:pt x="2997797" y="526161"/>
                      </a:lnTo>
                      <a:lnTo>
                        <a:pt x="2996311" y="528701"/>
                      </a:lnTo>
                      <a:lnTo>
                        <a:pt x="2990939" y="529971"/>
                      </a:lnTo>
                      <a:lnTo>
                        <a:pt x="2989249" y="529971"/>
                      </a:lnTo>
                      <a:lnTo>
                        <a:pt x="2991624" y="536321"/>
                      </a:lnTo>
                      <a:lnTo>
                        <a:pt x="2993225" y="540131"/>
                      </a:lnTo>
                      <a:lnTo>
                        <a:pt x="2993072" y="547751"/>
                      </a:lnTo>
                      <a:lnTo>
                        <a:pt x="2993720" y="552831"/>
                      </a:lnTo>
                      <a:lnTo>
                        <a:pt x="2993974" y="556641"/>
                      </a:lnTo>
                      <a:lnTo>
                        <a:pt x="2992336" y="561721"/>
                      </a:lnTo>
                      <a:lnTo>
                        <a:pt x="2991662" y="564261"/>
                      </a:lnTo>
                      <a:lnTo>
                        <a:pt x="2986824" y="564261"/>
                      </a:lnTo>
                      <a:lnTo>
                        <a:pt x="2984208" y="565531"/>
                      </a:lnTo>
                      <a:lnTo>
                        <a:pt x="2981464" y="568071"/>
                      </a:lnTo>
                      <a:lnTo>
                        <a:pt x="2981363" y="566801"/>
                      </a:lnTo>
                      <a:lnTo>
                        <a:pt x="2980956" y="565531"/>
                      </a:lnTo>
                      <a:lnTo>
                        <a:pt x="2980448" y="564261"/>
                      </a:lnTo>
                      <a:lnTo>
                        <a:pt x="2979712" y="562991"/>
                      </a:lnTo>
                      <a:lnTo>
                        <a:pt x="2977197" y="561721"/>
                      </a:lnTo>
                      <a:lnTo>
                        <a:pt x="2974822" y="561721"/>
                      </a:lnTo>
                      <a:lnTo>
                        <a:pt x="2974314" y="562991"/>
                      </a:lnTo>
                      <a:lnTo>
                        <a:pt x="2973984" y="562991"/>
                      </a:lnTo>
                      <a:lnTo>
                        <a:pt x="2972714" y="564261"/>
                      </a:lnTo>
                      <a:lnTo>
                        <a:pt x="2972231" y="569341"/>
                      </a:lnTo>
                      <a:lnTo>
                        <a:pt x="2971876" y="569341"/>
                      </a:lnTo>
                      <a:lnTo>
                        <a:pt x="2971673" y="570611"/>
                      </a:lnTo>
                      <a:lnTo>
                        <a:pt x="2969895" y="570611"/>
                      </a:lnTo>
                      <a:lnTo>
                        <a:pt x="2968244" y="571881"/>
                      </a:lnTo>
                      <a:lnTo>
                        <a:pt x="2966301" y="571881"/>
                      </a:lnTo>
                      <a:lnTo>
                        <a:pt x="2964942" y="573151"/>
                      </a:lnTo>
                      <a:lnTo>
                        <a:pt x="2963646" y="575691"/>
                      </a:lnTo>
                      <a:lnTo>
                        <a:pt x="2964027" y="575691"/>
                      </a:lnTo>
                      <a:lnTo>
                        <a:pt x="2963672" y="576961"/>
                      </a:lnTo>
                      <a:lnTo>
                        <a:pt x="2962427" y="578231"/>
                      </a:lnTo>
                      <a:lnTo>
                        <a:pt x="2956026" y="578231"/>
                      </a:lnTo>
                      <a:lnTo>
                        <a:pt x="2947441" y="579501"/>
                      </a:lnTo>
                      <a:lnTo>
                        <a:pt x="2947860" y="583311"/>
                      </a:lnTo>
                      <a:lnTo>
                        <a:pt x="2949879" y="587121"/>
                      </a:lnTo>
                      <a:lnTo>
                        <a:pt x="2951061" y="587121"/>
                      </a:lnTo>
                      <a:lnTo>
                        <a:pt x="2950718" y="589661"/>
                      </a:lnTo>
                      <a:lnTo>
                        <a:pt x="2939199" y="589661"/>
                      </a:lnTo>
                      <a:lnTo>
                        <a:pt x="2937967" y="588391"/>
                      </a:lnTo>
                      <a:lnTo>
                        <a:pt x="2937675" y="588391"/>
                      </a:lnTo>
                      <a:lnTo>
                        <a:pt x="2936976" y="587121"/>
                      </a:lnTo>
                      <a:lnTo>
                        <a:pt x="2934500" y="584581"/>
                      </a:lnTo>
                      <a:lnTo>
                        <a:pt x="2933611" y="583311"/>
                      </a:lnTo>
                      <a:lnTo>
                        <a:pt x="2929623" y="583311"/>
                      </a:lnTo>
                      <a:lnTo>
                        <a:pt x="2928493" y="584581"/>
                      </a:lnTo>
                      <a:lnTo>
                        <a:pt x="2927680" y="585851"/>
                      </a:lnTo>
                      <a:lnTo>
                        <a:pt x="2927134" y="587121"/>
                      </a:lnTo>
                      <a:lnTo>
                        <a:pt x="2925495" y="589661"/>
                      </a:lnTo>
                      <a:lnTo>
                        <a:pt x="2923387" y="593471"/>
                      </a:lnTo>
                      <a:lnTo>
                        <a:pt x="2920606" y="596011"/>
                      </a:lnTo>
                      <a:lnTo>
                        <a:pt x="2918968" y="598551"/>
                      </a:lnTo>
                      <a:lnTo>
                        <a:pt x="2914332" y="598551"/>
                      </a:lnTo>
                      <a:lnTo>
                        <a:pt x="2912364" y="601091"/>
                      </a:lnTo>
                      <a:lnTo>
                        <a:pt x="2910509" y="602361"/>
                      </a:lnTo>
                      <a:lnTo>
                        <a:pt x="2896273" y="611251"/>
                      </a:lnTo>
                      <a:lnTo>
                        <a:pt x="2896044" y="611251"/>
                      </a:lnTo>
                      <a:lnTo>
                        <a:pt x="2895041" y="612521"/>
                      </a:lnTo>
                      <a:lnTo>
                        <a:pt x="2894622" y="613791"/>
                      </a:lnTo>
                      <a:lnTo>
                        <a:pt x="2896527" y="615061"/>
                      </a:lnTo>
                      <a:lnTo>
                        <a:pt x="2896743" y="613791"/>
                      </a:lnTo>
                      <a:lnTo>
                        <a:pt x="2897543" y="613791"/>
                      </a:lnTo>
                      <a:lnTo>
                        <a:pt x="2911792" y="603631"/>
                      </a:lnTo>
                      <a:lnTo>
                        <a:pt x="2914459" y="602361"/>
                      </a:lnTo>
                      <a:lnTo>
                        <a:pt x="2915221" y="601091"/>
                      </a:lnTo>
                      <a:lnTo>
                        <a:pt x="2918244" y="601091"/>
                      </a:lnTo>
                      <a:lnTo>
                        <a:pt x="2919158" y="599821"/>
                      </a:lnTo>
                      <a:lnTo>
                        <a:pt x="2920225" y="599821"/>
                      </a:lnTo>
                      <a:lnTo>
                        <a:pt x="2922193" y="597281"/>
                      </a:lnTo>
                      <a:lnTo>
                        <a:pt x="2922524" y="597281"/>
                      </a:lnTo>
                      <a:lnTo>
                        <a:pt x="2925038" y="594741"/>
                      </a:lnTo>
                      <a:lnTo>
                        <a:pt x="2927299" y="590931"/>
                      </a:lnTo>
                      <a:lnTo>
                        <a:pt x="2929445" y="587121"/>
                      </a:lnTo>
                      <a:lnTo>
                        <a:pt x="2930042" y="585851"/>
                      </a:lnTo>
                      <a:lnTo>
                        <a:pt x="2930677" y="585851"/>
                      </a:lnTo>
                      <a:lnTo>
                        <a:pt x="2930055" y="584581"/>
                      </a:lnTo>
                      <a:lnTo>
                        <a:pt x="2930906" y="585851"/>
                      </a:lnTo>
                      <a:lnTo>
                        <a:pt x="2933027" y="585851"/>
                      </a:lnTo>
                      <a:lnTo>
                        <a:pt x="2935478" y="589661"/>
                      </a:lnTo>
                      <a:lnTo>
                        <a:pt x="2936748" y="589661"/>
                      </a:lnTo>
                      <a:lnTo>
                        <a:pt x="2938500" y="590931"/>
                      </a:lnTo>
                      <a:lnTo>
                        <a:pt x="2944914" y="590931"/>
                      </a:lnTo>
                      <a:lnTo>
                        <a:pt x="2947759" y="592201"/>
                      </a:lnTo>
                      <a:lnTo>
                        <a:pt x="2950807" y="592201"/>
                      </a:lnTo>
                      <a:lnTo>
                        <a:pt x="2951442" y="590931"/>
                      </a:lnTo>
                      <a:lnTo>
                        <a:pt x="2952204" y="590931"/>
                      </a:lnTo>
                      <a:lnTo>
                        <a:pt x="2952712" y="589661"/>
                      </a:lnTo>
                      <a:lnTo>
                        <a:pt x="2952978" y="588391"/>
                      </a:lnTo>
                      <a:lnTo>
                        <a:pt x="2953397" y="587121"/>
                      </a:lnTo>
                      <a:lnTo>
                        <a:pt x="2951823" y="585851"/>
                      </a:lnTo>
                      <a:lnTo>
                        <a:pt x="2951594" y="585851"/>
                      </a:lnTo>
                      <a:lnTo>
                        <a:pt x="2950680" y="584581"/>
                      </a:lnTo>
                      <a:lnTo>
                        <a:pt x="2950146" y="583311"/>
                      </a:lnTo>
                      <a:lnTo>
                        <a:pt x="2949854" y="582041"/>
                      </a:lnTo>
                      <a:lnTo>
                        <a:pt x="2956242" y="580771"/>
                      </a:lnTo>
                      <a:lnTo>
                        <a:pt x="2961513" y="580771"/>
                      </a:lnTo>
                      <a:lnTo>
                        <a:pt x="2963659" y="579501"/>
                      </a:lnTo>
                      <a:lnTo>
                        <a:pt x="2966021" y="576961"/>
                      </a:lnTo>
                      <a:lnTo>
                        <a:pt x="2966237" y="575691"/>
                      </a:lnTo>
                      <a:lnTo>
                        <a:pt x="2966821" y="574421"/>
                      </a:lnTo>
                      <a:lnTo>
                        <a:pt x="2967736" y="574421"/>
                      </a:lnTo>
                      <a:lnTo>
                        <a:pt x="2969044" y="573151"/>
                      </a:lnTo>
                      <a:lnTo>
                        <a:pt x="2971825" y="573151"/>
                      </a:lnTo>
                      <a:lnTo>
                        <a:pt x="2973070" y="571881"/>
                      </a:lnTo>
                      <a:lnTo>
                        <a:pt x="2973362" y="571881"/>
                      </a:lnTo>
                      <a:lnTo>
                        <a:pt x="2974009" y="570611"/>
                      </a:lnTo>
                      <a:lnTo>
                        <a:pt x="2974200" y="569341"/>
                      </a:lnTo>
                      <a:lnTo>
                        <a:pt x="2974352" y="569341"/>
                      </a:lnTo>
                      <a:lnTo>
                        <a:pt x="2974771" y="565531"/>
                      </a:lnTo>
                      <a:lnTo>
                        <a:pt x="2975914" y="564261"/>
                      </a:lnTo>
                      <a:lnTo>
                        <a:pt x="2977756" y="564261"/>
                      </a:lnTo>
                      <a:lnTo>
                        <a:pt x="2978581" y="565531"/>
                      </a:lnTo>
                      <a:lnTo>
                        <a:pt x="2978950" y="565531"/>
                      </a:lnTo>
                      <a:lnTo>
                        <a:pt x="2979229" y="566801"/>
                      </a:lnTo>
                      <a:lnTo>
                        <a:pt x="2979369" y="568071"/>
                      </a:lnTo>
                      <a:lnTo>
                        <a:pt x="2979648" y="568071"/>
                      </a:lnTo>
                      <a:lnTo>
                        <a:pt x="2979445" y="569341"/>
                      </a:lnTo>
                      <a:lnTo>
                        <a:pt x="2979737" y="569341"/>
                      </a:lnTo>
                      <a:lnTo>
                        <a:pt x="2980499" y="570611"/>
                      </a:lnTo>
                      <a:lnTo>
                        <a:pt x="2983039" y="573151"/>
                      </a:lnTo>
                      <a:lnTo>
                        <a:pt x="2983801" y="573151"/>
                      </a:lnTo>
                      <a:lnTo>
                        <a:pt x="2985389" y="576961"/>
                      </a:lnTo>
                      <a:lnTo>
                        <a:pt x="2987243" y="575691"/>
                      </a:lnTo>
                      <a:lnTo>
                        <a:pt x="2985554" y="571881"/>
                      </a:lnTo>
                      <a:lnTo>
                        <a:pt x="2984779" y="571881"/>
                      </a:lnTo>
                      <a:lnTo>
                        <a:pt x="2983204" y="569341"/>
                      </a:lnTo>
                      <a:lnTo>
                        <a:pt x="2984195" y="569341"/>
                      </a:lnTo>
                      <a:lnTo>
                        <a:pt x="2984195" y="570611"/>
                      </a:lnTo>
                      <a:lnTo>
                        <a:pt x="2986316" y="570611"/>
                      </a:lnTo>
                      <a:lnTo>
                        <a:pt x="2986278" y="569341"/>
                      </a:lnTo>
                      <a:lnTo>
                        <a:pt x="2985655" y="568071"/>
                      </a:lnTo>
                      <a:lnTo>
                        <a:pt x="2984919" y="568071"/>
                      </a:lnTo>
                      <a:lnTo>
                        <a:pt x="2986443" y="566801"/>
                      </a:lnTo>
                      <a:lnTo>
                        <a:pt x="2992704" y="566801"/>
                      </a:lnTo>
                      <a:lnTo>
                        <a:pt x="2993580" y="565531"/>
                      </a:lnTo>
                      <a:lnTo>
                        <a:pt x="2994368" y="561721"/>
                      </a:lnTo>
                      <a:lnTo>
                        <a:pt x="2996133" y="556641"/>
                      </a:lnTo>
                      <a:lnTo>
                        <a:pt x="2995193" y="547751"/>
                      </a:lnTo>
                      <a:lnTo>
                        <a:pt x="2995333" y="540131"/>
                      </a:lnTo>
                      <a:lnTo>
                        <a:pt x="2993910" y="536321"/>
                      </a:lnTo>
                      <a:lnTo>
                        <a:pt x="2992082" y="531241"/>
                      </a:lnTo>
                      <a:lnTo>
                        <a:pt x="2997390" y="529971"/>
                      </a:lnTo>
                      <a:lnTo>
                        <a:pt x="2999143" y="528701"/>
                      </a:lnTo>
                      <a:lnTo>
                        <a:pt x="3000425" y="527431"/>
                      </a:lnTo>
                      <a:lnTo>
                        <a:pt x="3001505" y="526161"/>
                      </a:lnTo>
                      <a:lnTo>
                        <a:pt x="3002407" y="524891"/>
                      </a:lnTo>
                      <a:lnTo>
                        <a:pt x="3002610" y="524891"/>
                      </a:lnTo>
                      <a:lnTo>
                        <a:pt x="3002915" y="523621"/>
                      </a:lnTo>
                      <a:lnTo>
                        <a:pt x="3003321" y="523621"/>
                      </a:lnTo>
                      <a:lnTo>
                        <a:pt x="3005264" y="526161"/>
                      </a:lnTo>
                      <a:lnTo>
                        <a:pt x="3011614" y="526161"/>
                      </a:lnTo>
                      <a:lnTo>
                        <a:pt x="3014383" y="527431"/>
                      </a:lnTo>
                      <a:lnTo>
                        <a:pt x="3015932" y="528701"/>
                      </a:lnTo>
                      <a:lnTo>
                        <a:pt x="3018447" y="528701"/>
                      </a:lnTo>
                      <a:lnTo>
                        <a:pt x="3020568" y="527431"/>
                      </a:lnTo>
                      <a:lnTo>
                        <a:pt x="3022168" y="526161"/>
                      </a:lnTo>
                      <a:lnTo>
                        <a:pt x="3022244" y="524891"/>
                      </a:lnTo>
                      <a:lnTo>
                        <a:pt x="3022054" y="523621"/>
                      </a:lnTo>
                      <a:lnTo>
                        <a:pt x="3022066" y="522351"/>
                      </a:lnTo>
                      <a:lnTo>
                        <a:pt x="3022333" y="521081"/>
                      </a:lnTo>
                      <a:lnTo>
                        <a:pt x="3023298" y="521081"/>
                      </a:lnTo>
                      <a:lnTo>
                        <a:pt x="3025800" y="518541"/>
                      </a:lnTo>
                      <a:lnTo>
                        <a:pt x="3026740" y="517271"/>
                      </a:lnTo>
                      <a:lnTo>
                        <a:pt x="3027248" y="517271"/>
                      </a:lnTo>
                      <a:lnTo>
                        <a:pt x="3027413" y="516001"/>
                      </a:lnTo>
                      <a:lnTo>
                        <a:pt x="3027832" y="513461"/>
                      </a:lnTo>
                      <a:lnTo>
                        <a:pt x="3028823" y="512191"/>
                      </a:lnTo>
                      <a:lnTo>
                        <a:pt x="3032150" y="508381"/>
                      </a:lnTo>
                      <a:lnTo>
                        <a:pt x="3032455" y="507111"/>
                      </a:lnTo>
                      <a:lnTo>
                        <a:pt x="3033039" y="505841"/>
                      </a:lnTo>
                      <a:lnTo>
                        <a:pt x="3033191" y="503301"/>
                      </a:lnTo>
                      <a:lnTo>
                        <a:pt x="3033306" y="502031"/>
                      </a:lnTo>
                      <a:lnTo>
                        <a:pt x="3033522" y="500761"/>
                      </a:lnTo>
                      <a:lnTo>
                        <a:pt x="3033776" y="500761"/>
                      </a:lnTo>
                      <a:lnTo>
                        <a:pt x="3034652" y="499491"/>
                      </a:lnTo>
                      <a:lnTo>
                        <a:pt x="3035147" y="498221"/>
                      </a:lnTo>
                      <a:lnTo>
                        <a:pt x="3035363" y="496951"/>
                      </a:lnTo>
                      <a:lnTo>
                        <a:pt x="3036163" y="494411"/>
                      </a:lnTo>
                      <a:lnTo>
                        <a:pt x="3037192" y="490601"/>
                      </a:lnTo>
                      <a:lnTo>
                        <a:pt x="3037408" y="489331"/>
                      </a:lnTo>
                      <a:lnTo>
                        <a:pt x="3037713" y="489331"/>
                      </a:lnTo>
                      <a:lnTo>
                        <a:pt x="3037878" y="486791"/>
                      </a:lnTo>
                      <a:lnTo>
                        <a:pt x="3038170" y="486791"/>
                      </a:lnTo>
                      <a:lnTo>
                        <a:pt x="3038335" y="485521"/>
                      </a:lnTo>
                      <a:lnTo>
                        <a:pt x="3040278" y="485521"/>
                      </a:lnTo>
                      <a:lnTo>
                        <a:pt x="3045752" y="481711"/>
                      </a:lnTo>
                      <a:lnTo>
                        <a:pt x="3045752" y="479171"/>
                      </a:lnTo>
                      <a:lnTo>
                        <a:pt x="3045549" y="477901"/>
                      </a:lnTo>
                      <a:lnTo>
                        <a:pt x="3045142" y="477901"/>
                      </a:lnTo>
                      <a:lnTo>
                        <a:pt x="3043123" y="475361"/>
                      </a:lnTo>
                      <a:lnTo>
                        <a:pt x="3043009" y="474091"/>
                      </a:lnTo>
                      <a:lnTo>
                        <a:pt x="3042932" y="472821"/>
                      </a:lnTo>
                      <a:lnTo>
                        <a:pt x="3044926" y="470281"/>
                      </a:lnTo>
                      <a:lnTo>
                        <a:pt x="3046006" y="470281"/>
                      </a:lnTo>
                      <a:lnTo>
                        <a:pt x="3048571" y="467741"/>
                      </a:lnTo>
                      <a:lnTo>
                        <a:pt x="3051137" y="465201"/>
                      </a:lnTo>
                      <a:close/>
                    </a:path>
                    <a:path w="3135629" h="2095500">
                      <a:moveTo>
                        <a:pt x="3135274" y="1282001"/>
                      </a:moveTo>
                      <a:lnTo>
                        <a:pt x="3134995" y="1255674"/>
                      </a:lnTo>
                      <a:lnTo>
                        <a:pt x="3132861" y="1255674"/>
                      </a:lnTo>
                      <a:lnTo>
                        <a:pt x="3133153" y="1282001"/>
                      </a:lnTo>
                      <a:lnTo>
                        <a:pt x="3132721" y="1299311"/>
                      </a:lnTo>
                      <a:lnTo>
                        <a:pt x="3131477" y="1316443"/>
                      </a:lnTo>
                      <a:lnTo>
                        <a:pt x="3132442" y="1317739"/>
                      </a:lnTo>
                      <a:lnTo>
                        <a:pt x="3133013" y="1318082"/>
                      </a:lnTo>
                      <a:lnTo>
                        <a:pt x="3133077" y="1350632"/>
                      </a:lnTo>
                      <a:lnTo>
                        <a:pt x="3135185" y="1350556"/>
                      </a:lnTo>
                      <a:lnTo>
                        <a:pt x="3135160" y="1317612"/>
                      </a:lnTo>
                      <a:lnTo>
                        <a:pt x="3135058" y="1317104"/>
                      </a:lnTo>
                      <a:lnTo>
                        <a:pt x="3134614" y="1316659"/>
                      </a:lnTo>
                      <a:lnTo>
                        <a:pt x="3133623" y="1315961"/>
                      </a:lnTo>
                      <a:lnTo>
                        <a:pt x="3135160" y="1290472"/>
                      </a:lnTo>
                      <a:lnTo>
                        <a:pt x="3135274" y="128200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</p:grpSp>
          <p:sp>
            <p:nvSpPr>
              <p:cNvPr id="374" name="object 178">
                <a:extLst>
                  <a:ext uri="{FF2B5EF4-FFF2-40B4-BE49-F238E27FC236}">
                    <a16:creationId xmlns:a16="http://schemas.microsoft.com/office/drawing/2014/main" id="{D2C196E8-26EA-01FC-07A5-331B381102BA}"/>
                  </a:ext>
                </a:extLst>
              </p:cNvPr>
              <p:cNvSpPr/>
              <p:nvPr/>
            </p:nvSpPr>
            <p:spPr>
              <a:xfrm>
                <a:off x="8255273" y="3187551"/>
                <a:ext cx="40005" cy="35560"/>
              </a:xfrm>
              <a:custGeom>
                <a:avLst/>
                <a:gdLst/>
                <a:ahLst/>
                <a:cxnLst/>
                <a:rect l="l" t="t" r="r" b="b"/>
                <a:pathLst>
                  <a:path w="40005" h="35560">
                    <a:moveTo>
                      <a:pt x="6756" y="4102"/>
                    </a:moveTo>
                    <a:lnTo>
                      <a:pt x="5308" y="4178"/>
                    </a:lnTo>
                    <a:lnTo>
                      <a:pt x="3378" y="5524"/>
                    </a:lnTo>
                    <a:lnTo>
                      <a:pt x="5956" y="6146"/>
                    </a:lnTo>
                    <a:lnTo>
                      <a:pt x="6248" y="5473"/>
                    </a:lnTo>
                    <a:lnTo>
                      <a:pt x="6591" y="4826"/>
                    </a:lnTo>
                    <a:lnTo>
                      <a:pt x="6756" y="4102"/>
                    </a:lnTo>
                    <a:close/>
                  </a:path>
                  <a:path w="40005" h="35560">
                    <a:moveTo>
                      <a:pt x="7899" y="787"/>
                    </a:moveTo>
                    <a:lnTo>
                      <a:pt x="4622" y="127"/>
                    </a:lnTo>
                    <a:lnTo>
                      <a:pt x="4025" y="0"/>
                    </a:lnTo>
                    <a:lnTo>
                      <a:pt x="3352" y="419"/>
                    </a:lnTo>
                    <a:lnTo>
                      <a:pt x="2806" y="622"/>
                    </a:lnTo>
                    <a:lnTo>
                      <a:pt x="0" y="1727"/>
                    </a:lnTo>
                    <a:lnTo>
                      <a:pt x="1409" y="1968"/>
                    </a:lnTo>
                    <a:lnTo>
                      <a:pt x="1854" y="4178"/>
                    </a:lnTo>
                    <a:lnTo>
                      <a:pt x="2794" y="3530"/>
                    </a:lnTo>
                    <a:lnTo>
                      <a:pt x="7899" y="787"/>
                    </a:lnTo>
                    <a:close/>
                  </a:path>
                  <a:path w="40005" h="35560">
                    <a:moveTo>
                      <a:pt x="14757" y="32753"/>
                    </a:moveTo>
                    <a:lnTo>
                      <a:pt x="14592" y="31648"/>
                    </a:lnTo>
                    <a:lnTo>
                      <a:pt x="12433" y="32588"/>
                    </a:lnTo>
                    <a:lnTo>
                      <a:pt x="12179" y="34036"/>
                    </a:lnTo>
                    <a:lnTo>
                      <a:pt x="14605" y="35026"/>
                    </a:lnTo>
                    <a:lnTo>
                      <a:pt x="14630" y="33896"/>
                    </a:lnTo>
                    <a:lnTo>
                      <a:pt x="14757" y="32753"/>
                    </a:lnTo>
                    <a:close/>
                  </a:path>
                  <a:path w="40005" h="35560">
                    <a:moveTo>
                      <a:pt x="19786" y="9029"/>
                    </a:moveTo>
                    <a:lnTo>
                      <a:pt x="19138" y="8470"/>
                    </a:lnTo>
                    <a:lnTo>
                      <a:pt x="17780" y="8204"/>
                    </a:lnTo>
                    <a:lnTo>
                      <a:pt x="12687" y="7645"/>
                    </a:lnTo>
                    <a:lnTo>
                      <a:pt x="14884" y="8178"/>
                    </a:lnTo>
                    <a:lnTo>
                      <a:pt x="15582" y="10515"/>
                    </a:lnTo>
                    <a:lnTo>
                      <a:pt x="16979" y="10045"/>
                    </a:lnTo>
                    <a:lnTo>
                      <a:pt x="18453" y="9677"/>
                    </a:lnTo>
                    <a:lnTo>
                      <a:pt x="19786" y="9029"/>
                    </a:lnTo>
                    <a:close/>
                  </a:path>
                  <a:path w="40005" h="35560">
                    <a:moveTo>
                      <a:pt x="28371" y="30695"/>
                    </a:moveTo>
                    <a:lnTo>
                      <a:pt x="26200" y="29286"/>
                    </a:lnTo>
                    <a:lnTo>
                      <a:pt x="23469" y="27609"/>
                    </a:lnTo>
                    <a:lnTo>
                      <a:pt x="23761" y="30226"/>
                    </a:lnTo>
                    <a:lnTo>
                      <a:pt x="22580" y="33401"/>
                    </a:lnTo>
                    <a:lnTo>
                      <a:pt x="26974" y="33782"/>
                    </a:lnTo>
                    <a:lnTo>
                      <a:pt x="28371" y="30695"/>
                    </a:lnTo>
                    <a:close/>
                  </a:path>
                  <a:path w="40005" h="35560">
                    <a:moveTo>
                      <a:pt x="32105" y="30568"/>
                    </a:moveTo>
                    <a:lnTo>
                      <a:pt x="31965" y="29552"/>
                    </a:lnTo>
                    <a:lnTo>
                      <a:pt x="31864" y="28536"/>
                    </a:lnTo>
                    <a:lnTo>
                      <a:pt x="31597" y="27546"/>
                    </a:lnTo>
                    <a:lnTo>
                      <a:pt x="30911" y="28384"/>
                    </a:lnTo>
                    <a:lnTo>
                      <a:pt x="30391" y="30137"/>
                    </a:lnTo>
                    <a:lnTo>
                      <a:pt x="32105" y="30568"/>
                    </a:lnTo>
                    <a:close/>
                  </a:path>
                  <a:path w="40005" h="35560">
                    <a:moveTo>
                      <a:pt x="35712" y="6375"/>
                    </a:moveTo>
                    <a:lnTo>
                      <a:pt x="35458" y="5143"/>
                    </a:lnTo>
                    <a:lnTo>
                      <a:pt x="34201" y="5499"/>
                    </a:lnTo>
                    <a:lnTo>
                      <a:pt x="34759" y="6375"/>
                    </a:lnTo>
                    <a:lnTo>
                      <a:pt x="34734" y="7378"/>
                    </a:lnTo>
                    <a:lnTo>
                      <a:pt x="35458" y="7442"/>
                    </a:lnTo>
                    <a:lnTo>
                      <a:pt x="35585" y="7886"/>
                    </a:lnTo>
                    <a:lnTo>
                      <a:pt x="35712" y="6375"/>
                    </a:lnTo>
                    <a:close/>
                  </a:path>
                  <a:path w="40005" h="35560">
                    <a:moveTo>
                      <a:pt x="39776" y="15468"/>
                    </a:moveTo>
                    <a:lnTo>
                      <a:pt x="38100" y="14427"/>
                    </a:lnTo>
                    <a:lnTo>
                      <a:pt x="37338" y="13957"/>
                    </a:lnTo>
                    <a:lnTo>
                      <a:pt x="36017" y="14147"/>
                    </a:lnTo>
                    <a:lnTo>
                      <a:pt x="35636" y="14528"/>
                    </a:lnTo>
                    <a:lnTo>
                      <a:pt x="35077" y="16751"/>
                    </a:lnTo>
                    <a:lnTo>
                      <a:pt x="35331" y="17691"/>
                    </a:lnTo>
                    <a:lnTo>
                      <a:pt x="36347" y="17780"/>
                    </a:lnTo>
                    <a:lnTo>
                      <a:pt x="37350" y="17919"/>
                    </a:lnTo>
                    <a:lnTo>
                      <a:pt x="38417" y="16446"/>
                    </a:lnTo>
                    <a:lnTo>
                      <a:pt x="39776" y="15468"/>
                    </a:lnTo>
                    <a:close/>
                  </a:path>
                </a:pathLst>
              </a:custGeom>
              <a:solidFill>
                <a:srgbClr val="DADCDA"/>
              </a:solidFill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375" name="object 179">
                <a:extLst>
                  <a:ext uri="{FF2B5EF4-FFF2-40B4-BE49-F238E27FC236}">
                    <a16:creationId xmlns:a16="http://schemas.microsoft.com/office/drawing/2014/main" id="{23513BC2-C478-97DE-BD73-661CFA938C26}"/>
                  </a:ext>
                </a:extLst>
              </p:cNvPr>
              <p:cNvSpPr/>
              <p:nvPr/>
            </p:nvSpPr>
            <p:spPr>
              <a:xfrm>
                <a:off x="7307078" y="3430476"/>
                <a:ext cx="34925" cy="25400"/>
              </a:xfrm>
              <a:custGeom>
                <a:avLst/>
                <a:gdLst/>
                <a:ahLst/>
                <a:cxnLst/>
                <a:rect l="l" t="t" r="r" b="b"/>
                <a:pathLst>
                  <a:path w="34925" h="25400">
                    <a:moveTo>
                      <a:pt x="4102" y="12268"/>
                    </a:moveTo>
                    <a:lnTo>
                      <a:pt x="3886" y="10845"/>
                    </a:lnTo>
                    <a:lnTo>
                      <a:pt x="3556" y="8750"/>
                    </a:lnTo>
                    <a:lnTo>
                      <a:pt x="1562" y="9715"/>
                    </a:lnTo>
                    <a:lnTo>
                      <a:pt x="0" y="9918"/>
                    </a:lnTo>
                    <a:lnTo>
                      <a:pt x="457" y="10871"/>
                    </a:lnTo>
                    <a:lnTo>
                      <a:pt x="1054" y="11734"/>
                    </a:lnTo>
                    <a:lnTo>
                      <a:pt x="1625" y="12623"/>
                    </a:lnTo>
                    <a:lnTo>
                      <a:pt x="3111" y="12966"/>
                    </a:lnTo>
                    <a:lnTo>
                      <a:pt x="4102" y="12268"/>
                    </a:lnTo>
                    <a:close/>
                  </a:path>
                  <a:path w="34925" h="25400">
                    <a:moveTo>
                      <a:pt x="12395" y="16256"/>
                    </a:moveTo>
                    <a:lnTo>
                      <a:pt x="11633" y="15748"/>
                    </a:lnTo>
                    <a:lnTo>
                      <a:pt x="11277" y="14325"/>
                    </a:lnTo>
                    <a:lnTo>
                      <a:pt x="10553" y="14478"/>
                    </a:lnTo>
                    <a:lnTo>
                      <a:pt x="10210" y="13093"/>
                    </a:lnTo>
                    <a:lnTo>
                      <a:pt x="10261" y="12179"/>
                    </a:lnTo>
                    <a:lnTo>
                      <a:pt x="8978" y="10591"/>
                    </a:lnTo>
                    <a:lnTo>
                      <a:pt x="8216" y="10274"/>
                    </a:lnTo>
                    <a:lnTo>
                      <a:pt x="6680" y="8280"/>
                    </a:lnTo>
                    <a:lnTo>
                      <a:pt x="6654" y="3759"/>
                    </a:lnTo>
                    <a:lnTo>
                      <a:pt x="3784" y="3200"/>
                    </a:lnTo>
                    <a:lnTo>
                      <a:pt x="2501" y="4419"/>
                    </a:lnTo>
                    <a:lnTo>
                      <a:pt x="1993" y="4826"/>
                    </a:lnTo>
                    <a:lnTo>
                      <a:pt x="914" y="5461"/>
                    </a:lnTo>
                    <a:lnTo>
                      <a:pt x="965" y="6769"/>
                    </a:lnTo>
                    <a:lnTo>
                      <a:pt x="2476" y="5486"/>
                    </a:lnTo>
                    <a:lnTo>
                      <a:pt x="3759" y="6299"/>
                    </a:lnTo>
                    <a:lnTo>
                      <a:pt x="3594" y="7467"/>
                    </a:lnTo>
                    <a:lnTo>
                      <a:pt x="4000" y="9525"/>
                    </a:lnTo>
                    <a:lnTo>
                      <a:pt x="4622" y="9842"/>
                    </a:lnTo>
                    <a:lnTo>
                      <a:pt x="6273" y="11976"/>
                    </a:lnTo>
                    <a:lnTo>
                      <a:pt x="8496" y="13792"/>
                    </a:lnTo>
                    <a:lnTo>
                      <a:pt x="6756" y="15798"/>
                    </a:lnTo>
                    <a:lnTo>
                      <a:pt x="4864" y="15278"/>
                    </a:lnTo>
                    <a:lnTo>
                      <a:pt x="101" y="19862"/>
                    </a:lnTo>
                    <a:lnTo>
                      <a:pt x="4419" y="19850"/>
                    </a:lnTo>
                    <a:lnTo>
                      <a:pt x="6934" y="20637"/>
                    </a:lnTo>
                    <a:lnTo>
                      <a:pt x="8750" y="19227"/>
                    </a:lnTo>
                    <a:lnTo>
                      <a:pt x="10782" y="17919"/>
                    </a:lnTo>
                    <a:lnTo>
                      <a:pt x="12395" y="16256"/>
                    </a:lnTo>
                    <a:close/>
                  </a:path>
                  <a:path w="34925" h="25400">
                    <a:moveTo>
                      <a:pt x="15849" y="9029"/>
                    </a:moveTo>
                    <a:lnTo>
                      <a:pt x="14719" y="8356"/>
                    </a:lnTo>
                    <a:lnTo>
                      <a:pt x="13639" y="8039"/>
                    </a:lnTo>
                    <a:lnTo>
                      <a:pt x="13017" y="7861"/>
                    </a:lnTo>
                    <a:lnTo>
                      <a:pt x="12573" y="7480"/>
                    </a:lnTo>
                    <a:lnTo>
                      <a:pt x="8458" y="9944"/>
                    </a:lnTo>
                    <a:lnTo>
                      <a:pt x="15417" y="10680"/>
                    </a:lnTo>
                    <a:lnTo>
                      <a:pt x="15849" y="9029"/>
                    </a:lnTo>
                    <a:close/>
                  </a:path>
                  <a:path w="34925" h="25400">
                    <a:moveTo>
                      <a:pt x="17805" y="812"/>
                    </a:moveTo>
                    <a:lnTo>
                      <a:pt x="17208" y="266"/>
                    </a:lnTo>
                    <a:lnTo>
                      <a:pt x="16497" y="0"/>
                    </a:lnTo>
                    <a:lnTo>
                      <a:pt x="15989" y="520"/>
                    </a:lnTo>
                    <a:lnTo>
                      <a:pt x="16560" y="685"/>
                    </a:lnTo>
                    <a:lnTo>
                      <a:pt x="17195" y="812"/>
                    </a:lnTo>
                    <a:lnTo>
                      <a:pt x="17805" y="812"/>
                    </a:lnTo>
                    <a:close/>
                  </a:path>
                  <a:path w="34925" h="25400">
                    <a:moveTo>
                      <a:pt x="18491" y="24498"/>
                    </a:moveTo>
                    <a:lnTo>
                      <a:pt x="17780" y="23266"/>
                    </a:lnTo>
                    <a:lnTo>
                      <a:pt x="17399" y="23774"/>
                    </a:lnTo>
                    <a:lnTo>
                      <a:pt x="17030" y="24295"/>
                    </a:lnTo>
                    <a:lnTo>
                      <a:pt x="16687" y="24828"/>
                    </a:lnTo>
                    <a:lnTo>
                      <a:pt x="17818" y="25336"/>
                    </a:lnTo>
                    <a:lnTo>
                      <a:pt x="18491" y="24498"/>
                    </a:lnTo>
                    <a:close/>
                  </a:path>
                  <a:path w="34925" h="25400">
                    <a:moveTo>
                      <a:pt x="22034" y="13258"/>
                    </a:moveTo>
                    <a:lnTo>
                      <a:pt x="20167" y="12331"/>
                    </a:lnTo>
                    <a:lnTo>
                      <a:pt x="17995" y="12827"/>
                    </a:lnTo>
                    <a:lnTo>
                      <a:pt x="14262" y="13677"/>
                    </a:lnTo>
                    <a:lnTo>
                      <a:pt x="16078" y="16891"/>
                    </a:lnTo>
                    <a:lnTo>
                      <a:pt x="20408" y="15748"/>
                    </a:lnTo>
                    <a:lnTo>
                      <a:pt x="22034" y="13258"/>
                    </a:lnTo>
                    <a:close/>
                  </a:path>
                  <a:path w="34925" h="25400">
                    <a:moveTo>
                      <a:pt x="34607" y="16027"/>
                    </a:moveTo>
                    <a:lnTo>
                      <a:pt x="34099" y="14960"/>
                    </a:lnTo>
                    <a:lnTo>
                      <a:pt x="27698" y="17297"/>
                    </a:lnTo>
                    <a:lnTo>
                      <a:pt x="30645" y="19177"/>
                    </a:lnTo>
                    <a:lnTo>
                      <a:pt x="31711" y="19151"/>
                    </a:lnTo>
                    <a:lnTo>
                      <a:pt x="33299" y="17653"/>
                    </a:lnTo>
                    <a:lnTo>
                      <a:pt x="33909" y="16637"/>
                    </a:lnTo>
                    <a:lnTo>
                      <a:pt x="34607" y="16027"/>
                    </a:lnTo>
                    <a:close/>
                  </a:path>
                </a:pathLst>
              </a:custGeom>
              <a:solidFill>
                <a:srgbClr val="DADCDA"/>
              </a:solidFill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376" name="object 180">
                <a:extLst>
                  <a:ext uri="{FF2B5EF4-FFF2-40B4-BE49-F238E27FC236}">
                    <a16:creationId xmlns:a16="http://schemas.microsoft.com/office/drawing/2014/main" id="{F71F0C3E-ED44-5F73-DDC1-D79E80262B29}"/>
                  </a:ext>
                </a:extLst>
              </p:cNvPr>
              <p:cNvSpPr/>
              <p:nvPr/>
            </p:nvSpPr>
            <p:spPr>
              <a:xfrm>
                <a:off x="7052527" y="3831968"/>
                <a:ext cx="3175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3175" h="3175">
                    <a:moveTo>
                      <a:pt x="0" y="0"/>
                    </a:moveTo>
                    <a:lnTo>
                      <a:pt x="330" y="3098"/>
                    </a:lnTo>
                    <a:lnTo>
                      <a:pt x="1206" y="2654"/>
                    </a:lnTo>
                    <a:lnTo>
                      <a:pt x="2095" y="2247"/>
                    </a:lnTo>
                    <a:lnTo>
                      <a:pt x="2908" y="1701"/>
                    </a:lnTo>
                    <a:lnTo>
                      <a:pt x="1333" y="147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ADCDA"/>
              </a:solidFill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377" name="object 181">
                <a:extLst>
                  <a:ext uri="{FF2B5EF4-FFF2-40B4-BE49-F238E27FC236}">
                    <a16:creationId xmlns:a16="http://schemas.microsoft.com/office/drawing/2014/main" id="{AAF97208-FFE6-DFA7-7951-4795AC2C9AB1}"/>
                  </a:ext>
                </a:extLst>
              </p:cNvPr>
              <p:cNvSpPr/>
              <p:nvPr/>
            </p:nvSpPr>
            <p:spPr>
              <a:xfrm>
                <a:off x="6737961" y="1842871"/>
                <a:ext cx="4445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4444" h="3175">
                    <a:moveTo>
                      <a:pt x="3886" y="0"/>
                    </a:moveTo>
                    <a:lnTo>
                      <a:pt x="2247" y="253"/>
                    </a:lnTo>
                    <a:lnTo>
                      <a:pt x="1816" y="1396"/>
                    </a:lnTo>
                    <a:lnTo>
                      <a:pt x="812" y="1943"/>
                    </a:lnTo>
                    <a:lnTo>
                      <a:pt x="0" y="2768"/>
                    </a:lnTo>
                    <a:lnTo>
                      <a:pt x="749" y="2616"/>
                    </a:lnTo>
                    <a:lnTo>
                      <a:pt x="3886" y="0"/>
                    </a:lnTo>
                    <a:close/>
                  </a:path>
                </a:pathLst>
              </a:custGeom>
              <a:solidFill>
                <a:srgbClr val="EB6E62"/>
              </a:solidFill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378" name="object 182">
                <a:extLst>
                  <a:ext uri="{FF2B5EF4-FFF2-40B4-BE49-F238E27FC236}">
                    <a16:creationId xmlns:a16="http://schemas.microsoft.com/office/drawing/2014/main" id="{6A20D5AF-9F72-06B0-4687-DABE3AE6ABA5}"/>
                  </a:ext>
                </a:extLst>
              </p:cNvPr>
              <p:cNvSpPr/>
              <p:nvPr/>
            </p:nvSpPr>
            <p:spPr>
              <a:xfrm>
                <a:off x="8170983" y="2839317"/>
                <a:ext cx="90170" cy="43815"/>
              </a:xfrm>
              <a:custGeom>
                <a:avLst/>
                <a:gdLst/>
                <a:ahLst/>
                <a:cxnLst/>
                <a:rect l="l" t="t" r="r" b="b"/>
                <a:pathLst>
                  <a:path w="90169" h="43814">
                    <a:moveTo>
                      <a:pt x="1282" y="889"/>
                    </a:moveTo>
                    <a:lnTo>
                      <a:pt x="990" y="0"/>
                    </a:lnTo>
                    <a:lnTo>
                      <a:pt x="0" y="800"/>
                    </a:lnTo>
                    <a:lnTo>
                      <a:pt x="304" y="1892"/>
                    </a:lnTo>
                    <a:lnTo>
                      <a:pt x="1181" y="2794"/>
                    </a:lnTo>
                    <a:lnTo>
                      <a:pt x="1168" y="1854"/>
                    </a:lnTo>
                    <a:lnTo>
                      <a:pt x="1282" y="889"/>
                    </a:lnTo>
                    <a:close/>
                  </a:path>
                  <a:path w="90169" h="43814">
                    <a:moveTo>
                      <a:pt x="46685" y="18503"/>
                    </a:moveTo>
                    <a:lnTo>
                      <a:pt x="45923" y="17576"/>
                    </a:lnTo>
                    <a:lnTo>
                      <a:pt x="43053" y="17018"/>
                    </a:lnTo>
                    <a:lnTo>
                      <a:pt x="41871" y="16281"/>
                    </a:lnTo>
                    <a:lnTo>
                      <a:pt x="39204" y="16662"/>
                    </a:lnTo>
                    <a:lnTo>
                      <a:pt x="38544" y="17462"/>
                    </a:lnTo>
                    <a:lnTo>
                      <a:pt x="41198" y="18554"/>
                    </a:lnTo>
                    <a:lnTo>
                      <a:pt x="42926" y="19265"/>
                    </a:lnTo>
                    <a:lnTo>
                      <a:pt x="44932" y="19100"/>
                    </a:lnTo>
                    <a:lnTo>
                      <a:pt x="46685" y="18503"/>
                    </a:lnTo>
                    <a:close/>
                  </a:path>
                  <a:path w="90169" h="43814">
                    <a:moveTo>
                      <a:pt x="60833" y="12814"/>
                    </a:moveTo>
                    <a:lnTo>
                      <a:pt x="59220" y="12217"/>
                    </a:lnTo>
                    <a:lnTo>
                      <a:pt x="58254" y="11861"/>
                    </a:lnTo>
                    <a:lnTo>
                      <a:pt x="56832" y="12179"/>
                    </a:lnTo>
                    <a:lnTo>
                      <a:pt x="54711" y="14033"/>
                    </a:lnTo>
                    <a:lnTo>
                      <a:pt x="59512" y="14897"/>
                    </a:lnTo>
                    <a:lnTo>
                      <a:pt x="60350" y="13068"/>
                    </a:lnTo>
                    <a:lnTo>
                      <a:pt x="60833" y="12814"/>
                    </a:lnTo>
                    <a:close/>
                  </a:path>
                  <a:path w="90169" h="43814">
                    <a:moveTo>
                      <a:pt x="88277" y="28943"/>
                    </a:moveTo>
                    <a:lnTo>
                      <a:pt x="88214" y="28232"/>
                    </a:lnTo>
                    <a:lnTo>
                      <a:pt x="88125" y="27152"/>
                    </a:lnTo>
                    <a:lnTo>
                      <a:pt x="85521" y="27787"/>
                    </a:lnTo>
                    <a:lnTo>
                      <a:pt x="83883" y="27914"/>
                    </a:lnTo>
                    <a:lnTo>
                      <a:pt x="82715" y="28448"/>
                    </a:lnTo>
                    <a:lnTo>
                      <a:pt x="80149" y="27927"/>
                    </a:lnTo>
                    <a:lnTo>
                      <a:pt x="79171" y="25946"/>
                    </a:lnTo>
                    <a:lnTo>
                      <a:pt x="77838" y="27990"/>
                    </a:lnTo>
                    <a:lnTo>
                      <a:pt x="79756" y="28816"/>
                    </a:lnTo>
                    <a:lnTo>
                      <a:pt x="82181" y="30429"/>
                    </a:lnTo>
                    <a:lnTo>
                      <a:pt x="85153" y="30060"/>
                    </a:lnTo>
                    <a:lnTo>
                      <a:pt x="88277" y="28943"/>
                    </a:lnTo>
                    <a:close/>
                  </a:path>
                  <a:path w="90169" h="43814">
                    <a:moveTo>
                      <a:pt x="88785" y="42621"/>
                    </a:moveTo>
                    <a:lnTo>
                      <a:pt x="88201" y="42316"/>
                    </a:lnTo>
                    <a:lnTo>
                      <a:pt x="87312" y="42214"/>
                    </a:lnTo>
                    <a:lnTo>
                      <a:pt x="87896" y="43205"/>
                    </a:lnTo>
                    <a:lnTo>
                      <a:pt x="88785" y="42621"/>
                    </a:lnTo>
                    <a:close/>
                  </a:path>
                  <a:path w="90169" h="43814">
                    <a:moveTo>
                      <a:pt x="89890" y="43065"/>
                    </a:moveTo>
                    <a:lnTo>
                      <a:pt x="88811" y="42608"/>
                    </a:lnTo>
                    <a:lnTo>
                      <a:pt x="89039" y="42748"/>
                    </a:lnTo>
                    <a:lnTo>
                      <a:pt x="89890" y="43065"/>
                    </a:lnTo>
                    <a:close/>
                  </a:path>
                </a:pathLst>
              </a:custGeom>
              <a:solidFill>
                <a:srgbClr val="DADCDA"/>
              </a:solidFill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379" name="object 183">
                <a:extLst>
                  <a:ext uri="{FF2B5EF4-FFF2-40B4-BE49-F238E27FC236}">
                    <a16:creationId xmlns:a16="http://schemas.microsoft.com/office/drawing/2014/main" id="{F9727D2B-E827-F05E-FF95-7BC186758E5D}"/>
                  </a:ext>
                </a:extLst>
              </p:cNvPr>
              <p:cNvSpPr/>
              <p:nvPr/>
            </p:nvSpPr>
            <p:spPr>
              <a:xfrm>
                <a:off x="11154302" y="3669338"/>
                <a:ext cx="56515" cy="45085"/>
              </a:xfrm>
              <a:custGeom>
                <a:avLst/>
                <a:gdLst/>
                <a:ahLst/>
                <a:cxnLst/>
                <a:rect l="l" t="t" r="r" b="b"/>
                <a:pathLst>
                  <a:path w="56514" h="45085">
                    <a:moveTo>
                      <a:pt x="2311" y="13271"/>
                    </a:moveTo>
                    <a:lnTo>
                      <a:pt x="1460" y="13258"/>
                    </a:lnTo>
                    <a:lnTo>
                      <a:pt x="1193" y="14033"/>
                    </a:lnTo>
                    <a:lnTo>
                      <a:pt x="1155" y="14935"/>
                    </a:lnTo>
                    <a:lnTo>
                      <a:pt x="1574" y="14401"/>
                    </a:lnTo>
                    <a:lnTo>
                      <a:pt x="1930" y="13843"/>
                    </a:lnTo>
                    <a:lnTo>
                      <a:pt x="2311" y="13271"/>
                    </a:lnTo>
                    <a:close/>
                  </a:path>
                  <a:path w="56514" h="45085">
                    <a:moveTo>
                      <a:pt x="6057" y="8521"/>
                    </a:moveTo>
                    <a:lnTo>
                      <a:pt x="5435" y="8928"/>
                    </a:lnTo>
                    <a:lnTo>
                      <a:pt x="5016" y="9575"/>
                    </a:lnTo>
                    <a:lnTo>
                      <a:pt x="4470" y="10134"/>
                    </a:lnTo>
                    <a:lnTo>
                      <a:pt x="5016" y="9601"/>
                    </a:lnTo>
                    <a:lnTo>
                      <a:pt x="5549" y="9055"/>
                    </a:lnTo>
                    <a:lnTo>
                      <a:pt x="6057" y="8521"/>
                    </a:lnTo>
                    <a:close/>
                  </a:path>
                  <a:path w="56514" h="45085">
                    <a:moveTo>
                      <a:pt x="7747" y="35979"/>
                    </a:moveTo>
                    <a:lnTo>
                      <a:pt x="7632" y="35534"/>
                    </a:lnTo>
                    <a:lnTo>
                      <a:pt x="7505" y="35077"/>
                    </a:lnTo>
                    <a:lnTo>
                      <a:pt x="7315" y="34671"/>
                    </a:lnTo>
                    <a:lnTo>
                      <a:pt x="7366" y="35090"/>
                    </a:lnTo>
                    <a:lnTo>
                      <a:pt x="7594" y="35547"/>
                    </a:lnTo>
                    <a:lnTo>
                      <a:pt x="7747" y="35979"/>
                    </a:lnTo>
                    <a:close/>
                  </a:path>
                  <a:path w="56514" h="45085">
                    <a:moveTo>
                      <a:pt x="20040" y="42456"/>
                    </a:moveTo>
                    <a:lnTo>
                      <a:pt x="19773" y="41173"/>
                    </a:lnTo>
                    <a:lnTo>
                      <a:pt x="15760" y="40855"/>
                    </a:lnTo>
                    <a:lnTo>
                      <a:pt x="13728" y="42849"/>
                    </a:lnTo>
                    <a:lnTo>
                      <a:pt x="12065" y="43713"/>
                    </a:lnTo>
                    <a:lnTo>
                      <a:pt x="12636" y="44069"/>
                    </a:lnTo>
                    <a:lnTo>
                      <a:pt x="13957" y="44411"/>
                    </a:lnTo>
                    <a:lnTo>
                      <a:pt x="16154" y="44602"/>
                    </a:lnTo>
                    <a:lnTo>
                      <a:pt x="14566" y="42697"/>
                    </a:lnTo>
                    <a:lnTo>
                      <a:pt x="16306" y="42341"/>
                    </a:lnTo>
                    <a:lnTo>
                      <a:pt x="17386" y="42113"/>
                    </a:lnTo>
                    <a:lnTo>
                      <a:pt x="17576" y="42697"/>
                    </a:lnTo>
                    <a:lnTo>
                      <a:pt x="20040" y="42456"/>
                    </a:lnTo>
                    <a:close/>
                  </a:path>
                  <a:path w="56514" h="45085">
                    <a:moveTo>
                      <a:pt x="22707" y="27228"/>
                    </a:moveTo>
                    <a:lnTo>
                      <a:pt x="21132" y="27571"/>
                    </a:lnTo>
                    <a:lnTo>
                      <a:pt x="21285" y="24879"/>
                    </a:lnTo>
                    <a:lnTo>
                      <a:pt x="21209" y="24066"/>
                    </a:lnTo>
                    <a:lnTo>
                      <a:pt x="20904" y="23380"/>
                    </a:lnTo>
                    <a:lnTo>
                      <a:pt x="20777" y="22783"/>
                    </a:lnTo>
                    <a:lnTo>
                      <a:pt x="21399" y="22453"/>
                    </a:lnTo>
                    <a:lnTo>
                      <a:pt x="21005" y="21526"/>
                    </a:lnTo>
                    <a:lnTo>
                      <a:pt x="20129" y="21323"/>
                    </a:lnTo>
                    <a:lnTo>
                      <a:pt x="18084" y="20066"/>
                    </a:lnTo>
                    <a:lnTo>
                      <a:pt x="16967" y="18224"/>
                    </a:lnTo>
                    <a:lnTo>
                      <a:pt x="15303" y="17018"/>
                    </a:lnTo>
                    <a:lnTo>
                      <a:pt x="14566" y="18249"/>
                    </a:lnTo>
                    <a:lnTo>
                      <a:pt x="10490" y="18110"/>
                    </a:lnTo>
                    <a:lnTo>
                      <a:pt x="9283" y="18300"/>
                    </a:lnTo>
                    <a:lnTo>
                      <a:pt x="6629" y="20015"/>
                    </a:lnTo>
                    <a:lnTo>
                      <a:pt x="0" y="23863"/>
                    </a:lnTo>
                    <a:lnTo>
                      <a:pt x="2501" y="27952"/>
                    </a:lnTo>
                    <a:lnTo>
                      <a:pt x="3162" y="28943"/>
                    </a:lnTo>
                    <a:lnTo>
                      <a:pt x="4051" y="29298"/>
                    </a:lnTo>
                    <a:lnTo>
                      <a:pt x="6324" y="29806"/>
                    </a:lnTo>
                    <a:lnTo>
                      <a:pt x="8293" y="30505"/>
                    </a:lnTo>
                    <a:lnTo>
                      <a:pt x="12801" y="30746"/>
                    </a:lnTo>
                    <a:lnTo>
                      <a:pt x="16814" y="29286"/>
                    </a:lnTo>
                    <a:lnTo>
                      <a:pt x="21285" y="28498"/>
                    </a:lnTo>
                    <a:lnTo>
                      <a:pt x="22631" y="28536"/>
                    </a:lnTo>
                    <a:lnTo>
                      <a:pt x="22707" y="27228"/>
                    </a:lnTo>
                    <a:close/>
                  </a:path>
                  <a:path w="56514" h="45085">
                    <a:moveTo>
                      <a:pt x="24218" y="21590"/>
                    </a:moveTo>
                    <a:lnTo>
                      <a:pt x="23202" y="21742"/>
                    </a:lnTo>
                    <a:lnTo>
                      <a:pt x="23177" y="22618"/>
                    </a:lnTo>
                    <a:lnTo>
                      <a:pt x="23672" y="23558"/>
                    </a:lnTo>
                    <a:lnTo>
                      <a:pt x="23977" y="22923"/>
                    </a:lnTo>
                    <a:lnTo>
                      <a:pt x="24218" y="22263"/>
                    </a:lnTo>
                    <a:lnTo>
                      <a:pt x="24218" y="21590"/>
                    </a:lnTo>
                    <a:close/>
                  </a:path>
                  <a:path w="56514" h="45085">
                    <a:moveTo>
                      <a:pt x="32626" y="26416"/>
                    </a:moveTo>
                    <a:lnTo>
                      <a:pt x="29159" y="24638"/>
                    </a:lnTo>
                    <a:lnTo>
                      <a:pt x="31813" y="28994"/>
                    </a:lnTo>
                    <a:lnTo>
                      <a:pt x="32626" y="26416"/>
                    </a:lnTo>
                    <a:close/>
                  </a:path>
                  <a:path w="56514" h="45085">
                    <a:moveTo>
                      <a:pt x="33502" y="16929"/>
                    </a:moveTo>
                    <a:lnTo>
                      <a:pt x="33235" y="16078"/>
                    </a:lnTo>
                    <a:lnTo>
                      <a:pt x="32842" y="16789"/>
                    </a:lnTo>
                    <a:lnTo>
                      <a:pt x="32664" y="17564"/>
                    </a:lnTo>
                    <a:lnTo>
                      <a:pt x="32423" y="18326"/>
                    </a:lnTo>
                    <a:lnTo>
                      <a:pt x="33121" y="17716"/>
                    </a:lnTo>
                    <a:lnTo>
                      <a:pt x="33502" y="16929"/>
                    </a:lnTo>
                    <a:close/>
                  </a:path>
                  <a:path w="56514" h="45085">
                    <a:moveTo>
                      <a:pt x="39446" y="9042"/>
                    </a:moveTo>
                    <a:lnTo>
                      <a:pt x="39331" y="8839"/>
                    </a:lnTo>
                    <a:lnTo>
                      <a:pt x="39446" y="9042"/>
                    </a:lnTo>
                    <a:close/>
                  </a:path>
                  <a:path w="56514" h="45085">
                    <a:moveTo>
                      <a:pt x="39674" y="7835"/>
                    </a:moveTo>
                    <a:lnTo>
                      <a:pt x="39281" y="6591"/>
                    </a:lnTo>
                    <a:lnTo>
                      <a:pt x="38862" y="5461"/>
                    </a:lnTo>
                    <a:lnTo>
                      <a:pt x="37515" y="6667"/>
                    </a:lnTo>
                    <a:lnTo>
                      <a:pt x="35661" y="9029"/>
                    </a:lnTo>
                    <a:lnTo>
                      <a:pt x="33883" y="8978"/>
                    </a:lnTo>
                    <a:lnTo>
                      <a:pt x="33769" y="7353"/>
                    </a:lnTo>
                    <a:lnTo>
                      <a:pt x="33743" y="6934"/>
                    </a:lnTo>
                    <a:lnTo>
                      <a:pt x="33693" y="6210"/>
                    </a:lnTo>
                    <a:lnTo>
                      <a:pt x="24599" y="6210"/>
                    </a:lnTo>
                    <a:lnTo>
                      <a:pt x="24434" y="6210"/>
                    </a:lnTo>
                    <a:lnTo>
                      <a:pt x="24091" y="6934"/>
                    </a:lnTo>
                    <a:lnTo>
                      <a:pt x="23444" y="6134"/>
                    </a:lnTo>
                    <a:lnTo>
                      <a:pt x="23571" y="6591"/>
                    </a:lnTo>
                    <a:lnTo>
                      <a:pt x="23634" y="7150"/>
                    </a:lnTo>
                    <a:lnTo>
                      <a:pt x="22517" y="7353"/>
                    </a:lnTo>
                    <a:lnTo>
                      <a:pt x="22352" y="7239"/>
                    </a:lnTo>
                    <a:lnTo>
                      <a:pt x="22212" y="7150"/>
                    </a:lnTo>
                    <a:lnTo>
                      <a:pt x="21005" y="7239"/>
                    </a:lnTo>
                    <a:lnTo>
                      <a:pt x="21043" y="6616"/>
                    </a:lnTo>
                    <a:lnTo>
                      <a:pt x="20116" y="7150"/>
                    </a:lnTo>
                    <a:lnTo>
                      <a:pt x="20002" y="8547"/>
                    </a:lnTo>
                    <a:lnTo>
                      <a:pt x="19545" y="8915"/>
                    </a:lnTo>
                    <a:lnTo>
                      <a:pt x="21475" y="9677"/>
                    </a:lnTo>
                    <a:lnTo>
                      <a:pt x="21323" y="10096"/>
                    </a:lnTo>
                    <a:lnTo>
                      <a:pt x="22631" y="11912"/>
                    </a:lnTo>
                    <a:lnTo>
                      <a:pt x="22288" y="12242"/>
                    </a:lnTo>
                    <a:lnTo>
                      <a:pt x="23710" y="12966"/>
                    </a:lnTo>
                    <a:lnTo>
                      <a:pt x="26327" y="11518"/>
                    </a:lnTo>
                    <a:lnTo>
                      <a:pt x="29768" y="10388"/>
                    </a:lnTo>
                    <a:lnTo>
                      <a:pt x="31927" y="9817"/>
                    </a:lnTo>
                    <a:lnTo>
                      <a:pt x="36055" y="9207"/>
                    </a:lnTo>
                    <a:lnTo>
                      <a:pt x="36309" y="9029"/>
                    </a:lnTo>
                    <a:lnTo>
                      <a:pt x="37668" y="8089"/>
                    </a:lnTo>
                    <a:lnTo>
                      <a:pt x="39204" y="8623"/>
                    </a:lnTo>
                    <a:lnTo>
                      <a:pt x="39331" y="8839"/>
                    </a:lnTo>
                    <a:lnTo>
                      <a:pt x="39674" y="9042"/>
                    </a:lnTo>
                    <a:lnTo>
                      <a:pt x="39674" y="8089"/>
                    </a:lnTo>
                    <a:lnTo>
                      <a:pt x="39674" y="7835"/>
                    </a:lnTo>
                    <a:close/>
                  </a:path>
                  <a:path w="56514" h="45085">
                    <a:moveTo>
                      <a:pt x="41249" y="0"/>
                    </a:moveTo>
                    <a:lnTo>
                      <a:pt x="40716" y="165"/>
                    </a:lnTo>
                    <a:lnTo>
                      <a:pt x="39357" y="1155"/>
                    </a:lnTo>
                    <a:lnTo>
                      <a:pt x="38747" y="1181"/>
                    </a:lnTo>
                    <a:lnTo>
                      <a:pt x="37858" y="622"/>
                    </a:lnTo>
                    <a:lnTo>
                      <a:pt x="37084" y="596"/>
                    </a:lnTo>
                    <a:lnTo>
                      <a:pt x="36220" y="1092"/>
                    </a:lnTo>
                    <a:lnTo>
                      <a:pt x="35902" y="1536"/>
                    </a:lnTo>
                    <a:lnTo>
                      <a:pt x="35623" y="1371"/>
                    </a:lnTo>
                    <a:lnTo>
                      <a:pt x="35318" y="1358"/>
                    </a:lnTo>
                    <a:lnTo>
                      <a:pt x="35001" y="1117"/>
                    </a:lnTo>
                    <a:lnTo>
                      <a:pt x="34886" y="1536"/>
                    </a:lnTo>
                    <a:lnTo>
                      <a:pt x="34772" y="1676"/>
                    </a:lnTo>
                    <a:lnTo>
                      <a:pt x="34048" y="1092"/>
                    </a:lnTo>
                    <a:lnTo>
                      <a:pt x="32575" y="2844"/>
                    </a:lnTo>
                    <a:lnTo>
                      <a:pt x="32270" y="3657"/>
                    </a:lnTo>
                    <a:lnTo>
                      <a:pt x="29603" y="3784"/>
                    </a:lnTo>
                    <a:lnTo>
                      <a:pt x="27749" y="4318"/>
                    </a:lnTo>
                    <a:lnTo>
                      <a:pt x="26365" y="4381"/>
                    </a:lnTo>
                    <a:lnTo>
                      <a:pt x="26174" y="4508"/>
                    </a:lnTo>
                    <a:lnTo>
                      <a:pt x="25514" y="4864"/>
                    </a:lnTo>
                    <a:lnTo>
                      <a:pt x="25514" y="5829"/>
                    </a:lnTo>
                    <a:lnTo>
                      <a:pt x="24688" y="6172"/>
                    </a:lnTo>
                    <a:lnTo>
                      <a:pt x="33693" y="6172"/>
                    </a:lnTo>
                    <a:lnTo>
                      <a:pt x="33655" y="5600"/>
                    </a:lnTo>
                    <a:lnTo>
                      <a:pt x="40246" y="2959"/>
                    </a:lnTo>
                    <a:lnTo>
                      <a:pt x="40678" y="1676"/>
                    </a:lnTo>
                    <a:lnTo>
                      <a:pt x="40728" y="1536"/>
                    </a:lnTo>
                    <a:lnTo>
                      <a:pt x="40855" y="1181"/>
                    </a:lnTo>
                    <a:lnTo>
                      <a:pt x="41249" y="0"/>
                    </a:lnTo>
                    <a:close/>
                  </a:path>
                  <a:path w="56514" h="45085">
                    <a:moveTo>
                      <a:pt x="42570" y="4330"/>
                    </a:moveTo>
                    <a:lnTo>
                      <a:pt x="42532" y="4140"/>
                    </a:lnTo>
                    <a:lnTo>
                      <a:pt x="42456" y="3810"/>
                    </a:lnTo>
                    <a:lnTo>
                      <a:pt x="42570" y="4330"/>
                    </a:lnTo>
                    <a:close/>
                  </a:path>
                  <a:path w="56514" h="45085">
                    <a:moveTo>
                      <a:pt x="43878" y="9779"/>
                    </a:moveTo>
                    <a:lnTo>
                      <a:pt x="43726" y="9118"/>
                    </a:lnTo>
                    <a:lnTo>
                      <a:pt x="43484" y="8356"/>
                    </a:lnTo>
                    <a:lnTo>
                      <a:pt x="42379" y="8572"/>
                    </a:lnTo>
                    <a:lnTo>
                      <a:pt x="41833" y="8902"/>
                    </a:lnTo>
                    <a:lnTo>
                      <a:pt x="41465" y="9118"/>
                    </a:lnTo>
                    <a:lnTo>
                      <a:pt x="41338" y="9461"/>
                    </a:lnTo>
                    <a:lnTo>
                      <a:pt x="41249" y="9829"/>
                    </a:lnTo>
                    <a:lnTo>
                      <a:pt x="41249" y="9309"/>
                    </a:lnTo>
                    <a:lnTo>
                      <a:pt x="40182" y="10947"/>
                    </a:lnTo>
                    <a:lnTo>
                      <a:pt x="39636" y="11772"/>
                    </a:lnTo>
                    <a:lnTo>
                      <a:pt x="40093" y="11976"/>
                    </a:lnTo>
                    <a:lnTo>
                      <a:pt x="40792" y="12026"/>
                    </a:lnTo>
                    <a:lnTo>
                      <a:pt x="41249" y="11938"/>
                    </a:lnTo>
                    <a:lnTo>
                      <a:pt x="41643" y="11595"/>
                    </a:lnTo>
                    <a:lnTo>
                      <a:pt x="43878" y="9779"/>
                    </a:lnTo>
                    <a:close/>
                  </a:path>
                  <a:path w="56514" h="45085">
                    <a:moveTo>
                      <a:pt x="56108" y="16243"/>
                    </a:moveTo>
                    <a:lnTo>
                      <a:pt x="55943" y="15684"/>
                    </a:lnTo>
                    <a:lnTo>
                      <a:pt x="55676" y="15100"/>
                    </a:lnTo>
                    <a:lnTo>
                      <a:pt x="55257" y="14808"/>
                    </a:lnTo>
                    <a:lnTo>
                      <a:pt x="55524" y="15303"/>
                    </a:lnTo>
                    <a:lnTo>
                      <a:pt x="55803" y="15798"/>
                    </a:lnTo>
                    <a:lnTo>
                      <a:pt x="56108" y="16243"/>
                    </a:lnTo>
                    <a:close/>
                  </a:path>
                </a:pathLst>
              </a:custGeom>
              <a:solidFill>
                <a:srgbClr val="DADCDA"/>
              </a:solidFill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380" name="object 184">
                <a:extLst>
                  <a:ext uri="{FF2B5EF4-FFF2-40B4-BE49-F238E27FC236}">
                    <a16:creationId xmlns:a16="http://schemas.microsoft.com/office/drawing/2014/main" id="{9D8627DC-A95D-9B7B-95F7-2D711B03778D}"/>
                  </a:ext>
                </a:extLst>
              </p:cNvPr>
              <p:cNvSpPr/>
              <p:nvPr/>
            </p:nvSpPr>
            <p:spPr>
              <a:xfrm>
                <a:off x="11240015" y="4104618"/>
                <a:ext cx="10795" cy="11430"/>
              </a:xfrm>
              <a:custGeom>
                <a:avLst/>
                <a:gdLst/>
                <a:ahLst/>
                <a:cxnLst/>
                <a:rect l="l" t="t" r="r" b="b"/>
                <a:pathLst>
                  <a:path w="10795" h="11429">
                    <a:moveTo>
                      <a:pt x="9753" y="622"/>
                    </a:moveTo>
                    <a:lnTo>
                      <a:pt x="8318" y="660"/>
                    </a:lnTo>
                    <a:lnTo>
                      <a:pt x="5181" y="114"/>
                    </a:lnTo>
                    <a:lnTo>
                      <a:pt x="3390" y="0"/>
                    </a:lnTo>
                    <a:lnTo>
                      <a:pt x="3390" y="444"/>
                    </a:lnTo>
                    <a:lnTo>
                      <a:pt x="1003" y="1549"/>
                    </a:lnTo>
                    <a:lnTo>
                      <a:pt x="1422" y="317"/>
                    </a:lnTo>
                    <a:lnTo>
                      <a:pt x="0" y="2070"/>
                    </a:lnTo>
                    <a:lnTo>
                      <a:pt x="889" y="2120"/>
                    </a:lnTo>
                    <a:lnTo>
                      <a:pt x="1816" y="2108"/>
                    </a:lnTo>
                    <a:lnTo>
                      <a:pt x="2692" y="2006"/>
                    </a:lnTo>
                    <a:lnTo>
                      <a:pt x="2743" y="1854"/>
                    </a:lnTo>
                    <a:lnTo>
                      <a:pt x="3086" y="1485"/>
                    </a:lnTo>
                    <a:lnTo>
                      <a:pt x="3911" y="1892"/>
                    </a:lnTo>
                    <a:lnTo>
                      <a:pt x="4127" y="2082"/>
                    </a:lnTo>
                    <a:lnTo>
                      <a:pt x="4673" y="2933"/>
                    </a:lnTo>
                    <a:lnTo>
                      <a:pt x="4178" y="3733"/>
                    </a:lnTo>
                    <a:lnTo>
                      <a:pt x="3733" y="4889"/>
                    </a:lnTo>
                    <a:lnTo>
                      <a:pt x="3302" y="7543"/>
                    </a:lnTo>
                    <a:lnTo>
                      <a:pt x="4064" y="7454"/>
                    </a:lnTo>
                    <a:lnTo>
                      <a:pt x="5257" y="6959"/>
                    </a:lnTo>
                    <a:lnTo>
                      <a:pt x="6070" y="6604"/>
                    </a:lnTo>
                    <a:lnTo>
                      <a:pt x="7086" y="6070"/>
                    </a:lnTo>
                    <a:lnTo>
                      <a:pt x="8089" y="6070"/>
                    </a:lnTo>
                    <a:lnTo>
                      <a:pt x="7886" y="5829"/>
                    </a:lnTo>
                    <a:lnTo>
                      <a:pt x="5892" y="3924"/>
                    </a:lnTo>
                    <a:lnTo>
                      <a:pt x="4406" y="2324"/>
                    </a:lnTo>
                    <a:lnTo>
                      <a:pt x="6400" y="1841"/>
                    </a:lnTo>
                    <a:lnTo>
                      <a:pt x="5715" y="1778"/>
                    </a:lnTo>
                    <a:lnTo>
                      <a:pt x="5346" y="1612"/>
                    </a:lnTo>
                    <a:lnTo>
                      <a:pt x="5118" y="1435"/>
                    </a:lnTo>
                    <a:lnTo>
                      <a:pt x="5689" y="863"/>
                    </a:lnTo>
                    <a:lnTo>
                      <a:pt x="6083" y="800"/>
                    </a:lnTo>
                    <a:lnTo>
                      <a:pt x="6400" y="838"/>
                    </a:lnTo>
                    <a:lnTo>
                      <a:pt x="7518" y="965"/>
                    </a:lnTo>
                    <a:lnTo>
                      <a:pt x="9258" y="1765"/>
                    </a:lnTo>
                    <a:lnTo>
                      <a:pt x="9753" y="622"/>
                    </a:lnTo>
                    <a:close/>
                  </a:path>
                  <a:path w="10795" h="11429">
                    <a:moveTo>
                      <a:pt x="10515" y="8534"/>
                    </a:moveTo>
                    <a:lnTo>
                      <a:pt x="8902" y="9423"/>
                    </a:lnTo>
                    <a:lnTo>
                      <a:pt x="9131" y="9956"/>
                    </a:lnTo>
                    <a:lnTo>
                      <a:pt x="9245" y="10655"/>
                    </a:lnTo>
                    <a:lnTo>
                      <a:pt x="9207" y="11277"/>
                    </a:lnTo>
                    <a:lnTo>
                      <a:pt x="10375" y="10210"/>
                    </a:lnTo>
                    <a:lnTo>
                      <a:pt x="10515" y="8534"/>
                    </a:lnTo>
                    <a:close/>
                  </a:path>
                </a:pathLst>
              </a:custGeom>
              <a:solidFill>
                <a:srgbClr val="DADCDA"/>
              </a:solidFill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grpSp>
            <p:nvGrpSpPr>
              <p:cNvPr id="381" name="object 185">
                <a:extLst>
                  <a:ext uri="{FF2B5EF4-FFF2-40B4-BE49-F238E27FC236}">
                    <a16:creationId xmlns:a16="http://schemas.microsoft.com/office/drawing/2014/main" id="{23FCDB2A-6020-3DE3-640C-F978EDF2AA7C}"/>
                  </a:ext>
                </a:extLst>
              </p:cNvPr>
              <p:cNvGrpSpPr/>
              <p:nvPr/>
            </p:nvGrpSpPr>
            <p:grpSpPr>
              <a:xfrm>
                <a:off x="10991593" y="3948408"/>
                <a:ext cx="187325" cy="318770"/>
                <a:chOff x="5114420" y="3391611"/>
                <a:chExt cx="187325" cy="318770"/>
              </a:xfrm>
            </p:grpSpPr>
            <p:pic>
              <p:nvPicPr>
                <p:cNvPr id="483" name="object 186">
                  <a:extLst>
                    <a:ext uri="{FF2B5EF4-FFF2-40B4-BE49-F238E27FC236}">
                      <a16:creationId xmlns:a16="http://schemas.microsoft.com/office/drawing/2014/main" id="{9479EBDF-9040-15FF-9D41-C9AEE51740C2}"/>
                    </a:ext>
                  </a:extLst>
                </p:cNvPr>
                <p:cNvPicPr/>
                <p:nvPr/>
              </p:nvPicPr>
              <p:blipFill>
                <a:blip r:embed="rId34" cstate="print"/>
                <a:stretch>
                  <a:fillRect/>
                </a:stretch>
              </p:blipFill>
              <p:spPr>
                <a:xfrm>
                  <a:off x="5123675" y="3391611"/>
                  <a:ext cx="174388" cy="219614"/>
                </a:xfrm>
                <a:prstGeom prst="rect">
                  <a:avLst/>
                </a:prstGeom>
              </p:spPr>
            </p:pic>
            <p:sp>
              <p:nvSpPr>
                <p:cNvPr id="484" name="object 187">
                  <a:extLst>
                    <a:ext uri="{FF2B5EF4-FFF2-40B4-BE49-F238E27FC236}">
                      <a16:creationId xmlns:a16="http://schemas.microsoft.com/office/drawing/2014/main" id="{4D1EBC28-C6B2-A6BA-E709-260BF7419C96}"/>
                    </a:ext>
                  </a:extLst>
                </p:cNvPr>
                <p:cNvSpPr/>
                <p:nvPr/>
              </p:nvSpPr>
              <p:spPr>
                <a:xfrm>
                  <a:off x="5114417" y="3654679"/>
                  <a:ext cx="187325" cy="558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7325" h="55879">
                      <a:moveTo>
                        <a:pt x="7747" y="17411"/>
                      </a:moveTo>
                      <a:lnTo>
                        <a:pt x="6096" y="16002"/>
                      </a:lnTo>
                      <a:lnTo>
                        <a:pt x="4978" y="16535"/>
                      </a:lnTo>
                      <a:lnTo>
                        <a:pt x="4813" y="19824"/>
                      </a:lnTo>
                      <a:lnTo>
                        <a:pt x="4203" y="19558"/>
                      </a:lnTo>
                      <a:lnTo>
                        <a:pt x="0" y="23152"/>
                      </a:lnTo>
                      <a:lnTo>
                        <a:pt x="4584" y="21704"/>
                      </a:lnTo>
                      <a:lnTo>
                        <a:pt x="6629" y="22847"/>
                      </a:lnTo>
                      <a:lnTo>
                        <a:pt x="6629" y="21831"/>
                      </a:lnTo>
                      <a:lnTo>
                        <a:pt x="5778" y="21031"/>
                      </a:lnTo>
                      <a:lnTo>
                        <a:pt x="5702" y="19113"/>
                      </a:lnTo>
                      <a:lnTo>
                        <a:pt x="7124" y="18097"/>
                      </a:lnTo>
                      <a:lnTo>
                        <a:pt x="7747" y="17411"/>
                      </a:lnTo>
                      <a:close/>
                    </a:path>
                    <a:path w="187325" h="55879">
                      <a:moveTo>
                        <a:pt x="49504" y="53517"/>
                      </a:moveTo>
                      <a:lnTo>
                        <a:pt x="48425" y="53848"/>
                      </a:lnTo>
                      <a:lnTo>
                        <a:pt x="47739" y="54419"/>
                      </a:lnTo>
                      <a:lnTo>
                        <a:pt x="46621" y="54241"/>
                      </a:lnTo>
                      <a:lnTo>
                        <a:pt x="47891" y="55575"/>
                      </a:lnTo>
                      <a:lnTo>
                        <a:pt x="49199" y="55410"/>
                      </a:lnTo>
                      <a:lnTo>
                        <a:pt x="49504" y="53517"/>
                      </a:lnTo>
                      <a:close/>
                    </a:path>
                    <a:path w="187325" h="55879">
                      <a:moveTo>
                        <a:pt x="187274" y="596"/>
                      </a:moveTo>
                      <a:lnTo>
                        <a:pt x="185153" y="0"/>
                      </a:lnTo>
                      <a:lnTo>
                        <a:pt x="185381" y="2070"/>
                      </a:lnTo>
                      <a:lnTo>
                        <a:pt x="187274" y="596"/>
                      </a:lnTo>
                      <a:close/>
                    </a:path>
                  </a:pathLst>
                </a:custGeom>
                <a:solidFill>
                  <a:srgbClr val="DADCDA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</p:grpSp>
          <p:sp>
            <p:nvSpPr>
              <p:cNvPr id="382" name="object 188">
                <a:extLst>
                  <a:ext uri="{FF2B5EF4-FFF2-40B4-BE49-F238E27FC236}">
                    <a16:creationId xmlns:a16="http://schemas.microsoft.com/office/drawing/2014/main" id="{C3AC8DCC-4053-8B64-21E0-300539444C5C}"/>
                  </a:ext>
                </a:extLst>
              </p:cNvPr>
              <p:cNvSpPr/>
              <p:nvPr/>
            </p:nvSpPr>
            <p:spPr>
              <a:xfrm>
                <a:off x="9525611" y="3721385"/>
                <a:ext cx="2540" cy="1905"/>
              </a:xfrm>
              <a:custGeom>
                <a:avLst/>
                <a:gdLst/>
                <a:ahLst/>
                <a:cxnLst/>
                <a:rect l="l" t="t" r="r" b="b"/>
                <a:pathLst>
                  <a:path w="2539" h="1905">
                    <a:moveTo>
                      <a:pt x="2044" y="0"/>
                    </a:moveTo>
                    <a:lnTo>
                      <a:pt x="1308" y="304"/>
                    </a:lnTo>
                    <a:lnTo>
                      <a:pt x="622" y="558"/>
                    </a:lnTo>
                    <a:lnTo>
                      <a:pt x="0" y="1003"/>
                    </a:lnTo>
                    <a:lnTo>
                      <a:pt x="812" y="1524"/>
                    </a:lnTo>
                    <a:lnTo>
                      <a:pt x="1384" y="774"/>
                    </a:lnTo>
                    <a:lnTo>
                      <a:pt x="2044" y="0"/>
                    </a:lnTo>
                    <a:close/>
                  </a:path>
                </a:pathLst>
              </a:custGeom>
              <a:solidFill>
                <a:srgbClr val="DADCDA"/>
              </a:solidFill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383" name="object 189">
                <a:extLst>
                  <a:ext uri="{FF2B5EF4-FFF2-40B4-BE49-F238E27FC236}">
                    <a16:creationId xmlns:a16="http://schemas.microsoft.com/office/drawing/2014/main" id="{33A90F16-AB2B-1D03-FA2A-A514C8705BD9}"/>
                  </a:ext>
                </a:extLst>
              </p:cNvPr>
              <p:cNvSpPr/>
              <p:nvPr/>
            </p:nvSpPr>
            <p:spPr>
              <a:xfrm>
                <a:off x="10893625" y="4304344"/>
                <a:ext cx="1270" cy="3810"/>
              </a:xfrm>
              <a:custGeom>
                <a:avLst/>
                <a:gdLst/>
                <a:ahLst/>
                <a:cxnLst/>
                <a:rect l="l" t="t" r="r" b="b"/>
                <a:pathLst>
                  <a:path w="1270" h="3810">
                    <a:moveTo>
                      <a:pt x="800" y="0"/>
                    </a:moveTo>
                    <a:lnTo>
                      <a:pt x="254" y="1752"/>
                    </a:lnTo>
                    <a:lnTo>
                      <a:pt x="0" y="3485"/>
                    </a:lnTo>
                    <a:lnTo>
                      <a:pt x="610" y="1866"/>
                    </a:lnTo>
                    <a:lnTo>
                      <a:pt x="800" y="0"/>
                    </a:lnTo>
                    <a:close/>
                  </a:path>
                </a:pathLst>
              </a:custGeom>
              <a:solidFill>
                <a:srgbClr val="DADCDA"/>
              </a:solidFill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384" name="object 190">
                <a:extLst>
                  <a:ext uri="{FF2B5EF4-FFF2-40B4-BE49-F238E27FC236}">
                    <a16:creationId xmlns:a16="http://schemas.microsoft.com/office/drawing/2014/main" id="{FE0ACD51-BB35-BFE4-BC28-46B7C299E7EC}"/>
                  </a:ext>
                </a:extLst>
              </p:cNvPr>
              <p:cNvSpPr/>
              <p:nvPr/>
            </p:nvSpPr>
            <p:spPr>
              <a:xfrm>
                <a:off x="9262446" y="1871513"/>
                <a:ext cx="294005" cy="64769"/>
              </a:xfrm>
              <a:custGeom>
                <a:avLst/>
                <a:gdLst/>
                <a:ahLst/>
                <a:cxnLst/>
                <a:rect l="l" t="t" r="r" b="b"/>
                <a:pathLst>
                  <a:path w="294004" h="64769">
                    <a:moveTo>
                      <a:pt x="55397" y="41732"/>
                    </a:moveTo>
                    <a:lnTo>
                      <a:pt x="52362" y="38341"/>
                    </a:lnTo>
                    <a:lnTo>
                      <a:pt x="51854" y="36690"/>
                    </a:lnTo>
                    <a:lnTo>
                      <a:pt x="53086" y="37122"/>
                    </a:lnTo>
                    <a:lnTo>
                      <a:pt x="50660" y="34925"/>
                    </a:lnTo>
                    <a:lnTo>
                      <a:pt x="47612" y="34544"/>
                    </a:lnTo>
                    <a:lnTo>
                      <a:pt x="43065" y="34404"/>
                    </a:lnTo>
                    <a:lnTo>
                      <a:pt x="40208" y="33909"/>
                    </a:lnTo>
                    <a:lnTo>
                      <a:pt x="34239" y="33350"/>
                    </a:lnTo>
                    <a:lnTo>
                      <a:pt x="30797" y="34683"/>
                    </a:lnTo>
                    <a:lnTo>
                      <a:pt x="0" y="41033"/>
                    </a:lnTo>
                    <a:lnTo>
                      <a:pt x="1993" y="42278"/>
                    </a:lnTo>
                    <a:lnTo>
                      <a:pt x="4381" y="41960"/>
                    </a:lnTo>
                    <a:lnTo>
                      <a:pt x="7975" y="44272"/>
                    </a:lnTo>
                    <a:lnTo>
                      <a:pt x="7708" y="44907"/>
                    </a:lnTo>
                    <a:lnTo>
                      <a:pt x="9906" y="44272"/>
                    </a:lnTo>
                    <a:lnTo>
                      <a:pt x="18072" y="42379"/>
                    </a:lnTo>
                    <a:lnTo>
                      <a:pt x="14033" y="46786"/>
                    </a:lnTo>
                    <a:lnTo>
                      <a:pt x="17068" y="47561"/>
                    </a:lnTo>
                    <a:lnTo>
                      <a:pt x="20662" y="46977"/>
                    </a:lnTo>
                    <a:lnTo>
                      <a:pt x="23710" y="45834"/>
                    </a:lnTo>
                    <a:lnTo>
                      <a:pt x="24472" y="43561"/>
                    </a:lnTo>
                    <a:lnTo>
                      <a:pt x="27863" y="43535"/>
                    </a:lnTo>
                    <a:lnTo>
                      <a:pt x="28803" y="43662"/>
                    </a:lnTo>
                    <a:lnTo>
                      <a:pt x="30149" y="42964"/>
                    </a:lnTo>
                    <a:lnTo>
                      <a:pt x="30492" y="42113"/>
                    </a:lnTo>
                    <a:lnTo>
                      <a:pt x="32613" y="41097"/>
                    </a:lnTo>
                    <a:lnTo>
                      <a:pt x="33997" y="42926"/>
                    </a:lnTo>
                    <a:lnTo>
                      <a:pt x="35966" y="41960"/>
                    </a:lnTo>
                    <a:lnTo>
                      <a:pt x="35775" y="40741"/>
                    </a:lnTo>
                    <a:lnTo>
                      <a:pt x="36360" y="39814"/>
                    </a:lnTo>
                    <a:lnTo>
                      <a:pt x="36969" y="39814"/>
                    </a:lnTo>
                    <a:lnTo>
                      <a:pt x="37744" y="38608"/>
                    </a:lnTo>
                    <a:lnTo>
                      <a:pt x="37934" y="36982"/>
                    </a:lnTo>
                    <a:lnTo>
                      <a:pt x="41021" y="36169"/>
                    </a:lnTo>
                    <a:lnTo>
                      <a:pt x="41478" y="38582"/>
                    </a:lnTo>
                    <a:lnTo>
                      <a:pt x="43675" y="38392"/>
                    </a:lnTo>
                    <a:lnTo>
                      <a:pt x="44373" y="39801"/>
                    </a:lnTo>
                    <a:lnTo>
                      <a:pt x="45999" y="40601"/>
                    </a:lnTo>
                    <a:lnTo>
                      <a:pt x="47459" y="40373"/>
                    </a:lnTo>
                    <a:lnTo>
                      <a:pt x="50304" y="40576"/>
                    </a:lnTo>
                    <a:lnTo>
                      <a:pt x="51854" y="41363"/>
                    </a:lnTo>
                    <a:lnTo>
                      <a:pt x="55397" y="41732"/>
                    </a:lnTo>
                    <a:close/>
                  </a:path>
                  <a:path w="294004" h="64769">
                    <a:moveTo>
                      <a:pt x="97282" y="38277"/>
                    </a:moveTo>
                    <a:lnTo>
                      <a:pt x="95935" y="37274"/>
                    </a:lnTo>
                    <a:lnTo>
                      <a:pt x="93624" y="37503"/>
                    </a:lnTo>
                    <a:lnTo>
                      <a:pt x="91224" y="36360"/>
                    </a:lnTo>
                    <a:lnTo>
                      <a:pt x="90728" y="35712"/>
                    </a:lnTo>
                    <a:lnTo>
                      <a:pt x="88912" y="36309"/>
                    </a:lnTo>
                    <a:lnTo>
                      <a:pt x="88455" y="37833"/>
                    </a:lnTo>
                    <a:lnTo>
                      <a:pt x="86944" y="35140"/>
                    </a:lnTo>
                    <a:lnTo>
                      <a:pt x="86715" y="32435"/>
                    </a:lnTo>
                    <a:lnTo>
                      <a:pt x="83400" y="31153"/>
                    </a:lnTo>
                    <a:lnTo>
                      <a:pt x="82092" y="32842"/>
                    </a:lnTo>
                    <a:lnTo>
                      <a:pt x="78359" y="32486"/>
                    </a:lnTo>
                    <a:lnTo>
                      <a:pt x="77114" y="31038"/>
                    </a:lnTo>
                    <a:lnTo>
                      <a:pt x="73139" y="31445"/>
                    </a:lnTo>
                    <a:lnTo>
                      <a:pt x="68249" y="32639"/>
                    </a:lnTo>
                    <a:lnTo>
                      <a:pt x="67132" y="33896"/>
                    </a:lnTo>
                    <a:lnTo>
                      <a:pt x="63969" y="34531"/>
                    </a:lnTo>
                    <a:lnTo>
                      <a:pt x="57226" y="35509"/>
                    </a:lnTo>
                    <a:lnTo>
                      <a:pt x="57683" y="39103"/>
                    </a:lnTo>
                    <a:lnTo>
                      <a:pt x="60845" y="37477"/>
                    </a:lnTo>
                    <a:lnTo>
                      <a:pt x="61734" y="37706"/>
                    </a:lnTo>
                    <a:lnTo>
                      <a:pt x="61379" y="38023"/>
                    </a:lnTo>
                    <a:lnTo>
                      <a:pt x="61226" y="38557"/>
                    </a:lnTo>
                    <a:lnTo>
                      <a:pt x="60960" y="38874"/>
                    </a:lnTo>
                    <a:lnTo>
                      <a:pt x="62547" y="39065"/>
                    </a:lnTo>
                    <a:lnTo>
                      <a:pt x="64427" y="38138"/>
                    </a:lnTo>
                    <a:lnTo>
                      <a:pt x="67017" y="38696"/>
                    </a:lnTo>
                    <a:lnTo>
                      <a:pt x="68440" y="39801"/>
                    </a:lnTo>
                    <a:lnTo>
                      <a:pt x="66052" y="41122"/>
                    </a:lnTo>
                    <a:lnTo>
                      <a:pt x="64935" y="39941"/>
                    </a:lnTo>
                    <a:lnTo>
                      <a:pt x="63665" y="40982"/>
                    </a:lnTo>
                    <a:lnTo>
                      <a:pt x="63309" y="42037"/>
                    </a:lnTo>
                    <a:lnTo>
                      <a:pt x="62153" y="43091"/>
                    </a:lnTo>
                    <a:lnTo>
                      <a:pt x="61493" y="42672"/>
                    </a:lnTo>
                    <a:lnTo>
                      <a:pt x="60998" y="44843"/>
                    </a:lnTo>
                    <a:lnTo>
                      <a:pt x="59880" y="44602"/>
                    </a:lnTo>
                    <a:lnTo>
                      <a:pt x="57340" y="44665"/>
                    </a:lnTo>
                    <a:lnTo>
                      <a:pt x="55714" y="45085"/>
                    </a:lnTo>
                    <a:lnTo>
                      <a:pt x="55410" y="45491"/>
                    </a:lnTo>
                    <a:lnTo>
                      <a:pt x="52438" y="45427"/>
                    </a:lnTo>
                    <a:lnTo>
                      <a:pt x="50939" y="43751"/>
                    </a:lnTo>
                    <a:lnTo>
                      <a:pt x="48234" y="43053"/>
                    </a:lnTo>
                    <a:lnTo>
                      <a:pt x="47853" y="43726"/>
                    </a:lnTo>
                    <a:lnTo>
                      <a:pt x="47117" y="43929"/>
                    </a:lnTo>
                    <a:lnTo>
                      <a:pt x="45808" y="44234"/>
                    </a:lnTo>
                    <a:lnTo>
                      <a:pt x="42456" y="43700"/>
                    </a:lnTo>
                    <a:lnTo>
                      <a:pt x="36753" y="45529"/>
                    </a:lnTo>
                    <a:lnTo>
                      <a:pt x="35280" y="47002"/>
                    </a:lnTo>
                    <a:lnTo>
                      <a:pt x="38938" y="47510"/>
                    </a:lnTo>
                    <a:lnTo>
                      <a:pt x="43916" y="44297"/>
                    </a:lnTo>
                    <a:lnTo>
                      <a:pt x="46659" y="48018"/>
                    </a:lnTo>
                    <a:lnTo>
                      <a:pt x="45580" y="48196"/>
                    </a:lnTo>
                    <a:lnTo>
                      <a:pt x="38709" y="47904"/>
                    </a:lnTo>
                    <a:lnTo>
                      <a:pt x="38138" y="49771"/>
                    </a:lnTo>
                    <a:lnTo>
                      <a:pt x="45148" y="50279"/>
                    </a:lnTo>
                    <a:lnTo>
                      <a:pt x="45847" y="51003"/>
                    </a:lnTo>
                    <a:lnTo>
                      <a:pt x="44996" y="51168"/>
                    </a:lnTo>
                    <a:lnTo>
                      <a:pt x="44196" y="51168"/>
                    </a:lnTo>
                    <a:lnTo>
                      <a:pt x="43370" y="51371"/>
                    </a:lnTo>
                    <a:lnTo>
                      <a:pt x="43573" y="52590"/>
                    </a:lnTo>
                    <a:lnTo>
                      <a:pt x="34163" y="50901"/>
                    </a:lnTo>
                    <a:lnTo>
                      <a:pt x="30492" y="49530"/>
                    </a:lnTo>
                    <a:lnTo>
                      <a:pt x="29260" y="49618"/>
                    </a:lnTo>
                    <a:lnTo>
                      <a:pt x="24561" y="51943"/>
                    </a:lnTo>
                    <a:lnTo>
                      <a:pt x="23558" y="52260"/>
                    </a:lnTo>
                    <a:lnTo>
                      <a:pt x="27063" y="54038"/>
                    </a:lnTo>
                    <a:lnTo>
                      <a:pt x="27533" y="55676"/>
                    </a:lnTo>
                    <a:lnTo>
                      <a:pt x="30848" y="56426"/>
                    </a:lnTo>
                    <a:lnTo>
                      <a:pt x="31381" y="55905"/>
                    </a:lnTo>
                    <a:lnTo>
                      <a:pt x="36245" y="53949"/>
                    </a:lnTo>
                    <a:lnTo>
                      <a:pt x="41948" y="52730"/>
                    </a:lnTo>
                    <a:lnTo>
                      <a:pt x="44373" y="55511"/>
                    </a:lnTo>
                    <a:lnTo>
                      <a:pt x="43370" y="55816"/>
                    </a:lnTo>
                    <a:lnTo>
                      <a:pt x="42265" y="55638"/>
                    </a:lnTo>
                    <a:lnTo>
                      <a:pt x="39827" y="56400"/>
                    </a:lnTo>
                    <a:lnTo>
                      <a:pt x="39446" y="57264"/>
                    </a:lnTo>
                    <a:lnTo>
                      <a:pt x="38442" y="58559"/>
                    </a:lnTo>
                    <a:lnTo>
                      <a:pt x="53060" y="57340"/>
                    </a:lnTo>
                    <a:lnTo>
                      <a:pt x="56794" y="57785"/>
                    </a:lnTo>
                    <a:lnTo>
                      <a:pt x="60375" y="55257"/>
                    </a:lnTo>
                    <a:lnTo>
                      <a:pt x="58343" y="55486"/>
                    </a:lnTo>
                    <a:lnTo>
                      <a:pt x="58115" y="55029"/>
                    </a:lnTo>
                    <a:lnTo>
                      <a:pt x="58254" y="53873"/>
                    </a:lnTo>
                    <a:lnTo>
                      <a:pt x="56870" y="52679"/>
                    </a:lnTo>
                    <a:lnTo>
                      <a:pt x="55295" y="51917"/>
                    </a:lnTo>
                    <a:lnTo>
                      <a:pt x="55676" y="48526"/>
                    </a:lnTo>
                    <a:lnTo>
                      <a:pt x="60998" y="47866"/>
                    </a:lnTo>
                    <a:lnTo>
                      <a:pt x="97282" y="38277"/>
                    </a:lnTo>
                    <a:close/>
                  </a:path>
                  <a:path w="294004" h="64769">
                    <a:moveTo>
                      <a:pt x="127203" y="53771"/>
                    </a:moveTo>
                    <a:lnTo>
                      <a:pt x="125666" y="52006"/>
                    </a:lnTo>
                    <a:lnTo>
                      <a:pt x="122732" y="51358"/>
                    </a:lnTo>
                    <a:lnTo>
                      <a:pt x="119189" y="49606"/>
                    </a:lnTo>
                    <a:lnTo>
                      <a:pt x="120383" y="48729"/>
                    </a:lnTo>
                    <a:lnTo>
                      <a:pt x="114096" y="47231"/>
                    </a:lnTo>
                    <a:lnTo>
                      <a:pt x="108661" y="52463"/>
                    </a:lnTo>
                    <a:lnTo>
                      <a:pt x="105460" y="54622"/>
                    </a:lnTo>
                    <a:lnTo>
                      <a:pt x="107378" y="55384"/>
                    </a:lnTo>
                    <a:lnTo>
                      <a:pt x="109969" y="56134"/>
                    </a:lnTo>
                    <a:lnTo>
                      <a:pt x="114058" y="56083"/>
                    </a:lnTo>
                    <a:lnTo>
                      <a:pt x="116255" y="55727"/>
                    </a:lnTo>
                    <a:lnTo>
                      <a:pt x="118414" y="55829"/>
                    </a:lnTo>
                    <a:lnTo>
                      <a:pt x="119456" y="55880"/>
                    </a:lnTo>
                    <a:lnTo>
                      <a:pt x="120573" y="56349"/>
                    </a:lnTo>
                    <a:lnTo>
                      <a:pt x="122847" y="56070"/>
                    </a:lnTo>
                    <a:lnTo>
                      <a:pt x="122237" y="55270"/>
                    </a:lnTo>
                    <a:lnTo>
                      <a:pt x="124625" y="53416"/>
                    </a:lnTo>
                    <a:lnTo>
                      <a:pt x="125704" y="55384"/>
                    </a:lnTo>
                    <a:lnTo>
                      <a:pt x="127203" y="53771"/>
                    </a:lnTo>
                    <a:close/>
                  </a:path>
                  <a:path w="294004" h="64769">
                    <a:moveTo>
                      <a:pt x="157899" y="35496"/>
                    </a:moveTo>
                    <a:lnTo>
                      <a:pt x="129590" y="34467"/>
                    </a:lnTo>
                    <a:lnTo>
                      <a:pt x="132257" y="37134"/>
                    </a:lnTo>
                    <a:lnTo>
                      <a:pt x="134454" y="36017"/>
                    </a:lnTo>
                    <a:lnTo>
                      <a:pt x="137845" y="35991"/>
                    </a:lnTo>
                    <a:lnTo>
                      <a:pt x="139496" y="35979"/>
                    </a:lnTo>
                    <a:lnTo>
                      <a:pt x="139344" y="37274"/>
                    </a:lnTo>
                    <a:lnTo>
                      <a:pt x="141617" y="38303"/>
                    </a:lnTo>
                    <a:lnTo>
                      <a:pt x="148602" y="36690"/>
                    </a:lnTo>
                    <a:lnTo>
                      <a:pt x="153504" y="36804"/>
                    </a:lnTo>
                    <a:lnTo>
                      <a:pt x="157899" y="35496"/>
                    </a:lnTo>
                    <a:close/>
                  </a:path>
                  <a:path w="294004" h="64769">
                    <a:moveTo>
                      <a:pt x="166420" y="26517"/>
                    </a:moveTo>
                    <a:lnTo>
                      <a:pt x="159639" y="25184"/>
                    </a:lnTo>
                    <a:lnTo>
                      <a:pt x="162877" y="26492"/>
                    </a:lnTo>
                    <a:lnTo>
                      <a:pt x="166420" y="26517"/>
                    </a:lnTo>
                    <a:close/>
                  </a:path>
                  <a:path w="294004" h="64769">
                    <a:moveTo>
                      <a:pt x="166687" y="26581"/>
                    </a:moveTo>
                    <a:lnTo>
                      <a:pt x="166420" y="26517"/>
                    </a:lnTo>
                    <a:lnTo>
                      <a:pt x="166687" y="26581"/>
                    </a:lnTo>
                    <a:close/>
                  </a:path>
                  <a:path w="294004" h="64769">
                    <a:moveTo>
                      <a:pt x="171742" y="38925"/>
                    </a:moveTo>
                    <a:lnTo>
                      <a:pt x="150990" y="37909"/>
                    </a:lnTo>
                    <a:lnTo>
                      <a:pt x="151612" y="38112"/>
                    </a:lnTo>
                    <a:lnTo>
                      <a:pt x="152692" y="38176"/>
                    </a:lnTo>
                    <a:lnTo>
                      <a:pt x="153847" y="38989"/>
                    </a:lnTo>
                    <a:lnTo>
                      <a:pt x="153847" y="39662"/>
                    </a:lnTo>
                    <a:lnTo>
                      <a:pt x="155194" y="40855"/>
                    </a:lnTo>
                    <a:lnTo>
                      <a:pt x="155613" y="40855"/>
                    </a:lnTo>
                    <a:lnTo>
                      <a:pt x="158699" y="41135"/>
                    </a:lnTo>
                    <a:lnTo>
                      <a:pt x="160591" y="40157"/>
                    </a:lnTo>
                    <a:lnTo>
                      <a:pt x="162483" y="40513"/>
                    </a:lnTo>
                    <a:lnTo>
                      <a:pt x="163487" y="40703"/>
                    </a:lnTo>
                    <a:lnTo>
                      <a:pt x="163830" y="41109"/>
                    </a:lnTo>
                    <a:lnTo>
                      <a:pt x="165684" y="41160"/>
                    </a:lnTo>
                    <a:lnTo>
                      <a:pt x="166878" y="40957"/>
                    </a:lnTo>
                    <a:lnTo>
                      <a:pt x="168998" y="40728"/>
                    </a:lnTo>
                    <a:lnTo>
                      <a:pt x="171627" y="40589"/>
                    </a:lnTo>
                    <a:lnTo>
                      <a:pt x="171742" y="38925"/>
                    </a:lnTo>
                    <a:close/>
                  </a:path>
                  <a:path w="294004" h="64769">
                    <a:moveTo>
                      <a:pt x="175171" y="57886"/>
                    </a:moveTo>
                    <a:lnTo>
                      <a:pt x="174853" y="52692"/>
                    </a:lnTo>
                    <a:lnTo>
                      <a:pt x="173482" y="49974"/>
                    </a:lnTo>
                    <a:lnTo>
                      <a:pt x="171932" y="49834"/>
                    </a:lnTo>
                    <a:lnTo>
                      <a:pt x="163906" y="49631"/>
                    </a:lnTo>
                    <a:lnTo>
                      <a:pt x="158902" y="51981"/>
                    </a:lnTo>
                    <a:lnTo>
                      <a:pt x="157200" y="55257"/>
                    </a:lnTo>
                    <a:lnTo>
                      <a:pt x="155321" y="57619"/>
                    </a:lnTo>
                    <a:lnTo>
                      <a:pt x="158280" y="60490"/>
                    </a:lnTo>
                    <a:lnTo>
                      <a:pt x="161912" y="59105"/>
                    </a:lnTo>
                    <a:lnTo>
                      <a:pt x="165646" y="59385"/>
                    </a:lnTo>
                    <a:lnTo>
                      <a:pt x="168148" y="59575"/>
                    </a:lnTo>
                    <a:lnTo>
                      <a:pt x="171704" y="60363"/>
                    </a:lnTo>
                    <a:lnTo>
                      <a:pt x="175171" y="57886"/>
                    </a:lnTo>
                    <a:close/>
                  </a:path>
                  <a:path w="294004" h="64769">
                    <a:moveTo>
                      <a:pt x="184696" y="19177"/>
                    </a:moveTo>
                    <a:lnTo>
                      <a:pt x="179946" y="16573"/>
                    </a:lnTo>
                    <a:lnTo>
                      <a:pt x="174167" y="16751"/>
                    </a:lnTo>
                    <a:lnTo>
                      <a:pt x="168071" y="15494"/>
                    </a:lnTo>
                    <a:lnTo>
                      <a:pt x="165036" y="15113"/>
                    </a:lnTo>
                    <a:lnTo>
                      <a:pt x="162763" y="16954"/>
                    </a:lnTo>
                    <a:lnTo>
                      <a:pt x="165150" y="19253"/>
                    </a:lnTo>
                    <a:lnTo>
                      <a:pt x="166382" y="19608"/>
                    </a:lnTo>
                    <a:lnTo>
                      <a:pt x="163334" y="19456"/>
                    </a:lnTo>
                    <a:lnTo>
                      <a:pt x="160299" y="19011"/>
                    </a:lnTo>
                    <a:lnTo>
                      <a:pt x="156133" y="18580"/>
                    </a:lnTo>
                    <a:lnTo>
                      <a:pt x="152654" y="18580"/>
                    </a:lnTo>
                    <a:lnTo>
                      <a:pt x="152311" y="20281"/>
                    </a:lnTo>
                    <a:lnTo>
                      <a:pt x="151803" y="21259"/>
                    </a:lnTo>
                    <a:lnTo>
                      <a:pt x="154851" y="23380"/>
                    </a:lnTo>
                    <a:lnTo>
                      <a:pt x="157822" y="21501"/>
                    </a:lnTo>
                    <a:lnTo>
                      <a:pt x="160985" y="21196"/>
                    </a:lnTo>
                    <a:lnTo>
                      <a:pt x="161709" y="21120"/>
                    </a:lnTo>
                    <a:lnTo>
                      <a:pt x="162483" y="21107"/>
                    </a:lnTo>
                    <a:lnTo>
                      <a:pt x="163791" y="21666"/>
                    </a:lnTo>
                    <a:lnTo>
                      <a:pt x="163639" y="22479"/>
                    </a:lnTo>
                    <a:lnTo>
                      <a:pt x="165493" y="23545"/>
                    </a:lnTo>
                    <a:lnTo>
                      <a:pt x="166573" y="22669"/>
                    </a:lnTo>
                    <a:lnTo>
                      <a:pt x="170281" y="21056"/>
                    </a:lnTo>
                    <a:lnTo>
                      <a:pt x="172859" y="20320"/>
                    </a:lnTo>
                    <a:lnTo>
                      <a:pt x="178485" y="19431"/>
                    </a:lnTo>
                    <a:lnTo>
                      <a:pt x="181838" y="19900"/>
                    </a:lnTo>
                    <a:lnTo>
                      <a:pt x="184696" y="19177"/>
                    </a:lnTo>
                    <a:close/>
                  </a:path>
                  <a:path w="294004" h="64769">
                    <a:moveTo>
                      <a:pt x="190754" y="31356"/>
                    </a:moveTo>
                    <a:lnTo>
                      <a:pt x="183261" y="29870"/>
                    </a:lnTo>
                    <a:lnTo>
                      <a:pt x="166687" y="26581"/>
                    </a:lnTo>
                    <a:lnTo>
                      <a:pt x="170700" y="28448"/>
                    </a:lnTo>
                    <a:lnTo>
                      <a:pt x="171284" y="29756"/>
                    </a:lnTo>
                    <a:lnTo>
                      <a:pt x="173012" y="30149"/>
                    </a:lnTo>
                    <a:lnTo>
                      <a:pt x="175094" y="29870"/>
                    </a:lnTo>
                    <a:lnTo>
                      <a:pt x="177355" y="33515"/>
                    </a:lnTo>
                    <a:lnTo>
                      <a:pt x="175514" y="32791"/>
                    </a:lnTo>
                    <a:lnTo>
                      <a:pt x="168427" y="29908"/>
                    </a:lnTo>
                    <a:lnTo>
                      <a:pt x="157480" y="26974"/>
                    </a:lnTo>
                    <a:lnTo>
                      <a:pt x="153771" y="27482"/>
                    </a:lnTo>
                    <a:lnTo>
                      <a:pt x="135648" y="27838"/>
                    </a:lnTo>
                    <a:lnTo>
                      <a:pt x="137693" y="29286"/>
                    </a:lnTo>
                    <a:lnTo>
                      <a:pt x="138696" y="28371"/>
                    </a:lnTo>
                    <a:lnTo>
                      <a:pt x="140741" y="28676"/>
                    </a:lnTo>
                    <a:lnTo>
                      <a:pt x="142049" y="28867"/>
                    </a:lnTo>
                    <a:lnTo>
                      <a:pt x="142049" y="29705"/>
                    </a:lnTo>
                    <a:lnTo>
                      <a:pt x="144945" y="30937"/>
                    </a:lnTo>
                    <a:lnTo>
                      <a:pt x="147764" y="29146"/>
                    </a:lnTo>
                    <a:lnTo>
                      <a:pt x="150456" y="30746"/>
                    </a:lnTo>
                    <a:lnTo>
                      <a:pt x="150228" y="32270"/>
                    </a:lnTo>
                    <a:lnTo>
                      <a:pt x="154546" y="32613"/>
                    </a:lnTo>
                    <a:lnTo>
                      <a:pt x="155321" y="33566"/>
                    </a:lnTo>
                    <a:lnTo>
                      <a:pt x="159524" y="34302"/>
                    </a:lnTo>
                    <a:lnTo>
                      <a:pt x="161759" y="34429"/>
                    </a:lnTo>
                    <a:lnTo>
                      <a:pt x="166230" y="35064"/>
                    </a:lnTo>
                    <a:lnTo>
                      <a:pt x="167652" y="35382"/>
                    </a:lnTo>
                    <a:lnTo>
                      <a:pt x="170586" y="37147"/>
                    </a:lnTo>
                    <a:lnTo>
                      <a:pt x="172008" y="38696"/>
                    </a:lnTo>
                    <a:lnTo>
                      <a:pt x="175590" y="39306"/>
                    </a:lnTo>
                    <a:lnTo>
                      <a:pt x="181190" y="37642"/>
                    </a:lnTo>
                    <a:lnTo>
                      <a:pt x="182765" y="35610"/>
                    </a:lnTo>
                    <a:lnTo>
                      <a:pt x="181229" y="35026"/>
                    </a:lnTo>
                    <a:lnTo>
                      <a:pt x="186309" y="32639"/>
                    </a:lnTo>
                    <a:lnTo>
                      <a:pt x="190754" y="31356"/>
                    </a:lnTo>
                    <a:close/>
                  </a:path>
                  <a:path w="294004" h="64769">
                    <a:moveTo>
                      <a:pt x="194564" y="15087"/>
                    </a:moveTo>
                    <a:lnTo>
                      <a:pt x="193484" y="13690"/>
                    </a:lnTo>
                    <a:lnTo>
                      <a:pt x="190931" y="12941"/>
                    </a:lnTo>
                    <a:lnTo>
                      <a:pt x="188048" y="12230"/>
                    </a:lnTo>
                    <a:lnTo>
                      <a:pt x="186156" y="12661"/>
                    </a:lnTo>
                    <a:lnTo>
                      <a:pt x="184416" y="11760"/>
                    </a:lnTo>
                    <a:lnTo>
                      <a:pt x="184454" y="10337"/>
                    </a:lnTo>
                    <a:lnTo>
                      <a:pt x="183261" y="9347"/>
                    </a:lnTo>
                    <a:lnTo>
                      <a:pt x="181914" y="9677"/>
                    </a:lnTo>
                    <a:lnTo>
                      <a:pt x="178523" y="9982"/>
                    </a:lnTo>
                    <a:lnTo>
                      <a:pt x="176593" y="10998"/>
                    </a:lnTo>
                    <a:lnTo>
                      <a:pt x="172313" y="10845"/>
                    </a:lnTo>
                    <a:lnTo>
                      <a:pt x="170040" y="12255"/>
                    </a:lnTo>
                    <a:lnTo>
                      <a:pt x="168770" y="13474"/>
                    </a:lnTo>
                    <a:lnTo>
                      <a:pt x="187934" y="16268"/>
                    </a:lnTo>
                    <a:lnTo>
                      <a:pt x="190284" y="16179"/>
                    </a:lnTo>
                    <a:lnTo>
                      <a:pt x="192290" y="15494"/>
                    </a:lnTo>
                    <a:lnTo>
                      <a:pt x="194564" y="15087"/>
                    </a:lnTo>
                    <a:close/>
                  </a:path>
                  <a:path w="294004" h="64769">
                    <a:moveTo>
                      <a:pt x="204597" y="51104"/>
                    </a:moveTo>
                    <a:lnTo>
                      <a:pt x="202933" y="47942"/>
                    </a:lnTo>
                    <a:lnTo>
                      <a:pt x="197027" y="47472"/>
                    </a:lnTo>
                    <a:lnTo>
                      <a:pt x="190715" y="45986"/>
                    </a:lnTo>
                    <a:lnTo>
                      <a:pt x="187007" y="45529"/>
                    </a:lnTo>
                    <a:lnTo>
                      <a:pt x="182041" y="45618"/>
                    </a:lnTo>
                    <a:lnTo>
                      <a:pt x="180416" y="45821"/>
                    </a:lnTo>
                    <a:lnTo>
                      <a:pt x="177330" y="45707"/>
                    </a:lnTo>
                    <a:lnTo>
                      <a:pt x="175323" y="45377"/>
                    </a:lnTo>
                    <a:lnTo>
                      <a:pt x="172593" y="46469"/>
                    </a:lnTo>
                    <a:lnTo>
                      <a:pt x="172821" y="46901"/>
                    </a:lnTo>
                    <a:lnTo>
                      <a:pt x="173786" y="50203"/>
                    </a:lnTo>
                    <a:lnTo>
                      <a:pt x="174663" y="51727"/>
                    </a:lnTo>
                    <a:lnTo>
                      <a:pt x="176631" y="56680"/>
                    </a:lnTo>
                    <a:lnTo>
                      <a:pt x="178142" y="56896"/>
                    </a:lnTo>
                    <a:lnTo>
                      <a:pt x="181571" y="58166"/>
                    </a:lnTo>
                    <a:lnTo>
                      <a:pt x="185267" y="59232"/>
                    </a:lnTo>
                    <a:lnTo>
                      <a:pt x="188125" y="57505"/>
                    </a:lnTo>
                    <a:lnTo>
                      <a:pt x="186156" y="55638"/>
                    </a:lnTo>
                    <a:lnTo>
                      <a:pt x="190093" y="55892"/>
                    </a:lnTo>
                    <a:lnTo>
                      <a:pt x="195376" y="56857"/>
                    </a:lnTo>
                    <a:lnTo>
                      <a:pt x="192176" y="53606"/>
                    </a:lnTo>
                    <a:lnTo>
                      <a:pt x="189941" y="53009"/>
                    </a:lnTo>
                    <a:lnTo>
                      <a:pt x="191020" y="51587"/>
                    </a:lnTo>
                    <a:lnTo>
                      <a:pt x="193446" y="51473"/>
                    </a:lnTo>
                    <a:lnTo>
                      <a:pt x="194640" y="51396"/>
                    </a:lnTo>
                    <a:lnTo>
                      <a:pt x="195605" y="50634"/>
                    </a:lnTo>
                    <a:lnTo>
                      <a:pt x="199275" y="50863"/>
                    </a:lnTo>
                    <a:lnTo>
                      <a:pt x="201968" y="51358"/>
                    </a:lnTo>
                    <a:lnTo>
                      <a:pt x="204597" y="51104"/>
                    </a:lnTo>
                    <a:close/>
                  </a:path>
                  <a:path w="294004" h="64769">
                    <a:moveTo>
                      <a:pt x="206832" y="1257"/>
                    </a:moveTo>
                    <a:lnTo>
                      <a:pt x="202628" y="0"/>
                    </a:lnTo>
                    <a:lnTo>
                      <a:pt x="197269" y="12"/>
                    </a:lnTo>
                    <a:lnTo>
                      <a:pt x="191757" y="520"/>
                    </a:lnTo>
                    <a:lnTo>
                      <a:pt x="185889" y="495"/>
                    </a:lnTo>
                    <a:lnTo>
                      <a:pt x="187553" y="2171"/>
                    </a:lnTo>
                    <a:lnTo>
                      <a:pt x="185089" y="3594"/>
                    </a:lnTo>
                    <a:lnTo>
                      <a:pt x="184886" y="4394"/>
                    </a:lnTo>
                    <a:lnTo>
                      <a:pt x="187667" y="5283"/>
                    </a:lnTo>
                    <a:lnTo>
                      <a:pt x="191363" y="4902"/>
                    </a:lnTo>
                    <a:lnTo>
                      <a:pt x="194335" y="3759"/>
                    </a:lnTo>
                    <a:lnTo>
                      <a:pt x="201079" y="4089"/>
                    </a:lnTo>
                    <a:lnTo>
                      <a:pt x="205790" y="4584"/>
                    </a:lnTo>
                    <a:lnTo>
                      <a:pt x="206832" y="1257"/>
                    </a:lnTo>
                    <a:close/>
                  </a:path>
                  <a:path w="294004" h="64769">
                    <a:moveTo>
                      <a:pt x="215036" y="61061"/>
                    </a:moveTo>
                    <a:lnTo>
                      <a:pt x="212801" y="58978"/>
                    </a:lnTo>
                    <a:lnTo>
                      <a:pt x="206832" y="57658"/>
                    </a:lnTo>
                    <a:lnTo>
                      <a:pt x="200774" y="58610"/>
                    </a:lnTo>
                    <a:lnTo>
                      <a:pt x="197688" y="60871"/>
                    </a:lnTo>
                    <a:lnTo>
                      <a:pt x="200431" y="62357"/>
                    </a:lnTo>
                    <a:lnTo>
                      <a:pt x="203428" y="63385"/>
                    </a:lnTo>
                    <a:lnTo>
                      <a:pt x="206286" y="64579"/>
                    </a:lnTo>
                    <a:lnTo>
                      <a:pt x="208216" y="63436"/>
                    </a:lnTo>
                    <a:lnTo>
                      <a:pt x="210451" y="63842"/>
                    </a:lnTo>
                    <a:lnTo>
                      <a:pt x="212344" y="62687"/>
                    </a:lnTo>
                    <a:lnTo>
                      <a:pt x="215036" y="61061"/>
                    </a:lnTo>
                    <a:close/>
                  </a:path>
                  <a:path w="294004" h="64769">
                    <a:moveTo>
                      <a:pt x="239826" y="25158"/>
                    </a:moveTo>
                    <a:lnTo>
                      <a:pt x="216852" y="28397"/>
                    </a:lnTo>
                    <a:lnTo>
                      <a:pt x="220624" y="30937"/>
                    </a:lnTo>
                    <a:lnTo>
                      <a:pt x="225679" y="32181"/>
                    </a:lnTo>
                    <a:lnTo>
                      <a:pt x="230263" y="31381"/>
                    </a:lnTo>
                    <a:lnTo>
                      <a:pt x="232194" y="31051"/>
                    </a:lnTo>
                    <a:lnTo>
                      <a:pt x="233997" y="29946"/>
                    </a:lnTo>
                    <a:lnTo>
                      <a:pt x="236435" y="28638"/>
                    </a:lnTo>
                    <a:lnTo>
                      <a:pt x="238975" y="27152"/>
                    </a:lnTo>
                    <a:lnTo>
                      <a:pt x="238861" y="25882"/>
                    </a:lnTo>
                    <a:lnTo>
                      <a:pt x="239826" y="25158"/>
                    </a:lnTo>
                    <a:close/>
                  </a:path>
                  <a:path w="294004" h="64769">
                    <a:moveTo>
                      <a:pt x="246532" y="9855"/>
                    </a:moveTo>
                    <a:lnTo>
                      <a:pt x="245186" y="8585"/>
                    </a:lnTo>
                    <a:lnTo>
                      <a:pt x="242608" y="8470"/>
                    </a:lnTo>
                    <a:lnTo>
                      <a:pt x="240868" y="8013"/>
                    </a:lnTo>
                    <a:lnTo>
                      <a:pt x="240715" y="8242"/>
                    </a:lnTo>
                    <a:lnTo>
                      <a:pt x="240550" y="8458"/>
                    </a:lnTo>
                    <a:lnTo>
                      <a:pt x="240398" y="8686"/>
                    </a:lnTo>
                    <a:lnTo>
                      <a:pt x="242455" y="9867"/>
                    </a:lnTo>
                    <a:lnTo>
                      <a:pt x="244182" y="10706"/>
                    </a:lnTo>
                    <a:lnTo>
                      <a:pt x="246532" y="9855"/>
                    </a:lnTo>
                    <a:close/>
                  </a:path>
                  <a:path w="294004" h="64769">
                    <a:moveTo>
                      <a:pt x="248170" y="37465"/>
                    </a:moveTo>
                    <a:lnTo>
                      <a:pt x="246126" y="30467"/>
                    </a:lnTo>
                    <a:lnTo>
                      <a:pt x="237985" y="32473"/>
                    </a:lnTo>
                    <a:lnTo>
                      <a:pt x="221335" y="35331"/>
                    </a:lnTo>
                    <a:lnTo>
                      <a:pt x="215163" y="35166"/>
                    </a:lnTo>
                    <a:lnTo>
                      <a:pt x="215887" y="34620"/>
                    </a:lnTo>
                    <a:lnTo>
                      <a:pt x="217208" y="34505"/>
                    </a:lnTo>
                    <a:lnTo>
                      <a:pt x="217932" y="33959"/>
                    </a:lnTo>
                    <a:lnTo>
                      <a:pt x="215620" y="32969"/>
                    </a:lnTo>
                    <a:lnTo>
                      <a:pt x="211924" y="34277"/>
                    </a:lnTo>
                    <a:lnTo>
                      <a:pt x="205397" y="36969"/>
                    </a:lnTo>
                    <a:lnTo>
                      <a:pt x="205333" y="39827"/>
                    </a:lnTo>
                    <a:lnTo>
                      <a:pt x="205600" y="43967"/>
                    </a:lnTo>
                    <a:lnTo>
                      <a:pt x="206908" y="45389"/>
                    </a:lnTo>
                    <a:lnTo>
                      <a:pt x="209600" y="48018"/>
                    </a:lnTo>
                    <a:lnTo>
                      <a:pt x="213461" y="47485"/>
                    </a:lnTo>
                    <a:lnTo>
                      <a:pt x="216471" y="47510"/>
                    </a:lnTo>
                    <a:lnTo>
                      <a:pt x="219671" y="44678"/>
                    </a:lnTo>
                    <a:lnTo>
                      <a:pt x="222097" y="46774"/>
                    </a:lnTo>
                    <a:lnTo>
                      <a:pt x="225844" y="47802"/>
                    </a:lnTo>
                    <a:lnTo>
                      <a:pt x="229196" y="48895"/>
                    </a:lnTo>
                    <a:lnTo>
                      <a:pt x="232321" y="48031"/>
                    </a:lnTo>
                    <a:lnTo>
                      <a:pt x="236054" y="45402"/>
                    </a:lnTo>
                    <a:lnTo>
                      <a:pt x="236169" y="45072"/>
                    </a:lnTo>
                    <a:lnTo>
                      <a:pt x="238531" y="44488"/>
                    </a:lnTo>
                    <a:lnTo>
                      <a:pt x="238721" y="43256"/>
                    </a:lnTo>
                    <a:lnTo>
                      <a:pt x="241071" y="41643"/>
                    </a:lnTo>
                    <a:lnTo>
                      <a:pt x="243230" y="42430"/>
                    </a:lnTo>
                    <a:lnTo>
                      <a:pt x="245465" y="41224"/>
                    </a:lnTo>
                    <a:lnTo>
                      <a:pt x="248170" y="37465"/>
                    </a:lnTo>
                    <a:close/>
                  </a:path>
                  <a:path w="294004" h="64769">
                    <a:moveTo>
                      <a:pt x="269900" y="6464"/>
                    </a:moveTo>
                    <a:lnTo>
                      <a:pt x="246380" y="5308"/>
                    </a:lnTo>
                    <a:lnTo>
                      <a:pt x="248399" y="6388"/>
                    </a:lnTo>
                    <a:lnTo>
                      <a:pt x="250596" y="6629"/>
                    </a:lnTo>
                    <a:lnTo>
                      <a:pt x="254520" y="8178"/>
                    </a:lnTo>
                    <a:lnTo>
                      <a:pt x="256755" y="8255"/>
                    </a:lnTo>
                    <a:lnTo>
                      <a:pt x="258724" y="8521"/>
                    </a:lnTo>
                    <a:lnTo>
                      <a:pt x="268401" y="9829"/>
                    </a:lnTo>
                    <a:lnTo>
                      <a:pt x="269900" y="6464"/>
                    </a:lnTo>
                    <a:close/>
                  </a:path>
                  <a:path w="294004" h="64769">
                    <a:moveTo>
                      <a:pt x="293776" y="30149"/>
                    </a:moveTo>
                    <a:lnTo>
                      <a:pt x="292620" y="29768"/>
                    </a:lnTo>
                    <a:lnTo>
                      <a:pt x="291274" y="28067"/>
                    </a:lnTo>
                    <a:lnTo>
                      <a:pt x="291769" y="26924"/>
                    </a:lnTo>
                    <a:lnTo>
                      <a:pt x="291033" y="24511"/>
                    </a:lnTo>
                    <a:lnTo>
                      <a:pt x="286804" y="22555"/>
                    </a:lnTo>
                    <a:lnTo>
                      <a:pt x="283629" y="21856"/>
                    </a:lnTo>
                    <a:lnTo>
                      <a:pt x="277926" y="22301"/>
                    </a:lnTo>
                    <a:lnTo>
                      <a:pt x="276110" y="23406"/>
                    </a:lnTo>
                    <a:lnTo>
                      <a:pt x="275894" y="24168"/>
                    </a:lnTo>
                    <a:lnTo>
                      <a:pt x="274040" y="25755"/>
                    </a:lnTo>
                    <a:lnTo>
                      <a:pt x="274802" y="28816"/>
                    </a:lnTo>
                    <a:lnTo>
                      <a:pt x="272034" y="29603"/>
                    </a:lnTo>
                    <a:lnTo>
                      <a:pt x="270764" y="29425"/>
                    </a:lnTo>
                    <a:lnTo>
                      <a:pt x="265468" y="29057"/>
                    </a:lnTo>
                    <a:lnTo>
                      <a:pt x="261581" y="28943"/>
                    </a:lnTo>
                    <a:lnTo>
                      <a:pt x="258343" y="31076"/>
                    </a:lnTo>
                    <a:lnTo>
                      <a:pt x="257225" y="31813"/>
                    </a:lnTo>
                    <a:lnTo>
                      <a:pt x="253517" y="33185"/>
                    </a:lnTo>
                    <a:lnTo>
                      <a:pt x="250444" y="33794"/>
                    </a:lnTo>
                    <a:lnTo>
                      <a:pt x="254711" y="36550"/>
                    </a:lnTo>
                    <a:lnTo>
                      <a:pt x="261505" y="39687"/>
                    </a:lnTo>
                    <a:lnTo>
                      <a:pt x="263474" y="38785"/>
                    </a:lnTo>
                    <a:lnTo>
                      <a:pt x="293738" y="31242"/>
                    </a:lnTo>
                    <a:lnTo>
                      <a:pt x="293776" y="30149"/>
                    </a:lnTo>
                    <a:close/>
                  </a:path>
                </a:pathLst>
              </a:custGeom>
              <a:solidFill>
                <a:srgbClr val="DADCDA"/>
              </a:solidFill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385" name="object 191">
                <a:extLst>
                  <a:ext uri="{FF2B5EF4-FFF2-40B4-BE49-F238E27FC236}">
                    <a16:creationId xmlns:a16="http://schemas.microsoft.com/office/drawing/2014/main" id="{89EAA82D-3B0F-54C5-9704-CCF0451E4477}"/>
                  </a:ext>
                </a:extLst>
              </p:cNvPr>
              <p:cNvSpPr/>
              <p:nvPr/>
            </p:nvSpPr>
            <p:spPr>
              <a:xfrm>
                <a:off x="9747708" y="1900458"/>
                <a:ext cx="22225" cy="6985"/>
              </a:xfrm>
              <a:custGeom>
                <a:avLst/>
                <a:gdLst/>
                <a:ahLst/>
                <a:cxnLst/>
                <a:rect l="l" t="t" r="r" b="b"/>
                <a:pathLst>
                  <a:path w="22225" h="6984">
                    <a:moveTo>
                      <a:pt x="11176" y="0"/>
                    </a:moveTo>
                    <a:lnTo>
                      <a:pt x="8013" y="1308"/>
                    </a:lnTo>
                    <a:lnTo>
                      <a:pt x="5245" y="1206"/>
                    </a:lnTo>
                    <a:lnTo>
                      <a:pt x="3848" y="2616"/>
                    </a:lnTo>
                    <a:lnTo>
                      <a:pt x="0" y="5257"/>
                    </a:lnTo>
                    <a:lnTo>
                      <a:pt x="3467" y="5981"/>
                    </a:lnTo>
                    <a:lnTo>
                      <a:pt x="5511" y="6413"/>
                    </a:lnTo>
                    <a:lnTo>
                      <a:pt x="7670" y="6134"/>
                    </a:lnTo>
                    <a:lnTo>
                      <a:pt x="13690" y="5562"/>
                    </a:lnTo>
                    <a:lnTo>
                      <a:pt x="19926" y="6108"/>
                    </a:lnTo>
                    <a:lnTo>
                      <a:pt x="22174" y="1816"/>
                    </a:lnTo>
                    <a:lnTo>
                      <a:pt x="19354" y="1358"/>
                    </a:lnTo>
                    <a:lnTo>
                      <a:pt x="16573" y="1473"/>
                    </a:lnTo>
                    <a:lnTo>
                      <a:pt x="11176" y="0"/>
                    </a:lnTo>
                    <a:close/>
                  </a:path>
                </a:pathLst>
              </a:custGeom>
              <a:solidFill>
                <a:srgbClr val="DADCDA"/>
              </a:solidFill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386" name="object 192">
                <a:extLst>
                  <a:ext uri="{FF2B5EF4-FFF2-40B4-BE49-F238E27FC236}">
                    <a16:creationId xmlns:a16="http://schemas.microsoft.com/office/drawing/2014/main" id="{52C1349E-477E-328A-5692-946AD2B3EE70}"/>
                  </a:ext>
                </a:extLst>
              </p:cNvPr>
              <p:cNvSpPr/>
              <p:nvPr/>
            </p:nvSpPr>
            <p:spPr>
              <a:xfrm>
                <a:off x="9655824" y="3539836"/>
                <a:ext cx="1905" cy="3175"/>
              </a:xfrm>
              <a:custGeom>
                <a:avLst/>
                <a:gdLst/>
                <a:ahLst/>
                <a:cxnLst/>
                <a:rect l="l" t="t" r="r" b="b"/>
                <a:pathLst>
                  <a:path w="1904" h="3175">
                    <a:moveTo>
                      <a:pt x="228" y="0"/>
                    </a:moveTo>
                    <a:lnTo>
                      <a:pt x="76" y="952"/>
                    </a:lnTo>
                    <a:lnTo>
                      <a:pt x="0" y="2882"/>
                    </a:lnTo>
                    <a:lnTo>
                      <a:pt x="457" y="1739"/>
                    </a:lnTo>
                    <a:lnTo>
                      <a:pt x="1308" y="927"/>
                    </a:lnTo>
                    <a:lnTo>
                      <a:pt x="228" y="0"/>
                    </a:lnTo>
                    <a:close/>
                  </a:path>
                </a:pathLst>
              </a:custGeom>
              <a:solidFill>
                <a:srgbClr val="DADCDA"/>
              </a:solidFill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387" name="object 193">
                <a:extLst>
                  <a:ext uri="{FF2B5EF4-FFF2-40B4-BE49-F238E27FC236}">
                    <a16:creationId xmlns:a16="http://schemas.microsoft.com/office/drawing/2014/main" id="{58CF6A37-9D59-AAEB-4E97-15BA0FDE6F60}"/>
                  </a:ext>
                </a:extLst>
              </p:cNvPr>
              <p:cNvSpPr txBox="1"/>
              <p:nvPr/>
            </p:nvSpPr>
            <p:spPr>
              <a:xfrm>
                <a:off x="6224472" y="2952488"/>
                <a:ext cx="254000" cy="120546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b="1" spc="50" dirty="0">
                    <a:solidFill>
                      <a:srgbClr val="58595B"/>
                    </a:solidFill>
                    <a:cs typeface="Calibri"/>
                  </a:rPr>
                  <a:t>USA</a:t>
                </a:r>
                <a:endParaRPr sz="700" dirty="0">
                  <a:cs typeface="Calibri"/>
                </a:endParaRPr>
              </a:p>
            </p:txBody>
          </p:sp>
          <p:grpSp>
            <p:nvGrpSpPr>
              <p:cNvPr id="388" name="object 194">
                <a:extLst>
                  <a:ext uri="{FF2B5EF4-FFF2-40B4-BE49-F238E27FC236}">
                    <a16:creationId xmlns:a16="http://schemas.microsoft.com/office/drawing/2014/main" id="{B90FDCD5-1443-CC6D-512B-F2AEF47EC035}"/>
                  </a:ext>
                </a:extLst>
              </p:cNvPr>
              <p:cNvGrpSpPr/>
              <p:nvPr/>
            </p:nvGrpSpPr>
            <p:grpSpPr>
              <a:xfrm>
                <a:off x="6234422" y="1311987"/>
                <a:ext cx="4060825" cy="2625725"/>
                <a:chOff x="357249" y="755190"/>
                <a:chExt cx="4060825" cy="2625725"/>
              </a:xfrm>
            </p:grpSpPr>
            <p:sp>
              <p:nvSpPr>
                <p:cNvPr id="472" name="object 195">
                  <a:extLst>
                    <a:ext uri="{FF2B5EF4-FFF2-40B4-BE49-F238E27FC236}">
                      <a16:creationId xmlns:a16="http://schemas.microsoft.com/office/drawing/2014/main" id="{AFB2DD95-B683-9215-67FF-355522E1BE7F}"/>
                    </a:ext>
                  </a:extLst>
                </p:cNvPr>
                <p:cNvSpPr/>
                <p:nvPr/>
              </p:nvSpPr>
              <p:spPr>
                <a:xfrm>
                  <a:off x="402247" y="3374194"/>
                  <a:ext cx="125603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6030">
                      <a:moveTo>
                        <a:pt x="0" y="0"/>
                      </a:moveTo>
                      <a:lnTo>
                        <a:pt x="1256030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73" name="object 196">
                  <a:extLst>
                    <a:ext uri="{FF2B5EF4-FFF2-40B4-BE49-F238E27FC236}">
                      <a16:creationId xmlns:a16="http://schemas.microsoft.com/office/drawing/2014/main" id="{7619FB35-6A1E-07E4-066A-257936CBD34D}"/>
                    </a:ext>
                  </a:extLst>
                </p:cNvPr>
                <p:cNvSpPr/>
                <p:nvPr/>
              </p:nvSpPr>
              <p:spPr>
                <a:xfrm>
                  <a:off x="1677600" y="2857265"/>
                  <a:ext cx="0" cy="47879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478789">
                      <a:moveTo>
                        <a:pt x="0" y="478637"/>
                      </a:moveTo>
                      <a:lnTo>
                        <a:pt x="0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74" name="object 197">
                  <a:extLst>
                    <a:ext uri="{FF2B5EF4-FFF2-40B4-BE49-F238E27FC236}">
                      <a16:creationId xmlns:a16="http://schemas.microsoft.com/office/drawing/2014/main" id="{B77D0E0B-C49D-382A-15DC-A9AED92228E7}"/>
                    </a:ext>
                  </a:extLst>
                </p:cNvPr>
                <p:cNvSpPr/>
                <p:nvPr/>
              </p:nvSpPr>
              <p:spPr>
                <a:xfrm>
                  <a:off x="357238" y="2831769"/>
                  <a:ext cx="1327150" cy="549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7150" h="549275">
                      <a:moveTo>
                        <a:pt x="12700" y="542429"/>
                      </a:moveTo>
                      <a:lnTo>
                        <a:pt x="10845" y="537946"/>
                      </a:lnTo>
                      <a:lnTo>
                        <a:pt x="6350" y="536079"/>
                      </a:lnTo>
                      <a:lnTo>
                        <a:pt x="1866" y="537946"/>
                      </a:lnTo>
                      <a:lnTo>
                        <a:pt x="0" y="542429"/>
                      </a:lnTo>
                      <a:lnTo>
                        <a:pt x="1866" y="546925"/>
                      </a:lnTo>
                      <a:lnTo>
                        <a:pt x="6350" y="548779"/>
                      </a:lnTo>
                      <a:lnTo>
                        <a:pt x="10845" y="546925"/>
                      </a:lnTo>
                      <a:lnTo>
                        <a:pt x="12700" y="542429"/>
                      </a:lnTo>
                      <a:close/>
                    </a:path>
                    <a:path w="1327150" h="549275">
                      <a:moveTo>
                        <a:pt x="1326705" y="542429"/>
                      </a:moveTo>
                      <a:lnTo>
                        <a:pt x="1324851" y="537946"/>
                      </a:lnTo>
                      <a:lnTo>
                        <a:pt x="1320355" y="536079"/>
                      </a:lnTo>
                      <a:lnTo>
                        <a:pt x="1315872" y="537946"/>
                      </a:lnTo>
                      <a:lnTo>
                        <a:pt x="1314005" y="542429"/>
                      </a:lnTo>
                      <a:lnTo>
                        <a:pt x="1315872" y="546925"/>
                      </a:lnTo>
                      <a:lnTo>
                        <a:pt x="1320355" y="548779"/>
                      </a:lnTo>
                      <a:lnTo>
                        <a:pt x="1324851" y="546925"/>
                      </a:lnTo>
                      <a:lnTo>
                        <a:pt x="1326705" y="542429"/>
                      </a:lnTo>
                      <a:close/>
                    </a:path>
                    <a:path w="1327150" h="549275">
                      <a:moveTo>
                        <a:pt x="1326705" y="6350"/>
                      </a:moveTo>
                      <a:lnTo>
                        <a:pt x="1324851" y="1866"/>
                      </a:lnTo>
                      <a:lnTo>
                        <a:pt x="1320355" y="0"/>
                      </a:lnTo>
                      <a:lnTo>
                        <a:pt x="1315872" y="1866"/>
                      </a:lnTo>
                      <a:lnTo>
                        <a:pt x="1314005" y="6350"/>
                      </a:lnTo>
                      <a:lnTo>
                        <a:pt x="1315872" y="10845"/>
                      </a:lnTo>
                      <a:lnTo>
                        <a:pt x="1320355" y="12700"/>
                      </a:lnTo>
                      <a:lnTo>
                        <a:pt x="1324851" y="10845"/>
                      </a:lnTo>
                      <a:lnTo>
                        <a:pt x="1326705" y="6350"/>
                      </a:lnTo>
                      <a:close/>
                    </a:path>
                  </a:pathLst>
                </a:custGeom>
                <a:solidFill>
                  <a:srgbClr val="6D6E71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75" name="object 198">
                  <a:extLst>
                    <a:ext uri="{FF2B5EF4-FFF2-40B4-BE49-F238E27FC236}">
                      <a16:creationId xmlns:a16="http://schemas.microsoft.com/office/drawing/2014/main" id="{DF333134-F374-C48A-9901-C75A5DCC226A}"/>
                    </a:ext>
                  </a:extLst>
                </p:cNvPr>
                <p:cNvSpPr/>
                <p:nvPr/>
              </p:nvSpPr>
              <p:spPr>
                <a:xfrm>
                  <a:off x="2675450" y="806526"/>
                  <a:ext cx="0" cy="7537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753744">
                      <a:moveTo>
                        <a:pt x="0" y="0"/>
                      </a:moveTo>
                      <a:lnTo>
                        <a:pt x="0" y="753414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76" name="object 199">
                  <a:extLst>
                    <a:ext uri="{FF2B5EF4-FFF2-40B4-BE49-F238E27FC236}">
                      <a16:creationId xmlns:a16="http://schemas.microsoft.com/office/drawing/2014/main" id="{0CAF71F4-16A2-340F-10FE-0CA8027F2453}"/>
                    </a:ext>
                  </a:extLst>
                </p:cNvPr>
                <p:cNvSpPr/>
                <p:nvPr/>
              </p:nvSpPr>
              <p:spPr>
                <a:xfrm>
                  <a:off x="2712170" y="1579264"/>
                  <a:ext cx="31242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2419">
                      <a:moveTo>
                        <a:pt x="0" y="0"/>
                      </a:moveTo>
                      <a:lnTo>
                        <a:pt x="312115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77" name="object 200">
                  <a:extLst>
                    <a:ext uri="{FF2B5EF4-FFF2-40B4-BE49-F238E27FC236}">
                      <a16:creationId xmlns:a16="http://schemas.microsoft.com/office/drawing/2014/main" id="{70341C59-7B81-E026-997B-45B3BB29CEC4}"/>
                    </a:ext>
                  </a:extLst>
                </p:cNvPr>
                <p:cNvSpPr/>
                <p:nvPr/>
              </p:nvSpPr>
              <p:spPr>
                <a:xfrm>
                  <a:off x="3042650" y="1618043"/>
                  <a:ext cx="0" cy="5626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562610">
                      <a:moveTo>
                        <a:pt x="0" y="0"/>
                      </a:moveTo>
                      <a:lnTo>
                        <a:pt x="0" y="562305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78" name="object 201">
                  <a:extLst>
                    <a:ext uri="{FF2B5EF4-FFF2-40B4-BE49-F238E27FC236}">
                      <a16:creationId xmlns:a16="http://schemas.microsoft.com/office/drawing/2014/main" id="{2BBE14DF-B5D3-F17F-9365-9A594D4D5F7D}"/>
                    </a:ext>
                  </a:extLst>
                </p:cNvPr>
                <p:cNvSpPr/>
                <p:nvPr/>
              </p:nvSpPr>
              <p:spPr>
                <a:xfrm>
                  <a:off x="2669095" y="761542"/>
                  <a:ext cx="380365" cy="14446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0364" h="1444625">
                      <a:moveTo>
                        <a:pt x="12700" y="817727"/>
                      </a:moveTo>
                      <a:lnTo>
                        <a:pt x="10833" y="813244"/>
                      </a:lnTo>
                      <a:lnTo>
                        <a:pt x="6350" y="811377"/>
                      </a:lnTo>
                      <a:lnTo>
                        <a:pt x="1854" y="813244"/>
                      </a:lnTo>
                      <a:lnTo>
                        <a:pt x="0" y="817727"/>
                      </a:lnTo>
                      <a:lnTo>
                        <a:pt x="1854" y="822223"/>
                      </a:lnTo>
                      <a:lnTo>
                        <a:pt x="6350" y="824077"/>
                      </a:lnTo>
                      <a:lnTo>
                        <a:pt x="10833" y="822223"/>
                      </a:lnTo>
                      <a:lnTo>
                        <a:pt x="12700" y="817727"/>
                      </a:lnTo>
                      <a:close/>
                    </a:path>
                    <a:path w="380364" h="1444625">
                      <a:moveTo>
                        <a:pt x="12700" y="6350"/>
                      </a:moveTo>
                      <a:lnTo>
                        <a:pt x="10833" y="1866"/>
                      </a:lnTo>
                      <a:lnTo>
                        <a:pt x="6350" y="0"/>
                      </a:lnTo>
                      <a:lnTo>
                        <a:pt x="1854" y="1866"/>
                      </a:lnTo>
                      <a:lnTo>
                        <a:pt x="0" y="6350"/>
                      </a:lnTo>
                      <a:lnTo>
                        <a:pt x="1854" y="10845"/>
                      </a:lnTo>
                      <a:lnTo>
                        <a:pt x="6350" y="12700"/>
                      </a:lnTo>
                      <a:lnTo>
                        <a:pt x="10833" y="10845"/>
                      </a:lnTo>
                      <a:lnTo>
                        <a:pt x="12700" y="6350"/>
                      </a:lnTo>
                      <a:close/>
                    </a:path>
                    <a:path w="380364" h="1444625">
                      <a:moveTo>
                        <a:pt x="379895" y="1438198"/>
                      </a:moveTo>
                      <a:lnTo>
                        <a:pt x="378028" y="1433715"/>
                      </a:lnTo>
                      <a:lnTo>
                        <a:pt x="373545" y="1431848"/>
                      </a:lnTo>
                      <a:lnTo>
                        <a:pt x="369049" y="1433715"/>
                      </a:lnTo>
                      <a:lnTo>
                        <a:pt x="367195" y="1438198"/>
                      </a:lnTo>
                      <a:lnTo>
                        <a:pt x="369049" y="1442694"/>
                      </a:lnTo>
                      <a:lnTo>
                        <a:pt x="373545" y="1444548"/>
                      </a:lnTo>
                      <a:lnTo>
                        <a:pt x="378028" y="1442694"/>
                      </a:lnTo>
                      <a:lnTo>
                        <a:pt x="379895" y="1438198"/>
                      </a:lnTo>
                      <a:close/>
                    </a:path>
                    <a:path w="380364" h="1444625">
                      <a:moveTo>
                        <a:pt x="379895" y="817727"/>
                      </a:moveTo>
                      <a:lnTo>
                        <a:pt x="378028" y="813244"/>
                      </a:lnTo>
                      <a:lnTo>
                        <a:pt x="373545" y="811377"/>
                      </a:lnTo>
                      <a:lnTo>
                        <a:pt x="369049" y="813244"/>
                      </a:lnTo>
                      <a:lnTo>
                        <a:pt x="367195" y="817727"/>
                      </a:lnTo>
                      <a:lnTo>
                        <a:pt x="369049" y="822223"/>
                      </a:lnTo>
                      <a:lnTo>
                        <a:pt x="373545" y="824077"/>
                      </a:lnTo>
                      <a:lnTo>
                        <a:pt x="378028" y="822223"/>
                      </a:lnTo>
                      <a:lnTo>
                        <a:pt x="379895" y="817727"/>
                      </a:lnTo>
                      <a:close/>
                    </a:path>
                  </a:pathLst>
                </a:custGeom>
                <a:solidFill>
                  <a:srgbClr val="6D6E71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79" name="object 202">
                  <a:extLst>
                    <a:ext uri="{FF2B5EF4-FFF2-40B4-BE49-F238E27FC236}">
                      <a16:creationId xmlns:a16="http://schemas.microsoft.com/office/drawing/2014/main" id="{DC2BE4BE-2418-226E-9DF9-11C8B86FA7CF}"/>
                    </a:ext>
                  </a:extLst>
                </p:cNvPr>
                <p:cNvSpPr/>
                <p:nvPr/>
              </p:nvSpPr>
              <p:spPr>
                <a:xfrm>
                  <a:off x="4411142" y="799681"/>
                  <a:ext cx="0" cy="10490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049020">
                      <a:moveTo>
                        <a:pt x="0" y="0"/>
                      </a:moveTo>
                      <a:lnTo>
                        <a:pt x="0" y="104888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80" name="object 203">
                  <a:extLst>
                    <a:ext uri="{FF2B5EF4-FFF2-40B4-BE49-F238E27FC236}">
                      <a16:creationId xmlns:a16="http://schemas.microsoft.com/office/drawing/2014/main" id="{DD6DBF5B-40F6-7904-BB80-C059B840E7BB}"/>
                    </a:ext>
                  </a:extLst>
                </p:cNvPr>
                <p:cNvSpPr/>
                <p:nvPr/>
              </p:nvSpPr>
              <p:spPr>
                <a:xfrm>
                  <a:off x="3636648" y="1867634"/>
                  <a:ext cx="737235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7235">
                      <a:moveTo>
                        <a:pt x="736714" y="0"/>
                      </a:moveTo>
                      <a:lnTo>
                        <a:pt x="0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81" name="object 204">
                  <a:extLst>
                    <a:ext uri="{FF2B5EF4-FFF2-40B4-BE49-F238E27FC236}">
                      <a16:creationId xmlns:a16="http://schemas.microsoft.com/office/drawing/2014/main" id="{58A9EA9D-82E6-ACAA-3823-1550F1D87AEE}"/>
                    </a:ext>
                  </a:extLst>
                </p:cNvPr>
                <p:cNvSpPr/>
                <p:nvPr/>
              </p:nvSpPr>
              <p:spPr>
                <a:xfrm>
                  <a:off x="3617754" y="1904534"/>
                  <a:ext cx="0" cy="2768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276860">
                      <a:moveTo>
                        <a:pt x="0" y="0"/>
                      </a:moveTo>
                      <a:lnTo>
                        <a:pt x="0" y="276745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82" name="object 205">
                  <a:extLst>
                    <a:ext uri="{FF2B5EF4-FFF2-40B4-BE49-F238E27FC236}">
                      <a16:creationId xmlns:a16="http://schemas.microsoft.com/office/drawing/2014/main" id="{549982E2-BC56-0FF2-2A77-0481BA8D1733}"/>
                    </a:ext>
                  </a:extLst>
                </p:cNvPr>
                <p:cNvSpPr/>
                <p:nvPr/>
              </p:nvSpPr>
              <p:spPr>
                <a:xfrm>
                  <a:off x="3611410" y="755192"/>
                  <a:ext cx="806450" cy="14509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6450" h="1450975">
                      <a:moveTo>
                        <a:pt x="12700" y="1444548"/>
                      </a:moveTo>
                      <a:lnTo>
                        <a:pt x="10833" y="1440065"/>
                      </a:lnTo>
                      <a:lnTo>
                        <a:pt x="6350" y="1438198"/>
                      </a:lnTo>
                      <a:lnTo>
                        <a:pt x="1854" y="1440065"/>
                      </a:lnTo>
                      <a:lnTo>
                        <a:pt x="0" y="1444548"/>
                      </a:lnTo>
                      <a:lnTo>
                        <a:pt x="1854" y="1449044"/>
                      </a:lnTo>
                      <a:lnTo>
                        <a:pt x="6350" y="1450898"/>
                      </a:lnTo>
                      <a:lnTo>
                        <a:pt x="10833" y="1449044"/>
                      </a:lnTo>
                      <a:lnTo>
                        <a:pt x="12700" y="1444548"/>
                      </a:lnTo>
                      <a:close/>
                    </a:path>
                    <a:path w="806450" h="1450975">
                      <a:moveTo>
                        <a:pt x="12700" y="1112443"/>
                      </a:moveTo>
                      <a:lnTo>
                        <a:pt x="10833" y="1107960"/>
                      </a:lnTo>
                      <a:lnTo>
                        <a:pt x="6350" y="1106093"/>
                      </a:lnTo>
                      <a:lnTo>
                        <a:pt x="1854" y="1107960"/>
                      </a:lnTo>
                      <a:lnTo>
                        <a:pt x="0" y="1112443"/>
                      </a:lnTo>
                      <a:lnTo>
                        <a:pt x="1854" y="1116939"/>
                      </a:lnTo>
                      <a:lnTo>
                        <a:pt x="6350" y="1118793"/>
                      </a:lnTo>
                      <a:lnTo>
                        <a:pt x="10833" y="1116939"/>
                      </a:lnTo>
                      <a:lnTo>
                        <a:pt x="12700" y="1112443"/>
                      </a:lnTo>
                      <a:close/>
                    </a:path>
                    <a:path w="806450" h="1450975">
                      <a:moveTo>
                        <a:pt x="806081" y="1112443"/>
                      </a:moveTo>
                      <a:lnTo>
                        <a:pt x="804214" y="1107960"/>
                      </a:lnTo>
                      <a:lnTo>
                        <a:pt x="799731" y="1106093"/>
                      </a:lnTo>
                      <a:lnTo>
                        <a:pt x="795235" y="1107960"/>
                      </a:lnTo>
                      <a:lnTo>
                        <a:pt x="793381" y="1112443"/>
                      </a:lnTo>
                      <a:lnTo>
                        <a:pt x="795235" y="1116939"/>
                      </a:lnTo>
                      <a:lnTo>
                        <a:pt x="799731" y="1118793"/>
                      </a:lnTo>
                      <a:lnTo>
                        <a:pt x="804214" y="1116939"/>
                      </a:lnTo>
                      <a:lnTo>
                        <a:pt x="806081" y="1112443"/>
                      </a:lnTo>
                      <a:close/>
                    </a:path>
                    <a:path w="806450" h="1450975">
                      <a:moveTo>
                        <a:pt x="806081" y="6350"/>
                      </a:moveTo>
                      <a:lnTo>
                        <a:pt x="804214" y="1866"/>
                      </a:lnTo>
                      <a:lnTo>
                        <a:pt x="799731" y="0"/>
                      </a:lnTo>
                      <a:lnTo>
                        <a:pt x="795235" y="1866"/>
                      </a:lnTo>
                      <a:lnTo>
                        <a:pt x="793381" y="6350"/>
                      </a:lnTo>
                      <a:lnTo>
                        <a:pt x="795235" y="10845"/>
                      </a:lnTo>
                      <a:lnTo>
                        <a:pt x="799731" y="12700"/>
                      </a:lnTo>
                      <a:lnTo>
                        <a:pt x="804214" y="10845"/>
                      </a:lnTo>
                      <a:lnTo>
                        <a:pt x="806081" y="6350"/>
                      </a:lnTo>
                      <a:close/>
                    </a:path>
                  </a:pathLst>
                </a:custGeom>
                <a:solidFill>
                  <a:srgbClr val="6D6E71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</p:grpSp>
          <p:sp>
            <p:nvSpPr>
              <p:cNvPr id="389" name="object 206">
                <a:extLst>
                  <a:ext uri="{FF2B5EF4-FFF2-40B4-BE49-F238E27FC236}">
                    <a16:creationId xmlns:a16="http://schemas.microsoft.com/office/drawing/2014/main" id="{E0D70CE5-DBAB-5423-9960-779430B13923}"/>
                  </a:ext>
                </a:extLst>
              </p:cNvPr>
              <p:cNvSpPr txBox="1"/>
              <p:nvPr/>
            </p:nvSpPr>
            <p:spPr>
              <a:xfrm>
                <a:off x="6224472" y="3968592"/>
                <a:ext cx="622899" cy="134792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b="1" spc="70" dirty="0">
                    <a:solidFill>
                      <a:srgbClr val="58595B"/>
                    </a:solidFill>
                    <a:cs typeface="Calibri"/>
                  </a:rPr>
                  <a:t>Colombia</a:t>
                </a:r>
                <a:endParaRPr sz="700" dirty="0">
                  <a:cs typeface="Calibri"/>
                </a:endParaRPr>
              </a:p>
            </p:txBody>
          </p:sp>
          <p:pic>
            <p:nvPicPr>
              <p:cNvPr id="390" name="object 207">
                <a:extLst>
                  <a:ext uri="{FF2B5EF4-FFF2-40B4-BE49-F238E27FC236}">
                    <a16:creationId xmlns:a16="http://schemas.microsoft.com/office/drawing/2014/main" id="{032E581A-2793-37D7-EB57-80C772B4E792}"/>
                  </a:ext>
                </a:extLst>
              </p:cNvPr>
              <p:cNvPicPr/>
              <p:nvPr/>
            </p:nvPicPr>
            <p:blipFill>
              <a:blip r:embed="rId35" cstate="print"/>
              <a:stretch>
                <a:fillRect/>
              </a:stretch>
            </p:blipFill>
            <p:spPr>
              <a:xfrm>
                <a:off x="6240071" y="4516744"/>
                <a:ext cx="947329" cy="247540"/>
              </a:xfrm>
              <a:prstGeom prst="rect">
                <a:avLst/>
              </a:prstGeom>
            </p:spPr>
          </p:pic>
          <p:grpSp>
            <p:nvGrpSpPr>
              <p:cNvPr id="391" name="object 208">
                <a:extLst>
                  <a:ext uri="{FF2B5EF4-FFF2-40B4-BE49-F238E27FC236}">
                    <a16:creationId xmlns:a16="http://schemas.microsoft.com/office/drawing/2014/main" id="{FFEB125F-B3A0-9682-9E1C-8053963BCCD0}"/>
                  </a:ext>
                </a:extLst>
              </p:cNvPr>
              <p:cNvGrpSpPr/>
              <p:nvPr/>
            </p:nvGrpSpPr>
            <p:grpSpPr>
              <a:xfrm>
                <a:off x="6237089" y="3144283"/>
                <a:ext cx="2270125" cy="1271905"/>
                <a:chOff x="359916" y="2587486"/>
                <a:chExt cx="2270125" cy="1271905"/>
              </a:xfrm>
            </p:grpSpPr>
            <p:sp>
              <p:nvSpPr>
                <p:cNvPr id="462" name="object 209">
                  <a:extLst>
                    <a:ext uri="{FF2B5EF4-FFF2-40B4-BE49-F238E27FC236}">
                      <a16:creationId xmlns:a16="http://schemas.microsoft.com/office/drawing/2014/main" id="{0A9BDBE4-45DF-AA5A-19D3-FA9F0DA8E31F}"/>
                    </a:ext>
                  </a:extLst>
                </p:cNvPr>
                <p:cNvSpPr/>
                <p:nvPr/>
              </p:nvSpPr>
              <p:spPr>
                <a:xfrm>
                  <a:off x="359918" y="3741877"/>
                  <a:ext cx="802005" cy="1174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2005" h="117475">
                      <a:moveTo>
                        <a:pt x="29692" y="100304"/>
                      </a:moveTo>
                      <a:lnTo>
                        <a:pt x="15036" y="100304"/>
                      </a:lnTo>
                      <a:lnTo>
                        <a:pt x="15036" y="105740"/>
                      </a:lnTo>
                      <a:lnTo>
                        <a:pt x="22694" y="105740"/>
                      </a:lnTo>
                      <a:lnTo>
                        <a:pt x="22402" y="107099"/>
                      </a:lnTo>
                      <a:lnTo>
                        <a:pt x="22199" y="107645"/>
                      </a:lnTo>
                      <a:lnTo>
                        <a:pt x="20294" y="110286"/>
                      </a:lnTo>
                      <a:lnTo>
                        <a:pt x="17767" y="111404"/>
                      </a:lnTo>
                      <a:lnTo>
                        <a:pt x="9982" y="111404"/>
                      </a:lnTo>
                      <a:lnTo>
                        <a:pt x="6248" y="107429"/>
                      </a:lnTo>
                      <a:lnTo>
                        <a:pt x="6362" y="96126"/>
                      </a:lnTo>
                      <a:lnTo>
                        <a:pt x="9931" y="92316"/>
                      </a:lnTo>
                      <a:lnTo>
                        <a:pt x="16814" y="92316"/>
                      </a:lnTo>
                      <a:lnTo>
                        <a:pt x="18300" y="92684"/>
                      </a:lnTo>
                      <a:lnTo>
                        <a:pt x="21031" y="94221"/>
                      </a:lnTo>
                      <a:lnTo>
                        <a:pt x="21615" y="94716"/>
                      </a:lnTo>
                      <a:lnTo>
                        <a:pt x="22694" y="96126"/>
                      </a:lnTo>
                      <a:lnTo>
                        <a:pt x="27876" y="93103"/>
                      </a:lnTo>
                      <a:lnTo>
                        <a:pt x="27317" y="92316"/>
                      </a:lnTo>
                      <a:lnTo>
                        <a:pt x="26581" y="91274"/>
                      </a:lnTo>
                      <a:lnTo>
                        <a:pt x="26047" y="90652"/>
                      </a:lnTo>
                      <a:lnTo>
                        <a:pt x="22275" y="87591"/>
                      </a:lnTo>
                      <a:lnTo>
                        <a:pt x="18757" y="86436"/>
                      </a:lnTo>
                      <a:lnTo>
                        <a:pt x="6121" y="86436"/>
                      </a:lnTo>
                      <a:lnTo>
                        <a:pt x="50" y="92684"/>
                      </a:lnTo>
                      <a:lnTo>
                        <a:pt x="0" y="110832"/>
                      </a:lnTo>
                      <a:lnTo>
                        <a:pt x="6083" y="117081"/>
                      </a:lnTo>
                      <a:lnTo>
                        <a:pt x="20624" y="117081"/>
                      </a:lnTo>
                      <a:lnTo>
                        <a:pt x="25590" y="114223"/>
                      </a:lnTo>
                      <a:lnTo>
                        <a:pt x="27000" y="111404"/>
                      </a:lnTo>
                      <a:lnTo>
                        <a:pt x="29197" y="107061"/>
                      </a:lnTo>
                      <a:lnTo>
                        <a:pt x="29692" y="104406"/>
                      </a:lnTo>
                      <a:lnTo>
                        <a:pt x="29692" y="100304"/>
                      </a:lnTo>
                      <a:close/>
                    </a:path>
                    <a:path w="802005" h="117475">
                      <a:moveTo>
                        <a:pt x="55041" y="116459"/>
                      </a:moveTo>
                      <a:lnTo>
                        <a:pt x="46634" y="104114"/>
                      </a:lnTo>
                      <a:lnTo>
                        <a:pt x="49822" y="102870"/>
                      </a:lnTo>
                      <a:lnTo>
                        <a:pt x="52133" y="101384"/>
                      </a:lnTo>
                      <a:lnTo>
                        <a:pt x="52628" y="100025"/>
                      </a:lnTo>
                      <a:lnTo>
                        <a:pt x="53174" y="98564"/>
                      </a:lnTo>
                      <a:lnTo>
                        <a:pt x="53174" y="94183"/>
                      </a:lnTo>
                      <a:lnTo>
                        <a:pt x="46964" y="87337"/>
                      </a:lnTo>
                      <a:lnTo>
                        <a:pt x="46964" y="93141"/>
                      </a:lnTo>
                      <a:lnTo>
                        <a:pt x="46964" y="96126"/>
                      </a:lnTo>
                      <a:lnTo>
                        <a:pt x="46418" y="98196"/>
                      </a:lnTo>
                      <a:lnTo>
                        <a:pt x="45427" y="99847"/>
                      </a:lnTo>
                      <a:lnTo>
                        <a:pt x="43815" y="100025"/>
                      </a:lnTo>
                      <a:lnTo>
                        <a:pt x="39801" y="100025"/>
                      </a:lnTo>
                      <a:lnTo>
                        <a:pt x="39801" y="92316"/>
                      </a:lnTo>
                      <a:lnTo>
                        <a:pt x="44513" y="92316"/>
                      </a:lnTo>
                      <a:lnTo>
                        <a:pt x="46964" y="93141"/>
                      </a:lnTo>
                      <a:lnTo>
                        <a:pt x="46964" y="87337"/>
                      </a:lnTo>
                      <a:lnTo>
                        <a:pt x="45554" y="87223"/>
                      </a:lnTo>
                      <a:lnTo>
                        <a:pt x="33591" y="87223"/>
                      </a:lnTo>
                      <a:lnTo>
                        <a:pt x="33591" y="116459"/>
                      </a:lnTo>
                      <a:lnTo>
                        <a:pt x="39751" y="116459"/>
                      </a:lnTo>
                      <a:lnTo>
                        <a:pt x="39751" y="104114"/>
                      </a:lnTo>
                      <a:lnTo>
                        <a:pt x="47498" y="116459"/>
                      </a:lnTo>
                      <a:lnTo>
                        <a:pt x="55041" y="116459"/>
                      </a:lnTo>
                      <a:close/>
                    </a:path>
                    <a:path w="802005" h="117475">
                      <a:moveTo>
                        <a:pt x="80467" y="87223"/>
                      </a:moveTo>
                      <a:lnTo>
                        <a:pt x="74256" y="87223"/>
                      </a:lnTo>
                      <a:lnTo>
                        <a:pt x="74218" y="109131"/>
                      </a:lnTo>
                      <a:lnTo>
                        <a:pt x="72758" y="111531"/>
                      </a:lnTo>
                      <a:lnTo>
                        <a:pt x="67132" y="111531"/>
                      </a:lnTo>
                      <a:lnTo>
                        <a:pt x="65227" y="110947"/>
                      </a:lnTo>
                      <a:lnTo>
                        <a:pt x="63157" y="108178"/>
                      </a:lnTo>
                      <a:lnTo>
                        <a:pt x="63119" y="87223"/>
                      </a:lnTo>
                      <a:lnTo>
                        <a:pt x="56896" y="87223"/>
                      </a:lnTo>
                      <a:lnTo>
                        <a:pt x="56959" y="108178"/>
                      </a:lnTo>
                      <a:lnTo>
                        <a:pt x="57023" y="109131"/>
                      </a:lnTo>
                      <a:lnTo>
                        <a:pt x="59385" y="115252"/>
                      </a:lnTo>
                      <a:lnTo>
                        <a:pt x="64109" y="117246"/>
                      </a:lnTo>
                      <a:lnTo>
                        <a:pt x="72428" y="117246"/>
                      </a:lnTo>
                      <a:lnTo>
                        <a:pt x="76161" y="115963"/>
                      </a:lnTo>
                      <a:lnTo>
                        <a:pt x="79235" y="111531"/>
                      </a:lnTo>
                      <a:lnTo>
                        <a:pt x="80302" y="109994"/>
                      </a:lnTo>
                      <a:lnTo>
                        <a:pt x="80391" y="108178"/>
                      </a:lnTo>
                      <a:lnTo>
                        <a:pt x="80467" y="87223"/>
                      </a:lnTo>
                      <a:close/>
                    </a:path>
                    <a:path w="802005" h="117475">
                      <a:moveTo>
                        <a:pt x="105194" y="94424"/>
                      </a:moveTo>
                      <a:lnTo>
                        <a:pt x="104749" y="92519"/>
                      </a:lnTo>
                      <a:lnTo>
                        <a:pt x="101625" y="88214"/>
                      </a:lnTo>
                      <a:lnTo>
                        <a:pt x="98983" y="87464"/>
                      </a:lnTo>
                      <a:lnTo>
                        <a:pt x="98983" y="98983"/>
                      </a:lnTo>
                      <a:lnTo>
                        <a:pt x="97028" y="99974"/>
                      </a:lnTo>
                      <a:lnTo>
                        <a:pt x="91821" y="99974"/>
                      </a:lnTo>
                      <a:lnTo>
                        <a:pt x="91821" y="92519"/>
                      </a:lnTo>
                      <a:lnTo>
                        <a:pt x="94462" y="92519"/>
                      </a:lnTo>
                      <a:lnTo>
                        <a:pt x="96456" y="92684"/>
                      </a:lnTo>
                      <a:lnTo>
                        <a:pt x="98145" y="93103"/>
                      </a:lnTo>
                      <a:lnTo>
                        <a:pt x="98869" y="94424"/>
                      </a:lnTo>
                      <a:lnTo>
                        <a:pt x="98983" y="98983"/>
                      </a:lnTo>
                      <a:lnTo>
                        <a:pt x="98983" y="87464"/>
                      </a:lnTo>
                      <a:lnTo>
                        <a:pt x="95745" y="87261"/>
                      </a:lnTo>
                      <a:lnTo>
                        <a:pt x="93967" y="87223"/>
                      </a:lnTo>
                      <a:lnTo>
                        <a:pt x="85432" y="87223"/>
                      </a:lnTo>
                      <a:lnTo>
                        <a:pt x="85432" y="116459"/>
                      </a:lnTo>
                      <a:lnTo>
                        <a:pt x="91770" y="116459"/>
                      </a:lnTo>
                      <a:lnTo>
                        <a:pt x="91770" y="105359"/>
                      </a:lnTo>
                      <a:lnTo>
                        <a:pt x="97574" y="105359"/>
                      </a:lnTo>
                      <a:lnTo>
                        <a:pt x="100469" y="105029"/>
                      </a:lnTo>
                      <a:lnTo>
                        <a:pt x="104317" y="101257"/>
                      </a:lnTo>
                      <a:lnTo>
                        <a:pt x="104787" y="99974"/>
                      </a:lnTo>
                      <a:lnTo>
                        <a:pt x="105143" y="98983"/>
                      </a:lnTo>
                      <a:lnTo>
                        <a:pt x="105194" y="94424"/>
                      </a:lnTo>
                      <a:close/>
                    </a:path>
                    <a:path w="802005" h="117475">
                      <a:moveTo>
                        <a:pt x="127762" y="94424"/>
                      </a:moveTo>
                      <a:lnTo>
                        <a:pt x="127317" y="92519"/>
                      </a:lnTo>
                      <a:lnTo>
                        <a:pt x="124206" y="88214"/>
                      </a:lnTo>
                      <a:lnTo>
                        <a:pt x="121551" y="87464"/>
                      </a:lnTo>
                      <a:lnTo>
                        <a:pt x="121551" y="98983"/>
                      </a:lnTo>
                      <a:lnTo>
                        <a:pt x="119608" y="99974"/>
                      </a:lnTo>
                      <a:lnTo>
                        <a:pt x="114388" y="99974"/>
                      </a:lnTo>
                      <a:lnTo>
                        <a:pt x="114388" y="92519"/>
                      </a:lnTo>
                      <a:lnTo>
                        <a:pt x="117030" y="92519"/>
                      </a:lnTo>
                      <a:lnTo>
                        <a:pt x="119024" y="92684"/>
                      </a:lnTo>
                      <a:lnTo>
                        <a:pt x="120726" y="93103"/>
                      </a:lnTo>
                      <a:lnTo>
                        <a:pt x="121437" y="94424"/>
                      </a:lnTo>
                      <a:lnTo>
                        <a:pt x="121551" y="98983"/>
                      </a:lnTo>
                      <a:lnTo>
                        <a:pt x="121551" y="87464"/>
                      </a:lnTo>
                      <a:lnTo>
                        <a:pt x="118325" y="87261"/>
                      </a:lnTo>
                      <a:lnTo>
                        <a:pt x="116535" y="87223"/>
                      </a:lnTo>
                      <a:lnTo>
                        <a:pt x="108000" y="87223"/>
                      </a:lnTo>
                      <a:lnTo>
                        <a:pt x="108000" y="116459"/>
                      </a:lnTo>
                      <a:lnTo>
                        <a:pt x="114338" y="116459"/>
                      </a:lnTo>
                      <a:lnTo>
                        <a:pt x="114338" y="105359"/>
                      </a:lnTo>
                      <a:lnTo>
                        <a:pt x="120142" y="105359"/>
                      </a:lnTo>
                      <a:lnTo>
                        <a:pt x="123037" y="105029"/>
                      </a:lnTo>
                      <a:lnTo>
                        <a:pt x="126898" y="101257"/>
                      </a:lnTo>
                      <a:lnTo>
                        <a:pt x="127355" y="99974"/>
                      </a:lnTo>
                      <a:lnTo>
                        <a:pt x="127711" y="98983"/>
                      </a:lnTo>
                      <a:lnTo>
                        <a:pt x="127762" y="94424"/>
                      </a:lnTo>
                      <a:close/>
                    </a:path>
                    <a:path w="802005" h="117475">
                      <a:moveTo>
                        <a:pt x="159854" y="93065"/>
                      </a:moveTo>
                      <a:lnTo>
                        <a:pt x="159334" y="92557"/>
                      </a:lnTo>
                      <a:lnTo>
                        <a:pt x="153314" y="86639"/>
                      </a:lnTo>
                      <a:lnTo>
                        <a:pt x="153314" y="96583"/>
                      </a:lnTo>
                      <a:lnTo>
                        <a:pt x="153276" y="107264"/>
                      </a:lnTo>
                      <a:lnTo>
                        <a:pt x="149504" y="111239"/>
                      </a:lnTo>
                      <a:lnTo>
                        <a:pt x="139192" y="111239"/>
                      </a:lnTo>
                      <a:lnTo>
                        <a:pt x="135178" y="107264"/>
                      </a:lnTo>
                      <a:lnTo>
                        <a:pt x="135305" y="96583"/>
                      </a:lnTo>
                      <a:lnTo>
                        <a:pt x="139192" y="92557"/>
                      </a:lnTo>
                      <a:lnTo>
                        <a:pt x="149504" y="92557"/>
                      </a:lnTo>
                      <a:lnTo>
                        <a:pt x="153314" y="96583"/>
                      </a:lnTo>
                      <a:lnTo>
                        <a:pt x="153314" y="86639"/>
                      </a:lnTo>
                      <a:lnTo>
                        <a:pt x="153149" y="86474"/>
                      </a:lnTo>
                      <a:lnTo>
                        <a:pt x="135216" y="86474"/>
                      </a:lnTo>
                      <a:lnTo>
                        <a:pt x="128714" y="93065"/>
                      </a:lnTo>
                      <a:lnTo>
                        <a:pt x="128714" y="110985"/>
                      </a:lnTo>
                      <a:lnTo>
                        <a:pt x="135178" y="117208"/>
                      </a:lnTo>
                      <a:lnTo>
                        <a:pt x="153517" y="117208"/>
                      </a:lnTo>
                      <a:lnTo>
                        <a:pt x="159524" y="111239"/>
                      </a:lnTo>
                      <a:lnTo>
                        <a:pt x="159778" y="110985"/>
                      </a:lnTo>
                      <a:lnTo>
                        <a:pt x="159854" y="93065"/>
                      </a:lnTo>
                      <a:close/>
                    </a:path>
                    <a:path w="802005" h="117475">
                      <a:moveTo>
                        <a:pt x="192239" y="87223"/>
                      </a:moveTo>
                      <a:lnTo>
                        <a:pt x="175260" y="87223"/>
                      </a:lnTo>
                      <a:lnTo>
                        <a:pt x="175260" y="116459"/>
                      </a:lnTo>
                      <a:lnTo>
                        <a:pt x="181635" y="116459"/>
                      </a:lnTo>
                      <a:lnTo>
                        <a:pt x="181635" y="104203"/>
                      </a:lnTo>
                      <a:lnTo>
                        <a:pt x="192239" y="104203"/>
                      </a:lnTo>
                      <a:lnTo>
                        <a:pt x="192239" y="98488"/>
                      </a:lnTo>
                      <a:lnTo>
                        <a:pt x="181635" y="98488"/>
                      </a:lnTo>
                      <a:lnTo>
                        <a:pt x="181635" y="92773"/>
                      </a:lnTo>
                      <a:lnTo>
                        <a:pt x="192239" y="92773"/>
                      </a:lnTo>
                      <a:lnTo>
                        <a:pt x="192239" y="87223"/>
                      </a:lnTo>
                      <a:close/>
                    </a:path>
                    <a:path w="802005" h="117475">
                      <a:moveTo>
                        <a:pt x="211670" y="87223"/>
                      </a:moveTo>
                      <a:lnTo>
                        <a:pt x="195059" y="87223"/>
                      </a:lnTo>
                      <a:lnTo>
                        <a:pt x="195059" y="116459"/>
                      </a:lnTo>
                      <a:lnTo>
                        <a:pt x="211632" y="116459"/>
                      </a:lnTo>
                      <a:lnTo>
                        <a:pt x="211632" y="110617"/>
                      </a:lnTo>
                      <a:lnTo>
                        <a:pt x="201396" y="110617"/>
                      </a:lnTo>
                      <a:lnTo>
                        <a:pt x="201396" y="104368"/>
                      </a:lnTo>
                      <a:lnTo>
                        <a:pt x="211416" y="104368"/>
                      </a:lnTo>
                      <a:lnTo>
                        <a:pt x="211416" y="98691"/>
                      </a:lnTo>
                      <a:lnTo>
                        <a:pt x="201396" y="98691"/>
                      </a:lnTo>
                      <a:lnTo>
                        <a:pt x="201396" y="92887"/>
                      </a:lnTo>
                      <a:lnTo>
                        <a:pt x="211670" y="92887"/>
                      </a:lnTo>
                      <a:lnTo>
                        <a:pt x="211670" y="87223"/>
                      </a:lnTo>
                      <a:close/>
                    </a:path>
                    <a:path w="802005" h="117475">
                      <a:moveTo>
                        <a:pt x="237223" y="116459"/>
                      </a:moveTo>
                      <a:lnTo>
                        <a:pt x="228828" y="104114"/>
                      </a:lnTo>
                      <a:lnTo>
                        <a:pt x="232003" y="102870"/>
                      </a:lnTo>
                      <a:lnTo>
                        <a:pt x="234327" y="101384"/>
                      </a:lnTo>
                      <a:lnTo>
                        <a:pt x="234823" y="100025"/>
                      </a:lnTo>
                      <a:lnTo>
                        <a:pt x="235356" y="98564"/>
                      </a:lnTo>
                      <a:lnTo>
                        <a:pt x="235356" y="94183"/>
                      </a:lnTo>
                      <a:lnTo>
                        <a:pt x="229146" y="87337"/>
                      </a:lnTo>
                      <a:lnTo>
                        <a:pt x="229146" y="93141"/>
                      </a:lnTo>
                      <a:lnTo>
                        <a:pt x="229146" y="96126"/>
                      </a:lnTo>
                      <a:lnTo>
                        <a:pt x="228612" y="98196"/>
                      </a:lnTo>
                      <a:lnTo>
                        <a:pt x="227609" y="99847"/>
                      </a:lnTo>
                      <a:lnTo>
                        <a:pt x="225996" y="100025"/>
                      </a:lnTo>
                      <a:lnTo>
                        <a:pt x="221983" y="100025"/>
                      </a:lnTo>
                      <a:lnTo>
                        <a:pt x="221983" y="92316"/>
                      </a:lnTo>
                      <a:lnTo>
                        <a:pt x="226707" y="92316"/>
                      </a:lnTo>
                      <a:lnTo>
                        <a:pt x="229146" y="93141"/>
                      </a:lnTo>
                      <a:lnTo>
                        <a:pt x="229146" y="87337"/>
                      </a:lnTo>
                      <a:lnTo>
                        <a:pt x="227736" y="87223"/>
                      </a:lnTo>
                      <a:lnTo>
                        <a:pt x="215773" y="87223"/>
                      </a:lnTo>
                      <a:lnTo>
                        <a:pt x="215773" y="116459"/>
                      </a:lnTo>
                      <a:lnTo>
                        <a:pt x="221945" y="116459"/>
                      </a:lnTo>
                      <a:lnTo>
                        <a:pt x="221945" y="104114"/>
                      </a:lnTo>
                      <a:lnTo>
                        <a:pt x="229679" y="116459"/>
                      </a:lnTo>
                      <a:lnTo>
                        <a:pt x="237223" y="116459"/>
                      </a:lnTo>
                      <a:close/>
                    </a:path>
                    <a:path w="802005" h="117475">
                      <a:moveTo>
                        <a:pt x="260502" y="116459"/>
                      </a:moveTo>
                      <a:lnTo>
                        <a:pt x="252095" y="104114"/>
                      </a:lnTo>
                      <a:lnTo>
                        <a:pt x="255282" y="102870"/>
                      </a:lnTo>
                      <a:lnTo>
                        <a:pt x="257594" y="101384"/>
                      </a:lnTo>
                      <a:lnTo>
                        <a:pt x="258089" y="100025"/>
                      </a:lnTo>
                      <a:lnTo>
                        <a:pt x="258635" y="98564"/>
                      </a:lnTo>
                      <a:lnTo>
                        <a:pt x="258635" y="94183"/>
                      </a:lnTo>
                      <a:lnTo>
                        <a:pt x="252425" y="87337"/>
                      </a:lnTo>
                      <a:lnTo>
                        <a:pt x="252425" y="93141"/>
                      </a:lnTo>
                      <a:lnTo>
                        <a:pt x="252425" y="96126"/>
                      </a:lnTo>
                      <a:lnTo>
                        <a:pt x="251879" y="98196"/>
                      </a:lnTo>
                      <a:lnTo>
                        <a:pt x="250888" y="99847"/>
                      </a:lnTo>
                      <a:lnTo>
                        <a:pt x="249275" y="100025"/>
                      </a:lnTo>
                      <a:lnTo>
                        <a:pt x="245262" y="100025"/>
                      </a:lnTo>
                      <a:lnTo>
                        <a:pt x="245262" y="92316"/>
                      </a:lnTo>
                      <a:lnTo>
                        <a:pt x="249974" y="92316"/>
                      </a:lnTo>
                      <a:lnTo>
                        <a:pt x="252425" y="93141"/>
                      </a:lnTo>
                      <a:lnTo>
                        <a:pt x="252425" y="87337"/>
                      </a:lnTo>
                      <a:lnTo>
                        <a:pt x="251015" y="87223"/>
                      </a:lnTo>
                      <a:lnTo>
                        <a:pt x="239039" y="87223"/>
                      </a:lnTo>
                      <a:lnTo>
                        <a:pt x="239039" y="116459"/>
                      </a:lnTo>
                      <a:lnTo>
                        <a:pt x="245211" y="116459"/>
                      </a:lnTo>
                      <a:lnTo>
                        <a:pt x="245211" y="104114"/>
                      </a:lnTo>
                      <a:lnTo>
                        <a:pt x="252958" y="116459"/>
                      </a:lnTo>
                      <a:lnTo>
                        <a:pt x="260502" y="116459"/>
                      </a:lnTo>
                      <a:close/>
                    </a:path>
                    <a:path w="802005" h="117475">
                      <a:moveTo>
                        <a:pt x="292684" y="93065"/>
                      </a:moveTo>
                      <a:lnTo>
                        <a:pt x="292163" y="92557"/>
                      </a:lnTo>
                      <a:lnTo>
                        <a:pt x="286131" y="86639"/>
                      </a:lnTo>
                      <a:lnTo>
                        <a:pt x="286131" y="96583"/>
                      </a:lnTo>
                      <a:lnTo>
                        <a:pt x="286092" y="107264"/>
                      </a:lnTo>
                      <a:lnTo>
                        <a:pt x="282321" y="111239"/>
                      </a:lnTo>
                      <a:lnTo>
                        <a:pt x="272008" y="111239"/>
                      </a:lnTo>
                      <a:lnTo>
                        <a:pt x="267995" y="107264"/>
                      </a:lnTo>
                      <a:lnTo>
                        <a:pt x="268122" y="96583"/>
                      </a:lnTo>
                      <a:lnTo>
                        <a:pt x="272008" y="92557"/>
                      </a:lnTo>
                      <a:lnTo>
                        <a:pt x="282321" y="92557"/>
                      </a:lnTo>
                      <a:lnTo>
                        <a:pt x="286131" y="96583"/>
                      </a:lnTo>
                      <a:lnTo>
                        <a:pt x="286131" y="86639"/>
                      </a:lnTo>
                      <a:lnTo>
                        <a:pt x="285965" y="86474"/>
                      </a:lnTo>
                      <a:lnTo>
                        <a:pt x="268033" y="86474"/>
                      </a:lnTo>
                      <a:lnTo>
                        <a:pt x="261531" y="93065"/>
                      </a:lnTo>
                      <a:lnTo>
                        <a:pt x="261531" y="110985"/>
                      </a:lnTo>
                      <a:lnTo>
                        <a:pt x="267995" y="117208"/>
                      </a:lnTo>
                      <a:lnTo>
                        <a:pt x="286346" y="117208"/>
                      </a:lnTo>
                      <a:lnTo>
                        <a:pt x="292354" y="111239"/>
                      </a:lnTo>
                      <a:lnTo>
                        <a:pt x="292608" y="110985"/>
                      </a:lnTo>
                      <a:lnTo>
                        <a:pt x="292684" y="93065"/>
                      </a:lnTo>
                      <a:close/>
                    </a:path>
                    <a:path w="802005" h="117475">
                      <a:moveTo>
                        <a:pt x="295338" y="25"/>
                      </a:moveTo>
                      <a:lnTo>
                        <a:pt x="278168" y="25"/>
                      </a:lnTo>
                      <a:lnTo>
                        <a:pt x="278561" y="2032"/>
                      </a:lnTo>
                      <a:lnTo>
                        <a:pt x="278117" y="4165"/>
                      </a:lnTo>
                      <a:lnTo>
                        <a:pt x="251764" y="58305"/>
                      </a:lnTo>
                      <a:lnTo>
                        <a:pt x="266966" y="58305"/>
                      </a:lnTo>
                      <a:lnTo>
                        <a:pt x="295338" y="25"/>
                      </a:lnTo>
                      <a:close/>
                    </a:path>
                    <a:path w="802005" h="117475">
                      <a:moveTo>
                        <a:pt x="321754" y="87223"/>
                      </a:moveTo>
                      <a:lnTo>
                        <a:pt x="314883" y="87223"/>
                      </a:lnTo>
                      <a:lnTo>
                        <a:pt x="307555" y="108089"/>
                      </a:lnTo>
                      <a:lnTo>
                        <a:pt x="300215" y="87223"/>
                      </a:lnTo>
                      <a:lnTo>
                        <a:pt x="293255" y="87223"/>
                      </a:lnTo>
                      <a:lnTo>
                        <a:pt x="304190" y="116459"/>
                      </a:lnTo>
                      <a:lnTo>
                        <a:pt x="310324" y="116459"/>
                      </a:lnTo>
                      <a:lnTo>
                        <a:pt x="313601" y="108089"/>
                      </a:lnTo>
                      <a:lnTo>
                        <a:pt x="321754" y="87223"/>
                      </a:lnTo>
                      <a:close/>
                    </a:path>
                    <a:path w="802005" h="117475">
                      <a:moveTo>
                        <a:pt x="330454" y="87223"/>
                      </a:moveTo>
                      <a:lnTo>
                        <a:pt x="324078" y="87223"/>
                      </a:lnTo>
                      <a:lnTo>
                        <a:pt x="324078" y="116459"/>
                      </a:lnTo>
                      <a:lnTo>
                        <a:pt x="330454" y="116459"/>
                      </a:lnTo>
                      <a:lnTo>
                        <a:pt x="330454" y="87223"/>
                      </a:lnTo>
                      <a:close/>
                    </a:path>
                    <a:path w="802005" h="117475">
                      <a:moveTo>
                        <a:pt x="353021" y="87223"/>
                      </a:moveTo>
                      <a:lnTo>
                        <a:pt x="336410" y="87223"/>
                      </a:lnTo>
                      <a:lnTo>
                        <a:pt x="336410" y="116459"/>
                      </a:lnTo>
                      <a:lnTo>
                        <a:pt x="352983" y="116459"/>
                      </a:lnTo>
                      <a:lnTo>
                        <a:pt x="352983" y="110617"/>
                      </a:lnTo>
                      <a:lnTo>
                        <a:pt x="342747" y="110617"/>
                      </a:lnTo>
                      <a:lnTo>
                        <a:pt x="342747" y="104368"/>
                      </a:lnTo>
                      <a:lnTo>
                        <a:pt x="352780" y="104368"/>
                      </a:lnTo>
                      <a:lnTo>
                        <a:pt x="352780" y="98691"/>
                      </a:lnTo>
                      <a:lnTo>
                        <a:pt x="342747" y="98691"/>
                      </a:lnTo>
                      <a:lnTo>
                        <a:pt x="342747" y="92887"/>
                      </a:lnTo>
                      <a:lnTo>
                        <a:pt x="353021" y="92887"/>
                      </a:lnTo>
                      <a:lnTo>
                        <a:pt x="353021" y="87223"/>
                      </a:lnTo>
                      <a:close/>
                    </a:path>
                    <a:path w="802005" h="117475">
                      <a:moveTo>
                        <a:pt x="372719" y="139"/>
                      </a:moveTo>
                      <a:lnTo>
                        <a:pt x="314121" y="139"/>
                      </a:lnTo>
                      <a:lnTo>
                        <a:pt x="308521" y="11633"/>
                      </a:lnTo>
                      <a:lnTo>
                        <a:pt x="310134" y="10414"/>
                      </a:lnTo>
                      <a:lnTo>
                        <a:pt x="312280" y="9398"/>
                      </a:lnTo>
                      <a:lnTo>
                        <a:pt x="333349" y="9398"/>
                      </a:lnTo>
                      <a:lnTo>
                        <a:pt x="309511" y="58305"/>
                      </a:lnTo>
                      <a:lnTo>
                        <a:pt x="324650" y="58305"/>
                      </a:lnTo>
                      <a:lnTo>
                        <a:pt x="348500" y="9398"/>
                      </a:lnTo>
                      <a:lnTo>
                        <a:pt x="365353" y="9398"/>
                      </a:lnTo>
                      <a:lnTo>
                        <a:pt x="366522" y="10299"/>
                      </a:lnTo>
                      <a:lnTo>
                        <a:pt x="367157" y="11633"/>
                      </a:lnTo>
                      <a:lnTo>
                        <a:pt x="372719" y="139"/>
                      </a:lnTo>
                      <a:close/>
                    </a:path>
                    <a:path w="802005" h="117475">
                      <a:moveTo>
                        <a:pt x="393115" y="98615"/>
                      </a:moveTo>
                      <a:lnTo>
                        <a:pt x="392404" y="96088"/>
                      </a:lnTo>
                      <a:lnTo>
                        <a:pt x="390194" y="92316"/>
                      </a:lnTo>
                      <a:lnTo>
                        <a:pt x="387515" y="87718"/>
                      </a:lnTo>
                      <a:lnTo>
                        <a:pt x="386905" y="87668"/>
                      </a:lnTo>
                      <a:lnTo>
                        <a:pt x="386905" y="107556"/>
                      </a:lnTo>
                      <a:lnTo>
                        <a:pt x="383832" y="111328"/>
                      </a:lnTo>
                      <a:lnTo>
                        <a:pt x="376008" y="111328"/>
                      </a:lnTo>
                      <a:lnTo>
                        <a:pt x="376008" y="92316"/>
                      </a:lnTo>
                      <a:lnTo>
                        <a:pt x="379234" y="92316"/>
                      </a:lnTo>
                      <a:lnTo>
                        <a:pt x="381850" y="92519"/>
                      </a:lnTo>
                      <a:lnTo>
                        <a:pt x="386029" y="95872"/>
                      </a:lnTo>
                      <a:lnTo>
                        <a:pt x="386829" y="98615"/>
                      </a:lnTo>
                      <a:lnTo>
                        <a:pt x="386905" y="107556"/>
                      </a:lnTo>
                      <a:lnTo>
                        <a:pt x="386905" y="87668"/>
                      </a:lnTo>
                      <a:lnTo>
                        <a:pt x="381723" y="87223"/>
                      </a:lnTo>
                      <a:lnTo>
                        <a:pt x="369633" y="87223"/>
                      </a:lnTo>
                      <a:lnTo>
                        <a:pt x="369633" y="116459"/>
                      </a:lnTo>
                      <a:lnTo>
                        <a:pt x="380606" y="116459"/>
                      </a:lnTo>
                      <a:lnTo>
                        <a:pt x="384416" y="116293"/>
                      </a:lnTo>
                      <a:lnTo>
                        <a:pt x="390944" y="111328"/>
                      </a:lnTo>
                      <a:lnTo>
                        <a:pt x="391452" y="110947"/>
                      </a:lnTo>
                      <a:lnTo>
                        <a:pt x="393115" y="105892"/>
                      </a:lnTo>
                      <a:lnTo>
                        <a:pt x="393115" y="98615"/>
                      </a:lnTo>
                      <a:close/>
                    </a:path>
                    <a:path w="802005" h="117475">
                      <a:moveTo>
                        <a:pt x="413778" y="87223"/>
                      </a:moveTo>
                      <a:lnTo>
                        <a:pt x="397167" y="87223"/>
                      </a:lnTo>
                      <a:lnTo>
                        <a:pt x="397167" y="116459"/>
                      </a:lnTo>
                      <a:lnTo>
                        <a:pt x="413740" y="116459"/>
                      </a:lnTo>
                      <a:lnTo>
                        <a:pt x="413740" y="110617"/>
                      </a:lnTo>
                      <a:lnTo>
                        <a:pt x="403504" y="110617"/>
                      </a:lnTo>
                      <a:lnTo>
                        <a:pt x="403504" y="104368"/>
                      </a:lnTo>
                      <a:lnTo>
                        <a:pt x="413524" y="104368"/>
                      </a:lnTo>
                      <a:lnTo>
                        <a:pt x="413524" y="98691"/>
                      </a:lnTo>
                      <a:lnTo>
                        <a:pt x="403504" y="98691"/>
                      </a:lnTo>
                      <a:lnTo>
                        <a:pt x="403504" y="92887"/>
                      </a:lnTo>
                      <a:lnTo>
                        <a:pt x="413778" y="92887"/>
                      </a:lnTo>
                      <a:lnTo>
                        <a:pt x="413778" y="87223"/>
                      </a:lnTo>
                      <a:close/>
                    </a:path>
                    <a:path w="802005" h="117475">
                      <a:moveTo>
                        <a:pt x="421678" y="58381"/>
                      </a:moveTo>
                      <a:lnTo>
                        <a:pt x="420992" y="45135"/>
                      </a:lnTo>
                      <a:lnTo>
                        <a:pt x="420509" y="35687"/>
                      </a:lnTo>
                      <a:lnTo>
                        <a:pt x="419290" y="11798"/>
                      </a:lnTo>
                      <a:lnTo>
                        <a:pt x="418706" y="190"/>
                      </a:lnTo>
                      <a:lnTo>
                        <a:pt x="407289" y="203"/>
                      </a:lnTo>
                      <a:lnTo>
                        <a:pt x="407289" y="35687"/>
                      </a:lnTo>
                      <a:lnTo>
                        <a:pt x="387032" y="35687"/>
                      </a:lnTo>
                      <a:lnTo>
                        <a:pt x="406806" y="11798"/>
                      </a:lnTo>
                      <a:lnTo>
                        <a:pt x="407289" y="35687"/>
                      </a:lnTo>
                      <a:lnTo>
                        <a:pt x="407289" y="203"/>
                      </a:lnTo>
                      <a:lnTo>
                        <a:pt x="403059" y="203"/>
                      </a:lnTo>
                      <a:lnTo>
                        <a:pt x="403059" y="1625"/>
                      </a:lnTo>
                      <a:lnTo>
                        <a:pt x="402551" y="3251"/>
                      </a:lnTo>
                      <a:lnTo>
                        <a:pt x="355028" y="58381"/>
                      </a:lnTo>
                      <a:lnTo>
                        <a:pt x="368300" y="58381"/>
                      </a:lnTo>
                      <a:lnTo>
                        <a:pt x="379234" y="45135"/>
                      </a:lnTo>
                      <a:lnTo>
                        <a:pt x="407492" y="45135"/>
                      </a:lnTo>
                      <a:lnTo>
                        <a:pt x="407784" y="58381"/>
                      </a:lnTo>
                      <a:lnTo>
                        <a:pt x="421678" y="58381"/>
                      </a:lnTo>
                      <a:close/>
                    </a:path>
                    <a:path w="802005" h="117475">
                      <a:moveTo>
                        <a:pt x="434276" y="110705"/>
                      </a:moveTo>
                      <a:lnTo>
                        <a:pt x="424294" y="110705"/>
                      </a:lnTo>
                      <a:lnTo>
                        <a:pt x="424294" y="87223"/>
                      </a:lnTo>
                      <a:lnTo>
                        <a:pt x="417918" y="87223"/>
                      </a:lnTo>
                      <a:lnTo>
                        <a:pt x="417918" y="116459"/>
                      </a:lnTo>
                      <a:lnTo>
                        <a:pt x="434276" y="116459"/>
                      </a:lnTo>
                      <a:lnTo>
                        <a:pt x="434276" y="110705"/>
                      </a:lnTo>
                      <a:close/>
                    </a:path>
                    <a:path w="802005" h="117475">
                      <a:moveTo>
                        <a:pt x="454113" y="110705"/>
                      </a:moveTo>
                      <a:lnTo>
                        <a:pt x="444131" y="110705"/>
                      </a:lnTo>
                      <a:lnTo>
                        <a:pt x="444131" y="87223"/>
                      </a:lnTo>
                      <a:lnTo>
                        <a:pt x="437756" y="87223"/>
                      </a:lnTo>
                      <a:lnTo>
                        <a:pt x="437756" y="116459"/>
                      </a:lnTo>
                      <a:lnTo>
                        <a:pt x="454113" y="116459"/>
                      </a:lnTo>
                      <a:lnTo>
                        <a:pt x="454113" y="110705"/>
                      </a:lnTo>
                      <a:close/>
                    </a:path>
                    <a:path w="802005" h="117475">
                      <a:moveTo>
                        <a:pt x="486765" y="47155"/>
                      </a:moveTo>
                      <a:lnTo>
                        <a:pt x="485609" y="48272"/>
                      </a:lnTo>
                      <a:lnTo>
                        <a:pt x="482447" y="49072"/>
                      </a:lnTo>
                      <a:lnTo>
                        <a:pt x="458012" y="49072"/>
                      </a:lnTo>
                      <a:lnTo>
                        <a:pt x="481812" y="0"/>
                      </a:lnTo>
                      <a:lnTo>
                        <a:pt x="464769" y="0"/>
                      </a:lnTo>
                      <a:lnTo>
                        <a:pt x="465162" y="1981"/>
                      </a:lnTo>
                      <a:lnTo>
                        <a:pt x="464718" y="4114"/>
                      </a:lnTo>
                      <a:lnTo>
                        <a:pt x="438340" y="58293"/>
                      </a:lnTo>
                      <a:lnTo>
                        <a:pt x="481342" y="58293"/>
                      </a:lnTo>
                      <a:lnTo>
                        <a:pt x="486765" y="47155"/>
                      </a:lnTo>
                      <a:close/>
                    </a:path>
                    <a:path w="802005" h="117475">
                      <a:moveTo>
                        <a:pt x="486791" y="93065"/>
                      </a:moveTo>
                      <a:lnTo>
                        <a:pt x="486270" y="92557"/>
                      </a:lnTo>
                      <a:lnTo>
                        <a:pt x="480250" y="86639"/>
                      </a:lnTo>
                      <a:lnTo>
                        <a:pt x="480250" y="96583"/>
                      </a:lnTo>
                      <a:lnTo>
                        <a:pt x="480212" y="107264"/>
                      </a:lnTo>
                      <a:lnTo>
                        <a:pt x="476440" y="111239"/>
                      </a:lnTo>
                      <a:lnTo>
                        <a:pt x="466128" y="111239"/>
                      </a:lnTo>
                      <a:lnTo>
                        <a:pt x="462114" y="107264"/>
                      </a:lnTo>
                      <a:lnTo>
                        <a:pt x="462241" y="96583"/>
                      </a:lnTo>
                      <a:lnTo>
                        <a:pt x="466128" y="92557"/>
                      </a:lnTo>
                      <a:lnTo>
                        <a:pt x="476440" y="92557"/>
                      </a:lnTo>
                      <a:lnTo>
                        <a:pt x="480250" y="96583"/>
                      </a:lnTo>
                      <a:lnTo>
                        <a:pt x="480250" y="86639"/>
                      </a:lnTo>
                      <a:lnTo>
                        <a:pt x="480085" y="86474"/>
                      </a:lnTo>
                      <a:lnTo>
                        <a:pt x="462153" y="86474"/>
                      </a:lnTo>
                      <a:lnTo>
                        <a:pt x="455650" y="93065"/>
                      </a:lnTo>
                      <a:lnTo>
                        <a:pt x="455650" y="110985"/>
                      </a:lnTo>
                      <a:lnTo>
                        <a:pt x="462114" y="117208"/>
                      </a:lnTo>
                      <a:lnTo>
                        <a:pt x="480453" y="117208"/>
                      </a:lnTo>
                      <a:lnTo>
                        <a:pt x="486460" y="111239"/>
                      </a:lnTo>
                      <a:lnTo>
                        <a:pt x="486714" y="110985"/>
                      </a:lnTo>
                      <a:lnTo>
                        <a:pt x="486791" y="93065"/>
                      </a:lnTo>
                      <a:close/>
                    </a:path>
                    <a:path w="802005" h="117475">
                      <a:moveTo>
                        <a:pt x="520052" y="98399"/>
                      </a:moveTo>
                      <a:lnTo>
                        <a:pt x="508292" y="99275"/>
                      </a:lnTo>
                      <a:lnTo>
                        <a:pt x="508292" y="93179"/>
                      </a:lnTo>
                      <a:lnTo>
                        <a:pt x="509574" y="92151"/>
                      </a:lnTo>
                      <a:lnTo>
                        <a:pt x="513054" y="92151"/>
                      </a:lnTo>
                      <a:lnTo>
                        <a:pt x="514286" y="93433"/>
                      </a:lnTo>
                      <a:lnTo>
                        <a:pt x="515416" y="94919"/>
                      </a:lnTo>
                      <a:lnTo>
                        <a:pt x="517880" y="92151"/>
                      </a:lnTo>
                      <a:lnTo>
                        <a:pt x="519468" y="90360"/>
                      </a:lnTo>
                      <a:lnTo>
                        <a:pt x="516991" y="87795"/>
                      </a:lnTo>
                      <a:lnTo>
                        <a:pt x="514794" y="86436"/>
                      </a:lnTo>
                      <a:lnTo>
                        <a:pt x="506095" y="86436"/>
                      </a:lnTo>
                      <a:lnTo>
                        <a:pt x="501662" y="89662"/>
                      </a:lnTo>
                      <a:lnTo>
                        <a:pt x="501662" y="99898"/>
                      </a:lnTo>
                      <a:lnTo>
                        <a:pt x="505599" y="102298"/>
                      </a:lnTo>
                      <a:lnTo>
                        <a:pt x="509574" y="104203"/>
                      </a:lnTo>
                      <a:lnTo>
                        <a:pt x="512216" y="105740"/>
                      </a:lnTo>
                      <a:lnTo>
                        <a:pt x="513384" y="108216"/>
                      </a:lnTo>
                      <a:lnTo>
                        <a:pt x="513384" y="110286"/>
                      </a:lnTo>
                      <a:lnTo>
                        <a:pt x="511683" y="111696"/>
                      </a:lnTo>
                      <a:lnTo>
                        <a:pt x="507301" y="111696"/>
                      </a:lnTo>
                      <a:lnTo>
                        <a:pt x="505675" y="110083"/>
                      </a:lnTo>
                      <a:lnTo>
                        <a:pt x="504190" y="108381"/>
                      </a:lnTo>
                      <a:lnTo>
                        <a:pt x="500049" y="112941"/>
                      </a:lnTo>
                      <a:lnTo>
                        <a:pt x="502691" y="115506"/>
                      </a:lnTo>
                      <a:lnTo>
                        <a:pt x="505637" y="117132"/>
                      </a:lnTo>
                      <a:lnTo>
                        <a:pt x="515200" y="117132"/>
                      </a:lnTo>
                      <a:lnTo>
                        <a:pt x="520052" y="113639"/>
                      </a:lnTo>
                      <a:lnTo>
                        <a:pt x="520052" y="111696"/>
                      </a:lnTo>
                      <a:lnTo>
                        <a:pt x="520052" y="99275"/>
                      </a:lnTo>
                      <a:lnTo>
                        <a:pt x="520052" y="98399"/>
                      </a:lnTo>
                      <a:close/>
                    </a:path>
                    <a:path w="802005" h="117475">
                      <a:moveTo>
                        <a:pt x="540639" y="87223"/>
                      </a:moveTo>
                      <a:lnTo>
                        <a:pt x="521792" y="87223"/>
                      </a:lnTo>
                      <a:lnTo>
                        <a:pt x="521792" y="92938"/>
                      </a:lnTo>
                      <a:lnTo>
                        <a:pt x="528040" y="92938"/>
                      </a:lnTo>
                      <a:lnTo>
                        <a:pt x="528040" y="116459"/>
                      </a:lnTo>
                      <a:lnTo>
                        <a:pt x="534377" y="116459"/>
                      </a:lnTo>
                      <a:lnTo>
                        <a:pt x="534377" y="92849"/>
                      </a:lnTo>
                      <a:lnTo>
                        <a:pt x="540639" y="92849"/>
                      </a:lnTo>
                      <a:lnTo>
                        <a:pt x="540639" y="87223"/>
                      </a:lnTo>
                      <a:close/>
                    </a:path>
                    <a:path w="802005" h="117475">
                      <a:moveTo>
                        <a:pt x="569455" y="116459"/>
                      </a:moveTo>
                      <a:lnTo>
                        <a:pt x="567029" y="110540"/>
                      </a:lnTo>
                      <a:lnTo>
                        <a:pt x="564756" y="105029"/>
                      </a:lnTo>
                      <a:lnTo>
                        <a:pt x="560019" y="93472"/>
                      </a:lnTo>
                      <a:lnTo>
                        <a:pt x="558190" y="89027"/>
                      </a:lnTo>
                      <a:lnTo>
                        <a:pt x="558190" y="105029"/>
                      </a:lnTo>
                      <a:lnTo>
                        <a:pt x="550151" y="105029"/>
                      </a:lnTo>
                      <a:lnTo>
                        <a:pt x="554088" y="93472"/>
                      </a:lnTo>
                      <a:lnTo>
                        <a:pt x="558190" y="105029"/>
                      </a:lnTo>
                      <a:lnTo>
                        <a:pt x="558190" y="89027"/>
                      </a:lnTo>
                      <a:lnTo>
                        <a:pt x="557453" y="87223"/>
                      </a:lnTo>
                      <a:lnTo>
                        <a:pt x="550697" y="87223"/>
                      </a:lnTo>
                      <a:lnTo>
                        <a:pt x="539216" y="116459"/>
                      </a:lnTo>
                      <a:lnTo>
                        <a:pt x="546011" y="116459"/>
                      </a:lnTo>
                      <a:lnTo>
                        <a:pt x="548170" y="110540"/>
                      </a:lnTo>
                      <a:lnTo>
                        <a:pt x="560311" y="110540"/>
                      </a:lnTo>
                      <a:lnTo>
                        <a:pt x="562584" y="116459"/>
                      </a:lnTo>
                      <a:lnTo>
                        <a:pt x="569455" y="116459"/>
                      </a:lnTo>
                      <a:close/>
                    </a:path>
                    <a:path w="802005" h="117475">
                      <a:moveTo>
                        <a:pt x="577265" y="368"/>
                      </a:moveTo>
                      <a:lnTo>
                        <a:pt x="526224" y="368"/>
                      </a:lnTo>
                      <a:lnTo>
                        <a:pt x="526643" y="2349"/>
                      </a:lnTo>
                      <a:lnTo>
                        <a:pt x="526199" y="4457"/>
                      </a:lnTo>
                      <a:lnTo>
                        <a:pt x="499986" y="58293"/>
                      </a:lnTo>
                      <a:lnTo>
                        <a:pt x="515378" y="58293"/>
                      </a:lnTo>
                      <a:lnTo>
                        <a:pt x="527939" y="32499"/>
                      </a:lnTo>
                      <a:lnTo>
                        <a:pt x="554710" y="32499"/>
                      </a:lnTo>
                      <a:lnTo>
                        <a:pt x="555904" y="33401"/>
                      </a:lnTo>
                      <a:lnTo>
                        <a:pt x="556564" y="34721"/>
                      </a:lnTo>
                      <a:lnTo>
                        <a:pt x="562102" y="23342"/>
                      </a:lnTo>
                      <a:lnTo>
                        <a:pt x="532396" y="23355"/>
                      </a:lnTo>
                      <a:lnTo>
                        <a:pt x="539127" y="9525"/>
                      </a:lnTo>
                      <a:lnTo>
                        <a:pt x="569874" y="9537"/>
                      </a:lnTo>
                      <a:lnTo>
                        <a:pt x="571080" y="10426"/>
                      </a:lnTo>
                      <a:lnTo>
                        <a:pt x="571728" y="11760"/>
                      </a:lnTo>
                      <a:lnTo>
                        <a:pt x="577265" y="368"/>
                      </a:lnTo>
                      <a:close/>
                    </a:path>
                    <a:path w="802005" h="117475">
                      <a:moveTo>
                        <a:pt x="586689" y="87223"/>
                      </a:moveTo>
                      <a:lnTo>
                        <a:pt x="567842" y="87223"/>
                      </a:lnTo>
                      <a:lnTo>
                        <a:pt x="567842" y="92938"/>
                      </a:lnTo>
                      <a:lnTo>
                        <a:pt x="574090" y="92938"/>
                      </a:lnTo>
                      <a:lnTo>
                        <a:pt x="574090" y="116459"/>
                      </a:lnTo>
                      <a:lnTo>
                        <a:pt x="580440" y="116459"/>
                      </a:lnTo>
                      <a:lnTo>
                        <a:pt x="580440" y="92849"/>
                      </a:lnTo>
                      <a:lnTo>
                        <a:pt x="586689" y="92849"/>
                      </a:lnTo>
                      <a:lnTo>
                        <a:pt x="586689" y="87223"/>
                      </a:lnTo>
                      <a:close/>
                    </a:path>
                    <a:path w="802005" h="117475">
                      <a:moveTo>
                        <a:pt x="618617" y="93065"/>
                      </a:moveTo>
                      <a:lnTo>
                        <a:pt x="618096" y="92557"/>
                      </a:lnTo>
                      <a:lnTo>
                        <a:pt x="612076" y="86652"/>
                      </a:lnTo>
                      <a:lnTo>
                        <a:pt x="612076" y="96583"/>
                      </a:lnTo>
                      <a:lnTo>
                        <a:pt x="612038" y="107264"/>
                      </a:lnTo>
                      <a:lnTo>
                        <a:pt x="608266" y="111239"/>
                      </a:lnTo>
                      <a:lnTo>
                        <a:pt x="597941" y="111239"/>
                      </a:lnTo>
                      <a:lnTo>
                        <a:pt x="593928" y="107264"/>
                      </a:lnTo>
                      <a:lnTo>
                        <a:pt x="594055" y="96583"/>
                      </a:lnTo>
                      <a:lnTo>
                        <a:pt x="597941" y="92557"/>
                      </a:lnTo>
                      <a:lnTo>
                        <a:pt x="608266" y="92557"/>
                      </a:lnTo>
                      <a:lnTo>
                        <a:pt x="612076" y="96583"/>
                      </a:lnTo>
                      <a:lnTo>
                        <a:pt x="612076" y="86652"/>
                      </a:lnTo>
                      <a:lnTo>
                        <a:pt x="611898" y="86474"/>
                      </a:lnTo>
                      <a:lnTo>
                        <a:pt x="593966" y="86474"/>
                      </a:lnTo>
                      <a:lnTo>
                        <a:pt x="587463" y="93065"/>
                      </a:lnTo>
                      <a:lnTo>
                        <a:pt x="587463" y="110985"/>
                      </a:lnTo>
                      <a:lnTo>
                        <a:pt x="593928" y="117208"/>
                      </a:lnTo>
                      <a:lnTo>
                        <a:pt x="612279" y="117208"/>
                      </a:lnTo>
                      <a:lnTo>
                        <a:pt x="618286" y="111239"/>
                      </a:lnTo>
                      <a:lnTo>
                        <a:pt x="618540" y="110985"/>
                      </a:lnTo>
                      <a:lnTo>
                        <a:pt x="618617" y="93065"/>
                      </a:lnTo>
                      <a:close/>
                    </a:path>
                    <a:path w="802005" h="117475">
                      <a:moveTo>
                        <a:pt x="640321" y="87223"/>
                      </a:moveTo>
                      <a:lnTo>
                        <a:pt x="633945" y="87223"/>
                      </a:lnTo>
                      <a:lnTo>
                        <a:pt x="633945" y="116459"/>
                      </a:lnTo>
                      <a:lnTo>
                        <a:pt x="640321" y="116459"/>
                      </a:lnTo>
                      <a:lnTo>
                        <a:pt x="640321" y="87223"/>
                      </a:lnTo>
                      <a:close/>
                    </a:path>
                    <a:path w="802005" h="117475">
                      <a:moveTo>
                        <a:pt x="647966" y="406"/>
                      </a:moveTo>
                      <a:lnTo>
                        <a:pt x="596798" y="406"/>
                      </a:lnTo>
                      <a:lnTo>
                        <a:pt x="597204" y="2374"/>
                      </a:lnTo>
                      <a:lnTo>
                        <a:pt x="596773" y="4483"/>
                      </a:lnTo>
                      <a:lnTo>
                        <a:pt x="570560" y="58318"/>
                      </a:lnTo>
                      <a:lnTo>
                        <a:pt x="627951" y="58318"/>
                      </a:lnTo>
                      <a:lnTo>
                        <a:pt x="633336" y="47256"/>
                      </a:lnTo>
                      <a:lnTo>
                        <a:pt x="632167" y="48374"/>
                      </a:lnTo>
                      <a:lnTo>
                        <a:pt x="628967" y="49161"/>
                      </a:lnTo>
                      <a:lnTo>
                        <a:pt x="590410" y="49161"/>
                      </a:lnTo>
                      <a:lnTo>
                        <a:pt x="598512" y="32537"/>
                      </a:lnTo>
                      <a:lnTo>
                        <a:pt x="625398" y="32524"/>
                      </a:lnTo>
                      <a:lnTo>
                        <a:pt x="626592" y="33413"/>
                      </a:lnTo>
                      <a:lnTo>
                        <a:pt x="627240" y="34759"/>
                      </a:lnTo>
                      <a:lnTo>
                        <a:pt x="632790" y="23380"/>
                      </a:lnTo>
                      <a:lnTo>
                        <a:pt x="602970" y="23380"/>
                      </a:lnTo>
                      <a:lnTo>
                        <a:pt x="609701" y="9563"/>
                      </a:lnTo>
                      <a:lnTo>
                        <a:pt x="640562" y="9563"/>
                      </a:lnTo>
                      <a:lnTo>
                        <a:pt x="641769" y="10452"/>
                      </a:lnTo>
                      <a:lnTo>
                        <a:pt x="642416" y="11785"/>
                      </a:lnTo>
                      <a:lnTo>
                        <a:pt x="647966" y="406"/>
                      </a:lnTo>
                      <a:close/>
                    </a:path>
                    <a:path w="802005" h="117475">
                      <a:moveTo>
                        <a:pt x="662089" y="87223"/>
                      </a:moveTo>
                      <a:lnTo>
                        <a:pt x="643255" y="87223"/>
                      </a:lnTo>
                      <a:lnTo>
                        <a:pt x="643255" y="92938"/>
                      </a:lnTo>
                      <a:lnTo>
                        <a:pt x="649503" y="92938"/>
                      </a:lnTo>
                      <a:lnTo>
                        <a:pt x="649503" y="116459"/>
                      </a:lnTo>
                      <a:lnTo>
                        <a:pt x="655840" y="116459"/>
                      </a:lnTo>
                      <a:lnTo>
                        <a:pt x="655840" y="92849"/>
                      </a:lnTo>
                      <a:lnTo>
                        <a:pt x="662089" y="92849"/>
                      </a:lnTo>
                      <a:lnTo>
                        <a:pt x="662089" y="87223"/>
                      </a:lnTo>
                      <a:close/>
                    </a:path>
                    <a:path w="802005" h="117475">
                      <a:moveTo>
                        <a:pt x="690918" y="116459"/>
                      </a:moveTo>
                      <a:lnTo>
                        <a:pt x="688479" y="110540"/>
                      </a:lnTo>
                      <a:lnTo>
                        <a:pt x="686219" y="105029"/>
                      </a:lnTo>
                      <a:lnTo>
                        <a:pt x="681469" y="93472"/>
                      </a:lnTo>
                      <a:lnTo>
                        <a:pt x="679653" y="89052"/>
                      </a:lnTo>
                      <a:lnTo>
                        <a:pt x="679653" y="105029"/>
                      </a:lnTo>
                      <a:lnTo>
                        <a:pt x="671626" y="105029"/>
                      </a:lnTo>
                      <a:lnTo>
                        <a:pt x="675551" y="93472"/>
                      </a:lnTo>
                      <a:lnTo>
                        <a:pt x="679653" y="105029"/>
                      </a:lnTo>
                      <a:lnTo>
                        <a:pt x="679653" y="89052"/>
                      </a:lnTo>
                      <a:lnTo>
                        <a:pt x="678903" y="87223"/>
                      </a:lnTo>
                      <a:lnTo>
                        <a:pt x="672160" y="87223"/>
                      </a:lnTo>
                      <a:lnTo>
                        <a:pt x="660679" y="116459"/>
                      </a:lnTo>
                      <a:lnTo>
                        <a:pt x="667473" y="116459"/>
                      </a:lnTo>
                      <a:lnTo>
                        <a:pt x="669632" y="110540"/>
                      </a:lnTo>
                      <a:lnTo>
                        <a:pt x="681761" y="110540"/>
                      </a:lnTo>
                      <a:lnTo>
                        <a:pt x="684047" y="116459"/>
                      </a:lnTo>
                      <a:lnTo>
                        <a:pt x="690918" y="116459"/>
                      </a:lnTo>
                      <a:close/>
                    </a:path>
                    <a:path w="802005" h="117475">
                      <a:moveTo>
                        <a:pt x="709764" y="110705"/>
                      </a:moveTo>
                      <a:lnTo>
                        <a:pt x="699782" y="110705"/>
                      </a:lnTo>
                      <a:lnTo>
                        <a:pt x="699782" y="87223"/>
                      </a:lnTo>
                      <a:lnTo>
                        <a:pt x="693407" y="87223"/>
                      </a:lnTo>
                      <a:lnTo>
                        <a:pt x="693407" y="116459"/>
                      </a:lnTo>
                      <a:lnTo>
                        <a:pt x="709764" y="116459"/>
                      </a:lnTo>
                      <a:lnTo>
                        <a:pt x="709764" y="110705"/>
                      </a:lnTo>
                      <a:close/>
                    </a:path>
                    <a:path w="802005" h="117475">
                      <a:moveTo>
                        <a:pt x="719531" y="87223"/>
                      </a:moveTo>
                      <a:lnTo>
                        <a:pt x="713155" y="87223"/>
                      </a:lnTo>
                      <a:lnTo>
                        <a:pt x="713155" y="116459"/>
                      </a:lnTo>
                      <a:lnTo>
                        <a:pt x="719531" y="116459"/>
                      </a:lnTo>
                      <a:lnTo>
                        <a:pt x="719531" y="87223"/>
                      </a:lnTo>
                      <a:close/>
                    </a:path>
                    <a:path w="802005" h="117475">
                      <a:moveTo>
                        <a:pt x="720610" y="13995"/>
                      </a:moveTo>
                      <a:lnTo>
                        <a:pt x="720572" y="9613"/>
                      </a:lnTo>
                      <a:lnTo>
                        <a:pt x="720483" y="241"/>
                      </a:lnTo>
                      <a:lnTo>
                        <a:pt x="709193" y="406"/>
                      </a:lnTo>
                      <a:lnTo>
                        <a:pt x="705904" y="406"/>
                      </a:lnTo>
                      <a:lnTo>
                        <a:pt x="705904" y="20027"/>
                      </a:lnTo>
                      <a:lnTo>
                        <a:pt x="700366" y="25209"/>
                      </a:lnTo>
                      <a:lnTo>
                        <a:pt x="677748" y="25209"/>
                      </a:lnTo>
                      <a:lnTo>
                        <a:pt x="685368" y="9613"/>
                      </a:lnTo>
                      <a:lnTo>
                        <a:pt x="704342" y="9613"/>
                      </a:lnTo>
                      <a:lnTo>
                        <a:pt x="705815" y="12192"/>
                      </a:lnTo>
                      <a:lnTo>
                        <a:pt x="705904" y="20027"/>
                      </a:lnTo>
                      <a:lnTo>
                        <a:pt x="705904" y="406"/>
                      </a:lnTo>
                      <a:lnTo>
                        <a:pt x="672465" y="406"/>
                      </a:lnTo>
                      <a:lnTo>
                        <a:pt x="672858" y="2387"/>
                      </a:lnTo>
                      <a:lnTo>
                        <a:pt x="672414" y="4521"/>
                      </a:lnTo>
                      <a:lnTo>
                        <a:pt x="646239" y="58318"/>
                      </a:lnTo>
                      <a:lnTo>
                        <a:pt x="661619" y="58318"/>
                      </a:lnTo>
                      <a:lnTo>
                        <a:pt x="673290" y="34366"/>
                      </a:lnTo>
                      <a:lnTo>
                        <a:pt x="689394" y="34366"/>
                      </a:lnTo>
                      <a:lnTo>
                        <a:pt x="694499" y="58318"/>
                      </a:lnTo>
                      <a:lnTo>
                        <a:pt x="711034" y="58318"/>
                      </a:lnTo>
                      <a:lnTo>
                        <a:pt x="710031" y="57721"/>
                      </a:lnTo>
                      <a:lnTo>
                        <a:pt x="708710" y="56273"/>
                      </a:lnTo>
                      <a:lnTo>
                        <a:pt x="703554" y="34366"/>
                      </a:lnTo>
                      <a:lnTo>
                        <a:pt x="703529" y="34226"/>
                      </a:lnTo>
                      <a:lnTo>
                        <a:pt x="708367" y="32486"/>
                      </a:lnTo>
                      <a:lnTo>
                        <a:pt x="714032" y="28460"/>
                      </a:lnTo>
                      <a:lnTo>
                        <a:pt x="716470" y="25209"/>
                      </a:lnTo>
                      <a:lnTo>
                        <a:pt x="718705" y="22250"/>
                      </a:lnTo>
                      <a:lnTo>
                        <a:pt x="720610" y="13995"/>
                      </a:lnTo>
                      <a:close/>
                    </a:path>
                    <a:path w="802005" h="117475">
                      <a:moveTo>
                        <a:pt x="752170" y="116459"/>
                      </a:moveTo>
                      <a:lnTo>
                        <a:pt x="749744" y="110540"/>
                      </a:lnTo>
                      <a:lnTo>
                        <a:pt x="747471" y="105029"/>
                      </a:lnTo>
                      <a:lnTo>
                        <a:pt x="742734" y="93472"/>
                      </a:lnTo>
                      <a:lnTo>
                        <a:pt x="740905" y="89027"/>
                      </a:lnTo>
                      <a:lnTo>
                        <a:pt x="740905" y="105029"/>
                      </a:lnTo>
                      <a:lnTo>
                        <a:pt x="732866" y="105029"/>
                      </a:lnTo>
                      <a:lnTo>
                        <a:pt x="736803" y="93472"/>
                      </a:lnTo>
                      <a:lnTo>
                        <a:pt x="740905" y="105029"/>
                      </a:lnTo>
                      <a:lnTo>
                        <a:pt x="740905" y="89027"/>
                      </a:lnTo>
                      <a:lnTo>
                        <a:pt x="740168" y="87223"/>
                      </a:lnTo>
                      <a:lnTo>
                        <a:pt x="733412" y="87223"/>
                      </a:lnTo>
                      <a:lnTo>
                        <a:pt x="721931" y="116459"/>
                      </a:lnTo>
                      <a:lnTo>
                        <a:pt x="728726" y="116459"/>
                      </a:lnTo>
                      <a:lnTo>
                        <a:pt x="730885" y="110540"/>
                      </a:lnTo>
                      <a:lnTo>
                        <a:pt x="743013" y="110540"/>
                      </a:lnTo>
                      <a:lnTo>
                        <a:pt x="745299" y="116459"/>
                      </a:lnTo>
                      <a:lnTo>
                        <a:pt x="752170" y="116459"/>
                      </a:lnTo>
                      <a:close/>
                    </a:path>
                    <a:path w="802005" h="117475">
                      <a:moveTo>
                        <a:pt x="779919" y="87223"/>
                      </a:moveTo>
                      <a:lnTo>
                        <a:pt x="773963" y="87223"/>
                      </a:lnTo>
                      <a:lnTo>
                        <a:pt x="774077" y="106476"/>
                      </a:lnTo>
                      <a:lnTo>
                        <a:pt x="767245" y="96824"/>
                      </a:lnTo>
                      <a:lnTo>
                        <a:pt x="760450" y="87223"/>
                      </a:lnTo>
                      <a:lnTo>
                        <a:pt x="754697" y="87223"/>
                      </a:lnTo>
                      <a:lnTo>
                        <a:pt x="754697" y="116459"/>
                      </a:lnTo>
                      <a:lnTo>
                        <a:pt x="760704" y="116459"/>
                      </a:lnTo>
                      <a:lnTo>
                        <a:pt x="760539" y="96824"/>
                      </a:lnTo>
                      <a:lnTo>
                        <a:pt x="774242" y="116459"/>
                      </a:lnTo>
                      <a:lnTo>
                        <a:pt x="779919" y="116459"/>
                      </a:lnTo>
                      <a:lnTo>
                        <a:pt x="779919" y="106476"/>
                      </a:lnTo>
                      <a:lnTo>
                        <a:pt x="779919" y="87223"/>
                      </a:lnTo>
                      <a:close/>
                    </a:path>
                    <a:path w="802005" h="117475">
                      <a:moveTo>
                        <a:pt x="800849" y="13995"/>
                      </a:moveTo>
                      <a:lnTo>
                        <a:pt x="800811" y="9613"/>
                      </a:lnTo>
                      <a:lnTo>
                        <a:pt x="800722" y="241"/>
                      </a:lnTo>
                      <a:lnTo>
                        <a:pt x="789432" y="406"/>
                      </a:lnTo>
                      <a:lnTo>
                        <a:pt x="786130" y="406"/>
                      </a:lnTo>
                      <a:lnTo>
                        <a:pt x="786130" y="20027"/>
                      </a:lnTo>
                      <a:lnTo>
                        <a:pt x="780605" y="25209"/>
                      </a:lnTo>
                      <a:lnTo>
                        <a:pt x="757986" y="25209"/>
                      </a:lnTo>
                      <a:lnTo>
                        <a:pt x="765619" y="9613"/>
                      </a:lnTo>
                      <a:lnTo>
                        <a:pt x="784567" y="9613"/>
                      </a:lnTo>
                      <a:lnTo>
                        <a:pt x="786053" y="12192"/>
                      </a:lnTo>
                      <a:lnTo>
                        <a:pt x="786130" y="20027"/>
                      </a:lnTo>
                      <a:lnTo>
                        <a:pt x="786130" y="406"/>
                      </a:lnTo>
                      <a:lnTo>
                        <a:pt x="752703" y="406"/>
                      </a:lnTo>
                      <a:lnTo>
                        <a:pt x="753097" y="2387"/>
                      </a:lnTo>
                      <a:lnTo>
                        <a:pt x="752652" y="4521"/>
                      </a:lnTo>
                      <a:lnTo>
                        <a:pt x="726478" y="58318"/>
                      </a:lnTo>
                      <a:lnTo>
                        <a:pt x="741870" y="58318"/>
                      </a:lnTo>
                      <a:lnTo>
                        <a:pt x="753529" y="34366"/>
                      </a:lnTo>
                      <a:lnTo>
                        <a:pt x="769632" y="34366"/>
                      </a:lnTo>
                      <a:lnTo>
                        <a:pt x="774750" y="58318"/>
                      </a:lnTo>
                      <a:lnTo>
                        <a:pt x="791286" y="58318"/>
                      </a:lnTo>
                      <a:lnTo>
                        <a:pt x="790282" y="57721"/>
                      </a:lnTo>
                      <a:lnTo>
                        <a:pt x="788936" y="56273"/>
                      </a:lnTo>
                      <a:lnTo>
                        <a:pt x="788454" y="54152"/>
                      </a:lnTo>
                      <a:lnTo>
                        <a:pt x="783805" y="34366"/>
                      </a:lnTo>
                      <a:lnTo>
                        <a:pt x="783767" y="34226"/>
                      </a:lnTo>
                      <a:lnTo>
                        <a:pt x="788619" y="32486"/>
                      </a:lnTo>
                      <a:lnTo>
                        <a:pt x="794283" y="28460"/>
                      </a:lnTo>
                      <a:lnTo>
                        <a:pt x="796721" y="25209"/>
                      </a:lnTo>
                      <a:lnTo>
                        <a:pt x="798957" y="22250"/>
                      </a:lnTo>
                      <a:lnTo>
                        <a:pt x="800849" y="13995"/>
                      </a:lnTo>
                      <a:close/>
                    </a:path>
                    <a:path w="802005" h="117475">
                      <a:moveTo>
                        <a:pt x="801408" y="87223"/>
                      </a:moveTo>
                      <a:lnTo>
                        <a:pt x="784796" y="87223"/>
                      </a:lnTo>
                      <a:lnTo>
                        <a:pt x="784796" y="116459"/>
                      </a:lnTo>
                      <a:lnTo>
                        <a:pt x="801370" y="116459"/>
                      </a:lnTo>
                      <a:lnTo>
                        <a:pt x="801370" y="110617"/>
                      </a:lnTo>
                      <a:lnTo>
                        <a:pt x="791146" y="110617"/>
                      </a:lnTo>
                      <a:lnTo>
                        <a:pt x="791146" y="104368"/>
                      </a:lnTo>
                      <a:lnTo>
                        <a:pt x="801166" y="104368"/>
                      </a:lnTo>
                      <a:lnTo>
                        <a:pt x="801166" y="98691"/>
                      </a:lnTo>
                      <a:lnTo>
                        <a:pt x="791146" y="98691"/>
                      </a:lnTo>
                      <a:lnTo>
                        <a:pt x="791146" y="92887"/>
                      </a:lnTo>
                      <a:lnTo>
                        <a:pt x="801408" y="92887"/>
                      </a:lnTo>
                      <a:lnTo>
                        <a:pt x="801408" y="87223"/>
                      </a:lnTo>
                      <a:close/>
                    </a:path>
                  </a:pathLst>
                </a:custGeom>
                <a:solidFill>
                  <a:srgbClr val="006A65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463" name="object 210">
                  <a:extLst>
                    <a:ext uri="{FF2B5EF4-FFF2-40B4-BE49-F238E27FC236}">
                      <a16:creationId xmlns:a16="http://schemas.microsoft.com/office/drawing/2014/main" id="{0A84618F-B142-9771-613C-9C2F489729EB}"/>
                    </a:ext>
                  </a:extLst>
                </p:cNvPr>
                <p:cNvPicPr/>
                <p:nvPr/>
              </p:nvPicPr>
              <p:blipFill>
                <a:blip r:embed="rId36" cstate="print"/>
                <a:stretch>
                  <a:fillRect/>
                </a:stretch>
              </p:blipFill>
              <p:spPr>
                <a:xfrm>
                  <a:off x="359916" y="3603590"/>
                  <a:ext cx="290335" cy="196660"/>
                </a:xfrm>
                <a:prstGeom prst="rect">
                  <a:avLst/>
                </a:prstGeom>
              </p:spPr>
            </p:pic>
            <p:sp>
              <p:nvSpPr>
                <p:cNvPr id="464" name="object 211">
                  <a:extLst>
                    <a:ext uri="{FF2B5EF4-FFF2-40B4-BE49-F238E27FC236}">
                      <a16:creationId xmlns:a16="http://schemas.microsoft.com/office/drawing/2014/main" id="{2CB97E59-49BE-8BD7-610B-0158976A4625}"/>
                    </a:ext>
                  </a:extLst>
                </p:cNvPr>
                <p:cNvSpPr/>
                <p:nvPr/>
              </p:nvSpPr>
              <p:spPr>
                <a:xfrm>
                  <a:off x="612718" y="2997703"/>
                  <a:ext cx="810260" cy="128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0260" h="128269">
                      <a:moveTo>
                        <a:pt x="754697" y="38963"/>
                      </a:moveTo>
                      <a:lnTo>
                        <a:pt x="777570" y="56642"/>
                      </a:lnTo>
                      <a:lnTo>
                        <a:pt x="790466" y="54755"/>
                      </a:lnTo>
                      <a:lnTo>
                        <a:pt x="798487" y="49998"/>
                      </a:lnTo>
                      <a:lnTo>
                        <a:pt x="800075" y="47599"/>
                      </a:lnTo>
                      <a:lnTo>
                        <a:pt x="789483" y="47599"/>
                      </a:lnTo>
                      <a:lnTo>
                        <a:pt x="780402" y="47459"/>
                      </a:lnTo>
                      <a:lnTo>
                        <a:pt x="770661" y="46532"/>
                      </a:lnTo>
                      <a:lnTo>
                        <a:pt x="755142" y="44348"/>
                      </a:lnTo>
                      <a:lnTo>
                        <a:pt x="754697" y="38963"/>
                      </a:lnTo>
                      <a:close/>
                    </a:path>
                    <a:path w="810260" h="128269">
                      <a:moveTo>
                        <a:pt x="712775" y="1727"/>
                      </a:moveTo>
                      <a:lnTo>
                        <a:pt x="698919" y="1727"/>
                      </a:lnTo>
                      <a:lnTo>
                        <a:pt x="702729" y="9334"/>
                      </a:lnTo>
                      <a:lnTo>
                        <a:pt x="711771" y="31178"/>
                      </a:lnTo>
                      <a:lnTo>
                        <a:pt x="700456" y="54356"/>
                      </a:lnTo>
                      <a:lnTo>
                        <a:pt x="714146" y="54356"/>
                      </a:lnTo>
                      <a:lnTo>
                        <a:pt x="724408" y="33337"/>
                      </a:lnTo>
                      <a:lnTo>
                        <a:pt x="734895" y="24371"/>
                      </a:lnTo>
                      <a:lnTo>
                        <a:pt x="722490" y="24371"/>
                      </a:lnTo>
                      <a:lnTo>
                        <a:pt x="712775" y="1727"/>
                      </a:lnTo>
                      <a:close/>
                    </a:path>
                    <a:path w="810260" h="128269">
                      <a:moveTo>
                        <a:pt x="789775" y="0"/>
                      </a:moveTo>
                      <a:lnTo>
                        <a:pt x="759612" y="25323"/>
                      </a:lnTo>
                      <a:lnTo>
                        <a:pt x="765149" y="29502"/>
                      </a:lnTo>
                      <a:lnTo>
                        <a:pt x="789851" y="36004"/>
                      </a:lnTo>
                      <a:lnTo>
                        <a:pt x="789483" y="47599"/>
                      </a:lnTo>
                      <a:lnTo>
                        <a:pt x="800075" y="47599"/>
                      </a:lnTo>
                      <a:lnTo>
                        <a:pt x="802641" y="43724"/>
                      </a:lnTo>
                      <a:lnTo>
                        <a:pt x="803935" y="37287"/>
                      </a:lnTo>
                      <a:lnTo>
                        <a:pt x="804060" y="33337"/>
                      </a:lnTo>
                      <a:lnTo>
                        <a:pt x="804092" y="31178"/>
                      </a:lnTo>
                      <a:lnTo>
                        <a:pt x="800938" y="25171"/>
                      </a:lnTo>
                      <a:lnTo>
                        <a:pt x="782434" y="19354"/>
                      </a:lnTo>
                      <a:lnTo>
                        <a:pt x="773239" y="18427"/>
                      </a:lnTo>
                      <a:lnTo>
                        <a:pt x="773544" y="8547"/>
                      </a:lnTo>
                      <a:lnTo>
                        <a:pt x="782409" y="8102"/>
                      </a:lnTo>
                      <a:lnTo>
                        <a:pt x="807923" y="8102"/>
                      </a:lnTo>
                      <a:lnTo>
                        <a:pt x="809650" y="4483"/>
                      </a:lnTo>
                      <a:lnTo>
                        <a:pt x="802856" y="1778"/>
                      </a:lnTo>
                      <a:lnTo>
                        <a:pt x="794982" y="482"/>
                      </a:lnTo>
                      <a:lnTo>
                        <a:pt x="789775" y="0"/>
                      </a:lnTo>
                      <a:close/>
                    </a:path>
                    <a:path w="810260" h="128269">
                      <a:moveTo>
                        <a:pt x="761365" y="1739"/>
                      </a:moveTo>
                      <a:lnTo>
                        <a:pt x="745896" y="1739"/>
                      </a:lnTo>
                      <a:lnTo>
                        <a:pt x="745896" y="3517"/>
                      </a:lnTo>
                      <a:lnTo>
                        <a:pt x="744614" y="4940"/>
                      </a:lnTo>
                      <a:lnTo>
                        <a:pt x="743407" y="5943"/>
                      </a:lnTo>
                      <a:lnTo>
                        <a:pt x="722490" y="24371"/>
                      </a:lnTo>
                      <a:lnTo>
                        <a:pt x="734895" y="24371"/>
                      </a:lnTo>
                      <a:lnTo>
                        <a:pt x="761365" y="1739"/>
                      </a:lnTo>
                      <a:close/>
                    </a:path>
                    <a:path w="810260" h="128269">
                      <a:moveTo>
                        <a:pt x="807923" y="8102"/>
                      </a:moveTo>
                      <a:lnTo>
                        <a:pt x="782409" y="8102"/>
                      </a:lnTo>
                      <a:lnTo>
                        <a:pt x="795198" y="9334"/>
                      </a:lnTo>
                      <a:lnTo>
                        <a:pt x="800938" y="11087"/>
                      </a:lnTo>
                      <a:lnTo>
                        <a:pt x="805510" y="13157"/>
                      </a:lnTo>
                      <a:lnTo>
                        <a:pt x="807923" y="8102"/>
                      </a:lnTo>
                      <a:close/>
                    </a:path>
                    <a:path w="810260" h="128269">
                      <a:moveTo>
                        <a:pt x="601104" y="1739"/>
                      </a:moveTo>
                      <a:lnTo>
                        <a:pt x="587007" y="1739"/>
                      </a:lnTo>
                      <a:lnTo>
                        <a:pt x="587756" y="2374"/>
                      </a:lnTo>
                      <a:lnTo>
                        <a:pt x="588155" y="4495"/>
                      </a:lnTo>
                      <a:lnTo>
                        <a:pt x="584530" y="54356"/>
                      </a:lnTo>
                      <a:lnTo>
                        <a:pt x="595439" y="54356"/>
                      </a:lnTo>
                      <a:lnTo>
                        <a:pt x="607384" y="35090"/>
                      </a:lnTo>
                      <a:lnTo>
                        <a:pt x="597929" y="35090"/>
                      </a:lnTo>
                      <a:lnTo>
                        <a:pt x="601104" y="1739"/>
                      </a:lnTo>
                      <a:close/>
                    </a:path>
                    <a:path w="810260" h="128269">
                      <a:moveTo>
                        <a:pt x="626616" y="23241"/>
                      </a:moveTo>
                      <a:lnTo>
                        <a:pt x="614731" y="23241"/>
                      </a:lnTo>
                      <a:lnTo>
                        <a:pt x="611772" y="54356"/>
                      </a:lnTo>
                      <a:lnTo>
                        <a:pt x="621195" y="54356"/>
                      </a:lnTo>
                      <a:lnTo>
                        <a:pt x="636076" y="35090"/>
                      </a:lnTo>
                      <a:lnTo>
                        <a:pt x="625488" y="35090"/>
                      </a:lnTo>
                      <a:lnTo>
                        <a:pt x="626616" y="23241"/>
                      </a:lnTo>
                      <a:close/>
                    </a:path>
                    <a:path w="810260" h="128269">
                      <a:moveTo>
                        <a:pt x="690448" y="1739"/>
                      </a:moveTo>
                      <a:lnTo>
                        <a:pt x="676326" y="1739"/>
                      </a:lnTo>
                      <a:lnTo>
                        <a:pt x="676326" y="3035"/>
                      </a:lnTo>
                      <a:lnTo>
                        <a:pt x="675843" y="4495"/>
                      </a:lnTo>
                      <a:lnTo>
                        <a:pt x="674586" y="5994"/>
                      </a:lnTo>
                      <a:lnTo>
                        <a:pt x="632879" y="54356"/>
                      </a:lnTo>
                      <a:lnTo>
                        <a:pt x="644868" y="54356"/>
                      </a:lnTo>
                      <a:lnTo>
                        <a:pt x="654761" y="42379"/>
                      </a:lnTo>
                      <a:lnTo>
                        <a:pt x="692508" y="42379"/>
                      </a:lnTo>
                      <a:lnTo>
                        <a:pt x="692077" y="33870"/>
                      </a:lnTo>
                      <a:lnTo>
                        <a:pt x="663842" y="33870"/>
                      </a:lnTo>
                      <a:lnTo>
                        <a:pt x="681761" y="12255"/>
                      </a:lnTo>
                      <a:lnTo>
                        <a:pt x="690981" y="12255"/>
                      </a:lnTo>
                      <a:lnTo>
                        <a:pt x="690448" y="1739"/>
                      </a:lnTo>
                      <a:close/>
                    </a:path>
                    <a:path w="810260" h="128269">
                      <a:moveTo>
                        <a:pt x="692508" y="42379"/>
                      </a:moveTo>
                      <a:lnTo>
                        <a:pt x="680288" y="42379"/>
                      </a:lnTo>
                      <a:lnTo>
                        <a:pt x="680555" y="54356"/>
                      </a:lnTo>
                      <a:lnTo>
                        <a:pt x="693115" y="54356"/>
                      </a:lnTo>
                      <a:lnTo>
                        <a:pt x="692508" y="42379"/>
                      </a:lnTo>
                      <a:close/>
                    </a:path>
                    <a:path w="810260" h="128269">
                      <a:moveTo>
                        <a:pt x="628663" y="1739"/>
                      </a:moveTo>
                      <a:lnTo>
                        <a:pt x="616420" y="1739"/>
                      </a:lnTo>
                      <a:lnTo>
                        <a:pt x="616788" y="2222"/>
                      </a:lnTo>
                      <a:lnTo>
                        <a:pt x="616902" y="4622"/>
                      </a:lnTo>
                      <a:lnTo>
                        <a:pt x="597929" y="35090"/>
                      </a:lnTo>
                      <a:lnTo>
                        <a:pt x="607384" y="35090"/>
                      </a:lnTo>
                      <a:lnTo>
                        <a:pt x="614731" y="23241"/>
                      </a:lnTo>
                      <a:lnTo>
                        <a:pt x="626616" y="23241"/>
                      </a:lnTo>
                      <a:lnTo>
                        <a:pt x="628663" y="1739"/>
                      </a:lnTo>
                      <a:close/>
                    </a:path>
                    <a:path w="810260" h="128269">
                      <a:moveTo>
                        <a:pt x="661835" y="1739"/>
                      </a:moveTo>
                      <a:lnTo>
                        <a:pt x="647763" y="1739"/>
                      </a:lnTo>
                      <a:lnTo>
                        <a:pt x="648551" y="2616"/>
                      </a:lnTo>
                      <a:lnTo>
                        <a:pt x="648779" y="4838"/>
                      </a:lnTo>
                      <a:lnTo>
                        <a:pt x="625488" y="35090"/>
                      </a:lnTo>
                      <a:lnTo>
                        <a:pt x="636076" y="35090"/>
                      </a:lnTo>
                      <a:lnTo>
                        <a:pt x="661835" y="1739"/>
                      </a:lnTo>
                      <a:close/>
                    </a:path>
                    <a:path w="810260" h="128269">
                      <a:moveTo>
                        <a:pt x="690981" y="12255"/>
                      </a:moveTo>
                      <a:lnTo>
                        <a:pt x="681761" y="12255"/>
                      </a:lnTo>
                      <a:lnTo>
                        <a:pt x="682168" y="33870"/>
                      </a:lnTo>
                      <a:lnTo>
                        <a:pt x="692077" y="33870"/>
                      </a:lnTo>
                      <a:lnTo>
                        <a:pt x="690981" y="12255"/>
                      </a:lnTo>
                      <a:close/>
                    </a:path>
                    <a:path w="810260" h="128269">
                      <a:moveTo>
                        <a:pt x="445960" y="1587"/>
                      </a:moveTo>
                      <a:lnTo>
                        <a:pt x="435699" y="1739"/>
                      </a:lnTo>
                      <a:lnTo>
                        <a:pt x="402349" y="1739"/>
                      </a:lnTo>
                      <a:lnTo>
                        <a:pt x="402564" y="2286"/>
                      </a:lnTo>
                      <a:lnTo>
                        <a:pt x="402644" y="4495"/>
                      </a:lnTo>
                      <a:lnTo>
                        <a:pt x="402564" y="4902"/>
                      </a:lnTo>
                      <a:lnTo>
                        <a:pt x="402298" y="5486"/>
                      </a:lnTo>
                      <a:lnTo>
                        <a:pt x="378511" y="54356"/>
                      </a:lnTo>
                      <a:lnTo>
                        <a:pt x="392493" y="54356"/>
                      </a:lnTo>
                      <a:lnTo>
                        <a:pt x="403085" y="32600"/>
                      </a:lnTo>
                      <a:lnTo>
                        <a:pt x="430601" y="32600"/>
                      </a:lnTo>
                      <a:lnTo>
                        <a:pt x="430568" y="32461"/>
                      </a:lnTo>
                      <a:lnTo>
                        <a:pt x="435216" y="31826"/>
                      </a:lnTo>
                      <a:lnTo>
                        <a:pt x="446189" y="25273"/>
                      </a:lnTo>
                      <a:lnTo>
                        <a:pt x="446180" y="24307"/>
                      </a:lnTo>
                      <a:lnTo>
                        <a:pt x="407098" y="24307"/>
                      </a:lnTo>
                      <a:lnTo>
                        <a:pt x="414033" y="10147"/>
                      </a:lnTo>
                      <a:lnTo>
                        <a:pt x="446043" y="10147"/>
                      </a:lnTo>
                      <a:lnTo>
                        <a:pt x="445960" y="1587"/>
                      </a:lnTo>
                      <a:close/>
                    </a:path>
                    <a:path w="810260" h="128269">
                      <a:moveTo>
                        <a:pt x="430601" y="32600"/>
                      </a:moveTo>
                      <a:lnTo>
                        <a:pt x="417716" y="32600"/>
                      </a:lnTo>
                      <a:lnTo>
                        <a:pt x="422364" y="54356"/>
                      </a:lnTo>
                      <a:lnTo>
                        <a:pt x="437388" y="54356"/>
                      </a:lnTo>
                      <a:lnTo>
                        <a:pt x="436473" y="53822"/>
                      </a:lnTo>
                      <a:lnTo>
                        <a:pt x="435267" y="52501"/>
                      </a:lnTo>
                      <a:lnTo>
                        <a:pt x="430601" y="32600"/>
                      </a:lnTo>
                      <a:close/>
                    </a:path>
                    <a:path w="810260" h="128269">
                      <a:moveTo>
                        <a:pt x="498399" y="1739"/>
                      </a:moveTo>
                      <a:lnTo>
                        <a:pt x="484276" y="1739"/>
                      </a:lnTo>
                      <a:lnTo>
                        <a:pt x="484276" y="3035"/>
                      </a:lnTo>
                      <a:lnTo>
                        <a:pt x="483794" y="4495"/>
                      </a:lnTo>
                      <a:lnTo>
                        <a:pt x="482536" y="5994"/>
                      </a:lnTo>
                      <a:lnTo>
                        <a:pt x="440830" y="54356"/>
                      </a:lnTo>
                      <a:lnTo>
                        <a:pt x="452818" y="54356"/>
                      </a:lnTo>
                      <a:lnTo>
                        <a:pt x="462712" y="42379"/>
                      </a:lnTo>
                      <a:lnTo>
                        <a:pt x="500459" y="42379"/>
                      </a:lnTo>
                      <a:lnTo>
                        <a:pt x="500027" y="33870"/>
                      </a:lnTo>
                      <a:lnTo>
                        <a:pt x="469786" y="33870"/>
                      </a:lnTo>
                      <a:lnTo>
                        <a:pt x="487705" y="12255"/>
                      </a:lnTo>
                      <a:lnTo>
                        <a:pt x="498932" y="12255"/>
                      </a:lnTo>
                      <a:lnTo>
                        <a:pt x="498399" y="1739"/>
                      </a:lnTo>
                      <a:close/>
                    </a:path>
                    <a:path w="810260" h="128269">
                      <a:moveTo>
                        <a:pt x="500459" y="42379"/>
                      </a:moveTo>
                      <a:lnTo>
                        <a:pt x="488239" y="42379"/>
                      </a:lnTo>
                      <a:lnTo>
                        <a:pt x="488505" y="54356"/>
                      </a:lnTo>
                      <a:lnTo>
                        <a:pt x="501066" y="54356"/>
                      </a:lnTo>
                      <a:lnTo>
                        <a:pt x="500459" y="42379"/>
                      </a:lnTo>
                      <a:close/>
                    </a:path>
                    <a:path w="810260" h="128269">
                      <a:moveTo>
                        <a:pt x="498932" y="12255"/>
                      </a:moveTo>
                      <a:lnTo>
                        <a:pt x="487705" y="12255"/>
                      </a:lnTo>
                      <a:lnTo>
                        <a:pt x="488112" y="33870"/>
                      </a:lnTo>
                      <a:lnTo>
                        <a:pt x="500027" y="33870"/>
                      </a:lnTo>
                      <a:lnTo>
                        <a:pt x="498932" y="12255"/>
                      </a:lnTo>
                      <a:close/>
                    </a:path>
                    <a:path w="810260" h="128269">
                      <a:moveTo>
                        <a:pt x="446043" y="10147"/>
                      </a:moveTo>
                      <a:lnTo>
                        <a:pt x="431216" y="10147"/>
                      </a:lnTo>
                      <a:lnTo>
                        <a:pt x="432575" y="12496"/>
                      </a:lnTo>
                      <a:lnTo>
                        <a:pt x="432638" y="19608"/>
                      </a:lnTo>
                      <a:lnTo>
                        <a:pt x="427622" y="24307"/>
                      </a:lnTo>
                      <a:lnTo>
                        <a:pt x="446180" y="24307"/>
                      </a:lnTo>
                      <a:lnTo>
                        <a:pt x="446043" y="10147"/>
                      </a:lnTo>
                      <a:close/>
                    </a:path>
                    <a:path w="810260" h="128269">
                      <a:moveTo>
                        <a:pt x="546925" y="1727"/>
                      </a:moveTo>
                      <a:lnTo>
                        <a:pt x="531444" y="1727"/>
                      </a:lnTo>
                      <a:lnTo>
                        <a:pt x="531673" y="2260"/>
                      </a:lnTo>
                      <a:lnTo>
                        <a:pt x="531787" y="4229"/>
                      </a:lnTo>
                      <a:lnTo>
                        <a:pt x="531647" y="4876"/>
                      </a:lnTo>
                      <a:lnTo>
                        <a:pt x="531393" y="5461"/>
                      </a:lnTo>
                      <a:lnTo>
                        <a:pt x="507593" y="54356"/>
                      </a:lnTo>
                      <a:lnTo>
                        <a:pt x="521297" y="54356"/>
                      </a:lnTo>
                      <a:lnTo>
                        <a:pt x="546925" y="1727"/>
                      </a:lnTo>
                      <a:close/>
                    </a:path>
                    <a:path w="810260" h="128269">
                      <a:moveTo>
                        <a:pt x="572846" y="1727"/>
                      </a:moveTo>
                      <a:lnTo>
                        <a:pt x="557416" y="1727"/>
                      </a:lnTo>
                      <a:lnTo>
                        <a:pt x="557644" y="2273"/>
                      </a:lnTo>
                      <a:lnTo>
                        <a:pt x="557768" y="4229"/>
                      </a:lnTo>
                      <a:lnTo>
                        <a:pt x="557619" y="4876"/>
                      </a:lnTo>
                      <a:lnTo>
                        <a:pt x="533552" y="54356"/>
                      </a:lnTo>
                      <a:lnTo>
                        <a:pt x="572338" y="54356"/>
                      </a:lnTo>
                      <a:lnTo>
                        <a:pt x="576680" y="45427"/>
                      </a:lnTo>
                      <a:lnTo>
                        <a:pt x="551561" y="45427"/>
                      </a:lnTo>
                      <a:lnTo>
                        <a:pt x="572846" y="1727"/>
                      </a:lnTo>
                      <a:close/>
                    </a:path>
                    <a:path w="810260" h="128269">
                      <a:moveTo>
                        <a:pt x="577520" y="43700"/>
                      </a:moveTo>
                      <a:lnTo>
                        <a:pt x="576567" y="44577"/>
                      </a:lnTo>
                      <a:lnTo>
                        <a:pt x="573862" y="45427"/>
                      </a:lnTo>
                      <a:lnTo>
                        <a:pt x="576680" y="45427"/>
                      </a:lnTo>
                      <a:lnTo>
                        <a:pt x="577520" y="43700"/>
                      </a:lnTo>
                      <a:close/>
                    </a:path>
                    <a:path w="810260" h="128269">
                      <a:moveTo>
                        <a:pt x="65176" y="1739"/>
                      </a:moveTo>
                      <a:lnTo>
                        <a:pt x="49682" y="1739"/>
                      </a:lnTo>
                      <a:lnTo>
                        <a:pt x="49898" y="2286"/>
                      </a:lnTo>
                      <a:lnTo>
                        <a:pt x="50038" y="2895"/>
                      </a:lnTo>
                      <a:lnTo>
                        <a:pt x="50038" y="4254"/>
                      </a:lnTo>
                      <a:lnTo>
                        <a:pt x="49885" y="4914"/>
                      </a:lnTo>
                      <a:lnTo>
                        <a:pt x="25857" y="54356"/>
                      </a:lnTo>
                      <a:lnTo>
                        <a:pt x="39560" y="54356"/>
                      </a:lnTo>
                      <a:lnTo>
                        <a:pt x="65176" y="1739"/>
                      </a:lnTo>
                      <a:close/>
                    </a:path>
                    <a:path w="810260" h="128269">
                      <a:moveTo>
                        <a:pt x="243472" y="1727"/>
                      </a:moveTo>
                      <a:lnTo>
                        <a:pt x="227978" y="1727"/>
                      </a:lnTo>
                      <a:lnTo>
                        <a:pt x="228181" y="2273"/>
                      </a:lnTo>
                      <a:lnTo>
                        <a:pt x="228276" y="4495"/>
                      </a:lnTo>
                      <a:lnTo>
                        <a:pt x="228181" y="4902"/>
                      </a:lnTo>
                      <a:lnTo>
                        <a:pt x="204140" y="54356"/>
                      </a:lnTo>
                      <a:lnTo>
                        <a:pt x="217843" y="54356"/>
                      </a:lnTo>
                      <a:lnTo>
                        <a:pt x="243472" y="1727"/>
                      </a:lnTo>
                      <a:close/>
                    </a:path>
                    <a:path w="810260" h="128269">
                      <a:moveTo>
                        <a:pt x="282905" y="1739"/>
                      </a:moveTo>
                      <a:lnTo>
                        <a:pt x="268783" y="1739"/>
                      </a:lnTo>
                      <a:lnTo>
                        <a:pt x="268783" y="3035"/>
                      </a:lnTo>
                      <a:lnTo>
                        <a:pt x="268300" y="4495"/>
                      </a:lnTo>
                      <a:lnTo>
                        <a:pt x="267043" y="5994"/>
                      </a:lnTo>
                      <a:lnTo>
                        <a:pt x="225336" y="54356"/>
                      </a:lnTo>
                      <a:lnTo>
                        <a:pt x="237325" y="54356"/>
                      </a:lnTo>
                      <a:lnTo>
                        <a:pt x="247218" y="42379"/>
                      </a:lnTo>
                      <a:lnTo>
                        <a:pt x="284965" y="42379"/>
                      </a:lnTo>
                      <a:lnTo>
                        <a:pt x="284534" y="33870"/>
                      </a:lnTo>
                      <a:lnTo>
                        <a:pt x="254292" y="33870"/>
                      </a:lnTo>
                      <a:lnTo>
                        <a:pt x="272212" y="12255"/>
                      </a:lnTo>
                      <a:lnTo>
                        <a:pt x="283438" y="12255"/>
                      </a:lnTo>
                      <a:lnTo>
                        <a:pt x="282905" y="1739"/>
                      </a:lnTo>
                      <a:close/>
                    </a:path>
                    <a:path w="810260" h="128269">
                      <a:moveTo>
                        <a:pt x="284965" y="42379"/>
                      </a:moveTo>
                      <a:lnTo>
                        <a:pt x="272745" y="42379"/>
                      </a:lnTo>
                      <a:lnTo>
                        <a:pt x="273012" y="54356"/>
                      </a:lnTo>
                      <a:lnTo>
                        <a:pt x="285572" y="54356"/>
                      </a:lnTo>
                      <a:lnTo>
                        <a:pt x="284965" y="42379"/>
                      </a:lnTo>
                      <a:close/>
                    </a:path>
                    <a:path w="810260" h="128269">
                      <a:moveTo>
                        <a:pt x="283438" y="12255"/>
                      </a:moveTo>
                      <a:lnTo>
                        <a:pt x="272212" y="12255"/>
                      </a:lnTo>
                      <a:lnTo>
                        <a:pt x="272618" y="33870"/>
                      </a:lnTo>
                      <a:lnTo>
                        <a:pt x="284534" y="33870"/>
                      </a:lnTo>
                      <a:lnTo>
                        <a:pt x="283438" y="12255"/>
                      </a:lnTo>
                      <a:close/>
                    </a:path>
                    <a:path w="810260" h="128269">
                      <a:moveTo>
                        <a:pt x="101536" y="10109"/>
                      </a:moveTo>
                      <a:lnTo>
                        <a:pt x="87814" y="10121"/>
                      </a:lnTo>
                      <a:lnTo>
                        <a:pt x="66243" y="54356"/>
                      </a:lnTo>
                      <a:lnTo>
                        <a:pt x="79959" y="54356"/>
                      </a:lnTo>
                      <a:lnTo>
                        <a:pt x="101536" y="10109"/>
                      </a:lnTo>
                      <a:close/>
                    </a:path>
                    <a:path w="810260" h="128269">
                      <a:moveTo>
                        <a:pt x="150774" y="1739"/>
                      </a:moveTo>
                      <a:lnTo>
                        <a:pt x="136639" y="1739"/>
                      </a:lnTo>
                      <a:lnTo>
                        <a:pt x="136639" y="3022"/>
                      </a:lnTo>
                      <a:lnTo>
                        <a:pt x="136157" y="4495"/>
                      </a:lnTo>
                      <a:lnTo>
                        <a:pt x="134899" y="5994"/>
                      </a:lnTo>
                      <a:lnTo>
                        <a:pt x="93205" y="54356"/>
                      </a:lnTo>
                      <a:lnTo>
                        <a:pt x="105194" y="54356"/>
                      </a:lnTo>
                      <a:lnTo>
                        <a:pt x="115075" y="42379"/>
                      </a:lnTo>
                      <a:lnTo>
                        <a:pt x="152834" y="42379"/>
                      </a:lnTo>
                      <a:lnTo>
                        <a:pt x="152403" y="33870"/>
                      </a:lnTo>
                      <a:lnTo>
                        <a:pt x="122161" y="33870"/>
                      </a:lnTo>
                      <a:lnTo>
                        <a:pt x="140081" y="12255"/>
                      </a:lnTo>
                      <a:lnTo>
                        <a:pt x="151307" y="12255"/>
                      </a:lnTo>
                      <a:lnTo>
                        <a:pt x="150774" y="1739"/>
                      </a:lnTo>
                      <a:close/>
                    </a:path>
                    <a:path w="810260" h="128269">
                      <a:moveTo>
                        <a:pt x="152834" y="42379"/>
                      </a:moveTo>
                      <a:lnTo>
                        <a:pt x="140614" y="42379"/>
                      </a:lnTo>
                      <a:lnTo>
                        <a:pt x="140868" y="54356"/>
                      </a:lnTo>
                      <a:lnTo>
                        <a:pt x="153441" y="54356"/>
                      </a:lnTo>
                      <a:lnTo>
                        <a:pt x="152834" y="42379"/>
                      </a:lnTo>
                      <a:close/>
                    </a:path>
                    <a:path w="810260" h="128269">
                      <a:moveTo>
                        <a:pt x="151307" y="12255"/>
                      </a:moveTo>
                      <a:lnTo>
                        <a:pt x="140081" y="12255"/>
                      </a:lnTo>
                      <a:lnTo>
                        <a:pt x="140475" y="33870"/>
                      </a:lnTo>
                      <a:lnTo>
                        <a:pt x="152403" y="33870"/>
                      </a:lnTo>
                      <a:lnTo>
                        <a:pt x="151307" y="12255"/>
                      </a:lnTo>
                      <a:close/>
                    </a:path>
                    <a:path w="810260" h="128269">
                      <a:moveTo>
                        <a:pt x="123457" y="1739"/>
                      </a:moveTo>
                      <a:lnTo>
                        <a:pt x="70434" y="1739"/>
                      </a:lnTo>
                      <a:lnTo>
                        <a:pt x="65379" y="12141"/>
                      </a:lnTo>
                      <a:lnTo>
                        <a:pt x="66815" y="11023"/>
                      </a:lnTo>
                      <a:lnTo>
                        <a:pt x="68770" y="10109"/>
                      </a:lnTo>
                      <a:lnTo>
                        <a:pt x="119400" y="10109"/>
                      </a:lnTo>
                      <a:lnTo>
                        <a:pt x="123457" y="1739"/>
                      </a:lnTo>
                      <a:close/>
                    </a:path>
                    <a:path w="810260" h="128269">
                      <a:moveTo>
                        <a:pt x="119400" y="10109"/>
                      </a:moveTo>
                      <a:lnTo>
                        <a:pt x="101536" y="10109"/>
                      </a:lnTo>
                      <a:lnTo>
                        <a:pt x="116789" y="10121"/>
                      </a:lnTo>
                      <a:lnTo>
                        <a:pt x="117830" y="10922"/>
                      </a:lnTo>
                      <a:lnTo>
                        <a:pt x="118415" y="12141"/>
                      </a:lnTo>
                      <a:lnTo>
                        <a:pt x="119400" y="10109"/>
                      </a:lnTo>
                      <a:close/>
                    </a:path>
                    <a:path w="810260" h="128269">
                      <a:moveTo>
                        <a:pt x="196596" y="1739"/>
                      </a:moveTo>
                      <a:lnTo>
                        <a:pt x="181165" y="1739"/>
                      </a:lnTo>
                      <a:lnTo>
                        <a:pt x="181394" y="2273"/>
                      </a:lnTo>
                      <a:lnTo>
                        <a:pt x="181521" y="4216"/>
                      </a:lnTo>
                      <a:lnTo>
                        <a:pt x="181369" y="4876"/>
                      </a:lnTo>
                      <a:lnTo>
                        <a:pt x="157302" y="54356"/>
                      </a:lnTo>
                      <a:lnTo>
                        <a:pt x="196075" y="54356"/>
                      </a:lnTo>
                      <a:lnTo>
                        <a:pt x="200417" y="45427"/>
                      </a:lnTo>
                      <a:lnTo>
                        <a:pt x="175311" y="45427"/>
                      </a:lnTo>
                      <a:lnTo>
                        <a:pt x="196596" y="1739"/>
                      </a:lnTo>
                      <a:close/>
                    </a:path>
                    <a:path w="810260" h="128269">
                      <a:moveTo>
                        <a:pt x="201257" y="43700"/>
                      </a:moveTo>
                      <a:lnTo>
                        <a:pt x="200317" y="44577"/>
                      </a:lnTo>
                      <a:lnTo>
                        <a:pt x="197612" y="45427"/>
                      </a:lnTo>
                      <a:lnTo>
                        <a:pt x="200417" y="45427"/>
                      </a:lnTo>
                      <a:lnTo>
                        <a:pt x="201257" y="43700"/>
                      </a:lnTo>
                      <a:close/>
                    </a:path>
                    <a:path w="810260" h="128269">
                      <a:moveTo>
                        <a:pt x="327393" y="1739"/>
                      </a:moveTo>
                      <a:lnTo>
                        <a:pt x="313766" y="1739"/>
                      </a:lnTo>
                      <a:lnTo>
                        <a:pt x="314007" y="2273"/>
                      </a:lnTo>
                      <a:lnTo>
                        <a:pt x="314134" y="4216"/>
                      </a:lnTo>
                      <a:lnTo>
                        <a:pt x="313982" y="4864"/>
                      </a:lnTo>
                      <a:lnTo>
                        <a:pt x="313690" y="5435"/>
                      </a:lnTo>
                      <a:lnTo>
                        <a:pt x="312013" y="8915"/>
                      </a:lnTo>
                      <a:lnTo>
                        <a:pt x="289903" y="54356"/>
                      </a:lnTo>
                      <a:lnTo>
                        <a:pt x="299434" y="54343"/>
                      </a:lnTo>
                      <a:lnTo>
                        <a:pt x="318452" y="15201"/>
                      </a:lnTo>
                      <a:lnTo>
                        <a:pt x="332102" y="15201"/>
                      </a:lnTo>
                      <a:lnTo>
                        <a:pt x="327393" y="1739"/>
                      </a:lnTo>
                      <a:close/>
                    </a:path>
                    <a:path w="810260" h="128269">
                      <a:moveTo>
                        <a:pt x="332102" y="15201"/>
                      </a:moveTo>
                      <a:lnTo>
                        <a:pt x="318452" y="15201"/>
                      </a:lnTo>
                      <a:lnTo>
                        <a:pt x="332067" y="54356"/>
                      </a:lnTo>
                      <a:lnTo>
                        <a:pt x="341884" y="54343"/>
                      </a:lnTo>
                      <a:lnTo>
                        <a:pt x="349691" y="38303"/>
                      </a:lnTo>
                      <a:lnTo>
                        <a:pt x="340182" y="38303"/>
                      </a:lnTo>
                      <a:lnTo>
                        <a:pt x="332102" y="15201"/>
                      </a:lnTo>
                      <a:close/>
                    </a:path>
                    <a:path w="810260" h="128269">
                      <a:moveTo>
                        <a:pt x="367487" y="1739"/>
                      </a:moveTo>
                      <a:lnTo>
                        <a:pt x="356222" y="1739"/>
                      </a:lnTo>
                      <a:lnTo>
                        <a:pt x="356476" y="2273"/>
                      </a:lnTo>
                      <a:lnTo>
                        <a:pt x="356603" y="4216"/>
                      </a:lnTo>
                      <a:lnTo>
                        <a:pt x="356463" y="4864"/>
                      </a:lnTo>
                      <a:lnTo>
                        <a:pt x="340182" y="38303"/>
                      </a:lnTo>
                      <a:lnTo>
                        <a:pt x="349691" y="38303"/>
                      </a:lnTo>
                      <a:lnTo>
                        <a:pt x="367487" y="1739"/>
                      </a:lnTo>
                      <a:close/>
                    </a:path>
                    <a:path w="810260" h="128269">
                      <a:moveTo>
                        <a:pt x="30442" y="73164"/>
                      </a:moveTo>
                      <a:lnTo>
                        <a:pt x="14681" y="73164"/>
                      </a:lnTo>
                      <a:lnTo>
                        <a:pt x="15253" y="74383"/>
                      </a:lnTo>
                      <a:lnTo>
                        <a:pt x="15291" y="75933"/>
                      </a:lnTo>
                      <a:lnTo>
                        <a:pt x="1829" y="103593"/>
                      </a:lnTo>
                      <a:lnTo>
                        <a:pt x="0" y="111812"/>
                      </a:lnTo>
                      <a:lnTo>
                        <a:pt x="2464" y="119727"/>
                      </a:lnTo>
                      <a:lnTo>
                        <a:pt x="9690" y="125687"/>
                      </a:lnTo>
                      <a:lnTo>
                        <a:pt x="22149" y="128041"/>
                      </a:lnTo>
                      <a:lnTo>
                        <a:pt x="31512" y="126866"/>
                      </a:lnTo>
                      <a:lnTo>
                        <a:pt x="40507" y="123216"/>
                      </a:lnTo>
                      <a:lnTo>
                        <a:pt x="44589" y="119976"/>
                      </a:lnTo>
                      <a:lnTo>
                        <a:pt x="13475" y="119976"/>
                      </a:lnTo>
                      <a:lnTo>
                        <a:pt x="10769" y="113525"/>
                      </a:lnTo>
                      <a:lnTo>
                        <a:pt x="30442" y="73164"/>
                      </a:lnTo>
                      <a:close/>
                    </a:path>
                    <a:path w="810260" h="128269">
                      <a:moveTo>
                        <a:pt x="68885" y="110286"/>
                      </a:moveTo>
                      <a:lnTo>
                        <a:pt x="91719" y="127939"/>
                      </a:lnTo>
                      <a:lnTo>
                        <a:pt x="104598" y="126055"/>
                      </a:lnTo>
                      <a:lnTo>
                        <a:pt x="112606" y="121305"/>
                      </a:lnTo>
                      <a:lnTo>
                        <a:pt x="114191" y="118910"/>
                      </a:lnTo>
                      <a:lnTo>
                        <a:pt x="103619" y="118910"/>
                      </a:lnTo>
                      <a:lnTo>
                        <a:pt x="94551" y="118770"/>
                      </a:lnTo>
                      <a:lnTo>
                        <a:pt x="84823" y="117843"/>
                      </a:lnTo>
                      <a:lnTo>
                        <a:pt x="69329" y="115658"/>
                      </a:lnTo>
                      <a:lnTo>
                        <a:pt x="68885" y="110286"/>
                      </a:lnTo>
                      <a:close/>
                    </a:path>
                    <a:path w="810260" h="128269">
                      <a:moveTo>
                        <a:pt x="176377" y="73113"/>
                      </a:moveTo>
                      <a:lnTo>
                        <a:pt x="162179" y="73126"/>
                      </a:lnTo>
                      <a:lnTo>
                        <a:pt x="162179" y="74409"/>
                      </a:lnTo>
                      <a:lnTo>
                        <a:pt x="161717" y="75869"/>
                      </a:lnTo>
                      <a:lnTo>
                        <a:pt x="118605" y="125920"/>
                      </a:lnTo>
                      <a:lnTo>
                        <a:pt x="130645" y="125907"/>
                      </a:lnTo>
                      <a:lnTo>
                        <a:pt x="140563" y="113893"/>
                      </a:lnTo>
                      <a:lnTo>
                        <a:pt x="178438" y="113893"/>
                      </a:lnTo>
                      <a:lnTo>
                        <a:pt x="177999" y="105206"/>
                      </a:lnTo>
                      <a:lnTo>
                        <a:pt x="147612" y="105206"/>
                      </a:lnTo>
                      <a:lnTo>
                        <a:pt x="165570" y="83540"/>
                      </a:lnTo>
                      <a:lnTo>
                        <a:pt x="176904" y="83540"/>
                      </a:lnTo>
                      <a:lnTo>
                        <a:pt x="176377" y="73113"/>
                      </a:lnTo>
                      <a:close/>
                    </a:path>
                    <a:path w="810260" h="128269">
                      <a:moveTo>
                        <a:pt x="178438" y="113893"/>
                      </a:moveTo>
                      <a:lnTo>
                        <a:pt x="166192" y="113893"/>
                      </a:lnTo>
                      <a:lnTo>
                        <a:pt x="166446" y="125920"/>
                      </a:lnTo>
                      <a:lnTo>
                        <a:pt x="179044" y="125907"/>
                      </a:lnTo>
                      <a:lnTo>
                        <a:pt x="178438" y="113893"/>
                      </a:lnTo>
                      <a:close/>
                    </a:path>
                    <a:path w="810260" h="128269">
                      <a:moveTo>
                        <a:pt x="71539" y="73164"/>
                      </a:moveTo>
                      <a:lnTo>
                        <a:pt x="55816" y="73164"/>
                      </a:lnTo>
                      <a:lnTo>
                        <a:pt x="56388" y="74383"/>
                      </a:lnTo>
                      <a:lnTo>
                        <a:pt x="56426" y="75933"/>
                      </a:lnTo>
                      <a:lnTo>
                        <a:pt x="38392" y="113004"/>
                      </a:lnTo>
                      <a:lnTo>
                        <a:pt x="32359" y="119976"/>
                      </a:lnTo>
                      <a:lnTo>
                        <a:pt x="44589" y="119976"/>
                      </a:lnTo>
                      <a:lnTo>
                        <a:pt x="48463" y="116902"/>
                      </a:lnTo>
                      <a:lnTo>
                        <a:pt x="54711" y="107734"/>
                      </a:lnTo>
                      <a:lnTo>
                        <a:pt x="71539" y="73164"/>
                      </a:lnTo>
                      <a:close/>
                    </a:path>
                    <a:path w="810260" h="128269">
                      <a:moveTo>
                        <a:pt x="103911" y="71386"/>
                      </a:moveTo>
                      <a:lnTo>
                        <a:pt x="73800" y="96672"/>
                      </a:lnTo>
                      <a:lnTo>
                        <a:pt x="79324" y="100838"/>
                      </a:lnTo>
                      <a:lnTo>
                        <a:pt x="103975" y="107327"/>
                      </a:lnTo>
                      <a:lnTo>
                        <a:pt x="103619" y="118910"/>
                      </a:lnTo>
                      <a:lnTo>
                        <a:pt x="114191" y="118910"/>
                      </a:lnTo>
                      <a:lnTo>
                        <a:pt x="116749" y="115043"/>
                      </a:lnTo>
                      <a:lnTo>
                        <a:pt x="118034" y="108623"/>
                      </a:lnTo>
                      <a:lnTo>
                        <a:pt x="118224" y="102577"/>
                      </a:lnTo>
                      <a:lnTo>
                        <a:pt x="115049" y="96520"/>
                      </a:lnTo>
                      <a:lnTo>
                        <a:pt x="96583" y="90716"/>
                      </a:lnTo>
                      <a:lnTo>
                        <a:pt x="87389" y="89789"/>
                      </a:lnTo>
                      <a:lnTo>
                        <a:pt x="87706" y="79921"/>
                      </a:lnTo>
                      <a:lnTo>
                        <a:pt x="96545" y="79489"/>
                      </a:lnTo>
                      <a:lnTo>
                        <a:pt x="122024" y="79489"/>
                      </a:lnTo>
                      <a:lnTo>
                        <a:pt x="123749" y="75869"/>
                      </a:lnTo>
                      <a:lnTo>
                        <a:pt x="116967" y="73177"/>
                      </a:lnTo>
                      <a:lnTo>
                        <a:pt x="109106" y="71882"/>
                      </a:lnTo>
                      <a:lnTo>
                        <a:pt x="103911" y="71386"/>
                      </a:lnTo>
                      <a:close/>
                    </a:path>
                    <a:path w="810260" h="128269">
                      <a:moveTo>
                        <a:pt x="176904" y="83540"/>
                      </a:moveTo>
                      <a:lnTo>
                        <a:pt x="165570" y="83540"/>
                      </a:lnTo>
                      <a:lnTo>
                        <a:pt x="165989" y="105206"/>
                      </a:lnTo>
                      <a:lnTo>
                        <a:pt x="177999" y="105206"/>
                      </a:lnTo>
                      <a:lnTo>
                        <a:pt x="176904" y="83540"/>
                      </a:lnTo>
                      <a:close/>
                    </a:path>
                    <a:path w="810260" h="128269">
                      <a:moveTo>
                        <a:pt x="122024" y="79489"/>
                      </a:moveTo>
                      <a:lnTo>
                        <a:pt x="96545" y="79489"/>
                      </a:lnTo>
                      <a:lnTo>
                        <a:pt x="109321" y="80721"/>
                      </a:lnTo>
                      <a:lnTo>
                        <a:pt x="115049" y="82448"/>
                      </a:lnTo>
                      <a:lnTo>
                        <a:pt x="119621" y="84531"/>
                      </a:lnTo>
                      <a:lnTo>
                        <a:pt x="122024" y="79489"/>
                      </a:lnTo>
                      <a:close/>
                    </a:path>
                  </a:pathLst>
                </a:custGeom>
                <a:solidFill>
                  <a:srgbClr val="00675F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465" name="object 212">
                  <a:extLst>
                    <a:ext uri="{FF2B5EF4-FFF2-40B4-BE49-F238E27FC236}">
                      <a16:creationId xmlns:a16="http://schemas.microsoft.com/office/drawing/2014/main" id="{64CC4A45-7274-7B77-8049-F6C4A61DE41F}"/>
                    </a:ext>
                  </a:extLst>
                </p:cNvPr>
                <p:cNvPicPr/>
                <p:nvPr/>
              </p:nvPicPr>
              <p:blipFill>
                <a:blip r:embed="rId37" cstate="print"/>
                <a:stretch>
                  <a:fillRect/>
                </a:stretch>
              </p:blipFill>
              <p:spPr>
                <a:xfrm>
                  <a:off x="373755" y="2937315"/>
                  <a:ext cx="275379" cy="186315"/>
                </a:xfrm>
                <a:prstGeom prst="rect">
                  <a:avLst/>
                </a:prstGeom>
              </p:spPr>
            </p:pic>
            <p:sp>
              <p:nvSpPr>
                <p:cNvPr id="466" name="object 213">
                  <a:extLst>
                    <a:ext uri="{FF2B5EF4-FFF2-40B4-BE49-F238E27FC236}">
                      <a16:creationId xmlns:a16="http://schemas.microsoft.com/office/drawing/2014/main" id="{E26A8BE8-1AB3-7A64-4C9D-6FF4CA77496E}"/>
                    </a:ext>
                  </a:extLst>
                </p:cNvPr>
                <p:cNvSpPr/>
                <p:nvPr/>
              </p:nvSpPr>
              <p:spPr>
                <a:xfrm>
                  <a:off x="373761" y="3151225"/>
                  <a:ext cx="1043940" cy="298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3940" h="29844">
                      <a:moveTo>
                        <a:pt x="16205" y="736"/>
                      </a:moveTo>
                      <a:lnTo>
                        <a:pt x="0" y="736"/>
                      </a:lnTo>
                      <a:lnTo>
                        <a:pt x="0" y="28663"/>
                      </a:lnTo>
                      <a:lnTo>
                        <a:pt x="6083" y="28663"/>
                      </a:lnTo>
                      <a:lnTo>
                        <a:pt x="6083" y="16954"/>
                      </a:lnTo>
                      <a:lnTo>
                        <a:pt x="16205" y="16954"/>
                      </a:lnTo>
                      <a:lnTo>
                        <a:pt x="16205" y="11493"/>
                      </a:lnTo>
                      <a:lnTo>
                        <a:pt x="6083" y="11493"/>
                      </a:lnTo>
                      <a:lnTo>
                        <a:pt x="6083" y="6045"/>
                      </a:lnTo>
                      <a:lnTo>
                        <a:pt x="16205" y="6045"/>
                      </a:lnTo>
                      <a:lnTo>
                        <a:pt x="16205" y="736"/>
                      </a:lnTo>
                      <a:close/>
                    </a:path>
                    <a:path w="1043940" h="29844">
                      <a:moveTo>
                        <a:pt x="43484" y="762"/>
                      </a:moveTo>
                      <a:lnTo>
                        <a:pt x="27635" y="762"/>
                      </a:lnTo>
                      <a:lnTo>
                        <a:pt x="27635" y="28663"/>
                      </a:lnTo>
                      <a:lnTo>
                        <a:pt x="43446" y="28663"/>
                      </a:lnTo>
                      <a:lnTo>
                        <a:pt x="43446" y="23088"/>
                      </a:lnTo>
                      <a:lnTo>
                        <a:pt x="33680" y="23088"/>
                      </a:lnTo>
                      <a:lnTo>
                        <a:pt x="33680" y="17119"/>
                      </a:lnTo>
                      <a:lnTo>
                        <a:pt x="43243" y="17119"/>
                      </a:lnTo>
                      <a:lnTo>
                        <a:pt x="43243" y="11709"/>
                      </a:lnTo>
                      <a:lnTo>
                        <a:pt x="33680" y="11709"/>
                      </a:lnTo>
                      <a:lnTo>
                        <a:pt x="33680" y="6172"/>
                      </a:lnTo>
                      <a:lnTo>
                        <a:pt x="43484" y="6172"/>
                      </a:lnTo>
                      <a:lnTo>
                        <a:pt x="43484" y="762"/>
                      </a:lnTo>
                      <a:close/>
                    </a:path>
                    <a:path w="1043940" h="29844">
                      <a:moveTo>
                        <a:pt x="76631" y="28663"/>
                      </a:moveTo>
                      <a:lnTo>
                        <a:pt x="68618" y="16878"/>
                      </a:lnTo>
                      <a:lnTo>
                        <a:pt x="69634" y="16560"/>
                      </a:lnTo>
                      <a:lnTo>
                        <a:pt x="70739" y="16281"/>
                      </a:lnTo>
                      <a:lnTo>
                        <a:pt x="73863" y="14274"/>
                      </a:lnTo>
                      <a:lnTo>
                        <a:pt x="74345" y="12966"/>
                      </a:lnTo>
                      <a:lnTo>
                        <a:pt x="74853" y="11582"/>
                      </a:lnTo>
                      <a:lnTo>
                        <a:pt x="74853" y="7391"/>
                      </a:lnTo>
                      <a:lnTo>
                        <a:pt x="74409" y="5727"/>
                      </a:lnTo>
                      <a:lnTo>
                        <a:pt x="73545" y="4343"/>
                      </a:lnTo>
                      <a:lnTo>
                        <a:pt x="71412" y="1028"/>
                      </a:lnTo>
                      <a:lnTo>
                        <a:pt x="68922" y="850"/>
                      </a:lnTo>
                      <a:lnTo>
                        <a:pt x="68922" y="6400"/>
                      </a:lnTo>
                      <a:lnTo>
                        <a:pt x="68922" y="9918"/>
                      </a:lnTo>
                      <a:lnTo>
                        <a:pt x="68757" y="10629"/>
                      </a:lnTo>
                      <a:lnTo>
                        <a:pt x="67462" y="12814"/>
                      </a:lnTo>
                      <a:lnTo>
                        <a:pt x="65913" y="12966"/>
                      </a:lnTo>
                      <a:lnTo>
                        <a:pt x="62077" y="12966"/>
                      </a:lnTo>
                      <a:lnTo>
                        <a:pt x="62077" y="5613"/>
                      </a:lnTo>
                      <a:lnTo>
                        <a:pt x="66586" y="5613"/>
                      </a:lnTo>
                      <a:lnTo>
                        <a:pt x="68922" y="6400"/>
                      </a:lnTo>
                      <a:lnTo>
                        <a:pt x="68922" y="850"/>
                      </a:lnTo>
                      <a:lnTo>
                        <a:pt x="67576" y="749"/>
                      </a:lnTo>
                      <a:lnTo>
                        <a:pt x="56146" y="749"/>
                      </a:lnTo>
                      <a:lnTo>
                        <a:pt x="56146" y="28663"/>
                      </a:lnTo>
                      <a:lnTo>
                        <a:pt x="62039" y="28663"/>
                      </a:lnTo>
                      <a:lnTo>
                        <a:pt x="62039" y="16878"/>
                      </a:lnTo>
                      <a:lnTo>
                        <a:pt x="69430" y="28663"/>
                      </a:lnTo>
                      <a:lnTo>
                        <a:pt x="76631" y="28663"/>
                      </a:lnTo>
                      <a:close/>
                    </a:path>
                    <a:path w="1043940" h="29844">
                      <a:moveTo>
                        <a:pt x="107594" y="28663"/>
                      </a:moveTo>
                      <a:lnTo>
                        <a:pt x="99580" y="16878"/>
                      </a:lnTo>
                      <a:lnTo>
                        <a:pt x="100596" y="16560"/>
                      </a:lnTo>
                      <a:lnTo>
                        <a:pt x="101701" y="16281"/>
                      </a:lnTo>
                      <a:lnTo>
                        <a:pt x="104825" y="14274"/>
                      </a:lnTo>
                      <a:lnTo>
                        <a:pt x="105308" y="12966"/>
                      </a:lnTo>
                      <a:lnTo>
                        <a:pt x="105816" y="11582"/>
                      </a:lnTo>
                      <a:lnTo>
                        <a:pt x="105816" y="7391"/>
                      </a:lnTo>
                      <a:lnTo>
                        <a:pt x="105384" y="5727"/>
                      </a:lnTo>
                      <a:lnTo>
                        <a:pt x="102374" y="1028"/>
                      </a:lnTo>
                      <a:lnTo>
                        <a:pt x="99885" y="850"/>
                      </a:lnTo>
                      <a:lnTo>
                        <a:pt x="99885" y="6400"/>
                      </a:lnTo>
                      <a:lnTo>
                        <a:pt x="99885" y="9918"/>
                      </a:lnTo>
                      <a:lnTo>
                        <a:pt x="99720" y="10629"/>
                      </a:lnTo>
                      <a:lnTo>
                        <a:pt x="98425" y="12814"/>
                      </a:lnTo>
                      <a:lnTo>
                        <a:pt x="96875" y="12966"/>
                      </a:lnTo>
                      <a:lnTo>
                        <a:pt x="93040" y="12966"/>
                      </a:lnTo>
                      <a:lnTo>
                        <a:pt x="93040" y="5613"/>
                      </a:lnTo>
                      <a:lnTo>
                        <a:pt x="97548" y="5613"/>
                      </a:lnTo>
                      <a:lnTo>
                        <a:pt x="99885" y="6400"/>
                      </a:lnTo>
                      <a:lnTo>
                        <a:pt x="99885" y="850"/>
                      </a:lnTo>
                      <a:lnTo>
                        <a:pt x="98539" y="749"/>
                      </a:lnTo>
                      <a:lnTo>
                        <a:pt x="87109" y="749"/>
                      </a:lnTo>
                      <a:lnTo>
                        <a:pt x="87109" y="28663"/>
                      </a:lnTo>
                      <a:lnTo>
                        <a:pt x="93002" y="28663"/>
                      </a:lnTo>
                      <a:lnTo>
                        <a:pt x="93002" y="16878"/>
                      </a:lnTo>
                      <a:lnTo>
                        <a:pt x="100393" y="28663"/>
                      </a:lnTo>
                      <a:lnTo>
                        <a:pt x="107594" y="28663"/>
                      </a:lnTo>
                      <a:close/>
                    </a:path>
                    <a:path w="1043940" h="29844">
                      <a:moveTo>
                        <a:pt x="147053" y="6324"/>
                      </a:moveTo>
                      <a:lnTo>
                        <a:pt x="146570" y="5854"/>
                      </a:lnTo>
                      <a:lnTo>
                        <a:pt x="140817" y="203"/>
                      </a:lnTo>
                      <a:lnTo>
                        <a:pt x="140817" y="9690"/>
                      </a:lnTo>
                      <a:lnTo>
                        <a:pt x="140779" y="19888"/>
                      </a:lnTo>
                      <a:lnTo>
                        <a:pt x="137172" y="23685"/>
                      </a:lnTo>
                      <a:lnTo>
                        <a:pt x="127330" y="23685"/>
                      </a:lnTo>
                      <a:lnTo>
                        <a:pt x="123494" y="19888"/>
                      </a:lnTo>
                      <a:lnTo>
                        <a:pt x="123609" y="9690"/>
                      </a:lnTo>
                      <a:lnTo>
                        <a:pt x="127330" y="5854"/>
                      </a:lnTo>
                      <a:lnTo>
                        <a:pt x="137172" y="5854"/>
                      </a:lnTo>
                      <a:lnTo>
                        <a:pt x="140817" y="9690"/>
                      </a:lnTo>
                      <a:lnTo>
                        <a:pt x="140817" y="203"/>
                      </a:lnTo>
                      <a:lnTo>
                        <a:pt x="140652" y="38"/>
                      </a:lnTo>
                      <a:lnTo>
                        <a:pt x="123532" y="38"/>
                      </a:lnTo>
                      <a:lnTo>
                        <a:pt x="117322" y="6324"/>
                      </a:lnTo>
                      <a:lnTo>
                        <a:pt x="117322" y="23444"/>
                      </a:lnTo>
                      <a:lnTo>
                        <a:pt x="123494" y="29375"/>
                      </a:lnTo>
                      <a:lnTo>
                        <a:pt x="141008" y="29375"/>
                      </a:lnTo>
                      <a:lnTo>
                        <a:pt x="146735" y="23685"/>
                      </a:lnTo>
                      <a:lnTo>
                        <a:pt x="146977" y="23444"/>
                      </a:lnTo>
                      <a:lnTo>
                        <a:pt x="147053" y="6324"/>
                      </a:lnTo>
                      <a:close/>
                    </a:path>
                    <a:path w="1043940" h="29844">
                      <a:moveTo>
                        <a:pt x="183553" y="749"/>
                      </a:moveTo>
                      <a:lnTo>
                        <a:pt x="176987" y="749"/>
                      </a:lnTo>
                      <a:lnTo>
                        <a:pt x="169989" y="20675"/>
                      </a:lnTo>
                      <a:lnTo>
                        <a:pt x="162991" y="749"/>
                      </a:lnTo>
                      <a:lnTo>
                        <a:pt x="156349" y="749"/>
                      </a:lnTo>
                      <a:lnTo>
                        <a:pt x="166789" y="28663"/>
                      </a:lnTo>
                      <a:lnTo>
                        <a:pt x="172643" y="28663"/>
                      </a:lnTo>
                      <a:lnTo>
                        <a:pt x="183553" y="749"/>
                      </a:lnTo>
                      <a:close/>
                    </a:path>
                    <a:path w="1043940" h="29844">
                      <a:moveTo>
                        <a:pt x="200609" y="736"/>
                      </a:moveTo>
                      <a:lnTo>
                        <a:pt x="194525" y="736"/>
                      </a:lnTo>
                      <a:lnTo>
                        <a:pt x="194525" y="28651"/>
                      </a:lnTo>
                      <a:lnTo>
                        <a:pt x="200609" y="28651"/>
                      </a:lnTo>
                      <a:lnTo>
                        <a:pt x="200609" y="736"/>
                      </a:lnTo>
                      <a:close/>
                    </a:path>
                    <a:path w="1043940" h="29844">
                      <a:moveTo>
                        <a:pt x="230898" y="762"/>
                      </a:moveTo>
                      <a:lnTo>
                        <a:pt x="215049" y="762"/>
                      </a:lnTo>
                      <a:lnTo>
                        <a:pt x="215049" y="28663"/>
                      </a:lnTo>
                      <a:lnTo>
                        <a:pt x="230860" y="28663"/>
                      </a:lnTo>
                      <a:lnTo>
                        <a:pt x="230860" y="23088"/>
                      </a:lnTo>
                      <a:lnTo>
                        <a:pt x="221094" y="23088"/>
                      </a:lnTo>
                      <a:lnTo>
                        <a:pt x="221094" y="17119"/>
                      </a:lnTo>
                      <a:lnTo>
                        <a:pt x="230657" y="17119"/>
                      </a:lnTo>
                      <a:lnTo>
                        <a:pt x="230657" y="11709"/>
                      </a:lnTo>
                      <a:lnTo>
                        <a:pt x="221094" y="11709"/>
                      </a:lnTo>
                      <a:lnTo>
                        <a:pt x="221094" y="6172"/>
                      </a:lnTo>
                      <a:lnTo>
                        <a:pt x="230898" y="6172"/>
                      </a:lnTo>
                      <a:lnTo>
                        <a:pt x="230898" y="762"/>
                      </a:lnTo>
                      <a:close/>
                    </a:path>
                    <a:path w="1043940" h="29844">
                      <a:moveTo>
                        <a:pt x="286664" y="11620"/>
                      </a:moveTo>
                      <a:lnTo>
                        <a:pt x="285991" y="9207"/>
                      </a:lnTo>
                      <a:lnTo>
                        <a:pt x="283883" y="5613"/>
                      </a:lnTo>
                      <a:lnTo>
                        <a:pt x="281317" y="1231"/>
                      </a:lnTo>
                      <a:lnTo>
                        <a:pt x="280733" y="1181"/>
                      </a:lnTo>
                      <a:lnTo>
                        <a:pt x="280733" y="20167"/>
                      </a:lnTo>
                      <a:lnTo>
                        <a:pt x="277799" y="23761"/>
                      </a:lnTo>
                      <a:lnTo>
                        <a:pt x="270332" y="23761"/>
                      </a:lnTo>
                      <a:lnTo>
                        <a:pt x="270332" y="5613"/>
                      </a:lnTo>
                      <a:lnTo>
                        <a:pt x="273418" y="5613"/>
                      </a:lnTo>
                      <a:lnTo>
                        <a:pt x="275907" y="5816"/>
                      </a:lnTo>
                      <a:lnTo>
                        <a:pt x="279895" y="9017"/>
                      </a:lnTo>
                      <a:lnTo>
                        <a:pt x="280657" y="11620"/>
                      </a:lnTo>
                      <a:lnTo>
                        <a:pt x="280733" y="20167"/>
                      </a:lnTo>
                      <a:lnTo>
                        <a:pt x="280733" y="1181"/>
                      </a:lnTo>
                      <a:lnTo>
                        <a:pt x="275780" y="749"/>
                      </a:lnTo>
                      <a:lnTo>
                        <a:pt x="264236" y="749"/>
                      </a:lnTo>
                      <a:lnTo>
                        <a:pt x="264236" y="28663"/>
                      </a:lnTo>
                      <a:lnTo>
                        <a:pt x="274713" y="28663"/>
                      </a:lnTo>
                      <a:lnTo>
                        <a:pt x="278358" y="28511"/>
                      </a:lnTo>
                      <a:lnTo>
                        <a:pt x="284607" y="23761"/>
                      </a:lnTo>
                      <a:lnTo>
                        <a:pt x="285076" y="23406"/>
                      </a:lnTo>
                      <a:lnTo>
                        <a:pt x="286664" y="18580"/>
                      </a:lnTo>
                      <a:lnTo>
                        <a:pt x="286664" y="11620"/>
                      </a:lnTo>
                      <a:close/>
                    </a:path>
                    <a:path w="1043940" h="29844">
                      <a:moveTo>
                        <a:pt x="315125" y="762"/>
                      </a:moveTo>
                      <a:lnTo>
                        <a:pt x="299275" y="762"/>
                      </a:lnTo>
                      <a:lnTo>
                        <a:pt x="299275" y="28663"/>
                      </a:lnTo>
                      <a:lnTo>
                        <a:pt x="315087" y="28663"/>
                      </a:lnTo>
                      <a:lnTo>
                        <a:pt x="315087" y="23088"/>
                      </a:lnTo>
                      <a:lnTo>
                        <a:pt x="305320" y="23088"/>
                      </a:lnTo>
                      <a:lnTo>
                        <a:pt x="305320" y="17119"/>
                      </a:lnTo>
                      <a:lnTo>
                        <a:pt x="314883" y="17119"/>
                      </a:lnTo>
                      <a:lnTo>
                        <a:pt x="314883" y="11709"/>
                      </a:lnTo>
                      <a:lnTo>
                        <a:pt x="305320" y="11709"/>
                      </a:lnTo>
                      <a:lnTo>
                        <a:pt x="305320" y="6172"/>
                      </a:lnTo>
                      <a:lnTo>
                        <a:pt x="315125" y="6172"/>
                      </a:lnTo>
                      <a:lnTo>
                        <a:pt x="315125" y="762"/>
                      </a:lnTo>
                      <a:close/>
                    </a:path>
                    <a:path w="1043940" h="29844">
                      <a:moveTo>
                        <a:pt x="343446" y="23164"/>
                      </a:moveTo>
                      <a:lnTo>
                        <a:pt x="333908" y="23164"/>
                      </a:lnTo>
                      <a:lnTo>
                        <a:pt x="333908" y="749"/>
                      </a:lnTo>
                      <a:lnTo>
                        <a:pt x="327825" y="749"/>
                      </a:lnTo>
                      <a:lnTo>
                        <a:pt x="327825" y="28663"/>
                      </a:lnTo>
                      <a:lnTo>
                        <a:pt x="343446" y="28663"/>
                      </a:lnTo>
                      <a:lnTo>
                        <a:pt x="343446" y="23164"/>
                      </a:lnTo>
                      <a:close/>
                    </a:path>
                    <a:path w="1043940" h="29844">
                      <a:moveTo>
                        <a:pt x="371132" y="23164"/>
                      </a:moveTo>
                      <a:lnTo>
                        <a:pt x="361594" y="23164"/>
                      </a:lnTo>
                      <a:lnTo>
                        <a:pt x="361594" y="749"/>
                      </a:lnTo>
                      <a:lnTo>
                        <a:pt x="355511" y="749"/>
                      </a:lnTo>
                      <a:lnTo>
                        <a:pt x="355511" y="28663"/>
                      </a:lnTo>
                      <a:lnTo>
                        <a:pt x="371132" y="28663"/>
                      </a:lnTo>
                      <a:lnTo>
                        <a:pt x="371132" y="23164"/>
                      </a:lnTo>
                      <a:close/>
                    </a:path>
                    <a:path w="1043940" h="29844">
                      <a:moveTo>
                        <a:pt x="411060" y="6324"/>
                      </a:moveTo>
                      <a:lnTo>
                        <a:pt x="410578" y="5854"/>
                      </a:lnTo>
                      <a:lnTo>
                        <a:pt x="404825" y="203"/>
                      </a:lnTo>
                      <a:lnTo>
                        <a:pt x="404825" y="9690"/>
                      </a:lnTo>
                      <a:lnTo>
                        <a:pt x="404787" y="19888"/>
                      </a:lnTo>
                      <a:lnTo>
                        <a:pt x="401180" y="23685"/>
                      </a:lnTo>
                      <a:lnTo>
                        <a:pt x="391337" y="23685"/>
                      </a:lnTo>
                      <a:lnTo>
                        <a:pt x="387502" y="19888"/>
                      </a:lnTo>
                      <a:lnTo>
                        <a:pt x="387616" y="9690"/>
                      </a:lnTo>
                      <a:lnTo>
                        <a:pt x="391337" y="5854"/>
                      </a:lnTo>
                      <a:lnTo>
                        <a:pt x="401180" y="5854"/>
                      </a:lnTo>
                      <a:lnTo>
                        <a:pt x="404825" y="9690"/>
                      </a:lnTo>
                      <a:lnTo>
                        <a:pt x="404825" y="203"/>
                      </a:lnTo>
                      <a:lnTo>
                        <a:pt x="404660" y="38"/>
                      </a:lnTo>
                      <a:lnTo>
                        <a:pt x="387540" y="38"/>
                      </a:lnTo>
                      <a:lnTo>
                        <a:pt x="381330" y="6324"/>
                      </a:lnTo>
                      <a:lnTo>
                        <a:pt x="381330" y="23444"/>
                      </a:lnTo>
                      <a:lnTo>
                        <a:pt x="387502" y="29375"/>
                      </a:lnTo>
                      <a:lnTo>
                        <a:pt x="405015" y="29375"/>
                      </a:lnTo>
                      <a:lnTo>
                        <a:pt x="410743" y="23685"/>
                      </a:lnTo>
                      <a:lnTo>
                        <a:pt x="410984" y="23444"/>
                      </a:lnTo>
                      <a:lnTo>
                        <a:pt x="411060" y="6324"/>
                      </a:lnTo>
                      <a:close/>
                    </a:path>
                    <a:path w="1043940" h="29844">
                      <a:moveTo>
                        <a:pt x="460298" y="11430"/>
                      </a:moveTo>
                      <a:lnTo>
                        <a:pt x="449072" y="12255"/>
                      </a:lnTo>
                      <a:lnTo>
                        <a:pt x="449072" y="6451"/>
                      </a:lnTo>
                      <a:lnTo>
                        <a:pt x="450291" y="5461"/>
                      </a:lnTo>
                      <a:lnTo>
                        <a:pt x="453618" y="5461"/>
                      </a:lnTo>
                      <a:lnTo>
                        <a:pt x="454799" y="6680"/>
                      </a:lnTo>
                      <a:lnTo>
                        <a:pt x="455866" y="8102"/>
                      </a:lnTo>
                      <a:lnTo>
                        <a:pt x="459740" y="3759"/>
                      </a:lnTo>
                      <a:lnTo>
                        <a:pt x="457377" y="1308"/>
                      </a:lnTo>
                      <a:lnTo>
                        <a:pt x="455282" y="0"/>
                      </a:lnTo>
                      <a:lnTo>
                        <a:pt x="446976" y="0"/>
                      </a:lnTo>
                      <a:lnTo>
                        <a:pt x="442747" y="3086"/>
                      </a:lnTo>
                      <a:lnTo>
                        <a:pt x="442747" y="12852"/>
                      </a:lnTo>
                      <a:lnTo>
                        <a:pt x="446506" y="15138"/>
                      </a:lnTo>
                      <a:lnTo>
                        <a:pt x="450291" y="16967"/>
                      </a:lnTo>
                      <a:lnTo>
                        <a:pt x="452120" y="17792"/>
                      </a:lnTo>
                      <a:lnTo>
                        <a:pt x="453542" y="19062"/>
                      </a:lnTo>
                      <a:lnTo>
                        <a:pt x="453936" y="19799"/>
                      </a:lnTo>
                      <a:lnTo>
                        <a:pt x="453936" y="22771"/>
                      </a:lnTo>
                      <a:lnTo>
                        <a:pt x="452310" y="24117"/>
                      </a:lnTo>
                      <a:lnTo>
                        <a:pt x="448119" y="24117"/>
                      </a:lnTo>
                      <a:lnTo>
                        <a:pt x="446582" y="22567"/>
                      </a:lnTo>
                      <a:lnTo>
                        <a:pt x="445160" y="20955"/>
                      </a:lnTo>
                      <a:lnTo>
                        <a:pt x="441198" y="25311"/>
                      </a:lnTo>
                      <a:lnTo>
                        <a:pt x="443738" y="27749"/>
                      </a:lnTo>
                      <a:lnTo>
                        <a:pt x="446544" y="29298"/>
                      </a:lnTo>
                      <a:lnTo>
                        <a:pt x="450138" y="29298"/>
                      </a:lnTo>
                      <a:lnTo>
                        <a:pt x="455676" y="29298"/>
                      </a:lnTo>
                      <a:lnTo>
                        <a:pt x="460298" y="25971"/>
                      </a:lnTo>
                      <a:lnTo>
                        <a:pt x="460298" y="11430"/>
                      </a:lnTo>
                      <a:close/>
                    </a:path>
                    <a:path w="1043940" h="29844">
                      <a:moveTo>
                        <a:pt x="488696" y="736"/>
                      </a:moveTo>
                      <a:lnTo>
                        <a:pt x="470712" y="736"/>
                      </a:lnTo>
                      <a:lnTo>
                        <a:pt x="470712" y="6197"/>
                      </a:lnTo>
                      <a:lnTo>
                        <a:pt x="476681" y="6197"/>
                      </a:lnTo>
                      <a:lnTo>
                        <a:pt x="476681" y="28663"/>
                      </a:lnTo>
                      <a:lnTo>
                        <a:pt x="482727" y="28663"/>
                      </a:lnTo>
                      <a:lnTo>
                        <a:pt x="482727" y="6121"/>
                      </a:lnTo>
                      <a:lnTo>
                        <a:pt x="488696" y="6121"/>
                      </a:lnTo>
                      <a:lnTo>
                        <a:pt x="488696" y="736"/>
                      </a:lnTo>
                      <a:close/>
                    </a:path>
                    <a:path w="1043940" h="29844">
                      <a:moveTo>
                        <a:pt x="524967" y="28663"/>
                      </a:moveTo>
                      <a:lnTo>
                        <a:pt x="522643" y="23012"/>
                      </a:lnTo>
                      <a:lnTo>
                        <a:pt x="520484" y="17754"/>
                      </a:lnTo>
                      <a:lnTo>
                        <a:pt x="515950" y="6718"/>
                      </a:lnTo>
                      <a:lnTo>
                        <a:pt x="514210" y="2489"/>
                      </a:lnTo>
                      <a:lnTo>
                        <a:pt x="514210" y="17754"/>
                      </a:lnTo>
                      <a:lnTo>
                        <a:pt x="506539" y="17754"/>
                      </a:lnTo>
                      <a:lnTo>
                        <a:pt x="510298" y="6718"/>
                      </a:lnTo>
                      <a:lnTo>
                        <a:pt x="514210" y="17754"/>
                      </a:lnTo>
                      <a:lnTo>
                        <a:pt x="514210" y="2489"/>
                      </a:lnTo>
                      <a:lnTo>
                        <a:pt x="513499" y="749"/>
                      </a:lnTo>
                      <a:lnTo>
                        <a:pt x="507060" y="749"/>
                      </a:lnTo>
                      <a:lnTo>
                        <a:pt x="496100" y="28663"/>
                      </a:lnTo>
                      <a:lnTo>
                        <a:pt x="502589" y="28663"/>
                      </a:lnTo>
                      <a:lnTo>
                        <a:pt x="504647" y="23012"/>
                      </a:lnTo>
                      <a:lnTo>
                        <a:pt x="516229" y="23012"/>
                      </a:lnTo>
                      <a:lnTo>
                        <a:pt x="518401" y="28663"/>
                      </a:lnTo>
                      <a:lnTo>
                        <a:pt x="524967" y="28663"/>
                      </a:lnTo>
                      <a:close/>
                    </a:path>
                    <a:path w="1043940" h="29844">
                      <a:moveTo>
                        <a:pt x="550151" y="736"/>
                      </a:moveTo>
                      <a:lnTo>
                        <a:pt x="532155" y="736"/>
                      </a:lnTo>
                      <a:lnTo>
                        <a:pt x="532155" y="6197"/>
                      </a:lnTo>
                      <a:lnTo>
                        <a:pt x="538137" y="6197"/>
                      </a:lnTo>
                      <a:lnTo>
                        <a:pt x="538137" y="28663"/>
                      </a:lnTo>
                      <a:lnTo>
                        <a:pt x="544182" y="28663"/>
                      </a:lnTo>
                      <a:lnTo>
                        <a:pt x="544182" y="6121"/>
                      </a:lnTo>
                      <a:lnTo>
                        <a:pt x="550151" y="6121"/>
                      </a:lnTo>
                      <a:lnTo>
                        <a:pt x="550151" y="736"/>
                      </a:lnTo>
                      <a:close/>
                    </a:path>
                    <a:path w="1043940" h="29844">
                      <a:moveTo>
                        <a:pt x="589394" y="6324"/>
                      </a:moveTo>
                      <a:lnTo>
                        <a:pt x="588911" y="5854"/>
                      </a:lnTo>
                      <a:lnTo>
                        <a:pt x="583133" y="190"/>
                      </a:lnTo>
                      <a:lnTo>
                        <a:pt x="583133" y="9690"/>
                      </a:lnTo>
                      <a:lnTo>
                        <a:pt x="583095" y="19888"/>
                      </a:lnTo>
                      <a:lnTo>
                        <a:pt x="579501" y="23685"/>
                      </a:lnTo>
                      <a:lnTo>
                        <a:pt x="569658" y="23685"/>
                      </a:lnTo>
                      <a:lnTo>
                        <a:pt x="565823" y="19888"/>
                      </a:lnTo>
                      <a:lnTo>
                        <a:pt x="565924" y="9690"/>
                      </a:lnTo>
                      <a:lnTo>
                        <a:pt x="569658" y="5854"/>
                      </a:lnTo>
                      <a:lnTo>
                        <a:pt x="579501" y="5854"/>
                      </a:lnTo>
                      <a:lnTo>
                        <a:pt x="583133" y="9690"/>
                      </a:lnTo>
                      <a:lnTo>
                        <a:pt x="583133" y="190"/>
                      </a:lnTo>
                      <a:lnTo>
                        <a:pt x="582980" y="38"/>
                      </a:lnTo>
                      <a:lnTo>
                        <a:pt x="565861" y="38"/>
                      </a:lnTo>
                      <a:lnTo>
                        <a:pt x="559650" y="6324"/>
                      </a:lnTo>
                      <a:lnTo>
                        <a:pt x="559650" y="23444"/>
                      </a:lnTo>
                      <a:lnTo>
                        <a:pt x="565823" y="29375"/>
                      </a:lnTo>
                      <a:lnTo>
                        <a:pt x="583336" y="29375"/>
                      </a:lnTo>
                      <a:lnTo>
                        <a:pt x="589064" y="23685"/>
                      </a:lnTo>
                      <a:lnTo>
                        <a:pt x="589318" y="23444"/>
                      </a:lnTo>
                      <a:lnTo>
                        <a:pt x="589394" y="6324"/>
                      </a:lnTo>
                      <a:close/>
                    </a:path>
                    <a:path w="1043940" h="29844">
                      <a:moveTo>
                        <a:pt x="627595" y="736"/>
                      </a:moveTo>
                      <a:lnTo>
                        <a:pt x="621512" y="736"/>
                      </a:lnTo>
                      <a:lnTo>
                        <a:pt x="621512" y="28651"/>
                      </a:lnTo>
                      <a:lnTo>
                        <a:pt x="627595" y="28651"/>
                      </a:lnTo>
                      <a:lnTo>
                        <a:pt x="627595" y="736"/>
                      </a:lnTo>
                      <a:close/>
                    </a:path>
                    <a:path w="1043940" h="29844">
                      <a:moveTo>
                        <a:pt x="657123" y="736"/>
                      </a:moveTo>
                      <a:lnTo>
                        <a:pt x="639127" y="736"/>
                      </a:lnTo>
                      <a:lnTo>
                        <a:pt x="639127" y="6197"/>
                      </a:lnTo>
                      <a:lnTo>
                        <a:pt x="645109" y="6197"/>
                      </a:lnTo>
                      <a:lnTo>
                        <a:pt x="645109" y="28663"/>
                      </a:lnTo>
                      <a:lnTo>
                        <a:pt x="651154" y="28663"/>
                      </a:lnTo>
                      <a:lnTo>
                        <a:pt x="651154" y="6121"/>
                      </a:lnTo>
                      <a:lnTo>
                        <a:pt x="657123" y="6121"/>
                      </a:lnTo>
                      <a:lnTo>
                        <a:pt x="657123" y="736"/>
                      </a:lnTo>
                      <a:close/>
                    </a:path>
                    <a:path w="1043940" h="29844">
                      <a:moveTo>
                        <a:pt x="693394" y="28663"/>
                      </a:moveTo>
                      <a:lnTo>
                        <a:pt x="691070" y="23012"/>
                      </a:lnTo>
                      <a:lnTo>
                        <a:pt x="688911" y="17754"/>
                      </a:lnTo>
                      <a:lnTo>
                        <a:pt x="684377" y="6718"/>
                      </a:lnTo>
                      <a:lnTo>
                        <a:pt x="682637" y="2489"/>
                      </a:lnTo>
                      <a:lnTo>
                        <a:pt x="682637" y="17754"/>
                      </a:lnTo>
                      <a:lnTo>
                        <a:pt x="674966" y="17754"/>
                      </a:lnTo>
                      <a:lnTo>
                        <a:pt x="678726" y="6718"/>
                      </a:lnTo>
                      <a:lnTo>
                        <a:pt x="682637" y="17754"/>
                      </a:lnTo>
                      <a:lnTo>
                        <a:pt x="682637" y="2489"/>
                      </a:lnTo>
                      <a:lnTo>
                        <a:pt x="681926" y="749"/>
                      </a:lnTo>
                      <a:lnTo>
                        <a:pt x="675487" y="749"/>
                      </a:lnTo>
                      <a:lnTo>
                        <a:pt x="664527" y="28663"/>
                      </a:lnTo>
                      <a:lnTo>
                        <a:pt x="671017" y="28663"/>
                      </a:lnTo>
                      <a:lnTo>
                        <a:pt x="673074" y="23012"/>
                      </a:lnTo>
                      <a:lnTo>
                        <a:pt x="684657" y="23012"/>
                      </a:lnTo>
                      <a:lnTo>
                        <a:pt x="686828" y="28663"/>
                      </a:lnTo>
                      <a:lnTo>
                        <a:pt x="693394" y="28663"/>
                      </a:lnTo>
                      <a:close/>
                    </a:path>
                    <a:path w="1043940" h="29844">
                      <a:moveTo>
                        <a:pt x="720128" y="23164"/>
                      </a:moveTo>
                      <a:lnTo>
                        <a:pt x="710603" y="23164"/>
                      </a:lnTo>
                      <a:lnTo>
                        <a:pt x="710603" y="749"/>
                      </a:lnTo>
                      <a:lnTo>
                        <a:pt x="704507" y="749"/>
                      </a:lnTo>
                      <a:lnTo>
                        <a:pt x="704507" y="28663"/>
                      </a:lnTo>
                      <a:lnTo>
                        <a:pt x="720128" y="28663"/>
                      </a:lnTo>
                      <a:lnTo>
                        <a:pt x="720128" y="23164"/>
                      </a:lnTo>
                      <a:close/>
                    </a:path>
                    <a:path w="1043940" h="29844">
                      <a:moveTo>
                        <a:pt x="738200" y="736"/>
                      </a:moveTo>
                      <a:lnTo>
                        <a:pt x="732116" y="736"/>
                      </a:lnTo>
                      <a:lnTo>
                        <a:pt x="732116" y="28651"/>
                      </a:lnTo>
                      <a:lnTo>
                        <a:pt x="738200" y="28651"/>
                      </a:lnTo>
                      <a:lnTo>
                        <a:pt x="738200" y="736"/>
                      </a:lnTo>
                      <a:close/>
                    </a:path>
                    <a:path w="1043940" h="29844">
                      <a:moveTo>
                        <a:pt x="778090" y="28663"/>
                      </a:moveTo>
                      <a:lnTo>
                        <a:pt x="775779" y="23012"/>
                      </a:lnTo>
                      <a:lnTo>
                        <a:pt x="773607" y="17754"/>
                      </a:lnTo>
                      <a:lnTo>
                        <a:pt x="769073" y="6718"/>
                      </a:lnTo>
                      <a:lnTo>
                        <a:pt x="767334" y="2489"/>
                      </a:lnTo>
                      <a:lnTo>
                        <a:pt x="767334" y="17754"/>
                      </a:lnTo>
                      <a:lnTo>
                        <a:pt x="759663" y="17754"/>
                      </a:lnTo>
                      <a:lnTo>
                        <a:pt x="763422" y="6718"/>
                      </a:lnTo>
                      <a:lnTo>
                        <a:pt x="767334" y="17754"/>
                      </a:lnTo>
                      <a:lnTo>
                        <a:pt x="767334" y="2489"/>
                      </a:lnTo>
                      <a:lnTo>
                        <a:pt x="766622" y="749"/>
                      </a:lnTo>
                      <a:lnTo>
                        <a:pt x="760183" y="749"/>
                      </a:lnTo>
                      <a:lnTo>
                        <a:pt x="749223" y="28663"/>
                      </a:lnTo>
                      <a:lnTo>
                        <a:pt x="755713" y="28663"/>
                      </a:lnTo>
                      <a:lnTo>
                        <a:pt x="757770" y="23012"/>
                      </a:lnTo>
                      <a:lnTo>
                        <a:pt x="769353" y="23012"/>
                      </a:lnTo>
                      <a:lnTo>
                        <a:pt x="771525" y="28663"/>
                      </a:lnTo>
                      <a:lnTo>
                        <a:pt x="778090" y="28663"/>
                      </a:lnTo>
                      <a:close/>
                    </a:path>
                    <a:path w="1043940" h="29844">
                      <a:moveTo>
                        <a:pt x="813320" y="749"/>
                      </a:moveTo>
                      <a:lnTo>
                        <a:pt x="807631" y="749"/>
                      </a:lnTo>
                      <a:lnTo>
                        <a:pt x="807745" y="19138"/>
                      </a:lnTo>
                      <a:lnTo>
                        <a:pt x="794740" y="749"/>
                      </a:lnTo>
                      <a:lnTo>
                        <a:pt x="789241" y="749"/>
                      </a:lnTo>
                      <a:lnTo>
                        <a:pt x="789241" y="28663"/>
                      </a:lnTo>
                      <a:lnTo>
                        <a:pt x="794981" y="28663"/>
                      </a:lnTo>
                      <a:lnTo>
                        <a:pt x="794816" y="9918"/>
                      </a:lnTo>
                      <a:lnTo>
                        <a:pt x="807910" y="28663"/>
                      </a:lnTo>
                      <a:lnTo>
                        <a:pt x="813320" y="28663"/>
                      </a:lnTo>
                      <a:lnTo>
                        <a:pt x="813320" y="749"/>
                      </a:lnTo>
                      <a:close/>
                    </a:path>
                    <a:path w="1043940" h="29844">
                      <a:moveTo>
                        <a:pt x="842594" y="762"/>
                      </a:moveTo>
                      <a:lnTo>
                        <a:pt x="826744" y="762"/>
                      </a:lnTo>
                      <a:lnTo>
                        <a:pt x="826744" y="28663"/>
                      </a:lnTo>
                      <a:lnTo>
                        <a:pt x="842556" y="28663"/>
                      </a:lnTo>
                      <a:lnTo>
                        <a:pt x="842556" y="23088"/>
                      </a:lnTo>
                      <a:lnTo>
                        <a:pt x="832789" y="23088"/>
                      </a:lnTo>
                      <a:lnTo>
                        <a:pt x="832789" y="17119"/>
                      </a:lnTo>
                      <a:lnTo>
                        <a:pt x="842352" y="17119"/>
                      </a:lnTo>
                      <a:lnTo>
                        <a:pt x="842352" y="11709"/>
                      </a:lnTo>
                      <a:lnTo>
                        <a:pt x="832789" y="11709"/>
                      </a:lnTo>
                      <a:lnTo>
                        <a:pt x="832789" y="6172"/>
                      </a:lnTo>
                      <a:lnTo>
                        <a:pt x="842594" y="6172"/>
                      </a:lnTo>
                      <a:lnTo>
                        <a:pt x="842594" y="762"/>
                      </a:lnTo>
                      <a:close/>
                    </a:path>
                    <a:path w="1043940" h="29844">
                      <a:moveTo>
                        <a:pt x="903465" y="13246"/>
                      </a:moveTo>
                      <a:lnTo>
                        <a:pt x="889469" y="13246"/>
                      </a:lnTo>
                      <a:lnTo>
                        <a:pt x="889469" y="18415"/>
                      </a:lnTo>
                      <a:lnTo>
                        <a:pt x="896785" y="18415"/>
                      </a:lnTo>
                      <a:lnTo>
                        <a:pt x="896505" y="19735"/>
                      </a:lnTo>
                      <a:lnTo>
                        <a:pt x="896302" y="20243"/>
                      </a:lnTo>
                      <a:lnTo>
                        <a:pt x="894486" y="22771"/>
                      </a:lnTo>
                      <a:lnTo>
                        <a:pt x="892073" y="23837"/>
                      </a:lnTo>
                      <a:lnTo>
                        <a:pt x="884643" y="23837"/>
                      </a:lnTo>
                      <a:lnTo>
                        <a:pt x="881087" y="20040"/>
                      </a:lnTo>
                      <a:lnTo>
                        <a:pt x="881087" y="9372"/>
                      </a:lnTo>
                      <a:lnTo>
                        <a:pt x="884605" y="5613"/>
                      </a:lnTo>
                      <a:lnTo>
                        <a:pt x="891171" y="5613"/>
                      </a:lnTo>
                      <a:lnTo>
                        <a:pt x="892594" y="5969"/>
                      </a:lnTo>
                      <a:lnTo>
                        <a:pt x="895197" y="7429"/>
                      </a:lnTo>
                      <a:lnTo>
                        <a:pt x="895756" y="7912"/>
                      </a:lnTo>
                      <a:lnTo>
                        <a:pt x="896785" y="9245"/>
                      </a:lnTo>
                      <a:lnTo>
                        <a:pt x="901725" y="6362"/>
                      </a:lnTo>
                      <a:lnTo>
                        <a:pt x="900493" y="4622"/>
                      </a:lnTo>
                      <a:lnTo>
                        <a:pt x="899985" y="4025"/>
                      </a:lnTo>
                      <a:lnTo>
                        <a:pt x="896391" y="1104"/>
                      </a:lnTo>
                      <a:lnTo>
                        <a:pt x="893025" y="0"/>
                      </a:lnTo>
                      <a:lnTo>
                        <a:pt x="880960" y="0"/>
                      </a:lnTo>
                      <a:lnTo>
                        <a:pt x="875118" y="6007"/>
                      </a:lnTo>
                      <a:lnTo>
                        <a:pt x="875118" y="23291"/>
                      </a:lnTo>
                      <a:lnTo>
                        <a:pt x="880922" y="29260"/>
                      </a:lnTo>
                      <a:lnTo>
                        <a:pt x="894803" y="29260"/>
                      </a:lnTo>
                      <a:lnTo>
                        <a:pt x="899553" y="26530"/>
                      </a:lnTo>
                      <a:lnTo>
                        <a:pt x="901801" y="22021"/>
                      </a:lnTo>
                      <a:lnTo>
                        <a:pt x="902995" y="19685"/>
                      </a:lnTo>
                      <a:lnTo>
                        <a:pt x="903465" y="17157"/>
                      </a:lnTo>
                      <a:lnTo>
                        <a:pt x="903465" y="13246"/>
                      </a:lnTo>
                      <a:close/>
                    </a:path>
                    <a:path w="1043940" h="29844">
                      <a:moveTo>
                        <a:pt x="936409" y="28663"/>
                      </a:moveTo>
                      <a:lnTo>
                        <a:pt x="928395" y="16878"/>
                      </a:lnTo>
                      <a:lnTo>
                        <a:pt x="929411" y="16560"/>
                      </a:lnTo>
                      <a:lnTo>
                        <a:pt x="930516" y="16281"/>
                      </a:lnTo>
                      <a:lnTo>
                        <a:pt x="933640" y="14274"/>
                      </a:lnTo>
                      <a:lnTo>
                        <a:pt x="934110" y="12966"/>
                      </a:lnTo>
                      <a:lnTo>
                        <a:pt x="934618" y="11582"/>
                      </a:lnTo>
                      <a:lnTo>
                        <a:pt x="934618" y="7391"/>
                      </a:lnTo>
                      <a:lnTo>
                        <a:pt x="934186" y="5727"/>
                      </a:lnTo>
                      <a:lnTo>
                        <a:pt x="933323" y="4343"/>
                      </a:lnTo>
                      <a:lnTo>
                        <a:pt x="931189" y="1028"/>
                      </a:lnTo>
                      <a:lnTo>
                        <a:pt x="928700" y="850"/>
                      </a:lnTo>
                      <a:lnTo>
                        <a:pt x="928700" y="6400"/>
                      </a:lnTo>
                      <a:lnTo>
                        <a:pt x="928700" y="9918"/>
                      </a:lnTo>
                      <a:lnTo>
                        <a:pt x="928535" y="10629"/>
                      </a:lnTo>
                      <a:lnTo>
                        <a:pt x="927227" y="12814"/>
                      </a:lnTo>
                      <a:lnTo>
                        <a:pt x="925690" y="12966"/>
                      </a:lnTo>
                      <a:lnTo>
                        <a:pt x="921854" y="12966"/>
                      </a:lnTo>
                      <a:lnTo>
                        <a:pt x="921854" y="5613"/>
                      </a:lnTo>
                      <a:lnTo>
                        <a:pt x="926363" y="5613"/>
                      </a:lnTo>
                      <a:lnTo>
                        <a:pt x="928700" y="6400"/>
                      </a:lnTo>
                      <a:lnTo>
                        <a:pt x="928700" y="850"/>
                      </a:lnTo>
                      <a:lnTo>
                        <a:pt x="927354" y="749"/>
                      </a:lnTo>
                      <a:lnTo>
                        <a:pt x="915924" y="749"/>
                      </a:lnTo>
                      <a:lnTo>
                        <a:pt x="915924" y="28663"/>
                      </a:lnTo>
                      <a:lnTo>
                        <a:pt x="921816" y="28663"/>
                      </a:lnTo>
                      <a:lnTo>
                        <a:pt x="921816" y="16878"/>
                      </a:lnTo>
                      <a:lnTo>
                        <a:pt x="929208" y="28663"/>
                      </a:lnTo>
                      <a:lnTo>
                        <a:pt x="936409" y="28663"/>
                      </a:lnTo>
                      <a:close/>
                    </a:path>
                    <a:path w="1043940" h="29844">
                      <a:moveTo>
                        <a:pt x="975868" y="6324"/>
                      </a:moveTo>
                      <a:lnTo>
                        <a:pt x="975385" y="5854"/>
                      </a:lnTo>
                      <a:lnTo>
                        <a:pt x="969632" y="203"/>
                      </a:lnTo>
                      <a:lnTo>
                        <a:pt x="969632" y="9690"/>
                      </a:lnTo>
                      <a:lnTo>
                        <a:pt x="969594" y="19888"/>
                      </a:lnTo>
                      <a:lnTo>
                        <a:pt x="965987" y="23685"/>
                      </a:lnTo>
                      <a:lnTo>
                        <a:pt x="956144" y="23685"/>
                      </a:lnTo>
                      <a:lnTo>
                        <a:pt x="952309" y="19888"/>
                      </a:lnTo>
                      <a:lnTo>
                        <a:pt x="952411" y="9690"/>
                      </a:lnTo>
                      <a:lnTo>
                        <a:pt x="956144" y="5854"/>
                      </a:lnTo>
                      <a:lnTo>
                        <a:pt x="965987" y="5854"/>
                      </a:lnTo>
                      <a:lnTo>
                        <a:pt x="969632" y="9690"/>
                      </a:lnTo>
                      <a:lnTo>
                        <a:pt x="969632" y="203"/>
                      </a:lnTo>
                      <a:lnTo>
                        <a:pt x="969467" y="38"/>
                      </a:lnTo>
                      <a:lnTo>
                        <a:pt x="952347" y="38"/>
                      </a:lnTo>
                      <a:lnTo>
                        <a:pt x="946137" y="6324"/>
                      </a:lnTo>
                      <a:lnTo>
                        <a:pt x="946137" y="23444"/>
                      </a:lnTo>
                      <a:lnTo>
                        <a:pt x="952309" y="29375"/>
                      </a:lnTo>
                      <a:lnTo>
                        <a:pt x="969822" y="29375"/>
                      </a:lnTo>
                      <a:lnTo>
                        <a:pt x="975537" y="23685"/>
                      </a:lnTo>
                      <a:lnTo>
                        <a:pt x="975779" y="23444"/>
                      </a:lnTo>
                      <a:lnTo>
                        <a:pt x="975868" y="6324"/>
                      </a:lnTo>
                      <a:close/>
                    </a:path>
                    <a:path w="1043940" h="29844">
                      <a:moveTo>
                        <a:pt x="1011110" y="749"/>
                      </a:moveTo>
                      <a:lnTo>
                        <a:pt x="1005179" y="749"/>
                      </a:lnTo>
                      <a:lnTo>
                        <a:pt x="1005179" y="21628"/>
                      </a:lnTo>
                      <a:lnTo>
                        <a:pt x="1003757" y="23964"/>
                      </a:lnTo>
                      <a:lnTo>
                        <a:pt x="998372" y="23964"/>
                      </a:lnTo>
                      <a:lnTo>
                        <a:pt x="996556" y="23406"/>
                      </a:lnTo>
                      <a:lnTo>
                        <a:pt x="994575" y="20764"/>
                      </a:lnTo>
                      <a:lnTo>
                        <a:pt x="994537" y="19494"/>
                      </a:lnTo>
                      <a:lnTo>
                        <a:pt x="994537" y="749"/>
                      </a:lnTo>
                      <a:lnTo>
                        <a:pt x="988606" y="749"/>
                      </a:lnTo>
                      <a:lnTo>
                        <a:pt x="988606" y="19926"/>
                      </a:lnTo>
                      <a:lnTo>
                        <a:pt x="988733" y="21666"/>
                      </a:lnTo>
                      <a:lnTo>
                        <a:pt x="990981" y="27520"/>
                      </a:lnTo>
                      <a:lnTo>
                        <a:pt x="995489" y="29413"/>
                      </a:lnTo>
                      <a:lnTo>
                        <a:pt x="1003439" y="29413"/>
                      </a:lnTo>
                      <a:lnTo>
                        <a:pt x="1006995" y="28194"/>
                      </a:lnTo>
                      <a:lnTo>
                        <a:pt x="1009129" y="25107"/>
                      </a:lnTo>
                      <a:lnTo>
                        <a:pt x="1010945" y="22491"/>
                      </a:lnTo>
                      <a:lnTo>
                        <a:pt x="1011110" y="19342"/>
                      </a:lnTo>
                      <a:lnTo>
                        <a:pt x="1011110" y="749"/>
                      </a:lnTo>
                      <a:close/>
                    </a:path>
                    <a:path w="1043940" h="29844">
                      <a:moveTo>
                        <a:pt x="1043457" y="7620"/>
                      </a:moveTo>
                      <a:lnTo>
                        <a:pt x="1043038" y="5803"/>
                      </a:lnTo>
                      <a:lnTo>
                        <a:pt x="1040053" y="1701"/>
                      </a:lnTo>
                      <a:lnTo>
                        <a:pt x="1037526" y="965"/>
                      </a:lnTo>
                      <a:lnTo>
                        <a:pt x="1037526" y="11976"/>
                      </a:lnTo>
                      <a:lnTo>
                        <a:pt x="1035672" y="12928"/>
                      </a:lnTo>
                      <a:lnTo>
                        <a:pt x="1030681" y="12928"/>
                      </a:lnTo>
                      <a:lnTo>
                        <a:pt x="1030681" y="5803"/>
                      </a:lnTo>
                      <a:lnTo>
                        <a:pt x="1034478" y="5803"/>
                      </a:lnTo>
                      <a:lnTo>
                        <a:pt x="1036739" y="6362"/>
                      </a:lnTo>
                      <a:lnTo>
                        <a:pt x="1037412" y="7620"/>
                      </a:lnTo>
                      <a:lnTo>
                        <a:pt x="1037526" y="11976"/>
                      </a:lnTo>
                      <a:lnTo>
                        <a:pt x="1037526" y="965"/>
                      </a:lnTo>
                      <a:lnTo>
                        <a:pt x="1033894" y="749"/>
                      </a:lnTo>
                      <a:lnTo>
                        <a:pt x="1024597" y="749"/>
                      </a:lnTo>
                      <a:lnTo>
                        <a:pt x="1024597" y="28663"/>
                      </a:lnTo>
                      <a:lnTo>
                        <a:pt x="1030643" y="28663"/>
                      </a:lnTo>
                      <a:lnTo>
                        <a:pt x="1030643" y="18059"/>
                      </a:lnTo>
                      <a:lnTo>
                        <a:pt x="1036180" y="18059"/>
                      </a:lnTo>
                      <a:lnTo>
                        <a:pt x="1038948" y="17741"/>
                      </a:lnTo>
                      <a:lnTo>
                        <a:pt x="1042631" y="14147"/>
                      </a:lnTo>
                      <a:lnTo>
                        <a:pt x="1043063" y="12928"/>
                      </a:lnTo>
                      <a:lnTo>
                        <a:pt x="1043406" y="11976"/>
                      </a:lnTo>
                      <a:lnTo>
                        <a:pt x="1043457" y="7620"/>
                      </a:lnTo>
                      <a:close/>
                    </a:path>
                  </a:pathLst>
                </a:custGeom>
                <a:solidFill>
                  <a:srgbClr val="00675F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67" name="object 214">
                  <a:extLst>
                    <a:ext uri="{FF2B5EF4-FFF2-40B4-BE49-F238E27FC236}">
                      <a16:creationId xmlns:a16="http://schemas.microsoft.com/office/drawing/2014/main" id="{150F141E-914B-A37D-506D-B1B9BCB7552C}"/>
                    </a:ext>
                  </a:extLst>
                </p:cNvPr>
                <p:cNvSpPr/>
                <p:nvPr/>
              </p:nvSpPr>
              <p:spPr>
                <a:xfrm>
                  <a:off x="362737" y="2725775"/>
                  <a:ext cx="802005" cy="1174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2005" h="117475">
                      <a:moveTo>
                        <a:pt x="29692" y="100304"/>
                      </a:moveTo>
                      <a:lnTo>
                        <a:pt x="15036" y="100304"/>
                      </a:lnTo>
                      <a:lnTo>
                        <a:pt x="15036" y="105740"/>
                      </a:lnTo>
                      <a:lnTo>
                        <a:pt x="22694" y="105740"/>
                      </a:lnTo>
                      <a:lnTo>
                        <a:pt x="22402" y="107099"/>
                      </a:lnTo>
                      <a:lnTo>
                        <a:pt x="22199" y="107645"/>
                      </a:lnTo>
                      <a:lnTo>
                        <a:pt x="20294" y="110286"/>
                      </a:lnTo>
                      <a:lnTo>
                        <a:pt x="17767" y="111404"/>
                      </a:lnTo>
                      <a:lnTo>
                        <a:pt x="9982" y="111404"/>
                      </a:lnTo>
                      <a:lnTo>
                        <a:pt x="6248" y="107429"/>
                      </a:lnTo>
                      <a:lnTo>
                        <a:pt x="6362" y="96126"/>
                      </a:lnTo>
                      <a:lnTo>
                        <a:pt x="9931" y="92316"/>
                      </a:lnTo>
                      <a:lnTo>
                        <a:pt x="16814" y="92316"/>
                      </a:lnTo>
                      <a:lnTo>
                        <a:pt x="18300" y="92684"/>
                      </a:lnTo>
                      <a:lnTo>
                        <a:pt x="21031" y="94221"/>
                      </a:lnTo>
                      <a:lnTo>
                        <a:pt x="21615" y="94716"/>
                      </a:lnTo>
                      <a:lnTo>
                        <a:pt x="22694" y="96126"/>
                      </a:lnTo>
                      <a:lnTo>
                        <a:pt x="27876" y="93103"/>
                      </a:lnTo>
                      <a:lnTo>
                        <a:pt x="27317" y="92316"/>
                      </a:lnTo>
                      <a:lnTo>
                        <a:pt x="26581" y="91274"/>
                      </a:lnTo>
                      <a:lnTo>
                        <a:pt x="26047" y="90652"/>
                      </a:lnTo>
                      <a:lnTo>
                        <a:pt x="22275" y="87591"/>
                      </a:lnTo>
                      <a:lnTo>
                        <a:pt x="18757" y="86436"/>
                      </a:lnTo>
                      <a:lnTo>
                        <a:pt x="6121" y="86436"/>
                      </a:lnTo>
                      <a:lnTo>
                        <a:pt x="50" y="92684"/>
                      </a:lnTo>
                      <a:lnTo>
                        <a:pt x="0" y="110832"/>
                      </a:lnTo>
                      <a:lnTo>
                        <a:pt x="6083" y="117081"/>
                      </a:lnTo>
                      <a:lnTo>
                        <a:pt x="20624" y="117081"/>
                      </a:lnTo>
                      <a:lnTo>
                        <a:pt x="25590" y="114223"/>
                      </a:lnTo>
                      <a:lnTo>
                        <a:pt x="27000" y="111404"/>
                      </a:lnTo>
                      <a:lnTo>
                        <a:pt x="29197" y="107061"/>
                      </a:lnTo>
                      <a:lnTo>
                        <a:pt x="29692" y="104406"/>
                      </a:lnTo>
                      <a:lnTo>
                        <a:pt x="29692" y="100304"/>
                      </a:lnTo>
                      <a:close/>
                    </a:path>
                    <a:path w="802005" h="117475">
                      <a:moveTo>
                        <a:pt x="55041" y="116459"/>
                      </a:moveTo>
                      <a:lnTo>
                        <a:pt x="46634" y="104114"/>
                      </a:lnTo>
                      <a:lnTo>
                        <a:pt x="49822" y="102870"/>
                      </a:lnTo>
                      <a:lnTo>
                        <a:pt x="52133" y="101384"/>
                      </a:lnTo>
                      <a:lnTo>
                        <a:pt x="52641" y="100025"/>
                      </a:lnTo>
                      <a:lnTo>
                        <a:pt x="53174" y="98564"/>
                      </a:lnTo>
                      <a:lnTo>
                        <a:pt x="53174" y="94183"/>
                      </a:lnTo>
                      <a:lnTo>
                        <a:pt x="46964" y="87337"/>
                      </a:lnTo>
                      <a:lnTo>
                        <a:pt x="46964" y="93141"/>
                      </a:lnTo>
                      <a:lnTo>
                        <a:pt x="46964" y="96126"/>
                      </a:lnTo>
                      <a:lnTo>
                        <a:pt x="46418" y="98196"/>
                      </a:lnTo>
                      <a:lnTo>
                        <a:pt x="45427" y="99847"/>
                      </a:lnTo>
                      <a:lnTo>
                        <a:pt x="43815" y="100025"/>
                      </a:lnTo>
                      <a:lnTo>
                        <a:pt x="39801" y="100025"/>
                      </a:lnTo>
                      <a:lnTo>
                        <a:pt x="39801" y="92316"/>
                      </a:lnTo>
                      <a:lnTo>
                        <a:pt x="44513" y="92316"/>
                      </a:lnTo>
                      <a:lnTo>
                        <a:pt x="46964" y="93141"/>
                      </a:lnTo>
                      <a:lnTo>
                        <a:pt x="46964" y="87337"/>
                      </a:lnTo>
                      <a:lnTo>
                        <a:pt x="45554" y="87223"/>
                      </a:lnTo>
                      <a:lnTo>
                        <a:pt x="33591" y="87223"/>
                      </a:lnTo>
                      <a:lnTo>
                        <a:pt x="33591" y="116459"/>
                      </a:lnTo>
                      <a:lnTo>
                        <a:pt x="39751" y="116459"/>
                      </a:lnTo>
                      <a:lnTo>
                        <a:pt x="39751" y="104114"/>
                      </a:lnTo>
                      <a:lnTo>
                        <a:pt x="47498" y="116459"/>
                      </a:lnTo>
                      <a:lnTo>
                        <a:pt x="55041" y="116459"/>
                      </a:lnTo>
                      <a:close/>
                    </a:path>
                    <a:path w="802005" h="117475">
                      <a:moveTo>
                        <a:pt x="80467" y="87223"/>
                      </a:moveTo>
                      <a:lnTo>
                        <a:pt x="74256" y="87223"/>
                      </a:lnTo>
                      <a:lnTo>
                        <a:pt x="74231" y="109131"/>
                      </a:lnTo>
                      <a:lnTo>
                        <a:pt x="72758" y="111531"/>
                      </a:lnTo>
                      <a:lnTo>
                        <a:pt x="67132" y="111531"/>
                      </a:lnTo>
                      <a:lnTo>
                        <a:pt x="65227" y="110947"/>
                      </a:lnTo>
                      <a:lnTo>
                        <a:pt x="63157" y="108178"/>
                      </a:lnTo>
                      <a:lnTo>
                        <a:pt x="63119" y="87223"/>
                      </a:lnTo>
                      <a:lnTo>
                        <a:pt x="56896" y="87223"/>
                      </a:lnTo>
                      <a:lnTo>
                        <a:pt x="56959" y="108178"/>
                      </a:lnTo>
                      <a:lnTo>
                        <a:pt x="57023" y="109131"/>
                      </a:lnTo>
                      <a:lnTo>
                        <a:pt x="59385" y="115252"/>
                      </a:lnTo>
                      <a:lnTo>
                        <a:pt x="64109" y="117246"/>
                      </a:lnTo>
                      <a:lnTo>
                        <a:pt x="72428" y="117246"/>
                      </a:lnTo>
                      <a:lnTo>
                        <a:pt x="76161" y="115963"/>
                      </a:lnTo>
                      <a:lnTo>
                        <a:pt x="79235" y="111531"/>
                      </a:lnTo>
                      <a:lnTo>
                        <a:pt x="80302" y="109994"/>
                      </a:lnTo>
                      <a:lnTo>
                        <a:pt x="80391" y="108178"/>
                      </a:lnTo>
                      <a:lnTo>
                        <a:pt x="80467" y="87223"/>
                      </a:lnTo>
                      <a:close/>
                    </a:path>
                    <a:path w="802005" h="117475">
                      <a:moveTo>
                        <a:pt x="105194" y="94424"/>
                      </a:moveTo>
                      <a:lnTo>
                        <a:pt x="104749" y="92519"/>
                      </a:lnTo>
                      <a:lnTo>
                        <a:pt x="101625" y="88214"/>
                      </a:lnTo>
                      <a:lnTo>
                        <a:pt x="98983" y="87464"/>
                      </a:lnTo>
                      <a:lnTo>
                        <a:pt x="98983" y="98983"/>
                      </a:lnTo>
                      <a:lnTo>
                        <a:pt x="97028" y="99974"/>
                      </a:lnTo>
                      <a:lnTo>
                        <a:pt x="91821" y="99974"/>
                      </a:lnTo>
                      <a:lnTo>
                        <a:pt x="91821" y="92519"/>
                      </a:lnTo>
                      <a:lnTo>
                        <a:pt x="94462" y="92519"/>
                      </a:lnTo>
                      <a:lnTo>
                        <a:pt x="96456" y="92684"/>
                      </a:lnTo>
                      <a:lnTo>
                        <a:pt x="98145" y="93103"/>
                      </a:lnTo>
                      <a:lnTo>
                        <a:pt x="98869" y="94424"/>
                      </a:lnTo>
                      <a:lnTo>
                        <a:pt x="98983" y="98983"/>
                      </a:lnTo>
                      <a:lnTo>
                        <a:pt x="98983" y="87464"/>
                      </a:lnTo>
                      <a:lnTo>
                        <a:pt x="95745" y="87261"/>
                      </a:lnTo>
                      <a:lnTo>
                        <a:pt x="93967" y="87223"/>
                      </a:lnTo>
                      <a:lnTo>
                        <a:pt x="85432" y="87223"/>
                      </a:lnTo>
                      <a:lnTo>
                        <a:pt x="85432" y="116459"/>
                      </a:lnTo>
                      <a:lnTo>
                        <a:pt x="91770" y="116459"/>
                      </a:lnTo>
                      <a:lnTo>
                        <a:pt x="91770" y="105359"/>
                      </a:lnTo>
                      <a:lnTo>
                        <a:pt x="97574" y="105359"/>
                      </a:lnTo>
                      <a:lnTo>
                        <a:pt x="100469" y="105029"/>
                      </a:lnTo>
                      <a:lnTo>
                        <a:pt x="104317" y="101257"/>
                      </a:lnTo>
                      <a:lnTo>
                        <a:pt x="104787" y="99974"/>
                      </a:lnTo>
                      <a:lnTo>
                        <a:pt x="105143" y="98983"/>
                      </a:lnTo>
                      <a:lnTo>
                        <a:pt x="105194" y="94424"/>
                      </a:lnTo>
                      <a:close/>
                    </a:path>
                    <a:path w="802005" h="117475">
                      <a:moveTo>
                        <a:pt x="127762" y="94424"/>
                      </a:moveTo>
                      <a:lnTo>
                        <a:pt x="127317" y="92519"/>
                      </a:lnTo>
                      <a:lnTo>
                        <a:pt x="124206" y="88214"/>
                      </a:lnTo>
                      <a:lnTo>
                        <a:pt x="121551" y="87464"/>
                      </a:lnTo>
                      <a:lnTo>
                        <a:pt x="121551" y="98983"/>
                      </a:lnTo>
                      <a:lnTo>
                        <a:pt x="119608" y="99974"/>
                      </a:lnTo>
                      <a:lnTo>
                        <a:pt x="114388" y="99974"/>
                      </a:lnTo>
                      <a:lnTo>
                        <a:pt x="114388" y="92519"/>
                      </a:lnTo>
                      <a:lnTo>
                        <a:pt x="117030" y="92519"/>
                      </a:lnTo>
                      <a:lnTo>
                        <a:pt x="119024" y="92684"/>
                      </a:lnTo>
                      <a:lnTo>
                        <a:pt x="120726" y="93103"/>
                      </a:lnTo>
                      <a:lnTo>
                        <a:pt x="121437" y="94424"/>
                      </a:lnTo>
                      <a:lnTo>
                        <a:pt x="121551" y="98983"/>
                      </a:lnTo>
                      <a:lnTo>
                        <a:pt x="121551" y="87464"/>
                      </a:lnTo>
                      <a:lnTo>
                        <a:pt x="118325" y="87261"/>
                      </a:lnTo>
                      <a:lnTo>
                        <a:pt x="116535" y="87223"/>
                      </a:lnTo>
                      <a:lnTo>
                        <a:pt x="108000" y="87223"/>
                      </a:lnTo>
                      <a:lnTo>
                        <a:pt x="108000" y="116459"/>
                      </a:lnTo>
                      <a:lnTo>
                        <a:pt x="114338" y="116459"/>
                      </a:lnTo>
                      <a:lnTo>
                        <a:pt x="114338" y="105359"/>
                      </a:lnTo>
                      <a:lnTo>
                        <a:pt x="120142" y="105359"/>
                      </a:lnTo>
                      <a:lnTo>
                        <a:pt x="123037" y="105029"/>
                      </a:lnTo>
                      <a:lnTo>
                        <a:pt x="126898" y="101257"/>
                      </a:lnTo>
                      <a:lnTo>
                        <a:pt x="127355" y="99974"/>
                      </a:lnTo>
                      <a:lnTo>
                        <a:pt x="127711" y="98983"/>
                      </a:lnTo>
                      <a:lnTo>
                        <a:pt x="127762" y="94424"/>
                      </a:lnTo>
                      <a:close/>
                    </a:path>
                    <a:path w="802005" h="117475">
                      <a:moveTo>
                        <a:pt x="159854" y="93065"/>
                      </a:moveTo>
                      <a:lnTo>
                        <a:pt x="159334" y="92557"/>
                      </a:lnTo>
                      <a:lnTo>
                        <a:pt x="153314" y="86639"/>
                      </a:lnTo>
                      <a:lnTo>
                        <a:pt x="153314" y="96583"/>
                      </a:lnTo>
                      <a:lnTo>
                        <a:pt x="153276" y="107264"/>
                      </a:lnTo>
                      <a:lnTo>
                        <a:pt x="149504" y="111239"/>
                      </a:lnTo>
                      <a:lnTo>
                        <a:pt x="139192" y="111239"/>
                      </a:lnTo>
                      <a:lnTo>
                        <a:pt x="135178" y="107264"/>
                      </a:lnTo>
                      <a:lnTo>
                        <a:pt x="135305" y="96583"/>
                      </a:lnTo>
                      <a:lnTo>
                        <a:pt x="139192" y="92557"/>
                      </a:lnTo>
                      <a:lnTo>
                        <a:pt x="149504" y="92557"/>
                      </a:lnTo>
                      <a:lnTo>
                        <a:pt x="153314" y="96583"/>
                      </a:lnTo>
                      <a:lnTo>
                        <a:pt x="153314" y="86639"/>
                      </a:lnTo>
                      <a:lnTo>
                        <a:pt x="153149" y="86474"/>
                      </a:lnTo>
                      <a:lnTo>
                        <a:pt x="135216" y="86474"/>
                      </a:lnTo>
                      <a:lnTo>
                        <a:pt x="128714" y="93065"/>
                      </a:lnTo>
                      <a:lnTo>
                        <a:pt x="128714" y="110985"/>
                      </a:lnTo>
                      <a:lnTo>
                        <a:pt x="135178" y="117208"/>
                      </a:lnTo>
                      <a:lnTo>
                        <a:pt x="153517" y="117208"/>
                      </a:lnTo>
                      <a:lnTo>
                        <a:pt x="159524" y="111239"/>
                      </a:lnTo>
                      <a:lnTo>
                        <a:pt x="159778" y="110985"/>
                      </a:lnTo>
                      <a:lnTo>
                        <a:pt x="159854" y="93065"/>
                      </a:lnTo>
                      <a:close/>
                    </a:path>
                    <a:path w="802005" h="117475">
                      <a:moveTo>
                        <a:pt x="192239" y="87223"/>
                      </a:moveTo>
                      <a:lnTo>
                        <a:pt x="175260" y="87223"/>
                      </a:lnTo>
                      <a:lnTo>
                        <a:pt x="175260" y="116459"/>
                      </a:lnTo>
                      <a:lnTo>
                        <a:pt x="181635" y="116459"/>
                      </a:lnTo>
                      <a:lnTo>
                        <a:pt x="181635" y="104203"/>
                      </a:lnTo>
                      <a:lnTo>
                        <a:pt x="192239" y="104203"/>
                      </a:lnTo>
                      <a:lnTo>
                        <a:pt x="192239" y="98488"/>
                      </a:lnTo>
                      <a:lnTo>
                        <a:pt x="181635" y="98488"/>
                      </a:lnTo>
                      <a:lnTo>
                        <a:pt x="181635" y="92773"/>
                      </a:lnTo>
                      <a:lnTo>
                        <a:pt x="192239" y="92773"/>
                      </a:lnTo>
                      <a:lnTo>
                        <a:pt x="192239" y="87223"/>
                      </a:lnTo>
                      <a:close/>
                    </a:path>
                    <a:path w="802005" h="117475">
                      <a:moveTo>
                        <a:pt x="211670" y="87223"/>
                      </a:moveTo>
                      <a:lnTo>
                        <a:pt x="195059" y="87223"/>
                      </a:lnTo>
                      <a:lnTo>
                        <a:pt x="195059" y="116459"/>
                      </a:lnTo>
                      <a:lnTo>
                        <a:pt x="211632" y="116459"/>
                      </a:lnTo>
                      <a:lnTo>
                        <a:pt x="211632" y="110617"/>
                      </a:lnTo>
                      <a:lnTo>
                        <a:pt x="201396" y="110617"/>
                      </a:lnTo>
                      <a:lnTo>
                        <a:pt x="201396" y="104368"/>
                      </a:lnTo>
                      <a:lnTo>
                        <a:pt x="211416" y="104368"/>
                      </a:lnTo>
                      <a:lnTo>
                        <a:pt x="211416" y="98691"/>
                      </a:lnTo>
                      <a:lnTo>
                        <a:pt x="201396" y="98691"/>
                      </a:lnTo>
                      <a:lnTo>
                        <a:pt x="201396" y="92887"/>
                      </a:lnTo>
                      <a:lnTo>
                        <a:pt x="211670" y="92887"/>
                      </a:lnTo>
                      <a:lnTo>
                        <a:pt x="211670" y="87223"/>
                      </a:lnTo>
                      <a:close/>
                    </a:path>
                    <a:path w="802005" h="117475">
                      <a:moveTo>
                        <a:pt x="237223" y="116459"/>
                      </a:moveTo>
                      <a:lnTo>
                        <a:pt x="228828" y="104114"/>
                      </a:lnTo>
                      <a:lnTo>
                        <a:pt x="232003" y="102870"/>
                      </a:lnTo>
                      <a:lnTo>
                        <a:pt x="234327" y="101384"/>
                      </a:lnTo>
                      <a:lnTo>
                        <a:pt x="234823" y="100025"/>
                      </a:lnTo>
                      <a:lnTo>
                        <a:pt x="235356" y="98564"/>
                      </a:lnTo>
                      <a:lnTo>
                        <a:pt x="235356" y="94183"/>
                      </a:lnTo>
                      <a:lnTo>
                        <a:pt x="229146" y="87337"/>
                      </a:lnTo>
                      <a:lnTo>
                        <a:pt x="229146" y="93141"/>
                      </a:lnTo>
                      <a:lnTo>
                        <a:pt x="229146" y="96126"/>
                      </a:lnTo>
                      <a:lnTo>
                        <a:pt x="228612" y="98196"/>
                      </a:lnTo>
                      <a:lnTo>
                        <a:pt x="227609" y="99847"/>
                      </a:lnTo>
                      <a:lnTo>
                        <a:pt x="225996" y="100025"/>
                      </a:lnTo>
                      <a:lnTo>
                        <a:pt x="221983" y="100025"/>
                      </a:lnTo>
                      <a:lnTo>
                        <a:pt x="221983" y="92316"/>
                      </a:lnTo>
                      <a:lnTo>
                        <a:pt x="226707" y="92316"/>
                      </a:lnTo>
                      <a:lnTo>
                        <a:pt x="229146" y="93141"/>
                      </a:lnTo>
                      <a:lnTo>
                        <a:pt x="229146" y="87337"/>
                      </a:lnTo>
                      <a:lnTo>
                        <a:pt x="227736" y="87223"/>
                      </a:lnTo>
                      <a:lnTo>
                        <a:pt x="215773" y="87223"/>
                      </a:lnTo>
                      <a:lnTo>
                        <a:pt x="215773" y="116459"/>
                      </a:lnTo>
                      <a:lnTo>
                        <a:pt x="221945" y="116459"/>
                      </a:lnTo>
                      <a:lnTo>
                        <a:pt x="221945" y="104114"/>
                      </a:lnTo>
                      <a:lnTo>
                        <a:pt x="229679" y="116459"/>
                      </a:lnTo>
                      <a:lnTo>
                        <a:pt x="237223" y="116459"/>
                      </a:lnTo>
                      <a:close/>
                    </a:path>
                    <a:path w="802005" h="117475">
                      <a:moveTo>
                        <a:pt x="260502" y="116459"/>
                      </a:moveTo>
                      <a:lnTo>
                        <a:pt x="252095" y="104114"/>
                      </a:lnTo>
                      <a:lnTo>
                        <a:pt x="255282" y="102870"/>
                      </a:lnTo>
                      <a:lnTo>
                        <a:pt x="257594" y="101384"/>
                      </a:lnTo>
                      <a:lnTo>
                        <a:pt x="258102" y="100025"/>
                      </a:lnTo>
                      <a:lnTo>
                        <a:pt x="258635" y="98564"/>
                      </a:lnTo>
                      <a:lnTo>
                        <a:pt x="258635" y="94183"/>
                      </a:lnTo>
                      <a:lnTo>
                        <a:pt x="252425" y="87337"/>
                      </a:lnTo>
                      <a:lnTo>
                        <a:pt x="252425" y="93141"/>
                      </a:lnTo>
                      <a:lnTo>
                        <a:pt x="252425" y="96126"/>
                      </a:lnTo>
                      <a:lnTo>
                        <a:pt x="251879" y="98196"/>
                      </a:lnTo>
                      <a:lnTo>
                        <a:pt x="250888" y="99847"/>
                      </a:lnTo>
                      <a:lnTo>
                        <a:pt x="249275" y="100025"/>
                      </a:lnTo>
                      <a:lnTo>
                        <a:pt x="245262" y="100025"/>
                      </a:lnTo>
                      <a:lnTo>
                        <a:pt x="245262" y="92316"/>
                      </a:lnTo>
                      <a:lnTo>
                        <a:pt x="249974" y="92316"/>
                      </a:lnTo>
                      <a:lnTo>
                        <a:pt x="252425" y="93141"/>
                      </a:lnTo>
                      <a:lnTo>
                        <a:pt x="252425" y="87337"/>
                      </a:lnTo>
                      <a:lnTo>
                        <a:pt x="251015" y="87223"/>
                      </a:lnTo>
                      <a:lnTo>
                        <a:pt x="239039" y="87223"/>
                      </a:lnTo>
                      <a:lnTo>
                        <a:pt x="239039" y="116459"/>
                      </a:lnTo>
                      <a:lnTo>
                        <a:pt x="245211" y="116459"/>
                      </a:lnTo>
                      <a:lnTo>
                        <a:pt x="245211" y="104114"/>
                      </a:lnTo>
                      <a:lnTo>
                        <a:pt x="252958" y="116459"/>
                      </a:lnTo>
                      <a:lnTo>
                        <a:pt x="260502" y="116459"/>
                      </a:lnTo>
                      <a:close/>
                    </a:path>
                    <a:path w="802005" h="117475">
                      <a:moveTo>
                        <a:pt x="292684" y="93065"/>
                      </a:moveTo>
                      <a:lnTo>
                        <a:pt x="292163" y="92557"/>
                      </a:lnTo>
                      <a:lnTo>
                        <a:pt x="286131" y="86639"/>
                      </a:lnTo>
                      <a:lnTo>
                        <a:pt x="286131" y="96583"/>
                      </a:lnTo>
                      <a:lnTo>
                        <a:pt x="286092" y="107264"/>
                      </a:lnTo>
                      <a:lnTo>
                        <a:pt x="282321" y="111239"/>
                      </a:lnTo>
                      <a:lnTo>
                        <a:pt x="272008" y="111239"/>
                      </a:lnTo>
                      <a:lnTo>
                        <a:pt x="267995" y="107264"/>
                      </a:lnTo>
                      <a:lnTo>
                        <a:pt x="268122" y="96583"/>
                      </a:lnTo>
                      <a:lnTo>
                        <a:pt x="272008" y="92557"/>
                      </a:lnTo>
                      <a:lnTo>
                        <a:pt x="282321" y="92557"/>
                      </a:lnTo>
                      <a:lnTo>
                        <a:pt x="286131" y="96583"/>
                      </a:lnTo>
                      <a:lnTo>
                        <a:pt x="286131" y="86639"/>
                      </a:lnTo>
                      <a:lnTo>
                        <a:pt x="285965" y="86474"/>
                      </a:lnTo>
                      <a:lnTo>
                        <a:pt x="268033" y="86474"/>
                      </a:lnTo>
                      <a:lnTo>
                        <a:pt x="261531" y="93065"/>
                      </a:lnTo>
                      <a:lnTo>
                        <a:pt x="261531" y="110985"/>
                      </a:lnTo>
                      <a:lnTo>
                        <a:pt x="267995" y="117208"/>
                      </a:lnTo>
                      <a:lnTo>
                        <a:pt x="286346" y="117208"/>
                      </a:lnTo>
                      <a:lnTo>
                        <a:pt x="292354" y="111239"/>
                      </a:lnTo>
                      <a:lnTo>
                        <a:pt x="292608" y="110985"/>
                      </a:lnTo>
                      <a:lnTo>
                        <a:pt x="292684" y="93065"/>
                      </a:lnTo>
                      <a:close/>
                    </a:path>
                    <a:path w="802005" h="117475">
                      <a:moveTo>
                        <a:pt x="295338" y="12"/>
                      </a:moveTo>
                      <a:lnTo>
                        <a:pt x="278168" y="12"/>
                      </a:lnTo>
                      <a:lnTo>
                        <a:pt x="278561" y="2019"/>
                      </a:lnTo>
                      <a:lnTo>
                        <a:pt x="278117" y="4152"/>
                      </a:lnTo>
                      <a:lnTo>
                        <a:pt x="251764" y="58293"/>
                      </a:lnTo>
                      <a:lnTo>
                        <a:pt x="266966" y="58293"/>
                      </a:lnTo>
                      <a:lnTo>
                        <a:pt x="295338" y="12"/>
                      </a:lnTo>
                      <a:close/>
                    </a:path>
                    <a:path w="802005" h="117475">
                      <a:moveTo>
                        <a:pt x="321754" y="87223"/>
                      </a:moveTo>
                      <a:lnTo>
                        <a:pt x="314883" y="87223"/>
                      </a:lnTo>
                      <a:lnTo>
                        <a:pt x="307555" y="108089"/>
                      </a:lnTo>
                      <a:lnTo>
                        <a:pt x="300215" y="87223"/>
                      </a:lnTo>
                      <a:lnTo>
                        <a:pt x="293255" y="87223"/>
                      </a:lnTo>
                      <a:lnTo>
                        <a:pt x="304190" y="116459"/>
                      </a:lnTo>
                      <a:lnTo>
                        <a:pt x="310324" y="116459"/>
                      </a:lnTo>
                      <a:lnTo>
                        <a:pt x="313601" y="108089"/>
                      </a:lnTo>
                      <a:lnTo>
                        <a:pt x="321754" y="87223"/>
                      </a:lnTo>
                      <a:close/>
                    </a:path>
                    <a:path w="802005" h="117475">
                      <a:moveTo>
                        <a:pt x="330454" y="87223"/>
                      </a:moveTo>
                      <a:lnTo>
                        <a:pt x="324078" y="87223"/>
                      </a:lnTo>
                      <a:lnTo>
                        <a:pt x="324078" y="116459"/>
                      </a:lnTo>
                      <a:lnTo>
                        <a:pt x="330454" y="116459"/>
                      </a:lnTo>
                      <a:lnTo>
                        <a:pt x="330454" y="87223"/>
                      </a:lnTo>
                      <a:close/>
                    </a:path>
                    <a:path w="802005" h="117475">
                      <a:moveTo>
                        <a:pt x="353021" y="87223"/>
                      </a:moveTo>
                      <a:lnTo>
                        <a:pt x="336410" y="87223"/>
                      </a:lnTo>
                      <a:lnTo>
                        <a:pt x="336410" y="116459"/>
                      </a:lnTo>
                      <a:lnTo>
                        <a:pt x="352983" y="116459"/>
                      </a:lnTo>
                      <a:lnTo>
                        <a:pt x="352983" y="110617"/>
                      </a:lnTo>
                      <a:lnTo>
                        <a:pt x="342747" y="110617"/>
                      </a:lnTo>
                      <a:lnTo>
                        <a:pt x="342747" y="104368"/>
                      </a:lnTo>
                      <a:lnTo>
                        <a:pt x="352780" y="104368"/>
                      </a:lnTo>
                      <a:lnTo>
                        <a:pt x="352780" y="98691"/>
                      </a:lnTo>
                      <a:lnTo>
                        <a:pt x="342747" y="98691"/>
                      </a:lnTo>
                      <a:lnTo>
                        <a:pt x="342747" y="92887"/>
                      </a:lnTo>
                      <a:lnTo>
                        <a:pt x="353021" y="92887"/>
                      </a:lnTo>
                      <a:lnTo>
                        <a:pt x="353021" y="87223"/>
                      </a:lnTo>
                      <a:close/>
                    </a:path>
                    <a:path w="802005" h="117475">
                      <a:moveTo>
                        <a:pt x="372719" y="127"/>
                      </a:moveTo>
                      <a:lnTo>
                        <a:pt x="314121" y="127"/>
                      </a:lnTo>
                      <a:lnTo>
                        <a:pt x="308521" y="11620"/>
                      </a:lnTo>
                      <a:lnTo>
                        <a:pt x="310134" y="10401"/>
                      </a:lnTo>
                      <a:lnTo>
                        <a:pt x="312280" y="9385"/>
                      </a:lnTo>
                      <a:lnTo>
                        <a:pt x="333349" y="9385"/>
                      </a:lnTo>
                      <a:lnTo>
                        <a:pt x="309511" y="58293"/>
                      </a:lnTo>
                      <a:lnTo>
                        <a:pt x="324650" y="58293"/>
                      </a:lnTo>
                      <a:lnTo>
                        <a:pt x="348500" y="9385"/>
                      </a:lnTo>
                      <a:lnTo>
                        <a:pt x="365353" y="9385"/>
                      </a:lnTo>
                      <a:lnTo>
                        <a:pt x="366522" y="10287"/>
                      </a:lnTo>
                      <a:lnTo>
                        <a:pt x="367157" y="11620"/>
                      </a:lnTo>
                      <a:lnTo>
                        <a:pt x="372719" y="127"/>
                      </a:lnTo>
                      <a:close/>
                    </a:path>
                    <a:path w="802005" h="117475">
                      <a:moveTo>
                        <a:pt x="393115" y="98615"/>
                      </a:moveTo>
                      <a:lnTo>
                        <a:pt x="392404" y="96088"/>
                      </a:lnTo>
                      <a:lnTo>
                        <a:pt x="390194" y="92316"/>
                      </a:lnTo>
                      <a:lnTo>
                        <a:pt x="387515" y="87718"/>
                      </a:lnTo>
                      <a:lnTo>
                        <a:pt x="386905" y="87668"/>
                      </a:lnTo>
                      <a:lnTo>
                        <a:pt x="386905" y="107556"/>
                      </a:lnTo>
                      <a:lnTo>
                        <a:pt x="383832" y="111328"/>
                      </a:lnTo>
                      <a:lnTo>
                        <a:pt x="376008" y="111328"/>
                      </a:lnTo>
                      <a:lnTo>
                        <a:pt x="376008" y="92316"/>
                      </a:lnTo>
                      <a:lnTo>
                        <a:pt x="379234" y="92316"/>
                      </a:lnTo>
                      <a:lnTo>
                        <a:pt x="381850" y="92519"/>
                      </a:lnTo>
                      <a:lnTo>
                        <a:pt x="386029" y="95872"/>
                      </a:lnTo>
                      <a:lnTo>
                        <a:pt x="386829" y="98615"/>
                      </a:lnTo>
                      <a:lnTo>
                        <a:pt x="386905" y="107556"/>
                      </a:lnTo>
                      <a:lnTo>
                        <a:pt x="386905" y="87668"/>
                      </a:lnTo>
                      <a:lnTo>
                        <a:pt x="381723" y="87223"/>
                      </a:lnTo>
                      <a:lnTo>
                        <a:pt x="369633" y="87223"/>
                      </a:lnTo>
                      <a:lnTo>
                        <a:pt x="369633" y="116459"/>
                      </a:lnTo>
                      <a:lnTo>
                        <a:pt x="380606" y="116459"/>
                      </a:lnTo>
                      <a:lnTo>
                        <a:pt x="384416" y="116293"/>
                      </a:lnTo>
                      <a:lnTo>
                        <a:pt x="390956" y="111328"/>
                      </a:lnTo>
                      <a:lnTo>
                        <a:pt x="391452" y="110947"/>
                      </a:lnTo>
                      <a:lnTo>
                        <a:pt x="393115" y="105892"/>
                      </a:lnTo>
                      <a:lnTo>
                        <a:pt x="393115" y="98615"/>
                      </a:lnTo>
                      <a:close/>
                    </a:path>
                    <a:path w="802005" h="117475">
                      <a:moveTo>
                        <a:pt x="413778" y="87223"/>
                      </a:moveTo>
                      <a:lnTo>
                        <a:pt x="397167" y="87223"/>
                      </a:lnTo>
                      <a:lnTo>
                        <a:pt x="397167" y="116459"/>
                      </a:lnTo>
                      <a:lnTo>
                        <a:pt x="413740" y="116459"/>
                      </a:lnTo>
                      <a:lnTo>
                        <a:pt x="413740" y="110617"/>
                      </a:lnTo>
                      <a:lnTo>
                        <a:pt x="403504" y="110617"/>
                      </a:lnTo>
                      <a:lnTo>
                        <a:pt x="403504" y="104368"/>
                      </a:lnTo>
                      <a:lnTo>
                        <a:pt x="413524" y="104368"/>
                      </a:lnTo>
                      <a:lnTo>
                        <a:pt x="413524" y="98691"/>
                      </a:lnTo>
                      <a:lnTo>
                        <a:pt x="403504" y="98691"/>
                      </a:lnTo>
                      <a:lnTo>
                        <a:pt x="403504" y="92887"/>
                      </a:lnTo>
                      <a:lnTo>
                        <a:pt x="413778" y="92887"/>
                      </a:lnTo>
                      <a:lnTo>
                        <a:pt x="413778" y="87223"/>
                      </a:lnTo>
                      <a:close/>
                    </a:path>
                    <a:path w="802005" h="117475">
                      <a:moveTo>
                        <a:pt x="421678" y="58381"/>
                      </a:moveTo>
                      <a:lnTo>
                        <a:pt x="421005" y="45135"/>
                      </a:lnTo>
                      <a:lnTo>
                        <a:pt x="420522" y="35687"/>
                      </a:lnTo>
                      <a:lnTo>
                        <a:pt x="419290" y="11798"/>
                      </a:lnTo>
                      <a:lnTo>
                        <a:pt x="418706" y="190"/>
                      </a:lnTo>
                      <a:lnTo>
                        <a:pt x="407289" y="203"/>
                      </a:lnTo>
                      <a:lnTo>
                        <a:pt x="407289" y="35687"/>
                      </a:lnTo>
                      <a:lnTo>
                        <a:pt x="387032" y="35687"/>
                      </a:lnTo>
                      <a:lnTo>
                        <a:pt x="406806" y="11798"/>
                      </a:lnTo>
                      <a:lnTo>
                        <a:pt x="407289" y="35687"/>
                      </a:lnTo>
                      <a:lnTo>
                        <a:pt x="407289" y="203"/>
                      </a:lnTo>
                      <a:lnTo>
                        <a:pt x="403059" y="203"/>
                      </a:lnTo>
                      <a:lnTo>
                        <a:pt x="403059" y="1625"/>
                      </a:lnTo>
                      <a:lnTo>
                        <a:pt x="402551" y="3251"/>
                      </a:lnTo>
                      <a:lnTo>
                        <a:pt x="355028" y="58381"/>
                      </a:lnTo>
                      <a:lnTo>
                        <a:pt x="368300" y="58381"/>
                      </a:lnTo>
                      <a:lnTo>
                        <a:pt x="379234" y="45135"/>
                      </a:lnTo>
                      <a:lnTo>
                        <a:pt x="407492" y="45135"/>
                      </a:lnTo>
                      <a:lnTo>
                        <a:pt x="407784" y="58381"/>
                      </a:lnTo>
                      <a:lnTo>
                        <a:pt x="421678" y="58381"/>
                      </a:lnTo>
                      <a:close/>
                    </a:path>
                    <a:path w="802005" h="117475">
                      <a:moveTo>
                        <a:pt x="434276" y="110705"/>
                      </a:moveTo>
                      <a:lnTo>
                        <a:pt x="424294" y="110705"/>
                      </a:lnTo>
                      <a:lnTo>
                        <a:pt x="424294" y="87223"/>
                      </a:lnTo>
                      <a:lnTo>
                        <a:pt x="417918" y="87223"/>
                      </a:lnTo>
                      <a:lnTo>
                        <a:pt x="417918" y="116459"/>
                      </a:lnTo>
                      <a:lnTo>
                        <a:pt x="434276" y="116459"/>
                      </a:lnTo>
                      <a:lnTo>
                        <a:pt x="434276" y="110705"/>
                      </a:lnTo>
                      <a:close/>
                    </a:path>
                    <a:path w="802005" h="117475">
                      <a:moveTo>
                        <a:pt x="454113" y="110705"/>
                      </a:moveTo>
                      <a:lnTo>
                        <a:pt x="444131" y="110705"/>
                      </a:lnTo>
                      <a:lnTo>
                        <a:pt x="444131" y="87223"/>
                      </a:lnTo>
                      <a:lnTo>
                        <a:pt x="437756" y="87223"/>
                      </a:lnTo>
                      <a:lnTo>
                        <a:pt x="437756" y="116459"/>
                      </a:lnTo>
                      <a:lnTo>
                        <a:pt x="454113" y="116459"/>
                      </a:lnTo>
                      <a:lnTo>
                        <a:pt x="454113" y="110705"/>
                      </a:lnTo>
                      <a:close/>
                    </a:path>
                    <a:path w="802005" h="117475">
                      <a:moveTo>
                        <a:pt x="486765" y="47155"/>
                      </a:moveTo>
                      <a:lnTo>
                        <a:pt x="485609" y="48272"/>
                      </a:lnTo>
                      <a:lnTo>
                        <a:pt x="482447" y="49072"/>
                      </a:lnTo>
                      <a:lnTo>
                        <a:pt x="458012" y="49072"/>
                      </a:lnTo>
                      <a:lnTo>
                        <a:pt x="481812" y="0"/>
                      </a:lnTo>
                      <a:lnTo>
                        <a:pt x="464769" y="0"/>
                      </a:lnTo>
                      <a:lnTo>
                        <a:pt x="465162" y="1981"/>
                      </a:lnTo>
                      <a:lnTo>
                        <a:pt x="464718" y="4114"/>
                      </a:lnTo>
                      <a:lnTo>
                        <a:pt x="438340" y="58293"/>
                      </a:lnTo>
                      <a:lnTo>
                        <a:pt x="481342" y="58293"/>
                      </a:lnTo>
                      <a:lnTo>
                        <a:pt x="486765" y="47155"/>
                      </a:lnTo>
                      <a:close/>
                    </a:path>
                    <a:path w="802005" h="117475">
                      <a:moveTo>
                        <a:pt x="486791" y="93065"/>
                      </a:moveTo>
                      <a:lnTo>
                        <a:pt x="486270" y="92557"/>
                      </a:lnTo>
                      <a:lnTo>
                        <a:pt x="480250" y="86639"/>
                      </a:lnTo>
                      <a:lnTo>
                        <a:pt x="480250" y="96583"/>
                      </a:lnTo>
                      <a:lnTo>
                        <a:pt x="480212" y="107264"/>
                      </a:lnTo>
                      <a:lnTo>
                        <a:pt x="476440" y="111239"/>
                      </a:lnTo>
                      <a:lnTo>
                        <a:pt x="466128" y="111239"/>
                      </a:lnTo>
                      <a:lnTo>
                        <a:pt x="462114" y="107264"/>
                      </a:lnTo>
                      <a:lnTo>
                        <a:pt x="462241" y="96583"/>
                      </a:lnTo>
                      <a:lnTo>
                        <a:pt x="466128" y="92557"/>
                      </a:lnTo>
                      <a:lnTo>
                        <a:pt x="476440" y="92557"/>
                      </a:lnTo>
                      <a:lnTo>
                        <a:pt x="480250" y="96583"/>
                      </a:lnTo>
                      <a:lnTo>
                        <a:pt x="480250" y="86639"/>
                      </a:lnTo>
                      <a:lnTo>
                        <a:pt x="480085" y="86474"/>
                      </a:lnTo>
                      <a:lnTo>
                        <a:pt x="462153" y="86474"/>
                      </a:lnTo>
                      <a:lnTo>
                        <a:pt x="455650" y="93065"/>
                      </a:lnTo>
                      <a:lnTo>
                        <a:pt x="455650" y="110985"/>
                      </a:lnTo>
                      <a:lnTo>
                        <a:pt x="462114" y="117208"/>
                      </a:lnTo>
                      <a:lnTo>
                        <a:pt x="480453" y="117208"/>
                      </a:lnTo>
                      <a:lnTo>
                        <a:pt x="486460" y="111239"/>
                      </a:lnTo>
                      <a:lnTo>
                        <a:pt x="486714" y="110985"/>
                      </a:lnTo>
                      <a:lnTo>
                        <a:pt x="486791" y="93065"/>
                      </a:lnTo>
                      <a:close/>
                    </a:path>
                    <a:path w="802005" h="117475">
                      <a:moveTo>
                        <a:pt x="520052" y="98399"/>
                      </a:moveTo>
                      <a:lnTo>
                        <a:pt x="508292" y="99275"/>
                      </a:lnTo>
                      <a:lnTo>
                        <a:pt x="508292" y="93179"/>
                      </a:lnTo>
                      <a:lnTo>
                        <a:pt x="509574" y="92151"/>
                      </a:lnTo>
                      <a:lnTo>
                        <a:pt x="513054" y="92151"/>
                      </a:lnTo>
                      <a:lnTo>
                        <a:pt x="514286" y="93433"/>
                      </a:lnTo>
                      <a:lnTo>
                        <a:pt x="515416" y="94919"/>
                      </a:lnTo>
                      <a:lnTo>
                        <a:pt x="517880" y="92151"/>
                      </a:lnTo>
                      <a:lnTo>
                        <a:pt x="519468" y="90360"/>
                      </a:lnTo>
                      <a:lnTo>
                        <a:pt x="516991" y="87795"/>
                      </a:lnTo>
                      <a:lnTo>
                        <a:pt x="514794" y="86436"/>
                      </a:lnTo>
                      <a:lnTo>
                        <a:pt x="506095" y="86436"/>
                      </a:lnTo>
                      <a:lnTo>
                        <a:pt x="501662" y="89662"/>
                      </a:lnTo>
                      <a:lnTo>
                        <a:pt x="501662" y="99898"/>
                      </a:lnTo>
                      <a:lnTo>
                        <a:pt x="505599" y="102298"/>
                      </a:lnTo>
                      <a:lnTo>
                        <a:pt x="509574" y="104203"/>
                      </a:lnTo>
                      <a:lnTo>
                        <a:pt x="512216" y="105740"/>
                      </a:lnTo>
                      <a:lnTo>
                        <a:pt x="513384" y="108216"/>
                      </a:lnTo>
                      <a:lnTo>
                        <a:pt x="513384" y="110286"/>
                      </a:lnTo>
                      <a:lnTo>
                        <a:pt x="511683" y="111696"/>
                      </a:lnTo>
                      <a:lnTo>
                        <a:pt x="507301" y="111696"/>
                      </a:lnTo>
                      <a:lnTo>
                        <a:pt x="505675" y="110083"/>
                      </a:lnTo>
                      <a:lnTo>
                        <a:pt x="504190" y="108381"/>
                      </a:lnTo>
                      <a:lnTo>
                        <a:pt x="500049" y="112941"/>
                      </a:lnTo>
                      <a:lnTo>
                        <a:pt x="502691" y="115506"/>
                      </a:lnTo>
                      <a:lnTo>
                        <a:pt x="505637" y="117132"/>
                      </a:lnTo>
                      <a:lnTo>
                        <a:pt x="515200" y="117132"/>
                      </a:lnTo>
                      <a:lnTo>
                        <a:pt x="520052" y="113639"/>
                      </a:lnTo>
                      <a:lnTo>
                        <a:pt x="520052" y="111696"/>
                      </a:lnTo>
                      <a:lnTo>
                        <a:pt x="520052" y="99275"/>
                      </a:lnTo>
                      <a:lnTo>
                        <a:pt x="520052" y="98399"/>
                      </a:lnTo>
                      <a:close/>
                    </a:path>
                    <a:path w="802005" h="117475">
                      <a:moveTo>
                        <a:pt x="540639" y="87223"/>
                      </a:moveTo>
                      <a:lnTo>
                        <a:pt x="521792" y="87223"/>
                      </a:lnTo>
                      <a:lnTo>
                        <a:pt x="521792" y="92938"/>
                      </a:lnTo>
                      <a:lnTo>
                        <a:pt x="528040" y="92938"/>
                      </a:lnTo>
                      <a:lnTo>
                        <a:pt x="528040" y="116459"/>
                      </a:lnTo>
                      <a:lnTo>
                        <a:pt x="534377" y="116459"/>
                      </a:lnTo>
                      <a:lnTo>
                        <a:pt x="534377" y="92849"/>
                      </a:lnTo>
                      <a:lnTo>
                        <a:pt x="540639" y="92849"/>
                      </a:lnTo>
                      <a:lnTo>
                        <a:pt x="540639" y="87223"/>
                      </a:lnTo>
                      <a:close/>
                    </a:path>
                    <a:path w="802005" h="117475">
                      <a:moveTo>
                        <a:pt x="569455" y="116459"/>
                      </a:moveTo>
                      <a:lnTo>
                        <a:pt x="567029" y="110540"/>
                      </a:lnTo>
                      <a:lnTo>
                        <a:pt x="564769" y="105029"/>
                      </a:lnTo>
                      <a:lnTo>
                        <a:pt x="560019" y="93472"/>
                      </a:lnTo>
                      <a:lnTo>
                        <a:pt x="558190" y="89027"/>
                      </a:lnTo>
                      <a:lnTo>
                        <a:pt x="558190" y="105029"/>
                      </a:lnTo>
                      <a:lnTo>
                        <a:pt x="550151" y="105029"/>
                      </a:lnTo>
                      <a:lnTo>
                        <a:pt x="554088" y="93472"/>
                      </a:lnTo>
                      <a:lnTo>
                        <a:pt x="558190" y="105029"/>
                      </a:lnTo>
                      <a:lnTo>
                        <a:pt x="558190" y="89027"/>
                      </a:lnTo>
                      <a:lnTo>
                        <a:pt x="557453" y="87223"/>
                      </a:lnTo>
                      <a:lnTo>
                        <a:pt x="550697" y="87223"/>
                      </a:lnTo>
                      <a:lnTo>
                        <a:pt x="539216" y="116459"/>
                      </a:lnTo>
                      <a:lnTo>
                        <a:pt x="546011" y="116459"/>
                      </a:lnTo>
                      <a:lnTo>
                        <a:pt x="548170" y="110540"/>
                      </a:lnTo>
                      <a:lnTo>
                        <a:pt x="560311" y="110540"/>
                      </a:lnTo>
                      <a:lnTo>
                        <a:pt x="562584" y="116459"/>
                      </a:lnTo>
                      <a:lnTo>
                        <a:pt x="569455" y="116459"/>
                      </a:lnTo>
                      <a:close/>
                    </a:path>
                    <a:path w="802005" h="117475">
                      <a:moveTo>
                        <a:pt x="577265" y="368"/>
                      </a:moveTo>
                      <a:lnTo>
                        <a:pt x="526224" y="368"/>
                      </a:lnTo>
                      <a:lnTo>
                        <a:pt x="526643" y="2349"/>
                      </a:lnTo>
                      <a:lnTo>
                        <a:pt x="526199" y="4457"/>
                      </a:lnTo>
                      <a:lnTo>
                        <a:pt x="499986" y="58293"/>
                      </a:lnTo>
                      <a:lnTo>
                        <a:pt x="515378" y="58293"/>
                      </a:lnTo>
                      <a:lnTo>
                        <a:pt x="527939" y="32499"/>
                      </a:lnTo>
                      <a:lnTo>
                        <a:pt x="554710" y="32499"/>
                      </a:lnTo>
                      <a:lnTo>
                        <a:pt x="555904" y="33401"/>
                      </a:lnTo>
                      <a:lnTo>
                        <a:pt x="556564" y="34721"/>
                      </a:lnTo>
                      <a:lnTo>
                        <a:pt x="562102" y="23342"/>
                      </a:lnTo>
                      <a:lnTo>
                        <a:pt x="532396" y="23355"/>
                      </a:lnTo>
                      <a:lnTo>
                        <a:pt x="539127" y="9525"/>
                      </a:lnTo>
                      <a:lnTo>
                        <a:pt x="569874" y="9537"/>
                      </a:lnTo>
                      <a:lnTo>
                        <a:pt x="571080" y="10426"/>
                      </a:lnTo>
                      <a:lnTo>
                        <a:pt x="571728" y="11760"/>
                      </a:lnTo>
                      <a:lnTo>
                        <a:pt x="577265" y="368"/>
                      </a:lnTo>
                      <a:close/>
                    </a:path>
                    <a:path w="802005" h="117475">
                      <a:moveTo>
                        <a:pt x="586689" y="87223"/>
                      </a:moveTo>
                      <a:lnTo>
                        <a:pt x="567842" y="87223"/>
                      </a:lnTo>
                      <a:lnTo>
                        <a:pt x="567842" y="92938"/>
                      </a:lnTo>
                      <a:lnTo>
                        <a:pt x="574090" y="92938"/>
                      </a:lnTo>
                      <a:lnTo>
                        <a:pt x="574090" y="116459"/>
                      </a:lnTo>
                      <a:lnTo>
                        <a:pt x="580440" y="116459"/>
                      </a:lnTo>
                      <a:lnTo>
                        <a:pt x="580440" y="92849"/>
                      </a:lnTo>
                      <a:lnTo>
                        <a:pt x="586689" y="92849"/>
                      </a:lnTo>
                      <a:lnTo>
                        <a:pt x="586689" y="87223"/>
                      </a:lnTo>
                      <a:close/>
                    </a:path>
                    <a:path w="802005" h="117475">
                      <a:moveTo>
                        <a:pt x="618617" y="93065"/>
                      </a:moveTo>
                      <a:lnTo>
                        <a:pt x="618096" y="92557"/>
                      </a:lnTo>
                      <a:lnTo>
                        <a:pt x="612076" y="86652"/>
                      </a:lnTo>
                      <a:lnTo>
                        <a:pt x="612076" y="96583"/>
                      </a:lnTo>
                      <a:lnTo>
                        <a:pt x="612038" y="107264"/>
                      </a:lnTo>
                      <a:lnTo>
                        <a:pt x="608266" y="111239"/>
                      </a:lnTo>
                      <a:lnTo>
                        <a:pt x="597941" y="111239"/>
                      </a:lnTo>
                      <a:lnTo>
                        <a:pt x="593928" y="107264"/>
                      </a:lnTo>
                      <a:lnTo>
                        <a:pt x="594055" y="96583"/>
                      </a:lnTo>
                      <a:lnTo>
                        <a:pt x="597941" y="92557"/>
                      </a:lnTo>
                      <a:lnTo>
                        <a:pt x="608266" y="92557"/>
                      </a:lnTo>
                      <a:lnTo>
                        <a:pt x="612076" y="96583"/>
                      </a:lnTo>
                      <a:lnTo>
                        <a:pt x="612076" y="86652"/>
                      </a:lnTo>
                      <a:lnTo>
                        <a:pt x="611898" y="86474"/>
                      </a:lnTo>
                      <a:lnTo>
                        <a:pt x="593966" y="86474"/>
                      </a:lnTo>
                      <a:lnTo>
                        <a:pt x="587463" y="93065"/>
                      </a:lnTo>
                      <a:lnTo>
                        <a:pt x="587463" y="110985"/>
                      </a:lnTo>
                      <a:lnTo>
                        <a:pt x="593928" y="117208"/>
                      </a:lnTo>
                      <a:lnTo>
                        <a:pt x="612279" y="117208"/>
                      </a:lnTo>
                      <a:lnTo>
                        <a:pt x="618286" y="111239"/>
                      </a:lnTo>
                      <a:lnTo>
                        <a:pt x="618540" y="110985"/>
                      </a:lnTo>
                      <a:lnTo>
                        <a:pt x="618617" y="93065"/>
                      </a:lnTo>
                      <a:close/>
                    </a:path>
                    <a:path w="802005" h="117475">
                      <a:moveTo>
                        <a:pt x="640321" y="87223"/>
                      </a:moveTo>
                      <a:lnTo>
                        <a:pt x="633945" y="87223"/>
                      </a:lnTo>
                      <a:lnTo>
                        <a:pt x="633945" y="116459"/>
                      </a:lnTo>
                      <a:lnTo>
                        <a:pt x="640321" y="116459"/>
                      </a:lnTo>
                      <a:lnTo>
                        <a:pt x="640321" y="87223"/>
                      </a:lnTo>
                      <a:close/>
                    </a:path>
                    <a:path w="802005" h="117475">
                      <a:moveTo>
                        <a:pt x="647966" y="406"/>
                      </a:moveTo>
                      <a:lnTo>
                        <a:pt x="596798" y="406"/>
                      </a:lnTo>
                      <a:lnTo>
                        <a:pt x="597204" y="2374"/>
                      </a:lnTo>
                      <a:lnTo>
                        <a:pt x="596773" y="4483"/>
                      </a:lnTo>
                      <a:lnTo>
                        <a:pt x="570560" y="58318"/>
                      </a:lnTo>
                      <a:lnTo>
                        <a:pt x="627951" y="58318"/>
                      </a:lnTo>
                      <a:lnTo>
                        <a:pt x="633336" y="47256"/>
                      </a:lnTo>
                      <a:lnTo>
                        <a:pt x="632167" y="48374"/>
                      </a:lnTo>
                      <a:lnTo>
                        <a:pt x="628967" y="49161"/>
                      </a:lnTo>
                      <a:lnTo>
                        <a:pt x="590410" y="49161"/>
                      </a:lnTo>
                      <a:lnTo>
                        <a:pt x="598512" y="32537"/>
                      </a:lnTo>
                      <a:lnTo>
                        <a:pt x="625398" y="32524"/>
                      </a:lnTo>
                      <a:lnTo>
                        <a:pt x="626592" y="33413"/>
                      </a:lnTo>
                      <a:lnTo>
                        <a:pt x="627240" y="34759"/>
                      </a:lnTo>
                      <a:lnTo>
                        <a:pt x="632790" y="23380"/>
                      </a:lnTo>
                      <a:lnTo>
                        <a:pt x="602970" y="23380"/>
                      </a:lnTo>
                      <a:lnTo>
                        <a:pt x="609701" y="9563"/>
                      </a:lnTo>
                      <a:lnTo>
                        <a:pt x="640562" y="9563"/>
                      </a:lnTo>
                      <a:lnTo>
                        <a:pt x="641769" y="10452"/>
                      </a:lnTo>
                      <a:lnTo>
                        <a:pt x="642416" y="11785"/>
                      </a:lnTo>
                      <a:lnTo>
                        <a:pt x="647966" y="406"/>
                      </a:lnTo>
                      <a:close/>
                    </a:path>
                    <a:path w="802005" h="117475">
                      <a:moveTo>
                        <a:pt x="662089" y="87223"/>
                      </a:moveTo>
                      <a:lnTo>
                        <a:pt x="643255" y="87223"/>
                      </a:lnTo>
                      <a:lnTo>
                        <a:pt x="643255" y="92938"/>
                      </a:lnTo>
                      <a:lnTo>
                        <a:pt x="649503" y="92938"/>
                      </a:lnTo>
                      <a:lnTo>
                        <a:pt x="649503" y="116459"/>
                      </a:lnTo>
                      <a:lnTo>
                        <a:pt x="655840" y="116459"/>
                      </a:lnTo>
                      <a:lnTo>
                        <a:pt x="655840" y="92849"/>
                      </a:lnTo>
                      <a:lnTo>
                        <a:pt x="662089" y="92849"/>
                      </a:lnTo>
                      <a:lnTo>
                        <a:pt x="662089" y="87223"/>
                      </a:lnTo>
                      <a:close/>
                    </a:path>
                    <a:path w="802005" h="117475">
                      <a:moveTo>
                        <a:pt x="690918" y="116459"/>
                      </a:moveTo>
                      <a:lnTo>
                        <a:pt x="688479" y="110540"/>
                      </a:lnTo>
                      <a:lnTo>
                        <a:pt x="686219" y="105029"/>
                      </a:lnTo>
                      <a:lnTo>
                        <a:pt x="681469" y="93472"/>
                      </a:lnTo>
                      <a:lnTo>
                        <a:pt x="679653" y="89052"/>
                      </a:lnTo>
                      <a:lnTo>
                        <a:pt x="679653" y="105029"/>
                      </a:lnTo>
                      <a:lnTo>
                        <a:pt x="671626" y="105029"/>
                      </a:lnTo>
                      <a:lnTo>
                        <a:pt x="675551" y="93472"/>
                      </a:lnTo>
                      <a:lnTo>
                        <a:pt x="679653" y="105029"/>
                      </a:lnTo>
                      <a:lnTo>
                        <a:pt x="679653" y="89052"/>
                      </a:lnTo>
                      <a:lnTo>
                        <a:pt x="678903" y="87223"/>
                      </a:lnTo>
                      <a:lnTo>
                        <a:pt x="672160" y="87223"/>
                      </a:lnTo>
                      <a:lnTo>
                        <a:pt x="660679" y="116459"/>
                      </a:lnTo>
                      <a:lnTo>
                        <a:pt x="667473" y="116459"/>
                      </a:lnTo>
                      <a:lnTo>
                        <a:pt x="669632" y="110540"/>
                      </a:lnTo>
                      <a:lnTo>
                        <a:pt x="681761" y="110540"/>
                      </a:lnTo>
                      <a:lnTo>
                        <a:pt x="684047" y="116459"/>
                      </a:lnTo>
                      <a:lnTo>
                        <a:pt x="690918" y="116459"/>
                      </a:lnTo>
                      <a:close/>
                    </a:path>
                    <a:path w="802005" h="117475">
                      <a:moveTo>
                        <a:pt x="709764" y="110705"/>
                      </a:moveTo>
                      <a:lnTo>
                        <a:pt x="699782" y="110705"/>
                      </a:lnTo>
                      <a:lnTo>
                        <a:pt x="699782" y="87223"/>
                      </a:lnTo>
                      <a:lnTo>
                        <a:pt x="693407" y="87223"/>
                      </a:lnTo>
                      <a:lnTo>
                        <a:pt x="693407" y="116459"/>
                      </a:lnTo>
                      <a:lnTo>
                        <a:pt x="709764" y="116459"/>
                      </a:lnTo>
                      <a:lnTo>
                        <a:pt x="709764" y="110705"/>
                      </a:lnTo>
                      <a:close/>
                    </a:path>
                    <a:path w="802005" h="117475">
                      <a:moveTo>
                        <a:pt x="719531" y="87223"/>
                      </a:moveTo>
                      <a:lnTo>
                        <a:pt x="713155" y="87223"/>
                      </a:lnTo>
                      <a:lnTo>
                        <a:pt x="713155" y="116459"/>
                      </a:lnTo>
                      <a:lnTo>
                        <a:pt x="719531" y="116459"/>
                      </a:lnTo>
                      <a:lnTo>
                        <a:pt x="719531" y="87223"/>
                      </a:lnTo>
                      <a:close/>
                    </a:path>
                    <a:path w="802005" h="117475">
                      <a:moveTo>
                        <a:pt x="720610" y="13982"/>
                      </a:moveTo>
                      <a:lnTo>
                        <a:pt x="720572" y="9601"/>
                      </a:lnTo>
                      <a:lnTo>
                        <a:pt x="720483" y="228"/>
                      </a:lnTo>
                      <a:lnTo>
                        <a:pt x="709193" y="393"/>
                      </a:lnTo>
                      <a:lnTo>
                        <a:pt x="705904" y="393"/>
                      </a:lnTo>
                      <a:lnTo>
                        <a:pt x="705904" y="20015"/>
                      </a:lnTo>
                      <a:lnTo>
                        <a:pt x="700366" y="25196"/>
                      </a:lnTo>
                      <a:lnTo>
                        <a:pt x="677748" y="25196"/>
                      </a:lnTo>
                      <a:lnTo>
                        <a:pt x="685368" y="9601"/>
                      </a:lnTo>
                      <a:lnTo>
                        <a:pt x="704342" y="9601"/>
                      </a:lnTo>
                      <a:lnTo>
                        <a:pt x="705815" y="12179"/>
                      </a:lnTo>
                      <a:lnTo>
                        <a:pt x="705904" y="20015"/>
                      </a:lnTo>
                      <a:lnTo>
                        <a:pt x="705904" y="393"/>
                      </a:lnTo>
                      <a:lnTo>
                        <a:pt x="672465" y="393"/>
                      </a:lnTo>
                      <a:lnTo>
                        <a:pt x="672858" y="2374"/>
                      </a:lnTo>
                      <a:lnTo>
                        <a:pt x="672414" y="4508"/>
                      </a:lnTo>
                      <a:lnTo>
                        <a:pt x="646239" y="58305"/>
                      </a:lnTo>
                      <a:lnTo>
                        <a:pt x="661619" y="58305"/>
                      </a:lnTo>
                      <a:lnTo>
                        <a:pt x="673290" y="34353"/>
                      </a:lnTo>
                      <a:lnTo>
                        <a:pt x="689394" y="34353"/>
                      </a:lnTo>
                      <a:lnTo>
                        <a:pt x="694499" y="58305"/>
                      </a:lnTo>
                      <a:lnTo>
                        <a:pt x="711034" y="58305"/>
                      </a:lnTo>
                      <a:lnTo>
                        <a:pt x="710031" y="57708"/>
                      </a:lnTo>
                      <a:lnTo>
                        <a:pt x="708710" y="56261"/>
                      </a:lnTo>
                      <a:lnTo>
                        <a:pt x="703554" y="34353"/>
                      </a:lnTo>
                      <a:lnTo>
                        <a:pt x="703529" y="34213"/>
                      </a:lnTo>
                      <a:lnTo>
                        <a:pt x="708367" y="32486"/>
                      </a:lnTo>
                      <a:lnTo>
                        <a:pt x="714032" y="28448"/>
                      </a:lnTo>
                      <a:lnTo>
                        <a:pt x="716483" y="25196"/>
                      </a:lnTo>
                      <a:lnTo>
                        <a:pt x="718705" y="22237"/>
                      </a:lnTo>
                      <a:lnTo>
                        <a:pt x="720610" y="13982"/>
                      </a:lnTo>
                      <a:close/>
                    </a:path>
                    <a:path w="802005" h="117475">
                      <a:moveTo>
                        <a:pt x="752170" y="116459"/>
                      </a:moveTo>
                      <a:lnTo>
                        <a:pt x="749744" y="110540"/>
                      </a:lnTo>
                      <a:lnTo>
                        <a:pt x="747483" y="105029"/>
                      </a:lnTo>
                      <a:lnTo>
                        <a:pt x="742734" y="93472"/>
                      </a:lnTo>
                      <a:lnTo>
                        <a:pt x="740905" y="89027"/>
                      </a:lnTo>
                      <a:lnTo>
                        <a:pt x="740905" y="105029"/>
                      </a:lnTo>
                      <a:lnTo>
                        <a:pt x="732866" y="105029"/>
                      </a:lnTo>
                      <a:lnTo>
                        <a:pt x="736803" y="93472"/>
                      </a:lnTo>
                      <a:lnTo>
                        <a:pt x="740905" y="105029"/>
                      </a:lnTo>
                      <a:lnTo>
                        <a:pt x="740905" y="89027"/>
                      </a:lnTo>
                      <a:lnTo>
                        <a:pt x="740168" y="87223"/>
                      </a:lnTo>
                      <a:lnTo>
                        <a:pt x="733412" y="87223"/>
                      </a:lnTo>
                      <a:lnTo>
                        <a:pt x="721931" y="116459"/>
                      </a:lnTo>
                      <a:lnTo>
                        <a:pt x="728726" y="116459"/>
                      </a:lnTo>
                      <a:lnTo>
                        <a:pt x="730885" y="110540"/>
                      </a:lnTo>
                      <a:lnTo>
                        <a:pt x="743013" y="110540"/>
                      </a:lnTo>
                      <a:lnTo>
                        <a:pt x="745299" y="116459"/>
                      </a:lnTo>
                      <a:lnTo>
                        <a:pt x="752170" y="116459"/>
                      </a:lnTo>
                      <a:close/>
                    </a:path>
                    <a:path w="802005" h="117475">
                      <a:moveTo>
                        <a:pt x="779919" y="87223"/>
                      </a:moveTo>
                      <a:lnTo>
                        <a:pt x="773963" y="87223"/>
                      </a:lnTo>
                      <a:lnTo>
                        <a:pt x="774077" y="106476"/>
                      </a:lnTo>
                      <a:lnTo>
                        <a:pt x="767245" y="96824"/>
                      </a:lnTo>
                      <a:lnTo>
                        <a:pt x="760450" y="87223"/>
                      </a:lnTo>
                      <a:lnTo>
                        <a:pt x="754697" y="87223"/>
                      </a:lnTo>
                      <a:lnTo>
                        <a:pt x="754697" y="116459"/>
                      </a:lnTo>
                      <a:lnTo>
                        <a:pt x="760704" y="116459"/>
                      </a:lnTo>
                      <a:lnTo>
                        <a:pt x="760539" y="96824"/>
                      </a:lnTo>
                      <a:lnTo>
                        <a:pt x="774242" y="116459"/>
                      </a:lnTo>
                      <a:lnTo>
                        <a:pt x="779919" y="116459"/>
                      </a:lnTo>
                      <a:lnTo>
                        <a:pt x="779919" y="106476"/>
                      </a:lnTo>
                      <a:lnTo>
                        <a:pt x="779919" y="87223"/>
                      </a:lnTo>
                      <a:close/>
                    </a:path>
                    <a:path w="802005" h="117475">
                      <a:moveTo>
                        <a:pt x="800849" y="13982"/>
                      </a:moveTo>
                      <a:lnTo>
                        <a:pt x="800811" y="9601"/>
                      </a:lnTo>
                      <a:lnTo>
                        <a:pt x="800722" y="228"/>
                      </a:lnTo>
                      <a:lnTo>
                        <a:pt x="789432" y="393"/>
                      </a:lnTo>
                      <a:lnTo>
                        <a:pt x="786130" y="393"/>
                      </a:lnTo>
                      <a:lnTo>
                        <a:pt x="786130" y="20015"/>
                      </a:lnTo>
                      <a:lnTo>
                        <a:pt x="780605" y="25196"/>
                      </a:lnTo>
                      <a:lnTo>
                        <a:pt x="757986" y="25196"/>
                      </a:lnTo>
                      <a:lnTo>
                        <a:pt x="765619" y="9601"/>
                      </a:lnTo>
                      <a:lnTo>
                        <a:pt x="784567" y="9601"/>
                      </a:lnTo>
                      <a:lnTo>
                        <a:pt x="786053" y="12179"/>
                      </a:lnTo>
                      <a:lnTo>
                        <a:pt x="786130" y="20015"/>
                      </a:lnTo>
                      <a:lnTo>
                        <a:pt x="786130" y="393"/>
                      </a:lnTo>
                      <a:lnTo>
                        <a:pt x="752703" y="393"/>
                      </a:lnTo>
                      <a:lnTo>
                        <a:pt x="753097" y="2374"/>
                      </a:lnTo>
                      <a:lnTo>
                        <a:pt x="752652" y="4508"/>
                      </a:lnTo>
                      <a:lnTo>
                        <a:pt x="726478" y="58305"/>
                      </a:lnTo>
                      <a:lnTo>
                        <a:pt x="741870" y="58305"/>
                      </a:lnTo>
                      <a:lnTo>
                        <a:pt x="753529" y="34353"/>
                      </a:lnTo>
                      <a:lnTo>
                        <a:pt x="769632" y="34353"/>
                      </a:lnTo>
                      <a:lnTo>
                        <a:pt x="774750" y="58305"/>
                      </a:lnTo>
                      <a:lnTo>
                        <a:pt x="791286" y="58305"/>
                      </a:lnTo>
                      <a:lnTo>
                        <a:pt x="790282" y="57708"/>
                      </a:lnTo>
                      <a:lnTo>
                        <a:pt x="788936" y="56261"/>
                      </a:lnTo>
                      <a:lnTo>
                        <a:pt x="788454" y="54140"/>
                      </a:lnTo>
                      <a:lnTo>
                        <a:pt x="783805" y="34353"/>
                      </a:lnTo>
                      <a:lnTo>
                        <a:pt x="783767" y="34213"/>
                      </a:lnTo>
                      <a:lnTo>
                        <a:pt x="788619" y="32486"/>
                      </a:lnTo>
                      <a:lnTo>
                        <a:pt x="794283" y="28448"/>
                      </a:lnTo>
                      <a:lnTo>
                        <a:pt x="796734" y="25196"/>
                      </a:lnTo>
                      <a:lnTo>
                        <a:pt x="798957" y="22237"/>
                      </a:lnTo>
                      <a:lnTo>
                        <a:pt x="800849" y="13982"/>
                      </a:lnTo>
                      <a:close/>
                    </a:path>
                    <a:path w="802005" h="117475">
                      <a:moveTo>
                        <a:pt x="801408" y="87223"/>
                      </a:moveTo>
                      <a:lnTo>
                        <a:pt x="784796" y="87223"/>
                      </a:lnTo>
                      <a:lnTo>
                        <a:pt x="784796" y="116459"/>
                      </a:lnTo>
                      <a:lnTo>
                        <a:pt x="801370" y="116459"/>
                      </a:lnTo>
                      <a:lnTo>
                        <a:pt x="801370" y="110617"/>
                      </a:lnTo>
                      <a:lnTo>
                        <a:pt x="791146" y="110617"/>
                      </a:lnTo>
                      <a:lnTo>
                        <a:pt x="791146" y="104368"/>
                      </a:lnTo>
                      <a:lnTo>
                        <a:pt x="801166" y="104368"/>
                      </a:lnTo>
                      <a:lnTo>
                        <a:pt x="801166" y="98691"/>
                      </a:lnTo>
                      <a:lnTo>
                        <a:pt x="791146" y="98691"/>
                      </a:lnTo>
                      <a:lnTo>
                        <a:pt x="791146" y="92887"/>
                      </a:lnTo>
                      <a:lnTo>
                        <a:pt x="801408" y="92887"/>
                      </a:lnTo>
                      <a:lnTo>
                        <a:pt x="801408" y="87223"/>
                      </a:lnTo>
                      <a:close/>
                    </a:path>
                  </a:pathLst>
                </a:custGeom>
                <a:solidFill>
                  <a:srgbClr val="006A65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468" name="object 215">
                  <a:extLst>
                    <a:ext uri="{FF2B5EF4-FFF2-40B4-BE49-F238E27FC236}">
                      <a16:creationId xmlns:a16="http://schemas.microsoft.com/office/drawing/2014/main" id="{8B0B0171-8B8B-F4A9-9434-E84629D9CAAE}"/>
                    </a:ext>
                  </a:extLst>
                </p:cNvPr>
                <p:cNvPicPr/>
                <p:nvPr/>
              </p:nvPicPr>
              <p:blipFill>
                <a:blip r:embed="rId38" cstate="print"/>
                <a:stretch>
                  <a:fillRect/>
                </a:stretch>
              </p:blipFill>
              <p:spPr>
                <a:xfrm>
                  <a:off x="362737" y="2587486"/>
                  <a:ext cx="290335" cy="196659"/>
                </a:xfrm>
                <a:prstGeom prst="rect">
                  <a:avLst/>
                </a:prstGeom>
              </p:spPr>
            </p:pic>
            <p:pic>
              <p:nvPicPr>
                <p:cNvPr id="469" name="object 216">
                  <a:extLst>
                    <a:ext uri="{FF2B5EF4-FFF2-40B4-BE49-F238E27FC236}">
                      <a16:creationId xmlns:a16="http://schemas.microsoft.com/office/drawing/2014/main" id="{DB90CD9F-816B-9471-7B63-297AB56087A0}"/>
                    </a:ext>
                  </a:extLst>
                </p:cNvPr>
                <p:cNvPicPr/>
                <p:nvPr/>
              </p:nvPicPr>
              <p:blipFill>
                <a:blip r:embed="rId39" cstate="print"/>
                <a:stretch>
                  <a:fillRect/>
                </a:stretch>
              </p:blipFill>
              <p:spPr>
                <a:xfrm>
                  <a:off x="2277551" y="3672866"/>
                  <a:ext cx="352365" cy="93997"/>
                </a:xfrm>
                <a:prstGeom prst="rect">
                  <a:avLst/>
                </a:prstGeom>
              </p:spPr>
            </p:pic>
            <p:pic>
              <p:nvPicPr>
                <p:cNvPr id="470" name="object 217">
                  <a:extLst>
                    <a:ext uri="{FF2B5EF4-FFF2-40B4-BE49-F238E27FC236}">
                      <a16:creationId xmlns:a16="http://schemas.microsoft.com/office/drawing/2014/main" id="{8C1F9554-6026-A6A5-9B76-00363D7FA9CC}"/>
                    </a:ext>
                  </a:extLst>
                </p:cNvPr>
                <p:cNvPicPr/>
                <p:nvPr/>
              </p:nvPicPr>
              <p:blipFill>
                <a:blip r:embed="rId40" cstate="print"/>
                <a:stretch>
                  <a:fillRect/>
                </a:stretch>
              </p:blipFill>
              <p:spPr>
                <a:xfrm>
                  <a:off x="2101305" y="3540947"/>
                  <a:ext cx="155854" cy="228520"/>
                </a:xfrm>
                <a:prstGeom prst="rect">
                  <a:avLst/>
                </a:prstGeom>
              </p:spPr>
            </p:pic>
            <p:sp>
              <p:nvSpPr>
                <p:cNvPr id="471" name="object 218">
                  <a:extLst>
                    <a:ext uri="{FF2B5EF4-FFF2-40B4-BE49-F238E27FC236}">
                      <a16:creationId xmlns:a16="http://schemas.microsoft.com/office/drawing/2014/main" id="{8BD5D047-618B-1235-90AD-8D1209ECC837}"/>
                    </a:ext>
                  </a:extLst>
                </p:cNvPr>
                <p:cNvSpPr/>
                <p:nvPr/>
              </p:nvSpPr>
              <p:spPr>
                <a:xfrm>
                  <a:off x="2115375" y="3808539"/>
                  <a:ext cx="512445" cy="323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12444" h="32385">
                      <a:moveTo>
                        <a:pt x="31343" y="13779"/>
                      </a:moveTo>
                      <a:lnTo>
                        <a:pt x="16065" y="13779"/>
                      </a:lnTo>
                      <a:lnTo>
                        <a:pt x="16065" y="20510"/>
                      </a:lnTo>
                      <a:lnTo>
                        <a:pt x="22618" y="20510"/>
                      </a:lnTo>
                      <a:lnTo>
                        <a:pt x="22098" y="23482"/>
                      </a:lnTo>
                      <a:lnTo>
                        <a:pt x="19862" y="25209"/>
                      </a:lnTo>
                      <a:lnTo>
                        <a:pt x="11785" y="25209"/>
                      </a:lnTo>
                      <a:lnTo>
                        <a:pt x="8890" y="21755"/>
                      </a:lnTo>
                      <a:lnTo>
                        <a:pt x="8890" y="10629"/>
                      </a:lnTo>
                      <a:lnTo>
                        <a:pt x="11658" y="7175"/>
                      </a:lnTo>
                      <a:lnTo>
                        <a:pt x="18859" y="7175"/>
                      </a:lnTo>
                      <a:lnTo>
                        <a:pt x="20548" y="8255"/>
                      </a:lnTo>
                      <a:lnTo>
                        <a:pt x="22148" y="10972"/>
                      </a:lnTo>
                      <a:lnTo>
                        <a:pt x="29908" y="7302"/>
                      </a:lnTo>
                      <a:lnTo>
                        <a:pt x="28879" y="5613"/>
                      </a:lnTo>
                      <a:lnTo>
                        <a:pt x="28448" y="5016"/>
                      </a:lnTo>
                      <a:lnTo>
                        <a:pt x="24955" y="1384"/>
                      </a:lnTo>
                      <a:lnTo>
                        <a:pt x="21107" y="12"/>
                      </a:lnTo>
                      <a:lnTo>
                        <a:pt x="6350" y="12"/>
                      </a:lnTo>
                      <a:lnTo>
                        <a:pt x="0" y="6350"/>
                      </a:lnTo>
                      <a:lnTo>
                        <a:pt x="0" y="25819"/>
                      </a:lnTo>
                      <a:lnTo>
                        <a:pt x="6261" y="32029"/>
                      </a:lnTo>
                      <a:lnTo>
                        <a:pt x="15887" y="32029"/>
                      </a:lnTo>
                      <a:lnTo>
                        <a:pt x="25984" y="32029"/>
                      </a:lnTo>
                      <a:lnTo>
                        <a:pt x="31343" y="26073"/>
                      </a:lnTo>
                      <a:lnTo>
                        <a:pt x="31343" y="13779"/>
                      </a:lnTo>
                      <a:close/>
                    </a:path>
                    <a:path w="512444" h="32385">
                      <a:moveTo>
                        <a:pt x="64960" y="31254"/>
                      </a:moveTo>
                      <a:lnTo>
                        <a:pt x="56908" y="20078"/>
                      </a:lnTo>
                      <a:lnTo>
                        <a:pt x="56159" y="19037"/>
                      </a:lnTo>
                      <a:lnTo>
                        <a:pt x="57619" y="18389"/>
                      </a:lnTo>
                      <a:lnTo>
                        <a:pt x="58178" y="18008"/>
                      </a:lnTo>
                      <a:lnTo>
                        <a:pt x="60820" y="15328"/>
                      </a:lnTo>
                      <a:lnTo>
                        <a:pt x="61201" y="14300"/>
                      </a:lnTo>
                      <a:lnTo>
                        <a:pt x="61620" y="13131"/>
                      </a:lnTo>
                      <a:lnTo>
                        <a:pt x="61683" y="7772"/>
                      </a:lnTo>
                      <a:lnTo>
                        <a:pt x="61683" y="6223"/>
                      </a:lnTo>
                      <a:lnTo>
                        <a:pt x="60083" y="3327"/>
                      </a:lnTo>
                      <a:lnTo>
                        <a:pt x="55587" y="1092"/>
                      </a:lnTo>
                      <a:lnTo>
                        <a:pt x="53479" y="787"/>
                      </a:lnTo>
                      <a:lnTo>
                        <a:pt x="53174" y="787"/>
                      </a:lnTo>
                      <a:lnTo>
                        <a:pt x="53174" y="8813"/>
                      </a:lnTo>
                      <a:lnTo>
                        <a:pt x="53174" y="13131"/>
                      </a:lnTo>
                      <a:lnTo>
                        <a:pt x="51879" y="14300"/>
                      </a:lnTo>
                      <a:lnTo>
                        <a:pt x="47612" y="14300"/>
                      </a:lnTo>
                      <a:lnTo>
                        <a:pt x="47612" y="7772"/>
                      </a:lnTo>
                      <a:lnTo>
                        <a:pt x="52006" y="7772"/>
                      </a:lnTo>
                      <a:lnTo>
                        <a:pt x="53174" y="8813"/>
                      </a:lnTo>
                      <a:lnTo>
                        <a:pt x="53174" y="787"/>
                      </a:lnTo>
                      <a:lnTo>
                        <a:pt x="39446" y="787"/>
                      </a:lnTo>
                      <a:lnTo>
                        <a:pt x="39446" y="31254"/>
                      </a:lnTo>
                      <a:lnTo>
                        <a:pt x="47612" y="31254"/>
                      </a:lnTo>
                      <a:lnTo>
                        <a:pt x="47612" y="20078"/>
                      </a:lnTo>
                      <a:lnTo>
                        <a:pt x="54902" y="31254"/>
                      </a:lnTo>
                      <a:lnTo>
                        <a:pt x="64960" y="31254"/>
                      </a:lnTo>
                      <a:close/>
                    </a:path>
                    <a:path w="512444" h="32385">
                      <a:moveTo>
                        <a:pt x="98590" y="787"/>
                      </a:moveTo>
                      <a:lnTo>
                        <a:pt x="90004" y="787"/>
                      </a:lnTo>
                      <a:lnTo>
                        <a:pt x="90004" y="20332"/>
                      </a:lnTo>
                      <a:lnTo>
                        <a:pt x="89916" y="21805"/>
                      </a:lnTo>
                      <a:lnTo>
                        <a:pt x="88061" y="24396"/>
                      </a:lnTo>
                      <a:lnTo>
                        <a:pt x="86639" y="24917"/>
                      </a:lnTo>
                      <a:lnTo>
                        <a:pt x="81241" y="24917"/>
                      </a:lnTo>
                      <a:lnTo>
                        <a:pt x="80251" y="22059"/>
                      </a:lnTo>
                      <a:lnTo>
                        <a:pt x="80251" y="787"/>
                      </a:lnTo>
                      <a:lnTo>
                        <a:pt x="71615" y="787"/>
                      </a:lnTo>
                      <a:lnTo>
                        <a:pt x="71615" y="22237"/>
                      </a:lnTo>
                      <a:lnTo>
                        <a:pt x="71704" y="24003"/>
                      </a:lnTo>
                      <a:lnTo>
                        <a:pt x="74244" y="30822"/>
                      </a:lnTo>
                      <a:lnTo>
                        <a:pt x="79603" y="32029"/>
                      </a:lnTo>
                      <a:lnTo>
                        <a:pt x="89090" y="32029"/>
                      </a:lnTo>
                      <a:lnTo>
                        <a:pt x="93891" y="31305"/>
                      </a:lnTo>
                      <a:lnTo>
                        <a:pt x="97980" y="25298"/>
                      </a:lnTo>
                      <a:lnTo>
                        <a:pt x="98590" y="23101"/>
                      </a:lnTo>
                      <a:lnTo>
                        <a:pt x="98590" y="20726"/>
                      </a:lnTo>
                      <a:lnTo>
                        <a:pt x="98590" y="787"/>
                      </a:lnTo>
                      <a:close/>
                    </a:path>
                    <a:path w="512444" h="32385">
                      <a:moveTo>
                        <a:pt x="131648" y="14033"/>
                      </a:moveTo>
                      <a:lnTo>
                        <a:pt x="123571" y="787"/>
                      </a:lnTo>
                      <a:lnTo>
                        <a:pt x="123139" y="787"/>
                      </a:lnTo>
                      <a:lnTo>
                        <a:pt x="123139" y="8293"/>
                      </a:lnTo>
                      <a:lnTo>
                        <a:pt x="123139" y="13131"/>
                      </a:lnTo>
                      <a:lnTo>
                        <a:pt x="121196" y="14033"/>
                      </a:lnTo>
                      <a:lnTo>
                        <a:pt x="116370" y="14033"/>
                      </a:lnTo>
                      <a:lnTo>
                        <a:pt x="116370" y="7607"/>
                      </a:lnTo>
                      <a:lnTo>
                        <a:pt x="120942" y="7607"/>
                      </a:lnTo>
                      <a:lnTo>
                        <a:pt x="123139" y="8293"/>
                      </a:lnTo>
                      <a:lnTo>
                        <a:pt x="123139" y="787"/>
                      </a:lnTo>
                      <a:lnTo>
                        <a:pt x="108204" y="787"/>
                      </a:lnTo>
                      <a:lnTo>
                        <a:pt x="108204" y="31254"/>
                      </a:lnTo>
                      <a:lnTo>
                        <a:pt x="116370" y="31254"/>
                      </a:lnTo>
                      <a:lnTo>
                        <a:pt x="116370" y="21120"/>
                      </a:lnTo>
                      <a:lnTo>
                        <a:pt x="121158" y="21120"/>
                      </a:lnTo>
                      <a:lnTo>
                        <a:pt x="124002" y="21158"/>
                      </a:lnTo>
                      <a:lnTo>
                        <a:pt x="129997" y="18783"/>
                      </a:lnTo>
                      <a:lnTo>
                        <a:pt x="131648" y="14897"/>
                      </a:lnTo>
                      <a:lnTo>
                        <a:pt x="131648" y="14033"/>
                      </a:lnTo>
                      <a:close/>
                    </a:path>
                    <a:path w="512444" h="32385">
                      <a:moveTo>
                        <a:pt x="161950" y="14033"/>
                      </a:moveTo>
                      <a:lnTo>
                        <a:pt x="161848" y="8293"/>
                      </a:lnTo>
                      <a:lnTo>
                        <a:pt x="161709" y="7607"/>
                      </a:lnTo>
                      <a:lnTo>
                        <a:pt x="161556" y="6832"/>
                      </a:lnTo>
                      <a:lnTo>
                        <a:pt x="158369" y="1257"/>
                      </a:lnTo>
                      <a:lnTo>
                        <a:pt x="153873" y="787"/>
                      </a:lnTo>
                      <a:lnTo>
                        <a:pt x="153441" y="787"/>
                      </a:lnTo>
                      <a:lnTo>
                        <a:pt x="153441" y="8293"/>
                      </a:lnTo>
                      <a:lnTo>
                        <a:pt x="153441" y="13131"/>
                      </a:lnTo>
                      <a:lnTo>
                        <a:pt x="151498" y="14033"/>
                      </a:lnTo>
                      <a:lnTo>
                        <a:pt x="146672" y="14033"/>
                      </a:lnTo>
                      <a:lnTo>
                        <a:pt x="146672" y="7607"/>
                      </a:lnTo>
                      <a:lnTo>
                        <a:pt x="151244" y="7607"/>
                      </a:lnTo>
                      <a:lnTo>
                        <a:pt x="153441" y="8293"/>
                      </a:lnTo>
                      <a:lnTo>
                        <a:pt x="153441" y="787"/>
                      </a:lnTo>
                      <a:lnTo>
                        <a:pt x="138506" y="787"/>
                      </a:lnTo>
                      <a:lnTo>
                        <a:pt x="138506" y="31254"/>
                      </a:lnTo>
                      <a:lnTo>
                        <a:pt x="146672" y="31254"/>
                      </a:lnTo>
                      <a:lnTo>
                        <a:pt x="146672" y="21120"/>
                      </a:lnTo>
                      <a:lnTo>
                        <a:pt x="151460" y="21120"/>
                      </a:lnTo>
                      <a:lnTo>
                        <a:pt x="154305" y="21158"/>
                      </a:lnTo>
                      <a:lnTo>
                        <a:pt x="160299" y="18783"/>
                      </a:lnTo>
                      <a:lnTo>
                        <a:pt x="161950" y="14897"/>
                      </a:lnTo>
                      <a:lnTo>
                        <a:pt x="161950" y="14033"/>
                      </a:lnTo>
                      <a:close/>
                    </a:path>
                    <a:path w="512444" h="32385">
                      <a:moveTo>
                        <a:pt x="201256" y="6477"/>
                      </a:moveTo>
                      <a:lnTo>
                        <a:pt x="194449" y="12"/>
                      </a:lnTo>
                      <a:lnTo>
                        <a:pt x="192366" y="12"/>
                      </a:lnTo>
                      <a:lnTo>
                        <a:pt x="192366" y="10668"/>
                      </a:lnTo>
                      <a:lnTo>
                        <a:pt x="192366" y="21412"/>
                      </a:lnTo>
                      <a:lnTo>
                        <a:pt x="189268" y="24904"/>
                      </a:lnTo>
                      <a:lnTo>
                        <a:pt x="179679" y="24904"/>
                      </a:lnTo>
                      <a:lnTo>
                        <a:pt x="176580" y="21412"/>
                      </a:lnTo>
                      <a:lnTo>
                        <a:pt x="176695" y="10668"/>
                      </a:lnTo>
                      <a:lnTo>
                        <a:pt x="179819" y="7213"/>
                      </a:lnTo>
                      <a:lnTo>
                        <a:pt x="189357" y="7213"/>
                      </a:lnTo>
                      <a:lnTo>
                        <a:pt x="192366" y="10668"/>
                      </a:lnTo>
                      <a:lnTo>
                        <a:pt x="192366" y="12"/>
                      </a:lnTo>
                      <a:lnTo>
                        <a:pt x="174726" y="12"/>
                      </a:lnTo>
                      <a:lnTo>
                        <a:pt x="167690" y="6604"/>
                      </a:lnTo>
                      <a:lnTo>
                        <a:pt x="167690" y="25514"/>
                      </a:lnTo>
                      <a:lnTo>
                        <a:pt x="174371" y="32029"/>
                      </a:lnTo>
                      <a:lnTo>
                        <a:pt x="194233" y="32029"/>
                      </a:lnTo>
                      <a:lnTo>
                        <a:pt x="201256" y="25336"/>
                      </a:lnTo>
                      <a:lnTo>
                        <a:pt x="201256" y="24904"/>
                      </a:lnTo>
                      <a:lnTo>
                        <a:pt x="201256" y="7213"/>
                      </a:lnTo>
                      <a:lnTo>
                        <a:pt x="201256" y="6477"/>
                      </a:lnTo>
                      <a:close/>
                    </a:path>
                    <a:path w="512444" h="32385">
                      <a:moveTo>
                        <a:pt x="244348" y="787"/>
                      </a:moveTo>
                      <a:lnTo>
                        <a:pt x="226783" y="787"/>
                      </a:lnTo>
                      <a:lnTo>
                        <a:pt x="226783" y="31254"/>
                      </a:lnTo>
                      <a:lnTo>
                        <a:pt x="234937" y="31254"/>
                      </a:lnTo>
                      <a:lnTo>
                        <a:pt x="234937" y="19088"/>
                      </a:lnTo>
                      <a:lnTo>
                        <a:pt x="243179" y="19088"/>
                      </a:lnTo>
                      <a:lnTo>
                        <a:pt x="243179" y="12090"/>
                      </a:lnTo>
                      <a:lnTo>
                        <a:pt x="234937" y="12090"/>
                      </a:lnTo>
                      <a:lnTo>
                        <a:pt x="234937" y="7734"/>
                      </a:lnTo>
                      <a:lnTo>
                        <a:pt x="244348" y="7734"/>
                      </a:lnTo>
                      <a:lnTo>
                        <a:pt x="244348" y="787"/>
                      </a:lnTo>
                      <a:close/>
                    </a:path>
                    <a:path w="512444" h="32385">
                      <a:moveTo>
                        <a:pt x="272707" y="9842"/>
                      </a:moveTo>
                      <a:lnTo>
                        <a:pt x="259410" y="13855"/>
                      </a:lnTo>
                      <a:lnTo>
                        <a:pt x="259410" y="7340"/>
                      </a:lnTo>
                      <a:lnTo>
                        <a:pt x="261099" y="6565"/>
                      </a:lnTo>
                      <a:lnTo>
                        <a:pt x="264845" y="6565"/>
                      </a:lnTo>
                      <a:lnTo>
                        <a:pt x="266966" y="7899"/>
                      </a:lnTo>
                      <a:lnTo>
                        <a:pt x="268693" y="9194"/>
                      </a:lnTo>
                      <a:lnTo>
                        <a:pt x="271627" y="3111"/>
                      </a:lnTo>
                      <a:lnTo>
                        <a:pt x="268224" y="1041"/>
                      </a:lnTo>
                      <a:lnTo>
                        <a:pt x="265887" y="0"/>
                      </a:lnTo>
                      <a:lnTo>
                        <a:pt x="255524" y="0"/>
                      </a:lnTo>
                      <a:lnTo>
                        <a:pt x="250952" y="3327"/>
                      </a:lnTo>
                      <a:lnTo>
                        <a:pt x="250952" y="13030"/>
                      </a:lnTo>
                      <a:lnTo>
                        <a:pt x="252425" y="15709"/>
                      </a:lnTo>
                      <a:lnTo>
                        <a:pt x="256819" y="17691"/>
                      </a:lnTo>
                      <a:lnTo>
                        <a:pt x="258381" y="18046"/>
                      </a:lnTo>
                      <a:lnTo>
                        <a:pt x="261835" y="18948"/>
                      </a:lnTo>
                      <a:lnTo>
                        <a:pt x="264248" y="19418"/>
                      </a:lnTo>
                      <a:lnTo>
                        <a:pt x="264248" y="24130"/>
                      </a:lnTo>
                      <a:lnTo>
                        <a:pt x="262432" y="25209"/>
                      </a:lnTo>
                      <a:lnTo>
                        <a:pt x="257949" y="25209"/>
                      </a:lnTo>
                      <a:lnTo>
                        <a:pt x="255181" y="23355"/>
                      </a:lnTo>
                      <a:lnTo>
                        <a:pt x="253288" y="21882"/>
                      </a:lnTo>
                      <a:lnTo>
                        <a:pt x="250304" y="28232"/>
                      </a:lnTo>
                      <a:lnTo>
                        <a:pt x="253796" y="30734"/>
                      </a:lnTo>
                      <a:lnTo>
                        <a:pt x="256908" y="32029"/>
                      </a:lnTo>
                      <a:lnTo>
                        <a:pt x="264769" y="32029"/>
                      </a:lnTo>
                      <a:lnTo>
                        <a:pt x="267741" y="31115"/>
                      </a:lnTo>
                      <a:lnTo>
                        <a:pt x="270116" y="28486"/>
                      </a:lnTo>
                      <a:lnTo>
                        <a:pt x="271932" y="26454"/>
                      </a:lnTo>
                      <a:lnTo>
                        <a:pt x="272707" y="24130"/>
                      </a:lnTo>
                      <a:lnTo>
                        <a:pt x="272707" y="9842"/>
                      </a:lnTo>
                      <a:close/>
                    </a:path>
                    <a:path w="512444" h="32385">
                      <a:moveTo>
                        <a:pt x="305993" y="774"/>
                      </a:moveTo>
                      <a:lnTo>
                        <a:pt x="297230" y="774"/>
                      </a:lnTo>
                      <a:lnTo>
                        <a:pt x="297230" y="31242"/>
                      </a:lnTo>
                      <a:lnTo>
                        <a:pt x="305993" y="31242"/>
                      </a:lnTo>
                      <a:lnTo>
                        <a:pt x="305993" y="774"/>
                      </a:lnTo>
                      <a:close/>
                    </a:path>
                    <a:path w="512444" h="32385">
                      <a:moveTo>
                        <a:pt x="333997" y="787"/>
                      </a:moveTo>
                      <a:lnTo>
                        <a:pt x="312674" y="787"/>
                      </a:lnTo>
                      <a:lnTo>
                        <a:pt x="312674" y="7861"/>
                      </a:lnTo>
                      <a:lnTo>
                        <a:pt x="319062" y="7861"/>
                      </a:lnTo>
                      <a:lnTo>
                        <a:pt x="319062" y="31254"/>
                      </a:lnTo>
                      <a:lnTo>
                        <a:pt x="327647" y="31254"/>
                      </a:lnTo>
                      <a:lnTo>
                        <a:pt x="327647" y="7861"/>
                      </a:lnTo>
                      <a:lnTo>
                        <a:pt x="333997" y="7861"/>
                      </a:lnTo>
                      <a:lnTo>
                        <a:pt x="333997" y="787"/>
                      </a:lnTo>
                      <a:close/>
                    </a:path>
                    <a:path w="512444" h="32385">
                      <a:moveTo>
                        <a:pt x="368046" y="31254"/>
                      </a:moveTo>
                      <a:lnTo>
                        <a:pt x="366090" y="25908"/>
                      </a:lnTo>
                      <a:lnTo>
                        <a:pt x="363702" y="19392"/>
                      </a:lnTo>
                      <a:lnTo>
                        <a:pt x="359892" y="8940"/>
                      </a:lnTo>
                      <a:lnTo>
                        <a:pt x="356908" y="787"/>
                      </a:lnTo>
                      <a:lnTo>
                        <a:pt x="355358" y="787"/>
                      </a:lnTo>
                      <a:lnTo>
                        <a:pt x="355358" y="19392"/>
                      </a:lnTo>
                      <a:lnTo>
                        <a:pt x="349313" y="19392"/>
                      </a:lnTo>
                      <a:lnTo>
                        <a:pt x="351383" y="12433"/>
                      </a:lnTo>
                      <a:lnTo>
                        <a:pt x="352336" y="8940"/>
                      </a:lnTo>
                      <a:lnTo>
                        <a:pt x="353288" y="12433"/>
                      </a:lnTo>
                      <a:lnTo>
                        <a:pt x="355358" y="19392"/>
                      </a:lnTo>
                      <a:lnTo>
                        <a:pt x="355358" y="787"/>
                      </a:lnTo>
                      <a:lnTo>
                        <a:pt x="347713" y="787"/>
                      </a:lnTo>
                      <a:lnTo>
                        <a:pt x="336588" y="31254"/>
                      </a:lnTo>
                      <a:lnTo>
                        <a:pt x="345427" y="31254"/>
                      </a:lnTo>
                      <a:lnTo>
                        <a:pt x="347154" y="25908"/>
                      </a:lnTo>
                      <a:lnTo>
                        <a:pt x="357517" y="25908"/>
                      </a:lnTo>
                      <a:lnTo>
                        <a:pt x="359371" y="31254"/>
                      </a:lnTo>
                      <a:lnTo>
                        <a:pt x="368046" y="31254"/>
                      </a:lnTo>
                      <a:close/>
                    </a:path>
                    <a:path w="512444" h="32385">
                      <a:moveTo>
                        <a:pt x="392772" y="24091"/>
                      </a:moveTo>
                      <a:lnTo>
                        <a:pt x="383235" y="24091"/>
                      </a:lnTo>
                      <a:lnTo>
                        <a:pt x="383235" y="787"/>
                      </a:lnTo>
                      <a:lnTo>
                        <a:pt x="374561" y="787"/>
                      </a:lnTo>
                      <a:lnTo>
                        <a:pt x="374561" y="31254"/>
                      </a:lnTo>
                      <a:lnTo>
                        <a:pt x="392772" y="31254"/>
                      </a:lnTo>
                      <a:lnTo>
                        <a:pt x="392772" y="24091"/>
                      </a:lnTo>
                      <a:close/>
                    </a:path>
                    <a:path w="512444" h="32385">
                      <a:moveTo>
                        <a:pt x="409232" y="774"/>
                      </a:moveTo>
                      <a:lnTo>
                        <a:pt x="400469" y="774"/>
                      </a:lnTo>
                      <a:lnTo>
                        <a:pt x="400469" y="31242"/>
                      </a:lnTo>
                      <a:lnTo>
                        <a:pt x="409232" y="31242"/>
                      </a:lnTo>
                      <a:lnTo>
                        <a:pt x="409232" y="774"/>
                      </a:lnTo>
                      <a:close/>
                    </a:path>
                    <a:path w="512444" h="32385">
                      <a:moveTo>
                        <a:pt x="447243" y="31254"/>
                      </a:moveTo>
                      <a:lnTo>
                        <a:pt x="445287" y="25908"/>
                      </a:lnTo>
                      <a:lnTo>
                        <a:pt x="442912" y="19392"/>
                      </a:lnTo>
                      <a:lnTo>
                        <a:pt x="439089" y="8940"/>
                      </a:lnTo>
                      <a:lnTo>
                        <a:pt x="436105" y="787"/>
                      </a:lnTo>
                      <a:lnTo>
                        <a:pt x="434555" y="787"/>
                      </a:lnTo>
                      <a:lnTo>
                        <a:pt x="434555" y="19392"/>
                      </a:lnTo>
                      <a:lnTo>
                        <a:pt x="428510" y="19392"/>
                      </a:lnTo>
                      <a:lnTo>
                        <a:pt x="430580" y="12433"/>
                      </a:lnTo>
                      <a:lnTo>
                        <a:pt x="431533" y="8940"/>
                      </a:lnTo>
                      <a:lnTo>
                        <a:pt x="432485" y="12433"/>
                      </a:lnTo>
                      <a:lnTo>
                        <a:pt x="433527" y="15887"/>
                      </a:lnTo>
                      <a:lnTo>
                        <a:pt x="434555" y="19392"/>
                      </a:lnTo>
                      <a:lnTo>
                        <a:pt x="434555" y="787"/>
                      </a:lnTo>
                      <a:lnTo>
                        <a:pt x="426923" y="787"/>
                      </a:lnTo>
                      <a:lnTo>
                        <a:pt x="415785" y="31254"/>
                      </a:lnTo>
                      <a:lnTo>
                        <a:pt x="424624" y="31254"/>
                      </a:lnTo>
                      <a:lnTo>
                        <a:pt x="426351" y="25908"/>
                      </a:lnTo>
                      <a:lnTo>
                        <a:pt x="436714" y="25908"/>
                      </a:lnTo>
                      <a:lnTo>
                        <a:pt x="438569" y="31254"/>
                      </a:lnTo>
                      <a:lnTo>
                        <a:pt x="447243" y="31254"/>
                      </a:lnTo>
                      <a:close/>
                    </a:path>
                    <a:path w="512444" h="32385">
                      <a:moveTo>
                        <a:pt x="484289" y="787"/>
                      </a:moveTo>
                      <a:lnTo>
                        <a:pt x="475703" y="787"/>
                      </a:lnTo>
                      <a:lnTo>
                        <a:pt x="475957" y="18516"/>
                      </a:lnTo>
                      <a:lnTo>
                        <a:pt x="462318" y="787"/>
                      </a:lnTo>
                      <a:lnTo>
                        <a:pt x="453732" y="787"/>
                      </a:lnTo>
                      <a:lnTo>
                        <a:pt x="453732" y="31254"/>
                      </a:lnTo>
                      <a:lnTo>
                        <a:pt x="462407" y="31254"/>
                      </a:lnTo>
                      <a:lnTo>
                        <a:pt x="462102" y="13169"/>
                      </a:lnTo>
                      <a:lnTo>
                        <a:pt x="475653" y="31254"/>
                      </a:lnTo>
                      <a:lnTo>
                        <a:pt x="484289" y="31254"/>
                      </a:lnTo>
                      <a:lnTo>
                        <a:pt x="484289" y="787"/>
                      </a:lnTo>
                      <a:close/>
                    </a:path>
                    <a:path w="512444" h="32385">
                      <a:moveTo>
                        <a:pt x="512203" y="24180"/>
                      </a:moveTo>
                      <a:lnTo>
                        <a:pt x="502158" y="24180"/>
                      </a:lnTo>
                      <a:lnTo>
                        <a:pt x="502158" y="19469"/>
                      </a:lnTo>
                      <a:lnTo>
                        <a:pt x="510616" y="19469"/>
                      </a:lnTo>
                      <a:lnTo>
                        <a:pt x="510616" y="12306"/>
                      </a:lnTo>
                      <a:lnTo>
                        <a:pt x="502158" y="12306"/>
                      </a:lnTo>
                      <a:lnTo>
                        <a:pt x="502158" y="7912"/>
                      </a:lnTo>
                      <a:lnTo>
                        <a:pt x="511822" y="7912"/>
                      </a:lnTo>
                      <a:lnTo>
                        <a:pt x="511822" y="787"/>
                      </a:lnTo>
                      <a:lnTo>
                        <a:pt x="493953" y="787"/>
                      </a:lnTo>
                      <a:lnTo>
                        <a:pt x="493953" y="31254"/>
                      </a:lnTo>
                      <a:lnTo>
                        <a:pt x="512203" y="31254"/>
                      </a:lnTo>
                      <a:lnTo>
                        <a:pt x="512203" y="24180"/>
                      </a:lnTo>
                      <a:close/>
                    </a:path>
                  </a:pathLst>
                </a:custGeom>
                <a:solidFill>
                  <a:srgbClr val="124A9C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</p:grpSp>
          <p:sp>
            <p:nvSpPr>
              <p:cNvPr id="392" name="object 219">
                <a:extLst>
                  <a:ext uri="{FF2B5EF4-FFF2-40B4-BE49-F238E27FC236}">
                    <a16:creationId xmlns:a16="http://schemas.microsoft.com/office/drawing/2014/main" id="{0226EEA1-C47E-5DA8-3E0E-3C691BC577A6}"/>
                  </a:ext>
                </a:extLst>
              </p:cNvPr>
              <p:cNvSpPr txBox="1"/>
              <p:nvPr/>
            </p:nvSpPr>
            <p:spPr>
              <a:xfrm>
                <a:off x="7965860" y="3906111"/>
                <a:ext cx="467199" cy="134792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b="1" spc="75" dirty="0">
                    <a:solidFill>
                      <a:srgbClr val="58595B"/>
                    </a:solidFill>
                    <a:cs typeface="Calibri"/>
                  </a:rPr>
                  <a:t>Algeria</a:t>
                </a:r>
                <a:endParaRPr sz="700" dirty="0">
                  <a:cs typeface="Calibri"/>
                </a:endParaRPr>
              </a:p>
            </p:txBody>
          </p:sp>
          <p:sp>
            <p:nvSpPr>
              <p:cNvPr id="393" name="object 220">
                <a:extLst>
                  <a:ext uri="{FF2B5EF4-FFF2-40B4-BE49-F238E27FC236}">
                    <a16:creationId xmlns:a16="http://schemas.microsoft.com/office/drawing/2014/main" id="{7628249F-1999-3F98-3898-1487F76DD5CF}"/>
                  </a:ext>
                </a:extLst>
              </p:cNvPr>
              <p:cNvSpPr txBox="1"/>
              <p:nvPr/>
            </p:nvSpPr>
            <p:spPr>
              <a:xfrm>
                <a:off x="8111136" y="1279612"/>
                <a:ext cx="492812" cy="134792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b="1" spc="65" dirty="0">
                    <a:solidFill>
                      <a:srgbClr val="58595B"/>
                    </a:solidFill>
                    <a:cs typeface="Calibri"/>
                  </a:rPr>
                  <a:t>Serbia</a:t>
                </a:r>
                <a:endParaRPr sz="700" dirty="0">
                  <a:cs typeface="Calibri"/>
                </a:endParaRPr>
              </a:p>
            </p:txBody>
          </p:sp>
          <p:grpSp>
            <p:nvGrpSpPr>
              <p:cNvPr id="394" name="object 221">
                <a:extLst>
                  <a:ext uri="{FF2B5EF4-FFF2-40B4-BE49-F238E27FC236}">
                    <a16:creationId xmlns:a16="http://schemas.microsoft.com/office/drawing/2014/main" id="{84B22FB8-0472-E2A0-6C25-1C89EF613932}"/>
                  </a:ext>
                </a:extLst>
              </p:cNvPr>
              <p:cNvGrpSpPr/>
              <p:nvPr/>
            </p:nvGrpSpPr>
            <p:grpSpPr>
              <a:xfrm>
                <a:off x="7742336" y="1482697"/>
                <a:ext cx="739140" cy="240029"/>
                <a:chOff x="1865163" y="925900"/>
                <a:chExt cx="739140" cy="240029"/>
              </a:xfrm>
            </p:grpSpPr>
            <p:sp>
              <p:nvSpPr>
                <p:cNvPr id="459" name="object 222">
                  <a:extLst>
                    <a:ext uri="{FF2B5EF4-FFF2-40B4-BE49-F238E27FC236}">
                      <a16:creationId xmlns:a16="http://schemas.microsoft.com/office/drawing/2014/main" id="{6A2EF5BF-EB28-12EB-8001-2135CFDC6529}"/>
                    </a:ext>
                  </a:extLst>
                </p:cNvPr>
                <p:cNvSpPr/>
                <p:nvPr/>
              </p:nvSpPr>
              <p:spPr>
                <a:xfrm>
                  <a:off x="1873758" y="925906"/>
                  <a:ext cx="263525" cy="1663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63525" h="166369">
                      <a:moveTo>
                        <a:pt x="98793" y="81254"/>
                      </a:moveTo>
                      <a:lnTo>
                        <a:pt x="38519" y="87236"/>
                      </a:lnTo>
                      <a:lnTo>
                        <a:pt x="0" y="166179"/>
                      </a:lnTo>
                      <a:lnTo>
                        <a:pt x="21005" y="165290"/>
                      </a:lnTo>
                      <a:lnTo>
                        <a:pt x="65963" y="136867"/>
                      </a:lnTo>
                      <a:lnTo>
                        <a:pt x="90004" y="97663"/>
                      </a:lnTo>
                      <a:lnTo>
                        <a:pt x="98793" y="81254"/>
                      </a:lnTo>
                      <a:close/>
                    </a:path>
                    <a:path w="263525" h="166369">
                      <a:moveTo>
                        <a:pt x="263093" y="0"/>
                      </a:moveTo>
                      <a:lnTo>
                        <a:pt x="138023" y="0"/>
                      </a:lnTo>
                      <a:lnTo>
                        <a:pt x="110121" y="2641"/>
                      </a:lnTo>
                      <a:lnTo>
                        <a:pt x="88798" y="10426"/>
                      </a:lnTo>
                      <a:lnTo>
                        <a:pt x="72923" y="23152"/>
                      </a:lnTo>
                      <a:lnTo>
                        <a:pt x="61341" y="40640"/>
                      </a:lnTo>
                      <a:lnTo>
                        <a:pt x="51117" y="61277"/>
                      </a:lnTo>
                      <a:lnTo>
                        <a:pt x="107594" y="61277"/>
                      </a:lnTo>
                      <a:lnTo>
                        <a:pt x="123939" y="36995"/>
                      </a:lnTo>
                      <a:lnTo>
                        <a:pt x="144830" y="20942"/>
                      </a:lnTo>
                      <a:lnTo>
                        <a:pt x="173177" y="11938"/>
                      </a:lnTo>
                      <a:lnTo>
                        <a:pt x="211874" y="8801"/>
                      </a:lnTo>
                      <a:lnTo>
                        <a:pt x="258800" y="8801"/>
                      </a:lnTo>
                      <a:lnTo>
                        <a:pt x="263093" y="0"/>
                      </a:lnTo>
                      <a:close/>
                    </a:path>
                  </a:pathLst>
                </a:custGeom>
                <a:solidFill>
                  <a:srgbClr val="00675F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60" name="object 223">
                  <a:extLst>
                    <a:ext uri="{FF2B5EF4-FFF2-40B4-BE49-F238E27FC236}">
                      <a16:creationId xmlns:a16="http://schemas.microsoft.com/office/drawing/2014/main" id="{128F5B92-7CC0-1E85-D5D7-7984CD323EB9}"/>
                    </a:ext>
                  </a:extLst>
                </p:cNvPr>
                <p:cNvSpPr/>
                <p:nvPr/>
              </p:nvSpPr>
              <p:spPr>
                <a:xfrm>
                  <a:off x="1865163" y="998405"/>
                  <a:ext cx="236854" cy="11176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6855" h="111759">
                      <a:moveTo>
                        <a:pt x="236359" y="0"/>
                      </a:moveTo>
                      <a:lnTo>
                        <a:pt x="171538" y="4102"/>
                      </a:lnTo>
                      <a:lnTo>
                        <a:pt x="136211" y="24161"/>
                      </a:lnTo>
                      <a:lnTo>
                        <a:pt x="124447" y="60172"/>
                      </a:lnTo>
                      <a:lnTo>
                        <a:pt x="117678" y="75728"/>
                      </a:lnTo>
                      <a:lnTo>
                        <a:pt x="75780" y="100888"/>
                      </a:lnTo>
                      <a:lnTo>
                        <a:pt x="4292" y="102527"/>
                      </a:lnTo>
                      <a:lnTo>
                        <a:pt x="0" y="111315"/>
                      </a:lnTo>
                      <a:lnTo>
                        <a:pt x="107303" y="111262"/>
                      </a:lnTo>
                      <a:lnTo>
                        <a:pt x="148053" y="101572"/>
                      </a:lnTo>
                      <a:lnTo>
                        <a:pt x="176558" y="73055"/>
                      </a:lnTo>
                      <a:lnTo>
                        <a:pt x="184861" y="34899"/>
                      </a:lnTo>
                      <a:lnTo>
                        <a:pt x="187916" y="24585"/>
                      </a:lnTo>
                      <a:lnTo>
                        <a:pt x="194130" y="16117"/>
                      </a:lnTo>
                      <a:lnTo>
                        <a:pt x="202818" y="10176"/>
                      </a:lnTo>
                      <a:lnTo>
                        <a:pt x="213296" y="7442"/>
                      </a:lnTo>
                      <a:lnTo>
                        <a:pt x="233260" y="6197"/>
                      </a:lnTo>
                      <a:lnTo>
                        <a:pt x="236359" y="0"/>
                      </a:lnTo>
                      <a:close/>
                    </a:path>
                  </a:pathLst>
                </a:custGeom>
                <a:solidFill>
                  <a:srgbClr val="CF1F39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61" name="object 224">
                  <a:extLst>
                    <a:ext uri="{FF2B5EF4-FFF2-40B4-BE49-F238E27FC236}">
                      <a16:creationId xmlns:a16="http://schemas.microsoft.com/office/drawing/2014/main" id="{48ACCF6E-AC11-6B43-0D79-6FDFEEF55F5B}"/>
                    </a:ext>
                  </a:extLst>
                </p:cNvPr>
                <p:cNvSpPr/>
                <p:nvPr/>
              </p:nvSpPr>
              <p:spPr>
                <a:xfrm>
                  <a:off x="1865172" y="943178"/>
                  <a:ext cx="739140" cy="2228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9139" h="222884">
                      <a:moveTo>
                        <a:pt x="16052" y="194373"/>
                      </a:moveTo>
                      <a:lnTo>
                        <a:pt x="0" y="194373"/>
                      </a:lnTo>
                      <a:lnTo>
                        <a:pt x="0" y="222008"/>
                      </a:lnTo>
                      <a:lnTo>
                        <a:pt x="6032" y="222008"/>
                      </a:lnTo>
                      <a:lnTo>
                        <a:pt x="6032" y="210426"/>
                      </a:lnTo>
                      <a:lnTo>
                        <a:pt x="16052" y="210426"/>
                      </a:lnTo>
                      <a:lnTo>
                        <a:pt x="16052" y="205028"/>
                      </a:lnTo>
                      <a:lnTo>
                        <a:pt x="6032" y="205028"/>
                      </a:lnTo>
                      <a:lnTo>
                        <a:pt x="6032" y="199618"/>
                      </a:lnTo>
                      <a:lnTo>
                        <a:pt x="16052" y="199618"/>
                      </a:lnTo>
                      <a:lnTo>
                        <a:pt x="16052" y="194373"/>
                      </a:lnTo>
                      <a:close/>
                    </a:path>
                    <a:path w="739139" h="222884">
                      <a:moveTo>
                        <a:pt x="34404" y="194386"/>
                      </a:moveTo>
                      <a:lnTo>
                        <a:pt x="18707" y="194386"/>
                      </a:lnTo>
                      <a:lnTo>
                        <a:pt x="18707" y="222021"/>
                      </a:lnTo>
                      <a:lnTo>
                        <a:pt x="34366" y="222021"/>
                      </a:lnTo>
                      <a:lnTo>
                        <a:pt x="34366" y="216496"/>
                      </a:lnTo>
                      <a:lnTo>
                        <a:pt x="24701" y="216496"/>
                      </a:lnTo>
                      <a:lnTo>
                        <a:pt x="24701" y="210591"/>
                      </a:lnTo>
                      <a:lnTo>
                        <a:pt x="34175" y="210591"/>
                      </a:lnTo>
                      <a:lnTo>
                        <a:pt x="34175" y="205232"/>
                      </a:lnTo>
                      <a:lnTo>
                        <a:pt x="24701" y="205232"/>
                      </a:lnTo>
                      <a:lnTo>
                        <a:pt x="24701" y="199745"/>
                      </a:lnTo>
                      <a:lnTo>
                        <a:pt x="34404" y="199745"/>
                      </a:lnTo>
                      <a:lnTo>
                        <a:pt x="34404" y="194386"/>
                      </a:lnTo>
                      <a:close/>
                    </a:path>
                    <a:path w="739139" h="222884">
                      <a:moveTo>
                        <a:pt x="58547" y="222008"/>
                      </a:moveTo>
                      <a:lnTo>
                        <a:pt x="50609" y="210337"/>
                      </a:lnTo>
                      <a:lnTo>
                        <a:pt x="51625" y="210032"/>
                      </a:lnTo>
                      <a:lnTo>
                        <a:pt x="52717" y="209753"/>
                      </a:lnTo>
                      <a:lnTo>
                        <a:pt x="55803" y="207759"/>
                      </a:lnTo>
                      <a:lnTo>
                        <a:pt x="56286" y="206463"/>
                      </a:lnTo>
                      <a:lnTo>
                        <a:pt x="56794" y="205092"/>
                      </a:lnTo>
                      <a:lnTo>
                        <a:pt x="56794" y="200952"/>
                      </a:lnTo>
                      <a:lnTo>
                        <a:pt x="56362" y="199301"/>
                      </a:lnTo>
                      <a:lnTo>
                        <a:pt x="53378" y="194640"/>
                      </a:lnTo>
                      <a:lnTo>
                        <a:pt x="50914" y="194475"/>
                      </a:lnTo>
                      <a:lnTo>
                        <a:pt x="50914" y="199974"/>
                      </a:lnTo>
                      <a:lnTo>
                        <a:pt x="50914" y="203454"/>
                      </a:lnTo>
                      <a:lnTo>
                        <a:pt x="50761" y="204152"/>
                      </a:lnTo>
                      <a:lnTo>
                        <a:pt x="49466" y="206311"/>
                      </a:lnTo>
                      <a:lnTo>
                        <a:pt x="47942" y="206463"/>
                      </a:lnTo>
                      <a:lnTo>
                        <a:pt x="44145" y="206463"/>
                      </a:lnTo>
                      <a:lnTo>
                        <a:pt x="44145" y="199186"/>
                      </a:lnTo>
                      <a:lnTo>
                        <a:pt x="48602" y="199186"/>
                      </a:lnTo>
                      <a:lnTo>
                        <a:pt x="50914" y="199974"/>
                      </a:lnTo>
                      <a:lnTo>
                        <a:pt x="50914" y="194475"/>
                      </a:lnTo>
                      <a:lnTo>
                        <a:pt x="49580" y="194373"/>
                      </a:lnTo>
                      <a:lnTo>
                        <a:pt x="38265" y="194373"/>
                      </a:lnTo>
                      <a:lnTo>
                        <a:pt x="38265" y="222008"/>
                      </a:lnTo>
                      <a:lnTo>
                        <a:pt x="44107" y="222008"/>
                      </a:lnTo>
                      <a:lnTo>
                        <a:pt x="44107" y="210337"/>
                      </a:lnTo>
                      <a:lnTo>
                        <a:pt x="51422" y="222008"/>
                      </a:lnTo>
                      <a:lnTo>
                        <a:pt x="58547" y="222008"/>
                      </a:lnTo>
                      <a:close/>
                    </a:path>
                    <a:path w="739139" h="222884">
                      <a:moveTo>
                        <a:pt x="80543" y="222008"/>
                      </a:moveTo>
                      <a:lnTo>
                        <a:pt x="72605" y="210337"/>
                      </a:lnTo>
                      <a:lnTo>
                        <a:pt x="73621" y="210032"/>
                      </a:lnTo>
                      <a:lnTo>
                        <a:pt x="74714" y="209753"/>
                      </a:lnTo>
                      <a:lnTo>
                        <a:pt x="77800" y="207759"/>
                      </a:lnTo>
                      <a:lnTo>
                        <a:pt x="78282" y="206463"/>
                      </a:lnTo>
                      <a:lnTo>
                        <a:pt x="78790" y="205092"/>
                      </a:lnTo>
                      <a:lnTo>
                        <a:pt x="78790" y="200952"/>
                      </a:lnTo>
                      <a:lnTo>
                        <a:pt x="78359" y="199301"/>
                      </a:lnTo>
                      <a:lnTo>
                        <a:pt x="75374" y="194640"/>
                      </a:lnTo>
                      <a:lnTo>
                        <a:pt x="72910" y="194475"/>
                      </a:lnTo>
                      <a:lnTo>
                        <a:pt x="72910" y="199974"/>
                      </a:lnTo>
                      <a:lnTo>
                        <a:pt x="72910" y="203454"/>
                      </a:lnTo>
                      <a:lnTo>
                        <a:pt x="72758" y="204152"/>
                      </a:lnTo>
                      <a:lnTo>
                        <a:pt x="71462" y="206311"/>
                      </a:lnTo>
                      <a:lnTo>
                        <a:pt x="69938" y="206463"/>
                      </a:lnTo>
                      <a:lnTo>
                        <a:pt x="66141" y="206463"/>
                      </a:lnTo>
                      <a:lnTo>
                        <a:pt x="66141" y="199186"/>
                      </a:lnTo>
                      <a:lnTo>
                        <a:pt x="70599" y="199186"/>
                      </a:lnTo>
                      <a:lnTo>
                        <a:pt x="72910" y="199974"/>
                      </a:lnTo>
                      <a:lnTo>
                        <a:pt x="72910" y="194475"/>
                      </a:lnTo>
                      <a:lnTo>
                        <a:pt x="71577" y="194373"/>
                      </a:lnTo>
                      <a:lnTo>
                        <a:pt x="60261" y="194373"/>
                      </a:lnTo>
                      <a:lnTo>
                        <a:pt x="60261" y="222008"/>
                      </a:lnTo>
                      <a:lnTo>
                        <a:pt x="66103" y="222008"/>
                      </a:lnTo>
                      <a:lnTo>
                        <a:pt x="66103" y="210337"/>
                      </a:lnTo>
                      <a:lnTo>
                        <a:pt x="73418" y="222008"/>
                      </a:lnTo>
                      <a:lnTo>
                        <a:pt x="80543" y="222008"/>
                      </a:lnTo>
                      <a:close/>
                    </a:path>
                    <a:path w="739139" h="222884">
                      <a:moveTo>
                        <a:pt x="110959" y="199898"/>
                      </a:moveTo>
                      <a:lnTo>
                        <a:pt x="110477" y="199428"/>
                      </a:lnTo>
                      <a:lnTo>
                        <a:pt x="104775" y="193840"/>
                      </a:lnTo>
                      <a:lnTo>
                        <a:pt x="104775" y="203225"/>
                      </a:lnTo>
                      <a:lnTo>
                        <a:pt x="104736" y="213321"/>
                      </a:lnTo>
                      <a:lnTo>
                        <a:pt x="101168" y="217081"/>
                      </a:lnTo>
                      <a:lnTo>
                        <a:pt x="91427" y="217081"/>
                      </a:lnTo>
                      <a:lnTo>
                        <a:pt x="87630" y="213321"/>
                      </a:lnTo>
                      <a:lnTo>
                        <a:pt x="87744" y="203225"/>
                      </a:lnTo>
                      <a:lnTo>
                        <a:pt x="91427" y="199428"/>
                      </a:lnTo>
                      <a:lnTo>
                        <a:pt x="101168" y="199428"/>
                      </a:lnTo>
                      <a:lnTo>
                        <a:pt x="104775" y="203225"/>
                      </a:lnTo>
                      <a:lnTo>
                        <a:pt x="104775" y="193840"/>
                      </a:lnTo>
                      <a:lnTo>
                        <a:pt x="104609" y="193675"/>
                      </a:lnTo>
                      <a:lnTo>
                        <a:pt x="87668" y="193675"/>
                      </a:lnTo>
                      <a:lnTo>
                        <a:pt x="81521" y="199898"/>
                      </a:lnTo>
                      <a:lnTo>
                        <a:pt x="81521" y="216852"/>
                      </a:lnTo>
                      <a:lnTo>
                        <a:pt x="87630" y="222719"/>
                      </a:lnTo>
                      <a:lnTo>
                        <a:pt x="104965" y="222719"/>
                      </a:lnTo>
                      <a:lnTo>
                        <a:pt x="110655" y="217081"/>
                      </a:lnTo>
                      <a:lnTo>
                        <a:pt x="110883" y="216852"/>
                      </a:lnTo>
                      <a:lnTo>
                        <a:pt x="110959" y="199898"/>
                      </a:lnTo>
                      <a:close/>
                    </a:path>
                    <a:path w="739139" h="222884">
                      <a:moveTo>
                        <a:pt x="138430" y="194373"/>
                      </a:moveTo>
                      <a:lnTo>
                        <a:pt x="131927" y="194373"/>
                      </a:lnTo>
                      <a:lnTo>
                        <a:pt x="125006" y="214096"/>
                      </a:lnTo>
                      <a:lnTo>
                        <a:pt x="118071" y="194373"/>
                      </a:lnTo>
                      <a:lnTo>
                        <a:pt x="111493" y="194373"/>
                      </a:lnTo>
                      <a:lnTo>
                        <a:pt x="121831" y="222008"/>
                      </a:lnTo>
                      <a:lnTo>
                        <a:pt x="127622" y="222008"/>
                      </a:lnTo>
                      <a:lnTo>
                        <a:pt x="138430" y="194373"/>
                      </a:lnTo>
                      <a:close/>
                    </a:path>
                    <a:path w="739139" h="222884">
                      <a:moveTo>
                        <a:pt x="146646" y="194373"/>
                      </a:moveTo>
                      <a:lnTo>
                        <a:pt x="140614" y="194373"/>
                      </a:lnTo>
                      <a:lnTo>
                        <a:pt x="140614" y="222008"/>
                      </a:lnTo>
                      <a:lnTo>
                        <a:pt x="146646" y="222008"/>
                      </a:lnTo>
                      <a:lnTo>
                        <a:pt x="146646" y="194373"/>
                      </a:lnTo>
                      <a:close/>
                    </a:path>
                    <a:path w="739139" h="222884">
                      <a:moveTo>
                        <a:pt x="167970" y="194386"/>
                      </a:moveTo>
                      <a:lnTo>
                        <a:pt x="152273" y="194386"/>
                      </a:lnTo>
                      <a:lnTo>
                        <a:pt x="152273" y="222021"/>
                      </a:lnTo>
                      <a:lnTo>
                        <a:pt x="167932" y="222021"/>
                      </a:lnTo>
                      <a:lnTo>
                        <a:pt x="167932" y="216496"/>
                      </a:lnTo>
                      <a:lnTo>
                        <a:pt x="158267" y="216496"/>
                      </a:lnTo>
                      <a:lnTo>
                        <a:pt x="158267" y="210591"/>
                      </a:lnTo>
                      <a:lnTo>
                        <a:pt x="167741" y="210591"/>
                      </a:lnTo>
                      <a:lnTo>
                        <a:pt x="167741" y="205232"/>
                      </a:lnTo>
                      <a:lnTo>
                        <a:pt x="158267" y="205232"/>
                      </a:lnTo>
                      <a:lnTo>
                        <a:pt x="158267" y="199745"/>
                      </a:lnTo>
                      <a:lnTo>
                        <a:pt x="167970" y="199745"/>
                      </a:lnTo>
                      <a:lnTo>
                        <a:pt x="167970" y="194386"/>
                      </a:lnTo>
                      <a:close/>
                    </a:path>
                    <a:path w="739139" h="222884">
                      <a:moveTo>
                        <a:pt x="205867" y="205143"/>
                      </a:moveTo>
                      <a:lnTo>
                        <a:pt x="205193" y="202755"/>
                      </a:lnTo>
                      <a:lnTo>
                        <a:pt x="203111" y="199186"/>
                      </a:lnTo>
                      <a:lnTo>
                        <a:pt x="200583" y="194843"/>
                      </a:lnTo>
                      <a:lnTo>
                        <a:pt x="199986" y="194792"/>
                      </a:lnTo>
                      <a:lnTo>
                        <a:pt x="199986" y="213601"/>
                      </a:lnTo>
                      <a:lnTo>
                        <a:pt x="197091" y="217157"/>
                      </a:lnTo>
                      <a:lnTo>
                        <a:pt x="189687" y="217157"/>
                      </a:lnTo>
                      <a:lnTo>
                        <a:pt x="189687" y="199186"/>
                      </a:lnTo>
                      <a:lnTo>
                        <a:pt x="192747" y="199186"/>
                      </a:lnTo>
                      <a:lnTo>
                        <a:pt x="195211" y="199390"/>
                      </a:lnTo>
                      <a:lnTo>
                        <a:pt x="199161" y="202552"/>
                      </a:lnTo>
                      <a:lnTo>
                        <a:pt x="199910" y="205143"/>
                      </a:lnTo>
                      <a:lnTo>
                        <a:pt x="199986" y="213601"/>
                      </a:lnTo>
                      <a:lnTo>
                        <a:pt x="199986" y="194792"/>
                      </a:lnTo>
                      <a:lnTo>
                        <a:pt x="195097" y="194373"/>
                      </a:lnTo>
                      <a:lnTo>
                        <a:pt x="183667" y="194373"/>
                      </a:lnTo>
                      <a:lnTo>
                        <a:pt x="183667" y="222021"/>
                      </a:lnTo>
                      <a:lnTo>
                        <a:pt x="194043" y="222021"/>
                      </a:lnTo>
                      <a:lnTo>
                        <a:pt x="197637" y="221856"/>
                      </a:lnTo>
                      <a:lnTo>
                        <a:pt x="203835" y="217157"/>
                      </a:lnTo>
                      <a:lnTo>
                        <a:pt x="204292" y="216814"/>
                      </a:lnTo>
                      <a:lnTo>
                        <a:pt x="205867" y="212039"/>
                      </a:lnTo>
                      <a:lnTo>
                        <a:pt x="205867" y="205143"/>
                      </a:lnTo>
                      <a:close/>
                    </a:path>
                    <a:path w="739139" h="222884">
                      <a:moveTo>
                        <a:pt x="225374" y="194386"/>
                      </a:moveTo>
                      <a:lnTo>
                        <a:pt x="209677" y="194386"/>
                      </a:lnTo>
                      <a:lnTo>
                        <a:pt x="209677" y="222021"/>
                      </a:lnTo>
                      <a:lnTo>
                        <a:pt x="225336" y="222021"/>
                      </a:lnTo>
                      <a:lnTo>
                        <a:pt x="225336" y="216496"/>
                      </a:lnTo>
                      <a:lnTo>
                        <a:pt x="215671" y="216496"/>
                      </a:lnTo>
                      <a:lnTo>
                        <a:pt x="215671" y="210591"/>
                      </a:lnTo>
                      <a:lnTo>
                        <a:pt x="225145" y="210591"/>
                      </a:lnTo>
                      <a:lnTo>
                        <a:pt x="225145" y="205232"/>
                      </a:lnTo>
                      <a:lnTo>
                        <a:pt x="215671" y="205232"/>
                      </a:lnTo>
                      <a:lnTo>
                        <a:pt x="215671" y="199745"/>
                      </a:lnTo>
                      <a:lnTo>
                        <a:pt x="225374" y="199745"/>
                      </a:lnTo>
                      <a:lnTo>
                        <a:pt x="225374" y="194386"/>
                      </a:lnTo>
                      <a:close/>
                    </a:path>
                    <a:path w="739139" h="222884">
                      <a:moveTo>
                        <a:pt x="244767" y="216560"/>
                      </a:moveTo>
                      <a:lnTo>
                        <a:pt x="235331" y="216560"/>
                      </a:lnTo>
                      <a:lnTo>
                        <a:pt x="235331" y="194373"/>
                      </a:lnTo>
                      <a:lnTo>
                        <a:pt x="229298" y="194373"/>
                      </a:lnTo>
                      <a:lnTo>
                        <a:pt x="229298" y="222008"/>
                      </a:lnTo>
                      <a:lnTo>
                        <a:pt x="244767" y="222008"/>
                      </a:lnTo>
                      <a:lnTo>
                        <a:pt x="244767" y="216560"/>
                      </a:lnTo>
                      <a:close/>
                    </a:path>
                    <a:path w="739139" h="222884">
                      <a:moveTo>
                        <a:pt x="263245" y="0"/>
                      </a:moveTo>
                      <a:lnTo>
                        <a:pt x="263067" y="304"/>
                      </a:lnTo>
                      <a:lnTo>
                        <a:pt x="217119" y="2768"/>
                      </a:lnTo>
                      <a:lnTo>
                        <a:pt x="188556" y="10528"/>
                      </a:lnTo>
                      <a:lnTo>
                        <a:pt x="170980" y="24091"/>
                      </a:lnTo>
                      <a:lnTo>
                        <a:pt x="157949" y="44018"/>
                      </a:lnTo>
                      <a:lnTo>
                        <a:pt x="241769" y="44018"/>
                      </a:lnTo>
                      <a:lnTo>
                        <a:pt x="263245" y="0"/>
                      </a:lnTo>
                      <a:close/>
                    </a:path>
                    <a:path w="739139" h="222884">
                      <a:moveTo>
                        <a:pt x="263512" y="216560"/>
                      </a:moveTo>
                      <a:lnTo>
                        <a:pt x="254076" y="216560"/>
                      </a:lnTo>
                      <a:lnTo>
                        <a:pt x="254076" y="194373"/>
                      </a:lnTo>
                      <a:lnTo>
                        <a:pt x="248043" y="194373"/>
                      </a:lnTo>
                      <a:lnTo>
                        <a:pt x="248043" y="222008"/>
                      </a:lnTo>
                      <a:lnTo>
                        <a:pt x="263512" y="222008"/>
                      </a:lnTo>
                      <a:lnTo>
                        <a:pt x="263512" y="216560"/>
                      </a:lnTo>
                      <a:close/>
                    </a:path>
                    <a:path w="739139" h="222884">
                      <a:moveTo>
                        <a:pt x="294386" y="199898"/>
                      </a:moveTo>
                      <a:lnTo>
                        <a:pt x="293903" y="199428"/>
                      </a:lnTo>
                      <a:lnTo>
                        <a:pt x="288201" y="193840"/>
                      </a:lnTo>
                      <a:lnTo>
                        <a:pt x="288201" y="203225"/>
                      </a:lnTo>
                      <a:lnTo>
                        <a:pt x="288163" y="213321"/>
                      </a:lnTo>
                      <a:lnTo>
                        <a:pt x="284594" y="217081"/>
                      </a:lnTo>
                      <a:lnTo>
                        <a:pt x="274853" y="217081"/>
                      </a:lnTo>
                      <a:lnTo>
                        <a:pt x="271056" y="213321"/>
                      </a:lnTo>
                      <a:lnTo>
                        <a:pt x="271170" y="203225"/>
                      </a:lnTo>
                      <a:lnTo>
                        <a:pt x="274853" y="199428"/>
                      </a:lnTo>
                      <a:lnTo>
                        <a:pt x="284594" y="199428"/>
                      </a:lnTo>
                      <a:lnTo>
                        <a:pt x="288201" y="203225"/>
                      </a:lnTo>
                      <a:lnTo>
                        <a:pt x="288201" y="193840"/>
                      </a:lnTo>
                      <a:lnTo>
                        <a:pt x="288036" y="193675"/>
                      </a:lnTo>
                      <a:lnTo>
                        <a:pt x="271094" y="193675"/>
                      </a:lnTo>
                      <a:lnTo>
                        <a:pt x="264947" y="199898"/>
                      </a:lnTo>
                      <a:lnTo>
                        <a:pt x="264947" y="216852"/>
                      </a:lnTo>
                      <a:lnTo>
                        <a:pt x="271056" y="222719"/>
                      </a:lnTo>
                      <a:lnTo>
                        <a:pt x="288391" y="222719"/>
                      </a:lnTo>
                      <a:lnTo>
                        <a:pt x="294081" y="217081"/>
                      </a:lnTo>
                      <a:lnTo>
                        <a:pt x="294309" y="216852"/>
                      </a:lnTo>
                      <a:lnTo>
                        <a:pt x="294386" y="199898"/>
                      </a:lnTo>
                      <a:close/>
                    </a:path>
                    <a:path w="739139" h="222884">
                      <a:moveTo>
                        <a:pt x="308483" y="70027"/>
                      </a:moveTo>
                      <a:lnTo>
                        <a:pt x="280073" y="70027"/>
                      </a:lnTo>
                      <a:lnTo>
                        <a:pt x="280492" y="71018"/>
                      </a:lnTo>
                      <a:lnTo>
                        <a:pt x="280720" y="72148"/>
                      </a:lnTo>
                      <a:lnTo>
                        <a:pt x="280720" y="74625"/>
                      </a:lnTo>
                      <a:lnTo>
                        <a:pt x="280441" y="75831"/>
                      </a:lnTo>
                      <a:lnTo>
                        <a:pt x="236347" y="166573"/>
                      </a:lnTo>
                      <a:lnTo>
                        <a:pt x="261493" y="166573"/>
                      </a:lnTo>
                      <a:lnTo>
                        <a:pt x="308483" y="70027"/>
                      </a:lnTo>
                      <a:close/>
                    </a:path>
                    <a:path w="739139" h="222884">
                      <a:moveTo>
                        <a:pt x="325805" y="204952"/>
                      </a:moveTo>
                      <a:lnTo>
                        <a:pt x="314693" y="205778"/>
                      </a:lnTo>
                      <a:lnTo>
                        <a:pt x="314693" y="200012"/>
                      </a:lnTo>
                      <a:lnTo>
                        <a:pt x="315899" y="199034"/>
                      </a:lnTo>
                      <a:lnTo>
                        <a:pt x="319189" y="199034"/>
                      </a:lnTo>
                      <a:lnTo>
                        <a:pt x="320370" y="200253"/>
                      </a:lnTo>
                      <a:lnTo>
                        <a:pt x="321424" y="201663"/>
                      </a:lnTo>
                      <a:lnTo>
                        <a:pt x="325259" y="197358"/>
                      </a:lnTo>
                      <a:lnTo>
                        <a:pt x="322910" y="194932"/>
                      </a:lnTo>
                      <a:lnTo>
                        <a:pt x="320840" y="193636"/>
                      </a:lnTo>
                      <a:lnTo>
                        <a:pt x="312610" y="193636"/>
                      </a:lnTo>
                      <a:lnTo>
                        <a:pt x="308419" y="196684"/>
                      </a:lnTo>
                      <a:lnTo>
                        <a:pt x="308419" y="206362"/>
                      </a:lnTo>
                      <a:lnTo>
                        <a:pt x="312140" y="208635"/>
                      </a:lnTo>
                      <a:lnTo>
                        <a:pt x="317703" y="211251"/>
                      </a:lnTo>
                      <a:lnTo>
                        <a:pt x="319112" y="212509"/>
                      </a:lnTo>
                      <a:lnTo>
                        <a:pt x="319506" y="213245"/>
                      </a:lnTo>
                      <a:lnTo>
                        <a:pt x="319506" y="216192"/>
                      </a:lnTo>
                      <a:lnTo>
                        <a:pt x="317893" y="217512"/>
                      </a:lnTo>
                      <a:lnTo>
                        <a:pt x="313753" y="217512"/>
                      </a:lnTo>
                      <a:lnTo>
                        <a:pt x="312229" y="215988"/>
                      </a:lnTo>
                      <a:lnTo>
                        <a:pt x="310819" y="214388"/>
                      </a:lnTo>
                      <a:lnTo>
                        <a:pt x="306895" y="218694"/>
                      </a:lnTo>
                      <a:lnTo>
                        <a:pt x="309410" y="221119"/>
                      </a:lnTo>
                      <a:lnTo>
                        <a:pt x="312178" y="222643"/>
                      </a:lnTo>
                      <a:lnTo>
                        <a:pt x="315747" y="222643"/>
                      </a:lnTo>
                      <a:lnTo>
                        <a:pt x="321221" y="222643"/>
                      </a:lnTo>
                      <a:lnTo>
                        <a:pt x="325805" y="219354"/>
                      </a:lnTo>
                      <a:lnTo>
                        <a:pt x="325805" y="204952"/>
                      </a:lnTo>
                      <a:close/>
                    </a:path>
                    <a:path w="739139" h="222884">
                      <a:moveTo>
                        <a:pt x="345249" y="194373"/>
                      </a:moveTo>
                      <a:lnTo>
                        <a:pt x="327444" y="194373"/>
                      </a:lnTo>
                      <a:lnTo>
                        <a:pt x="327444" y="199771"/>
                      </a:lnTo>
                      <a:lnTo>
                        <a:pt x="333349" y="199771"/>
                      </a:lnTo>
                      <a:lnTo>
                        <a:pt x="333349" y="222008"/>
                      </a:lnTo>
                      <a:lnTo>
                        <a:pt x="339344" y="222008"/>
                      </a:lnTo>
                      <a:lnTo>
                        <a:pt x="339344" y="199694"/>
                      </a:lnTo>
                      <a:lnTo>
                        <a:pt x="345249" y="199694"/>
                      </a:lnTo>
                      <a:lnTo>
                        <a:pt x="345249" y="194373"/>
                      </a:lnTo>
                      <a:close/>
                    </a:path>
                    <a:path w="739139" h="222884">
                      <a:moveTo>
                        <a:pt x="372503" y="222021"/>
                      </a:moveTo>
                      <a:lnTo>
                        <a:pt x="370205" y="216420"/>
                      </a:lnTo>
                      <a:lnTo>
                        <a:pt x="368058" y="211213"/>
                      </a:lnTo>
                      <a:lnTo>
                        <a:pt x="363575" y="200291"/>
                      </a:lnTo>
                      <a:lnTo>
                        <a:pt x="361848" y="196088"/>
                      </a:lnTo>
                      <a:lnTo>
                        <a:pt x="361848" y="211213"/>
                      </a:lnTo>
                      <a:lnTo>
                        <a:pt x="354253" y="211213"/>
                      </a:lnTo>
                      <a:lnTo>
                        <a:pt x="357974" y="200291"/>
                      </a:lnTo>
                      <a:lnTo>
                        <a:pt x="361848" y="211213"/>
                      </a:lnTo>
                      <a:lnTo>
                        <a:pt x="361848" y="196088"/>
                      </a:lnTo>
                      <a:lnTo>
                        <a:pt x="361149" y="194386"/>
                      </a:lnTo>
                      <a:lnTo>
                        <a:pt x="354761" y="194386"/>
                      </a:lnTo>
                      <a:lnTo>
                        <a:pt x="343916" y="222021"/>
                      </a:lnTo>
                      <a:lnTo>
                        <a:pt x="350342" y="222021"/>
                      </a:lnTo>
                      <a:lnTo>
                        <a:pt x="352374" y="216420"/>
                      </a:lnTo>
                      <a:lnTo>
                        <a:pt x="363855" y="216420"/>
                      </a:lnTo>
                      <a:lnTo>
                        <a:pt x="366001" y="222021"/>
                      </a:lnTo>
                      <a:lnTo>
                        <a:pt x="372503" y="222021"/>
                      </a:lnTo>
                      <a:close/>
                    </a:path>
                    <a:path w="739139" h="222884">
                      <a:moveTo>
                        <a:pt x="388772" y="194373"/>
                      </a:moveTo>
                      <a:lnTo>
                        <a:pt x="370967" y="194373"/>
                      </a:lnTo>
                      <a:lnTo>
                        <a:pt x="370967" y="199771"/>
                      </a:lnTo>
                      <a:lnTo>
                        <a:pt x="376872" y="199771"/>
                      </a:lnTo>
                      <a:lnTo>
                        <a:pt x="376872" y="222008"/>
                      </a:lnTo>
                      <a:lnTo>
                        <a:pt x="382866" y="222008"/>
                      </a:lnTo>
                      <a:lnTo>
                        <a:pt x="382866" y="199694"/>
                      </a:lnTo>
                      <a:lnTo>
                        <a:pt x="388772" y="199694"/>
                      </a:lnTo>
                      <a:lnTo>
                        <a:pt x="388772" y="194373"/>
                      </a:lnTo>
                      <a:close/>
                    </a:path>
                    <a:path w="739139" h="222884">
                      <a:moveTo>
                        <a:pt x="418960" y="199898"/>
                      </a:moveTo>
                      <a:lnTo>
                        <a:pt x="418477" y="199428"/>
                      </a:lnTo>
                      <a:lnTo>
                        <a:pt x="412775" y="193840"/>
                      </a:lnTo>
                      <a:lnTo>
                        <a:pt x="412775" y="203225"/>
                      </a:lnTo>
                      <a:lnTo>
                        <a:pt x="412737" y="213321"/>
                      </a:lnTo>
                      <a:lnTo>
                        <a:pt x="409168" y="217081"/>
                      </a:lnTo>
                      <a:lnTo>
                        <a:pt x="399427" y="217081"/>
                      </a:lnTo>
                      <a:lnTo>
                        <a:pt x="395630" y="213321"/>
                      </a:lnTo>
                      <a:lnTo>
                        <a:pt x="395732" y="203225"/>
                      </a:lnTo>
                      <a:lnTo>
                        <a:pt x="399427" y="199428"/>
                      </a:lnTo>
                      <a:lnTo>
                        <a:pt x="409168" y="199428"/>
                      </a:lnTo>
                      <a:lnTo>
                        <a:pt x="412775" y="203225"/>
                      </a:lnTo>
                      <a:lnTo>
                        <a:pt x="412775" y="193840"/>
                      </a:lnTo>
                      <a:lnTo>
                        <a:pt x="412610" y="193675"/>
                      </a:lnTo>
                      <a:lnTo>
                        <a:pt x="395668" y="193675"/>
                      </a:lnTo>
                      <a:lnTo>
                        <a:pt x="389521" y="199898"/>
                      </a:lnTo>
                      <a:lnTo>
                        <a:pt x="389521" y="216852"/>
                      </a:lnTo>
                      <a:lnTo>
                        <a:pt x="395630" y="222719"/>
                      </a:lnTo>
                      <a:lnTo>
                        <a:pt x="412965" y="222719"/>
                      </a:lnTo>
                      <a:lnTo>
                        <a:pt x="418642" y="217081"/>
                      </a:lnTo>
                      <a:lnTo>
                        <a:pt x="418884" y="216852"/>
                      </a:lnTo>
                      <a:lnTo>
                        <a:pt x="418960" y="199898"/>
                      </a:lnTo>
                      <a:close/>
                    </a:path>
                    <a:path w="739139" h="222884">
                      <a:moveTo>
                        <a:pt x="424218" y="70053"/>
                      </a:moveTo>
                      <a:lnTo>
                        <a:pt x="340664" y="70053"/>
                      </a:lnTo>
                      <a:lnTo>
                        <a:pt x="341299" y="72161"/>
                      </a:lnTo>
                      <a:lnTo>
                        <a:pt x="341299" y="74612"/>
                      </a:lnTo>
                      <a:lnTo>
                        <a:pt x="341033" y="75819"/>
                      </a:lnTo>
                      <a:lnTo>
                        <a:pt x="296875" y="166547"/>
                      </a:lnTo>
                      <a:lnTo>
                        <a:pt x="390588" y="166547"/>
                      </a:lnTo>
                      <a:lnTo>
                        <a:pt x="399567" y="148120"/>
                      </a:lnTo>
                      <a:lnTo>
                        <a:pt x="397637" y="149974"/>
                      </a:lnTo>
                      <a:lnTo>
                        <a:pt x="392417" y="151295"/>
                      </a:lnTo>
                      <a:lnTo>
                        <a:pt x="329438" y="151295"/>
                      </a:lnTo>
                      <a:lnTo>
                        <a:pt x="342938" y="123596"/>
                      </a:lnTo>
                      <a:lnTo>
                        <a:pt x="386842" y="123583"/>
                      </a:lnTo>
                      <a:lnTo>
                        <a:pt x="388810" y="125082"/>
                      </a:lnTo>
                      <a:lnTo>
                        <a:pt x="389839" y="127292"/>
                      </a:lnTo>
                      <a:lnTo>
                        <a:pt x="399072" y="108331"/>
                      </a:lnTo>
                      <a:lnTo>
                        <a:pt x="350367" y="108331"/>
                      </a:lnTo>
                      <a:lnTo>
                        <a:pt x="361581" y="85305"/>
                      </a:lnTo>
                      <a:lnTo>
                        <a:pt x="411988" y="85318"/>
                      </a:lnTo>
                      <a:lnTo>
                        <a:pt x="413943" y="86817"/>
                      </a:lnTo>
                      <a:lnTo>
                        <a:pt x="414985" y="89027"/>
                      </a:lnTo>
                      <a:lnTo>
                        <a:pt x="424218" y="70053"/>
                      </a:lnTo>
                      <a:close/>
                    </a:path>
                    <a:path w="739139" h="222884">
                      <a:moveTo>
                        <a:pt x="439445" y="194373"/>
                      </a:moveTo>
                      <a:lnTo>
                        <a:pt x="433425" y="194373"/>
                      </a:lnTo>
                      <a:lnTo>
                        <a:pt x="433425" y="222008"/>
                      </a:lnTo>
                      <a:lnTo>
                        <a:pt x="439445" y="222008"/>
                      </a:lnTo>
                      <a:lnTo>
                        <a:pt x="439445" y="194373"/>
                      </a:lnTo>
                      <a:close/>
                    </a:path>
                    <a:path w="739139" h="222884">
                      <a:moveTo>
                        <a:pt x="460032" y="194373"/>
                      </a:moveTo>
                      <a:lnTo>
                        <a:pt x="442226" y="194373"/>
                      </a:lnTo>
                      <a:lnTo>
                        <a:pt x="442226" y="199771"/>
                      </a:lnTo>
                      <a:lnTo>
                        <a:pt x="448132" y="199771"/>
                      </a:lnTo>
                      <a:lnTo>
                        <a:pt x="448132" y="222008"/>
                      </a:lnTo>
                      <a:lnTo>
                        <a:pt x="454126" y="222008"/>
                      </a:lnTo>
                      <a:lnTo>
                        <a:pt x="454126" y="199694"/>
                      </a:lnTo>
                      <a:lnTo>
                        <a:pt x="460032" y="199694"/>
                      </a:lnTo>
                      <a:lnTo>
                        <a:pt x="460032" y="194373"/>
                      </a:lnTo>
                      <a:close/>
                    </a:path>
                    <a:path w="739139" h="222884">
                      <a:moveTo>
                        <a:pt x="487286" y="222021"/>
                      </a:moveTo>
                      <a:lnTo>
                        <a:pt x="484987" y="216420"/>
                      </a:lnTo>
                      <a:lnTo>
                        <a:pt x="482841" y="211213"/>
                      </a:lnTo>
                      <a:lnTo>
                        <a:pt x="478358" y="200291"/>
                      </a:lnTo>
                      <a:lnTo>
                        <a:pt x="476631" y="196088"/>
                      </a:lnTo>
                      <a:lnTo>
                        <a:pt x="476631" y="211213"/>
                      </a:lnTo>
                      <a:lnTo>
                        <a:pt x="469036" y="211213"/>
                      </a:lnTo>
                      <a:lnTo>
                        <a:pt x="472757" y="200291"/>
                      </a:lnTo>
                      <a:lnTo>
                        <a:pt x="476631" y="211213"/>
                      </a:lnTo>
                      <a:lnTo>
                        <a:pt x="476631" y="196088"/>
                      </a:lnTo>
                      <a:lnTo>
                        <a:pt x="475932" y="194386"/>
                      </a:lnTo>
                      <a:lnTo>
                        <a:pt x="469544" y="194386"/>
                      </a:lnTo>
                      <a:lnTo>
                        <a:pt x="458698" y="222021"/>
                      </a:lnTo>
                      <a:lnTo>
                        <a:pt x="465124" y="222021"/>
                      </a:lnTo>
                      <a:lnTo>
                        <a:pt x="467156" y="216420"/>
                      </a:lnTo>
                      <a:lnTo>
                        <a:pt x="478637" y="216420"/>
                      </a:lnTo>
                      <a:lnTo>
                        <a:pt x="480783" y="222021"/>
                      </a:lnTo>
                      <a:lnTo>
                        <a:pt x="487286" y="222021"/>
                      </a:lnTo>
                      <a:close/>
                    </a:path>
                    <a:path w="739139" h="222884">
                      <a:moveTo>
                        <a:pt x="505091" y="216560"/>
                      </a:moveTo>
                      <a:lnTo>
                        <a:pt x="495655" y="216560"/>
                      </a:lnTo>
                      <a:lnTo>
                        <a:pt x="495655" y="194373"/>
                      </a:lnTo>
                      <a:lnTo>
                        <a:pt x="489623" y="194373"/>
                      </a:lnTo>
                      <a:lnTo>
                        <a:pt x="489623" y="222008"/>
                      </a:lnTo>
                      <a:lnTo>
                        <a:pt x="505091" y="222008"/>
                      </a:lnTo>
                      <a:lnTo>
                        <a:pt x="505091" y="216560"/>
                      </a:lnTo>
                      <a:close/>
                    </a:path>
                    <a:path w="739139" h="222884">
                      <a:moveTo>
                        <a:pt x="514324" y="194373"/>
                      </a:moveTo>
                      <a:lnTo>
                        <a:pt x="508292" y="194373"/>
                      </a:lnTo>
                      <a:lnTo>
                        <a:pt x="508292" y="222008"/>
                      </a:lnTo>
                      <a:lnTo>
                        <a:pt x="514324" y="222008"/>
                      </a:lnTo>
                      <a:lnTo>
                        <a:pt x="514324" y="194373"/>
                      </a:lnTo>
                      <a:close/>
                    </a:path>
                    <a:path w="739139" h="222884">
                      <a:moveTo>
                        <a:pt x="528332" y="75082"/>
                      </a:moveTo>
                      <a:lnTo>
                        <a:pt x="518769" y="71843"/>
                      </a:lnTo>
                      <a:lnTo>
                        <a:pt x="509104" y="69469"/>
                      </a:lnTo>
                      <a:lnTo>
                        <a:pt x="499986" y="67843"/>
                      </a:lnTo>
                      <a:lnTo>
                        <a:pt x="492048" y="66878"/>
                      </a:lnTo>
                      <a:lnTo>
                        <a:pt x="463892" y="68326"/>
                      </a:lnTo>
                      <a:lnTo>
                        <a:pt x="447408" y="76530"/>
                      </a:lnTo>
                      <a:lnTo>
                        <a:pt x="439610" y="87363"/>
                      </a:lnTo>
                      <a:lnTo>
                        <a:pt x="437515" y="96685"/>
                      </a:lnTo>
                      <a:lnTo>
                        <a:pt x="439026" y="107429"/>
                      </a:lnTo>
                      <a:lnTo>
                        <a:pt x="443979" y="115366"/>
                      </a:lnTo>
                      <a:lnTo>
                        <a:pt x="451827" y="120954"/>
                      </a:lnTo>
                      <a:lnTo>
                        <a:pt x="462013" y="124701"/>
                      </a:lnTo>
                      <a:lnTo>
                        <a:pt x="475119" y="128295"/>
                      </a:lnTo>
                      <a:lnTo>
                        <a:pt x="484530" y="131711"/>
                      </a:lnTo>
                      <a:lnTo>
                        <a:pt x="490156" y="135775"/>
                      </a:lnTo>
                      <a:lnTo>
                        <a:pt x="491921" y="141287"/>
                      </a:lnTo>
                      <a:lnTo>
                        <a:pt x="488886" y="148437"/>
                      </a:lnTo>
                      <a:lnTo>
                        <a:pt x="481520" y="151904"/>
                      </a:lnTo>
                      <a:lnTo>
                        <a:pt x="471563" y="152781"/>
                      </a:lnTo>
                      <a:lnTo>
                        <a:pt x="460781" y="152158"/>
                      </a:lnTo>
                      <a:lnTo>
                        <a:pt x="454253" y="151180"/>
                      </a:lnTo>
                      <a:lnTo>
                        <a:pt x="443357" y="148628"/>
                      </a:lnTo>
                      <a:lnTo>
                        <a:pt x="432993" y="144310"/>
                      </a:lnTo>
                      <a:lnTo>
                        <a:pt x="428040" y="137998"/>
                      </a:lnTo>
                      <a:lnTo>
                        <a:pt x="418261" y="158254"/>
                      </a:lnTo>
                      <a:lnTo>
                        <a:pt x="430898" y="163360"/>
                      </a:lnTo>
                      <a:lnTo>
                        <a:pt x="444538" y="167132"/>
                      </a:lnTo>
                      <a:lnTo>
                        <a:pt x="457923" y="169456"/>
                      </a:lnTo>
                      <a:lnTo>
                        <a:pt x="469785" y="170256"/>
                      </a:lnTo>
                      <a:lnTo>
                        <a:pt x="493318" y="166814"/>
                      </a:lnTo>
                      <a:lnTo>
                        <a:pt x="507961" y="158127"/>
                      </a:lnTo>
                      <a:lnTo>
                        <a:pt x="515543" y="146685"/>
                      </a:lnTo>
                      <a:lnTo>
                        <a:pt x="517893" y="134937"/>
                      </a:lnTo>
                      <a:lnTo>
                        <a:pt x="516890" y="126733"/>
                      </a:lnTo>
                      <a:lnTo>
                        <a:pt x="512991" y="119011"/>
                      </a:lnTo>
                      <a:lnTo>
                        <a:pt x="505561" y="112268"/>
                      </a:lnTo>
                      <a:lnTo>
                        <a:pt x="494017" y="107010"/>
                      </a:lnTo>
                      <a:lnTo>
                        <a:pt x="472224" y="100838"/>
                      </a:lnTo>
                      <a:lnTo>
                        <a:pt x="464858" y="97053"/>
                      </a:lnTo>
                      <a:lnTo>
                        <a:pt x="462165" y="91478"/>
                      </a:lnTo>
                      <a:lnTo>
                        <a:pt x="465048" y="86169"/>
                      </a:lnTo>
                      <a:lnTo>
                        <a:pt x="472046" y="83362"/>
                      </a:lnTo>
                      <a:lnTo>
                        <a:pt x="481317" y="82461"/>
                      </a:lnTo>
                      <a:lnTo>
                        <a:pt x="491020" y="82905"/>
                      </a:lnTo>
                      <a:lnTo>
                        <a:pt x="499110" y="84048"/>
                      </a:lnTo>
                      <a:lnTo>
                        <a:pt x="506882" y="85864"/>
                      </a:lnTo>
                      <a:lnTo>
                        <a:pt x="514146" y="88201"/>
                      </a:lnTo>
                      <a:lnTo>
                        <a:pt x="520776" y="90906"/>
                      </a:lnTo>
                      <a:lnTo>
                        <a:pt x="528332" y="75082"/>
                      </a:lnTo>
                      <a:close/>
                    </a:path>
                    <a:path w="739139" h="222884">
                      <a:moveTo>
                        <a:pt x="545160" y="222021"/>
                      </a:moveTo>
                      <a:lnTo>
                        <a:pt x="542861" y="216420"/>
                      </a:lnTo>
                      <a:lnTo>
                        <a:pt x="540727" y="211213"/>
                      </a:lnTo>
                      <a:lnTo>
                        <a:pt x="536232" y="200291"/>
                      </a:lnTo>
                      <a:lnTo>
                        <a:pt x="534504" y="196088"/>
                      </a:lnTo>
                      <a:lnTo>
                        <a:pt x="534504" y="211213"/>
                      </a:lnTo>
                      <a:lnTo>
                        <a:pt x="526910" y="211213"/>
                      </a:lnTo>
                      <a:lnTo>
                        <a:pt x="530631" y="200291"/>
                      </a:lnTo>
                      <a:lnTo>
                        <a:pt x="534504" y="211213"/>
                      </a:lnTo>
                      <a:lnTo>
                        <a:pt x="534504" y="196088"/>
                      </a:lnTo>
                      <a:lnTo>
                        <a:pt x="533806" y="194386"/>
                      </a:lnTo>
                      <a:lnTo>
                        <a:pt x="527418" y="194386"/>
                      </a:lnTo>
                      <a:lnTo>
                        <a:pt x="516572" y="222021"/>
                      </a:lnTo>
                      <a:lnTo>
                        <a:pt x="522998" y="222021"/>
                      </a:lnTo>
                      <a:lnTo>
                        <a:pt x="525030" y="216420"/>
                      </a:lnTo>
                      <a:lnTo>
                        <a:pt x="536511" y="216420"/>
                      </a:lnTo>
                      <a:lnTo>
                        <a:pt x="538657" y="222021"/>
                      </a:lnTo>
                      <a:lnTo>
                        <a:pt x="545160" y="222021"/>
                      </a:lnTo>
                      <a:close/>
                    </a:path>
                    <a:path w="739139" h="222884">
                      <a:moveTo>
                        <a:pt x="571373" y="194373"/>
                      </a:moveTo>
                      <a:lnTo>
                        <a:pt x="565734" y="194373"/>
                      </a:lnTo>
                      <a:lnTo>
                        <a:pt x="565861" y="212572"/>
                      </a:lnTo>
                      <a:lnTo>
                        <a:pt x="552970" y="194373"/>
                      </a:lnTo>
                      <a:lnTo>
                        <a:pt x="547535" y="194373"/>
                      </a:lnTo>
                      <a:lnTo>
                        <a:pt x="547535" y="222008"/>
                      </a:lnTo>
                      <a:lnTo>
                        <a:pt x="553212" y="222008"/>
                      </a:lnTo>
                      <a:lnTo>
                        <a:pt x="553059" y="203454"/>
                      </a:lnTo>
                      <a:lnTo>
                        <a:pt x="566013" y="222008"/>
                      </a:lnTo>
                      <a:lnTo>
                        <a:pt x="571373" y="222008"/>
                      </a:lnTo>
                      <a:lnTo>
                        <a:pt x="571373" y="194373"/>
                      </a:lnTo>
                      <a:close/>
                    </a:path>
                    <a:path w="739139" h="222884">
                      <a:moveTo>
                        <a:pt x="591680" y="194386"/>
                      </a:moveTo>
                      <a:lnTo>
                        <a:pt x="575983" y="194386"/>
                      </a:lnTo>
                      <a:lnTo>
                        <a:pt x="575983" y="222021"/>
                      </a:lnTo>
                      <a:lnTo>
                        <a:pt x="591642" y="222021"/>
                      </a:lnTo>
                      <a:lnTo>
                        <a:pt x="591642" y="216496"/>
                      </a:lnTo>
                      <a:lnTo>
                        <a:pt x="581977" y="216496"/>
                      </a:lnTo>
                      <a:lnTo>
                        <a:pt x="581977" y="210591"/>
                      </a:lnTo>
                      <a:lnTo>
                        <a:pt x="591451" y="210591"/>
                      </a:lnTo>
                      <a:lnTo>
                        <a:pt x="591451" y="205232"/>
                      </a:lnTo>
                      <a:lnTo>
                        <a:pt x="581977" y="205232"/>
                      </a:lnTo>
                      <a:lnTo>
                        <a:pt x="581977" y="199745"/>
                      </a:lnTo>
                      <a:lnTo>
                        <a:pt x="591680" y="199745"/>
                      </a:lnTo>
                      <a:lnTo>
                        <a:pt x="591680" y="194386"/>
                      </a:lnTo>
                      <a:close/>
                    </a:path>
                    <a:path w="739139" h="222884">
                      <a:moveTo>
                        <a:pt x="634619" y="206756"/>
                      </a:moveTo>
                      <a:lnTo>
                        <a:pt x="620763" y="206756"/>
                      </a:lnTo>
                      <a:lnTo>
                        <a:pt x="620763" y="211874"/>
                      </a:lnTo>
                      <a:lnTo>
                        <a:pt x="628015" y="211874"/>
                      </a:lnTo>
                      <a:lnTo>
                        <a:pt x="627735" y="213169"/>
                      </a:lnTo>
                      <a:lnTo>
                        <a:pt x="627532" y="213677"/>
                      </a:lnTo>
                      <a:lnTo>
                        <a:pt x="625741" y="216192"/>
                      </a:lnTo>
                      <a:lnTo>
                        <a:pt x="623354" y="217246"/>
                      </a:lnTo>
                      <a:lnTo>
                        <a:pt x="615988" y="217246"/>
                      </a:lnTo>
                      <a:lnTo>
                        <a:pt x="612470" y="213487"/>
                      </a:lnTo>
                      <a:lnTo>
                        <a:pt x="612470" y="202920"/>
                      </a:lnTo>
                      <a:lnTo>
                        <a:pt x="615950" y="199199"/>
                      </a:lnTo>
                      <a:lnTo>
                        <a:pt x="622452" y="199199"/>
                      </a:lnTo>
                      <a:lnTo>
                        <a:pt x="623862" y="199555"/>
                      </a:lnTo>
                      <a:lnTo>
                        <a:pt x="626440" y="201002"/>
                      </a:lnTo>
                      <a:lnTo>
                        <a:pt x="626986" y="201472"/>
                      </a:lnTo>
                      <a:lnTo>
                        <a:pt x="628015" y="202793"/>
                      </a:lnTo>
                      <a:lnTo>
                        <a:pt x="632904" y="199936"/>
                      </a:lnTo>
                      <a:lnTo>
                        <a:pt x="631685" y="198221"/>
                      </a:lnTo>
                      <a:lnTo>
                        <a:pt x="631177" y="197637"/>
                      </a:lnTo>
                      <a:lnTo>
                        <a:pt x="627621" y="194729"/>
                      </a:lnTo>
                      <a:lnTo>
                        <a:pt x="624293" y="193636"/>
                      </a:lnTo>
                      <a:lnTo>
                        <a:pt x="612355" y="193636"/>
                      </a:lnTo>
                      <a:lnTo>
                        <a:pt x="606552" y="199593"/>
                      </a:lnTo>
                      <a:lnTo>
                        <a:pt x="606552" y="216700"/>
                      </a:lnTo>
                      <a:lnTo>
                        <a:pt x="612305" y="222605"/>
                      </a:lnTo>
                      <a:lnTo>
                        <a:pt x="626046" y="222605"/>
                      </a:lnTo>
                      <a:lnTo>
                        <a:pt x="630745" y="219900"/>
                      </a:lnTo>
                      <a:lnTo>
                        <a:pt x="632980" y="215442"/>
                      </a:lnTo>
                      <a:lnTo>
                        <a:pt x="634149" y="213131"/>
                      </a:lnTo>
                      <a:lnTo>
                        <a:pt x="634619" y="210629"/>
                      </a:lnTo>
                      <a:lnTo>
                        <a:pt x="634619" y="206756"/>
                      </a:lnTo>
                      <a:close/>
                    </a:path>
                    <a:path w="739139" h="222884">
                      <a:moveTo>
                        <a:pt x="658571" y="222008"/>
                      </a:moveTo>
                      <a:lnTo>
                        <a:pt x="650633" y="210337"/>
                      </a:lnTo>
                      <a:lnTo>
                        <a:pt x="651649" y="210032"/>
                      </a:lnTo>
                      <a:lnTo>
                        <a:pt x="652741" y="209753"/>
                      </a:lnTo>
                      <a:lnTo>
                        <a:pt x="655828" y="207759"/>
                      </a:lnTo>
                      <a:lnTo>
                        <a:pt x="656310" y="206463"/>
                      </a:lnTo>
                      <a:lnTo>
                        <a:pt x="656818" y="205092"/>
                      </a:lnTo>
                      <a:lnTo>
                        <a:pt x="656818" y="200952"/>
                      </a:lnTo>
                      <a:lnTo>
                        <a:pt x="656386" y="199301"/>
                      </a:lnTo>
                      <a:lnTo>
                        <a:pt x="653402" y="194640"/>
                      </a:lnTo>
                      <a:lnTo>
                        <a:pt x="650938" y="194475"/>
                      </a:lnTo>
                      <a:lnTo>
                        <a:pt x="650938" y="199974"/>
                      </a:lnTo>
                      <a:lnTo>
                        <a:pt x="650938" y="203454"/>
                      </a:lnTo>
                      <a:lnTo>
                        <a:pt x="650786" y="204152"/>
                      </a:lnTo>
                      <a:lnTo>
                        <a:pt x="649490" y="206311"/>
                      </a:lnTo>
                      <a:lnTo>
                        <a:pt x="647966" y="206463"/>
                      </a:lnTo>
                      <a:lnTo>
                        <a:pt x="644169" y="206463"/>
                      </a:lnTo>
                      <a:lnTo>
                        <a:pt x="644169" y="199186"/>
                      </a:lnTo>
                      <a:lnTo>
                        <a:pt x="648627" y="199186"/>
                      </a:lnTo>
                      <a:lnTo>
                        <a:pt x="650938" y="199974"/>
                      </a:lnTo>
                      <a:lnTo>
                        <a:pt x="650938" y="194475"/>
                      </a:lnTo>
                      <a:lnTo>
                        <a:pt x="649605" y="194373"/>
                      </a:lnTo>
                      <a:lnTo>
                        <a:pt x="638289" y="194373"/>
                      </a:lnTo>
                      <a:lnTo>
                        <a:pt x="638289" y="222008"/>
                      </a:lnTo>
                      <a:lnTo>
                        <a:pt x="644131" y="222008"/>
                      </a:lnTo>
                      <a:lnTo>
                        <a:pt x="644131" y="210337"/>
                      </a:lnTo>
                      <a:lnTo>
                        <a:pt x="651446" y="222008"/>
                      </a:lnTo>
                      <a:lnTo>
                        <a:pt x="658571" y="222008"/>
                      </a:lnTo>
                      <a:close/>
                    </a:path>
                    <a:path w="739139" h="222884">
                      <a:moveTo>
                        <a:pt x="688987" y="199898"/>
                      </a:moveTo>
                      <a:lnTo>
                        <a:pt x="688505" y="199428"/>
                      </a:lnTo>
                      <a:lnTo>
                        <a:pt x="682802" y="193840"/>
                      </a:lnTo>
                      <a:lnTo>
                        <a:pt x="682802" y="203225"/>
                      </a:lnTo>
                      <a:lnTo>
                        <a:pt x="682764" y="213321"/>
                      </a:lnTo>
                      <a:lnTo>
                        <a:pt x="679196" y="217081"/>
                      </a:lnTo>
                      <a:lnTo>
                        <a:pt x="669455" y="217081"/>
                      </a:lnTo>
                      <a:lnTo>
                        <a:pt x="665657" y="213321"/>
                      </a:lnTo>
                      <a:lnTo>
                        <a:pt x="665772" y="203225"/>
                      </a:lnTo>
                      <a:lnTo>
                        <a:pt x="669455" y="199428"/>
                      </a:lnTo>
                      <a:lnTo>
                        <a:pt x="679196" y="199428"/>
                      </a:lnTo>
                      <a:lnTo>
                        <a:pt x="682802" y="203225"/>
                      </a:lnTo>
                      <a:lnTo>
                        <a:pt x="682802" y="193840"/>
                      </a:lnTo>
                      <a:lnTo>
                        <a:pt x="682637" y="193675"/>
                      </a:lnTo>
                      <a:lnTo>
                        <a:pt x="665695" y="193675"/>
                      </a:lnTo>
                      <a:lnTo>
                        <a:pt x="659549" y="199898"/>
                      </a:lnTo>
                      <a:lnTo>
                        <a:pt x="659549" y="216852"/>
                      </a:lnTo>
                      <a:lnTo>
                        <a:pt x="665657" y="222719"/>
                      </a:lnTo>
                      <a:lnTo>
                        <a:pt x="682993" y="222719"/>
                      </a:lnTo>
                      <a:lnTo>
                        <a:pt x="688682" y="217081"/>
                      </a:lnTo>
                      <a:lnTo>
                        <a:pt x="688911" y="216852"/>
                      </a:lnTo>
                      <a:lnTo>
                        <a:pt x="688987" y="199898"/>
                      </a:lnTo>
                      <a:close/>
                    </a:path>
                    <a:path w="739139" h="222884">
                      <a:moveTo>
                        <a:pt x="715200" y="194373"/>
                      </a:moveTo>
                      <a:lnTo>
                        <a:pt x="709333" y="194373"/>
                      </a:lnTo>
                      <a:lnTo>
                        <a:pt x="709333" y="215049"/>
                      </a:lnTo>
                      <a:lnTo>
                        <a:pt x="707923" y="217360"/>
                      </a:lnTo>
                      <a:lnTo>
                        <a:pt x="702602" y="217360"/>
                      </a:lnTo>
                      <a:lnTo>
                        <a:pt x="700798" y="216814"/>
                      </a:lnTo>
                      <a:lnTo>
                        <a:pt x="698842" y="214185"/>
                      </a:lnTo>
                      <a:lnTo>
                        <a:pt x="698804" y="212928"/>
                      </a:lnTo>
                      <a:lnTo>
                        <a:pt x="698804" y="194373"/>
                      </a:lnTo>
                      <a:lnTo>
                        <a:pt x="692924" y="194373"/>
                      </a:lnTo>
                      <a:lnTo>
                        <a:pt x="692924" y="213360"/>
                      </a:lnTo>
                      <a:lnTo>
                        <a:pt x="693039" y="215087"/>
                      </a:lnTo>
                      <a:lnTo>
                        <a:pt x="695274" y="220878"/>
                      </a:lnTo>
                      <a:lnTo>
                        <a:pt x="699744" y="222758"/>
                      </a:lnTo>
                      <a:lnTo>
                        <a:pt x="707605" y="222758"/>
                      </a:lnTo>
                      <a:lnTo>
                        <a:pt x="711123" y="221551"/>
                      </a:lnTo>
                      <a:lnTo>
                        <a:pt x="713244" y="218490"/>
                      </a:lnTo>
                      <a:lnTo>
                        <a:pt x="715048" y="215912"/>
                      </a:lnTo>
                      <a:lnTo>
                        <a:pt x="715200" y="212775"/>
                      </a:lnTo>
                      <a:lnTo>
                        <a:pt x="715200" y="194373"/>
                      </a:lnTo>
                      <a:close/>
                    </a:path>
                    <a:path w="739139" h="222884">
                      <a:moveTo>
                        <a:pt x="738555" y="201180"/>
                      </a:moveTo>
                      <a:lnTo>
                        <a:pt x="738149" y="199390"/>
                      </a:lnTo>
                      <a:lnTo>
                        <a:pt x="735190" y="195313"/>
                      </a:lnTo>
                      <a:lnTo>
                        <a:pt x="732688" y="194602"/>
                      </a:lnTo>
                      <a:lnTo>
                        <a:pt x="732688" y="205498"/>
                      </a:lnTo>
                      <a:lnTo>
                        <a:pt x="730846" y="206438"/>
                      </a:lnTo>
                      <a:lnTo>
                        <a:pt x="725919" y="206438"/>
                      </a:lnTo>
                      <a:lnTo>
                        <a:pt x="725919" y="199390"/>
                      </a:lnTo>
                      <a:lnTo>
                        <a:pt x="729678" y="199390"/>
                      </a:lnTo>
                      <a:lnTo>
                        <a:pt x="731901" y="199936"/>
                      </a:lnTo>
                      <a:lnTo>
                        <a:pt x="732586" y="201180"/>
                      </a:lnTo>
                      <a:lnTo>
                        <a:pt x="732688" y="205498"/>
                      </a:lnTo>
                      <a:lnTo>
                        <a:pt x="732688" y="194602"/>
                      </a:lnTo>
                      <a:lnTo>
                        <a:pt x="729081" y="194373"/>
                      </a:lnTo>
                      <a:lnTo>
                        <a:pt x="719886" y="194373"/>
                      </a:lnTo>
                      <a:lnTo>
                        <a:pt x="719886" y="222008"/>
                      </a:lnTo>
                      <a:lnTo>
                        <a:pt x="725881" y="222008"/>
                      </a:lnTo>
                      <a:lnTo>
                        <a:pt x="725881" y="211518"/>
                      </a:lnTo>
                      <a:lnTo>
                        <a:pt x="731354" y="211518"/>
                      </a:lnTo>
                      <a:lnTo>
                        <a:pt x="734098" y="211201"/>
                      </a:lnTo>
                      <a:lnTo>
                        <a:pt x="737743" y="207645"/>
                      </a:lnTo>
                      <a:lnTo>
                        <a:pt x="738174" y="206438"/>
                      </a:lnTo>
                      <a:lnTo>
                        <a:pt x="738517" y="205498"/>
                      </a:lnTo>
                      <a:lnTo>
                        <a:pt x="738555" y="201180"/>
                      </a:lnTo>
                      <a:close/>
                    </a:path>
                  </a:pathLst>
                </a:custGeom>
                <a:solidFill>
                  <a:srgbClr val="00675F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</p:grpSp>
          <p:pic>
            <p:nvPicPr>
              <p:cNvPr id="395" name="object 225">
                <a:extLst>
                  <a:ext uri="{FF2B5EF4-FFF2-40B4-BE49-F238E27FC236}">
                    <a16:creationId xmlns:a16="http://schemas.microsoft.com/office/drawing/2014/main" id="{E0AC63B1-6153-0CC4-6EB2-A79B6825BD38}"/>
                  </a:ext>
                </a:extLst>
              </p:cNvPr>
              <p:cNvPicPr/>
              <p:nvPr/>
            </p:nvPicPr>
            <p:blipFill>
              <a:blip r:embed="rId41" cstate="print"/>
              <a:stretch>
                <a:fillRect/>
              </a:stretch>
            </p:blipFill>
            <p:spPr>
              <a:xfrm>
                <a:off x="7744857" y="4912990"/>
                <a:ext cx="801414" cy="255530"/>
              </a:xfrm>
              <a:prstGeom prst="rect">
                <a:avLst/>
              </a:prstGeom>
            </p:spPr>
          </p:pic>
          <p:sp>
            <p:nvSpPr>
              <p:cNvPr id="396" name="object 226">
                <a:extLst>
                  <a:ext uri="{FF2B5EF4-FFF2-40B4-BE49-F238E27FC236}">
                    <a16:creationId xmlns:a16="http://schemas.microsoft.com/office/drawing/2014/main" id="{B7F7C6E1-4123-EA8D-DBB5-5DA7012CDCE4}"/>
                  </a:ext>
                </a:extLst>
              </p:cNvPr>
              <p:cNvSpPr txBox="1"/>
              <p:nvPr/>
            </p:nvSpPr>
            <p:spPr>
              <a:xfrm>
                <a:off x="8214449" y="4739193"/>
                <a:ext cx="559365" cy="134792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b="1" spc="70" dirty="0">
                    <a:solidFill>
                      <a:srgbClr val="58595B"/>
                    </a:solidFill>
                    <a:cs typeface="Calibri"/>
                  </a:rPr>
                  <a:t>Egypt</a:t>
                </a:r>
                <a:endParaRPr sz="700" dirty="0">
                  <a:cs typeface="Calibri"/>
                </a:endParaRPr>
              </a:p>
            </p:txBody>
          </p:sp>
          <p:pic>
            <p:nvPicPr>
              <p:cNvPr id="397" name="object 227">
                <a:extLst>
                  <a:ext uri="{FF2B5EF4-FFF2-40B4-BE49-F238E27FC236}">
                    <a16:creationId xmlns:a16="http://schemas.microsoft.com/office/drawing/2014/main" id="{9D260987-8A43-47EA-60A2-8A0B764F54ED}"/>
                  </a:ext>
                </a:extLst>
              </p:cNvPr>
              <p:cNvPicPr/>
              <p:nvPr/>
            </p:nvPicPr>
            <p:blipFill>
              <a:blip r:embed="rId42" cstate="print"/>
              <a:stretch>
                <a:fillRect/>
              </a:stretch>
            </p:blipFill>
            <p:spPr>
              <a:xfrm>
                <a:off x="8820169" y="5586358"/>
                <a:ext cx="801414" cy="255530"/>
              </a:xfrm>
              <a:prstGeom prst="rect">
                <a:avLst/>
              </a:prstGeom>
            </p:spPr>
          </p:pic>
          <p:sp>
            <p:nvSpPr>
              <p:cNvPr id="398" name="object 228">
                <a:extLst>
                  <a:ext uri="{FF2B5EF4-FFF2-40B4-BE49-F238E27FC236}">
                    <a16:creationId xmlns:a16="http://schemas.microsoft.com/office/drawing/2014/main" id="{1DCE49E5-4B8D-1428-5E69-2C5ABA0A76B5}"/>
                  </a:ext>
                </a:extLst>
              </p:cNvPr>
              <p:cNvSpPr txBox="1"/>
              <p:nvPr/>
            </p:nvSpPr>
            <p:spPr>
              <a:xfrm>
                <a:off x="8807473" y="5394564"/>
                <a:ext cx="766174" cy="134792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b="1" spc="50" dirty="0">
                    <a:solidFill>
                      <a:srgbClr val="58595B"/>
                    </a:solidFill>
                    <a:cs typeface="Calibri"/>
                  </a:rPr>
                  <a:t>Ethiopia</a:t>
                </a:r>
                <a:endParaRPr sz="700" dirty="0">
                  <a:cs typeface="Calibri"/>
                </a:endParaRPr>
              </a:p>
            </p:txBody>
          </p:sp>
          <p:sp>
            <p:nvSpPr>
              <p:cNvPr id="399" name="object 229">
                <a:extLst>
                  <a:ext uri="{FF2B5EF4-FFF2-40B4-BE49-F238E27FC236}">
                    <a16:creationId xmlns:a16="http://schemas.microsoft.com/office/drawing/2014/main" id="{7A63D7B5-BD3A-A331-A923-9A47E6F082D2}"/>
                  </a:ext>
                </a:extLst>
              </p:cNvPr>
              <p:cNvSpPr txBox="1"/>
              <p:nvPr/>
            </p:nvSpPr>
            <p:spPr>
              <a:xfrm>
                <a:off x="9311650" y="3897234"/>
                <a:ext cx="759460" cy="120546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b="1" spc="75" dirty="0">
                    <a:solidFill>
                      <a:srgbClr val="58595B"/>
                    </a:solidFill>
                    <a:cs typeface="Calibri"/>
                  </a:rPr>
                  <a:t>Saudi</a:t>
                </a:r>
                <a:r>
                  <a:rPr sz="700" b="1" spc="70" dirty="0">
                    <a:solidFill>
                      <a:srgbClr val="58595B"/>
                    </a:solidFill>
                    <a:cs typeface="Calibri"/>
                  </a:rPr>
                  <a:t> </a:t>
                </a:r>
                <a:r>
                  <a:rPr sz="700" b="1" spc="80" dirty="0">
                    <a:solidFill>
                      <a:srgbClr val="58595B"/>
                    </a:solidFill>
                    <a:cs typeface="Calibri"/>
                  </a:rPr>
                  <a:t>Arabia</a:t>
                </a:r>
                <a:endParaRPr sz="700" dirty="0">
                  <a:cs typeface="Calibri"/>
                </a:endParaRPr>
              </a:p>
            </p:txBody>
          </p:sp>
          <p:pic>
            <p:nvPicPr>
              <p:cNvPr id="400" name="object 230">
                <a:extLst>
                  <a:ext uri="{FF2B5EF4-FFF2-40B4-BE49-F238E27FC236}">
                    <a16:creationId xmlns:a16="http://schemas.microsoft.com/office/drawing/2014/main" id="{1929B28B-F326-A3B9-5FCA-FEBBB1A7C85E}"/>
                  </a:ext>
                </a:extLst>
              </p:cNvPr>
              <p:cNvPicPr/>
              <p:nvPr/>
            </p:nvPicPr>
            <p:blipFill>
              <a:blip r:embed="rId43" cstate="print"/>
              <a:stretch>
                <a:fillRect/>
              </a:stretch>
            </p:blipFill>
            <p:spPr>
              <a:xfrm>
                <a:off x="9324375" y="5078050"/>
                <a:ext cx="818630" cy="261031"/>
              </a:xfrm>
              <a:prstGeom prst="rect">
                <a:avLst/>
              </a:prstGeom>
            </p:spPr>
          </p:pic>
          <p:pic>
            <p:nvPicPr>
              <p:cNvPr id="401" name="object 231">
                <a:extLst>
                  <a:ext uri="{FF2B5EF4-FFF2-40B4-BE49-F238E27FC236}">
                    <a16:creationId xmlns:a16="http://schemas.microsoft.com/office/drawing/2014/main" id="{0A92A604-69FF-2851-B7E1-C6F4377B94C5}"/>
                  </a:ext>
                </a:extLst>
              </p:cNvPr>
              <p:cNvPicPr/>
              <p:nvPr/>
            </p:nvPicPr>
            <p:blipFill>
              <a:blip r:embed="rId44" cstate="print"/>
              <a:stretch>
                <a:fillRect/>
              </a:stretch>
            </p:blipFill>
            <p:spPr>
              <a:xfrm>
                <a:off x="9327135" y="4731382"/>
                <a:ext cx="967686" cy="252874"/>
              </a:xfrm>
              <a:prstGeom prst="rect">
                <a:avLst/>
              </a:prstGeom>
            </p:spPr>
          </p:pic>
          <p:grpSp>
            <p:nvGrpSpPr>
              <p:cNvPr id="402" name="object 232">
                <a:extLst>
                  <a:ext uri="{FF2B5EF4-FFF2-40B4-BE49-F238E27FC236}">
                    <a16:creationId xmlns:a16="http://schemas.microsoft.com/office/drawing/2014/main" id="{AFC3CADD-403E-CD76-8F0E-35B9B425ECD4}"/>
                  </a:ext>
                </a:extLst>
              </p:cNvPr>
              <p:cNvGrpSpPr/>
              <p:nvPr/>
            </p:nvGrpSpPr>
            <p:grpSpPr>
              <a:xfrm>
                <a:off x="9324373" y="1473884"/>
                <a:ext cx="1849755" cy="3157855"/>
                <a:chOff x="3447200" y="917087"/>
                <a:chExt cx="1849755" cy="3157855"/>
              </a:xfrm>
            </p:grpSpPr>
            <p:pic>
              <p:nvPicPr>
                <p:cNvPr id="447" name="object 233">
                  <a:extLst>
                    <a:ext uri="{FF2B5EF4-FFF2-40B4-BE49-F238E27FC236}">
                      <a16:creationId xmlns:a16="http://schemas.microsoft.com/office/drawing/2014/main" id="{1C7F8A5D-A338-36BF-0AF8-2870107323CE}"/>
                    </a:ext>
                  </a:extLst>
                </p:cNvPr>
                <p:cNvPicPr/>
                <p:nvPr/>
              </p:nvPicPr>
              <p:blipFill>
                <a:blip r:embed="rId45" cstate="print"/>
                <a:stretch>
                  <a:fillRect/>
                </a:stretch>
              </p:blipFill>
              <p:spPr>
                <a:xfrm>
                  <a:off x="3456413" y="3624649"/>
                  <a:ext cx="111645" cy="95859"/>
                </a:xfrm>
                <a:prstGeom prst="rect">
                  <a:avLst/>
                </a:prstGeom>
              </p:spPr>
            </p:pic>
            <p:pic>
              <p:nvPicPr>
                <p:cNvPr id="448" name="object 234">
                  <a:extLst>
                    <a:ext uri="{FF2B5EF4-FFF2-40B4-BE49-F238E27FC236}">
                      <a16:creationId xmlns:a16="http://schemas.microsoft.com/office/drawing/2014/main" id="{DE5C9807-CF1A-F904-7C44-106AAAF7377B}"/>
                    </a:ext>
                  </a:extLst>
                </p:cNvPr>
                <p:cNvPicPr/>
                <p:nvPr/>
              </p:nvPicPr>
              <p:blipFill>
                <a:blip r:embed="rId46" cstate="print"/>
                <a:stretch>
                  <a:fillRect/>
                </a:stretch>
              </p:blipFill>
              <p:spPr>
                <a:xfrm>
                  <a:off x="3515179" y="3532261"/>
                  <a:ext cx="238251" cy="69212"/>
                </a:xfrm>
                <a:prstGeom prst="rect">
                  <a:avLst/>
                </a:prstGeom>
              </p:spPr>
            </p:pic>
            <p:sp>
              <p:nvSpPr>
                <p:cNvPr id="449" name="object 235">
                  <a:extLst>
                    <a:ext uri="{FF2B5EF4-FFF2-40B4-BE49-F238E27FC236}">
                      <a16:creationId xmlns:a16="http://schemas.microsoft.com/office/drawing/2014/main" id="{D9DE5CCE-EE77-6450-0EA3-560E8C0886E1}"/>
                    </a:ext>
                  </a:extLst>
                </p:cNvPr>
                <p:cNvSpPr/>
                <p:nvPr/>
              </p:nvSpPr>
              <p:spPr>
                <a:xfrm>
                  <a:off x="3447199" y="3614089"/>
                  <a:ext cx="626110" cy="1257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26110" h="125729">
                      <a:moveTo>
                        <a:pt x="266014" y="0"/>
                      </a:moveTo>
                      <a:lnTo>
                        <a:pt x="192862" y="4622"/>
                      </a:lnTo>
                      <a:lnTo>
                        <a:pt x="152984" y="27266"/>
                      </a:lnTo>
                      <a:lnTo>
                        <a:pt x="139712" y="67906"/>
                      </a:lnTo>
                      <a:lnTo>
                        <a:pt x="132067" y="85471"/>
                      </a:lnTo>
                      <a:lnTo>
                        <a:pt x="84785" y="113868"/>
                      </a:lnTo>
                      <a:lnTo>
                        <a:pt x="4356" y="116751"/>
                      </a:lnTo>
                      <a:lnTo>
                        <a:pt x="0" y="125628"/>
                      </a:lnTo>
                      <a:lnTo>
                        <a:pt x="120357" y="125577"/>
                      </a:lnTo>
                      <a:lnTo>
                        <a:pt x="166357" y="114642"/>
                      </a:lnTo>
                      <a:lnTo>
                        <a:pt x="198526" y="82448"/>
                      </a:lnTo>
                      <a:lnTo>
                        <a:pt x="207899" y="39382"/>
                      </a:lnTo>
                      <a:lnTo>
                        <a:pt x="211340" y="27749"/>
                      </a:lnTo>
                      <a:lnTo>
                        <a:pt x="218351" y="18186"/>
                      </a:lnTo>
                      <a:lnTo>
                        <a:pt x="228155" y="11480"/>
                      </a:lnTo>
                      <a:lnTo>
                        <a:pt x="239979" y="8394"/>
                      </a:lnTo>
                      <a:lnTo>
                        <a:pt x="262509" y="7010"/>
                      </a:lnTo>
                      <a:lnTo>
                        <a:pt x="266014" y="0"/>
                      </a:lnTo>
                      <a:close/>
                    </a:path>
                    <a:path w="626110" h="125729">
                      <a:moveTo>
                        <a:pt x="275513" y="75844"/>
                      </a:moveTo>
                      <a:lnTo>
                        <a:pt x="260896" y="75844"/>
                      </a:lnTo>
                      <a:lnTo>
                        <a:pt x="261239" y="77546"/>
                      </a:lnTo>
                      <a:lnTo>
                        <a:pt x="260858" y="79362"/>
                      </a:lnTo>
                      <a:lnTo>
                        <a:pt x="238404" y="125514"/>
                      </a:lnTo>
                      <a:lnTo>
                        <a:pt x="251333" y="125514"/>
                      </a:lnTo>
                      <a:lnTo>
                        <a:pt x="275513" y="75844"/>
                      </a:lnTo>
                      <a:close/>
                    </a:path>
                    <a:path w="626110" h="125729">
                      <a:moveTo>
                        <a:pt x="314515" y="83680"/>
                      </a:moveTo>
                      <a:lnTo>
                        <a:pt x="301510" y="83693"/>
                      </a:lnTo>
                      <a:lnTo>
                        <a:pt x="281051" y="125628"/>
                      </a:lnTo>
                      <a:lnTo>
                        <a:pt x="294068" y="125628"/>
                      </a:lnTo>
                      <a:lnTo>
                        <a:pt x="314515" y="83680"/>
                      </a:lnTo>
                      <a:close/>
                    </a:path>
                    <a:path w="626110" h="125729">
                      <a:moveTo>
                        <a:pt x="335280" y="75742"/>
                      </a:moveTo>
                      <a:lnTo>
                        <a:pt x="285026" y="75742"/>
                      </a:lnTo>
                      <a:lnTo>
                        <a:pt x="280225" y="85610"/>
                      </a:lnTo>
                      <a:lnTo>
                        <a:pt x="281597" y="84543"/>
                      </a:lnTo>
                      <a:lnTo>
                        <a:pt x="283451" y="83680"/>
                      </a:lnTo>
                      <a:lnTo>
                        <a:pt x="314515" y="83680"/>
                      </a:lnTo>
                      <a:lnTo>
                        <a:pt x="328968" y="83693"/>
                      </a:lnTo>
                      <a:lnTo>
                        <a:pt x="329958" y="84455"/>
                      </a:lnTo>
                      <a:lnTo>
                        <a:pt x="330517" y="85610"/>
                      </a:lnTo>
                      <a:lnTo>
                        <a:pt x="331457" y="83680"/>
                      </a:lnTo>
                      <a:lnTo>
                        <a:pt x="335280" y="75742"/>
                      </a:lnTo>
                      <a:close/>
                    </a:path>
                    <a:path w="626110" h="125729">
                      <a:moveTo>
                        <a:pt x="364274" y="125514"/>
                      </a:moveTo>
                      <a:lnTo>
                        <a:pt x="363702" y="114198"/>
                      </a:lnTo>
                      <a:lnTo>
                        <a:pt x="363296" y="106146"/>
                      </a:lnTo>
                      <a:lnTo>
                        <a:pt x="362267" y="85750"/>
                      </a:lnTo>
                      <a:lnTo>
                        <a:pt x="361759" y="75844"/>
                      </a:lnTo>
                      <a:lnTo>
                        <a:pt x="352005" y="75844"/>
                      </a:lnTo>
                      <a:lnTo>
                        <a:pt x="352005" y="106146"/>
                      </a:lnTo>
                      <a:lnTo>
                        <a:pt x="334721" y="106146"/>
                      </a:lnTo>
                      <a:lnTo>
                        <a:pt x="351612" y="85750"/>
                      </a:lnTo>
                      <a:lnTo>
                        <a:pt x="352005" y="106146"/>
                      </a:lnTo>
                      <a:lnTo>
                        <a:pt x="352005" y="75844"/>
                      </a:lnTo>
                      <a:lnTo>
                        <a:pt x="348424" y="75844"/>
                      </a:lnTo>
                      <a:lnTo>
                        <a:pt x="348424" y="77076"/>
                      </a:lnTo>
                      <a:lnTo>
                        <a:pt x="347980" y="78460"/>
                      </a:lnTo>
                      <a:lnTo>
                        <a:pt x="307428" y="125514"/>
                      </a:lnTo>
                      <a:lnTo>
                        <a:pt x="318744" y="125514"/>
                      </a:lnTo>
                      <a:lnTo>
                        <a:pt x="328066" y="114198"/>
                      </a:lnTo>
                      <a:lnTo>
                        <a:pt x="352171" y="114198"/>
                      </a:lnTo>
                      <a:lnTo>
                        <a:pt x="352425" y="125514"/>
                      </a:lnTo>
                      <a:lnTo>
                        <a:pt x="364274" y="125514"/>
                      </a:lnTo>
                      <a:close/>
                    </a:path>
                    <a:path w="626110" h="125729">
                      <a:moveTo>
                        <a:pt x="410895" y="115468"/>
                      </a:moveTo>
                      <a:lnTo>
                        <a:pt x="410006" y="116306"/>
                      </a:lnTo>
                      <a:lnTo>
                        <a:pt x="407441" y="117094"/>
                      </a:lnTo>
                      <a:lnTo>
                        <a:pt x="386372" y="117094"/>
                      </a:lnTo>
                      <a:lnTo>
                        <a:pt x="406488" y="75819"/>
                      </a:lnTo>
                      <a:lnTo>
                        <a:pt x="391909" y="75819"/>
                      </a:lnTo>
                      <a:lnTo>
                        <a:pt x="392226" y="77520"/>
                      </a:lnTo>
                      <a:lnTo>
                        <a:pt x="391845" y="79324"/>
                      </a:lnTo>
                      <a:lnTo>
                        <a:pt x="369354" y="125539"/>
                      </a:lnTo>
                      <a:lnTo>
                        <a:pt x="405993" y="125539"/>
                      </a:lnTo>
                      <a:lnTo>
                        <a:pt x="410108" y="117094"/>
                      </a:lnTo>
                      <a:lnTo>
                        <a:pt x="410895" y="115468"/>
                      </a:lnTo>
                      <a:close/>
                    </a:path>
                    <a:path w="626110" h="125729">
                      <a:moveTo>
                        <a:pt x="450646" y="75844"/>
                      </a:moveTo>
                      <a:lnTo>
                        <a:pt x="436029" y="75844"/>
                      </a:lnTo>
                      <a:lnTo>
                        <a:pt x="436359" y="77558"/>
                      </a:lnTo>
                      <a:lnTo>
                        <a:pt x="435965" y="79362"/>
                      </a:lnTo>
                      <a:lnTo>
                        <a:pt x="413524" y="125526"/>
                      </a:lnTo>
                      <a:lnTo>
                        <a:pt x="426466" y="125526"/>
                      </a:lnTo>
                      <a:lnTo>
                        <a:pt x="450646" y="75844"/>
                      </a:lnTo>
                      <a:close/>
                    </a:path>
                    <a:path w="626110" h="125729">
                      <a:moveTo>
                        <a:pt x="572985" y="75844"/>
                      </a:moveTo>
                      <a:lnTo>
                        <a:pt x="562356" y="75844"/>
                      </a:lnTo>
                      <a:lnTo>
                        <a:pt x="562724" y="77558"/>
                      </a:lnTo>
                      <a:lnTo>
                        <a:pt x="562317" y="79349"/>
                      </a:lnTo>
                      <a:lnTo>
                        <a:pt x="547217" y="110363"/>
                      </a:lnTo>
                      <a:lnTo>
                        <a:pt x="539597" y="88557"/>
                      </a:lnTo>
                      <a:lnTo>
                        <a:pt x="535139" y="75844"/>
                      </a:lnTo>
                      <a:lnTo>
                        <a:pt x="522274" y="75844"/>
                      </a:lnTo>
                      <a:lnTo>
                        <a:pt x="522630" y="77558"/>
                      </a:lnTo>
                      <a:lnTo>
                        <a:pt x="522211" y="79349"/>
                      </a:lnTo>
                      <a:lnTo>
                        <a:pt x="499757" y="125526"/>
                      </a:lnTo>
                      <a:lnTo>
                        <a:pt x="508749" y="125514"/>
                      </a:lnTo>
                      <a:lnTo>
                        <a:pt x="526694" y="88557"/>
                      </a:lnTo>
                      <a:lnTo>
                        <a:pt x="539559" y="125526"/>
                      </a:lnTo>
                      <a:lnTo>
                        <a:pt x="548817" y="125514"/>
                      </a:lnTo>
                      <a:lnTo>
                        <a:pt x="556196" y="110363"/>
                      </a:lnTo>
                      <a:lnTo>
                        <a:pt x="572985" y="75844"/>
                      </a:lnTo>
                      <a:close/>
                    </a:path>
                    <a:path w="626110" h="125729">
                      <a:moveTo>
                        <a:pt x="625563" y="75844"/>
                      </a:moveTo>
                      <a:lnTo>
                        <a:pt x="582574" y="75844"/>
                      </a:lnTo>
                      <a:lnTo>
                        <a:pt x="582891" y="77558"/>
                      </a:lnTo>
                      <a:lnTo>
                        <a:pt x="582510" y="79349"/>
                      </a:lnTo>
                      <a:lnTo>
                        <a:pt x="560057" y="125514"/>
                      </a:lnTo>
                      <a:lnTo>
                        <a:pt x="608266" y="125514"/>
                      </a:lnTo>
                      <a:lnTo>
                        <a:pt x="612089" y="117652"/>
                      </a:lnTo>
                      <a:lnTo>
                        <a:pt x="612876" y="116027"/>
                      </a:lnTo>
                      <a:lnTo>
                        <a:pt x="611886" y="116979"/>
                      </a:lnTo>
                      <a:lnTo>
                        <a:pt x="609206" y="117652"/>
                      </a:lnTo>
                      <a:lnTo>
                        <a:pt x="576808" y="117652"/>
                      </a:lnTo>
                      <a:lnTo>
                        <a:pt x="583730" y="103416"/>
                      </a:lnTo>
                      <a:lnTo>
                        <a:pt x="606336" y="103416"/>
                      </a:lnTo>
                      <a:lnTo>
                        <a:pt x="607339" y="104178"/>
                      </a:lnTo>
                      <a:lnTo>
                        <a:pt x="607872" y="105308"/>
                      </a:lnTo>
                      <a:lnTo>
                        <a:pt x="608812" y="103403"/>
                      </a:lnTo>
                      <a:lnTo>
                        <a:pt x="612635" y="95554"/>
                      </a:lnTo>
                      <a:lnTo>
                        <a:pt x="587552" y="95554"/>
                      </a:lnTo>
                      <a:lnTo>
                        <a:pt x="593331" y="83705"/>
                      </a:lnTo>
                      <a:lnTo>
                        <a:pt x="619277" y="83705"/>
                      </a:lnTo>
                      <a:lnTo>
                        <a:pt x="620268" y="84493"/>
                      </a:lnTo>
                      <a:lnTo>
                        <a:pt x="620801" y="85623"/>
                      </a:lnTo>
                      <a:lnTo>
                        <a:pt x="621741" y="83705"/>
                      </a:lnTo>
                      <a:lnTo>
                        <a:pt x="625563" y="75844"/>
                      </a:lnTo>
                      <a:close/>
                    </a:path>
                  </a:pathLst>
                </a:custGeom>
                <a:solidFill>
                  <a:srgbClr val="E31836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50" name="object 236">
                  <a:extLst>
                    <a:ext uri="{FF2B5EF4-FFF2-40B4-BE49-F238E27FC236}">
                      <a16:creationId xmlns:a16="http://schemas.microsoft.com/office/drawing/2014/main" id="{50EB61C5-8C27-E5FB-0A4D-52D9B324C6C2}"/>
                    </a:ext>
                  </a:extLst>
                </p:cNvPr>
                <p:cNvSpPr/>
                <p:nvPr/>
              </p:nvSpPr>
              <p:spPr>
                <a:xfrm>
                  <a:off x="3729393" y="3599421"/>
                  <a:ext cx="438784" cy="831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8785" h="83185">
                      <a:moveTo>
                        <a:pt x="64922" y="72301"/>
                      </a:moveTo>
                      <a:lnTo>
                        <a:pt x="64858" y="65570"/>
                      </a:lnTo>
                      <a:lnTo>
                        <a:pt x="64820" y="61480"/>
                      </a:lnTo>
                      <a:lnTo>
                        <a:pt x="59245" y="61264"/>
                      </a:lnTo>
                      <a:lnTo>
                        <a:pt x="58788" y="61264"/>
                      </a:lnTo>
                      <a:lnTo>
                        <a:pt x="58788" y="71729"/>
                      </a:lnTo>
                      <a:lnTo>
                        <a:pt x="55245" y="77012"/>
                      </a:lnTo>
                      <a:lnTo>
                        <a:pt x="45491" y="77012"/>
                      </a:lnTo>
                      <a:lnTo>
                        <a:pt x="51054" y="65570"/>
                      </a:lnTo>
                      <a:lnTo>
                        <a:pt x="57823" y="65570"/>
                      </a:lnTo>
                      <a:lnTo>
                        <a:pt x="58737" y="66065"/>
                      </a:lnTo>
                      <a:lnTo>
                        <a:pt x="58788" y="71729"/>
                      </a:lnTo>
                      <a:lnTo>
                        <a:pt x="58788" y="61264"/>
                      </a:lnTo>
                      <a:lnTo>
                        <a:pt x="46888" y="61264"/>
                      </a:lnTo>
                      <a:lnTo>
                        <a:pt x="37122" y="81305"/>
                      </a:lnTo>
                      <a:lnTo>
                        <a:pt x="61302" y="81305"/>
                      </a:lnTo>
                      <a:lnTo>
                        <a:pt x="63030" y="77012"/>
                      </a:lnTo>
                      <a:lnTo>
                        <a:pt x="64922" y="72301"/>
                      </a:lnTo>
                      <a:close/>
                    </a:path>
                    <a:path w="438785" h="83185">
                      <a:moveTo>
                        <a:pt x="65900" y="1955"/>
                      </a:moveTo>
                      <a:lnTo>
                        <a:pt x="22377" y="1955"/>
                      </a:lnTo>
                      <a:lnTo>
                        <a:pt x="22733" y="3644"/>
                      </a:lnTo>
                      <a:lnTo>
                        <a:pt x="22339" y="5486"/>
                      </a:lnTo>
                      <a:lnTo>
                        <a:pt x="0" y="51346"/>
                      </a:lnTo>
                      <a:lnTo>
                        <a:pt x="13119" y="51346"/>
                      </a:lnTo>
                      <a:lnTo>
                        <a:pt x="23837" y="29349"/>
                      </a:lnTo>
                      <a:lnTo>
                        <a:pt x="46659" y="29349"/>
                      </a:lnTo>
                      <a:lnTo>
                        <a:pt x="47688" y="30111"/>
                      </a:lnTo>
                      <a:lnTo>
                        <a:pt x="48234" y="31254"/>
                      </a:lnTo>
                      <a:lnTo>
                        <a:pt x="49161" y="29349"/>
                      </a:lnTo>
                      <a:lnTo>
                        <a:pt x="52959" y="21539"/>
                      </a:lnTo>
                      <a:lnTo>
                        <a:pt x="27635" y="21539"/>
                      </a:lnTo>
                      <a:lnTo>
                        <a:pt x="33375" y="9766"/>
                      </a:lnTo>
                      <a:lnTo>
                        <a:pt x="59588" y="9766"/>
                      </a:lnTo>
                      <a:lnTo>
                        <a:pt x="60629" y="10553"/>
                      </a:lnTo>
                      <a:lnTo>
                        <a:pt x="61163" y="11671"/>
                      </a:lnTo>
                      <a:lnTo>
                        <a:pt x="62090" y="9766"/>
                      </a:lnTo>
                      <a:lnTo>
                        <a:pt x="65900" y="1955"/>
                      </a:lnTo>
                      <a:close/>
                    </a:path>
                    <a:path w="438785" h="83185">
                      <a:moveTo>
                        <a:pt x="93268" y="61264"/>
                      </a:moveTo>
                      <a:lnTo>
                        <a:pt x="74561" y="61264"/>
                      </a:lnTo>
                      <a:lnTo>
                        <a:pt x="64808" y="81305"/>
                      </a:lnTo>
                      <a:lnTo>
                        <a:pt x="84886" y="81305"/>
                      </a:lnTo>
                      <a:lnTo>
                        <a:pt x="86982" y="77025"/>
                      </a:lnTo>
                      <a:lnTo>
                        <a:pt x="73164" y="77025"/>
                      </a:lnTo>
                      <a:lnTo>
                        <a:pt x="75031" y="73202"/>
                      </a:lnTo>
                      <a:lnTo>
                        <a:pt x="85382" y="73202"/>
                      </a:lnTo>
                      <a:lnTo>
                        <a:pt x="87464" y="68910"/>
                      </a:lnTo>
                      <a:lnTo>
                        <a:pt x="77127" y="68910"/>
                      </a:lnTo>
                      <a:lnTo>
                        <a:pt x="78740" y="65557"/>
                      </a:lnTo>
                      <a:lnTo>
                        <a:pt x="91173" y="65557"/>
                      </a:lnTo>
                      <a:lnTo>
                        <a:pt x="93268" y="61264"/>
                      </a:lnTo>
                      <a:close/>
                    </a:path>
                    <a:path w="438785" h="83185">
                      <a:moveTo>
                        <a:pt x="110464" y="77025"/>
                      </a:moveTo>
                      <a:lnTo>
                        <a:pt x="98425" y="77025"/>
                      </a:lnTo>
                      <a:lnTo>
                        <a:pt x="106083" y="61264"/>
                      </a:lnTo>
                      <a:lnTo>
                        <a:pt x="99822" y="61264"/>
                      </a:lnTo>
                      <a:lnTo>
                        <a:pt x="90055" y="81305"/>
                      </a:lnTo>
                      <a:lnTo>
                        <a:pt x="108369" y="81305"/>
                      </a:lnTo>
                      <a:lnTo>
                        <a:pt x="110464" y="77025"/>
                      </a:lnTo>
                      <a:close/>
                    </a:path>
                    <a:path w="438785" h="83185">
                      <a:moveTo>
                        <a:pt x="117640" y="1981"/>
                      </a:moveTo>
                      <a:lnTo>
                        <a:pt x="74015" y="1981"/>
                      </a:lnTo>
                      <a:lnTo>
                        <a:pt x="74371" y="3683"/>
                      </a:lnTo>
                      <a:lnTo>
                        <a:pt x="73990" y="5486"/>
                      </a:lnTo>
                      <a:lnTo>
                        <a:pt x="51650" y="51358"/>
                      </a:lnTo>
                      <a:lnTo>
                        <a:pt x="100596" y="51346"/>
                      </a:lnTo>
                      <a:lnTo>
                        <a:pt x="104381" y="43561"/>
                      </a:lnTo>
                      <a:lnTo>
                        <a:pt x="105168" y="41935"/>
                      </a:lnTo>
                      <a:lnTo>
                        <a:pt x="104178" y="42875"/>
                      </a:lnTo>
                      <a:lnTo>
                        <a:pt x="101460" y="43561"/>
                      </a:lnTo>
                      <a:lnTo>
                        <a:pt x="68580" y="43561"/>
                      </a:lnTo>
                      <a:lnTo>
                        <a:pt x="75476" y="29375"/>
                      </a:lnTo>
                      <a:lnTo>
                        <a:pt x="98399" y="29375"/>
                      </a:lnTo>
                      <a:lnTo>
                        <a:pt x="99402" y="30111"/>
                      </a:lnTo>
                      <a:lnTo>
                        <a:pt x="99987" y="31267"/>
                      </a:lnTo>
                      <a:lnTo>
                        <a:pt x="100914" y="29375"/>
                      </a:lnTo>
                      <a:lnTo>
                        <a:pt x="104711" y="21564"/>
                      </a:lnTo>
                      <a:lnTo>
                        <a:pt x="79273" y="21564"/>
                      </a:lnTo>
                      <a:lnTo>
                        <a:pt x="85026" y="9779"/>
                      </a:lnTo>
                      <a:lnTo>
                        <a:pt x="111340" y="9791"/>
                      </a:lnTo>
                      <a:lnTo>
                        <a:pt x="112369" y="10553"/>
                      </a:lnTo>
                      <a:lnTo>
                        <a:pt x="112915" y="11684"/>
                      </a:lnTo>
                      <a:lnTo>
                        <a:pt x="113842" y="9779"/>
                      </a:lnTo>
                      <a:lnTo>
                        <a:pt x="117640" y="1981"/>
                      </a:lnTo>
                      <a:close/>
                    </a:path>
                    <a:path w="438785" h="83185">
                      <a:moveTo>
                        <a:pt x="133591" y="77025"/>
                      </a:moveTo>
                      <a:lnTo>
                        <a:pt x="120827" y="77025"/>
                      </a:lnTo>
                      <a:lnTo>
                        <a:pt x="128498" y="61264"/>
                      </a:lnTo>
                      <a:lnTo>
                        <a:pt x="122224" y="61264"/>
                      </a:lnTo>
                      <a:lnTo>
                        <a:pt x="112458" y="81305"/>
                      </a:lnTo>
                      <a:lnTo>
                        <a:pt x="131495" y="81305"/>
                      </a:lnTo>
                      <a:lnTo>
                        <a:pt x="133591" y="77025"/>
                      </a:lnTo>
                      <a:close/>
                    </a:path>
                    <a:path w="438785" h="83185">
                      <a:moveTo>
                        <a:pt x="161455" y="74447"/>
                      </a:moveTo>
                      <a:lnTo>
                        <a:pt x="161353" y="64465"/>
                      </a:lnTo>
                      <a:lnTo>
                        <a:pt x="161328" y="61379"/>
                      </a:lnTo>
                      <a:lnTo>
                        <a:pt x="155663" y="60553"/>
                      </a:lnTo>
                      <a:lnTo>
                        <a:pt x="155663" y="71577"/>
                      </a:lnTo>
                      <a:lnTo>
                        <a:pt x="151511" y="77749"/>
                      </a:lnTo>
                      <a:lnTo>
                        <a:pt x="143624" y="78105"/>
                      </a:lnTo>
                      <a:lnTo>
                        <a:pt x="142240" y="76860"/>
                      </a:lnTo>
                      <a:lnTo>
                        <a:pt x="141960" y="70853"/>
                      </a:lnTo>
                      <a:lnTo>
                        <a:pt x="146011" y="64808"/>
                      </a:lnTo>
                      <a:lnTo>
                        <a:pt x="153873" y="64465"/>
                      </a:lnTo>
                      <a:lnTo>
                        <a:pt x="155384" y="65544"/>
                      </a:lnTo>
                      <a:lnTo>
                        <a:pt x="155663" y="71577"/>
                      </a:lnTo>
                      <a:lnTo>
                        <a:pt x="155663" y="60553"/>
                      </a:lnTo>
                      <a:lnTo>
                        <a:pt x="154647" y="60401"/>
                      </a:lnTo>
                      <a:lnTo>
                        <a:pt x="142087" y="60401"/>
                      </a:lnTo>
                      <a:lnTo>
                        <a:pt x="136347" y="68008"/>
                      </a:lnTo>
                      <a:lnTo>
                        <a:pt x="136486" y="81076"/>
                      </a:lnTo>
                      <a:lnTo>
                        <a:pt x="142684" y="82181"/>
                      </a:lnTo>
                      <a:lnTo>
                        <a:pt x="155244" y="82181"/>
                      </a:lnTo>
                      <a:lnTo>
                        <a:pt x="158521" y="78105"/>
                      </a:lnTo>
                      <a:lnTo>
                        <a:pt x="161455" y="74447"/>
                      </a:lnTo>
                      <a:close/>
                    </a:path>
                    <a:path w="438785" h="83185">
                      <a:moveTo>
                        <a:pt x="171107" y="23126"/>
                      </a:moveTo>
                      <a:lnTo>
                        <a:pt x="170980" y="9817"/>
                      </a:lnTo>
                      <a:lnTo>
                        <a:pt x="170891" y="1841"/>
                      </a:lnTo>
                      <a:lnTo>
                        <a:pt x="161264" y="1968"/>
                      </a:lnTo>
                      <a:lnTo>
                        <a:pt x="158457" y="1981"/>
                      </a:lnTo>
                      <a:lnTo>
                        <a:pt x="158457" y="18707"/>
                      </a:lnTo>
                      <a:lnTo>
                        <a:pt x="153746" y="23126"/>
                      </a:lnTo>
                      <a:lnTo>
                        <a:pt x="134454" y="23126"/>
                      </a:lnTo>
                      <a:lnTo>
                        <a:pt x="140970" y="9817"/>
                      </a:lnTo>
                      <a:lnTo>
                        <a:pt x="157124" y="9817"/>
                      </a:lnTo>
                      <a:lnTo>
                        <a:pt x="158394" y="12026"/>
                      </a:lnTo>
                      <a:lnTo>
                        <a:pt x="158457" y="18707"/>
                      </a:lnTo>
                      <a:lnTo>
                        <a:pt x="158457" y="1981"/>
                      </a:lnTo>
                      <a:lnTo>
                        <a:pt x="129959" y="1981"/>
                      </a:lnTo>
                      <a:lnTo>
                        <a:pt x="130289" y="3683"/>
                      </a:lnTo>
                      <a:lnTo>
                        <a:pt x="129908" y="5486"/>
                      </a:lnTo>
                      <a:lnTo>
                        <a:pt x="107594" y="51358"/>
                      </a:lnTo>
                      <a:lnTo>
                        <a:pt x="120726" y="51346"/>
                      </a:lnTo>
                      <a:lnTo>
                        <a:pt x="130644" y="30937"/>
                      </a:lnTo>
                      <a:lnTo>
                        <a:pt x="144373" y="30937"/>
                      </a:lnTo>
                      <a:lnTo>
                        <a:pt x="148742" y="51358"/>
                      </a:lnTo>
                      <a:lnTo>
                        <a:pt x="162839" y="51358"/>
                      </a:lnTo>
                      <a:lnTo>
                        <a:pt x="161988" y="50850"/>
                      </a:lnTo>
                      <a:lnTo>
                        <a:pt x="160858" y="49618"/>
                      </a:lnTo>
                      <a:lnTo>
                        <a:pt x="156476" y="30937"/>
                      </a:lnTo>
                      <a:lnTo>
                        <a:pt x="156438" y="30810"/>
                      </a:lnTo>
                      <a:lnTo>
                        <a:pt x="160807" y="30200"/>
                      </a:lnTo>
                      <a:lnTo>
                        <a:pt x="171107" y="24053"/>
                      </a:lnTo>
                      <a:lnTo>
                        <a:pt x="171107" y="23126"/>
                      </a:lnTo>
                      <a:close/>
                    </a:path>
                    <a:path w="438785" h="83185">
                      <a:moveTo>
                        <a:pt x="196621" y="62217"/>
                      </a:moveTo>
                      <a:lnTo>
                        <a:pt x="194678" y="61455"/>
                      </a:lnTo>
                      <a:lnTo>
                        <a:pt x="190995" y="60680"/>
                      </a:lnTo>
                      <a:lnTo>
                        <a:pt x="178181" y="59690"/>
                      </a:lnTo>
                      <a:lnTo>
                        <a:pt x="175768" y="64173"/>
                      </a:lnTo>
                      <a:lnTo>
                        <a:pt x="175666" y="70446"/>
                      </a:lnTo>
                      <a:lnTo>
                        <a:pt x="178079" y="72009"/>
                      </a:lnTo>
                      <a:lnTo>
                        <a:pt x="181025" y="72910"/>
                      </a:lnTo>
                      <a:lnTo>
                        <a:pt x="185216" y="74129"/>
                      </a:lnTo>
                      <a:lnTo>
                        <a:pt x="187604" y="74053"/>
                      </a:lnTo>
                      <a:lnTo>
                        <a:pt x="187642" y="78003"/>
                      </a:lnTo>
                      <a:lnTo>
                        <a:pt x="184467" y="78384"/>
                      </a:lnTo>
                      <a:lnTo>
                        <a:pt x="178092" y="77889"/>
                      </a:lnTo>
                      <a:lnTo>
                        <a:pt x="175323" y="76746"/>
                      </a:lnTo>
                      <a:lnTo>
                        <a:pt x="173482" y="75920"/>
                      </a:lnTo>
                      <a:lnTo>
                        <a:pt x="171602" y="79743"/>
                      </a:lnTo>
                      <a:lnTo>
                        <a:pt x="173824" y="80733"/>
                      </a:lnTo>
                      <a:lnTo>
                        <a:pt x="176657" y="81788"/>
                      </a:lnTo>
                      <a:lnTo>
                        <a:pt x="191084" y="82892"/>
                      </a:lnTo>
                      <a:lnTo>
                        <a:pt x="193497" y="78384"/>
                      </a:lnTo>
                      <a:lnTo>
                        <a:pt x="193700" y="78003"/>
                      </a:lnTo>
                      <a:lnTo>
                        <a:pt x="193802" y="76746"/>
                      </a:lnTo>
                      <a:lnTo>
                        <a:pt x="193916" y="74053"/>
                      </a:lnTo>
                      <a:lnTo>
                        <a:pt x="194081" y="70421"/>
                      </a:lnTo>
                      <a:lnTo>
                        <a:pt x="190614" y="69138"/>
                      </a:lnTo>
                      <a:lnTo>
                        <a:pt x="184658" y="67818"/>
                      </a:lnTo>
                      <a:lnTo>
                        <a:pt x="182283" y="67589"/>
                      </a:lnTo>
                      <a:lnTo>
                        <a:pt x="182257" y="64668"/>
                      </a:lnTo>
                      <a:lnTo>
                        <a:pt x="184404" y="64173"/>
                      </a:lnTo>
                      <a:lnTo>
                        <a:pt x="191287" y="64706"/>
                      </a:lnTo>
                      <a:lnTo>
                        <a:pt x="192163" y="65100"/>
                      </a:lnTo>
                      <a:lnTo>
                        <a:pt x="194805" y="65951"/>
                      </a:lnTo>
                      <a:lnTo>
                        <a:pt x="195668" y="64173"/>
                      </a:lnTo>
                      <a:lnTo>
                        <a:pt x="196621" y="62217"/>
                      </a:lnTo>
                      <a:close/>
                    </a:path>
                    <a:path w="438785" h="83185">
                      <a:moveTo>
                        <a:pt x="221602" y="61264"/>
                      </a:moveTo>
                      <a:lnTo>
                        <a:pt x="200774" y="61264"/>
                      </a:lnTo>
                      <a:lnTo>
                        <a:pt x="198666" y="65570"/>
                      </a:lnTo>
                      <a:lnTo>
                        <a:pt x="206717" y="65582"/>
                      </a:lnTo>
                      <a:lnTo>
                        <a:pt x="199047" y="81318"/>
                      </a:lnTo>
                      <a:lnTo>
                        <a:pt x="205333" y="81305"/>
                      </a:lnTo>
                      <a:lnTo>
                        <a:pt x="212991" y="65570"/>
                      </a:lnTo>
                      <a:lnTo>
                        <a:pt x="219506" y="65582"/>
                      </a:lnTo>
                      <a:lnTo>
                        <a:pt x="221602" y="61264"/>
                      </a:lnTo>
                      <a:close/>
                    </a:path>
                    <a:path w="438785" h="83185">
                      <a:moveTo>
                        <a:pt x="231736" y="23126"/>
                      </a:moveTo>
                      <a:lnTo>
                        <a:pt x="231597" y="9817"/>
                      </a:lnTo>
                      <a:lnTo>
                        <a:pt x="231521" y="1841"/>
                      </a:lnTo>
                      <a:lnTo>
                        <a:pt x="221894" y="1968"/>
                      </a:lnTo>
                      <a:lnTo>
                        <a:pt x="219075" y="1981"/>
                      </a:lnTo>
                      <a:lnTo>
                        <a:pt x="219075" y="18707"/>
                      </a:lnTo>
                      <a:lnTo>
                        <a:pt x="214363" y="23126"/>
                      </a:lnTo>
                      <a:lnTo>
                        <a:pt x="195072" y="23126"/>
                      </a:lnTo>
                      <a:lnTo>
                        <a:pt x="201587" y="9817"/>
                      </a:lnTo>
                      <a:lnTo>
                        <a:pt x="217754" y="9817"/>
                      </a:lnTo>
                      <a:lnTo>
                        <a:pt x="219011" y="12026"/>
                      </a:lnTo>
                      <a:lnTo>
                        <a:pt x="219075" y="18707"/>
                      </a:lnTo>
                      <a:lnTo>
                        <a:pt x="219075" y="1981"/>
                      </a:lnTo>
                      <a:lnTo>
                        <a:pt x="190576" y="1981"/>
                      </a:lnTo>
                      <a:lnTo>
                        <a:pt x="190906" y="3683"/>
                      </a:lnTo>
                      <a:lnTo>
                        <a:pt x="190525" y="5486"/>
                      </a:lnTo>
                      <a:lnTo>
                        <a:pt x="168211" y="51358"/>
                      </a:lnTo>
                      <a:lnTo>
                        <a:pt x="181343" y="51346"/>
                      </a:lnTo>
                      <a:lnTo>
                        <a:pt x="191274" y="30937"/>
                      </a:lnTo>
                      <a:lnTo>
                        <a:pt x="205003" y="30937"/>
                      </a:lnTo>
                      <a:lnTo>
                        <a:pt x="209359" y="51358"/>
                      </a:lnTo>
                      <a:lnTo>
                        <a:pt x="223469" y="51358"/>
                      </a:lnTo>
                      <a:lnTo>
                        <a:pt x="222618" y="50850"/>
                      </a:lnTo>
                      <a:lnTo>
                        <a:pt x="221475" y="49618"/>
                      </a:lnTo>
                      <a:lnTo>
                        <a:pt x="217106" y="30937"/>
                      </a:lnTo>
                      <a:lnTo>
                        <a:pt x="217068" y="30810"/>
                      </a:lnTo>
                      <a:lnTo>
                        <a:pt x="221424" y="30200"/>
                      </a:lnTo>
                      <a:lnTo>
                        <a:pt x="231736" y="24053"/>
                      </a:lnTo>
                      <a:lnTo>
                        <a:pt x="231736" y="23126"/>
                      </a:lnTo>
                      <a:close/>
                    </a:path>
                    <a:path w="438785" h="83185">
                      <a:moveTo>
                        <a:pt x="236435" y="81305"/>
                      </a:moveTo>
                      <a:lnTo>
                        <a:pt x="236220" y="77812"/>
                      </a:lnTo>
                      <a:lnTo>
                        <a:pt x="235978" y="73850"/>
                      </a:lnTo>
                      <a:lnTo>
                        <a:pt x="235521" y="66357"/>
                      </a:lnTo>
                      <a:lnTo>
                        <a:pt x="235204" y="61264"/>
                      </a:lnTo>
                      <a:lnTo>
                        <a:pt x="230047" y="61264"/>
                      </a:lnTo>
                      <a:lnTo>
                        <a:pt x="230047" y="73850"/>
                      </a:lnTo>
                      <a:lnTo>
                        <a:pt x="223596" y="73850"/>
                      </a:lnTo>
                      <a:lnTo>
                        <a:pt x="229819" y="66357"/>
                      </a:lnTo>
                      <a:lnTo>
                        <a:pt x="230047" y="73850"/>
                      </a:lnTo>
                      <a:lnTo>
                        <a:pt x="230047" y="61264"/>
                      </a:lnTo>
                      <a:lnTo>
                        <a:pt x="229463" y="61264"/>
                      </a:lnTo>
                      <a:lnTo>
                        <a:pt x="212013" y="81305"/>
                      </a:lnTo>
                      <a:lnTo>
                        <a:pt x="217678" y="81305"/>
                      </a:lnTo>
                      <a:lnTo>
                        <a:pt x="220586" y="77812"/>
                      </a:lnTo>
                      <a:lnTo>
                        <a:pt x="230466" y="77812"/>
                      </a:lnTo>
                      <a:lnTo>
                        <a:pt x="230581" y="81305"/>
                      </a:lnTo>
                      <a:lnTo>
                        <a:pt x="236435" y="81305"/>
                      </a:lnTo>
                      <a:close/>
                    </a:path>
                    <a:path w="438785" h="83185">
                      <a:moveTo>
                        <a:pt x="263080" y="61264"/>
                      </a:moveTo>
                      <a:lnTo>
                        <a:pt x="242239" y="61264"/>
                      </a:lnTo>
                      <a:lnTo>
                        <a:pt x="240144" y="65570"/>
                      </a:lnTo>
                      <a:lnTo>
                        <a:pt x="248183" y="65582"/>
                      </a:lnTo>
                      <a:lnTo>
                        <a:pt x="240525" y="81318"/>
                      </a:lnTo>
                      <a:lnTo>
                        <a:pt x="246811" y="81318"/>
                      </a:lnTo>
                      <a:lnTo>
                        <a:pt x="254469" y="65570"/>
                      </a:lnTo>
                      <a:lnTo>
                        <a:pt x="260972" y="65582"/>
                      </a:lnTo>
                      <a:lnTo>
                        <a:pt x="263080" y="61264"/>
                      </a:lnTo>
                      <a:close/>
                    </a:path>
                    <a:path w="438785" h="83185">
                      <a:moveTo>
                        <a:pt x="285851" y="74447"/>
                      </a:moveTo>
                      <a:lnTo>
                        <a:pt x="285750" y="64465"/>
                      </a:lnTo>
                      <a:lnTo>
                        <a:pt x="285724" y="61379"/>
                      </a:lnTo>
                      <a:lnTo>
                        <a:pt x="280060" y="60553"/>
                      </a:lnTo>
                      <a:lnTo>
                        <a:pt x="280060" y="71577"/>
                      </a:lnTo>
                      <a:lnTo>
                        <a:pt x="275907" y="77749"/>
                      </a:lnTo>
                      <a:lnTo>
                        <a:pt x="268020" y="78105"/>
                      </a:lnTo>
                      <a:lnTo>
                        <a:pt x="266636" y="76860"/>
                      </a:lnTo>
                      <a:lnTo>
                        <a:pt x="266357" y="70853"/>
                      </a:lnTo>
                      <a:lnTo>
                        <a:pt x="270408" y="64808"/>
                      </a:lnTo>
                      <a:lnTo>
                        <a:pt x="278269" y="64465"/>
                      </a:lnTo>
                      <a:lnTo>
                        <a:pt x="279793" y="65544"/>
                      </a:lnTo>
                      <a:lnTo>
                        <a:pt x="280060" y="71577"/>
                      </a:lnTo>
                      <a:lnTo>
                        <a:pt x="280060" y="60553"/>
                      </a:lnTo>
                      <a:lnTo>
                        <a:pt x="279057" y="60401"/>
                      </a:lnTo>
                      <a:lnTo>
                        <a:pt x="266496" y="60401"/>
                      </a:lnTo>
                      <a:lnTo>
                        <a:pt x="260743" y="68008"/>
                      </a:lnTo>
                      <a:lnTo>
                        <a:pt x="260883" y="81076"/>
                      </a:lnTo>
                      <a:lnTo>
                        <a:pt x="267093" y="82181"/>
                      </a:lnTo>
                      <a:lnTo>
                        <a:pt x="279641" y="82181"/>
                      </a:lnTo>
                      <a:lnTo>
                        <a:pt x="282917" y="78105"/>
                      </a:lnTo>
                      <a:lnTo>
                        <a:pt x="285851" y="74447"/>
                      </a:lnTo>
                      <a:close/>
                    </a:path>
                    <a:path w="438785" h="83185">
                      <a:moveTo>
                        <a:pt x="296849" y="18884"/>
                      </a:moveTo>
                      <a:lnTo>
                        <a:pt x="294093" y="8978"/>
                      </a:lnTo>
                      <a:lnTo>
                        <a:pt x="291757" y="6896"/>
                      </a:lnTo>
                      <a:lnTo>
                        <a:pt x="287667" y="3263"/>
                      </a:lnTo>
                      <a:lnTo>
                        <a:pt x="284238" y="2108"/>
                      </a:lnTo>
                      <a:lnTo>
                        <a:pt x="284238" y="16281"/>
                      </a:lnTo>
                      <a:lnTo>
                        <a:pt x="282536" y="25501"/>
                      </a:lnTo>
                      <a:lnTo>
                        <a:pt x="277241" y="34988"/>
                      </a:lnTo>
                      <a:lnTo>
                        <a:pt x="269138" y="42532"/>
                      </a:lnTo>
                      <a:lnTo>
                        <a:pt x="259054" y="45872"/>
                      </a:lnTo>
                      <a:lnTo>
                        <a:pt x="252069" y="46202"/>
                      </a:lnTo>
                      <a:lnTo>
                        <a:pt x="248297" y="42633"/>
                      </a:lnTo>
                      <a:lnTo>
                        <a:pt x="248018" y="36347"/>
                      </a:lnTo>
                      <a:lnTo>
                        <a:pt x="249682" y="27241"/>
                      </a:lnTo>
                      <a:lnTo>
                        <a:pt x="254876" y="17907"/>
                      </a:lnTo>
                      <a:lnTo>
                        <a:pt x="262851" y="10515"/>
                      </a:lnTo>
                      <a:lnTo>
                        <a:pt x="272846" y="7226"/>
                      </a:lnTo>
                      <a:lnTo>
                        <a:pt x="279857" y="6896"/>
                      </a:lnTo>
                      <a:lnTo>
                        <a:pt x="283959" y="10007"/>
                      </a:lnTo>
                      <a:lnTo>
                        <a:pt x="284238" y="16281"/>
                      </a:lnTo>
                      <a:lnTo>
                        <a:pt x="284238" y="2108"/>
                      </a:lnTo>
                      <a:lnTo>
                        <a:pt x="279933" y="635"/>
                      </a:lnTo>
                      <a:lnTo>
                        <a:pt x="273291" y="0"/>
                      </a:lnTo>
                      <a:lnTo>
                        <a:pt x="257467" y="3149"/>
                      </a:lnTo>
                      <a:lnTo>
                        <a:pt x="245656" y="11226"/>
                      </a:lnTo>
                      <a:lnTo>
                        <a:pt x="238302" y="22199"/>
                      </a:lnTo>
                      <a:lnTo>
                        <a:pt x="235826" y="34036"/>
                      </a:lnTo>
                      <a:lnTo>
                        <a:pt x="238404" y="43992"/>
                      </a:lnTo>
                      <a:lnTo>
                        <a:pt x="244436" y="49809"/>
                      </a:lnTo>
                      <a:lnTo>
                        <a:pt x="251764" y="52539"/>
                      </a:lnTo>
                      <a:lnTo>
                        <a:pt x="258241" y="53213"/>
                      </a:lnTo>
                      <a:lnTo>
                        <a:pt x="274243" y="50025"/>
                      </a:lnTo>
                      <a:lnTo>
                        <a:pt x="279946" y="46202"/>
                      </a:lnTo>
                      <a:lnTo>
                        <a:pt x="286448" y="41846"/>
                      </a:lnTo>
                      <a:lnTo>
                        <a:pt x="294195" y="30772"/>
                      </a:lnTo>
                      <a:lnTo>
                        <a:pt x="296849" y="18884"/>
                      </a:lnTo>
                      <a:close/>
                    </a:path>
                    <a:path w="438785" h="83185">
                      <a:moveTo>
                        <a:pt x="360070" y="1955"/>
                      </a:moveTo>
                      <a:lnTo>
                        <a:pt x="346532" y="1955"/>
                      </a:lnTo>
                      <a:lnTo>
                        <a:pt x="347091" y="3657"/>
                      </a:lnTo>
                      <a:lnTo>
                        <a:pt x="347014" y="3937"/>
                      </a:lnTo>
                      <a:lnTo>
                        <a:pt x="346494" y="5486"/>
                      </a:lnTo>
                      <a:lnTo>
                        <a:pt x="318871" y="39433"/>
                      </a:lnTo>
                      <a:lnTo>
                        <a:pt x="317182" y="1955"/>
                      </a:lnTo>
                      <a:lnTo>
                        <a:pt x="304165" y="1955"/>
                      </a:lnTo>
                      <a:lnTo>
                        <a:pt x="305244" y="2603"/>
                      </a:lnTo>
                      <a:lnTo>
                        <a:pt x="305930" y="3937"/>
                      </a:lnTo>
                      <a:lnTo>
                        <a:pt x="306019" y="5486"/>
                      </a:lnTo>
                      <a:lnTo>
                        <a:pt x="308102" y="51346"/>
                      </a:lnTo>
                      <a:lnTo>
                        <a:pt x="317944" y="51333"/>
                      </a:lnTo>
                      <a:lnTo>
                        <a:pt x="328104" y="39433"/>
                      </a:lnTo>
                      <a:lnTo>
                        <a:pt x="360070" y="1955"/>
                      </a:lnTo>
                      <a:close/>
                    </a:path>
                    <a:path w="438785" h="83185">
                      <a:moveTo>
                        <a:pt x="382574" y="1968"/>
                      </a:moveTo>
                      <a:lnTo>
                        <a:pt x="367741" y="1968"/>
                      </a:lnTo>
                      <a:lnTo>
                        <a:pt x="368096" y="3657"/>
                      </a:lnTo>
                      <a:lnTo>
                        <a:pt x="367715" y="5486"/>
                      </a:lnTo>
                      <a:lnTo>
                        <a:pt x="345401" y="51346"/>
                      </a:lnTo>
                      <a:lnTo>
                        <a:pt x="358533" y="51333"/>
                      </a:lnTo>
                      <a:lnTo>
                        <a:pt x="382574" y="1968"/>
                      </a:lnTo>
                      <a:close/>
                    </a:path>
                    <a:path w="438785" h="83185">
                      <a:moveTo>
                        <a:pt x="438213" y="1981"/>
                      </a:moveTo>
                      <a:lnTo>
                        <a:pt x="394576" y="1981"/>
                      </a:lnTo>
                      <a:lnTo>
                        <a:pt x="394919" y="3657"/>
                      </a:lnTo>
                      <a:lnTo>
                        <a:pt x="394550" y="5486"/>
                      </a:lnTo>
                      <a:lnTo>
                        <a:pt x="372198" y="51358"/>
                      </a:lnTo>
                      <a:lnTo>
                        <a:pt x="421144" y="51358"/>
                      </a:lnTo>
                      <a:lnTo>
                        <a:pt x="424942" y="43561"/>
                      </a:lnTo>
                      <a:lnTo>
                        <a:pt x="425729" y="41935"/>
                      </a:lnTo>
                      <a:lnTo>
                        <a:pt x="424726" y="42875"/>
                      </a:lnTo>
                      <a:lnTo>
                        <a:pt x="422008" y="43561"/>
                      </a:lnTo>
                      <a:lnTo>
                        <a:pt x="389128" y="43561"/>
                      </a:lnTo>
                      <a:lnTo>
                        <a:pt x="396036" y="29375"/>
                      </a:lnTo>
                      <a:lnTo>
                        <a:pt x="418960" y="29375"/>
                      </a:lnTo>
                      <a:lnTo>
                        <a:pt x="420001" y="30137"/>
                      </a:lnTo>
                      <a:lnTo>
                        <a:pt x="420535" y="31267"/>
                      </a:lnTo>
                      <a:lnTo>
                        <a:pt x="421462" y="29375"/>
                      </a:lnTo>
                      <a:lnTo>
                        <a:pt x="425259" y="21564"/>
                      </a:lnTo>
                      <a:lnTo>
                        <a:pt x="399834" y="21564"/>
                      </a:lnTo>
                      <a:lnTo>
                        <a:pt x="405574" y="9779"/>
                      </a:lnTo>
                      <a:lnTo>
                        <a:pt x="431901" y="9791"/>
                      </a:lnTo>
                      <a:lnTo>
                        <a:pt x="432917" y="10553"/>
                      </a:lnTo>
                      <a:lnTo>
                        <a:pt x="433463" y="11684"/>
                      </a:lnTo>
                      <a:lnTo>
                        <a:pt x="434403" y="9779"/>
                      </a:lnTo>
                      <a:lnTo>
                        <a:pt x="438213" y="1981"/>
                      </a:lnTo>
                      <a:close/>
                    </a:path>
                  </a:pathLst>
                </a:custGeom>
                <a:solidFill>
                  <a:srgbClr val="006A65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51" name="object 237">
                  <a:extLst>
                    <a:ext uri="{FF2B5EF4-FFF2-40B4-BE49-F238E27FC236}">
                      <a16:creationId xmlns:a16="http://schemas.microsoft.com/office/drawing/2014/main" id="{C3FD0D65-FDFC-175E-72E3-A58994CEEAAA}"/>
                    </a:ext>
                  </a:extLst>
                </p:cNvPr>
                <p:cNvSpPr/>
                <p:nvPr/>
              </p:nvSpPr>
              <p:spPr>
                <a:xfrm>
                  <a:off x="3882252" y="3690236"/>
                  <a:ext cx="56515" cy="495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4" h="49529">
                      <a:moveTo>
                        <a:pt x="54013" y="0"/>
                      </a:moveTo>
                      <a:lnTo>
                        <a:pt x="40741" y="12"/>
                      </a:lnTo>
                      <a:lnTo>
                        <a:pt x="40741" y="1219"/>
                      </a:lnTo>
                      <a:lnTo>
                        <a:pt x="40309" y="2603"/>
                      </a:lnTo>
                      <a:lnTo>
                        <a:pt x="0" y="49364"/>
                      </a:lnTo>
                      <a:lnTo>
                        <a:pt x="11264" y="49352"/>
                      </a:lnTo>
                      <a:lnTo>
                        <a:pt x="20535" y="38125"/>
                      </a:lnTo>
                      <a:lnTo>
                        <a:pt x="55945" y="38125"/>
                      </a:lnTo>
                      <a:lnTo>
                        <a:pt x="55539" y="30111"/>
                      </a:lnTo>
                      <a:lnTo>
                        <a:pt x="27152" y="30111"/>
                      </a:lnTo>
                      <a:lnTo>
                        <a:pt x="43916" y="9855"/>
                      </a:lnTo>
                      <a:lnTo>
                        <a:pt x="54512" y="9855"/>
                      </a:lnTo>
                      <a:lnTo>
                        <a:pt x="54013" y="0"/>
                      </a:lnTo>
                      <a:close/>
                    </a:path>
                    <a:path w="56514" h="49529">
                      <a:moveTo>
                        <a:pt x="55945" y="38125"/>
                      </a:moveTo>
                      <a:lnTo>
                        <a:pt x="44488" y="38125"/>
                      </a:lnTo>
                      <a:lnTo>
                        <a:pt x="44729" y="49364"/>
                      </a:lnTo>
                      <a:lnTo>
                        <a:pt x="56514" y="49364"/>
                      </a:lnTo>
                      <a:lnTo>
                        <a:pt x="55945" y="38125"/>
                      </a:lnTo>
                      <a:close/>
                    </a:path>
                    <a:path w="56514" h="49529">
                      <a:moveTo>
                        <a:pt x="54512" y="9855"/>
                      </a:moveTo>
                      <a:lnTo>
                        <a:pt x="43916" y="9855"/>
                      </a:lnTo>
                      <a:lnTo>
                        <a:pt x="44322" y="30111"/>
                      </a:lnTo>
                      <a:lnTo>
                        <a:pt x="55539" y="30111"/>
                      </a:lnTo>
                      <a:lnTo>
                        <a:pt x="54512" y="9855"/>
                      </a:lnTo>
                      <a:close/>
                    </a:path>
                  </a:pathLst>
                </a:custGeom>
                <a:solidFill>
                  <a:srgbClr val="E31836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52" name="object 238">
                  <a:extLst>
                    <a:ext uri="{FF2B5EF4-FFF2-40B4-BE49-F238E27FC236}">
                      <a16:creationId xmlns:a16="http://schemas.microsoft.com/office/drawing/2014/main" id="{EDEB0818-E064-3BD5-6AA0-F25B1532A053}"/>
                    </a:ext>
                  </a:extLst>
                </p:cNvPr>
                <p:cNvSpPr/>
                <p:nvPr/>
              </p:nvSpPr>
              <p:spPr>
                <a:xfrm>
                  <a:off x="3456876" y="4045127"/>
                  <a:ext cx="1036955" cy="298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36954" h="29845">
                      <a:moveTo>
                        <a:pt x="16294" y="762"/>
                      </a:moveTo>
                      <a:lnTo>
                        <a:pt x="0" y="762"/>
                      </a:lnTo>
                      <a:lnTo>
                        <a:pt x="0" y="28803"/>
                      </a:lnTo>
                      <a:lnTo>
                        <a:pt x="6121" y="28803"/>
                      </a:lnTo>
                      <a:lnTo>
                        <a:pt x="6121" y="17043"/>
                      </a:lnTo>
                      <a:lnTo>
                        <a:pt x="16294" y="17043"/>
                      </a:lnTo>
                      <a:lnTo>
                        <a:pt x="16294" y="11557"/>
                      </a:lnTo>
                      <a:lnTo>
                        <a:pt x="6121" y="11557"/>
                      </a:lnTo>
                      <a:lnTo>
                        <a:pt x="6121" y="6083"/>
                      </a:lnTo>
                      <a:lnTo>
                        <a:pt x="16294" y="6083"/>
                      </a:lnTo>
                      <a:lnTo>
                        <a:pt x="16294" y="762"/>
                      </a:lnTo>
                      <a:close/>
                    </a:path>
                    <a:path w="1036954" h="29845">
                      <a:moveTo>
                        <a:pt x="43383" y="762"/>
                      </a:moveTo>
                      <a:lnTo>
                        <a:pt x="27444" y="762"/>
                      </a:lnTo>
                      <a:lnTo>
                        <a:pt x="27444" y="28803"/>
                      </a:lnTo>
                      <a:lnTo>
                        <a:pt x="43345" y="28803"/>
                      </a:lnTo>
                      <a:lnTo>
                        <a:pt x="43345" y="23202"/>
                      </a:lnTo>
                      <a:lnTo>
                        <a:pt x="33528" y="23202"/>
                      </a:lnTo>
                      <a:lnTo>
                        <a:pt x="33528" y="17195"/>
                      </a:lnTo>
                      <a:lnTo>
                        <a:pt x="43141" y="17195"/>
                      </a:lnTo>
                      <a:lnTo>
                        <a:pt x="43141" y="11760"/>
                      </a:lnTo>
                      <a:lnTo>
                        <a:pt x="33528" y="11760"/>
                      </a:lnTo>
                      <a:lnTo>
                        <a:pt x="33528" y="6197"/>
                      </a:lnTo>
                      <a:lnTo>
                        <a:pt x="43383" y="6197"/>
                      </a:lnTo>
                      <a:lnTo>
                        <a:pt x="43383" y="762"/>
                      </a:lnTo>
                      <a:close/>
                    </a:path>
                    <a:path w="1036954" h="29845">
                      <a:moveTo>
                        <a:pt x="76339" y="28790"/>
                      </a:moveTo>
                      <a:lnTo>
                        <a:pt x="68287" y="16954"/>
                      </a:lnTo>
                      <a:lnTo>
                        <a:pt x="69316" y="16637"/>
                      </a:lnTo>
                      <a:lnTo>
                        <a:pt x="70421" y="16357"/>
                      </a:lnTo>
                      <a:lnTo>
                        <a:pt x="73558" y="14338"/>
                      </a:lnTo>
                      <a:lnTo>
                        <a:pt x="74041" y="13030"/>
                      </a:lnTo>
                      <a:lnTo>
                        <a:pt x="74561" y="11633"/>
                      </a:lnTo>
                      <a:lnTo>
                        <a:pt x="74561" y="7429"/>
                      </a:lnTo>
                      <a:lnTo>
                        <a:pt x="74117" y="5753"/>
                      </a:lnTo>
                      <a:lnTo>
                        <a:pt x="71094" y="1028"/>
                      </a:lnTo>
                      <a:lnTo>
                        <a:pt x="68592" y="850"/>
                      </a:lnTo>
                      <a:lnTo>
                        <a:pt x="68592" y="6438"/>
                      </a:lnTo>
                      <a:lnTo>
                        <a:pt x="68592" y="9969"/>
                      </a:lnTo>
                      <a:lnTo>
                        <a:pt x="68440" y="10680"/>
                      </a:lnTo>
                      <a:lnTo>
                        <a:pt x="67132" y="12865"/>
                      </a:lnTo>
                      <a:lnTo>
                        <a:pt x="65582" y="13030"/>
                      </a:lnTo>
                      <a:lnTo>
                        <a:pt x="61722" y="13030"/>
                      </a:lnTo>
                      <a:lnTo>
                        <a:pt x="61722" y="5638"/>
                      </a:lnTo>
                      <a:lnTo>
                        <a:pt x="66255" y="5638"/>
                      </a:lnTo>
                      <a:lnTo>
                        <a:pt x="68592" y="6438"/>
                      </a:lnTo>
                      <a:lnTo>
                        <a:pt x="68592" y="850"/>
                      </a:lnTo>
                      <a:lnTo>
                        <a:pt x="67246" y="749"/>
                      </a:lnTo>
                      <a:lnTo>
                        <a:pt x="55765" y="749"/>
                      </a:lnTo>
                      <a:lnTo>
                        <a:pt x="55765" y="28790"/>
                      </a:lnTo>
                      <a:lnTo>
                        <a:pt x="61683" y="28790"/>
                      </a:lnTo>
                      <a:lnTo>
                        <a:pt x="61683" y="16954"/>
                      </a:lnTo>
                      <a:lnTo>
                        <a:pt x="69113" y="28790"/>
                      </a:lnTo>
                      <a:lnTo>
                        <a:pt x="76339" y="28790"/>
                      </a:lnTo>
                      <a:close/>
                    </a:path>
                    <a:path w="1036954" h="29845">
                      <a:moveTo>
                        <a:pt x="107124" y="28790"/>
                      </a:moveTo>
                      <a:lnTo>
                        <a:pt x="99072" y="16954"/>
                      </a:lnTo>
                      <a:lnTo>
                        <a:pt x="100101" y="16637"/>
                      </a:lnTo>
                      <a:lnTo>
                        <a:pt x="101206" y="16357"/>
                      </a:lnTo>
                      <a:lnTo>
                        <a:pt x="104343" y="14338"/>
                      </a:lnTo>
                      <a:lnTo>
                        <a:pt x="104825" y="13030"/>
                      </a:lnTo>
                      <a:lnTo>
                        <a:pt x="105346" y="11633"/>
                      </a:lnTo>
                      <a:lnTo>
                        <a:pt x="105346" y="7429"/>
                      </a:lnTo>
                      <a:lnTo>
                        <a:pt x="104902" y="5753"/>
                      </a:lnTo>
                      <a:lnTo>
                        <a:pt x="101892" y="1028"/>
                      </a:lnTo>
                      <a:lnTo>
                        <a:pt x="99377" y="850"/>
                      </a:lnTo>
                      <a:lnTo>
                        <a:pt x="99377" y="6438"/>
                      </a:lnTo>
                      <a:lnTo>
                        <a:pt x="99377" y="9969"/>
                      </a:lnTo>
                      <a:lnTo>
                        <a:pt x="99225" y="10680"/>
                      </a:lnTo>
                      <a:lnTo>
                        <a:pt x="97917" y="12865"/>
                      </a:lnTo>
                      <a:lnTo>
                        <a:pt x="96367" y="13030"/>
                      </a:lnTo>
                      <a:lnTo>
                        <a:pt x="92519" y="13030"/>
                      </a:lnTo>
                      <a:lnTo>
                        <a:pt x="92519" y="5638"/>
                      </a:lnTo>
                      <a:lnTo>
                        <a:pt x="97040" y="5638"/>
                      </a:lnTo>
                      <a:lnTo>
                        <a:pt x="99377" y="6438"/>
                      </a:lnTo>
                      <a:lnTo>
                        <a:pt x="99377" y="850"/>
                      </a:lnTo>
                      <a:lnTo>
                        <a:pt x="98031" y="749"/>
                      </a:lnTo>
                      <a:lnTo>
                        <a:pt x="86550" y="749"/>
                      </a:lnTo>
                      <a:lnTo>
                        <a:pt x="86550" y="28790"/>
                      </a:lnTo>
                      <a:lnTo>
                        <a:pt x="92468" y="28790"/>
                      </a:lnTo>
                      <a:lnTo>
                        <a:pt x="92468" y="16954"/>
                      </a:lnTo>
                      <a:lnTo>
                        <a:pt x="99898" y="28790"/>
                      </a:lnTo>
                      <a:lnTo>
                        <a:pt x="107124" y="28790"/>
                      </a:lnTo>
                      <a:close/>
                    </a:path>
                    <a:path w="1036954" h="29845">
                      <a:moveTo>
                        <a:pt x="146456" y="6362"/>
                      </a:moveTo>
                      <a:lnTo>
                        <a:pt x="145961" y="5880"/>
                      </a:lnTo>
                      <a:lnTo>
                        <a:pt x="140182" y="203"/>
                      </a:lnTo>
                      <a:lnTo>
                        <a:pt x="140182" y="9728"/>
                      </a:lnTo>
                      <a:lnTo>
                        <a:pt x="140144" y="19977"/>
                      </a:lnTo>
                      <a:lnTo>
                        <a:pt x="136525" y="23787"/>
                      </a:lnTo>
                      <a:lnTo>
                        <a:pt x="126631" y="23787"/>
                      </a:lnTo>
                      <a:lnTo>
                        <a:pt x="122783" y="19977"/>
                      </a:lnTo>
                      <a:lnTo>
                        <a:pt x="122910" y="9728"/>
                      </a:lnTo>
                      <a:lnTo>
                        <a:pt x="126631" y="5880"/>
                      </a:lnTo>
                      <a:lnTo>
                        <a:pt x="136525" y="5880"/>
                      </a:lnTo>
                      <a:lnTo>
                        <a:pt x="140182" y="9728"/>
                      </a:lnTo>
                      <a:lnTo>
                        <a:pt x="140182" y="203"/>
                      </a:lnTo>
                      <a:lnTo>
                        <a:pt x="140017" y="38"/>
                      </a:lnTo>
                      <a:lnTo>
                        <a:pt x="122821" y="38"/>
                      </a:lnTo>
                      <a:lnTo>
                        <a:pt x="116586" y="6362"/>
                      </a:lnTo>
                      <a:lnTo>
                        <a:pt x="116586" y="23558"/>
                      </a:lnTo>
                      <a:lnTo>
                        <a:pt x="122783" y="29514"/>
                      </a:lnTo>
                      <a:lnTo>
                        <a:pt x="140373" y="29514"/>
                      </a:lnTo>
                      <a:lnTo>
                        <a:pt x="146138" y="23787"/>
                      </a:lnTo>
                      <a:lnTo>
                        <a:pt x="146367" y="23558"/>
                      </a:lnTo>
                      <a:lnTo>
                        <a:pt x="146456" y="6362"/>
                      </a:lnTo>
                      <a:close/>
                    </a:path>
                    <a:path w="1036954" h="29845">
                      <a:moveTo>
                        <a:pt x="182791" y="749"/>
                      </a:moveTo>
                      <a:lnTo>
                        <a:pt x="176199" y="749"/>
                      </a:lnTo>
                      <a:lnTo>
                        <a:pt x="169176" y="20764"/>
                      </a:lnTo>
                      <a:lnTo>
                        <a:pt x="162140" y="749"/>
                      </a:lnTo>
                      <a:lnTo>
                        <a:pt x="155460" y="749"/>
                      </a:lnTo>
                      <a:lnTo>
                        <a:pt x="165950" y="28790"/>
                      </a:lnTo>
                      <a:lnTo>
                        <a:pt x="171831" y="28790"/>
                      </a:lnTo>
                      <a:lnTo>
                        <a:pt x="182791" y="749"/>
                      </a:lnTo>
                      <a:close/>
                    </a:path>
                    <a:path w="1036954" h="29845">
                      <a:moveTo>
                        <a:pt x="199618" y="749"/>
                      </a:moveTo>
                      <a:lnTo>
                        <a:pt x="193497" y="749"/>
                      </a:lnTo>
                      <a:lnTo>
                        <a:pt x="193497" y="28790"/>
                      </a:lnTo>
                      <a:lnTo>
                        <a:pt x="199618" y="28790"/>
                      </a:lnTo>
                      <a:lnTo>
                        <a:pt x="199618" y="749"/>
                      </a:lnTo>
                      <a:close/>
                    </a:path>
                    <a:path w="1036954" h="29845">
                      <a:moveTo>
                        <a:pt x="229717" y="762"/>
                      </a:moveTo>
                      <a:lnTo>
                        <a:pt x="213779" y="762"/>
                      </a:lnTo>
                      <a:lnTo>
                        <a:pt x="213779" y="28803"/>
                      </a:lnTo>
                      <a:lnTo>
                        <a:pt x="229666" y="28803"/>
                      </a:lnTo>
                      <a:lnTo>
                        <a:pt x="229666" y="23202"/>
                      </a:lnTo>
                      <a:lnTo>
                        <a:pt x="219862" y="23202"/>
                      </a:lnTo>
                      <a:lnTo>
                        <a:pt x="219862" y="17195"/>
                      </a:lnTo>
                      <a:lnTo>
                        <a:pt x="229476" y="17195"/>
                      </a:lnTo>
                      <a:lnTo>
                        <a:pt x="229476" y="11760"/>
                      </a:lnTo>
                      <a:lnTo>
                        <a:pt x="219862" y="11760"/>
                      </a:lnTo>
                      <a:lnTo>
                        <a:pt x="219862" y="6197"/>
                      </a:lnTo>
                      <a:lnTo>
                        <a:pt x="229717" y="6197"/>
                      </a:lnTo>
                      <a:lnTo>
                        <a:pt x="229717" y="762"/>
                      </a:lnTo>
                      <a:close/>
                    </a:path>
                    <a:path w="1036954" h="29845">
                      <a:moveTo>
                        <a:pt x="285089" y="11671"/>
                      </a:moveTo>
                      <a:lnTo>
                        <a:pt x="284416" y="9245"/>
                      </a:lnTo>
                      <a:lnTo>
                        <a:pt x="282308" y="5638"/>
                      </a:lnTo>
                      <a:lnTo>
                        <a:pt x="279730" y="1231"/>
                      </a:lnTo>
                      <a:lnTo>
                        <a:pt x="279133" y="1181"/>
                      </a:lnTo>
                      <a:lnTo>
                        <a:pt x="279133" y="20256"/>
                      </a:lnTo>
                      <a:lnTo>
                        <a:pt x="276186" y="23863"/>
                      </a:lnTo>
                      <a:lnTo>
                        <a:pt x="268681" y="23863"/>
                      </a:lnTo>
                      <a:lnTo>
                        <a:pt x="268681" y="5638"/>
                      </a:lnTo>
                      <a:lnTo>
                        <a:pt x="271780" y="5638"/>
                      </a:lnTo>
                      <a:lnTo>
                        <a:pt x="274281" y="5829"/>
                      </a:lnTo>
                      <a:lnTo>
                        <a:pt x="278295" y="9055"/>
                      </a:lnTo>
                      <a:lnTo>
                        <a:pt x="279057" y="11671"/>
                      </a:lnTo>
                      <a:lnTo>
                        <a:pt x="279133" y="20256"/>
                      </a:lnTo>
                      <a:lnTo>
                        <a:pt x="279133" y="1181"/>
                      </a:lnTo>
                      <a:lnTo>
                        <a:pt x="274167" y="749"/>
                      </a:lnTo>
                      <a:lnTo>
                        <a:pt x="262572" y="749"/>
                      </a:lnTo>
                      <a:lnTo>
                        <a:pt x="262572" y="28790"/>
                      </a:lnTo>
                      <a:lnTo>
                        <a:pt x="273088" y="28790"/>
                      </a:lnTo>
                      <a:lnTo>
                        <a:pt x="276745" y="28625"/>
                      </a:lnTo>
                      <a:lnTo>
                        <a:pt x="283032" y="23863"/>
                      </a:lnTo>
                      <a:lnTo>
                        <a:pt x="283502" y="23507"/>
                      </a:lnTo>
                      <a:lnTo>
                        <a:pt x="285089" y="18669"/>
                      </a:lnTo>
                      <a:lnTo>
                        <a:pt x="285089" y="11671"/>
                      </a:lnTo>
                      <a:close/>
                    </a:path>
                    <a:path w="1036954" h="29845">
                      <a:moveTo>
                        <a:pt x="313372" y="762"/>
                      </a:moveTo>
                      <a:lnTo>
                        <a:pt x="297434" y="762"/>
                      </a:lnTo>
                      <a:lnTo>
                        <a:pt x="297434" y="28803"/>
                      </a:lnTo>
                      <a:lnTo>
                        <a:pt x="313334" y="28803"/>
                      </a:lnTo>
                      <a:lnTo>
                        <a:pt x="313334" y="23202"/>
                      </a:lnTo>
                      <a:lnTo>
                        <a:pt x="303517" y="23202"/>
                      </a:lnTo>
                      <a:lnTo>
                        <a:pt x="303517" y="17195"/>
                      </a:lnTo>
                      <a:lnTo>
                        <a:pt x="313131" y="17195"/>
                      </a:lnTo>
                      <a:lnTo>
                        <a:pt x="313131" y="11760"/>
                      </a:lnTo>
                      <a:lnTo>
                        <a:pt x="303517" y="11760"/>
                      </a:lnTo>
                      <a:lnTo>
                        <a:pt x="303517" y="6197"/>
                      </a:lnTo>
                      <a:lnTo>
                        <a:pt x="313372" y="6197"/>
                      </a:lnTo>
                      <a:lnTo>
                        <a:pt x="313372" y="762"/>
                      </a:lnTo>
                      <a:close/>
                    </a:path>
                    <a:path w="1036954" h="29845">
                      <a:moveTo>
                        <a:pt x="341477" y="23266"/>
                      </a:moveTo>
                      <a:lnTo>
                        <a:pt x="331914" y="23266"/>
                      </a:lnTo>
                      <a:lnTo>
                        <a:pt x="331914" y="749"/>
                      </a:lnTo>
                      <a:lnTo>
                        <a:pt x="325793" y="749"/>
                      </a:lnTo>
                      <a:lnTo>
                        <a:pt x="325793" y="28790"/>
                      </a:lnTo>
                      <a:lnTo>
                        <a:pt x="341477" y="28790"/>
                      </a:lnTo>
                      <a:lnTo>
                        <a:pt x="341477" y="23266"/>
                      </a:lnTo>
                      <a:close/>
                    </a:path>
                    <a:path w="1036954" h="29845">
                      <a:moveTo>
                        <a:pt x="368973" y="23266"/>
                      </a:moveTo>
                      <a:lnTo>
                        <a:pt x="359410" y="23266"/>
                      </a:lnTo>
                      <a:lnTo>
                        <a:pt x="359410" y="749"/>
                      </a:lnTo>
                      <a:lnTo>
                        <a:pt x="353288" y="749"/>
                      </a:lnTo>
                      <a:lnTo>
                        <a:pt x="353288" y="28790"/>
                      </a:lnTo>
                      <a:lnTo>
                        <a:pt x="368973" y="28790"/>
                      </a:lnTo>
                      <a:lnTo>
                        <a:pt x="368973" y="23266"/>
                      </a:lnTo>
                      <a:close/>
                    </a:path>
                    <a:path w="1036954" h="29845">
                      <a:moveTo>
                        <a:pt x="408774" y="6362"/>
                      </a:moveTo>
                      <a:lnTo>
                        <a:pt x="408292" y="5880"/>
                      </a:lnTo>
                      <a:lnTo>
                        <a:pt x="402501" y="203"/>
                      </a:lnTo>
                      <a:lnTo>
                        <a:pt x="402501" y="9728"/>
                      </a:lnTo>
                      <a:lnTo>
                        <a:pt x="402463" y="19977"/>
                      </a:lnTo>
                      <a:lnTo>
                        <a:pt x="398843" y="23787"/>
                      </a:lnTo>
                      <a:lnTo>
                        <a:pt x="388950" y="23787"/>
                      </a:lnTo>
                      <a:lnTo>
                        <a:pt x="385102" y="19977"/>
                      </a:lnTo>
                      <a:lnTo>
                        <a:pt x="385229" y="9728"/>
                      </a:lnTo>
                      <a:lnTo>
                        <a:pt x="388950" y="5880"/>
                      </a:lnTo>
                      <a:lnTo>
                        <a:pt x="398843" y="5880"/>
                      </a:lnTo>
                      <a:lnTo>
                        <a:pt x="402501" y="9728"/>
                      </a:lnTo>
                      <a:lnTo>
                        <a:pt x="402501" y="203"/>
                      </a:lnTo>
                      <a:lnTo>
                        <a:pt x="402336" y="38"/>
                      </a:lnTo>
                      <a:lnTo>
                        <a:pt x="385140" y="38"/>
                      </a:lnTo>
                      <a:lnTo>
                        <a:pt x="378904" y="6362"/>
                      </a:lnTo>
                      <a:lnTo>
                        <a:pt x="378904" y="23558"/>
                      </a:lnTo>
                      <a:lnTo>
                        <a:pt x="385102" y="29514"/>
                      </a:lnTo>
                      <a:lnTo>
                        <a:pt x="402691" y="29514"/>
                      </a:lnTo>
                      <a:lnTo>
                        <a:pt x="408457" y="23787"/>
                      </a:lnTo>
                      <a:lnTo>
                        <a:pt x="408686" y="23558"/>
                      </a:lnTo>
                      <a:lnTo>
                        <a:pt x="408774" y="6362"/>
                      </a:lnTo>
                      <a:close/>
                    </a:path>
                    <a:path w="1036954" h="29845">
                      <a:moveTo>
                        <a:pt x="457593" y="11468"/>
                      </a:moveTo>
                      <a:lnTo>
                        <a:pt x="446316" y="12306"/>
                      </a:lnTo>
                      <a:lnTo>
                        <a:pt x="446316" y="6464"/>
                      </a:lnTo>
                      <a:lnTo>
                        <a:pt x="447548" y="5473"/>
                      </a:lnTo>
                      <a:lnTo>
                        <a:pt x="450875" y="5473"/>
                      </a:lnTo>
                      <a:lnTo>
                        <a:pt x="452069" y="6705"/>
                      </a:lnTo>
                      <a:lnTo>
                        <a:pt x="453136" y="8140"/>
                      </a:lnTo>
                      <a:lnTo>
                        <a:pt x="457034" y="3771"/>
                      </a:lnTo>
                      <a:lnTo>
                        <a:pt x="454647" y="1308"/>
                      </a:lnTo>
                      <a:lnTo>
                        <a:pt x="452551" y="0"/>
                      </a:lnTo>
                      <a:lnTo>
                        <a:pt x="444207" y="0"/>
                      </a:lnTo>
                      <a:lnTo>
                        <a:pt x="439953" y="3098"/>
                      </a:lnTo>
                      <a:lnTo>
                        <a:pt x="439953" y="12903"/>
                      </a:lnTo>
                      <a:lnTo>
                        <a:pt x="443725" y="15201"/>
                      </a:lnTo>
                      <a:lnTo>
                        <a:pt x="449364" y="17868"/>
                      </a:lnTo>
                      <a:lnTo>
                        <a:pt x="450799" y="19138"/>
                      </a:lnTo>
                      <a:lnTo>
                        <a:pt x="451192" y="19900"/>
                      </a:lnTo>
                      <a:lnTo>
                        <a:pt x="451192" y="22872"/>
                      </a:lnTo>
                      <a:lnTo>
                        <a:pt x="449567" y="24218"/>
                      </a:lnTo>
                      <a:lnTo>
                        <a:pt x="445363" y="24218"/>
                      </a:lnTo>
                      <a:lnTo>
                        <a:pt x="443814" y="22669"/>
                      </a:lnTo>
                      <a:lnTo>
                        <a:pt x="442379" y="21043"/>
                      </a:lnTo>
                      <a:lnTo>
                        <a:pt x="438404" y="25412"/>
                      </a:lnTo>
                      <a:lnTo>
                        <a:pt x="440944" y="27876"/>
                      </a:lnTo>
                      <a:lnTo>
                        <a:pt x="443763" y="29425"/>
                      </a:lnTo>
                      <a:lnTo>
                        <a:pt x="447382" y="29425"/>
                      </a:lnTo>
                      <a:lnTo>
                        <a:pt x="452945" y="29425"/>
                      </a:lnTo>
                      <a:lnTo>
                        <a:pt x="457593" y="26085"/>
                      </a:lnTo>
                      <a:lnTo>
                        <a:pt x="457593" y="11468"/>
                      </a:lnTo>
                      <a:close/>
                    </a:path>
                    <a:path w="1036954" h="29845">
                      <a:moveTo>
                        <a:pt x="485800" y="762"/>
                      </a:moveTo>
                      <a:lnTo>
                        <a:pt x="467728" y="762"/>
                      </a:lnTo>
                      <a:lnTo>
                        <a:pt x="467728" y="6235"/>
                      </a:lnTo>
                      <a:lnTo>
                        <a:pt x="473722" y="6235"/>
                      </a:lnTo>
                      <a:lnTo>
                        <a:pt x="473722" y="28803"/>
                      </a:lnTo>
                      <a:lnTo>
                        <a:pt x="479806" y="28803"/>
                      </a:lnTo>
                      <a:lnTo>
                        <a:pt x="479806" y="6159"/>
                      </a:lnTo>
                      <a:lnTo>
                        <a:pt x="485800" y="6159"/>
                      </a:lnTo>
                      <a:lnTo>
                        <a:pt x="485800" y="762"/>
                      </a:lnTo>
                      <a:close/>
                    </a:path>
                    <a:path w="1036954" h="29845">
                      <a:moveTo>
                        <a:pt x="521906" y="28803"/>
                      </a:moveTo>
                      <a:lnTo>
                        <a:pt x="519557" y="23114"/>
                      </a:lnTo>
                      <a:lnTo>
                        <a:pt x="517398" y="17843"/>
                      </a:lnTo>
                      <a:lnTo>
                        <a:pt x="512838" y="6756"/>
                      </a:lnTo>
                      <a:lnTo>
                        <a:pt x="511111" y="2540"/>
                      </a:lnTo>
                      <a:lnTo>
                        <a:pt x="511111" y="17843"/>
                      </a:lnTo>
                      <a:lnTo>
                        <a:pt x="503402" y="17843"/>
                      </a:lnTo>
                      <a:lnTo>
                        <a:pt x="507174" y="6756"/>
                      </a:lnTo>
                      <a:lnTo>
                        <a:pt x="511111" y="17843"/>
                      </a:lnTo>
                      <a:lnTo>
                        <a:pt x="511111" y="2540"/>
                      </a:lnTo>
                      <a:lnTo>
                        <a:pt x="510387" y="762"/>
                      </a:lnTo>
                      <a:lnTo>
                        <a:pt x="503923" y="762"/>
                      </a:lnTo>
                      <a:lnTo>
                        <a:pt x="492912" y="28803"/>
                      </a:lnTo>
                      <a:lnTo>
                        <a:pt x="499427" y="28803"/>
                      </a:lnTo>
                      <a:lnTo>
                        <a:pt x="501497" y="23114"/>
                      </a:lnTo>
                      <a:lnTo>
                        <a:pt x="513130" y="23114"/>
                      </a:lnTo>
                      <a:lnTo>
                        <a:pt x="515315" y="28803"/>
                      </a:lnTo>
                      <a:lnTo>
                        <a:pt x="521906" y="28803"/>
                      </a:lnTo>
                      <a:close/>
                    </a:path>
                    <a:path w="1036954" h="29845">
                      <a:moveTo>
                        <a:pt x="546887" y="762"/>
                      </a:moveTo>
                      <a:lnTo>
                        <a:pt x="528815" y="762"/>
                      </a:lnTo>
                      <a:lnTo>
                        <a:pt x="528815" y="6235"/>
                      </a:lnTo>
                      <a:lnTo>
                        <a:pt x="534822" y="6235"/>
                      </a:lnTo>
                      <a:lnTo>
                        <a:pt x="534822" y="28803"/>
                      </a:lnTo>
                      <a:lnTo>
                        <a:pt x="540893" y="28803"/>
                      </a:lnTo>
                      <a:lnTo>
                        <a:pt x="540893" y="6159"/>
                      </a:lnTo>
                      <a:lnTo>
                        <a:pt x="546887" y="6159"/>
                      </a:lnTo>
                      <a:lnTo>
                        <a:pt x="546887" y="762"/>
                      </a:lnTo>
                      <a:close/>
                    </a:path>
                    <a:path w="1036954" h="29845">
                      <a:moveTo>
                        <a:pt x="585965" y="6362"/>
                      </a:moveTo>
                      <a:lnTo>
                        <a:pt x="585470" y="5880"/>
                      </a:lnTo>
                      <a:lnTo>
                        <a:pt x="579691" y="190"/>
                      </a:lnTo>
                      <a:lnTo>
                        <a:pt x="579691" y="9728"/>
                      </a:lnTo>
                      <a:lnTo>
                        <a:pt x="579653" y="19977"/>
                      </a:lnTo>
                      <a:lnTo>
                        <a:pt x="576046" y="23787"/>
                      </a:lnTo>
                      <a:lnTo>
                        <a:pt x="566153" y="23787"/>
                      </a:lnTo>
                      <a:lnTo>
                        <a:pt x="562305" y="19977"/>
                      </a:lnTo>
                      <a:lnTo>
                        <a:pt x="562432" y="9728"/>
                      </a:lnTo>
                      <a:lnTo>
                        <a:pt x="566153" y="5880"/>
                      </a:lnTo>
                      <a:lnTo>
                        <a:pt x="576046" y="5880"/>
                      </a:lnTo>
                      <a:lnTo>
                        <a:pt x="579691" y="9728"/>
                      </a:lnTo>
                      <a:lnTo>
                        <a:pt x="579691" y="190"/>
                      </a:lnTo>
                      <a:lnTo>
                        <a:pt x="579539" y="38"/>
                      </a:lnTo>
                      <a:lnTo>
                        <a:pt x="562343" y="38"/>
                      </a:lnTo>
                      <a:lnTo>
                        <a:pt x="556107" y="6362"/>
                      </a:lnTo>
                      <a:lnTo>
                        <a:pt x="556107" y="23558"/>
                      </a:lnTo>
                      <a:lnTo>
                        <a:pt x="562305" y="29514"/>
                      </a:lnTo>
                      <a:lnTo>
                        <a:pt x="579894" y="29514"/>
                      </a:lnTo>
                      <a:lnTo>
                        <a:pt x="585647" y="23787"/>
                      </a:lnTo>
                      <a:lnTo>
                        <a:pt x="585876" y="23558"/>
                      </a:lnTo>
                      <a:lnTo>
                        <a:pt x="585965" y="6362"/>
                      </a:lnTo>
                      <a:close/>
                    </a:path>
                    <a:path w="1036954" h="29845">
                      <a:moveTo>
                        <a:pt x="623722" y="749"/>
                      </a:moveTo>
                      <a:lnTo>
                        <a:pt x="617601" y="749"/>
                      </a:lnTo>
                      <a:lnTo>
                        <a:pt x="617601" y="28790"/>
                      </a:lnTo>
                      <a:lnTo>
                        <a:pt x="623722" y="28790"/>
                      </a:lnTo>
                      <a:lnTo>
                        <a:pt x="623722" y="749"/>
                      </a:lnTo>
                      <a:close/>
                    </a:path>
                    <a:path w="1036954" h="29845">
                      <a:moveTo>
                        <a:pt x="653059" y="762"/>
                      </a:moveTo>
                      <a:lnTo>
                        <a:pt x="634987" y="762"/>
                      </a:lnTo>
                      <a:lnTo>
                        <a:pt x="634987" y="6235"/>
                      </a:lnTo>
                      <a:lnTo>
                        <a:pt x="640994" y="6235"/>
                      </a:lnTo>
                      <a:lnTo>
                        <a:pt x="640994" y="28803"/>
                      </a:lnTo>
                      <a:lnTo>
                        <a:pt x="647065" y="28803"/>
                      </a:lnTo>
                      <a:lnTo>
                        <a:pt x="647065" y="6159"/>
                      </a:lnTo>
                      <a:lnTo>
                        <a:pt x="653059" y="6159"/>
                      </a:lnTo>
                      <a:lnTo>
                        <a:pt x="653059" y="762"/>
                      </a:lnTo>
                      <a:close/>
                    </a:path>
                    <a:path w="1036954" h="29845">
                      <a:moveTo>
                        <a:pt x="689165" y="28803"/>
                      </a:moveTo>
                      <a:lnTo>
                        <a:pt x="686828" y="23114"/>
                      </a:lnTo>
                      <a:lnTo>
                        <a:pt x="684669" y="17843"/>
                      </a:lnTo>
                      <a:lnTo>
                        <a:pt x="680110" y="6756"/>
                      </a:lnTo>
                      <a:lnTo>
                        <a:pt x="678370" y="2527"/>
                      </a:lnTo>
                      <a:lnTo>
                        <a:pt x="678370" y="17843"/>
                      </a:lnTo>
                      <a:lnTo>
                        <a:pt x="670661" y="17843"/>
                      </a:lnTo>
                      <a:lnTo>
                        <a:pt x="674433" y="6756"/>
                      </a:lnTo>
                      <a:lnTo>
                        <a:pt x="678370" y="17843"/>
                      </a:lnTo>
                      <a:lnTo>
                        <a:pt x="678370" y="2527"/>
                      </a:lnTo>
                      <a:lnTo>
                        <a:pt x="677646" y="762"/>
                      </a:lnTo>
                      <a:lnTo>
                        <a:pt x="671182" y="762"/>
                      </a:lnTo>
                      <a:lnTo>
                        <a:pt x="660171" y="28803"/>
                      </a:lnTo>
                      <a:lnTo>
                        <a:pt x="666686" y="28803"/>
                      </a:lnTo>
                      <a:lnTo>
                        <a:pt x="668756" y="23114"/>
                      </a:lnTo>
                      <a:lnTo>
                        <a:pt x="680389" y="23114"/>
                      </a:lnTo>
                      <a:lnTo>
                        <a:pt x="682574" y="28803"/>
                      </a:lnTo>
                      <a:lnTo>
                        <a:pt x="689165" y="28803"/>
                      </a:lnTo>
                      <a:close/>
                    </a:path>
                    <a:path w="1036954" h="29845">
                      <a:moveTo>
                        <a:pt x="715708" y="23266"/>
                      </a:moveTo>
                      <a:lnTo>
                        <a:pt x="706145" y="23266"/>
                      </a:lnTo>
                      <a:lnTo>
                        <a:pt x="706145" y="749"/>
                      </a:lnTo>
                      <a:lnTo>
                        <a:pt x="700024" y="749"/>
                      </a:lnTo>
                      <a:lnTo>
                        <a:pt x="700024" y="28790"/>
                      </a:lnTo>
                      <a:lnTo>
                        <a:pt x="715708" y="28790"/>
                      </a:lnTo>
                      <a:lnTo>
                        <a:pt x="715708" y="23266"/>
                      </a:lnTo>
                      <a:close/>
                    </a:path>
                    <a:path w="1036954" h="29845">
                      <a:moveTo>
                        <a:pt x="733552" y="749"/>
                      </a:moveTo>
                      <a:lnTo>
                        <a:pt x="727430" y="749"/>
                      </a:lnTo>
                      <a:lnTo>
                        <a:pt x="727430" y="28790"/>
                      </a:lnTo>
                      <a:lnTo>
                        <a:pt x="733552" y="28790"/>
                      </a:lnTo>
                      <a:lnTo>
                        <a:pt x="733552" y="749"/>
                      </a:lnTo>
                      <a:close/>
                    </a:path>
                    <a:path w="1036954" h="29845">
                      <a:moveTo>
                        <a:pt x="773303" y="28803"/>
                      </a:moveTo>
                      <a:lnTo>
                        <a:pt x="770966" y="23114"/>
                      </a:lnTo>
                      <a:lnTo>
                        <a:pt x="768794" y="17843"/>
                      </a:lnTo>
                      <a:lnTo>
                        <a:pt x="764235" y="6756"/>
                      </a:lnTo>
                      <a:lnTo>
                        <a:pt x="762508" y="2540"/>
                      </a:lnTo>
                      <a:lnTo>
                        <a:pt x="762508" y="17843"/>
                      </a:lnTo>
                      <a:lnTo>
                        <a:pt x="754799" y="17843"/>
                      </a:lnTo>
                      <a:lnTo>
                        <a:pt x="758571" y="6756"/>
                      </a:lnTo>
                      <a:lnTo>
                        <a:pt x="762508" y="17843"/>
                      </a:lnTo>
                      <a:lnTo>
                        <a:pt x="762508" y="2540"/>
                      </a:lnTo>
                      <a:lnTo>
                        <a:pt x="761784" y="762"/>
                      </a:lnTo>
                      <a:lnTo>
                        <a:pt x="755319" y="762"/>
                      </a:lnTo>
                      <a:lnTo>
                        <a:pt x="744308" y="28803"/>
                      </a:lnTo>
                      <a:lnTo>
                        <a:pt x="750824" y="28803"/>
                      </a:lnTo>
                      <a:lnTo>
                        <a:pt x="752894" y="23114"/>
                      </a:lnTo>
                      <a:lnTo>
                        <a:pt x="764527" y="23114"/>
                      </a:lnTo>
                      <a:lnTo>
                        <a:pt x="766711" y="28803"/>
                      </a:lnTo>
                      <a:lnTo>
                        <a:pt x="773303" y="28803"/>
                      </a:lnTo>
                      <a:close/>
                    </a:path>
                    <a:path w="1036954" h="29845">
                      <a:moveTo>
                        <a:pt x="808380" y="749"/>
                      </a:moveTo>
                      <a:lnTo>
                        <a:pt x="802652" y="749"/>
                      </a:lnTo>
                      <a:lnTo>
                        <a:pt x="802779" y="19215"/>
                      </a:lnTo>
                      <a:lnTo>
                        <a:pt x="789711" y="749"/>
                      </a:lnTo>
                      <a:lnTo>
                        <a:pt x="784186" y="749"/>
                      </a:lnTo>
                      <a:lnTo>
                        <a:pt x="784186" y="28790"/>
                      </a:lnTo>
                      <a:lnTo>
                        <a:pt x="789940" y="28790"/>
                      </a:lnTo>
                      <a:lnTo>
                        <a:pt x="789787" y="9969"/>
                      </a:lnTo>
                      <a:lnTo>
                        <a:pt x="802932" y="28790"/>
                      </a:lnTo>
                      <a:lnTo>
                        <a:pt x="808380" y="28790"/>
                      </a:lnTo>
                      <a:lnTo>
                        <a:pt x="808380" y="749"/>
                      </a:lnTo>
                      <a:close/>
                    </a:path>
                    <a:path w="1036954" h="29845">
                      <a:moveTo>
                        <a:pt x="837463" y="762"/>
                      </a:moveTo>
                      <a:lnTo>
                        <a:pt x="821537" y="762"/>
                      </a:lnTo>
                      <a:lnTo>
                        <a:pt x="821537" y="28803"/>
                      </a:lnTo>
                      <a:lnTo>
                        <a:pt x="837425" y="28803"/>
                      </a:lnTo>
                      <a:lnTo>
                        <a:pt x="837425" y="23202"/>
                      </a:lnTo>
                      <a:lnTo>
                        <a:pt x="827608" y="23202"/>
                      </a:lnTo>
                      <a:lnTo>
                        <a:pt x="827608" y="17195"/>
                      </a:lnTo>
                      <a:lnTo>
                        <a:pt x="837222" y="17195"/>
                      </a:lnTo>
                      <a:lnTo>
                        <a:pt x="837222" y="11760"/>
                      </a:lnTo>
                      <a:lnTo>
                        <a:pt x="827608" y="11760"/>
                      </a:lnTo>
                      <a:lnTo>
                        <a:pt x="827608" y="6197"/>
                      </a:lnTo>
                      <a:lnTo>
                        <a:pt x="837463" y="6197"/>
                      </a:lnTo>
                      <a:lnTo>
                        <a:pt x="837463" y="762"/>
                      </a:lnTo>
                      <a:close/>
                    </a:path>
                    <a:path w="1036954" h="29845">
                      <a:moveTo>
                        <a:pt x="897940" y="13309"/>
                      </a:moveTo>
                      <a:lnTo>
                        <a:pt x="883881" y="13309"/>
                      </a:lnTo>
                      <a:lnTo>
                        <a:pt x="883881" y="18503"/>
                      </a:lnTo>
                      <a:lnTo>
                        <a:pt x="891235" y="18503"/>
                      </a:lnTo>
                      <a:lnTo>
                        <a:pt x="890955" y="19812"/>
                      </a:lnTo>
                      <a:lnTo>
                        <a:pt x="890752" y="20332"/>
                      </a:lnTo>
                      <a:lnTo>
                        <a:pt x="888923" y="22872"/>
                      </a:lnTo>
                      <a:lnTo>
                        <a:pt x="886498" y="23952"/>
                      </a:lnTo>
                      <a:lnTo>
                        <a:pt x="879043" y="23952"/>
                      </a:lnTo>
                      <a:lnTo>
                        <a:pt x="875461" y="20142"/>
                      </a:lnTo>
                      <a:lnTo>
                        <a:pt x="875461" y="9410"/>
                      </a:lnTo>
                      <a:lnTo>
                        <a:pt x="879005" y="5638"/>
                      </a:lnTo>
                      <a:lnTo>
                        <a:pt x="885596" y="5638"/>
                      </a:lnTo>
                      <a:lnTo>
                        <a:pt x="887018" y="5994"/>
                      </a:lnTo>
                      <a:lnTo>
                        <a:pt x="889647" y="7467"/>
                      </a:lnTo>
                      <a:lnTo>
                        <a:pt x="890193" y="7937"/>
                      </a:lnTo>
                      <a:lnTo>
                        <a:pt x="891235" y="9296"/>
                      </a:lnTo>
                      <a:lnTo>
                        <a:pt x="896200" y="6388"/>
                      </a:lnTo>
                      <a:lnTo>
                        <a:pt x="894969" y="4648"/>
                      </a:lnTo>
                      <a:lnTo>
                        <a:pt x="894448" y="4051"/>
                      </a:lnTo>
                      <a:lnTo>
                        <a:pt x="890841" y="1117"/>
                      </a:lnTo>
                      <a:lnTo>
                        <a:pt x="887463" y="0"/>
                      </a:lnTo>
                      <a:lnTo>
                        <a:pt x="875347" y="0"/>
                      </a:lnTo>
                      <a:lnTo>
                        <a:pt x="869467" y="6032"/>
                      </a:lnTo>
                      <a:lnTo>
                        <a:pt x="869467" y="23393"/>
                      </a:lnTo>
                      <a:lnTo>
                        <a:pt x="875309" y="29387"/>
                      </a:lnTo>
                      <a:lnTo>
                        <a:pt x="889241" y="29387"/>
                      </a:lnTo>
                      <a:lnTo>
                        <a:pt x="894016" y="26657"/>
                      </a:lnTo>
                      <a:lnTo>
                        <a:pt x="896277" y="22123"/>
                      </a:lnTo>
                      <a:lnTo>
                        <a:pt x="897470" y="19773"/>
                      </a:lnTo>
                      <a:lnTo>
                        <a:pt x="897940" y="17233"/>
                      </a:lnTo>
                      <a:lnTo>
                        <a:pt x="897940" y="13309"/>
                      </a:lnTo>
                      <a:close/>
                    </a:path>
                    <a:path w="1036954" h="29845">
                      <a:moveTo>
                        <a:pt x="930719" y="28790"/>
                      </a:moveTo>
                      <a:lnTo>
                        <a:pt x="922667" y="16954"/>
                      </a:lnTo>
                      <a:lnTo>
                        <a:pt x="923696" y="16637"/>
                      </a:lnTo>
                      <a:lnTo>
                        <a:pt x="924801" y="16357"/>
                      </a:lnTo>
                      <a:lnTo>
                        <a:pt x="927938" y="14338"/>
                      </a:lnTo>
                      <a:lnTo>
                        <a:pt x="928420" y="13030"/>
                      </a:lnTo>
                      <a:lnTo>
                        <a:pt x="928928" y="11633"/>
                      </a:lnTo>
                      <a:lnTo>
                        <a:pt x="928928" y="7429"/>
                      </a:lnTo>
                      <a:lnTo>
                        <a:pt x="928497" y="5753"/>
                      </a:lnTo>
                      <a:lnTo>
                        <a:pt x="925474" y="1028"/>
                      </a:lnTo>
                      <a:lnTo>
                        <a:pt x="922972" y="850"/>
                      </a:lnTo>
                      <a:lnTo>
                        <a:pt x="922972" y="6438"/>
                      </a:lnTo>
                      <a:lnTo>
                        <a:pt x="922972" y="9969"/>
                      </a:lnTo>
                      <a:lnTo>
                        <a:pt x="922820" y="10680"/>
                      </a:lnTo>
                      <a:lnTo>
                        <a:pt x="921512" y="12865"/>
                      </a:lnTo>
                      <a:lnTo>
                        <a:pt x="919962" y="13030"/>
                      </a:lnTo>
                      <a:lnTo>
                        <a:pt x="916101" y="13030"/>
                      </a:lnTo>
                      <a:lnTo>
                        <a:pt x="916101" y="5638"/>
                      </a:lnTo>
                      <a:lnTo>
                        <a:pt x="920635" y="5638"/>
                      </a:lnTo>
                      <a:lnTo>
                        <a:pt x="922972" y="6438"/>
                      </a:lnTo>
                      <a:lnTo>
                        <a:pt x="922972" y="850"/>
                      </a:lnTo>
                      <a:lnTo>
                        <a:pt x="921626" y="749"/>
                      </a:lnTo>
                      <a:lnTo>
                        <a:pt x="910145" y="749"/>
                      </a:lnTo>
                      <a:lnTo>
                        <a:pt x="910145" y="28790"/>
                      </a:lnTo>
                      <a:lnTo>
                        <a:pt x="916063" y="28790"/>
                      </a:lnTo>
                      <a:lnTo>
                        <a:pt x="916063" y="16954"/>
                      </a:lnTo>
                      <a:lnTo>
                        <a:pt x="923493" y="28790"/>
                      </a:lnTo>
                      <a:lnTo>
                        <a:pt x="930719" y="28790"/>
                      </a:lnTo>
                      <a:close/>
                    </a:path>
                    <a:path w="1036954" h="29845">
                      <a:moveTo>
                        <a:pt x="970051" y="6362"/>
                      </a:moveTo>
                      <a:lnTo>
                        <a:pt x="969556" y="5880"/>
                      </a:lnTo>
                      <a:lnTo>
                        <a:pt x="963764" y="190"/>
                      </a:lnTo>
                      <a:lnTo>
                        <a:pt x="963764" y="9728"/>
                      </a:lnTo>
                      <a:lnTo>
                        <a:pt x="963726" y="19977"/>
                      </a:lnTo>
                      <a:lnTo>
                        <a:pt x="960120" y="23787"/>
                      </a:lnTo>
                      <a:lnTo>
                        <a:pt x="950226" y="23787"/>
                      </a:lnTo>
                      <a:lnTo>
                        <a:pt x="946378" y="19977"/>
                      </a:lnTo>
                      <a:lnTo>
                        <a:pt x="946492" y="9728"/>
                      </a:lnTo>
                      <a:lnTo>
                        <a:pt x="950226" y="5880"/>
                      </a:lnTo>
                      <a:lnTo>
                        <a:pt x="960120" y="5880"/>
                      </a:lnTo>
                      <a:lnTo>
                        <a:pt x="963764" y="9728"/>
                      </a:lnTo>
                      <a:lnTo>
                        <a:pt x="963764" y="190"/>
                      </a:lnTo>
                      <a:lnTo>
                        <a:pt x="963612" y="38"/>
                      </a:lnTo>
                      <a:lnTo>
                        <a:pt x="946416" y="38"/>
                      </a:lnTo>
                      <a:lnTo>
                        <a:pt x="940181" y="6362"/>
                      </a:lnTo>
                      <a:lnTo>
                        <a:pt x="940181" y="23558"/>
                      </a:lnTo>
                      <a:lnTo>
                        <a:pt x="946378" y="29514"/>
                      </a:lnTo>
                      <a:lnTo>
                        <a:pt x="963968" y="29514"/>
                      </a:lnTo>
                      <a:lnTo>
                        <a:pt x="969733" y="23787"/>
                      </a:lnTo>
                      <a:lnTo>
                        <a:pt x="969962" y="23558"/>
                      </a:lnTo>
                      <a:lnTo>
                        <a:pt x="970051" y="6362"/>
                      </a:lnTo>
                      <a:close/>
                    </a:path>
                    <a:path w="1036954" h="29845">
                      <a:moveTo>
                        <a:pt x="1004011" y="749"/>
                      </a:moveTo>
                      <a:lnTo>
                        <a:pt x="998042" y="749"/>
                      </a:lnTo>
                      <a:lnTo>
                        <a:pt x="998042" y="21729"/>
                      </a:lnTo>
                      <a:lnTo>
                        <a:pt x="996619" y="24066"/>
                      </a:lnTo>
                      <a:lnTo>
                        <a:pt x="991222" y="24066"/>
                      </a:lnTo>
                      <a:lnTo>
                        <a:pt x="989393" y="23507"/>
                      </a:lnTo>
                      <a:lnTo>
                        <a:pt x="987399" y="20853"/>
                      </a:lnTo>
                      <a:lnTo>
                        <a:pt x="987361" y="19583"/>
                      </a:lnTo>
                      <a:lnTo>
                        <a:pt x="987361" y="749"/>
                      </a:lnTo>
                      <a:lnTo>
                        <a:pt x="981405" y="749"/>
                      </a:lnTo>
                      <a:lnTo>
                        <a:pt x="981405" y="20015"/>
                      </a:lnTo>
                      <a:lnTo>
                        <a:pt x="981519" y="21767"/>
                      </a:lnTo>
                      <a:lnTo>
                        <a:pt x="983792" y="27647"/>
                      </a:lnTo>
                      <a:lnTo>
                        <a:pt x="988314" y="29552"/>
                      </a:lnTo>
                      <a:lnTo>
                        <a:pt x="996302" y="29552"/>
                      </a:lnTo>
                      <a:lnTo>
                        <a:pt x="999871" y="28321"/>
                      </a:lnTo>
                      <a:lnTo>
                        <a:pt x="1002017" y="25222"/>
                      </a:lnTo>
                      <a:lnTo>
                        <a:pt x="1003846" y="22593"/>
                      </a:lnTo>
                      <a:lnTo>
                        <a:pt x="1004011" y="19418"/>
                      </a:lnTo>
                      <a:lnTo>
                        <a:pt x="1004011" y="749"/>
                      </a:lnTo>
                      <a:close/>
                    </a:path>
                    <a:path w="1036954" h="29845">
                      <a:moveTo>
                        <a:pt x="1036637" y="7670"/>
                      </a:moveTo>
                      <a:lnTo>
                        <a:pt x="1036218" y="5842"/>
                      </a:lnTo>
                      <a:lnTo>
                        <a:pt x="1033221" y="1701"/>
                      </a:lnTo>
                      <a:lnTo>
                        <a:pt x="1030681" y="977"/>
                      </a:lnTo>
                      <a:lnTo>
                        <a:pt x="1030681" y="12039"/>
                      </a:lnTo>
                      <a:lnTo>
                        <a:pt x="1028814" y="12992"/>
                      </a:lnTo>
                      <a:lnTo>
                        <a:pt x="1023810" y="12992"/>
                      </a:lnTo>
                      <a:lnTo>
                        <a:pt x="1023810" y="5842"/>
                      </a:lnTo>
                      <a:lnTo>
                        <a:pt x="1027620" y="5842"/>
                      </a:lnTo>
                      <a:lnTo>
                        <a:pt x="1029881" y="6388"/>
                      </a:lnTo>
                      <a:lnTo>
                        <a:pt x="1030579" y="7670"/>
                      </a:lnTo>
                      <a:lnTo>
                        <a:pt x="1030681" y="12039"/>
                      </a:lnTo>
                      <a:lnTo>
                        <a:pt x="1030681" y="977"/>
                      </a:lnTo>
                      <a:lnTo>
                        <a:pt x="1027023" y="749"/>
                      </a:lnTo>
                      <a:lnTo>
                        <a:pt x="1017689" y="749"/>
                      </a:lnTo>
                      <a:lnTo>
                        <a:pt x="1017689" y="28790"/>
                      </a:lnTo>
                      <a:lnTo>
                        <a:pt x="1023772" y="28790"/>
                      </a:lnTo>
                      <a:lnTo>
                        <a:pt x="1023772" y="18148"/>
                      </a:lnTo>
                      <a:lnTo>
                        <a:pt x="1029335" y="18148"/>
                      </a:lnTo>
                      <a:lnTo>
                        <a:pt x="1032103" y="17830"/>
                      </a:lnTo>
                      <a:lnTo>
                        <a:pt x="1035799" y="14224"/>
                      </a:lnTo>
                      <a:lnTo>
                        <a:pt x="1036256" y="12992"/>
                      </a:lnTo>
                      <a:lnTo>
                        <a:pt x="1036599" y="12039"/>
                      </a:lnTo>
                      <a:lnTo>
                        <a:pt x="1036637" y="7670"/>
                      </a:lnTo>
                      <a:close/>
                    </a:path>
                  </a:pathLst>
                </a:custGeom>
                <a:solidFill>
                  <a:srgbClr val="00675F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453" name="object 239">
                  <a:extLst>
                    <a:ext uri="{FF2B5EF4-FFF2-40B4-BE49-F238E27FC236}">
                      <a16:creationId xmlns:a16="http://schemas.microsoft.com/office/drawing/2014/main" id="{7A7F48CF-D77F-A4D6-A19A-EEBD63F34DE1}"/>
                    </a:ext>
                  </a:extLst>
                </p:cNvPr>
                <p:cNvPicPr/>
                <p:nvPr/>
              </p:nvPicPr>
              <p:blipFill>
                <a:blip r:embed="rId47" cstate="print"/>
                <a:stretch>
                  <a:fillRect/>
                </a:stretch>
              </p:blipFill>
              <p:spPr>
                <a:xfrm>
                  <a:off x="3456876" y="3833981"/>
                  <a:ext cx="271857" cy="184155"/>
                </a:xfrm>
                <a:prstGeom prst="rect">
                  <a:avLst/>
                </a:prstGeom>
              </p:spPr>
            </p:pic>
            <p:sp>
              <p:nvSpPr>
                <p:cNvPr id="454" name="object 240">
                  <a:extLst>
                    <a:ext uri="{FF2B5EF4-FFF2-40B4-BE49-F238E27FC236}">
                      <a16:creationId xmlns:a16="http://schemas.microsoft.com/office/drawing/2014/main" id="{34A301D9-43D9-2792-4EA8-6D0F2ABBA5FB}"/>
                    </a:ext>
                  </a:extLst>
                </p:cNvPr>
                <p:cNvSpPr/>
                <p:nvPr/>
              </p:nvSpPr>
              <p:spPr>
                <a:xfrm>
                  <a:off x="3687965" y="3893642"/>
                  <a:ext cx="808355" cy="127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08354" h="127000">
                      <a:moveTo>
                        <a:pt x="59474" y="75044"/>
                      </a:moveTo>
                      <a:lnTo>
                        <a:pt x="52781" y="72377"/>
                      </a:lnTo>
                      <a:lnTo>
                        <a:pt x="45021" y="71107"/>
                      </a:lnTo>
                      <a:lnTo>
                        <a:pt x="39878" y="70624"/>
                      </a:lnTo>
                      <a:lnTo>
                        <a:pt x="24676" y="71412"/>
                      </a:lnTo>
                      <a:lnTo>
                        <a:pt x="15760" y="75844"/>
                      </a:lnTo>
                      <a:lnTo>
                        <a:pt x="11544" y="81699"/>
                      </a:lnTo>
                      <a:lnTo>
                        <a:pt x="10414" y="86728"/>
                      </a:lnTo>
                      <a:lnTo>
                        <a:pt x="10134" y="95605"/>
                      </a:lnTo>
                      <a:lnTo>
                        <a:pt x="15595" y="99720"/>
                      </a:lnTo>
                      <a:lnTo>
                        <a:pt x="39954" y="106133"/>
                      </a:lnTo>
                      <a:lnTo>
                        <a:pt x="39585" y="117563"/>
                      </a:lnTo>
                      <a:lnTo>
                        <a:pt x="30632" y="117424"/>
                      </a:lnTo>
                      <a:lnTo>
                        <a:pt x="21018" y="116522"/>
                      </a:lnTo>
                      <a:lnTo>
                        <a:pt x="5727" y="114363"/>
                      </a:lnTo>
                      <a:lnTo>
                        <a:pt x="5283" y="109042"/>
                      </a:lnTo>
                      <a:lnTo>
                        <a:pt x="0" y="120002"/>
                      </a:lnTo>
                      <a:lnTo>
                        <a:pt x="6832" y="122758"/>
                      </a:lnTo>
                      <a:lnTo>
                        <a:pt x="14198" y="124790"/>
                      </a:lnTo>
                      <a:lnTo>
                        <a:pt x="21437" y="126047"/>
                      </a:lnTo>
                      <a:lnTo>
                        <a:pt x="27838" y="126479"/>
                      </a:lnTo>
                      <a:lnTo>
                        <a:pt x="40563" y="124625"/>
                      </a:lnTo>
                      <a:lnTo>
                        <a:pt x="54025" y="101434"/>
                      </a:lnTo>
                      <a:lnTo>
                        <a:pt x="50888" y="95453"/>
                      </a:lnTo>
                      <a:lnTo>
                        <a:pt x="32639" y="89712"/>
                      </a:lnTo>
                      <a:lnTo>
                        <a:pt x="23571" y="88798"/>
                      </a:lnTo>
                      <a:lnTo>
                        <a:pt x="23876" y="79044"/>
                      </a:lnTo>
                      <a:lnTo>
                        <a:pt x="32613" y="78625"/>
                      </a:lnTo>
                      <a:lnTo>
                        <a:pt x="45224" y="79832"/>
                      </a:lnTo>
                      <a:lnTo>
                        <a:pt x="50888" y="81559"/>
                      </a:lnTo>
                      <a:lnTo>
                        <a:pt x="55397" y="83604"/>
                      </a:lnTo>
                      <a:lnTo>
                        <a:pt x="57772" y="78625"/>
                      </a:lnTo>
                      <a:lnTo>
                        <a:pt x="59474" y="75044"/>
                      </a:lnTo>
                      <a:close/>
                    </a:path>
                    <a:path w="808354" h="127000">
                      <a:moveTo>
                        <a:pt x="71424" y="1714"/>
                      </a:moveTo>
                      <a:lnTo>
                        <a:pt x="56108" y="1714"/>
                      </a:lnTo>
                      <a:lnTo>
                        <a:pt x="56311" y="2260"/>
                      </a:lnTo>
                      <a:lnTo>
                        <a:pt x="56451" y="2857"/>
                      </a:lnTo>
                      <a:lnTo>
                        <a:pt x="56451" y="4216"/>
                      </a:lnTo>
                      <a:lnTo>
                        <a:pt x="56299" y="4864"/>
                      </a:lnTo>
                      <a:lnTo>
                        <a:pt x="32524" y="53771"/>
                      </a:lnTo>
                      <a:lnTo>
                        <a:pt x="46088" y="53771"/>
                      </a:lnTo>
                      <a:lnTo>
                        <a:pt x="71424" y="1714"/>
                      </a:lnTo>
                      <a:close/>
                    </a:path>
                    <a:path w="808354" h="127000">
                      <a:moveTo>
                        <a:pt x="112649" y="124485"/>
                      </a:moveTo>
                      <a:lnTo>
                        <a:pt x="112052" y="112610"/>
                      </a:lnTo>
                      <a:lnTo>
                        <a:pt x="111620" y="104127"/>
                      </a:lnTo>
                      <a:lnTo>
                        <a:pt x="110540" y="82727"/>
                      </a:lnTo>
                      <a:lnTo>
                        <a:pt x="110007" y="72326"/>
                      </a:lnTo>
                      <a:lnTo>
                        <a:pt x="99758" y="72339"/>
                      </a:lnTo>
                      <a:lnTo>
                        <a:pt x="99758" y="104127"/>
                      </a:lnTo>
                      <a:lnTo>
                        <a:pt x="81622" y="104127"/>
                      </a:lnTo>
                      <a:lnTo>
                        <a:pt x="99352" y="82727"/>
                      </a:lnTo>
                      <a:lnTo>
                        <a:pt x="99758" y="104127"/>
                      </a:lnTo>
                      <a:lnTo>
                        <a:pt x="99758" y="72339"/>
                      </a:lnTo>
                      <a:lnTo>
                        <a:pt x="95986" y="72339"/>
                      </a:lnTo>
                      <a:lnTo>
                        <a:pt x="95986" y="73609"/>
                      </a:lnTo>
                      <a:lnTo>
                        <a:pt x="95529" y="75069"/>
                      </a:lnTo>
                      <a:lnTo>
                        <a:pt x="52946" y="124485"/>
                      </a:lnTo>
                      <a:lnTo>
                        <a:pt x="64833" y="124485"/>
                      </a:lnTo>
                      <a:lnTo>
                        <a:pt x="74637" y="112610"/>
                      </a:lnTo>
                      <a:lnTo>
                        <a:pt x="99949" y="112610"/>
                      </a:lnTo>
                      <a:lnTo>
                        <a:pt x="100190" y="124485"/>
                      </a:lnTo>
                      <a:lnTo>
                        <a:pt x="112649" y="124485"/>
                      </a:lnTo>
                      <a:close/>
                    </a:path>
                    <a:path w="808354" h="127000">
                      <a:moveTo>
                        <a:pt x="129082" y="1714"/>
                      </a:moveTo>
                      <a:lnTo>
                        <a:pt x="76631" y="1714"/>
                      </a:lnTo>
                      <a:lnTo>
                        <a:pt x="71628" y="12014"/>
                      </a:lnTo>
                      <a:lnTo>
                        <a:pt x="73050" y="10909"/>
                      </a:lnTo>
                      <a:lnTo>
                        <a:pt x="74980" y="10007"/>
                      </a:lnTo>
                      <a:lnTo>
                        <a:pt x="93827" y="10007"/>
                      </a:lnTo>
                      <a:lnTo>
                        <a:pt x="72478" y="53771"/>
                      </a:lnTo>
                      <a:lnTo>
                        <a:pt x="86067" y="53759"/>
                      </a:lnTo>
                      <a:lnTo>
                        <a:pt x="107403" y="10007"/>
                      </a:lnTo>
                      <a:lnTo>
                        <a:pt x="122478" y="10007"/>
                      </a:lnTo>
                      <a:lnTo>
                        <a:pt x="123520" y="10807"/>
                      </a:lnTo>
                      <a:lnTo>
                        <a:pt x="124091" y="12014"/>
                      </a:lnTo>
                      <a:lnTo>
                        <a:pt x="125069" y="10007"/>
                      </a:lnTo>
                      <a:lnTo>
                        <a:pt x="129082" y="1714"/>
                      </a:lnTo>
                      <a:close/>
                    </a:path>
                    <a:path w="808354" h="127000">
                      <a:moveTo>
                        <a:pt x="158737" y="53771"/>
                      </a:moveTo>
                      <a:lnTo>
                        <a:pt x="158140" y="41922"/>
                      </a:lnTo>
                      <a:lnTo>
                        <a:pt x="157708" y="33515"/>
                      </a:lnTo>
                      <a:lnTo>
                        <a:pt x="156629" y="12128"/>
                      </a:lnTo>
                      <a:lnTo>
                        <a:pt x="156095" y="1714"/>
                      </a:lnTo>
                      <a:lnTo>
                        <a:pt x="145923" y="1714"/>
                      </a:lnTo>
                      <a:lnTo>
                        <a:pt x="145923" y="33515"/>
                      </a:lnTo>
                      <a:lnTo>
                        <a:pt x="127800" y="33515"/>
                      </a:lnTo>
                      <a:lnTo>
                        <a:pt x="145516" y="12128"/>
                      </a:lnTo>
                      <a:lnTo>
                        <a:pt x="145923" y="33515"/>
                      </a:lnTo>
                      <a:lnTo>
                        <a:pt x="145923" y="1714"/>
                      </a:lnTo>
                      <a:lnTo>
                        <a:pt x="142125" y="1714"/>
                      </a:lnTo>
                      <a:lnTo>
                        <a:pt x="142125" y="2997"/>
                      </a:lnTo>
                      <a:lnTo>
                        <a:pt x="141643" y="4445"/>
                      </a:lnTo>
                      <a:lnTo>
                        <a:pt x="140398" y="5930"/>
                      </a:lnTo>
                      <a:lnTo>
                        <a:pt x="99148" y="53771"/>
                      </a:lnTo>
                      <a:lnTo>
                        <a:pt x="111010" y="53759"/>
                      </a:lnTo>
                      <a:lnTo>
                        <a:pt x="120789" y="41922"/>
                      </a:lnTo>
                      <a:lnTo>
                        <a:pt x="146050" y="41922"/>
                      </a:lnTo>
                      <a:lnTo>
                        <a:pt x="146304" y="53771"/>
                      </a:lnTo>
                      <a:lnTo>
                        <a:pt x="158737" y="53771"/>
                      </a:lnTo>
                      <a:close/>
                    </a:path>
                    <a:path w="808354" h="127000">
                      <a:moveTo>
                        <a:pt x="190627" y="72326"/>
                      </a:moveTo>
                      <a:lnTo>
                        <a:pt x="175094" y="72326"/>
                      </a:lnTo>
                      <a:lnTo>
                        <a:pt x="175641" y="73456"/>
                      </a:lnTo>
                      <a:lnTo>
                        <a:pt x="175704" y="75082"/>
                      </a:lnTo>
                      <a:lnTo>
                        <a:pt x="157886" y="111683"/>
                      </a:lnTo>
                      <a:lnTo>
                        <a:pt x="151930" y="118567"/>
                      </a:lnTo>
                      <a:lnTo>
                        <a:pt x="133261" y="118567"/>
                      </a:lnTo>
                      <a:lnTo>
                        <a:pt x="130594" y="112191"/>
                      </a:lnTo>
                      <a:lnTo>
                        <a:pt x="133426" y="106413"/>
                      </a:lnTo>
                      <a:lnTo>
                        <a:pt x="150025" y="72326"/>
                      </a:lnTo>
                      <a:lnTo>
                        <a:pt x="134454" y="72326"/>
                      </a:lnTo>
                      <a:lnTo>
                        <a:pt x="135001" y="73456"/>
                      </a:lnTo>
                      <a:lnTo>
                        <a:pt x="135064" y="75082"/>
                      </a:lnTo>
                      <a:lnTo>
                        <a:pt x="121754" y="102387"/>
                      </a:lnTo>
                      <a:lnTo>
                        <a:pt x="119964" y="110502"/>
                      </a:lnTo>
                      <a:lnTo>
                        <a:pt x="122389" y="118325"/>
                      </a:lnTo>
                      <a:lnTo>
                        <a:pt x="129527" y="124206"/>
                      </a:lnTo>
                      <a:lnTo>
                        <a:pt x="141833" y="126530"/>
                      </a:lnTo>
                      <a:lnTo>
                        <a:pt x="151091" y="125374"/>
                      </a:lnTo>
                      <a:lnTo>
                        <a:pt x="159969" y="121767"/>
                      </a:lnTo>
                      <a:lnTo>
                        <a:pt x="164007" y="118567"/>
                      </a:lnTo>
                      <a:lnTo>
                        <a:pt x="167830" y="115531"/>
                      </a:lnTo>
                      <a:lnTo>
                        <a:pt x="174040" y="106413"/>
                      </a:lnTo>
                      <a:lnTo>
                        <a:pt x="190627" y="72326"/>
                      </a:lnTo>
                      <a:close/>
                    </a:path>
                    <a:path w="808354" h="127000">
                      <a:moveTo>
                        <a:pt x="206044" y="43230"/>
                      </a:moveTo>
                      <a:lnTo>
                        <a:pt x="205105" y="44094"/>
                      </a:lnTo>
                      <a:lnTo>
                        <a:pt x="202425" y="44932"/>
                      </a:lnTo>
                      <a:lnTo>
                        <a:pt x="180365" y="44932"/>
                      </a:lnTo>
                      <a:lnTo>
                        <a:pt x="201422" y="1714"/>
                      </a:lnTo>
                      <a:lnTo>
                        <a:pt x="186169" y="1714"/>
                      </a:lnTo>
                      <a:lnTo>
                        <a:pt x="186397" y="2247"/>
                      </a:lnTo>
                      <a:lnTo>
                        <a:pt x="186512" y="4178"/>
                      </a:lnTo>
                      <a:lnTo>
                        <a:pt x="186372" y="4826"/>
                      </a:lnTo>
                      <a:lnTo>
                        <a:pt x="162560" y="53771"/>
                      </a:lnTo>
                      <a:lnTo>
                        <a:pt x="200914" y="53771"/>
                      </a:lnTo>
                      <a:lnTo>
                        <a:pt x="205219" y="44932"/>
                      </a:lnTo>
                      <a:lnTo>
                        <a:pt x="206044" y="43230"/>
                      </a:lnTo>
                      <a:close/>
                    </a:path>
                    <a:path w="808354" h="127000">
                      <a:moveTo>
                        <a:pt x="245262" y="90004"/>
                      </a:moveTo>
                      <a:lnTo>
                        <a:pt x="243586" y="81140"/>
                      </a:lnTo>
                      <a:lnTo>
                        <a:pt x="243446" y="80378"/>
                      </a:lnTo>
                      <a:lnTo>
                        <a:pt x="238594" y="75082"/>
                      </a:lnTo>
                      <a:lnTo>
                        <a:pt x="232664" y="73164"/>
                      </a:lnTo>
                      <a:lnTo>
                        <a:pt x="232664" y="89141"/>
                      </a:lnTo>
                      <a:lnTo>
                        <a:pt x="230784" y="98691"/>
                      </a:lnTo>
                      <a:lnTo>
                        <a:pt x="225298" y="107353"/>
                      </a:lnTo>
                      <a:lnTo>
                        <a:pt x="216509" y="113652"/>
                      </a:lnTo>
                      <a:lnTo>
                        <a:pt x="204685" y="116090"/>
                      </a:lnTo>
                      <a:lnTo>
                        <a:pt x="195224" y="116090"/>
                      </a:lnTo>
                      <a:lnTo>
                        <a:pt x="212229" y="81140"/>
                      </a:lnTo>
                      <a:lnTo>
                        <a:pt x="222973" y="81140"/>
                      </a:lnTo>
                      <a:lnTo>
                        <a:pt x="230314" y="81203"/>
                      </a:lnTo>
                      <a:lnTo>
                        <a:pt x="232651" y="85064"/>
                      </a:lnTo>
                      <a:lnTo>
                        <a:pt x="232664" y="89141"/>
                      </a:lnTo>
                      <a:lnTo>
                        <a:pt x="232664" y="73164"/>
                      </a:lnTo>
                      <a:lnTo>
                        <a:pt x="231673" y="72834"/>
                      </a:lnTo>
                      <a:lnTo>
                        <a:pt x="223596" y="72313"/>
                      </a:lnTo>
                      <a:lnTo>
                        <a:pt x="201155" y="72313"/>
                      </a:lnTo>
                      <a:lnTo>
                        <a:pt x="201371" y="72834"/>
                      </a:lnTo>
                      <a:lnTo>
                        <a:pt x="201447" y="75069"/>
                      </a:lnTo>
                      <a:lnTo>
                        <a:pt x="201345" y="75463"/>
                      </a:lnTo>
                      <a:lnTo>
                        <a:pt x="177507" y="124498"/>
                      </a:lnTo>
                      <a:lnTo>
                        <a:pt x="207302" y="124485"/>
                      </a:lnTo>
                      <a:lnTo>
                        <a:pt x="225044" y="121043"/>
                      </a:lnTo>
                      <a:lnTo>
                        <a:pt x="231800" y="116090"/>
                      </a:lnTo>
                      <a:lnTo>
                        <a:pt x="236804" y="112420"/>
                      </a:lnTo>
                      <a:lnTo>
                        <a:pt x="243281" y="101206"/>
                      </a:lnTo>
                      <a:lnTo>
                        <a:pt x="245262" y="90004"/>
                      </a:lnTo>
                      <a:close/>
                    </a:path>
                    <a:path w="808354" h="127000">
                      <a:moveTo>
                        <a:pt x="247789" y="1714"/>
                      </a:moveTo>
                      <a:lnTo>
                        <a:pt x="232460" y="1714"/>
                      </a:lnTo>
                      <a:lnTo>
                        <a:pt x="232676" y="2260"/>
                      </a:lnTo>
                      <a:lnTo>
                        <a:pt x="232765" y="4445"/>
                      </a:lnTo>
                      <a:lnTo>
                        <a:pt x="232664" y="4851"/>
                      </a:lnTo>
                      <a:lnTo>
                        <a:pt x="208889" y="53771"/>
                      </a:lnTo>
                      <a:lnTo>
                        <a:pt x="222465" y="53759"/>
                      </a:lnTo>
                      <a:lnTo>
                        <a:pt x="247789" y="1714"/>
                      </a:lnTo>
                      <a:close/>
                    </a:path>
                    <a:path w="808354" h="127000">
                      <a:moveTo>
                        <a:pt x="280301" y="72326"/>
                      </a:moveTo>
                      <a:lnTo>
                        <a:pt x="264947" y="72326"/>
                      </a:lnTo>
                      <a:lnTo>
                        <a:pt x="265150" y="72834"/>
                      </a:lnTo>
                      <a:lnTo>
                        <a:pt x="265252" y="75069"/>
                      </a:lnTo>
                      <a:lnTo>
                        <a:pt x="265150" y="75463"/>
                      </a:lnTo>
                      <a:lnTo>
                        <a:pt x="241325" y="124498"/>
                      </a:lnTo>
                      <a:lnTo>
                        <a:pt x="254901" y="124485"/>
                      </a:lnTo>
                      <a:lnTo>
                        <a:pt x="280301" y="72326"/>
                      </a:lnTo>
                      <a:close/>
                    </a:path>
                    <a:path w="808354" h="127000">
                      <a:moveTo>
                        <a:pt x="289445" y="53771"/>
                      </a:moveTo>
                      <a:lnTo>
                        <a:pt x="288848" y="41922"/>
                      </a:lnTo>
                      <a:lnTo>
                        <a:pt x="288417" y="33515"/>
                      </a:lnTo>
                      <a:lnTo>
                        <a:pt x="287337" y="12128"/>
                      </a:lnTo>
                      <a:lnTo>
                        <a:pt x="286804" y="1714"/>
                      </a:lnTo>
                      <a:lnTo>
                        <a:pt x="276631" y="1714"/>
                      </a:lnTo>
                      <a:lnTo>
                        <a:pt x="276631" y="33515"/>
                      </a:lnTo>
                      <a:lnTo>
                        <a:pt x="258508" y="33515"/>
                      </a:lnTo>
                      <a:lnTo>
                        <a:pt x="276225" y="12128"/>
                      </a:lnTo>
                      <a:lnTo>
                        <a:pt x="276631" y="33515"/>
                      </a:lnTo>
                      <a:lnTo>
                        <a:pt x="276631" y="1714"/>
                      </a:lnTo>
                      <a:lnTo>
                        <a:pt x="272834" y="1714"/>
                      </a:lnTo>
                      <a:lnTo>
                        <a:pt x="272834" y="2997"/>
                      </a:lnTo>
                      <a:lnTo>
                        <a:pt x="272351" y="4445"/>
                      </a:lnTo>
                      <a:lnTo>
                        <a:pt x="271106" y="5930"/>
                      </a:lnTo>
                      <a:lnTo>
                        <a:pt x="229857" y="53771"/>
                      </a:lnTo>
                      <a:lnTo>
                        <a:pt x="241719" y="53759"/>
                      </a:lnTo>
                      <a:lnTo>
                        <a:pt x="251498" y="41922"/>
                      </a:lnTo>
                      <a:lnTo>
                        <a:pt x="276758" y="41922"/>
                      </a:lnTo>
                      <a:lnTo>
                        <a:pt x="277012" y="53771"/>
                      </a:lnTo>
                      <a:lnTo>
                        <a:pt x="289445" y="53771"/>
                      </a:lnTo>
                      <a:close/>
                    </a:path>
                    <a:path w="808354" h="127000">
                      <a:moveTo>
                        <a:pt x="344233" y="124485"/>
                      </a:moveTo>
                      <a:lnTo>
                        <a:pt x="343636" y="112610"/>
                      </a:lnTo>
                      <a:lnTo>
                        <a:pt x="343204" y="104127"/>
                      </a:lnTo>
                      <a:lnTo>
                        <a:pt x="342112" y="82727"/>
                      </a:lnTo>
                      <a:lnTo>
                        <a:pt x="341579" y="72326"/>
                      </a:lnTo>
                      <a:lnTo>
                        <a:pt x="331343" y="72339"/>
                      </a:lnTo>
                      <a:lnTo>
                        <a:pt x="331343" y="104127"/>
                      </a:lnTo>
                      <a:lnTo>
                        <a:pt x="313194" y="104127"/>
                      </a:lnTo>
                      <a:lnTo>
                        <a:pt x="330923" y="82727"/>
                      </a:lnTo>
                      <a:lnTo>
                        <a:pt x="331343" y="104127"/>
                      </a:lnTo>
                      <a:lnTo>
                        <a:pt x="331343" y="72339"/>
                      </a:lnTo>
                      <a:lnTo>
                        <a:pt x="327558" y="72339"/>
                      </a:lnTo>
                      <a:lnTo>
                        <a:pt x="327558" y="73609"/>
                      </a:lnTo>
                      <a:lnTo>
                        <a:pt x="327101" y="75069"/>
                      </a:lnTo>
                      <a:lnTo>
                        <a:pt x="284518" y="124485"/>
                      </a:lnTo>
                      <a:lnTo>
                        <a:pt x="296405" y="124485"/>
                      </a:lnTo>
                      <a:lnTo>
                        <a:pt x="306209" y="112610"/>
                      </a:lnTo>
                      <a:lnTo>
                        <a:pt x="331520" y="112610"/>
                      </a:lnTo>
                      <a:lnTo>
                        <a:pt x="331774" y="124485"/>
                      </a:lnTo>
                      <a:lnTo>
                        <a:pt x="344233" y="124485"/>
                      </a:lnTo>
                      <a:close/>
                    </a:path>
                    <a:path w="808354" h="127000">
                      <a:moveTo>
                        <a:pt x="370471" y="1714"/>
                      </a:moveTo>
                      <a:lnTo>
                        <a:pt x="359333" y="1714"/>
                      </a:lnTo>
                      <a:lnTo>
                        <a:pt x="359575" y="2247"/>
                      </a:lnTo>
                      <a:lnTo>
                        <a:pt x="359702" y="4165"/>
                      </a:lnTo>
                      <a:lnTo>
                        <a:pt x="359562" y="4813"/>
                      </a:lnTo>
                      <a:lnTo>
                        <a:pt x="343458" y="37884"/>
                      </a:lnTo>
                      <a:lnTo>
                        <a:pt x="335470" y="15049"/>
                      </a:lnTo>
                      <a:lnTo>
                        <a:pt x="330809" y="1714"/>
                      </a:lnTo>
                      <a:lnTo>
                        <a:pt x="317322" y="1714"/>
                      </a:lnTo>
                      <a:lnTo>
                        <a:pt x="317576" y="2247"/>
                      </a:lnTo>
                      <a:lnTo>
                        <a:pt x="317690" y="4165"/>
                      </a:lnTo>
                      <a:lnTo>
                        <a:pt x="317538" y="4813"/>
                      </a:lnTo>
                      <a:lnTo>
                        <a:pt x="293725" y="53771"/>
                      </a:lnTo>
                      <a:lnTo>
                        <a:pt x="303161" y="53759"/>
                      </a:lnTo>
                      <a:lnTo>
                        <a:pt x="321957" y="15049"/>
                      </a:lnTo>
                      <a:lnTo>
                        <a:pt x="335432" y="53771"/>
                      </a:lnTo>
                      <a:lnTo>
                        <a:pt x="345147" y="53759"/>
                      </a:lnTo>
                      <a:lnTo>
                        <a:pt x="352869" y="37884"/>
                      </a:lnTo>
                      <a:lnTo>
                        <a:pt x="370471" y="1714"/>
                      </a:lnTo>
                      <a:close/>
                    </a:path>
                    <a:path w="808354" h="127000">
                      <a:moveTo>
                        <a:pt x="416890" y="72174"/>
                      </a:moveTo>
                      <a:lnTo>
                        <a:pt x="406933" y="72313"/>
                      </a:lnTo>
                      <a:lnTo>
                        <a:pt x="403847" y="72313"/>
                      </a:lnTo>
                      <a:lnTo>
                        <a:pt x="403847" y="89992"/>
                      </a:lnTo>
                      <a:lnTo>
                        <a:pt x="398919" y="94653"/>
                      </a:lnTo>
                      <a:lnTo>
                        <a:pt x="378955" y="94665"/>
                      </a:lnTo>
                      <a:lnTo>
                        <a:pt x="385838" y="80606"/>
                      </a:lnTo>
                      <a:lnTo>
                        <a:pt x="402564" y="80606"/>
                      </a:lnTo>
                      <a:lnTo>
                        <a:pt x="403745" y="82727"/>
                      </a:lnTo>
                      <a:lnTo>
                        <a:pt x="403847" y="89992"/>
                      </a:lnTo>
                      <a:lnTo>
                        <a:pt x="403847" y="72313"/>
                      </a:lnTo>
                      <a:lnTo>
                        <a:pt x="374523" y="72313"/>
                      </a:lnTo>
                      <a:lnTo>
                        <a:pt x="374751" y="72859"/>
                      </a:lnTo>
                      <a:lnTo>
                        <a:pt x="374789" y="75069"/>
                      </a:lnTo>
                      <a:lnTo>
                        <a:pt x="374700" y="75463"/>
                      </a:lnTo>
                      <a:lnTo>
                        <a:pt x="350875" y="124498"/>
                      </a:lnTo>
                      <a:lnTo>
                        <a:pt x="364464" y="124485"/>
                      </a:lnTo>
                      <a:lnTo>
                        <a:pt x="374942" y="102908"/>
                      </a:lnTo>
                      <a:lnTo>
                        <a:pt x="389153" y="102908"/>
                      </a:lnTo>
                      <a:lnTo>
                        <a:pt x="393458" y="124498"/>
                      </a:lnTo>
                      <a:lnTo>
                        <a:pt x="408051" y="124498"/>
                      </a:lnTo>
                      <a:lnTo>
                        <a:pt x="407174" y="123964"/>
                      </a:lnTo>
                      <a:lnTo>
                        <a:pt x="406006" y="122631"/>
                      </a:lnTo>
                      <a:lnTo>
                        <a:pt x="401675" y="102908"/>
                      </a:lnTo>
                      <a:lnTo>
                        <a:pt x="401637" y="102768"/>
                      </a:lnTo>
                      <a:lnTo>
                        <a:pt x="406158" y="102133"/>
                      </a:lnTo>
                      <a:lnTo>
                        <a:pt x="416877" y="95631"/>
                      </a:lnTo>
                      <a:lnTo>
                        <a:pt x="416877" y="94665"/>
                      </a:lnTo>
                      <a:lnTo>
                        <a:pt x="416890" y="80606"/>
                      </a:lnTo>
                      <a:lnTo>
                        <a:pt x="416890" y="72174"/>
                      </a:lnTo>
                      <a:close/>
                    </a:path>
                    <a:path w="808354" h="127000">
                      <a:moveTo>
                        <a:pt x="448322" y="25006"/>
                      </a:moveTo>
                      <a:lnTo>
                        <a:pt x="448310" y="24053"/>
                      </a:lnTo>
                      <a:lnTo>
                        <a:pt x="448183" y="10045"/>
                      </a:lnTo>
                      <a:lnTo>
                        <a:pt x="448094" y="1574"/>
                      </a:lnTo>
                      <a:lnTo>
                        <a:pt x="437946" y="1714"/>
                      </a:lnTo>
                      <a:lnTo>
                        <a:pt x="434924" y="1727"/>
                      </a:lnTo>
                      <a:lnTo>
                        <a:pt x="434924" y="19405"/>
                      </a:lnTo>
                      <a:lnTo>
                        <a:pt x="429958" y="24041"/>
                      </a:lnTo>
                      <a:lnTo>
                        <a:pt x="409663" y="24053"/>
                      </a:lnTo>
                      <a:lnTo>
                        <a:pt x="416509" y="10045"/>
                      </a:lnTo>
                      <a:lnTo>
                        <a:pt x="433514" y="10045"/>
                      </a:lnTo>
                      <a:lnTo>
                        <a:pt x="434848" y="12357"/>
                      </a:lnTo>
                      <a:lnTo>
                        <a:pt x="434924" y="19405"/>
                      </a:lnTo>
                      <a:lnTo>
                        <a:pt x="434924" y="1727"/>
                      </a:lnTo>
                      <a:lnTo>
                        <a:pt x="404952" y="1727"/>
                      </a:lnTo>
                      <a:lnTo>
                        <a:pt x="405168" y="2260"/>
                      </a:lnTo>
                      <a:lnTo>
                        <a:pt x="405257" y="4445"/>
                      </a:lnTo>
                      <a:lnTo>
                        <a:pt x="405168" y="4851"/>
                      </a:lnTo>
                      <a:lnTo>
                        <a:pt x="381381" y="53771"/>
                      </a:lnTo>
                      <a:lnTo>
                        <a:pt x="395224" y="53759"/>
                      </a:lnTo>
                      <a:lnTo>
                        <a:pt x="405688" y="32258"/>
                      </a:lnTo>
                      <a:lnTo>
                        <a:pt x="420154" y="32258"/>
                      </a:lnTo>
                      <a:lnTo>
                        <a:pt x="424764" y="53771"/>
                      </a:lnTo>
                      <a:lnTo>
                        <a:pt x="439610" y="53771"/>
                      </a:lnTo>
                      <a:lnTo>
                        <a:pt x="438708" y="53238"/>
                      </a:lnTo>
                      <a:lnTo>
                        <a:pt x="437515" y="51943"/>
                      </a:lnTo>
                      <a:lnTo>
                        <a:pt x="432904" y="32258"/>
                      </a:lnTo>
                      <a:lnTo>
                        <a:pt x="432866" y="32118"/>
                      </a:lnTo>
                      <a:lnTo>
                        <a:pt x="437476" y="31483"/>
                      </a:lnTo>
                      <a:lnTo>
                        <a:pt x="448322" y="25006"/>
                      </a:lnTo>
                      <a:close/>
                    </a:path>
                    <a:path w="808354" h="127000">
                      <a:moveTo>
                        <a:pt x="472986" y="124485"/>
                      </a:moveTo>
                      <a:lnTo>
                        <a:pt x="472389" y="112610"/>
                      </a:lnTo>
                      <a:lnTo>
                        <a:pt x="471957" y="104127"/>
                      </a:lnTo>
                      <a:lnTo>
                        <a:pt x="470877" y="82727"/>
                      </a:lnTo>
                      <a:lnTo>
                        <a:pt x="470344" y="72326"/>
                      </a:lnTo>
                      <a:lnTo>
                        <a:pt x="460095" y="72339"/>
                      </a:lnTo>
                      <a:lnTo>
                        <a:pt x="460095" y="104127"/>
                      </a:lnTo>
                      <a:lnTo>
                        <a:pt x="441960" y="104127"/>
                      </a:lnTo>
                      <a:lnTo>
                        <a:pt x="459676" y="82727"/>
                      </a:lnTo>
                      <a:lnTo>
                        <a:pt x="460095" y="104127"/>
                      </a:lnTo>
                      <a:lnTo>
                        <a:pt x="460095" y="72339"/>
                      </a:lnTo>
                      <a:lnTo>
                        <a:pt x="456323" y="72339"/>
                      </a:lnTo>
                      <a:lnTo>
                        <a:pt x="456323" y="73609"/>
                      </a:lnTo>
                      <a:lnTo>
                        <a:pt x="455866" y="75069"/>
                      </a:lnTo>
                      <a:lnTo>
                        <a:pt x="413283" y="124485"/>
                      </a:lnTo>
                      <a:lnTo>
                        <a:pt x="425170" y="124485"/>
                      </a:lnTo>
                      <a:lnTo>
                        <a:pt x="434962" y="112610"/>
                      </a:lnTo>
                      <a:lnTo>
                        <a:pt x="460286" y="112610"/>
                      </a:lnTo>
                      <a:lnTo>
                        <a:pt x="460527" y="124485"/>
                      </a:lnTo>
                      <a:lnTo>
                        <a:pt x="472986" y="124485"/>
                      </a:lnTo>
                      <a:close/>
                    </a:path>
                    <a:path w="808354" h="127000">
                      <a:moveTo>
                        <a:pt x="502615" y="53771"/>
                      </a:moveTo>
                      <a:lnTo>
                        <a:pt x="502018" y="41922"/>
                      </a:lnTo>
                      <a:lnTo>
                        <a:pt x="501586" y="33515"/>
                      </a:lnTo>
                      <a:lnTo>
                        <a:pt x="500507" y="12128"/>
                      </a:lnTo>
                      <a:lnTo>
                        <a:pt x="499973" y="1714"/>
                      </a:lnTo>
                      <a:lnTo>
                        <a:pt x="489788" y="1714"/>
                      </a:lnTo>
                      <a:lnTo>
                        <a:pt x="489788" y="33515"/>
                      </a:lnTo>
                      <a:lnTo>
                        <a:pt x="471665" y="33515"/>
                      </a:lnTo>
                      <a:lnTo>
                        <a:pt x="489394" y="12128"/>
                      </a:lnTo>
                      <a:lnTo>
                        <a:pt x="489788" y="33515"/>
                      </a:lnTo>
                      <a:lnTo>
                        <a:pt x="489788" y="1714"/>
                      </a:lnTo>
                      <a:lnTo>
                        <a:pt x="485990" y="1714"/>
                      </a:lnTo>
                      <a:lnTo>
                        <a:pt x="485990" y="2997"/>
                      </a:lnTo>
                      <a:lnTo>
                        <a:pt x="485521" y="4445"/>
                      </a:lnTo>
                      <a:lnTo>
                        <a:pt x="484276" y="5930"/>
                      </a:lnTo>
                      <a:lnTo>
                        <a:pt x="443026" y="53771"/>
                      </a:lnTo>
                      <a:lnTo>
                        <a:pt x="454888" y="53759"/>
                      </a:lnTo>
                      <a:lnTo>
                        <a:pt x="464667" y="41922"/>
                      </a:lnTo>
                      <a:lnTo>
                        <a:pt x="489927" y="41922"/>
                      </a:lnTo>
                      <a:lnTo>
                        <a:pt x="490181" y="53771"/>
                      </a:lnTo>
                      <a:lnTo>
                        <a:pt x="502615" y="53771"/>
                      </a:lnTo>
                      <a:close/>
                    </a:path>
                    <a:path w="808354" h="127000">
                      <a:moveTo>
                        <a:pt x="545033" y="80822"/>
                      </a:moveTo>
                      <a:lnTo>
                        <a:pt x="544944" y="75463"/>
                      </a:lnTo>
                      <a:lnTo>
                        <a:pt x="540181" y="72339"/>
                      </a:lnTo>
                      <a:lnTo>
                        <a:pt x="532930" y="72339"/>
                      </a:lnTo>
                      <a:lnTo>
                        <a:pt x="532930" y="82537"/>
                      </a:lnTo>
                      <a:lnTo>
                        <a:pt x="532930" y="88265"/>
                      </a:lnTo>
                      <a:lnTo>
                        <a:pt x="529666" y="92684"/>
                      </a:lnTo>
                      <a:lnTo>
                        <a:pt x="527735" y="92684"/>
                      </a:lnTo>
                      <a:lnTo>
                        <a:pt x="527735" y="103949"/>
                      </a:lnTo>
                      <a:lnTo>
                        <a:pt x="527735" y="112471"/>
                      </a:lnTo>
                      <a:lnTo>
                        <a:pt x="521817" y="116001"/>
                      </a:lnTo>
                      <a:lnTo>
                        <a:pt x="497941" y="116001"/>
                      </a:lnTo>
                      <a:lnTo>
                        <a:pt x="504964" y="101600"/>
                      </a:lnTo>
                      <a:lnTo>
                        <a:pt x="526592" y="101600"/>
                      </a:lnTo>
                      <a:lnTo>
                        <a:pt x="527735" y="103949"/>
                      </a:lnTo>
                      <a:lnTo>
                        <a:pt x="527735" y="92684"/>
                      </a:lnTo>
                      <a:lnTo>
                        <a:pt x="509295" y="92684"/>
                      </a:lnTo>
                      <a:lnTo>
                        <a:pt x="515073" y="80822"/>
                      </a:lnTo>
                      <a:lnTo>
                        <a:pt x="532193" y="80822"/>
                      </a:lnTo>
                      <a:lnTo>
                        <a:pt x="532930" y="82537"/>
                      </a:lnTo>
                      <a:lnTo>
                        <a:pt x="532930" y="72339"/>
                      </a:lnTo>
                      <a:lnTo>
                        <a:pt x="503466" y="72339"/>
                      </a:lnTo>
                      <a:lnTo>
                        <a:pt x="503796" y="72986"/>
                      </a:lnTo>
                      <a:lnTo>
                        <a:pt x="503910" y="73469"/>
                      </a:lnTo>
                      <a:lnTo>
                        <a:pt x="503936" y="75526"/>
                      </a:lnTo>
                      <a:lnTo>
                        <a:pt x="503809" y="76073"/>
                      </a:lnTo>
                      <a:lnTo>
                        <a:pt x="480237" y="124472"/>
                      </a:lnTo>
                      <a:lnTo>
                        <a:pt x="517779" y="124472"/>
                      </a:lnTo>
                      <a:lnTo>
                        <a:pt x="540677" y="106426"/>
                      </a:lnTo>
                      <a:lnTo>
                        <a:pt x="540677" y="102882"/>
                      </a:lnTo>
                      <a:lnTo>
                        <a:pt x="540105" y="101600"/>
                      </a:lnTo>
                      <a:lnTo>
                        <a:pt x="539064" y="99263"/>
                      </a:lnTo>
                      <a:lnTo>
                        <a:pt x="535444" y="97358"/>
                      </a:lnTo>
                      <a:lnTo>
                        <a:pt x="539584" y="95313"/>
                      </a:lnTo>
                      <a:lnTo>
                        <a:pt x="543318" y="92684"/>
                      </a:lnTo>
                      <a:lnTo>
                        <a:pt x="545020" y="91478"/>
                      </a:lnTo>
                      <a:lnTo>
                        <a:pt x="545033" y="80822"/>
                      </a:lnTo>
                      <a:close/>
                    </a:path>
                    <a:path w="808354" h="127000">
                      <a:moveTo>
                        <a:pt x="547966" y="1714"/>
                      </a:moveTo>
                      <a:lnTo>
                        <a:pt x="532650" y="1714"/>
                      </a:lnTo>
                      <a:lnTo>
                        <a:pt x="532879" y="2247"/>
                      </a:lnTo>
                      <a:lnTo>
                        <a:pt x="532993" y="4191"/>
                      </a:lnTo>
                      <a:lnTo>
                        <a:pt x="532853" y="4826"/>
                      </a:lnTo>
                      <a:lnTo>
                        <a:pt x="532599" y="5397"/>
                      </a:lnTo>
                      <a:lnTo>
                        <a:pt x="509066" y="53771"/>
                      </a:lnTo>
                      <a:lnTo>
                        <a:pt x="522617" y="53771"/>
                      </a:lnTo>
                      <a:lnTo>
                        <a:pt x="547966" y="1714"/>
                      </a:lnTo>
                      <a:close/>
                    </a:path>
                    <a:path w="808354" h="127000">
                      <a:moveTo>
                        <a:pt x="578231" y="43230"/>
                      </a:moveTo>
                      <a:lnTo>
                        <a:pt x="577291" y="44094"/>
                      </a:lnTo>
                      <a:lnTo>
                        <a:pt x="574611" y="44932"/>
                      </a:lnTo>
                      <a:lnTo>
                        <a:pt x="552551" y="44932"/>
                      </a:lnTo>
                      <a:lnTo>
                        <a:pt x="573608" y="1714"/>
                      </a:lnTo>
                      <a:lnTo>
                        <a:pt x="558355" y="1714"/>
                      </a:lnTo>
                      <a:lnTo>
                        <a:pt x="558571" y="2247"/>
                      </a:lnTo>
                      <a:lnTo>
                        <a:pt x="558698" y="4191"/>
                      </a:lnTo>
                      <a:lnTo>
                        <a:pt x="558546" y="4826"/>
                      </a:lnTo>
                      <a:lnTo>
                        <a:pt x="558292" y="5397"/>
                      </a:lnTo>
                      <a:lnTo>
                        <a:pt x="534746" y="53771"/>
                      </a:lnTo>
                      <a:lnTo>
                        <a:pt x="573100" y="53771"/>
                      </a:lnTo>
                      <a:lnTo>
                        <a:pt x="577405" y="44932"/>
                      </a:lnTo>
                      <a:lnTo>
                        <a:pt x="578231" y="43230"/>
                      </a:lnTo>
                      <a:close/>
                    </a:path>
                    <a:path w="808354" h="127000">
                      <a:moveTo>
                        <a:pt x="581736" y="72326"/>
                      </a:moveTo>
                      <a:lnTo>
                        <a:pt x="566381" y="72326"/>
                      </a:lnTo>
                      <a:lnTo>
                        <a:pt x="566610" y="72859"/>
                      </a:lnTo>
                      <a:lnTo>
                        <a:pt x="566686" y="75069"/>
                      </a:lnTo>
                      <a:lnTo>
                        <a:pt x="566559" y="75526"/>
                      </a:lnTo>
                      <a:lnTo>
                        <a:pt x="566318" y="76073"/>
                      </a:lnTo>
                      <a:lnTo>
                        <a:pt x="542759" y="124498"/>
                      </a:lnTo>
                      <a:lnTo>
                        <a:pt x="556361" y="124472"/>
                      </a:lnTo>
                      <a:lnTo>
                        <a:pt x="581736" y="72326"/>
                      </a:lnTo>
                      <a:close/>
                    </a:path>
                    <a:path w="808354" h="127000">
                      <a:moveTo>
                        <a:pt x="624840" y="124485"/>
                      </a:moveTo>
                      <a:lnTo>
                        <a:pt x="624243" y="112610"/>
                      </a:lnTo>
                      <a:lnTo>
                        <a:pt x="623811" y="104127"/>
                      </a:lnTo>
                      <a:lnTo>
                        <a:pt x="622731" y="82727"/>
                      </a:lnTo>
                      <a:lnTo>
                        <a:pt x="622198" y="72326"/>
                      </a:lnTo>
                      <a:lnTo>
                        <a:pt x="611949" y="72339"/>
                      </a:lnTo>
                      <a:lnTo>
                        <a:pt x="611949" y="104127"/>
                      </a:lnTo>
                      <a:lnTo>
                        <a:pt x="593813" y="104127"/>
                      </a:lnTo>
                      <a:lnTo>
                        <a:pt x="611530" y="82727"/>
                      </a:lnTo>
                      <a:lnTo>
                        <a:pt x="611949" y="104127"/>
                      </a:lnTo>
                      <a:lnTo>
                        <a:pt x="611949" y="72339"/>
                      </a:lnTo>
                      <a:lnTo>
                        <a:pt x="608177" y="72339"/>
                      </a:lnTo>
                      <a:lnTo>
                        <a:pt x="608139" y="73736"/>
                      </a:lnTo>
                      <a:lnTo>
                        <a:pt x="607720" y="75069"/>
                      </a:lnTo>
                      <a:lnTo>
                        <a:pt x="565137" y="124485"/>
                      </a:lnTo>
                      <a:lnTo>
                        <a:pt x="577037" y="124472"/>
                      </a:lnTo>
                      <a:lnTo>
                        <a:pt x="586828" y="112610"/>
                      </a:lnTo>
                      <a:lnTo>
                        <a:pt x="612140" y="112610"/>
                      </a:lnTo>
                      <a:lnTo>
                        <a:pt x="612381" y="124485"/>
                      </a:lnTo>
                      <a:lnTo>
                        <a:pt x="624840" y="124485"/>
                      </a:lnTo>
                      <a:close/>
                    </a:path>
                    <a:path w="808354" h="127000">
                      <a:moveTo>
                        <a:pt x="661631" y="1727"/>
                      </a:moveTo>
                      <a:lnTo>
                        <a:pt x="647725" y="1727"/>
                      </a:lnTo>
                      <a:lnTo>
                        <a:pt x="648500" y="2590"/>
                      </a:lnTo>
                      <a:lnTo>
                        <a:pt x="648728" y="4787"/>
                      </a:lnTo>
                      <a:lnTo>
                        <a:pt x="647814" y="5943"/>
                      </a:lnTo>
                      <a:lnTo>
                        <a:pt x="625678" y="34709"/>
                      </a:lnTo>
                      <a:lnTo>
                        <a:pt x="626795" y="22987"/>
                      </a:lnTo>
                      <a:lnTo>
                        <a:pt x="628815" y="1727"/>
                      </a:lnTo>
                      <a:lnTo>
                        <a:pt x="616712" y="1727"/>
                      </a:lnTo>
                      <a:lnTo>
                        <a:pt x="617067" y="2209"/>
                      </a:lnTo>
                      <a:lnTo>
                        <a:pt x="617181" y="4572"/>
                      </a:lnTo>
                      <a:lnTo>
                        <a:pt x="598424" y="34709"/>
                      </a:lnTo>
                      <a:lnTo>
                        <a:pt x="601560" y="1727"/>
                      </a:lnTo>
                      <a:lnTo>
                        <a:pt x="587616" y="1727"/>
                      </a:lnTo>
                      <a:lnTo>
                        <a:pt x="588365" y="2349"/>
                      </a:lnTo>
                      <a:lnTo>
                        <a:pt x="588746" y="4445"/>
                      </a:lnTo>
                      <a:lnTo>
                        <a:pt x="585165" y="53771"/>
                      </a:lnTo>
                      <a:lnTo>
                        <a:pt x="595972" y="53759"/>
                      </a:lnTo>
                      <a:lnTo>
                        <a:pt x="607771" y="34709"/>
                      </a:lnTo>
                      <a:lnTo>
                        <a:pt x="615035" y="22987"/>
                      </a:lnTo>
                      <a:lnTo>
                        <a:pt x="612114" y="53771"/>
                      </a:lnTo>
                      <a:lnTo>
                        <a:pt x="621449" y="53759"/>
                      </a:lnTo>
                      <a:lnTo>
                        <a:pt x="636155" y="34709"/>
                      </a:lnTo>
                      <a:lnTo>
                        <a:pt x="661631" y="1727"/>
                      </a:lnTo>
                      <a:close/>
                    </a:path>
                    <a:path w="808354" h="127000">
                      <a:moveTo>
                        <a:pt x="692581" y="53771"/>
                      </a:moveTo>
                      <a:lnTo>
                        <a:pt x="691984" y="41922"/>
                      </a:lnTo>
                      <a:lnTo>
                        <a:pt x="691553" y="33515"/>
                      </a:lnTo>
                      <a:lnTo>
                        <a:pt x="690473" y="12128"/>
                      </a:lnTo>
                      <a:lnTo>
                        <a:pt x="689940" y="1714"/>
                      </a:lnTo>
                      <a:lnTo>
                        <a:pt x="681748" y="1714"/>
                      </a:lnTo>
                      <a:lnTo>
                        <a:pt x="681748" y="33515"/>
                      </a:lnTo>
                      <a:lnTo>
                        <a:pt x="663625" y="33515"/>
                      </a:lnTo>
                      <a:lnTo>
                        <a:pt x="681355" y="12128"/>
                      </a:lnTo>
                      <a:lnTo>
                        <a:pt x="681748" y="33515"/>
                      </a:lnTo>
                      <a:lnTo>
                        <a:pt x="681748" y="1714"/>
                      </a:lnTo>
                      <a:lnTo>
                        <a:pt x="675970" y="1714"/>
                      </a:lnTo>
                      <a:lnTo>
                        <a:pt x="675970" y="2997"/>
                      </a:lnTo>
                      <a:lnTo>
                        <a:pt x="675487" y="4445"/>
                      </a:lnTo>
                      <a:lnTo>
                        <a:pt x="674230" y="5943"/>
                      </a:lnTo>
                      <a:lnTo>
                        <a:pt x="632993" y="53771"/>
                      </a:lnTo>
                      <a:lnTo>
                        <a:pt x="644855" y="53759"/>
                      </a:lnTo>
                      <a:lnTo>
                        <a:pt x="654634" y="41922"/>
                      </a:lnTo>
                      <a:lnTo>
                        <a:pt x="679894" y="41922"/>
                      </a:lnTo>
                      <a:lnTo>
                        <a:pt x="680148" y="53771"/>
                      </a:lnTo>
                      <a:lnTo>
                        <a:pt x="692581" y="53771"/>
                      </a:lnTo>
                      <a:close/>
                    </a:path>
                    <a:path w="808354" h="127000">
                      <a:moveTo>
                        <a:pt x="760095" y="1727"/>
                      </a:moveTo>
                      <a:lnTo>
                        <a:pt x="744791" y="1727"/>
                      </a:lnTo>
                      <a:lnTo>
                        <a:pt x="744791" y="3492"/>
                      </a:lnTo>
                      <a:lnTo>
                        <a:pt x="743521" y="4889"/>
                      </a:lnTo>
                      <a:lnTo>
                        <a:pt x="742327" y="5880"/>
                      </a:lnTo>
                      <a:lnTo>
                        <a:pt x="721639" y="24104"/>
                      </a:lnTo>
                      <a:lnTo>
                        <a:pt x="712025" y="1714"/>
                      </a:lnTo>
                      <a:lnTo>
                        <a:pt x="698322" y="1714"/>
                      </a:lnTo>
                      <a:lnTo>
                        <a:pt x="702106" y="9245"/>
                      </a:lnTo>
                      <a:lnTo>
                        <a:pt x="711034" y="30848"/>
                      </a:lnTo>
                      <a:lnTo>
                        <a:pt x="699846" y="53771"/>
                      </a:lnTo>
                      <a:lnTo>
                        <a:pt x="713384" y="53759"/>
                      </a:lnTo>
                      <a:lnTo>
                        <a:pt x="723544" y="32969"/>
                      </a:lnTo>
                      <a:lnTo>
                        <a:pt x="733920" y="24104"/>
                      </a:lnTo>
                      <a:lnTo>
                        <a:pt x="760095" y="1727"/>
                      </a:lnTo>
                      <a:close/>
                    </a:path>
                    <a:path w="808354" h="127000">
                      <a:moveTo>
                        <a:pt x="807859" y="4432"/>
                      </a:moveTo>
                      <a:lnTo>
                        <a:pt x="801141" y="1765"/>
                      </a:lnTo>
                      <a:lnTo>
                        <a:pt x="793343" y="482"/>
                      </a:lnTo>
                      <a:lnTo>
                        <a:pt x="788187" y="0"/>
                      </a:lnTo>
                      <a:lnTo>
                        <a:pt x="772934" y="787"/>
                      </a:lnTo>
                      <a:lnTo>
                        <a:pt x="763993" y="5232"/>
                      </a:lnTo>
                      <a:lnTo>
                        <a:pt x="759764" y="11112"/>
                      </a:lnTo>
                      <a:lnTo>
                        <a:pt x="758634" y="16154"/>
                      </a:lnTo>
                      <a:lnTo>
                        <a:pt x="758355" y="25057"/>
                      </a:lnTo>
                      <a:lnTo>
                        <a:pt x="763828" y="29184"/>
                      </a:lnTo>
                      <a:lnTo>
                        <a:pt x="788276" y="35610"/>
                      </a:lnTo>
                      <a:lnTo>
                        <a:pt x="787908" y="47078"/>
                      </a:lnTo>
                      <a:lnTo>
                        <a:pt x="778916" y="46951"/>
                      </a:lnTo>
                      <a:lnTo>
                        <a:pt x="769277" y="46037"/>
                      </a:lnTo>
                      <a:lnTo>
                        <a:pt x="753935" y="43865"/>
                      </a:lnTo>
                      <a:lnTo>
                        <a:pt x="753491" y="38544"/>
                      </a:lnTo>
                      <a:lnTo>
                        <a:pt x="748195" y="49517"/>
                      </a:lnTo>
                      <a:lnTo>
                        <a:pt x="755040" y="52298"/>
                      </a:lnTo>
                      <a:lnTo>
                        <a:pt x="762431" y="54343"/>
                      </a:lnTo>
                      <a:lnTo>
                        <a:pt x="769696" y="55600"/>
                      </a:lnTo>
                      <a:lnTo>
                        <a:pt x="776122" y="56032"/>
                      </a:lnTo>
                      <a:lnTo>
                        <a:pt x="788873" y="54165"/>
                      </a:lnTo>
                      <a:lnTo>
                        <a:pt x="796810" y="49466"/>
                      </a:lnTo>
                      <a:lnTo>
                        <a:pt x="798385" y="47078"/>
                      </a:lnTo>
                      <a:lnTo>
                        <a:pt x="800925" y="43256"/>
                      </a:lnTo>
                      <a:lnTo>
                        <a:pt x="802195" y="36880"/>
                      </a:lnTo>
                      <a:lnTo>
                        <a:pt x="802322" y="32969"/>
                      </a:lnTo>
                      <a:lnTo>
                        <a:pt x="802360" y="30848"/>
                      </a:lnTo>
                      <a:lnTo>
                        <a:pt x="799236" y="24904"/>
                      </a:lnTo>
                      <a:lnTo>
                        <a:pt x="780935" y="19151"/>
                      </a:lnTo>
                      <a:lnTo>
                        <a:pt x="771842" y="18237"/>
                      </a:lnTo>
                      <a:lnTo>
                        <a:pt x="772147" y="8445"/>
                      </a:lnTo>
                      <a:lnTo>
                        <a:pt x="780910" y="8013"/>
                      </a:lnTo>
                      <a:lnTo>
                        <a:pt x="793559" y="9245"/>
                      </a:lnTo>
                      <a:lnTo>
                        <a:pt x="799236" y="10960"/>
                      </a:lnTo>
                      <a:lnTo>
                        <a:pt x="803757" y="13017"/>
                      </a:lnTo>
                      <a:lnTo>
                        <a:pt x="806145" y="8013"/>
                      </a:lnTo>
                      <a:lnTo>
                        <a:pt x="807859" y="4432"/>
                      </a:lnTo>
                      <a:close/>
                    </a:path>
                  </a:pathLst>
                </a:custGeom>
                <a:solidFill>
                  <a:srgbClr val="00675F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55" name="object 241">
                  <a:extLst>
                    <a:ext uri="{FF2B5EF4-FFF2-40B4-BE49-F238E27FC236}">
                      <a16:creationId xmlns:a16="http://schemas.microsoft.com/office/drawing/2014/main" id="{FE84DB6E-A3A6-CDB4-D30A-0ACB90786FF5}"/>
                    </a:ext>
                  </a:extLst>
                </p:cNvPr>
                <p:cNvSpPr/>
                <p:nvPr/>
              </p:nvSpPr>
              <p:spPr>
                <a:xfrm>
                  <a:off x="4477994" y="1058341"/>
                  <a:ext cx="819150" cy="1200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9150" h="120015">
                      <a:moveTo>
                        <a:pt x="30327" y="102476"/>
                      </a:moveTo>
                      <a:lnTo>
                        <a:pt x="15354" y="102476"/>
                      </a:lnTo>
                      <a:lnTo>
                        <a:pt x="15354" y="108013"/>
                      </a:lnTo>
                      <a:lnTo>
                        <a:pt x="23177" y="108013"/>
                      </a:lnTo>
                      <a:lnTo>
                        <a:pt x="22885" y="109410"/>
                      </a:lnTo>
                      <a:lnTo>
                        <a:pt x="22669" y="109956"/>
                      </a:lnTo>
                      <a:lnTo>
                        <a:pt x="20726" y="112674"/>
                      </a:lnTo>
                      <a:lnTo>
                        <a:pt x="18148" y="113804"/>
                      </a:lnTo>
                      <a:lnTo>
                        <a:pt x="10185" y="113804"/>
                      </a:lnTo>
                      <a:lnTo>
                        <a:pt x="6388" y="109753"/>
                      </a:lnTo>
                      <a:lnTo>
                        <a:pt x="6502" y="98196"/>
                      </a:lnTo>
                      <a:lnTo>
                        <a:pt x="10147" y="94310"/>
                      </a:lnTo>
                      <a:lnTo>
                        <a:pt x="17170" y="94310"/>
                      </a:lnTo>
                      <a:lnTo>
                        <a:pt x="18694" y="94691"/>
                      </a:lnTo>
                      <a:lnTo>
                        <a:pt x="21488" y="96253"/>
                      </a:lnTo>
                      <a:lnTo>
                        <a:pt x="22072" y="96761"/>
                      </a:lnTo>
                      <a:lnTo>
                        <a:pt x="23177" y="98196"/>
                      </a:lnTo>
                      <a:lnTo>
                        <a:pt x="28460" y="95110"/>
                      </a:lnTo>
                      <a:lnTo>
                        <a:pt x="27889" y="94310"/>
                      </a:lnTo>
                      <a:lnTo>
                        <a:pt x="27152" y="93256"/>
                      </a:lnTo>
                      <a:lnTo>
                        <a:pt x="26606" y="92621"/>
                      </a:lnTo>
                      <a:lnTo>
                        <a:pt x="22758" y="89484"/>
                      </a:lnTo>
                      <a:lnTo>
                        <a:pt x="19164" y="88303"/>
                      </a:lnTo>
                      <a:lnTo>
                        <a:pt x="6261" y="88303"/>
                      </a:lnTo>
                      <a:lnTo>
                        <a:pt x="38" y="94691"/>
                      </a:lnTo>
                      <a:lnTo>
                        <a:pt x="0" y="113220"/>
                      </a:lnTo>
                      <a:lnTo>
                        <a:pt x="6210" y="119608"/>
                      </a:lnTo>
                      <a:lnTo>
                        <a:pt x="21056" y="119608"/>
                      </a:lnTo>
                      <a:lnTo>
                        <a:pt x="26136" y="116687"/>
                      </a:lnTo>
                      <a:lnTo>
                        <a:pt x="27571" y="113804"/>
                      </a:lnTo>
                      <a:lnTo>
                        <a:pt x="29819" y="109372"/>
                      </a:lnTo>
                      <a:lnTo>
                        <a:pt x="30327" y="106654"/>
                      </a:lnTo>
                      <a:lnTo>
                        <a:pt x="30327" y="102476"/>
                      </a:lnTo>
                      <a:close/>
                    </a:path>
                    <a:path w="819150" h="120015">
                      <a:moveTo>
                        <a:pt x="56222" y="118973"/>
                      </a:moveTo>
                      <a:lnTo>
                        <a:pt x="47637" y="106362"/>
                      </a:lnTo>
                      <a:lnTo>
                        <a:pt x="50888" y="105092"/>
                      </a:lnTo>
                      <a:lnTo>
                        <a:pt x="53251" y="103568"/>
                      </a:lnTo>
                      <a:lnTo>
                        <a:pt x="53759" y="102184"/>
                      </a:lnTo>
                      <a:lnTo>
                        <a:pt x="54317" y="100698"/>
                      </a:lnTo>
                      <a:lnTo>
                        <a:pt x="54317" y="96215"/>
                      </a:lnTo>
                      <a:lnTo>
                        <a:pt x="47967" y="89217"/>
                      </a:lnTo>
                      <a:lnTo>
                        <a:pt x="47967" y="95161"/>
                      </a:lnTo>
                      <a:lnTo>
                        <a:pt x="47967" y="98196"/>
                      </a:lnTo>
                      <a:lnTo>
                        <a:pt x="47421" y="100317"/>
                      </a:lnTo>
                      <a:lnTo>
                        <a:pt x="46405" y="102006"/>
                      </a:lnTo>
                      <a:lnTo>
                        <a:pt x="44754" y="102184"/>
                      </a:lnTo>
                      <a:lnTo>
                        <a:pt x="40652" y="102184"/>
                      </a:lnTo>
                      <a:lnTo>
                        <a:pt x="40652" y="94310"/>
                      </a:lnTo>
                      <a:lnTo>
                        <a:pt x="45478" y="94310"/>
                      </a:lnTo>
                      <a:lnTo>
                        <a:pt x="47967" y="95161"/>
                      </a:lnTo>
                      <a:lnTo>
                        <a:pt x="47967" y="89217"/>
                      </a:lnTo>
                      <a:lnTo>
                        <a:pt x="46532" y="89103"/>
                      </a:lnTo>
                      <a:lnTo>
                        <a:pt x="34302" y="89103"/>
                      </a:lnTo>
                      <a:lnTo>
                        <a:pt x="34302" y="118973"/>
                      </a:lnTo>
                      <a:lnTo>
                        <a:pt x="40601" y="118973"/>
                      </a:lnTo>
                      <a:lnTo>
                        <a:pt x="40601" y="106362"/>
                      </a:lnTo>
                      <a:lnTo>
                        <a:pt x="48514" y="118973"/>
                      </a:lnTo>
                      <a:lnTo>
                        <a:pt x="56222" y="118973"/>
                      </a:lnTo>
                      <a:close/>
                    </a:path>
                    <a:path w="819150" h="120015">
                      <a:moveTo>
                        <a:pt x="82194" y="89103"/>
                      </a:moveTo>
                      <a:lnTo>
                        <a:pt x="75844" y="89103"/>
                      </a:lnTo>
                      <a:lnTo>
                        <a:pt x="75819" y="111480"/>
                      </a:lnTo>
                      <a:lnTo>
                        <a:pt x="74320" y="113944"/>
                      </a:lnTo>
                      <a:lnTo>
                        <a:pt x="68567" y="113944"/>
                      </a:lnTo>
                      <a:lnTo>
                        <a:pt x="66624" y="113347"/>
                      </a:lnTo>
                      <a:lnTo>
                        <a:pt x="64503" y="110515"/>
                      </a:lnTo>
                      <a:lnTo>
                        <a:pt x="64465" y="89103"/>
                      </a:lnTo>
                      <a:lnTo>
                        <a:pt x="58115" y="89103"/>
                      </a:lnTo>
                      <a:lnTo>
                        <a:pt x="58242" y="111480"/>
                      </a:lnTo>
                      <a:lnTo>
                        <a:pt x="58978" y="113347"/>
                      </a:lnTo>
                      <a:lnTo>
                        <a:pt x="60655" y="117741"/>
                      </a:lnTo>
                      <a:lnTo>
                        <a:pt x="65481" y="119786"/>
                      </a:lnTo>
                      <a:lnTo>
                        <a:pt x="73990" y="119786"/>
                      </a:lnTo>
                      <a:lnTo>
                        <a:pt x="77787" y="118465"/>
                      </a:lnTo>
                      <a:lnTo>
                        <a:pt x="80937" y="113944"/>
                      </a:lnTo>
                      <a:lnTo>
                        <a:pt x="82029" y="112369"/>
                      </a:lnTo>
                      <a:lnTo>
                        <a:pt x="82118" y="110515"/>
                      </a:lnTo>
                      <a:lnTo>
                        <a:pt x="82194" y="89103"/>
                      </a:lnTo>
                      <a:close/>
                    </a:path>
                    <a:path w="819150" h="120015">
                      <a:moveTo>
                        <a:pt x="107454" y="96469"/>
                      </a:moveTo>
                      <a:lnTo>
                        <a:pt x="107010" y="94526"/>
                      </a:lnTo>
                      <a:lnTo>
                        <a:pt x="103809" y="90119"/>
                      </a:lnTo>
                      <a:lnTo>
                        <a:pt x="101104" y="89357"/>
                      </a:lnTo>
                      <a:lnTo>
                        <a:pt x="101104" y="101117"/>
                      </a:lnTo>
                      <a:lnTo>
                        <a:pt x="99110" y="102133"/>
                      </a:lnTo>
                      <a:lnTo>
                        <a:pt x="93789" y="102133"/>
                      </a:lnTo>
                      <a:lnTo>
                        <a:pt x="93789" y="94526"/>
                      </a:lnTo>
                      <a:lnTo>
                        <a:pt x="96494" y="94526"/>
                      </a:lnTo>
                      <a:lnTo>
                        <a:pt x="98526" y="94691"/>
                      </a:lnTo>
                      <a:lnTo>
                        <a:pt x="100253" y="95110"/>
                      </a:lnTo>
                      <a:lnTo>
                        <a:pt x="100990" y="96469"/>
                      </a:lnTo>
                      <a:lnTo>
                        <a:pt x="101104" y="101117"/>
                      </a:lnTo>
                      <a:lnTo>
                        <a:pt x="101104" y="89357"/>
                      </a:lnTo>
                      <a:lnTo>
                        <a:pt x="97802" y="89154"/>
                      </a:lnTo>
                      <a:lnTo>
                        <a:pt x="95986" y="89103"/>
                      </a:lnTo>
                      <a:lnTo>
                        <a:pt x="87274" y="89103"/>
                      </a:lnTo>
                      <a:lnTo>
                        <a:pt x="87274" y="118973"/>
                      </a:lnTo>
                      <a:lnTo>
                        <a:pt x="93738" y="118973"/>
                      </a:lnTo>
                      <a:lnTo>
                        <a:pt x="93738" y="107632"/>
                      </a:lnTo>
                      <a:lnTo>
                        <a:pt x="99669" y="107632"/>
                      </a:lnTo>
                      <a:lnTo>
                        <a:pt x="102628" y="107302"/>
                      </a:lnTo>
                      <a:lnTo>
                        <a:pt x="106565" y="103441"/>
                      </a:lnTo>
                      <a:lnTo>
                        <a:pt x="107035" y="102133"/>
                      </a:lnTo>
                      <a:lnTo>
                        <a:pt x="107403" y="101117"/>
                      </a:lnTo>
                      <a:lnTo>
                        <a:pt x="107454" y="96469"/>
                      </a:lnTo>
                      <a:close/>
                    </a:path>
                    <a:path w="819150" h="120015">
                      <a:moveTo>
                        <a:pt x="130505" y="96469"/>
                      </a:moveTo>
                      <a:lnTo>
                        <a:pt x="130060" y="94526"/>
                      </a:lnTo>
                      <a:lnTo>
                        <a:pt x="126860" y="90119"/>
                      </a:lnTo>
                      <a:lnTo>
                        <a:pt x="124155" y="89344"/>
                      </a:lnTo>
                      <a:lnTo>
                        <a:pt x="124155" y="101117"/>
                      </a:lnTo>
                      <a:lnTo>
                        <a:pt x="122174" y="102133"/>
                      </a:lnTo>
                      <a:lnTo>
                        <a:pt x="116840" y="102133"/>
                      </a:lnTo>
                      <a:lnTo>
                        <a:pt x="116840" y="94526"/>
                      </a:lnTo>
                      <a:lnTo>
                        <a:pt x="119545" y="94526"/>
                      </a:lnTo>
                      <a:lnTo>
                        <a:pt x="121577" y="94691"/>
                      </a:lnTo>
                      <a:lnTo>
                        <a:pt x="123317" y="95110"/>
                      </a:lnTo>
                      <a:lnTo>
                        <a:pt x="124040" y="96469"/>
                      </a:lnTo>
                      <a:lnTo>
                        <a:pt x="124155" y="101117"/>
                      </a:lnTo>
                      <a:lnTo>
                        <a:pt x="124155" y="89344"/>
                      </a:lnTo>
                      <a:lnTo>
                        <a:pt x="120853" y="89154"/>
                      </a:lnTo>
                      <a:lnTo>
                        <a:pt x="119037" y="89103"/>
                      </a:lnTo>
                      <a:lnTo>
                        <a:pt x="110324" y="89103"/>
                      </a:lnTo>
                      <a:lnTo>
                        <a:pt x="110324" y="118973"/>
                      </a:lnTo>
                      <a:lnTo>
                        <a:pt x="116801" y="118973"/>
                      </a:lnTo>
                      <a:lnTo>
                        <a:pt x="116801" y="107632"/>
                      </a:lnTo>
                      <a:lnTo>
                        <a:pt x="122720" y="107632"/>
                      </a:lnTo>
                      <a:lnTo>
                        <a:pt x="125679" y="107302"/>
                      </a:lnTo>
                      <a:lnTo>
                        <a:pt x="129616" y="103441"/>
                      </a:lnTo>
                      <a:lnTo>
                        <a:pt x="130086" y="102133"/>
                      </a:lnTo>
                      <a:lnTo>
                        <a:pt x="130454" y="101117"/>
                      </a:lnTo>
                      <a:lnTo>
                        <a:pt x="130505" y="96469"/>
                      </a:lnTo>
                      <a:close/>
                    </a:path>
                    <a:path w="819150" h="120015">
                      <a:moveTo>
                        <a:pt x="163296" y="95072"/>
                      </a:moveTo>
                      <a:lnTo>
                        <a:pt x="162775" y="94564"/>
                      </a:lnTo>
                      <a:lnTo>
                        <a:pt x="156603" y="88506"/>
                      </a:lnTo>
                      <a:lnTo>
                        <a:pt x="156603" y="98666"/>
                      </a:lnTo>
                      <a:lnTo>
                        <a:pt x="156565" y="109575"/>
                      </a:lnTo>
                      <a:lnTo>
                        <a:pt x="152717" y="113639"/>
                      </a:lnTo>
                      <a:lnTo>
                        <a:pt x="142176" y="113639"/>
                      </a:lnTo>
                      <a:lnTo>
                        <a:pt x="138074" y="109575"/>
                      </a:lnTo>
                      <a:lnTo>
                        <a:pt x="138201" y="98666"/>
                      </a:lnTo>
                      <a:lnTo>
                        <a:pt x="142176" y="94564"/>
                      </a:lnTo>
                      <a:lnTo>
                        <a:pt x="152717" y="94564"/>
                      </a:lnTo>
                      <a:lnTo>
                        <a:pt x="156603" y="98666"/>
                      </a:lnTo>
                      <a:lnTo>
                        <a:pt x="156603" y="88506"/>
                      </a:lnTo>
                      <a:lnTo>
                        <a:pt x="156438" y="88341"/>
                      </a:lnTo>
                      <a:lnTo>
                        <a:pt x="138112" y="88341"/>
                      </a:lnTo>
                      <a:lnTo>
                        <a:pt x="131470" y="95072"/>
                      </a:lnTo>
                      <a:lnTo>
                        <a:pt x="131470" y="113385"/>
                      </a:lnTo>
                      <a:lnTo>
                        <a:pt x="138074" y="119735"/>
                      </a:lnTo>
                      <a:lnTo>
                        <a:pt x="156819" y="119735"/>
                      </a:lnTo>
                      <a:lnTo>
                        <a:pt x="162953" y="113639"/>
                      </a:lnTo>
                      <a:lnTo>
                        <a:pt x="163207" y="113385"/>
                      </a:lnTo>
                      <a:lnTo>
                        <a:pt x="163296" y="95072"/>
                      </a:lnTo>
                      <a:close/>
                    </a:path>
                    <a:path w="819150" h="120015">
                      <a:moveTo>
                        <a:pt x="196367" y="89103"/>
                      </a:moveTo>
                      <a:lnTo>
                        <a:pt x="179031" y="89103"/>
                      </a:lnTo>
                      <a:lnTo>
                        <a:pt x="179031" y="118973"/>
                      </a:lnTo>
                      <a:lnTo>
                        <a:pt x="185547" y="118973"/>
                      </a:lnTo>
                      <a:lnTo>
                        <a:pt x="185547" y="106451"/>
                      </a:lnTo>
                      <a:lnTo>
                        <a:pt x="196367" y="106451"/>
                      </a:lnTo>
                      <a:lnTo>
                        <a:pt x="196367" y="100609"/>
                      </a:lnTo>
                      <a:lnTo>
                        <a:pt x="185547" y="100609"/>
                      </a:lnTo>
                      <a:lnTo>
                        <a:pt x="185547" y="94780"/>
                      </a:lnTo>
                      <a:lnTo>
                        <a:pt x="196367" y="94780"/>
                      </a:lnTo>
                      <a:lnTo>
                        <a:pt x="196367" y="89103"/>
                      </a:lnTo>
                      <a:close/>
                    </a:path>
                    <a:path w="819150" h="120015">
                      <a:moveTo>
                        <a:pt x="216217" y="89103"/>
                      </a:moveTo>
                      <a:lnTo>
                        <a:pt x="199250" y="89103"/>
                      </a:lnTo>
                      <a:lnTo>
                        <a:pt x="199250" y="118973"/>
                      </a:lnTo>
                      <a:lnTo>
                        <a:pt x="216166" y="118973"/>
                      </a:lnTo>
                      <a:lnTo>
                        <a:pt x="216166" y="113004"/>
                      </a:lnTo>
                      <a:lnTo>
                        <a:pt x="205727" y="113004"/>
                      </a:lnTo>
                      <a:lnTo>
                        <a:pt x="205727" y="106616"/>
                      </a:lnTo>
                      <a:lnTo>
                        <a:pt x="215963" y="106616"/>
                      </a:lnTo>
                      <a:lnTo>
                        <a:pt x="215963" y="100825"/>
                      </a:lnTo>
                      <a:lnTo>
                        <a:pt x="205727" y="100825"/>
                      </a:lnTo>
                      <a:lnTo>
                        <a:pt x="205727" y="94894"/>
                      </a:lnTo>
                      <a:lnTo>
                        <a:pt x="216217" y="94894"/>
                      </a:lnTo>
                      <a:lnTo>
                        <a:pt x="216217" y="89103"/>
                      </a:lnTo>
                      <a:close/>
                    </a:path>
                    <a:path w="819150" h="120015">
                      <a:moveTo>
                        <a:pt x="242316" y="118973"/>
                      </a:moveTo>
                      <a:lnTo>
                        <a:pt x="233730" y="106362"/>
                      </a:lnTo>
                      <a:lnTo>
                        <a:pt x="236982" y="105092"/>
                      </a:lnTo>
                      <a:lnTo>
                        <a:pt x="239356" y="103568"/>
                      </a:lnTo>
                      <a:lnTo>
                        <a:pt x="239864" y="102184"/>
                      </a:lnTo>
                      <a:lnTo>
                        <a:pt x="240411" y="100698"/>
                      </a:lnTo>
                      <a:lnTo>
                        <a:pt x="240411" y="96215"/>
                      </a:lnTo>
                      <a:lnTo>
                        <a:pt x="239953" y="94437"/>
                      </a:lnTo>
                      <a:lnTo>
                        <a:pt x="239864" y="94310"/>
                      </a:lnTo>
                      <a:lnTo>
                        <a:pt x="236728" y="89408"/>
                      </a:lnTo>
                      <a:lnTo>
                        <a:pt x="234073" y="89217"/>
                      </a:lnTo>
                      <a:lnTo>
                        <a:pt x="234073" y="95161"/>
                      </a:lnTo>
                      <a:lnTo>
                        <a:pt x="234073" y="98196"/>
                      </a:lnTo>
                      <a:lnTo>
                        <a:pt x="233514" y="100317"/>
                      </a:lnTo>
                      <a:lnTo>
                        <a:pt x="232498" y="102006"/>
                      </a:lnTo>
                      <a:lnTo>
                        <a:pt x="230847" y="102184"/>
                      </a:lnTo>
                      <a:lnTo>
                        <a:pt x="226745" y="102184"/>
                      </a:lnTo>
                      <a:lnTo>
                        <a:pt x="226745" y="94310"/>
                      </a:lnTo>
                      <a:lnTo>
                        <a:pt x="231571" y="94310"/>
                      </a:lnTo>
                      <a:lnTo>
                        <a:pt x="234073" y="95161"/>
                      </a:lnTo>
                      <a:lnTo>
                        <a:pt x="234073" y="89217"/>
                      </a:lnTo>
                      <a:lnTo>
                        <a:pt x="232625" y="89103"/>
                      </a:lnTo>
                      <a:lnTo>
                        <a:pt x="220408" y="89103"/>
                      </a:lnTo>
                      <a:lnTo>
                        <a:pt x="220408" y="118973"/>
                      </a:lnTo>
                      <a:lnTo>
                        <a:pt x="226707" y="118973"/>
                      </a:lnTo>
                      <a:lnTo>
                        <a:pt x="226707" y="106362"/>
                      </a:lnTo>
                      <a:lnTo>
                        <a:pt x="234619" y="118973"/>
                      </a:lnTo>
                      <a:lnTo>
                        <a:pt x="242316" y="118973"/>
                      </a:lnTo>
                      <a:close/>
                    </a:path>
                    <a:path w="819150" h="120015">
                      <a:moveTo>
                        <a:pt x="266090" y="118973"/>
                      </a:moveTo>
                      <a:lnTo>
                        <a:pt x="257517" y="106362"/>
                      </a:lnTo>
                      <a:lnTo>
                        <a:pt x="260756" y="105092"/>
                      </a:lnTo>
                      <a:lnTo>
                        <a:pt x="263131" y="103568"/>
                      </a:lnTo>
                      <a:lnTo>
                        <a:pt x="263639" y="102184"/>
                      </a:lnTo>
                      <a:lnTo>
                        <a:pt x="264185" y="100698"/>
                      </a:lnTo>
                      <a:lnTo>
                        <a:pt x="264185" y="96215"/>
                      </a:lnTo>
                      <a:lnTo>
                        <a:pt x="263728" y="94437"/>
                      </a:lnTo>
                      <a:lnTo>
                        <a:pt x="263639" y="94310"/>
                      </a:lnTo>
                      <a:lnTo>
                        <a:pt x="260502" y="89408"/>
                      </a:lnTo>
                      <a:lnTo>
                        <a:pt x="257848" y="89217"/>
                      </a:lnTo>
                      <a:lnTo>
                        <a:pt x="257848" y="95161"/>
                      </a:lnTo>
                      <a:lnTo>
                        <a:pt x="257848" y="98196"/>
                      </a:lnTo>
                      <a:lnTo>
                        <a:pt x="257289" y="100317"/>
                      </a:lnTo>
                      <a:lnTo>
                        <a:pt x="256273" y="102006"/>
                      </a:lnTo>
                      <a:lnTo>
                        <a:pt x="254622" y="102184"/>
                      </a:lnTo>
                      <a:lnTo>
                        <a:pt x="250520" y="102184"/>
                      </a:lnTo>
                      <a:lnTo>
                        <a:pt x="250520" y="94310"/>
                      </a:lnTo>
                      <a:lnTo>
                        <a:pt x="255346" y="94310"/>
                      </a:lnTo>
                      <a:lnTo>
                        <a:pt x="257848" y="95161"/>
                      </a:lnTo>
                      <a:lnTo>
                        <a:pt x="257848" y="89217"/>
                      </a:lnTo>
                      <a:lnTo>
                        <a:pt x="256400" y="89103"/>
                      </a:lnTo>
                      <a:lnTo>
                        <a:pt x="244182" y="89103"/>
                      </a:lnTo>
                      <a:lnTo>
                        <a:pt x="244182" y="118973"/>
                      </a:lnTo>
                      <a:lnTo>
                        <a:pt x="250482" y="118973"/>
                      </a:lnTo>
                      <a:lnTo>
                        <a:pt x="250482" y="106362"/>
                      </a:lnTo>
                      <a:lnTo>
                        <a:pt x="258394" y="118973"/>
                      </a:lnTo>
                      <a:lnTo>
                        <a:pt x="266090" y="118973"/>
                      </a:lnTo>
                      <a:close/>
                    </a:path>
                    <a:path w="819150" h="120015">
                      <a:moveTo>
                        <a:pt x="298970" y="95072"/>
                      </a:moveTo>
                      <a:lnTo>
                        <a:pt x="298450" y="94564"/>
                      </a:lnTo>
                      <a:lnTo>
                        <a:pt x="292277" y="88506"/>
                      </a:lnTo>
                      <a:lnTo>
                        <a:pt x="292277" y="98666"/>
                      </a:lnTo>
                      <a:lnTo>
                        <a:pt x="292239" y="109575"/>
                      </a:lnTo>
                      <a:lnTo>
                        <a:pt x="288391" y="113639"/>
                      </a:lnTo>
                      <a:lnTo>
                        <a:pt x="277850" y="113639"/>
                      </a:lnTo>
                      <a:lnTo>
                        <a:pt x="273748" y="109575"/>
                      </a:lnTo>
                      <a:lnTo>
                        <a:pt x="273875" y="98666"/>
                      </a:lnTo>
                      <a:lnTo>
                        <a:pt x="277850" y="94564"/>
                      </a:lnTo>
                      <a:lnTo>
                        <a:pt x="288391" y="94564"/>
                      </a:lnTo>
                      <a:lnTo>
                        <a:pt x="292277" y="98666"/>
                      </a:lnTo>
                      <a:lnTo>
                        <a:pt x="292277" y="88506"/>
                      </a:lnTo>
                      <a:lnTo>
                        <a:pt x="292112" y="88341"/>
                      </a:lnTo>
                      <a:lnTo>
                        <a:pt x="273799" y="88341"/>
                      </a:lnTo>
                      <a:lnTo>
                        <a:pt x="267157" y="95072"/>
                      </a:lnTo>
                      <a:lnTo>
                        <a:pt x="267157" y="113385"/>
                      </a:lnTo>
                      <a:lnTo>
                        <a:pt x="273748" y="119735"/>
                      </a:lnTo>
                      <a:lnTo>
                        <a:pt x="292493" y="119735"/>
                      </a:lnTo>
                      <a:lnTo>
                        <a:pt x="298627" y="113639"/>
                      </a:lnTo>
                      <a:lnTo>
                        <a:pt x="298881" y="113385"/>
                      </a:lnTo>
                      <a:lnTo>
                        <a:pt x="298970" y="95072"/>
                      </a:lnTo>
                      <a:close/>
                    </a:path>
                    <a:path w="819150" h="120015">
                      <a:moveTo>
                        <a:pt x="301675" y="25"/>
                      </a:moveTo>
                      <a:lnTo>
                        <a:pt x="284137" y="25"/>
                      </a:lnTo>
                      <a:lnTo>
                        <a:pt x="284543" y="2070"/>
                      </a:lnTo>
                      <a:lnTo>
                        <a:pt x="284086" y="4254"/>
                      </a:lnTo>
                      <a:lnTo>
                        <a:pt x="257175" y="59550"/>
                      </a:lnTo>
                      <a:lnTo>
                        <a:pt x="272694" y="59550"/>
                      </a:lnTo>
                      <a:lnTo>
                        <a:pt x="301675" y="25"/>
                      </a:lnTo>
                      <a:close/>
                    </a:path>
                    <a:path w="819150" h="120015">
                      <a:moveTo>
                        <a:pt x="328663" y="89103"/>
                      </a:moveTo>
                      <a:lnTo>
                        <a:pt x="321640" y="89103"/>
                      </a:lnTo>
                      <a:lnTo>
                        <a:pt x="314159" y="110426"/>
                      </a:lnTo>
                      <a:lnTo>
                        <a:pt x="306666" y="89103"/>
                      </a:lnTo>
                      <a:lnTo>
                        <a:pt x="299554" y="89103"/>
                      </a:lnTo>
                      <a:lnTo>
                        <a:pt x="310730" y="118973"/>
                      </a:lnTo>
                      <a:lnTo>
                        <a:pt x="316992" y="118973"/>
                      </a:lnTo>
                      <a:lnTo>
                        <a:pt x="320332" y="110426"/>
                      </a:lnTo>
                      <a:lnTo>
                        <a:pt x="328663" y="89103"/>
                      </a:lnTo>
                      <a:close/>
                    </a:path>
                    <a:path w="819150" h="120015">
                      <a:moveTo>
                        <a:pt x="337553" y="89103"/>
                      </a:moveTo>
                      <a:lnTo>
                        <a:pt x="331038" y="89103"/>
                      </a:lnTo>
                      <a:lnTo>
                        <a:pt x="331038" y="118973"/>
                      </a:lnTo>
                      <a:lnTo>
                        <a:pt x="337553" y="118973"/>
                      </a:lnTo>
                      <a:lnTo>
                        <a:pt x="337553" y="89103"/>
                      </a:lnTo>
                      <a:close/>
                    </a:path>
                    <a:path w="819150" h="120015">
                      <a:moveTo>
                        <a:pt x="360603" y="89103"/>
                      </a:moveTo>
                      <a:lnTo>
                        <a:pt x="343636" y="89103"/>
                      </a:lnTo>
                      <a:lnTo>
                        <a:pt x="343636" y="118973"/>
                      </a:lnTo>
                      <a:lnTo>
                        <a:pt x="360565" y="118973"/>
                      </a:lnTo>
                      <a:lnTo>
                        <a:pt x="360565" y="113004"/>
                      </a:lnTo>
                      <a:lnTo>
                        <a:pt x="350113" y="113004"/>
                      </a:lnTo>
                      <a:lnTo>
                        <a:pt x="350113" y="106616"/>
                      </a:lnTo>
                      <a:lnTo>
                        <a:pt x="360349" y="106616"/>
                      </a:lnTo>
                      <a:lnTo>
                        <a:pt x="360349" y="100825"/>
                      </a:lnTo>
                      <a:lnTo>
                        <a:pt x="350113" y="100825"/>
                      </a:lnTo>
                      <a:lnTo>
                        <a:pt x="350113" y="94894"/>
                      </a:lnTo>
                      <a:lnTo>
                        <a:pt x="360603" y="94894"/>
                      </a:lnTo>
                      <a:lnTo>
                        <a:pt x="360603" y="89103"/>
                      </a:lnTo>
                      <a:close/>
                    </a:path>
                    <a:path w="819150" h="120015">
                      <a:moveTo>
                        <a:pt x="380720" y="139"/>
                      </a:moveTo>
                      <a:lnTo>
                        <a:pt x="320865" y="139"/>
                      </a:lnTo>
                      <a:lnTo>
                        <a:pt x="315150" y="11874"/>
                      </a:lnTo>
                      <a:lnTo>
                        <a:pt x="316788" y="10629"/>
                      </a:lnTo>
                      <a:lnTo>
                        <a:pt x="318985" y="9601"/>
                      </a:lnTo>
                      <a:lnTo>
                        <a:pt x="340499" y="9601"/>
                      </a:lnTo>
                      <a:lnTo>
                        <a:pt x="316153" y="59550"/>
                      </a:lnTo>
                      <a:lnTo>
                        <a:pt x="331622" y="59550"/>
                      </a:lnTo>
                      <a:lnTo>
                        <a:pt x="355981" y="9601"/>
                      </a:lnTo>
                      <a:lnTo>
                        <a:pt x="373202" y="9601"/>
                      </a:lnTo>
                      <a:lnTo>
                        <a:pt x="374396" y="10515"/>
                      </a:lnTo>
                      <a:lnTo>
                        <a:pt x="375043" y="11874"/>
                      </a:lnTo>
                      <a:lnTo>
                        <a:pt x="380720" y="139"/>
                      </a:lnTo>
                      <a:close/>
                    </a:path>
                    <a:path w="819150" h="120015">
                      <a:moveTo>
                        <a:pt x="401561" y="100736"/>
                      </a:moveTo>
                      <a:lnTo>
                        <a:pt x="400837" y="98158"/>
                      </a:lnTo>
                      <a:lnTo>
                        <a:pt x="398589" y="94310"/>
                      </a:lnTo>
                      <a:lnTo>
                        <a:pt x="395846" y="89611"/>
                      </a:lnTo>
                      <a:lnTo>
                        <a:pt x="395211" y="89560"/>
                      </a:lnTo>
                      <a:lnTo>
                        <a:pt x="395211" y="109880"/>
                      </a:lnTo>
                      <a:lnTo>
                        <a:pt x="392074" y="113728"/>
                      </a:lnTo>
                      <a:lnTo>
                        <a:pt x="384086" y="113728"/>
                      </a:lnTo>
                      <a:lnTo>
                        <a:pt x="384086" y="94310"/>
                      </a:lnTo>
                      <a:lnTo>
                        <a:pt x="387388" y="94310"/>
                      </a:lnTo>
                      <a:lnTo>
                        <a:pt x="390055" y="94526"/>
                      </a:lnTo>
                      <a:lnTo>
                        <a:pt x="394322" y="97942"/>
                      </a:lnTo>
                      <a:lnTo>
                        <a:pt x="395135" y="100736"/>
                      </a:lnTo>
                      <a:lnTo>
                        <a:pt x="395211" y="109880"/>
                      </a:lnTo>
                      <a:lnTo>
                        <a:pt x="395211" y="89560"/>
                      </a:lnTo>
                      <a:lnTo>
                        <a:pt x="389928" y="89103"/>
                      </a:lnTo>
                      <a:lnTo>
                        <a:pt x="377571" y="89103"/>
                      </a:lnTo>
                      <a:lnTo>
                        <a:pt x="377571" y="118973"/>
                      </a:lnTo>
                      <a:lnTo>
                        <a:pt x="388785" y="118973"/>
                      </a:lnTo>
                      <a:lnTo>
                        <a:pt x="392671" y="118808"/>
                      </a:lnTo>
                      <a:lnTo>
                        <a:pt x="399351" y="113728"/>
                      </a:lnTo>
                      <a:lnTo>
                        <a:pt x="399859" y="113347"/>
                      </a:lnTo>
                      <a:lnTo>
                        <a:pt x="401561" y="108178"/>
                      </a:lnTo>
                      <a:lnTo>
                        <a:pt x="401561" y="100736"/>
                      </a:lnTo>
                      <a:close/>
                    </a:path>
                    <a:path w="819150" h="120015">
                      <a:moveTo>
                        <a:pt x="422668" y="89103"/>
                      </a:moveTo>
                      <a:lnTo>
                        <a:pt x="405701" y="89103"/>
                      </a:lnTo>
                      <a:lnTo>
                        <a:pt x="405701" y="118973"/>
                      </a:lnTo>
                      <a:lnTo>
                        <a:pt x="422630" y="118973"/>
                      </a:lnTo>
                      <a:lnTo>
                        <a:pt x="422630" y="113004"/>
                      </a:lnTo>
                      <a:lnTo>
                        <a:pt x="412178" y="113004"/>
                      </a:lnTo>
                      <a:lnTo>
                        <a:pt x="412178" y="106616"/>
                      </a:lnTo>
                      <a:lnTo>
                        <a:pt x="422414" y="106616"/>
                      </a:lnTo>
                      <a:lnTo>
                        <a:pt x="422414" y="100825"/>
                      </a:lnTo>
                      <a:lnTo>
                        <a:pt x="412178" y="100825"/>
                      </a:lnTo>
                      <a:lnTo>
                        <a:pt x="412178" y="94894"/>
                      </a:lnTo>
                      <a:lnTo>
                        <a:pt x="422668" y="94894"/>
                      </a:lnTo>
                      <a:lnTo>
                        <a:pt x="422668" y="89103"/>
                      </a:lnTo>
                      <a:close/>
                    </a:path>
                    <a:path w="819150" h="120015">
                      <a:moveTo>
                        <a:pt x="430733" y="59651"/>
                      </a:moveTo>
                      <a:lnTo>
                        <a:pt x="430047" y="46113"/>
                      </a:lnTo>
                      <a:lnTo>
                        <a:pt x="429552" y="36461"/>
                      </a:lnTo>
                      <a:lnTo>
                        <a:pt x="428307" y="12065"/>
                      </a:lnTo>
                      <a:lnTo>
                        <a:pt x="427697" y="203"/>
                      </a:lnTo>
                      <a:lnTo>
                        <a:pt x="416026" y="215"/>
                      </a:lnTo>
                      <a:lnTo>
                        <a:pt x="416026" y="36461"/>
                      </a:lnTo>
                      <a:lnTo>
                        <a:pt x="395338" y="36461"/>
                      </a:lnTo>
                      <a:lnTo>
                        <a:pt x="415531" y="12065"/>
                      </a:lnTo>
                      <a:lnTo>
                        <a:pt x="416026" y="36461"/>
                      </a:lnTo>
                      <a:lnTo>
                        <a:pt x="416026" y="215"/>
                      </a:lnTo>
                      <a:lnTo>
                        <a:pt x="411708" y="215"/>
                      </a:lnTo>
                      <a:lnTo>
                        <a:pt x="411708" y="1676"/>
                      </a:lnTo>
                      <a:lnTo>
                        <a:pt x="411187" y="3327"/>
                      </a:lnTo>
                      <a:lnTo>
                        <a:pt x="362648" y="59651"/>
                      </a:lnTo>
                      <a:lnTo>
                        <a:pt x="376212" y="59651"/>
                      </a:lnTo>
                      <a:lnTo>
                        <a:pt x="387375" y="46113"/>
                      </a:lnTo>
                      <a:lnTo>
                        <a:pt x="416242" y="46113"/>
                      </a:lnTo>
                      <a:lnTo>
                        <a:pt x="416534" y="59651"/>
                      </a:lnTo>
                      <a:lnTo>
                        <a:pt x="430733" y="59651"/>
                      </a:lnTo>
                      <a:close/>
                    </a:path>
                    <a:path w="819150" h="120015">
                      <a:moveTo>
                        <a:pt x="443611" y="113093"/>
                      </a:moveTo>
                      <a:lnTo>
                        <a:pt x="433412" y="113093"/>
                      </a:lnTo>
                      <a:lnTo>
                        <a:pt x="433412" y="89103"/>
                      </a:lnTo>
                      <a:lnTo>
                        <a:pt x="426897" y="89103"/>
                      </a:lnTo>
                      <a:lnTo>
                        <a:pt x="426897" y="118973"/>
                      </a:lnTo>
                      <a:lnTo>
                        <a:pt x="443611" y="118973"/>
                      </a:lnTo>
                      <a:lnTo>
                        <a:pt x="443611" y="113093"/>
                      </a:lnTo>
                      <a:close/>
                    </a:path>
                    <a:path w="819150" h="120015">
                      <a:moveTo>
                        <a:pt x="463867" y="113093"/>
                      </a:moveTo>
                      <a:lnTo>
                        <a:pt x="453669" y="113093"/>
                      </a:lnTo>
                      <a:lnTo>
                        <a:pt x="453669" y="89103"/>
                      </a:lnTo>
                      <a:lnTo>
                        <a:pt x="447154" y="89103"/>
                      </a:lnTo>
                      <a:lnTo>
                        <a:pt x="447154" y="118973"/>
                      </a:lnTo>
                      <a:lnTo>
                        <a:pt x="463867" y="118973"/>
                      </a:lnTo>
                      <a:lnTo>
                        <a:pt x="463867" y="113093"/>
                      </a:lnTo>
                      <a:close/>
                    </a:path>
                    <a:path w="819150" h="120015">
                      <a:moveTo>
                        <a:pt x="497217" y="48171"/>
                      </a:moveTo>
                      <a:lnTo>
                        <a:pt x="496036" y="49314"/>
                      </a:lnTo>
                      <a:lnTo>
                        <a:pt x="492810" y="50126"/>
                      </a:lnTo>
                      <a:lnTo>
                        <a:pt x="467842" y="50126"/>
                      </a:lnTo>
                      <a:lnTo>
                        <a:pt x="492163" y="0"/>
                      </a:lnTo>
                      <a:lnTo>
                        <a:pt x="474751" y="0"/>
                      </a:lnTo>
                      <a:lnTo>
                        <a:pt x="475145" y="2032"/>
                      </a:lnTo>
                      <a:lnTo>
                        <a:pt x="474687" y="4203"/>
                      </a:lnTo>
                      <a:lnTo>
                        <a:pt x="447751" y="59550"/>
                      </a:lnTo>
                      <a:lnTo>
                        <a:pt x="491680" y="59550"/>
                      </a:lnTo>
                      <a:lnTo>
                        <a:pt x="497217" y="48171"/>
                      </a:lnTo>
                      <a:close/>
                    </a:path>
                    <a:path w="819150" h="120015">
                      <a:moveTo>
                        <a:pt x="497255" y="95072"/>
                      </a:moveTo>
                      <a:lnTo>
                        <a:pt x="496735" y="94564"/>
                      </a:lnTo>
                      <a:lnTo>
                        <a:pt x="490562" y="88506"/>
                      </a:lnTo>
                      <a:lnTo>
                        <a:pt x="490562" y="98666"/>
                      </a:lnTo>
                      <a:lnTo>
                        <a:pt x="490524" y="109575"/>
                      </a:lnTo>
                      <a:lnTo>
                        <a:pt x="486676" y="113639"/>
                      </a:lnTo>
                      <a:lnTo>
                        <a:pt x="476135" y="113639"/>
                      </a:lnTo>
                      <a:lnTo>
                        <a:pt x="472033" y="109575"/>
                      </a:lnTo>
                      <a:lnTo>
                        <a:pt x="472160" y="98666"/>
                      </a:lnTo>
                      <a:lnTo>
                        <a:pt x="476135" y="94564"/>
                      </a:lnTo>
                      <a:lnTo>
                        <a:pt x="486676" y="94564"/>
                      </a:lnTo>
                      <a:lnTo>
                        <a:pt x="490562" y="98666"/>
                      </a:lnTo>
                      <a:lnTo>
                        <a:pt x="490562" y="88506"/>
                      </a:lnTo>
                      <a:lnTo>
                        <a:pt x="490397" y="88341"/>
                      </a:lnTo>
                      <a:lnTo>
                        <a:pt x="472071" y="88341"/>
                      </a:lnTo>
                      <a:lnTo>
                        <a:pt x="465442" y="95072"/>
                      </a:lnTo>
                      <a:lnTo>
                        <a:pt x="465442" y="113385"/>
                      </a:lnTo>
                      <a:lnTo>
                        <a:pt x="472033" y="119735"/>
                      </a:lnTo>
                      <a:lnTo>
                        <a:pt x="490778" y="119735"/>
                      </a:lnTo>
                      <a:lnTo>
                        <a:pt x="496912" y="113639"/>
                      </a:lnTo>
                      <a:lnTo>
                        <a:pt x="497166" y="113385"/>
                      </a:lnTo>
                      <a:lnTo>
                        <a:pt x="497255" y="95072"/>
                      </a:lnTo>
                      <a:close/>
                    </a:path>
                    <a:path w="819150" h="120015">
                      <a:moveTo>
                        <a:pt x="531228" y="100533"/>
                      </a:moveTo>
                      <a:lnTo>
                        <a:pt x="519201" y="101422"/>
                      </a:lnTo>
                      <a:lnTo>
                        <a:pt x="519201" y="95199"/>
                      </a:lnTo>
                      <a:lnTo>
                        <a:pt x="520522" y="94145"/>
                      </a:lnTo>
                      <a:lnTo>
                        <a:pt x="524065" y="94145"/>
                      </a:lnTo>
                      <a:lnTo>
                        <a:pt x="525335" y="95453"/>
                      </a:lnTo>
                      <a:lnTo>
                        <a:pt x="526478" y="96977"/>
                      </a:lnTo>
                      <a:lnTo>
                        <a:pt x="529005" y="94145"/>
                      </a:lnTo>
                      <a:lnTo>
                        <a:pt x="530631" y="92316"/>
                      </a:lnTo>
                      <a:lnTo>
                        <a:pt x="528091" y="89700"/>
                      </a:lnTo>
                      <a:lnTo>
                        <a:pt x="525856" y="88303"/>
                      </a:lnTo>
                      <a:lnTo>
                        <a:pt x="516966" y="88303"/>
                      </a:lnTo>
                      <a:lnTo>
                        <a:pt x="512432" y="91605"/>
                      </a:lnTo>
                      <a:lnTo>
                        <a:pt x="512432" y="102057"/>
                      </a:lnTo>
                      <a:lnTo>
                        <a:pt x="516458" y="104508"/>
                      </a:lnTo>
                      <a:lnTo>
                        <a:pt x="520522" y="106451"/>
                      </a:lnTo>
                      <a:lnTo>
                        <a:pt x="523227" y="108013"/>
                      </a:lnTo>
                      <a:lnTo>
                        <a:pt x="524408" y="110553"/>
                      </a:lnTo>
                      <a:lnTo>
                        <a:pt x="524408" y="112674"/>
                      </a:lnTo>
                      <a:lnTo>
                        <a:pt x="522668" y="114109"/>
                      </a:lnTo>
                      <a:lnTo>
                        <a:pt x="518198" y="114109"/>
                      </a:lnTo>
                      <a:lnTo>
                        <a:pt x="516547" y="112458"/>
                      </a:lnTo>
                      <a:lnTo>
                        <a:pt x="515023" y="110718"/>
                      </a:lnTo>
                      <a:lnTo>
                        <a:pt x="510794" y="115379"/>
                      </a:lnTo>
                      <a:lnTo>
                        <a:pt x="513499" y="117995"/>
                      </a:lnTo>
                      <a:lnTo>
                        <a:pt x="516496" y="119659"/>
                      </a:lnTo>
                      <a:lnTo>
                        <a:pt x="526275" y="119659"/>
                      </a:lnTo>
                      <a:lnTo>
                        <a:pt x="531228" y="116090"/>
                      </a:lnTo>
                      <a:lnTo>
                        <a:pt x="531228" y="114109"/>
                      </a:lnTo>
                      <a:lnTo>
                        <a:pt x="531228" y="101422"/>
                      </a:lnTo>
                      <a:lnTo>
                        <a:pt x="531228" y="100533"/>
                      </a:lnTo>
                      <a:close/>
                    </a:path>
                    <a:path w="819150" h="120015">
                      <a:moveTo>
                        <a:pt x="552246" y="89103"/>
                      </a:moveTo>
                      <a:lnTo>
                        <a:pt x="532993" y="89103"/>
                      </a:lnTo>
                      <a:lnTo>
                        <a:pt x="532993" y="94945"/>
                      </a:lnTo>
                      <a:lnTo>
                        <a:pt x="539381" y="94945"/>
                      </a:lnTo>
                      <a:lnTo>
                        <a:pt x="539381" y="118973"/>
                      </a:lnTo>
                      <a:lnTo>
                        <a:pt x="545858" y="118973"/>
                      </a:lnTo>
                      <a:lnTo>
                        <a:pt x="545858" y="94856"/>
                      </a:lnTo>
                      <a:lnTo>
                        <a:pt x="552246" y="94856"/>
                      </a:lnTo>
                      <a:lnTo>
                        <a:pt x="552246" y="89103"/>
                      </a:lnTo>
                      <a:close/>
                    </a:path>
                    <a:path w="819150" h="120015">
                      <a:moveTo>
                        <a:pt x="581698" y="118973"/>
                      </a:moveTo>
                      <a:lnTo>
                        <a:pt x="579208" y="112928"/>
                      </a:lnTo>
                      <a:lnTo>
                        <a:pt x="576897" y="107302"/>
                      </a:lnTo>
                      <a:lnTo>
                        <a:pt x="572046" y="95491"/>
                      </a:lnTo>
                      <a:lnTo>
                        <a:pt x="570179" y="90957"/>
                      </a:lnTo>
                      <a:lnTo>
                        <a:pt x="570179" y="107302"/>
                      </a:lnTo>
                      <a:lnTo>
                        <a:pt x="561975" y="107302"/>
                      </a:lnTo>
                      <a:lnTo>
                        <a:pt x="565988" y="95491"/>
                      </a:lnTo>
                      <a:lnTo>
                        <a:pt x="570179" y="107302"/>
                      </a:lnTo>
                      <a:lnTo>
                        <a:pt x="570179" y="90957"/>
                      </a:lnTo>
                      <a:lnTo>
                        <a:pt x="569417" y="89103"/>
                      </a:lnTo>
                      <a:lnTo>
                        <a:pt x="562521" y="89103"/>
                      </a:lnTo>
                      <a:lnTo>
                        <a:pt x="550799" y="118973"/>
                      </a:lnTo>
                      <a:lnTo>
                        <a:pt x="557745" y="118973"/>
                      </a:lnTo>
                      <a:lnTo>
                        <a:pt x="559943" y="112928"/>
                      </a:lnTo>
                      <a:lnTo>
                        <a:pt x="572338" y="112928"/>
                      </a:lnTo>
                      <a:lnTo>
                        <a:pt x="574662" y="118973"/>
                      </a:lnTo>
                      <a:lnTo>
                        <a:pt x="581698" y="118973"/>
                      </a:lnTo>
                      <a:close/>
                    </a:path>
                    <a:path w="819150" h="120015">
                      <a:moveTo>
                        <a:pt x="589673" y="381"/>
                      </a:moveTo>
                      <a:lnTo>
                        <a:pt x="537540" y="381"/>
                      </a:lnTo>
                      <a:lnTo>
                        <a:pt x="537959" y="2400"/>
                      </a:lnTo>
                      <a:lnTo>
                        <a:pt x="537514" y="4559"/>
                      </a:lnTo>
                      <a:lnTo>
                        <a:pt x="510730" y="59550"/>
                      </a:lnTo>
                      <a:lnTo>
                        <a:pt x="526453" y="59550"/>
                      </a:lnTo>
                      <a:lnTo>
                        <a:pt x="539280" y="33210"/>
                      </a:lnTo>
                      <a:lnTo>
                        <a:pt x="566635" y="33210"/>
                      </a:lnTo>
                      <a:lnTo>
                        <a:pt x="567855" y="34124"/>
                      </a:lnTo>
                      <a:lnTo>
                        <a:pt x="568515" y="35471"/>
                      </a:lnTo>
                      <a:lnTo>
                        <a:pt x="574179" y="23850"/>
                      </a:lnTo>
                      <a:lnTo>
                        <a:pt x="543839" y="23850"/>
                      </a:lnTo>
                      <a:lnTo>
                        <a:pt x="550710" y="9740"/>
                      </a:lnTo>
                      <a:lnTo>
                        <a:pt x="582117" y="9740"/>
                      </a:lnTo>
                      <a:lnTo>
                        <a:pt x="583349" y="10655"/>
                      </a:lnTo>
                      <a:lnTo>
                        <a:pt x="584009" y="12026"/>
                      </a:lnTo>
                      <a:lnTo>
                        <a:pt x="589673" y="381"/>
                      </a:lnTo>
                      <a:close/>
                    </a:path>
                    <a:path w="819150" h="120015">
                      <a:moveTo>
                        <a:pt x="599287" y="89103"/>
                      </a:moveTo>
                      <a:lnTo>
                        <a:pt x="580034" y="89103"/>
                      </a:lnTo>
                      <a:lnTo>
                        <a:pt x="580034" y="94945"/>
                      </a:lnTo>
                      <a:lnTo>
                        <a:pt x="586422" y="94945"/>
                      </a:lnTo>
                      <a:lnTo>
                        <a:pt x="586422" y="118973"/>
                      </a:lnTo>
                      <a:lnTo>
                        <a:pt x="592899" y="118973"/>
                      </a:lnTo>
                      <a:lnTo>
                        <a:pt x="592899" y="94856"/>
                      </a:lnTo>
                      <a:lnTo>
                        <a:pt x="599287" y="94856"/>
                      </a:lnTo>
                      <a:lnTo>
                        <a:pt x="599287" y="89103"/>
                      </a:lnTo>
                      <a:close/>
                    </a:path>
                    <a:path w="819150" h="120015">
                      <a:moveTo>
                        <a:pt x="631901" y="95072"/>
                      </a:moveTo>
                      <a:lnTo>
                        <a:pt x="631380" y="94564"/>
                      </a:lnTo>
                      <a:lnTo>
                        <a:pt x="625221" y="88506"/>
                      </a:lnTo>
                      <a:lnTo>
                        <a:pt x="625221" y="98666"/>
                      </a:lnTo>
                      <a:lnTo>
                        <a:pt x="625182" y="109575"/>
                      </a:lnTo>
                      <a:lnTo>
                        <a:pt x="621334" y="113639"/>
                      </a:lnTo>
                      <a:lnTo>
                        <a:pt x="610793" y="113639"/>
                      </a:lnTo>
                      <a:lnTo>
                        <a:pt x="606691" y="109575"/>
                      </a:lnTo>
                      <a:lnTo>
                        <a:pt x="606818" y="98666"/>
                      </a:lnTo>
                      <a:lnTo>
                        <a:pt x="610793" y="94564"/>
                      </a:lnTo>
                      <a:lnTo>
                        <a:pt x="621334" y="94564"/>
                      </a:lnTo>
                      <a:lnTo>
                        <a:pt x="625221" y="98666"/>
                      </a:lnTo>
                      <a:lnTo>
                        <a:pt x="625221" y="88506"/>
                      </a:lnTo>
                      <a:lnTo>
                        <a:pt x="625055" y="88341"/>
                      </a:lnTo>
                      <a:lnTo>
                        <a:pt x="606729" y="88341"/>
                      </a:lnTo>
                      <a:lnTo>
                        <a:pt x="600087" y="95072"/>
                      </a:lnTo>
                      <a:lnTo>
                        <a:pt x="600087" y="113385"/>
                      </a:lnTo>
                      <a:lnTo>
                        <a:pt x="606691" y="119735"/>
                      </a:lnTo>
                      <a:lnTo>
                        <a:pt x="625436" y="119735"/>
                      </a:lnTo>
                      <a:lnTo>
                        <a:pt x="631558" y="113639"/>
                      </a:lnTo>
                      <a:lnTo>
                        <a:pt x="631812" y="113385"/>
                      </a:lnTo>
                      <a:lnTo>
                        <a:pt x="631901" y="95072"/>
                      </a:lnTo>
                      <a:close/>
                    </a:path>
                    <a:path w="819150" h="120015">
                      <a:moveTo>
                        <a:pt x="654075" y="89103"/>
                      </a:moveTo>
                      <a:lnTo>
                        <a:pt x="647560" y="89103"/>
                      </a:lnTo>
                      <a:lnTo>
                        <a:pt x="647560" y="118973"/>
                      </a:lnTo>
                      <a:lnTo>
                        <a:pt x="654075" y="118973"/>
                      </a:lnTo>
                      <a:lnTo>
                        <a:pt x="654075" y="89103"/>
                      </a:lnTo>
                      <a:close/>
                    </a:path>
                    <a:path w="819150" h="120015">
                      <a:moveTo>
                        <a:pt x="661885" y="406"/>
                      </a:moveTo>
                      <a:lnTo>
                        <a:pt x="609612" y="406"/>
                      </a:lnTo>
                      <a:lnTo>
                        <a:pt x="610019" y="2425"/>
                      </a:lnTo>
                      <a:lnTo>
                        <a:pt x="609587" y="4584"/>
                      </a:lnTo>
                      <a:lnTo>
                        <a:pt x="582815" y="59575"/>
                      </a:lnTo>
                      <a:lnTo>
                        <a:pt x="641438" y="59575"/>
                      </a:lnTo>
                      <a:lnTo>
                        <a:pt x="646938" y="48272"/>
                      </a:lnTo>
                      <a:lnTo>
                        <a:pt x="645744" y="49415"/>
                      </a:lnTo>
                      <a:lnTo>
                        <a:pt x="642467" y="50228"/>
                      </a:lnTo>
                      <a:lnTo>
                        <a:pt x="603084" y="50215"/>
                      </a:lnTo>
                      <a:lnTo>
                        <a:pt x="611365" y="33235"/>
                      </a:lnTo>
                      <a:lnTo>
                        <a:pt x="638835" y="33223"/>
                      </a:lnTo>
                      <a:lnTo>
                        <a:pt x="640054" y="34137"/>
                      </a:lnTo>
                      <a:lnTo>
                        <a:pt x="640715" y="35509"/>
                      </a:lnTo>
                      <a:lnTo>
                        <a:pt x="646379" y="23876"/>
                      </a:lnTo>
                      <a:lnTo>
                        <a:pt x="615924" y="23888"/>
                      </a:lnTo>
                      <a:lnTo>
                        <a:pt x="622795" y="9766"/>
                      </a:lnTo>
                      <a:lnTo>
                        <a:pt x="654316" y="9766"/>
                      </a:lnTo>
                      <a:lnTo>
                        <a:pt x="655548" y="10680"/>
                      </a:lnTo>
                      <a:lnTo>
                        <a:pt x="656209" y="12039"/>
                      </a:lnTo>
                      <a:lnTo>
                        <a:pt x="661885" y="406"/>
                      </a:lnTo>
                      <a:close/>
                    </a:path>
                    <a:path w="819150" h="120015">
                      <a:moveTo>
                        <a:pt x="676325" y="89103"/>
                      </a:moveTo>
                      <a:lnTo>
                        <a:pt x="657072" y="89103"/>
                      </a:lnTo>
                      <a:lnTo>
                        <a:pt x="657072" y="94945"/>
                      </a:lnTo>
                      <a:lnTo>
                        <a:pt x="663460" y="94945"/>
                      </a:lnTo>
                      <a:lnTo>
                        <a:pt x="663460" y="118973"/>
                      </a:lnTo>
                      <a:lnTo>
                        <a:pt x="669937" y="118973"/>
                      </a:lnTo>
                      <a:lnTo>
                        <a:pt x="669937" y="94856"/>
                      </a:lnTo>
                      <a:lnTo>
                        <a:pt x="676325" y="94856"/>
                      </a:lnTo>
                      <a:lnTo>
                        <a:pt x="676325" y="89103"/>
                      </a:lnTo>
                      <a:close/>
                    </a:path>
                    <a:path w="819150" h="120015">
                      <a:moveTo>
                        <a:pt x="705764" y="118973"/>
                      </a:moveTo>
                      <a:lnTo>
                        <a:pt x="703275" y="112928"/>
                      </a:lnTo>
                      <a:lnTo>
                        <a:pt x="700963" y="107302"/>
                      </a:lnTo>
                      <a:lnTo>
                        <a:pt x="696112" y="95491"/>
                      </a:lnTo>
                      <a:lnTo>
                        <a:pt x="694258" y="90970"/>
                      </a:lnTo>
                      <a:lnTo>
                        <a:pt x="694258" y="107302"/>
                      </a:lnTo>
                      <a:lnTo>
                        <a:pt x="686054" y="107302"/>
                      </a:lnTo>
                      <a:lnTo>
                        <a:pt x="690067" y="95491"/>
                      </a:lnTo>
                      <a:lnTo>
                        <a:pt x="694258" y="107302"/>
                      </a:lnTo>
                      <a:lnTo>
                        <a:pt x="694258" y="90970"/>
                      </a:lnTo>
                      <a:lnTo>
                        <a:pt x="693496" y="89103"/>
                      </a:lnTo>
                      <a:lnTo>
                        <a:pt x="686600" y="89103"/>
                      </a:lnTo>
                      <a:lnTo>
                        <a:pt x="674878" y="118973"/>
                      </a:lnTo>
                      <a:lnTo>
                        <a:pt x="681812" y="118973"/>
                      </a:lnTo>
                      <a:lnTo>
                        <a:pt x="684022" y="112928"/>
                      </a:lnTo>
                      <a:lnTo>
                        <a:pt x="696417" y="112928"/>
                      </a:lnTo>
                      <a:lnTo>
                        <a:pt x="698741" y="118973"/>
                      </a:lnTo>
                      <a:lnTo>
                        <a:pt x="705764" y="118973"/>
                      </a:lnTo>
                      <a:close/>
                    </a:path>
                    <a:path w="819150" h="120015">
                      <a:moveTo>
                        <a:pt x="725004" y="113093"/>
                      </a:moveTo>
                      <a:lnTo>
                        <a:pt x="714819" y="113093"/>
                      </a:lnTo>
                      <a:lnTo>
                        <a:pt x="714819" y="89103"/>
                      </a:lnTo>
                      <a:lnTo>
                        <a:pt x="708304" y="89103"/>
                      </a:lnTo>
                      <a:lnTo>
                        <a:pt x="708304" y="118973"/>
                      </a:lnTo>
                      <a:lnTo>
                        <a:pt x="725004" y="118973"/>
                      </a:lnTo>
                      <a:lnTo>
                        <a:pt x="725004" y="113093"/>
                      </a:lnTo>
                      <a:close/>
                    </a:path>
                    <a:path w="819150" h="120015">
                      <a:moveTo>
                        <a:pt x="734999" y="89103"/>
                      </a:moveTo>
                      <a:lnTo>
                        <a:pt x="728484" y="89103"/>
                      </a:lnTo>
                      <a:lnTo>
                        <a:pt x="728484" y="118973"/>
                      </a:lnTo>
                      <a:lnTo>
                        <a:pt x="734999" y="118973"/>
                      </a:lnTo>
                      <a:lnTo>
                        <a:pt x="734999" y="89103"/>
                      </a:lnTo>
                      <a:close/>
                    </a:path>
                    <a:path w="819150" h="120015">
                      <a:moveTo>
                        <a:pt x="736092" y="14300"/>
                      </a:moveTo>
                      <a:lnTo>
                        <a:pt x="736053" y="9817"/>
                      </a:lnTo>
                      <a:lnTo>
                        <a:pt x="735965" y="254"/>
                      </a:lnTo>
                      <a:lnTo>
                        <a:pt x="724433" y="419"/>
                      </a:lnTo>
                      <a:lnTo>
                        <a:pt x="721067" y="419"/>
                      </a:lnTo>
                      <a:lnTo>
                        <a:pt x="721067" y="20459"/>
                      </a:lnTo>
                      <a:lnTo>
                        <a:pt x="715416" y="25755"/>
                      </a:lnTo>
                      <a:lnTo>
                        <a:pt x="692315" y="25755"/>
                      </a:lnTo>
                      <a:lnTo>
                        <a:pt x="700087" y="9817"/>
                      </a:lnTo>
                      <a:lnTo>
                        <a:pt x="719467" y="9817"/>
                      </a:lnTo>
                      <a:lnTo>
                        <a:pt x="720979" y="12458"/>
                      </a:lnTo>
                      <a:lnTo>
                        <a:pt x="721067" y="20459"/>
                      </a:lnTo>
                      <a:lnTo>
                        <a:pt x="721067" y="419"/>
                      </a:lnTo>
                      <a:lnTo>
                        <a:pt x="686917" y="419"/>
                      </a:lnTo>
                      <a:lnTo>
                        <a:pt x="687311" y="2451"/>
                      </a:lnTo>
                      <a:lnTo>
                        <a:pt x="686854" y="4622"/>
                      </a:lnTo>
                      <a:lnTo>
                        <a:pt x="660120" y="59575"/>
                      </a:lnTo>
                      <a:lnTo>
                        <a:pt x="675830" y="59575"/>
                      </a:lnTo>
                      <a:lnTo>
                        <a:pt x="687755" y="35115"/>
                      </a:lnTo>
                      <a:lnTo>
                        <a:pt x="704202" y="35115"/>
                      </a:lnTo>
                      <a:lnTo>
                        <a:pt x="709422" y="59575"/>
                      </a:lnTo>
                      <a:lnTo>
                        <a:pt x="726313" y="59575"/>
                      </a:lnTo>
                      <a:lnTo>
                        <a:pt x="725284" y="58966"/>
                      </a:lnTo>
                      <a:lnTo>
                        <a:pt x="723938" y="57492"/>
                      </a:lnTo>
                      <a:lnTo>
                        <a:pt x="718680" y="35115"/>
                      </a:lnTo>
                      <a:lnTo>
                        <a:pt x="718642" y="34963"/>
                      </a:lnTo>
                      <a:lnTo>
                        <a:pt x="723595" y="33197"/>
                      </a:lnTo>
                      <a:lnTo>
                        <a:pt x="729373" y="29070"/>
                      </a:lnTo>
                      <a:lnTo>
                        <a:pt x="731875" y="25755"/>
                      </a:lnTo>
                      <a:lnTo>
                        <a:pt x="734148" y="22733"/>
                      </a:lnTo>
                      <a:lnTo>
                        <a:pt x="736092" y="14300"/>
                      </a:lnTo>
                      <a:close/>
                    </a:path>
                    <a:path w="819150" h="120015">
                      <a:moveTo>
                        <a:pt x="768324" y="118973"/>
                      </a:moveTo>
                      <a:lnTo>
                        <a:pt x="765848" y="112928"/>
                      </a:lnTo>
                      <a:lnTo>
                        <a:pt x="763536" y="107302"/>
                      </a:lnTo>
                      <a:lnTo>
                        <a:pt x="758685" y="95491"/>
                      </a:lnTo>
                      <a:lnTo>
                        <a:pt x="756831" y="90970"/>
                      </a:lnTo>
                      <a:lnTo>
                        <a:pt x="756831" y="107302"/>
                      </a:lnTo>
                      <a:lnTo>
                        <a:pt x="748614" y="107302"/>
                      </a:lnTo>
                      <a:lnTo>
                        <a:pt x="752640" y="95491"/>
                      </a:lnTo>
                      <a:lnTo>
                        <a:pt x="756831" y="107302"/>
                      </a:lnTo>
                      <a:lnTo>
                        <a:pt x="756831" y="90970"/>
                      </a:lnTo>
                      <a:lnTo>
                        <a:pt x="756069" y="89103"/>
                      </a:lnTo>
                      <a:lnTo>
                        <a:pt x="749173" y="89103"/>
                      </a:lnTo>
                      <a:lnTo>
                        <a:pt x="737438" y="118973"/>
                      </a:lnTo>
                      <a:lnTo>
                        <a:pt x="744385" y="118973"/>
                      </a:lnTo>
                      <a:lnTo>
                        <a:pt x="746594" y="112928"/>
                      </a:lnTo>
                      <a:lnTo>
                        <a:pt x="758977" y="112928"/>
                      </a:lnTo>
                      <a:lnTo>
                        <a:pt x="761314" y="118973"/>
                      </a:lnTo>
                      <a:lnTo>
                        <a:pt x="768324" y="118973"/>
                      </a:lnTo>
                      <a:close/>
                    </a:path>
                    <a:path w="819150" h="120015">
                      <a:moveTo>
                        <a:pt x="796683" y="89103"/>
                      </a:moveTo>
                      <a:lnTo>
                        <a:pt x="790587" y="89103"/>
                      </a:lnTo>
                      <a:lnTo>
                        <a:pt x="790714" y="108775"/>
                      </a:lnTo>
                      <a:lnTo>
                        <a:pt x="783742" y="98920"/>
                      </a:lnTo>
                      <a:lnTo>
                        <a:pt x="776795" y="89103"/>
                      </a:lnTo>
                      <a:lnTo>
                        <a:pt x="770915" y="89103"/>
                      </a:lnTo>
                      <a:lnTo>
                        <a:pt x="770915" y="118973"/>
                      </a:lnTo>
                      <a:lnTo>
                        <a:pt x="777049" y="118973"/>
                      </a:lnTo>
                      <a:lnTo>
                        <a:pt x="776871" y="98920"/>
                      </a:lnTo>
                      <a:lnTo>
                        <a:pt x="790879" y="118973"/>
                      </a:lnTo>
                      <a:lnTo>
                        <a:pt x="796683" y="118973"/>
                      </a:lnTo>
                      <a:lnTo>
                        <a:pt x="796683" y="108775"/>
                      </a:lnTo>
                      <a:lnTo>
                        <a:pt x="796683" y="89103"/>
                      </a:lnTo>
                      <a:close/>
                    </a:path>
                    <a:path w="819150" h="120015">
                      <a:moveTo>
                        <a:pt x="818057" y="14300"/>
                      </a:moveTo>
                      <a:lnTo>
                        <a:pt x="818019" y="9817"/>
                      </a:lnTo>
                      <a:lnTo>
                        <a:pt x="817930" y="254"/>
                      </a:lnTo>
                      <a:lnTo>
                        <a:pt x="806399" y="419"/>
                      </a:lnTo>
                      <a:lnTo>
                        <a:pt x="803021" y="419"/>
                      </a:lnTo>
                      <a:lnTo>
                        <a:pt x="803021" y="20459"/>
                      </a:lnTo>
                      <a:lnTo>
                        <a:pt x="797382" y="25755"/>
                      </a:lnTo>
                      <a:lnTo>
                        <a:pt x="774268" y="25755"/>
                      </a:lnTo>
                      <a:lnTo>
                        <a:pt x="782066" y="9817"/>
                      </a:lnTo>
                      <a:lnTo>
                        <a:pt x="801433" y="9817"/>
                      </a:lnTo>
                      <a:lnTo>
                        <a:pt x="802944" y="12458"/>
                      </a:lnTo>
                      <a:lnTo>
                        <a:pt x="803021" y="20459"/>
                      </a:lnTo>
                      <a:lnTo>
                        <a:pt x="803021" y="419"/>
                      </a:lnTo>
                      <a:lnTo>
                        <a:pt x="768883" y="419"/>
                      </a:lnTo>
                      <a:lnTo>
                        <a:pt x="769277" y="2451"/>
                      </a:lnTo>
                      <a:lnTo>
                        <a:pt x="768819" y="4622"/>
                      </a:lnTo>
                      <a:lnTo>
                        <a:pt x="742086" y="59575"/>
                      </a:lnTo>
                      <a:lnTo>
                        <a:pt x="757809" y="59575"/>
                      </a:lnTo>
                      <a:lnTo>
                        <a:pt x="769721" y="35115"/>
                      </a:lnTo>
                      <a:lnTo>
                        <a:pt x="786168" y="35115"/>
                      </a:lnTo>
                      <a:lnTo>
                        <a:pt x="791387" y="59575"/>
                      </a:lnTo>
                      <a:lnTo>
                        <a:pt x="808278" y="59575"/>
                      </a:lnTo>
                      <a:lnTo>
                        <a:pt x="807262" y="58966"/>
                      </a:lnTo>
                      <a:lnTo>
                        <a:pt x="805891" y="57492"/>
                      </a:lnTo>
                      <a:lnTo>
                        <a:pt x="805395" y="55321"/>
                      </a:lnTo>
                      <a:lnTo>
                        <a:pt x="800646" y="35115"/>
                      </a:lnTo>
                      <a:lnTo>
                        <a:pt x="800608" y="34963"/>
                      </a:lnTo>
                      <a:lnTo>
                        <a:pt x="805561" y="33197"/>
                      </a:lnTo>
                      <a:lnTo>
                        <a:pt x="811339" y="29070"/>
                      </a:lnTo>
                      <a:lnTo>
                        <a:pt x="813841" y="25755"/>
                      </a:lnTo>
                      <a:lnTo>
                        <a:pt x="816127" y="22733"/>
                      </a:lnTo>
                      <a:lnTo>
                        <a:pt x="818057" y="14300"/>
                      </a:lnTo>
                      <a:close/>
                    </a:path>
                    <a:path w="819150" h="120015">
                      <a:moveTo>
                        <a:pt x="818629" y="89103"/>
                      </a:moveTo>
                      <a:lnTo>
                        <a:pt x="801662" y="89103"/>
                      </a:lnTo>
                      <a:lnTo>
                        <a:pt x="801662" y="118973"/>
                      </a:lnTo>
                      <a:lnTo>
                        <a:pt x="818591" y="118973"/>
                      </a:lnTo>
                      <a:lnTo>
                        <a:pt x="818591" y="113004"/>
                      </a:lnTo>
                      <a:lnTo>
                        <a:pt x="808139" y="113004"/>
                      </a:lnTo>
                      <a:lnTo>
                        <a:pt x="808139" y="106616"/>
                      </a:lnTo>
                      <a:lnTo>
                        <a:pt x="818375" y="106616"/>
                      </a:lnTo>
                      <a:lnTo>
                        <a:pt x="818375" y="100825"/>
                      </a:lnTo>
                      <a:lnTo>
                        <a:pt x="808139" y="100825"/>
                      </a:lnTo>
                      <a:lnTo>
                        <a:pt x="808139" y="94894"/>
                      </a:lnTo>
                      <a:lnTo>
                        <a:pt x="818629" y="94894"/>
                      </a:lnTo>
                      <a:lnTo>
                        <a:pt x="818629" y="89103"/>
                      </a:lnTo>
                      <a:close/>
                    </a:path>
                  </a:pathLst>
                </a:custGeom>
                <a:solidFill>
                  <a:srgbClr val="006A65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456" name="object 242">
                  <a:extLst>
                    <a:ext uri="{FF2B5EF4-FFF2-40B4-BE49-F238E27FC236}">
                      <a16:creationId xmlns:a16="http://schemas.microsoft.com/office/drawing/2014/main" id="{73ADD12E-A36D-0FBC-8FF4-8F1CD973EABB}"/>
                    </a:ext>
                  </a:extLst>
                </p:cNvPr>
                <p:cNvPicPr/>
                <p:nvPr/>
              </p:nvPicPr>
              <p:blipFill>
                <a:blip r:embed="rId48" cstate="print"/>
                <a:stretch>
                  <a:fillRect/>
                </a:stretch>
              </p:blipFill>
              <p:spPr>
                <a:xfrm>
                  <a:off x="4486908" y="1006552"/>
                  <a:ext cx="108127" cy="92824"/>
                </a:xfrm>
                <a:prstGeom prst="rect">
                  <a:avLst/>
                </a:prstGeom>
              </p:spPr>
            </p:pic>
            <p:pic>
              <p:nvPicPr>
                <p:cNvPr id="457" name="object 243">
                  <a:extLst>
                    <a:ext uri="{FF2B5EF4-FFF2-40B4-BE49-F238E27FC236}">
                      <a16:creationId xmlns:a16="http://schemas.microsoft.com/office/drawing/2014/main" id="{F4CA841E-D3F2-0209-03D1-8DB84D7AF254}"/>
                    </a:ext>
                  </a:extLst>
                </p:cNvPr>
                <p:cNvPicPr/>
                <p:nvPr/>
              </p:nvPicPr>
              <p:blipFill>
                <a:blip r:embed="rId49" cstate="print"/>
                <a:stretch>
                  <a:fillRect/>
                </a:stretch>
              </p:blipFill>
              <p:spPr>
                <a:xfrm>
                  <a:off x="4543803" y="917087"/>
                  <a:ext cx="230758" cy="67017"/>
                </a:xfrm>
                <a:prstGeom prst="rect">
                  <a:avLst/>
                </a:prstGeom>
              </p:spPr>
            </p:pic>
            <p:sp>
              <p:nvSpPr>
                <p:cNvPr id="458" name="object 244">
                  <a:extLst>
                    <a:ext uri="{FF2B5EF4-FFF2-40B4-BE49-F238E27FC236}">
                      <a16:creationId xmlns:a16="http://schemas.microsoft.com/office/drawing/2014/main" id="{BFB1485A-391C-35BC-1B2B-EF34DEC49F6F}"/>
                    </a:ext>
                  </a:extLst>
                </p:cNvPr>
                <p:cNvSpPr/>
                <p:nvPr/>
              </p:nvSpPr>
              <p:spPr>
                <a:xfrm>
                  <a:off x="4477998" y="996324"/>
                  <a:ext cx="257810" cy="1219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7810" h="121919">
                      <a:moveTo>
                        <a:pt x="257606" y="0"/>
                      </a:moveTo>
                      <a:lnTo>
                        <a:pt x="186766" y="4483"/>
                      </a:lnTo>
                      <a:lnTo>
                        <a:pt x="148148" y="26412"/>
                      </a:lnTo>
                      <a:lnTo>
                        <a:pt x="135293" y="65760"/>
                      </a:lnTo>
                      <a:lnTo>
                        <a:pt x="127900" y="82763"/>
                      </a:lnTo>
                      <a:lnTo>
                        <a:pt x="82105" y="110274"/>
                      </a:lnTo>
                      <a:lnTo>
                        <a:pt x="4216" y="113055"/>
                      </a:lnTo>
                      <a:lnTo>
                        <a:pt x="0" y="121653"/>
                      </a:lnTo>
                      <a:lnTo>
                        <a:pt x="116558" y="121603"/>
                      </a:lnTo>
                      <a:lnTo>
                        <a:pt x="161094" y="111017"/>
                      </a:lnTo>
                      <a:lnTo>
                        <a:pt x="192251" y="79848"/>
                      </a:lnTo>
                      <a:lnTo>
                        <a:pt x="201320" y="38138"/>
                      </a:lnTo>
                      <a:lnTo>
                        <a:pt x="204665" y="26867"/>
                      </a:lnTo>
                      <a:lnTo>
                        <a:pt x="211458" y="17613"/>
                      </a:lnTo>
                      <a:lnTo>
                        <a:pt x="220951" y="11118"/>
                      </a:lnTo>
                      <a:lnTo>
                        <a:pt x="232397" y="8127"/>
                      </a:lnTo>
                      <a:lnTo>
                        <a:pt x="254215" y="6781"/>
                      </a:lnTo>
                      <a:lnTo>
                        <a:pt x="257606" y="0"/>
                      </a:lnTo>
                      <a:close/>
                    </a:path>
                  </a:pathLst>
                </a:custGeom>
                <a:solidFill>
                  <a:srgbClr val="E31836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</p:grpSp>
          <p:sp>
            <p:nvSpPr>
              <p:cNvPr id="403" name="object 245">
                <a:extLst>
                  <a:ext uri="{FF2B5EF4-FFF2-40B4-BE49-F238E27FC236}">
                    <a16:creationId xmlns:a16="http://schemas.microsoft.com/office/drawing/2014/main" id="{6C6D005A-EFC0-984B-C7BA-CAB308BFE997}"/>
                  </a:ext>
                </a:extLst>
              </p:cNvPr>
              <p:cNvSpPr txBox="1"/>
              <p:nvPr/>
            </p:nvSpPr>
            <p:spPr>
              <a:xfrm>
                <a:off x="10342466" y="1282090"/>
                <a:ext cx="745582" cy="134792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b="1" spc="60" dirty="0">
                    <a:solidFill>
                      <a:srgbClr val="58595B"/>
                    </a:solidFill>
                    <a:cs typeface="Calibri"/>
                  </a:rPr>
                  <a:t>Uzbekistan</a:t>
                </a:r>
                <a:endParaRPr sz="700" dirty="0">
                  <a:cs typeface="Calibri"/>
                </a:endParaRPr>
              </a:p>
            </p:txBody>
          </p:sp>
          <p:grpSp>
            <p:nvGrpSpPr>
              <p:cNvPr id="404" name="object 246">
                <a:extLst>
                  <a:ext uri="{FF2B5EF4-FFF2-40B4-BE49-F238E27FC236}">
                    <a16:creationId xmlns:a16="http://schemas.microsoft.com/office/drawing/2014/main" id="{8D9C4A11-F578-FF8D-D6DC-36CA54CDD5CF}"/>
                  </a:ext>
                </a:extLst>
              </p:cNvPr>
              <p:cNvGrpSpPr/>
              <p:nvPr/>
            </p:nvGrpSpPr>
            <p:grpSpPr>
              <a:xfrm>
                <a:off x="6413035" y="1473884"/>
                <a:ext cx="4968240" cy="1682750"/>
                <a:chOff x="535862" y="917087"/>
                <a:chExt cx="4968240" cy="1682750"/>
              </a:xfrm>
            </p:grpSpPr>
            <p:sp>
              <p:nvSpPr>
                <p:cNvPr id="439" name="object 247">
                  <a:extLst>
                    <a:ext uri="{FF2B5EF4-FFF2-40B4-BE49-F238E27FC236}">
                      <a16:creationId xmlns:a16="http://schemas.microsoft.com/office/drawing/2014/main" id="{8BA3CC31-D084-CC64-B82E-1E5A2F0EC1F5}"/>
                    </a:ext>
                  </a:extLst>
                </p:cNvPr>
                <p:cNvSpPr/>
                <p:nvPr/>
              </p:nvSpPr>
              <p:spPr>
                <a:xfrm>
                  <a:off x="4685258" y="2479471"/>
                  <a:ext cx="819150" cy="1200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9150" h="120014">
                      <a:moveTo>
                        <a:pt x="30327" y="102463"/>
                      </a:moveTo>
                      <a:lnTo>
                        <a:pt x="15354" y="102463"/>
                      </a:lnTo>
                      <a:lnTo>
                        <a:pt x="15354" y="108000"/>
                      </a:lnTo>
                      <a:lnTo>
                        <a:pt x="23177" y="108000"/>
                      </a:lnTo>
                      <a:lnTo>
                        <a:pt x="22885" y="109397"/>
                      </a:lnTo>
                      <a:lnTo>
                        <a:pt x="22669" y="109943"/>
                      </a:lnTo>
                      <a:lnTo>
                        <a:pt x="20726" y="112661"/>
                      </a:lnTo>
                      <a:lnTo>
                        <a:pt x="18148" y="113792"/>
                      </a:lnTo>
                      <a:lnTo>
                        <a:pt x="10185" y="113792"/>
                      </a:lnTo>
                      <a:lnTo>
                        <a:pt x="6388" y="109740"/>
                      </a:lnTo>
                      <a:lnTo>
                        <a:pt x="6502" y="98183"/>
                      </a:lnTo>
                      <a:lnTo>
                        <a:pt x="10147" y="94297"/>
                      </a:lnTo>
                      <a:lnTo>
                        <a:pt x="17170" y="94297"/>
                      </a:lnTo>
                      <a:lnTo>
                        <a:pt x="18694" y="94678"/>
                      </a:lnTo>
                      <a:lnTo>
                        <a:pt x="21488" y="96240"/>
                      </a:lnTo>
                      <a:lnTo>
                        <a:pt x="22072" y="96748"/>
                      </a:lnTo>
                      <a:lnTo>
                        <a:pt x="23177" y="98183"/>
                      </a:lnTo>
                      <a:lnTo>
                        <a:pt x="28460" y="95097"/>
                      </a:lnTo>
                      <a:lnTo>
                        <a:pt x="19164" y="88290"/>
                      </a:lnTo>
                      <a:lnTo>
                        <a:pt x="6261" y="88290"/>
                      </a:lnTo>
                      <a:lnTo>
                        <a:pt x="38" y="94678"/>
                      </a:lnTo>
                      <a:lnTo>
                        <a:pt x="0" y="113207"/>
                      </a:lnTo>
                      <a:lnTo>
                        <a:pt x="6210" y="119595"/>
                      </a:lnTo>
                      <a:lnTo>
                        <a:pt x="21056" y="119595"/>
                      </a:lnTo>
                      <a:lnTo>
                        <a:pt x="26136" y="116674"/>
                      </a:lnTo>
                      <a:lnTo>
                        <a:pt x="27584" y="113792"/>
                      </a:lnTo>
                      <a:lnTo>
                        <a:pt x="29819" y="109359"/>
                      </a:lnTo>
                      <a:lnTo>
                        <a:pt x="30327" y="106641"/>
                      </a:lnTo>
                      <a:lnTo>
                        <a:pt x="30327" y="102463"/>
                      </a:lnTo>
                      <a:close/>
                    </a:path>
                    <a:path w="819150" h="120014">
                      <a:moveTo>
                        <a:pt x="56222" y="118960"/>
                      </a:moveTo>
                      <a:lnTo>
                        <a:pt x="47637" y="106349"/>
                      </a:lnTo>
                      <a:lnTo>
                        <a:pt x="50888" y="105079"/>
                      </a:lnTo>
                      <a:lnTo>
                        <a:pt x="53251" y="103555"/>
                      </a:lnTo>
                      <a:lnTo>
                        <a:pt x="53771" y="102171"/>
                      </a:lnTo>
                      <a:lnTo>
                        <a:pt x="54317" y="100685"/>
                      </a:lnTo>
                      <a:lnTo>
                        <a:pt x="54317" y="96202"/>
                      </a:lnTo>
                      <a:lnTo>
                        <a:pt x="47967" y="89204"/>
                      </a:lnTo>
                      <a:lnTo>
                        <a:pt x="47967" y="95148"/>
                      </a:lnTo>
                      <a:lnTo>
                        <a:pt x="47967" y="98183"/>
                      </a:lnTo>
                      <a:lnTo>
                        <a:pt x="47421" y="100304"/>
                      </a:lnTo>
                      <a:lnTo>
                        <a:pt x="46405" y="101993"/>
                      </a:lnTo>
                      <a:lnTo>
                        <a:pt x="44754" y="102171"/>
                      </a:lnTo>
                      <a:lnTo>
                        <a:pt x="40652" y="102171"/>
                      </a:lnTo>
                      <a:lnTo>
                        <a:pt x="40652" y="94297"/>
                      </a:lnTo>
                      <a:lnTo>
                        <a:pt x="45478" y="94297"/>
                      </a:lnTo>
                      <a:lnTo>
                        <a:pt x="47967" y="95148"/>
                      </a:lnTo>
                      <a:lnTo>
                        <a:pt x="47967" y="89204"/>
                      </a:lnTo>
                      <a:lnTo>
                        <a:pt x="46532" y="89090"/>
                      </a:lnTo>
                      <a:lnTo>
                        <a:pt x="34302" y="89090"/>
                      </a:lnTo>
                      <a:lnTo>
                        <a:pt x="34302" y="118960"/>
                      </a:lnTo>
                      <a:lnTo>
                        <a:pt x="40601" y="118960"/>
                      </a:lnTo>
                      <a:lnTo>
                        <a:pt x="40601" y="106349"/>
                      </a:lnTo>
                      <a:lnTo>
                        <a:pt x="48514" y="118960"/>
                      </a:lnTo>
                      <a:lnTo>
                        <a:pt x="56222" y="118960"/>
                      </a:lnTo>
                      <a:close/>
                    </a:path>
                    <a:path w="819150" h="120014">
                      <a:moveTo>
                        <a:pt x="82194" y="89090"/>
                      </a:moveTo>
                      <a:lnTo>
                        <a:pt x="75844" y="89090"/>
                      </a:lnTo>
                      <a:lnTo>
                        <a:pt x="75819" y="111467"/>
                      </a:lnTo>
                      <a:lnTo>
                        <a:pt x="74320" y="113931"/>
                      </a:lnTo>
                      <a:lnTo>
                        <a:pt x="68567" y="113931"/>
                      </a:lnTo>
                      <a:lnTo>
                        <a:pt x="66624" y="113334"/>
                      </a:lnTo>
                      <a:lnTo>
                        <a:pt x="64503" y="110502"/>
                      </a:lnTo>
                      <a:lnTo>
                        <a:pt x="64465" y="89090"/>
                      </a:lnTo>
                      <a:lnTo>
                        <a:pt x="58115" y="89090"/>
                      </a:lnTo>
                      <a:lnTo>
                        <a:pt x="58242" y="111467"/>
                      </a:lnTo>
                      <a:lnTo>
                        <a:pt x="58978" y="113334"/>
                      </a:lnTo>
                      <a:lnTo>
                        <a:pt x="60655" y="117729"/>
                      </a:lnTo>
                      <a:lnTo>
                        <a:pt x="65481" y="119773"/>
                      </a:lnTo>
                      <a:lnTo>
                        <a:pt x="73990" y="119773"/>
                      </a:lnTo>
                      <a:lnTo>
                        <a:pt x="77787" y="118452"/>
                      </a:lnTo>
                      <a:lnTo>
                        <a:pt x="80937" y="113931"/>
                      </a:lnTo>
                      <a:lnTo>
                        <a:pt x="82029" y="112356"/>
                      </a:lnTo>
                      <a:lnTo>
                        <a:pt x="82118" y="110502"/>
                      </a:lnTo>
                      <a:lnTo>
                        <a:pt x="82194" y="89090"/>
                      </a:lnTo>
                      <a:close/>
                    </a:path>
                    <a:path w="819150" h="120014">
                      <a:moveTo>
                        <a:pt x="107454" y="96456"/>
                      </a:moveTo>
                      <a:lnTo>
                        <a:pt x="107010" y="94513"/>
                      </a:lnTo>
                      <a:lnTo>
                        <a:pt x="103809" y="90106"/>
                      </a:lnTo>
                      <a:lnTo>
                        <a:pt x="101104" y="89344"/>
                      </a:lnTo>
                      <a:lnTo>
                        <a:pt x="101104" y="101104"/>
                      </a:lnTo>
                      <a:lnTo>
                        <a:pt x="99110" y="102120"/>
                      </a:lnTo>
                      <a:lnTo>
                        <a:pt x="93789" y="102120"/>
                      </a:lnTo>
                      <a:lnTo>
                        <a:pt x="93789" y="94513"/>
                      </a:lnTo>
                      <a:lnTo>
                        <a:pt x="96494" y="94513"/>
                      </a:lnTo>
                      <a:lnTo>
                        <a:pt x="98526" y="94678"/>
                      </a:lnTo>
                      <a:lnTo>
                        <a:pt x="100253" y="95097"/>
                      </a:lnTo>
                      <a:lnTo>
                        <a:pt x="100990" y="96456"/>
                      </a:lnTo>
                      <a:lnTo>
                        <a:pt x="101104" y="101104"/>
                      </a:lnTo>
                      <a:lnTo>
                        <a:pt x="101104" y="89344"/>
                      </a:lnTo>
                      <a:lnTo>
                        <a:pt x="97802" y="89141"/>
                      </a:lnTo>
                      <a:lnTo>
                        <a:pt x="95986" y="89090"/>
                      </a:lnTo>
                      <a:lnTo>
                        <a:pt x="87274" y="89090"/>
                      </a:lnTo>
                      <a:lnTo>
                        <a:pt x="87274" y="118960"/>
                      </a:lnTo>
                      <a:lnTo>
                        <a:pt x="93738" y="118960"/>
                      </a:lnTo>
                      <a:lnTo>
                        <a:pt x="93738" y="107619"/>
                      </a:lnTo>
                      <a:lnTo>
                        <a:pt x="99669" y="107619"/>
                      </a:lnTo>
                      <a:lnTo>
                        <a:pt x="102628" y="107289"/>
                      </a:lnTo>
                      <a:lnTo>
                        <a:pt x="106565" y="103428"/>
                      </a:lnTo>
                      <a:lnTo>
                        <a:pt x="107035" y="102120"/>
                      </a:lnTo>
                      <a:lnTo>
                        <a:pt x="107403" y="101104"/>
                      </a:lnTo>
                      <a:lnTo>
                        <a:pt x="107454" y="96456"/>
                      </a:lnTo>
                      <a:close/>
                    </a:path>
                    <a:path w="819150" h="120014">
                      <a:moveTo>
                        <a:pt x="130505" y="96456"/>
                      </a:moveTo>
                      <a:lnTo>
                        <a:pt x="130060" y="94513"/>
                      </a:lnTo>
                      <a:lnTo>
                        <a:pt x="126860" y="90106"/>
                      </a:lnTo>
                      <a:lnTo>
                        <a:pt x="124155" y="89331"/>
                      </a:lnTo>
                      <a:lnTo>
                        <a:pt x="124155" y="101104"/>
                      </a:lnTo>
                      <a:lnTo>
                        <a:pt x="122174" y="102120"/>
                      </a:lnTo>
                      <a:lnTo>
                        <a:pt x="116840" y="102120"/>
                      </a:lnTo>
                      <a:lnTo>
                        <a:pt x="116840" y="94513"/>
                      </a:lnTo>
                      <a:lnTo>
                        <a:pt x="119545" y="94513"/>
                      </a:lnTo>
                      <a:lnTo>
                        <a:pt x="121577" y="94678"/>
                      </a:lnTo>
                      <a:lnTo>
                        <a:pt x="123317" y="95097"/>
                      </a:lnTo>
                      <a:lnTo>
                        <a:pt x="124040" y="96456"/>
                      </a:lnTo>
                      <a:lnTo>
                        <a:pt x="124155" y="101104"/>
                      </a:lnTo>
                      <a:lnTo>
                        <a:pt x="124155" y="89331"/>
                      </a:lnTo>
                      <a:lnTo>
                        <a:pt x="120853" y="89141"/>
                      </a:lnTo>
                      <a:lnTo>
                        <a:pt x="119037" y="89090"/>
                      </a:lnTo>
                      <a:lnTo>
                        <a:pt x="110324" y="89090"/>
                      </a:lnTo>
                      <a:lnTo>
                        <a:pt x="110324" y="118960"/>
                      </a:lnTo>
                      <a:lnTo>
                        <a:pt x="116801" y="118960"/>
                      </a:lnTo>
                      <a:lnTo>
                        <a:pt x="116801" y="107619"/>
                      </a:lnTo>
                      <a:lnTo>
                        <a:pt x="122720" y="107619"/>
                      </a:lnTo>
                      <a:lnTo>
                        <a:pt x="125679" y="107289"/>
                      </a:lnTo>
                      <a:lnTo>
                        <a:pt x="129616" y="103428"/>
                      </a:lnTo>
                      <a:lnTo>
                        <a:pt x="130086" y="102120"/>
                      </a:lnTo>
                      <a:lnTo>
                        <a:pt x="130454" y="101104"/>
                      </a:lnTo>
                      <a:lnTo>
                        <a:pt x="130505" y="96456"/>
                      </a:lnTo>
                      <a:close/>
                    </a:path>
                    <a:path w="819150" h="120014">
                      <a:moveTo>
                        <a:pt x="163296" y="95059"/>
                      </a:moveTo>
                      <a:lnTo>
                        <a:pt x="162775" y="94551"/>
                      </a:lnTo>
                      <a:lnTo>
                        <a:pt x="156603" y="88493"/>
                      </a:lnTo>
                      <a:lnTo>
                        <a:pt x="156603" y="98653"/>
                      </a:lnTo>
                      <a:lnTo>
                        <a:pt x="156565" y="109562"/>
                      </a:lnTo>
                      <a:lnTo>
                        <a:pt x="152717" y="113626"/>
                      </a:lnTo>
                      <a:lnTo>
                        <a:pt x="142176" y="113626"/>
                      </a:lnTo>
                      <a:lnTo>
                        <a:pt x="138074" y="109562"/>
                      </a:lnTo>
                      <a:lnTo>
                        <a:pt x="138201" y="98653"/>
                      </a:lnTo>
                      <a:lnTo>
                        <a:pt x="142176" y="94551"/>
                      </a:lnTo>
                      <a:lnTo>
                        <a:pt x="152717" y="94551"/>
                      </a:lnTo>
                      <a:lnTo>
                        <a:pt x="156603" y="98653"/>
                      </a:lnTo>
                      <a:lnTo>
                        <a:pt x="156603" y="88493"/>
                      </a:lnTo>
                      <a:lnTo>
                        <a:pt x="156438" y="88328"/>
                      </a:lnTo>
                      <a:lnTo>
                        <a:pt x="138112" y="88328"/>
                      </a:lnTo>
                      <a:lnTo>
                        <a:pt x="131470" y="95059"/>
                      </a:lnTo>
                      <a:lnTo>
                        <a:pt x="131470" y="113372"/>
                      </a:lnTo>
                      <a:lnTo>
                        <a:pt x="138074" y="119722"/>
                      </a:lnTo>
                      <a:lnTo>
                        <a:pt x="156819" y="119722"/>
                      </a:lnTo>
                      <a:lnTo>
                        <a:pt x="162953" y="113626"/>
                      </a:lnTo>
                      <a:lnTo>
                        <a:pt x="163207" y="113372"/>
                      </a:lnTo>
                      <a:lnTo>
                        <a:pt x="163296" y="95059"/>
                      </a:lnTo>
                      <a:close/>
                    </a:path>
                    <a:path w="819150" h="120014">
                      <a:moveTo>
                        <a:pt x="196367" y="89090"/>
                      </a:moveTo>
                      <a:lnTo>
                        <a:pt x="179031" y="89090"/>
                      </a:lnTo>
                      <a:lnTo>
                        <a:pt x="179031" y="118960"/>
                      </a:lnTo>
                      <a:lnTo>
                        <a:pt x="185547" y="118960"/>
                      </a:lnTo>
                      <a:lnTo>
                        <a:pt x="185547" y="106438"/>
                      </a:lnTo>
                      <a:lnTo>
                        <a:pt x="196367" y="106438"/>
                      </a:lnTo>
                      <a:lnTo>
                        <a:pt x="196367" y="100596"/>
                      </a:lnTo>
                      <a:lnTo>
                        <a:pt x="185547" y="100596"/>
                      </a:lnTo>
                      <a:lnTo>
                        <a:pt x="185547" y="94767"/>
                      </a:lnTo>
                      <a:lnTo>
                        <a:pt x="196367" y="94767"/>
                      </a:lnTo>
                      <a:lnTo>
                        <a:pt x="196367" y="89090"/>
                      </a:lnTo>
                      <a:close/>
                    </a:path>
                    <a:path w="819150" h="120014">
                      <a:moveTo>
                        <a:pt x="216217" y="89090"/>
                      </a:moveTo>
                      <a:lnTo>
                        <a:pt x="199250" y="89090"/>
                      </a:lnTo>
                      <a:lnTo>
                        <a:pt x="199250" y="118960"/>
                      </a:lnTo>
                      <a:lnTo>
                        <a:pt x="216166" y="118960"/>
                      </a:lnTo>
                      <a:lnTo>
                        <a:pt x="216166" y="112991"/>
                      </a:lnTo>
                      <a:lnTo>
                        <a:pt x="205727" y="112991"/>
                      </a:lnTo>
                      <a:lnTo>
                        <a:pt x="205727" y="106603"/>
                      </a:lnTo>
                      <a:lnTo>
                        <a:pt x="215963" y="106603"/>
                      </a:lnTo>
                      <a:lnTo>
                        <a:pt x="215963" y="100812"/>
                      </a:lnTo>
                      <a:lnTo>
                        <a:pt x="205727" y="100812"/>
                      </a:lnTo>
                      <a:lnTo>
                        <a:pt x="205727" y="94881"/>
                      </a:lnTo>
                      <a:lnTo>
                        <a:pt x="216217" y="94881"/>
                      </a:lnTo>
                      <a:lnTo>
                        <a:pt x="216217" y="89090"/>
                      </a:lnTo>
                      <a:close/>
                    </a:path>
                    <a:path w="819150" h="120014">
                      <a:moveTo>
                        <a:pt x="242316" y="118960"/>
                      </a:moveTo>
                      <a:lnTo>
                        <a:pt x="233730" y="106349"/>
                      </a:lnTo>
                      <a:lnTo>
                        <a:pt x="236982" y="105079"/>
                      </a:lnTo>
                      <a:lnTo>
                        <a:pt x="239356" y="103555"/>
                      </a:lnTo>
                      <a:lnTo>
                        <a:pt x="239864" y="102171"/>
                      </a:lnTo>
                      <a:lnTo>
                        <a:pt x="240411" y="100685"/>
                      </a:lnTo>
                      <a:lnTo>
                        <a:pt x="240411" y="96202"/>
                      </a:lnTo>
                      <a:lnTo>
                        <a:pt x="239953" y="94424"/>
                      </a:lnTo>
                      <a:lnTo>
                        <a:pt x="239877" y="94297"/>
                      </a:lnTo>
                      <a:lnTo>
                        <a:pt x="236728" y="89395"/>
                      </a:lnTo>
                      <a:lnTo>
                        <a:pt x="234073" y="89204"/>
                      </a:lnTo>
                      <a:lnTo>
                        <a:pt x="234073" y="95148"/>
                      </a:lnTo>
                      <a:lnTo>
                        <a:pt x="234073" y="98183"/>
                      </a:lnTo>
                      <a:lnTo>
                        <a:pt x="233514" y="100304"/>
                      </a:lnTo>
                      <a:lnTo>
                        <a:pt x="232498" y="101993"/>
                      </a:lnTo>
                      <a:lnTo>
                        <a:pt x="230847" y="102171"/>
                      </a:lnTo>
                      <a:lnTo>
                        <a:pt x="226745" y="102171"/>
                      </a:lnTo>
                      <a:lnTo>
                        <a:pt x="226745" y="94297"/>
                      </a:lnTo>
                      <a:lnTo>
                        <a:pt x="231571" y="94297"/>
                      </a:lnTo>
                      <a:lnTo>
                        <a:pt x="234073" y="95148"/>
                      </a:lnTo>
                      <a:lnTo>
                        <a:pt x="234073" y="89204"/>
                      </a:lnTo>
                      <a:lnTo>
                        <a:pt x="232625" y="89090"/>
                      </a:lnTo>
                      <a:lnTo>
                        <a:pt x="220408" y="89090"/>
                      </a:lnTo>
                      <a:lnTo>
                        <a:pt x="220408" y="118960"/>
                      </a:lnTo>
                      <a:lnTo>
                        <a:pt x="226707" y="118960"/>
                      </a:lnTo>
                      <a:lnTo>
                        <a:pt x="226707" y="106349"/>
                      </a:lnTo>
                      <a:lnTo>
                        <a:pt x="234619" y="118960"/>
                      </a:lnTo>
                      <a:lnTo>
                        <a:pt x="242316" y="118960"/>
                      </a:lnTo>
                      <a:close/>
                    </a:path>
                    <a:path w="819150" h="120014">
                      <a:moveTo>
                        <a:pt x="266090" y="118960"/>
                      </a:moveTo>
                      <a:lnTo>
                        <a:pt x="257517" y="106349"/>
                      </a:lnTo>
                      <a:lnTo>
                        <a:pt x="260756" y="105079"/>
                      </a:lnTo>
                      <a:lnTo>
                        <a:pt x="263131" y="103555"/>
                      </a:lnTo>
                      <a:lnTo>
                        <a:pt x="263639" y="102171"/>
                      </a:lnTo>
                      <a:lnTo>
                        <a:pt x="264185" y="100685"/>
                      </a:lnTo>
                      <a:lnTo>
                        <a:pt x="264185" y="96202"/>
                      </a:lnTo>
                      <a:lnTo>
                        <a:pt x="263728" y="94424"/>
                      </a:lnTo>
                      <a:lnTo>
                        <a:pt x="263652" y="94297"/>
                      </a:lnTo>
                      <a:lnTo>
                        <a:pt x="260502" y="89395"/>
                      </a:lnTo>
                      <a:lnTo>
                        <a:pt x="257848" y="89204"/>
                      </a:lnTo>
                      <a:lnTo>
                        <a:pt x="257848" y="95148"/>
                      </a:lnTo>
                      <a:lnTo>
                        <a:pt x="257848" y="98183"/>
                      </a:lnTo>
                      <a:lnTo>
                        <a:pt x="257289" y="100304"/>
                      </a:lnTo>
                      <a:lnTo>
                        <a:pt x="256273" y="101993"/>
                      </a:lnTo>
                      <a:lnTo>
                        <a:pt x="254622" y="102171"/>
                      </a:lnTo>
                      <a:lnTo>
                        <a:pt x="250520" y="102171"/>
                      </a:lnTo>
                      <a:lnTo>
                        <a:pt x="250520" y="94297"/>
                      </a:lnTo>
                      <a:lnTo>
                        <a:pt x="255346" y="94297"/>
                      </a:lnTo>
                      <a:lnTo>
                        <a:pt x="257848" y="95148"/>
                      </a:lnTo>
                      <a:lnTo>
                        <a:pt x="257848" y="89204"/>
                      </a:lnTo>
                      <a:lnTo>
                        <a:pt x="256400" y="89090"/>
                      </a:lnTo>
                      <a:lnTo>
                        <a:pt x="244182" y="89090"/>
                      </a:lnTo>
                      <a:lnTo>
                        <a:pt x="244182" y="118960"/>
                      </a:lnTo>
                      <a:lnTo>
                        <a:pt x="250482" y="118960"/>
                      </a:lnTo>
                      <a:lnTo>
                        <a:pt x="250482" y="106349"/>
                      </a:lnTo>
                      <a:lnTo>
                        <a:pt x="258394" y="118960"/>
                      </a:lnTo>
                      <a:lnTo>
                        <a:pt x="266090" y="118960"/>
                      </a:lnTo>
                      <a:close/>
                    </a:path>
                    <a:path w="819150" h="120014">
                      <a:moveTo>
                        <a:pt x="298970" y="95059"/>
                      </a:moveTo>
                      <a:lnTo>
                        <a:pt x="298450" y="94551"/>
                      </a:lnTo>
                      <a:lnTo>
                        <a:pt x="292277" y="88493"/>
                      </a:lnTo>
                      <a:lnTo>
                        <a:pt x="292277" y="98653"/>
                      </a:lnTo>
                      <a:lnTo>
                        <a:pt x="292239" y="109562"/>
                      </a:lnTo>
                      <a:lnTo>
                        <a:pt x="288391" y="113626"/>
                      </a:lnTo>
                      <a:lnTo>
                        <a:pt x="277850" y="113626"/>
                      </a:lnTo>
                      <a:lnTo>
                        <a:pt x="273748" y="109562"/>
                      </a:lnTo>
                      <a:lnTo>
                        <a:pt x="273875" y="98653"/>
                      </a:lnTo>
                      <a:lnTo>
                        <a:pt x="277850" y="94551"/>
                      </a:lnTo>
                      <a:lnTo>
                        <a:pt x="288391" y="94551"/>
                      </a:lnTo>
                      <a:lnTo>
                        <a:pt x="292277" y="98653"/>
                      </a:lnTo>
                      <a:lnTo>
                        <a:pt x="292277" y="88493"/>
                      </a:lnTo>
                      <a:lnTo>
                        <a:pt x="292112" y="88328"/>
                      </a:lnTo>
                      <a:lnTo>
                        <a:pt x="273799" y="88328"/>
                      </a:lnTo>
                      <a:lnTo>
                        <a:pt x="267157" y="95059"/>
                      </a:lnTo>
                      <a:lnTo>
                        <a:pt x="267157" y="113372"/>
                      </a:lnTo>
                      <a:lnTo>
                        <a:pt x="273748" y="119722"/>
                      </a:lnTo>
                      <a:lnTo>
                        <a:pt x="292493" y="119722"/>
                      </a:lnTo>
                      <a:lnTo>
                        <a:pt x="298627" y="113626"/>
                      </a:lnTo>
                      <a:lnTo>
                        <a:pt x="298881" y="113372"/>
                      </a:lnTo>
                      <a:lnTo>
                        <a:pt x="298970" y="95059"/>
                      </a:lnTo>
                      <a:close/>
                    </a:path>
                    <a:path w="819150" h="120014">
                      <a:moveTo>
                        <a:pt x="301688" y="12"/>
                      </a:moveTo>
                      <a:lnTo>
                        <a:pt x="284149" y="12"/>
                      </a:lnTo>
                      <a:lnTo>
                        <a:pt x="284556" y="2057"/>
                      </a:lnTo>
                      <a:lnTo>
                        <a:pt x="284099" y="4241"/>
                      </a:lnTo>
                      <a:lnTo>
                        <a:pt x="257187" y="59537"/>
                      </a:lnTo>
                      <a:lnTo>
                        <a:pt x="272707" y="59537"/>
                      </a:lnTo>
                      <a:lnTo>
                        <a:pt x="301688" y="12"/>
                      </a:lnTo>
                      <a:close/>
                    </a:path>
                    <a:path w="819150" h="120014">
                      <a:moveTo>
                        <a:pt x="328663" y="89090"/>
                      </a:moveTo>
                      <a:lnTo>
                        <a:pt x="321640" y="89090"/>
                      </a:lnTo>
                      <a:lnTo>
                        <a:pt x="314159" y="110413"/>
                      </a:lnTo>
                      <a:lnTo>
                        <a:pt x="306666" y="89090"/>
                      </a:lnTo>
                      <a:lnTo>
                        <a:pt x="299554" y="89090"/>
                      </a:lnTo>
                      <a:lnTo>
                        <a:pt x="310730" y="118960"/>
                      </a:lnTo>
                      <a:lnTo>
                        <a:pt x="316992" y="118960"/>
                      </a:lnTo>
                      <a:lnTo>
                        <a:pt x="320332" y="110413"/>
                      </a:lnTo>
                      <a:lnTo>
                        <a:pt x="328663" y="89090"/>
                      </a:lnTo>
                      <a:close/>
                    </a:path>
                    <a:path w="819150" h="120014">
                      <a:moveTo>
                        <a:pt x="337553" y="89090"/>
                      </a:moveTo>
                      <a:lnTo>
                        <a:pt x="331038" y="89090"/>
                      </a:lnTo>
                      <a:lnTo>
                        <a:pt x="331038" y="118960"/>
                      </a:lnTo>
                      <a:lnTo>
                        <a:pt x="337553" y="118960"/>
                      </a:lnTo>
                      <a:lnTo>
                        <a:pt x="337553" y="89090"/>
                      </a:lnTo>
                      <a:close/>
                    </a:path>
                    <a:path w="819150" h="120014">
                      <a:moveTo>
                        <a:pt x="360603" y="89090"/>
                      </a:moveTo>
                      <a:lnTo>
                        <a:pt x="343636" y="89090"/>
                      </a:lnTo>
                      <a:lnTo>
                        <a:pt x="343636" y="118960"/>
                      </a:lnTo>
                      <a:lnTo>
                        <a:pt x="360565" y="118960"/>
                      </a:lnTo>
                      <a:lnTo>
                        <a:pt x="360565" y="112991"/>
                      </a:lnTo>
                      <a:lnTo>
                        <a:pt x="350113" y="112991"/>
                      </a:lnTo>
                      <a:lnTo>
                        <a:pt x="350113" y="106603"/>
                      </a:lnTo>
                      <a:lnTo>
                        <a:pt x="360349" y="106603"/>
                      </a:lnTo>
                      <a:lnTo>
                        <a:pt x="360349" y="100812"/>
                      </a:lnTo>
                      <a:lnTo>
                        <a:pt x="350113" y="100812"/>
                      </a:lnTo>
                      <a:lnTo>
                        <a:pt x="350113" y="94881"/>
                      </a:lnTo>
                      <a:lnTo>
                        <a:pt x="360603" y="94881"/>
                      </a:lnTo>
                      <a:lnTo>
                        <a:pt x="360603" y="89090"/>
                      </a:lnTo>
                      <a:close/>
                    </a:path>
                    <a:path w="819150" h="120014">
                      <a:moveTo>
                        <a:pt x="380720" y="127"/>
                      </a:moveTo>
                      <a:lnTo>
                        <a:pt x="320865" y="127"/>
                      </a:lnTo>
                      <a:lnTo>
                        <a:pt x="315150" y="11861"/>
                      </a:lnTo>
                      <a:lnTo>
                        <a:pt x="316788" y="10617"/>
                      </a:lnTo>
                      <a:lnTo>
                        <a:pt x="318985" y="9588"/>
                      </a:lnTo>
                      <a:lnTo>
                        <a:pt x="340499" y="9588"/>
                      </a:lnTo>
                      <a:lnTo>
                        <a:pt x="316153" y="59537"/>
                      </a:lnTo>
                      <a:lnTo>
                        <a:pt x="331622" y="59537"/>
                      </a:lnTo>
                      <a:lnTo>
                        <a:pt x="355981" y="9588"/>
                      </a:lnTo>
                      <a:lnTo>
                        <a:pt x="373202" y="9588"/>
                      </a:lnTo>
                      <a:lnTo>
                        <a:pt x="374396" y="10502"/>
                      </a:lnTo>
                      <a:lnTo>
                        <a:pt x="375043" y="11861"/>
                      </a:lnTo>
                      <a:lnTo>
                        <a:pt x="380720" y="127"/>
                      </a:lnTo>
                      <a:close/>
                    </a:path>
                    <a:path w="819150" h="120014">
                      <a:moveTo>
                        <a:pt x="401561" y="100723"/>
                      </a:moveTo>
                      <a:lnTo>
                        <a:pt x="400837" y="98145"/>
                      </a:lnTo>
                      <a:lnTo>
                        <a:pt x="398589" y="94297"/>
                      </a:lnTo>
                      <a:lnTo>
                        <a:pt x="395846" y="89598"/>
                      </a:lnTo>
                      <a:lnTo>
                        <a:pt x="395211" y="89547"/>
                      </a:lnTo>
                      <a:lnTo>
                        <a:pt x="395211" y="109867"/>
                      </a:lnTo>
                      <a:lnTo>
                        <a:pt x="392074" y="113715"/>
                      </a:lnTo>
                      <a:lnTo>
                        <a:pt x="384086" y="113715"/>
                      </a:lnTo>
                      <a:lnTo>
                        <a:pt x="384086" y="94297"/>
                      </a:lnTo>
                      <a:lnTo>
                        <a:pt x="387388" y="94297"/>
                      </a:lnTo>
                      <a:lnTo>
                        <a:pt x="390055" y="94513"/>
                      </a:lnTo>
                      <a:lnTo>
                        <a:pt x="394322" y="97929"/>
                      </a:lnTo>
                      <a:lnTo>
                        <a:pt x="395135" y="100723"/>
                      </a:lnTo>
                      <a:lnTo>
                        <a:pt x="395211" y="109867"/>
                      </a:lnTo>
                      <a:lnTo>
                        <a:pt x="395211" y="89547"/>
                      </a:lnTo>
                      <a:lnTo>
                        <a:pt x="389928" y="89090"/>
                      </a:lnTo>
                      <a:lnTo>
                        <a:pt x="377571" y="89090"/>
                      </a:lnTo>
                      <a:lnTo>
                        <a:pt x="377571" y="118960"/>
                      </a:lnTo>
                      <a:lnTo>
                        <a:pt x="388785" y="118960"/>
                      </a:lnTo>
                      <a:lnTo>
                        <a:pt x="392671" y="118795"/>
                      </a:lnTo>
                      <a:lnTo>
                        <a:pt x="399364" y="113715"/>
                      </a:lnTo>
                      <a:lnTo>
                        <a:pt x="399859" y="113334"/>
                      </a:lnTo>
                      <a:lnTo>
                        <a:pt x="401561" y="108165"/>
                      </a:lnTo>
                      <a:lnTo>
                        <a:pt x="401561" y="100723"/>
                      </a:lnTo>
                      <a:close/>
                    </a:path>
                    <a:path w="819150" h="120014">
                      <a:moveTo>
                        <a:pt x="422668" y="89090"/>
                      </a:moveTo>
                      <a:lnTo>
                        <a:pt x="405701" y="89090"/>
                      </a:lnTo>
                      <a:lnTo>
                        <a:pt x="405701" y="118960"/>
                      </a:lnTo>
                      <a:lnTo>
                        <a:pt x="422630" y="118960"/>
                      </a:lnTo>
                      <a:lnTo>
                        <a:pt x="422630" y="112991"/>
                      </a:lnTo>
                      <a:lnTo>
                        <a:pt x="412178" y="112991"/>
                      </a:lnTo>
                      <a:lnTo>
                        <a:pt x="412178" y="106603"/>
                      </a:lnTo>
                      <a:lnTo>
                        <a:pt x="422414" y="106603"/>
                      </a:lnTo>
                      <a:lnTo>
                        <a:pt x="422414" y="100812"/>
                      </a:lnTo>
                      <a:lnTo>
                        <a:pt x="412178" y="100812"/>
                      </a:lnTo>
                      <a:lnTo>
                        <a:pt x="412178" y="94881"/>
                      </a:lnTo>
                      <a:lnTo>
                        <a:pt x="422668" y="94881"/>
                      </a:lnTo>
                      <a:lnTo>
                        <a:pt x="422668" y="89090"/>
                      </a:lnTo>
                      <a:close/>
                    </a:path>
                    <a:path w="819150" h="120014">
                      <a:moveTo>
                        <a:pt x="430745" y="59639"/>
                      </a:moveTo>
                      <a:lnTo>
                        <a:pt x="430047" y="46101"/>
                      </a:lnTo>
                      <a:lnTo>
                        <a:pt x="429552" y="36449"/>
                      </a:lnTo>
                      <a:lnTo>
                        <a:pt x="428307" y="12052"/>
                      </a:lnTo>
                      <a:lnTo>
                        <a:pt x="427710" y="190"/>
                      </a:lnTo>
                      <a:lnTo>
                        <a:pt x="416039" y="203"/>
                      </a:lnTo>
                      <a:lnTo>
                        <a:pt x="416039" y="36449"/>
                      </a:lnTo>
                      <a:lnTo>
                        <a:pt x="395351" y="36449"/>
                      </a:lnTo>
                      <a:lnTo>
                        <a:pt x="415544" y="12052"/>
                      </a:lnTo>
                      <a:lnTo>
                        <a:pt x="416039" y="36449"/>
                      </a:lnTo>
                      <a:lnTo>
                        <a:pt x="416039" y="203"/>
                      </a:lnTo>
                      <a:lnTo>
                        <a:pt x="411721" y="203"/>
                      </a:lnTo>
                      <a:lnTo>
                        <a:pt x="411721" y="1663"/>
                      </a:lnTo>
                      <a:lnTo>
                        <a:pt x="411200" y="3314"/>
                      </a:lnTo>
                      <a:lnTo>
                        <a:pt x="362661" y="59639"/>
                      </a:lnTo>
                      <a:lnTo>
                        <a:pt x="376224" y="59639"/>
                      </a:lnTo>
                      <a:lnTo>
                        <a:pt x="387388" y="46101"/>
                      </a:lnTo>
                      <a:lnTo>
                        <a:pt x="416255" y="46101"/>
                      </a:lnTo>
                      <a:lnTo>
                        <a:pt x="416547" y="59639"/>
                      </a:lnTo>
                      <a:lnTo>
                        <a:pt x="430745" y="59639"/>
                      </a:lnTo>
                      <a:close/>
                    </a:path>
                    <a:path w="819150" h="120014">
                      <a:moveTo>
                        <a:pt x="443611" y="113080"/>
                      </a:moveTo>
                      <a:lnTo>
                        <a:pt x="433412" y="113080"/>
                      </a:lnTo>
                      <a:lnTo>
                        <a:pt x="433412" y="89090"/>
                      </a:lnTo>
                      <a:lnTo>
                        <a:pt x="426897" y="89090"/>
                      </a:lnTo>
                      <a:lnTo>
                        <a:pt x="426897" y="118960"/>
                      </a:lnTo>
                      <a:lnTo>
                        <a:pt x="443611" y="118960"/>
                      </a:lnTo>
                      <a:lnTo>
                        <a:pt x="443611" y="113080"/>
                      </a:lnTo>
                      <a:close/>
                    </a:path>
                    <a:path w="819150" h="120014">
                      <a:moveTo>
                        <a:pt x="463867" y="113080"/>
                      </a:moveTo>
                      <a:lnTo>
                        <a:pt x="453669" y="113080"/>
                      </a:lnTo>
                      <a:lnTo>
                        <a:pt x="453669" y="89090"/>
                      </a:lnTo>
                      <a:lnTo>
                        <a:pt x="447154" y="89090"/>
                      </a:lnTo>
                      <a:lnTo>
                        <a:pt x="447154" y="118960"/>
                      </a:lnTo>
                      <a:lnTo>
                        <a:pt x="463867" y="118960"/>
                      </a:lnTo>
                      <a:lnTo>
                        <a:pt x="463867" y="113080"/>
                      </a:lnTo>
                      <a:close/>
                    </a:path>
                    <a:path w="819150" h="120014">
                      <a:moveTo>
                        <a:pt x="497217" y="48171"/>
                      </a:moveTo>
                      <a:lnTo>
                        <a:pt x="496036" y="49314"/>
                      </a:lnTo>
                      <a:lnTo>
                        <a:pt x="492810" y="50126"/>
                      </a:lnTo>
                      <a:lnTo>
                        <a:pt x="467842" y="50126"/>
                      </a:lnTo>
                      <a:lnTo>
                        <a:pt x="492163" y="0"/>
                      </a:lnTo>
                      <a:lnTo>
                        <a:pt x="474751" y="0"/>
                      </a:lnTo>
                      <a:lnTo>
                        <a:pt x="475145" y="2032"/>
                      </a:lnTo>
                      <a:lnTo>
                        <a:pt x="474687" y="4203"/>
                      </a:lnTo>
                      <a:lnTo>
                        <a:pt x="447751" y="59550"/>
                      </a:lnTo>
                      <a:lnTo>
                        <a:pt x="491680" y="59550"/>
                      </a:lnTo>
                      <a:lnTo>
                        <a:pt x="497217" y="48171"/>
                      </a:lnTo>
                      <a:close/>
                    </a:path>
                    <a:path w="819150" h="120014">
                      <a:moveTo>
                        <a:pt x="497255" y="95059"/>
                      </a:moveTo>
                      <a:lnTo>
                        <a:pt x="496735" y="94551"/>
                      </a:lnTo>
                      <a:lnTo>
                        <a:pt x="490562" y="88493"/>
                      </a:lnTo>
                      <a:lnTo>
                        <a:pt x="490562" y="98653"/>
                      </a:lnTo>
                      <a:lnTo>
                        <a:pt x="490524" y="109562"/>
                      </a:lnTo>
                      <a:lnTo>
                        <a:pt x="486676" y="113626"/>
                      </a:lnTo>
                      <a:lnTo>
                        <a:pt x="476135" y="113626"/>
                      </a:lnTo>
                      <a:lnTo>
                        <a:pt x="472033" y="109562"/>
                      </a:lnTo>
                      <a:lnTo>
                        <a:pt x="472160" y="98653"/>
                      </a:lnTo>
                      <a:lnTo>
                        <a:pt x="476135" y="94551"/>
                      </a:lnTo>
                      <a:lnTo>
                        <a:pt x="486676" y="94551"/>
                      </a:lnTo>
                      <a:lnTo>
                        <a:pt x="490562" y="98653"/>
                      </a:lnTo>
                      <a:lnTo>
                        <a:pt x="490562" y="88493"/>
                      </a:lnTo>
                      <a:lnTo>
                        <a:pt x="490397" y="88328"/>
                      </a:lnTo>
                      <a:lnTo>
                        <a:pt x="472071" y="88328"/>
                      </a:lnTo>
                      <a:lnTo>
                        <a:pt x="465442" y="95059"/>
                      </a:lnTo>
                      <a:lnTo>
                        <a:pt x="465442" y="113372"/>
                      </a:lnTo>
                      <a:lnTo>
                        <a:pt x="472033" y="119722"/>
                      </a:lnTo>
                      <a:lnTo>
                        <a:pt x="490778" y="119722"/>
                      </a:lnTo>
                      <a:lnTo>
                        <a:pt x="496912" y="113626"/>
                      </a:lnTo>
                      <a:lnTo>
                        <a:pt x="497166" y="113372"/>
                      </a:lnTo>
                      <a:lnTo>
                        <a:pt x="497255" y="95059"/>
                      </a:lnTo>
                      <a:close/>
                    </a:path>
                    <a:path w="819150" h="120014">
                      <a:moveTo>
                        <a:pt x="531228" y="100520"/>
                      </a:moveTo>
                      <a:lnTo>
                        <a:pt x="519201" y="101409"/>
                      </a:lnTo>
                      <a:lnTo>
                        <a:pt x="519201" y="95186"/>
                      </a:lnTo>
                      <a:lnTo>
                        <a:pt x="520522" y="94132"/>
                      </a:lnTo>
                      <a:lnTo>
                        <a:pt x="524065" y="94132"/>
                      </a:lnTo>
                      <a:lnTo>
                        <a:pt x="525335" y="95440"/>
                      </a:lnTo>
                      <a:lnTo>
                        <a:pt x="526478" y="96964"/>
                      </a:lnTo>
                      <a:lnTo>
                        <a:pt x="529005" y="94132"/>
                      </a:lnTo>
                      <a:lnTo>
                        <a:pt x="530631" y="92303"/>
                      </a:lnTo>
                      <a:lnTo>
                        <a:pt x="528091" y="89687"/>
                      </a:lnTo>
                      <a:lnTo>
                        <a:pt x="525856" y="88290"/>
                      </a:lnTo>
                      <a:lnTo>
                        <a:pt x="516966" y="88290"/>
                      </a:lnTo>
                      <a:lnTo>
                        <a:pt x="512432" y="91592"/>
                      </a:lnTo>
                      <a:lnTo>
                        <a:pt x="512432" y="102044"/>
                      </a:lnTo>
                      <a:lnTo>
                        <a:pt x="516458" y="104495"/>
                      </a:lnTo>
                      <a:lnTo>
                        <a:pt x="520522" y="106438"/>
                      </a:lnTo>
                      <a:lnTo>
                        <a:pt x="523227" y="108000"/>
                      </a:lnTo>
                      <a:lnTo>
                        <a:pt x="524408" y="110540"/>
                      </a:lnTo>
                      <a:lnTo>
                        <a:pt x="524408" y="112661"/>
                      </a:lnTo>
                      <a:lnTo>
                        <a:pt x="522668" y="114096"/>
                      </a:lnTo>
                      <a:lnTo>
                        <a:pt x="518198" y="114096"/>
                      </a:lnTo>
                      <a:lnTo>
                        <a:pt x="516547" y="112445"/>
                      </a:lnTo>
                      <a:lnTo>
                        <a:pt x="515023" y="110705"/>
                      </a:lnTo>
                      <a:lnTo>
                        <a:pt x="510794" y="115366"/>
                      </a:lnTo>
                      <a:lnTo>
                        <a:pt x="513499" y="117983"/>
                      </a:lnTo>
                      <a:lnTo>
                        <a:pt x="516496" y="119646"/>
                      </a:lnTo>
                      <a:lnTo>
                        <a:pt x="526275" y="119646"/>
                      </a:lnTo>
                      <a:lnTo>
                        <a:pt x="531228" y="116078"/>
                      </a:lnTo>
                      <a:lnTo>
                        <a:pt x="531228" y="114096"/>
                      </a:lnTo>
                      <a:lnTo>
                        <a:pt x="531228" y="101409"/>
                      </a:lnTo>
                      <a:lnTo>
                        <a:pt x="531228" y="100520"/>
                      </a:lnTo>
                      <a:close/>
                    </a:path>
                    <a:path w="819150" h="120014">
                      <a:moveTo>
                        <a:pt x="552246" y="89090"/>
                      </a:moveTo>
                      <a:lnTo>
                        <a:pt x="532993" y="89090"/>
                      </a:lnTo>
                      <a:lnTo>
                        <a:pt x="532993" y="94932"/>
                      </a:lnTo>
                      <a:lnTo>
                        <a:pt x="539381" y="94932"/>
                      </a:lnTo>
                      <a:lnTo>
                        <a:pt x="539381" y="118960"/>
                      </a:lnTo>
                      <a:lnTo>
                        <a:pt x="545858" y="118960"/>
                      </a:lnTo>
                      <a:lnTo>
                        <a:pt x="545858" y="94843"/>
                      </a:lnTo>
                      <a:lnTo>
                        <a:pt x="552246" y="94843"/>
                      </a:lnTo>
                      <a:lnTo>
                        <a:pt x="552246" y="89090"/>
                      </a:lnTo>
                      <a:close/>
                    </a:path>
                    <a:path w="819150" h="120014">
                      <a:moveTo>
                        <a:pt x="581698" y="118960"/>
                      </a:moveTo>
                      <a:lnTo>
                        <a:pt x="579208" y="112915"/>
                      </a:lnTo>
                      <a:lnTo>
                        <a:pt x="576897" y="107289"/>
                      </a:lnTo>
                      <a:lnTo>
                        <a:pt x="572046" y="95478"/>
                      </a:lnTo>
                      <a:lnTo>
                        <a:pt x="570179" y="90944"/>
                      </a:lnTo>
                      <a:lnTo>
                        <a:pt x="570179" y="107289"/>
                      </a:lnTo>
                      <a:lnTo>
                        <a:pt x="561975" y="107289"/>
                      </a:lnTo>
                      <a:lnTo>
                        <a:pt x="565988" y="95478"/>
                      </a:lnTo>
                      <a:lnTo>
                        <a:pt x="570179" y="107289"/>
                      </a:lnTo>
                      <a:lnTo>
                        <a:pt x="570179" y="90944"/>
                      </a:lnTo>
                      <a:lnTo>
                        <a:pt x="569417" y="89090"/>
                      </a:lnTo>
                      <a:lnTo>
                        <a:pt x="562521" y="89090"/>
                      </a:lnTo>
                      <a:lnTo>
                        <a:pt x="550799" y="118960"/>
                      </a:lnTo>
                      <a:lnTo>
                        <a:pt x="557745" y="118960"/>
                      </a:lnTo>
                      <a:lnTo>
                        <a:pt x="559943" y="112915"/>
                      </a:lnTo>
                      <a:lnTo>
                        <a:pt x="572338" y="112915"/>
                      </a:lnTo>
                      <a:lnTo>
                        <a:pt x="574662" y="118960"/>
                      </a:lnTo>
                      <a:lnTo>
                        <a:pt x="581698" y="118960"/>
                      </a:lnTo>
                      <a:close/>
                    </a:path>
                    <a:path w="819150" h="120014">
                      <a:moveTo>
                        <a:pt x="589673" y="368"/>
                      </a:moveTo>
                      <a:lnTo>
                        <a:pt x="537540" y="368"/>
                      </a:lnTo>
                      <a:lnTo>
                        <a:pt x="537959" y="2387"/>
                      </a:lnTo>
                      <a:lnTo>
                        <a:pt x="537514" y="4546"/>
                      </a:lnTo>
                      <a:lnTo>
                        <a:pt x="510730" y="59537"/>
                      </a:lnTo>
                      <a:lnTo>
                        <a:pt x="526453" y="59537"/>
                      </a:lnTo>
                      <a:lnTo>
                        <a:pt x="539280" y="33197"/>
                      </a:lnTo>
                      <a:lnTo>
                        <a:pt x="566635" y="33197"/>
                      </a:lnTo>
                      <a:lnTo>
                        <a:pt x="567855" y="34112"/>
                      </a:lnTo>
                      <a:lnTo>
                        <a:pt x="568515" y="35458"/>
                      </a:lnTo>
                      <a:lnTo>
                        <a:pt x="574179" y="23837"/>
                      </a:lnTo>
                      <a:lnTo>
                        <a:pt x="543839" y="23837"/>
                      </a:lnTo>
                      <a:lnTo>
                        <a:pt x="550710" y="9728"/>
                      </a:lnTo>
                      <a:lnTo>
                        <a:pt x="582117" y="9728"/>
                      </a:lnTo>
                      <a:lnTo>
                        <a:pt x="583349" y="10642"/>
                      </a:lnTo>
                      <a:lnTo>
                        <a:pt x="584009" y="12014"/>
                      </a:lnTo>
                      <a:lnTo>
                        <a:pt x="589673" y="368"/>
                      </a:lnTo>
                      <a:close/>
                    </a:path>
                    <a:path w="819150" h="120014">
                      <a:moveTo>
                        <a:pt x="599287" y="89090"/>
                      </a:moveTo>
                      <a:lnTo>
                        <a:pt x="580034" y="89090"/>
                      </a:lnTo>
                      <a:lnTo>
                        <a:pt x="580034" y="94932"/>
                      </a:lnTo>
                      <a:lnTo>
                        <a:pt x="586422" y="94932"/>
                      </a:lnTo>
                      <a:lnTo>
                        <a:pt x="586422" y="118960"/>
                      </a:lnTo>
                      <a:lnTo>
                        <a:pt x="592899" y="118960"/>
                      </a:lnTo>
                      <a:lnTo>
                        <a:pt x="592899" y="94843"/>
                      </a:lnTo>
                      <a:lnTo>
                        <a:pt x="599287" y="94843"/>
                      </a:lnTo>
                      <a:lnTo>
                        <a:pt x="599287" y="89090"/>
                      </a:lnTo>
                      <a:close/>
                    </a:path>
                    <a:path w="819150" h="120014">
                      <a:moveTo>
                        <a:pt x="631901" y="95059"/>
                      </a:moveTo>
                      <a:lnTo>
                        <a:pt x="631380" y="94551"/>
                      </a:lnTo>
                      <a:lnTo>
                        <a:pt x="625221" y="88493"/>
                      </a:lnTo>
                      <a:lnTo>
                        <a:pt x="625221" y="98653"/>
                      </a:lnTo>
                      <a:lnTo>
                        <a:pt x="625182" y="109562"/>
                      </a:lnTo>
                      <a:lnTo>
                        <a:pt x="621334" y="113626"/>
                      </a:lnTo>
                      <a:lnTo>
                        <a:pt x="610793" y="113626"/>
                      </a:lnTo>
                      <a:lnTo>
                        <a:pt x="606691" y="109562"/>
                      </a:lnTo>
                      <a:lnTo>
                        <a:pt x="606818" y="98653"/>
                      </a:lnTo>
                      <a:lnTo>
                        <a:pt x="610793" y="94551"/>
                      </a:lnTo>
                      <a:lnTo>
                        <a:pt x="621334" y="94551"/>
                      </a:lnTo>
                      <a:lnTo>
                        <a:pt x="625221" y="98653"/>
                      </a:lnTo>
                      <a:lnTo>
                        <a:pt x="625221" y="88493"/>
                      </a:lnTo>
                      <a:lnTo>
                        <a:pt x="625055" y="88328"/>
                      </a:lnTo>
                      <a:lnTo>
                        <a:pt x="606729" y="88328"/>
                      </a:lnTo>
                      <a:lnTo>
                        <a:pt x="600087" y="95059"/>
                      </a:lnTo>
                      <a:lnTo>
                        <a:pt x="600087" y="113372"/>
                      </a:lnTo>
                      <a:lnTo>
                        <a:pt x="606691" y="119722"/>
                      </a:lnTo>
                      <a:lnTo>
                        <a:pt x="625436" y="119722"/>
                      </a:lnTo>
                      <a:lnTo>
                        <a:pt x="631558" y="113626"/>
                      </a:lnTo>
                      <a:lnTo>
                        <a:pt x="631812" y="113372"/>
                      </a:lnTo>
                      <a:lnTo>
                        <a:pt x="631901" y="95059"/>
                      </a:lnTo>
                      <a:close/>
                    </a:path>
                    <a:path w="819150" h="120014">
                      <a:moveTo>
                        <a:pt x="654075" y="89090"/>
                      </a:moveTo>
                      <a:lnTo>
                        <a:pt x="647560" y="89090"/>
                      </a:lnTo>
                      <a:lnTo>
                        <a:pt x="647560" y="118960"/>
                      </a:lnTo>
                      <a:lnTo>
                        <a:pt x="654075" y="118960"/>
                      </a:lnTo>
                      <a:lnTo>
                        <a:pt x="654075" y="89090"/>
                      </a:lnTo>
                      <a:close/>
                    </a:path>
                    <a:path w="819150" h="120014">
                      <a:moveTo>
                        <a:pt x="661885" y="393"/>
                      </a:moveTo>
                      <a:lnTo>
                        <a:pt x="609612" y="393"/>
                      </a:lnTo>
                      <a:lnTo>
                        <a:pt x="610019" y="2413"/>
                      </a:lnTo>
                      <a:lnTo>
                        <a:pt x="609587" y="4572"/>
                      </a:lnTo>
                      <a:lnTo>
                        <a:pt x="582815" y="59563"/>
                      </a:lnTo>
                      <a:lnTo>
                        <a:pt x="641438" y="59563"/>
                      </a:lnTo>
                      <a:lnTo>
                        <a:pt x="646938" y="48260"/>
                      </a:lnTo>
                      <a:lnTo>
                        <a:pt x="645744" y="49403"/>
                      </a:lnTo>
                      <a:lnTo>
                        <a:pt x="642467" y="50215"/>
                      </a:lnTo>
                      <a:lnTo>
                        <a:pt x="603084" y="50203"/>
                      </a:lnTo>
                      <a:lnTo>
                        <a:pt x="611365" y="33223"/>
                      </a:lnTo>
                      <a:lnTo>
                        <a:pt x="638835" y="33210"/>
                      </a:lnTo>
                      <a:lnTo>
                        <a:pt x="640054" y="34124"/>
                      </a:lnTo>
                      <a:lnTo>
                        <a:pt x="640715" y="35496"/>
                      </a:lnTo>
                      <a:lnTo>
                        <a:pt x="646379" y="23863"/>
                      </a:lnTo>
                      <a:lnTo>
                        <a:pt x="615924" y="23876"/>
                      </a:lnTo>
                      <a:lnTo>
                        <a:pt x="622795" y="9753"/>
                      </a:lnTo>
                      <a:lnTo>
                        <a:pt x="654316" y="9753"/>
                      </a:lnTo>
                      <a:lnTo>
                        <a:pt x="655548" y="10668"/>
                      </a:lnTo>
                      <a:lnTo>
                        <a:pt x="656209" y="12026"/>
                      </a:lnTo>
                      <a:lnTo>
                        <a:pt x="661885" y="393"/>
                      </a:lnTo>
                      <a:close/>
                    </a:path>
                    <a:path w="819150" h="120014">
                      <a:moveTo>
                        <a:pt x="676325" y="89090"/>
                      </a:moveTo>
                      <a:lnTo>
                        <a:pt x="657072" y="89090"/>
                      </a:lnTo>
                      <a:lnTo>
                        <a:pt x="657072" y="94932"/>
                      </a:lnTo>
                      <a:lnTo>
                        <a:pt x="663460" y="94932"/>
                      </a:lnTo>
                      <a:lnTo>
                        <a:pt x="663460" y="118960"/>
                      </a:lnTo>
                      <a:lnTo>
                        <a:pt x="669937" y="118960"/>
                      </a:lnTo>
                      <a:lnTo>
                        <a:pt x="669937" y="94843"/>
                      </a:lnTo>
                      <a:lnTo>
                        <a:pt x="676325" y="94843"/>
                      </a:lnTo>
                      <a:lnTo>
                        <a:pt x="676325" y="89090"/>
                      </a:lnTo>
                      <a:close/>
                    </a:path>
                    <a:path w="819150" h="120014">
                      <a:moveTo>
                        <a:pt x="705764" y="118960"/>
                      </a:moveTo>
                      <a:lnTo>
                        <a:pt x="703287" y="112915"/>
                      </a:lnTo>
                      <a:lnTo>
                        <a:pt x="700976" y="107289"/>
                      </a:lnTo>
                      <a:lnTo>
                        <a:pt x="696125" y="95478"/>
                      </a:lnTo>
                      <a:lnTo>
                        <a:pt x="694258" y="90944"/>
                      </a:lnTo>
                      <a:lnTo>
                        <a:pt x="694258" y="107289"/>
                      </a:lnTo>
                      <a:lnTo>
                        <a:pt x="686054" y="107289"/>
                      </a:lnTo>
                      <a:lnTo>
                        <a:pt x="690067" y="95478"/>
                      </a:lnTo>
                      <a:lnTo>
                        <a:pt x="694258" y="107289"/>
                      </a:lnTo>
                      <a:lnTo>
                        <a:pt x="694258" y="90944"/>
                      </a:lnTo>
                      <a:lnTo>
                        <a:pt x="693496" y="89090"/>
                      </a:lnTo>
                      <a:lnTo>
                        <a:pt x="686600" y="89090"/>
                      </a:lnTo>
                      <a:lnTo>
                        <a:pt x="674878" y="118960"/>
                      </a:lnTo>
                      <a:lnTo>
                        <a:pt x="681812" y="118960"/>
                      </a:lnTo>
                      <a:lnTo>
                        <a:pt x="684022" y="112915"/>
                      </a:lnTo>
                      <a:lnTo>
                        <a:pt x="696417" y="112915"/>
                      </a:lnTo>
                      <a:lnTo>
                        <a:pt x="698741" y="118960"/>
                      </a:lnTo>
                      <a:lnTo>
                        <a:pt x="705764" y="118960"/>
                      </a:lnTo>
                      <a:close/>
                    </a:path>
                    <a:path w="819150" h="120014">
                      <a:moveTo>
                        <a:pt x="725004" y="113080"/>
                      </a:moveTo>
                      <a:lnTo>
                        <a:pt x="714819" y="113080"/>
                      </a:lnTo>
                      <a:lnTo>
                        <a:pt x="714819" y="89090"/>
                      </a:lnTo>
                      <a:lnTo>
                        <a:pt x="708304" y="89090"/>
                      </a:lnTo>
                      <a:lnTo>
                        <a:pt x="708304" y="118960"/>
                      </a:lnTo>
                      <a:lnTo>
                        <a:pt x="725004" y="118960"/>
                      </a:lnTo>
                      <a:lnTo>
                        <a:pt x="725004" y="113080"/>
                      </a:lnTo>
                      <a:close/>
                    </a:path>
                    <a:path w="819150" h="120014">
                      <a:moveTo>
                        <a:pt x="734999" y="89090"/>
                      </a:moveTo>
                      <a:lnTo>
                        <a:pt x="728484" y="89090"/>
                      </a:lnTo>
                      <a:lnTo>
                        <a:pt x="728484" y="118960"/>
                      </a:lnTo>
                      <a:lnTo>
                        <a:pt x="734999" y="118960"/>
                      </a:lnTo>
                      <a:lnTo>
                        <a:pt x="734999" y="89090"/>
                      </a:lnTo>
                      <a:close/>
                    </a:path>
                    <a:path w="819150" h="120014">
                      <a:moveTo>
                        <a:pt x="736092" y="14287"/>
                      </a:moveTo>
                      <a:lnTo>
                        <a:pt x="736053" y="9804"/>
                      </a:lnTo>
                      <a:lnTo>
                        <a:pt x="735965" y="241"/>
                      </a:lnTo>
                      <a:lnTo>
                        <a:pt x="724433" y="406"/>
                      </a:lnTo>
                      <a:lnTo>
                        <a:pt x="721067" y="406"/>
                      </a:lnTo>
                      <a:lnTo>
                        <a:pt x="721067" y="20447"/>
                      </a:lnTo>
                      <a:lnTo>
                        <a:pt x="715416" y="25742"/>
                      </a:lnTo>
                      <a:lnTo>
                        <a:pt x="692315" y="25742"/>
                      </a:lnTo>
                      <a:lnTo>
                        <a:pt x="700087" y="9804"/>
                      </a:lnTo>
                      <a:lnTo>
                        <a:pt x="719467" y="9804"/>
                      </a:lnTo>
                      <a:lnTo>
                        <a:pt x="720979" y="12446"/>
                      </a:lnTo>
                      <a:lnTo>
                        <a:pt x="721067" y="20447"/>
                      </a:lnTo>
                      <a:lnTo>
                        <a:pt x="721067" y="406"/>
                      </a:lnTo>
                      <a:lnTo>
                        <a:pt x="686917" y="406"/>
                      </a:lnTo>
                      <a:lnTo>
                        <a:pt x="687311" y="2438"/>
                      </a:lnTo>
                      <a:lnTo>
                        <a:pt x="686854" y="4610"/>
                      </a:lnTo>
                      <a:lnTo>
                        <a:pt x="660120" y="59563"/>
                      </a:lnTo>
                      <a:lnTo>
                        <a:pt x="675830" y="59563"/>
                      </a:lnTo>
                      <a:lnTo>
                        <a:pt x="687755" y="35102"/>
                      </a:lnTo>
                      <a:lnTo>
                        <a:pt x="704202" y="35102"/>
                      </a:lnTo>
                      <a:lnTo>
                        <a:pt x="709422" y="59563"/>
                      </a:lnTo>
                      <a:lnTo>
                        <a:pt x="726313" y="59563"/>
                      </a:lnTo>
                      <a:lnTo>
                        <a:pt x="725284" y="58953"/>
                      </a:lnTo>
                      <a:lnTo>
                        <a:pt x="723938" y="57480"/>
                      </a:lnTo>
                      <a:lnTo>
                        <a:pt x="718680" y="35102"/>
                      </a:lnTo>
                      <a:lnTo>
                        <a:pt x="718642" y="34950"/>
                      </a:lnTo>
                      <a:lnTo>
                        <a:pt x="723595" y="33185"/>
                      </a:lnTo>
                      <a:lnTo>
                        <a:pt x="729373" y="29057"/>
                      </a:lnTo>
                      <a:lnTo>
                        <a:pt x="731875" y="25742"/>
                      </a:lnTo>
                      <a:lnTo>
                        <a:pt x="734148" y="22720"/>
                      </a:lnTo>
                      <a:lnTo>
                        <a:pt x="736092" y="14287"/>
                      </a:lnTo>
                      <a:close/>
                    </a:path>
                    <a:path w="819150" h="120014">
                      <a:moveTo>
                        <a:pt x="768324" y="118960"/>
                      </a:moveTo>
                      <a:lnTo>
                        <a:pt x="765848" y="112915"/>
                      </a:lnTo>
                      <a:lnTo>
                        <a:pt x="763536" y="107289"/>
                      </a:lnTo>
                      <a:lnTo>
                        <a:pt x="758685" y="95478"/>
                      </a:lnTo>
                      <a:lnTo>
                        <a:pt x="756831" y="90957"/>
                      </a:lnTo>
                      <a:lnTo>
                        <a:pt x="756831" y="107289"/>
                      </a:lnTo>
                      <a:lnTo>
                        <a:pt x="748614" y="107289"/>
                      </a:lnTo>
                      <a:lnTo>
                        <a:pt x="752640" y="95478"/>
                      </a:lnTo>
                      <a:lnTo>
                        <a:pt x="756831" y="107289"/>
                      </a:lnTo>
                      <a:lnTo>
                        <a:pt x="756831" y="90957"/>
                      </a:lnTo>
                      <a:lnTo>
                        <a:pt x="756069" y="89090"/>
                      </a:lnTo>
                      <a:lnTo>
                        <a:pt x="749173" y="89090"/>
                      </a:lnTo>
                      <a:lnTo>
                        <a:pt x="737438" y="118960"/>
                      </a:lnTo>
                      <a:lnTo>
                        <a:pt x="744385" y="118960"/>
                      </a:lnTo>
                      <a:lnTo>
                        <a:pt x="746594" y="112915"/>
                      </a:lnTo>
                      <a:lnTo>
                        <a:pt x="758977" y="112915"/>
                      </a:lnTo>
                      <a:lnTo>
                        <a:pt x="761314" y="118960"/>
                      </a:lnTo>
                      <a:lnTo>
                        <a:pt x="768324" y="118960"/>
                      </a:lnTo>
                      <a:close/>
                    </a:path>
                    <a:path w="819150" h="120014">
                      <a:moveTo>
                        <a:pt x="796683" y="89090"/>
                      </a:moveTo>
                      <a:lnTo>
                        <a:pt x="790587" y="89090"/>
                      </a:lnTo>
                      <a:lnTo>
                        <a:pt x="790714" y="108762"/>
                      </a:lnTo>
                      <a:lnTo>
                        <a:pt x="783742" y="98907"/>
                      </a:lnTo>
                      <a:lnTo>
                        <a:pt x="776795" y="89090"/>
                      </a:lnTo>
                      <a:lnTo>
                        <a:pt x="770915" y="89090"/>
                      </a:lnTo>
                      <a:lnTo>
                        <a:pt x="770915" y="118960"/>
                      </a:lnTo>
                      <a:lnTo>
                        <a:pt x="777049" y="118960"/>
                      </a:lnTo>
                      <a:lnTo>
                        <a:pt x="776871" y="98907"/>
                      </a:lnTo>
                      <a:lnTo>
                        <a:pt x="790879" y="118960"/>
                      </a:lnTo>
                      <a:lnTo>
                        <a:pt x="796683" y="118960"/>
                      </a:lnTo>
                      <a:lnTo>
                        <a:pt x="796683" y="108762"/>
                      </a:lnTo>
                      <a:lnTo>
                        <a:pt x="796683" y="89090"/>
                      </a:lnTo>
                      <a:close/>
                    </a:path>
                    <a:path w="819150" h="120014">
                      <a:moveTo>
                        <a:pt x="818057" y="14287"/>
                      </a:moveTo>
                      <a:lnTo>
                        <a:pt x="818019" y="9804"/>
                      </a:lnTo>
                      <a:lnTo>
                        <a:pt x="817930" y="241"/>
                      </a:lnTo>
                      <a:lnTo>
                        <a:pt x="806399" y="406"/>
                      </a:lnTo>
                      <a:lnTo>
                        <a:pt x="803021" y="406"/>
                      </a:lnTo>
                      <a:lnTo>
                        <a:pt x="803021" y="20447"/>
                      </a:lnTo>
                      <a:lnTo>
                        <a:pt x="797382" y="25742"/>
                      </a:lnTo>
                      <a:lnTo>
                        <a:pt x="774268" y="25742"/>
                      </a:lnTo>
                      <a:lnTo>
                        <a:pt x="782066" y="9804"/>
                      </a:lnTo>
                      <a:lnTo>
                        <a:pt x="801433" y="9804"/>
                      </a:lnTo>
                      <a:lnTo>
                        <a:pt x="802944" y="12446"/>
                      </a:lnTo>
                      <a:lnTo>
                        <a:pt x="803021" y="20447"/>
                      </a:lnTo>
                      <a:lnTo>
                        <a:pt x="803021" y="406"/>
                      </a:lnTo>
                      <a:lnTo>
                        <a:pt x="768883" y="406"/>
                      </a:lnTo>
                      <a:lnTo>
                        <a:pt x="769277" y="2438"/>
                      </a:lnTo>
                      <a:lnTo>
                        <a:pt x="768819" y="4610"/>
                      </a:lnTo>
                      <a:lnTo>
                        <a:pt x="742086" y="59563"/>
                      </a:lnTo>
                      <a:lnTo>
                        <a:pt x="757809" y="59563"/>
                      </a:lnTo>
                      <a:lnTo>
                        <a:pt x="769721" y="35102"/>
                      </a:lnTo>
                      <a:lnTo>
                        <a:pt x="786168" y="35102"/>
                      </a:lnTo>
                      <a:lnTo>
                        <a:pt x="791387" y="59563"/>
                      </a:lnTo>
                      <a:lnTo>
                        <a:pt x="808278" y="59563"/>
                      </a:lnTo>
                      <a:lnTo>
                        <a:pt x="807262" y="58953"/>
                      </a:lnTo>
                      <a:lnTo>
                        <a:pt x="805891" y="57480"/>
                      </a:lnTo>
                      <a:lnTo>
                        <a:pt x="805395" y="55308"/>
                      </a:lnTo>
                      <a:lnTo>
                        <a:pt x="800646" y="35102"/>
                      </a:lnTo>
                      <a:lnTo>
                        <a:pt x="800608" y="34950"/>
                      </a:lnTo>
                      <a:lnTo>
                        <a:pt x="805561" y="33185"/>
                      </a:lnTo>
                      <a:lnTo>
                        <a:pt x="811352" y="29057"/>
                      </a:lnTo>
                      <a:lnTo>
                        <a:pt x="813854" y="25742"/>
                      </a:lnTo>
                      <a:lnTo>
                        <a:pt x="816127" y="22720"/>
                      </a:lnTo>
                      <a:lnTo>
                        <a:pt x="818057" y="14287"/>
                      </a:lnTo>
                      <a:close/>
                    </a:path>
                    <a:path w="819150" h="120014">
                      <a:moveTo>
                        <a:pt x="818629" y="89090"/>
                      </a:moveTo>
                      <a:lnTo>
                        <a:pt x="801662" y="89090"/>
                      </a:lnTo>
                      <a:lnTo>
                        <a:pt x="801662" y="118960"/>
                      </a:lnTo>
                      <a:lnTo>
                        <a:pt x="818591" y="118960"/>
                      </a:lnTo>
                      <a:lnTo>
                        <a:pt x="818591" y="112991"/>
                      </a:lnTo>
                      <a:lnTo>
                        <a:pt x="808139" y="112991"/>
                      </a:lnTo>
                      <a:lnTo>
                        <a:pt x="808139" y="106603"/>
                      </a:lnTo>
                      <a:lnTo>
                        <a:pt x="818375" y="106603"/>
                      </a:lnTo>
                      <a:lnTo>
                        <a:pt x="818375" y="100812"/>
                      </a:lnTo>
                      <a:lnTo>
                        <a:pt x="808139" y="100812"/>
                      </a:lnTo>
                      <a:lnTo>
                        <a:pt x="808139" y="94881"/>
                      </a:lnTo>
                      <a:lnTo>
                        <a:pt x="818629" y="94881"/>
                      </a:lnTo>
                      <a:lnTo>
                        <a:pt x="818629" y="89090"/>
                      </a:lnTo>
                      <a:close/>
                    </a:path>
                  </a:pathLst>
                </a:custGeom>
                <a:solidFill>
                  <a:srgbClr val="006A65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440" name="object 248">
                  <a:extLst>
                    <a:ext uri="{FF2B5EF4-FFF2-40B4-BE49-F238E27FC236}">
                      <a16:creationId xmlns:a16="http://schemas.microsoft.com/office/drawing/2014/main" id="{C7503F94-DCD2-90A6-E17D-2AD78B7536D6}"/>
                    </a:ext>
                  </a:extLst>
                </p:cNvPr>
                <p:cNvPicPr/>
                <p:nvPr/>
              </p:nvPicPr>
              <p:blipFill>
                <a:blip r:embed="rId50" cstate="print"/>
                <a:stretch>
                  <a:fillRect/>
                </a:stretch>
              </p:blipFill>
              <p:spPr>
                <a:xfrm>
                  <a:off x="4694173" y="2427672"/>
                  <a:ext cx="108127" cy="92824"/>
                </a:xfrm>
                <a:prstGeom prst="rect">
                  <a:avLst/>
                </a:prstGeom>
              </p:spPr>
            </p:pic>
            <p:pic>
              <p:nvPicPr>
                <p:cNvPr id="441" name="object 249">
                  <a:extLst>
                    <a:ext uri="{FF2B5EF4-FFF2-40B4-BE49-F238E27FC236}">
                      <a16:creationId xmlns:a16="http://schemas.microsoft.com/office/drawing/2014/main" id="{8E3CB659-ED27-3A41-7583-CBDC687A498A}"/>
                    </a:ext>
                  </a:extLst>
                </p:cNvPr>
                <p:cNvPicPr/>
                <p:nvPr/>
              </p:nvPicPr>
              <p:blipFill>
                <a:blip r:embed="rId51" cstate="print"/>
                <a:stretch>
                  <a:fillRect/>
                </a:stretch>
              </p:blipFill>
              <p:spPr>
                <a:xfrm>
                  <a:off x="4751068" y="2338206"/>
                  <a:ext cx="230758" cy="67019"/>
                </a:xfrm>
                <a:prstGeom prst="rect">
                  <a:avLst/>
                </a:prstGeom>
              </p:spPr>
            </p:pic>
            <p:sp>
              <p:nvSpPr>
                <p:cNvPr id="442" name="object 250">
                  <a:extLst>
                    <a:ext uri="{FF2B5EF4-FFF2-40B4-BE49-F238E27FC236}">
                      <a16:creationId xmlns:a16="http://schemas.microsoft.com/office/drawing/2014/main" id="{139D757F-2905-7A34-C945-681D7D756A18}"/>
                    </a:ext>
                  </a:extLst>
                </p:cNvPr>
                <p:cNvSpPr/>
                <p:nvPr/>
              </p:nvSpPr>
              <p:spPr>
                <a:xfrm>
                  <a:off x="4685265" y="2417442"/>
                  <a:ext cx="257810" cy="1219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7810" h="121919">
                      <a:moveTo>
                        <a:pt x="257606" y="0"/>
                      </a:moveTo>
                      <a:lnTo>
                        <a:pt x="186766" y="4483"/>
                      </a:lnTo>
                      <a:lnTo>
                        <a:pt x="148148" y="26412"/>
                      </a:lnTo>
                      <a:lnTo>
                        <a:pt x="135293" y="65760"/>
                      </a:lnTo>
                      <a:lnTo>
                        <a:pt x="127900" y="82763"/>
                      </a:lnTo>
                      <a:lnTo>
                        <a:pt x="82105" y="110274"/>
                      </a:lnTo>
                      <a:lnTo>
                        <a:pt x="4216" y="113055"/>
                      </a:lnTo>
                      <a:lnTo>
                        <a:pt x="0" y="121653"/>
                      </a:lnTo>
                      <a:lnTo>
                        <a:pt x="116558" y="121603"/>
                      </a:lnTo>
                      <a:lnTo>
                        <a:pt x="161094" y="111017"/>
                      </a:lnTo>
                      <a:lnTo>
                        <a:pt x="192251" y="79848"/>
                      </a:lnTo>
                      <a:lnTo>
                        <a:pt x="201320" y="38138"/>
                      </a:lnTo>
                      <a:lnTo>
                        <a:pt x="204665" y="26867"/>
                      </a:lnTo>
                      <a:lnTo>
                        <a:pt x="211458" y="17613"/>
                      </a:lnTo>
                      <a:lnTo>
                        <a:pt x="220951" y="11118"/>
                      </a:lnTo>
                      <a:lnTo>
                        <a:pt x="232397" y="8127"/>
                      </a:lnTo>
                      <a:lnTo>
                        <a:pt x="254215" y="6781"/>
                      </a:lnTo>
                      <a:lnTo>
                        <a:pt x="257606" y="0"/>
                      </a:lnTo>
                      <a:close/>
                    </a:path>
                  </a:pathLst>
                </a:custGeom>
                <a:solidFill>
                  <a:srgbClr val="E31836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43" name="object 251">
                  <a:extLst>
                    <a:ext uri="{FF2B5EF4-FFF2-40B4-BE49-F238E27FC236}">
                      <a16:creationId xmlns:a16="http://schemas.microsoft.com/office/drawing/2014/main" id="{E91F020C-082A-1E79-6BAC-5413D3CAB4C6}"/>
                    </a:ext>
                  </a:extLst>
                </p:cNvPr>
                <p:cNvSpPr/>
                <p:nvPr/>
              </p:nvSpPr>
              <p:spPr>
                <a:xfrm>
                  <a:off x="535851" y="1058341"/>
                  <a:ext cx="819150" cy="12001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9150" h="120015">
                      <a:moveTo>
                        <a:pt x="30327" y="102476"/>
                      </a:moveTo>
                      <a:lnTo>
                        <a:pt x="15354" y="102476"/>
                      </a:lnTo>
                      <a:lnTo>
                        <a:pt x="15354" y="108013"/>
                      </a:lnTo>
                      <a:lnTo>
                        <a:pt x="23177" y="108013"/>
                      </a:lnTo>
                      <a:lnTo>
                        <a:pt x="22885" y="109410"/>
                      </a:lnTo>
                      <a:lnTo>
                        <a:pt x="22669" y="109956"/>
                      </a:lnTo>
                      <a:lnTo>
                        <a:pt x="20726" y="112674"/>
                      </a:lnTo>
                      <a:lnTo>
                        <a:pt x="18148" y="113804"/>
                      </a:lnTo>
                      <a:lnTo>
                        <a:pt x="10185" y="113804"/>
                      </a:lnTo>
                      <a:lnTo>
                        <a:pt x="6388" y="109753"/>
                      </a:lnTo>
                      <a:lnTo>
                        <a:pt x="6515" y="98196"/>
                      </a:lnTo>
                      <a:lnTo>
                        <a:pt x="10147" y="94310"/>
                      </a:lnTo>
                      <a:lnTo>
                        <a:pt x="17170" y="94310"/>
                      </a:lnTo>
                      <a:lnTo>
                        <a:pt x="18694" y="94691"/>
                      </a:lnTo>
                      <a:lnTo>
                        <a:pt x="21488" y="96253"/>
                      </a:lnTo>
                      <a:lnTo>
                        <a:pt x="22072" y="96761"/>
                      </a:lnTo>
                      <a:lnTo>
                        <a:pt x="23177" y="98196"/>
                      </a:lnTo>
                      <a:lnTo>
                        <a:pt x="28460" y="95110"/>
                      </a:lnTo>
                      <a:lnTo>
                        <a:pt x="19164" y="88303"/>
                      </a:lnTo>
                      <a:lnTo>
                        <a:pt x="6261" y="88303"/>
                      </a:lnTo>
                      <a:lnTo>
                        <a:pt x="38" y="94691"/>
                      </a:lnTo>
                      <a:lnTo>
                        <a:pt x="0" y="113220"/>
                      </a:lnTo>
                      <a:lnTo>
                        <a:pt x="6210" y="119608"/>
                      </a:lnTo>
                      <a:lnTo>
                        <a:pt x="21056" y="119608"/>
                      </a:lnTo>
                      <a:lnTo>
                        <a:pt x="26136" y="116687"/>
                      </a:lnTo>
                      <a:lnTo>
                        <a:pt x="27584" y="113804"/>
                      </a:lnTo>
                      <a:lnTo>
                        <a:pt x="29819" y="109372"/>
                      </a:lnTo>
                      <a:lnTo>
                        <a:pt x="30327" y="106654"/>
                      </a:lnTo>
                      <a:lnTo>
                        <a:pt x="30327" y="102476"/>
                      </a:lnTo>
                      <a:close/>
                    </a:path>
                    <a:path w="819150" h="120015">
                      <a:moveTo>
                        <a:pt x="56222" y="118973"/>
                      </a:moveTo>
                      <a:lnTo>
                        <a:pt x="47637" y="106362"/>
                      </a:lnTo>
                      <a:lnTo>
                        <a:pt x="50888" y="105092"/>
                      </a:lnTo>
                      <a:lnTo>
                        <a:pt x="53251" y="103568"/>
                      </a:lnTo>
                      <a:lnTo>
                        <a:pt x="53771" y="102184"/>
                      </a:lnTo>
                      <a:lnTo>
                        <a:pt x="54317" y="100698"/>
                      </a:lnTo>
                      <a:lnTo>
                        <a:pt x="54317" y="96215"/>
                      </a:lnTo>
                      <a:lnTo>
                        <a:pt x="47967" y="89217"/>
                      </a:lnTo>
                      <a:lnTo>
                        <a:pt x="47967" y="95161"/>
                      </a:lnTo>
                      <a:lnTo>
                        <a:pt x="47967" y="98196"/>
                      </a:lnTo>
                      <a:lnTo>
                        <a:pt x="47421" y="100317"/>
                      </a:lnTo>
                      <a:lnTo>
                        <a:pt x="46405" y="102006"/>
                      </a:lnTo>
                      <a:lnTo>
                        <a:pt x="44754" y="102184"/>
                      </a:lnTo>
                      <a:lnTo>
                        <a:pt x="40652" y="102184"/>
                      </a:lnTo>
                      <a:lnTo>
                        <a:pt x="40652" y="94310"/>
                      </a:lnTo>
                      <a:lnTo>
                        <a:pt x="45478" y="94310"/>
                      </a:lnTo>
                      <a:lnTo>
                        <a:pt x="47967" y="95161"/>
                      </a:lnTo>
                      <a:lnTo>
                        <a:pt x="47967" y="89217"/>
                      </a:lnTo>
                      <a:lnTo>
                        <a:pt x="46532" y="89103"/>
                      </a:lnTo>
                      <a:lnTo>
                        <a:pt x="34302" y="89103"/>
                      </a:lnTo>
                      <a:lnTo>
                        <a:pt x="34302" y="118973"/>
                      </a:lnTo>
                      <a:lnTo>
                        <a:pt x="40601" y="118973"/>
                      </a:lnTo>
                      <a:lnTo>
                        <a:pt x="40601" y="106362"/>
                      </a:lnTo>
                      <a:lnTo>
                        <a:pt x="48514" y="118973"/>
                      </a:lnTo>
                      <a:lnTo>
                        <a:pt x="56222" y="118973"/>
                      </a:lnTo>
                      <a:close/>
                    </a:path>
                    <a:path w="819150" h="120015">
                      <a:moveTo>
                        <a:pt x="82194" y="89103"/>
                      </a:moveTo>
                      <a:lnTo>
                        <a:pt x="75844" y="89103"/>
                      </a:lnTo>
                      <a:lnTo>
                        <a:pt x="75831" y="111480"/>
                      </a:lnTo>
                      <a:lnTo>
                        <a:pt x="74320" y="113944"/>
                      </a:lnTo>
                      <a:lnTo>
                        <a:pt x="68567" y="113944"/>
                      </a:lnTo>
                      <a:lnTo>
                        <a:pt x="66624" y="113347"/>
                      </a:lnTo>
                      <a:lnTo>
                        <a:pt x="64503" y="110515"/>
                      </a:lnTo>
                      <a:lnTo>
                        <a:pt x="64465" y="89103"/>
                      </a:lnTo>
                      <a:lnTo>
                        <a:pt x="58115" y="89103"/>
                      </a:lnTo>
                      <a:lnTo>
                        <a:pt x="58242" y="111480"/>
                      </a:lnTo>
                      <a:lnTo>
                        <a:pt x="58978" y="113347"/>
                      </a:lnTo>
                      <a:lnTo>
                        <a:pt x="60655" y="117741"/>
                      </a:lnTo>
                      <a:lnTo>
                        <a:pt x="65481" y="119786"/>
                      </a:lnTo>
                      <a:lnTo>
                        <a:pt x="73990" y="119786"/>
                      </a:lnTo>
                      <a:lnTo>
                        <a:pt x="77787" y="118465"/>
                      </a:lnTo>
                      <a:lnTo>
                        <a:pt x="80937" y="113944"/>
                      </a:lnTo>
                      <a:lnTo>
                        <a:pt x="82029" y="112369"/>
                      </a:lnTo>
                      <a:lnTo>
                        <a:pt x="82130" y="110515"/>
                      </a:lnTo>
                      <a:lnTo>
                        <a:pt x="82194" y="89103"/>
                      </a:lnTo>
                      <a:close/>
                    </a:path>
                    <a:path w="819150" h="120015">
                      <a:moveTo>
                        <a:pt x="107454" y="96469"/>
                      </a:moveTo>
                      <a:lnTo>
                        <a:pt x="107010" y="94526"/>
                      </a:lnTo>
                      <a:lnTo>
                        <a:pt x="103809" y="90119"/>
                      </a:lnTo>
                      <a:lnTo>
                        <a:pt x="101104" y="89357"/>
                      </a:lnTo>
                      <a:lnTo>
                        <a:pt x="101104" y="101117"/>
                      </a:lnTo>
                      <a:lnTo>
                        <a:pt x="99110" y="102133"/>
                      </a:lnTo>
                      <a:lnTo>
                        <a:pt x="93789" y="102133"/>
                      </a:lnTo>
                      <a:lnTo>
                        <a:pt x="93789" y="94526"/>
                      </a:lnTo>
                      <a:lnTo>
                        <a:pt x="96494" y="94526"/>
                      </a:lnTo>
                      <a:lnTo>
                        <a:pt x="98526" y="94691"/>
                      </a:lnTo>
                      <a:lnTo>
                        <a:pt x="100253" y="95110"/>
                      </a:lnTo>
                      <a:lnTo>
                        <a:pt x="101003" y="96469"/>
                      </a:lnTo>
                      <a:lnTo>
                        <a:pt x="101104" y="101117"/>
                      </a:lnTo>
                      <a:lnTo>
                        <a:pt x="101104" y="89357"/>
                      </a:lnTo>
                      <a:lnTo>
                        <a:pt x="97802" y="89154"/>
                      </a:lnTo>
                      <a:lnTo>
                        <a:pt x="95986" y="89103"/>
                      </a:lnTo>
                      <a:lnTo>
                        <a:pt x="87274" y="89103"/>
                      </a:lnTo>
                      <a:lnTo>
                        <a:pt x="87274" y="118973"/>
                      </a:lnTo>
                      <a:lnTo>
                        <a:pt x="93738" y="118973"/>
                      </a:lnTo>
                      <a:lnTo>
                        <a:pt x="93738" y="107632"/>
                      </a:lnTo>
                      <a:lnTo>
                        <a:pt x="99669" y="107632"/>
                      </a:lnTo>
                      <a:lnTo>
                        <a:pt x="102628" y="107302"/>
                      </a:lnTo>
                      <a:lnTo>
                        <a:pt x="106565" y="103441"/>
                      </a:lnTo>
                      <a:lnTo>
                        <a:pt x="107048" y="102133"/>
                      </a:lnTo>
                      <a:lnTo>
                        <a:pt x="107416" y="101117"/>
                      </a:lnTo>
                      <a:lnTo>
                        <a:pt x="107454" y="96469"/>
                      </a:lnTo>
                      <a:close/>
                    </a:path>
                    <a:path w="819150" h="120015">
                      <a:moveTo>
                        <a:pt x="130505" y="96469"/>
                      </a:moveTo>
                      <a:lnTo>
                        <a:pt x="130060" y="94526"/>
                      </a:lnTo>
                      <a:lnTo>
                        <a:pt x="126860" y="90119"/>
                      </a:lnTo>
                      <a:lnTo>
                        <a:pt x="124155" y="89344"/>
                      </a:lnTo>
                      <a:lnTo>
                        <a:pt x="124155" y="101117"/>
                      </a:lnTo>
                      <a:lnTo>
                        <a:pt x="122174" y="102133"/>
                      </a:lnTo>
                      <a:lnTo>
                        <a:pt x="116840" y="102133"/>
                      </a:lnTo>
                      <a:lnTo>
                        <a:pt x="116840" y="94526"/>
                      </a:lnTo>
                      <a:lnTo>
                        <a:pt x="119545" y="94526"/>
                      </a:lnTo>
                      <a:lnTo>
                        <a:pt x="121577" y="94691"/>
                      </a:lnTo>
                      <a:lnTo>
                        <a:pt x="123317" y="95110"/>
                      </a:lnTo>
                      <a:lnTo>
                        <a:pt x="124053" y="96469"/>
                      </a:lnTo>
                      <a:lnTo>
                        <a:pt x="124155" y="101117"/>
                      </a:lnTo>
                      <a:lnTo>
                        <a:pt x="124155" y="89344"/>
                      </a:lnTo>
                      <a:lnTo>
                        <a:pt x="120853" y="89154"/>
                      </a:lnTo>
                      <a:lnTo>
                        <a:pt x="119037" y="89103"/>
                      </a:lnTo>
                      <a:lnTo>
                        <a:pt x="110324" y="89103"/>
                      </a:lnTo>
                      <a:lnTo>
                        <a:pt x="110324" y="118973"/>
                      </a:lnTo>
                      <a:lnTo>
                        <a:pt x="116801" y="118973"/>
                      </a:lnTo>
                      <a:lnTo>
                        <a:pt x="116801" y="107632"/>
                      </a:lnTo>
                      <a:lnTo>
                        <a:pt x="122720" y="107632"/>
                      </a:lnTo>
                      <a:lnTo>
                        <a:pt x="125679" y="107302"/>
                      </a:lnTo>
                      <a:lnTo>
                        <a:pt x="129616" y="103441"/>
                      </a:lnTo>
                      <a:lnTo>
                        <a:pt x="130098" y="102133"/>
                      </a:lnTo>
                      <a:lnTo>
                        <a:pt x="130467" y="101117"/>
                      </a:lnTo>
                      <a:lnTo>
                        <a:pt x="130505" y="96469"/>
                      </a:lnTo>
                      <a:close/>
                    </a:path>
                    <a:path w="819150" h="120015">
                      <a:moveTo>
                        <a:pt x="163296" y="95072"/>
                      </a:moveTo>
                      <a:lnTo>
                        <a:pt x="162788" y="94564"/>
                      </a:lnTo>
                      <a:lnTo>
                        <a:pt x="156603" y="88506"/>
                      </a:lnTo>
                      <a:lnTo>
                        <a:pt x="156603" y="98666"/>
                      </a:lnTo>
                      <a:lnTo>
                        <a:pt x="156578" y="109575"/>
                      </a:lnTo>
                      <a:lnTo>
                        <a:pt x="152717" y="113639"/>
                      </a:lnTo>
                      <a:lnTo>
                        <a:pt x="142176" y="113639"/>
                      </a:lnTo>
                      <a:lnTo>
                        <a:pt x="138074" y="109575"/>
                      </a:lnTo>
                      <a:lnTo>
                        <a:pt x="138201" y="98666"/>
                      </a:lnTo>
                      <a:lnTo>
                        <a:pt x="142176" y="94564"/>
                      </a:lnTo>
                      <a:lnTo>
                        <a:pt x="152717" y="94564"/>
                      </a:lnTo>
                      <a:lnTo>
                        <a:pt x="156603" y="98666"/>
                      </a:lnTo>
                      <a:lnTo>
                        <a:pt x="156603" y="88506"/>
                      </a:lnTo>
                      <a:lnTo>
                        <a:pt x="156438" y="88341"/>
                      </a:lnTo>
                      <a:lnTo>
                        <a:pt x="138112" y="88341"/>
                      </a:lnTo>
                      <a:lnTo>
                        <a:pt x="131470" y="95072"/>
                      </a:lnTo>
                      <a:lnTo>
                        <a:pt x="131470" y="113385"/>
                      </a:lnTo>
                      <a:lnTo>
                        <a:pt x="138074" y="119735"/>
                      </a:lnTo>
                      <a:lnTo>
                        <a:pt x="156819" y="119735"/>
                      </a:lnTo>
                      <a:lnTo>
                        <a:pt x="162953" y="113639"/>
                      </a:lnTo>
                      <a:lnTo>
                        <a:pt x="163207" y="113385"/>
                      </a:lnTo>
                      <a:lnTo>
                        <a:pt x="163296" y="95072"/>
                      </a:lnTo>
                      <a:close/>
                    </a:path>
                    <a:path w="819150" h="120015">
                      <a:moveTo>
                        <a:pt x="196367" y="89103"/>
                      </a:moveTo>
                      <a:lnTo>
                        <a:pt x="179031" y="89103"/>
                      </a:lnTo>
                      <a:lnTo>
                        <a:pt x="179031" y="118973"/>
                      </a:lnTo>
                      <a:lnTo>
                        <a:pt x="185547" y="118973"/>
                      </a:lnTo>
                      <a:lnTo>
                        <a:pt x="185547" y="106451"/>
                      </a:lnTo>
                      <a:lnTo>
                        <a:pt x="196367" y="106451"/>
                      </a:lnTo>
                      <a:lnTo>
                        <a:pt x="196367" y="100609"/>
                      </a:lnTo>
                      <a:lnTo>
                        <a:pt x="185547" y="100609"/>
                      </a:lnTo>
                      <a:lnTo>
                        <a:pt x="185547" y="94780"/>
                      </a:lnTo>
                      <a:lnTo>
                        <a:pt x="196367" y="94780"/>
                      </a:lnTo>
                      <a:lnTo>
                        <a:pt x="196367" y="89103"/>
                      </a:lnTo>
                      <a:close/>
                    </a:path>
                    <a:path w="819150" h="120015">
                      <a:moveTo>
                        <a:pt x="216217" y="89103"/>
                      </a:moveTo>
                      <a:lnTo>
                        <a:pt x="199250" y="89103"/>
                      </a:lnTo>
                      <a:lnTo>
                        <a:pt x="199250" y="118973"/>
                      </a:lnTo>
                      <a:lnTo>
                        <a:pt x="216166" y="118973"/>
                      </a:lnTo>
                      <a:lnTo>
                        <a:pt x="216166" y="113004"/>
                      </a:lnTo>
                      <a:lnTo>
                        <a:pt x="205727" y="113004"/>
                      </a:lnTo>
                      <a:lnTo>
                        <a:pt x="205727" y="106616"/>
                      </a:lnTo>
                      <a:lnTo>
                        <a:pt x="215963" y="106616"/>
                      </a:lnTo>
                      <a:lnTo>
                        <a:pt x="215963" y="100825"/>
                      </a:lnTo>
                      <a:lnTo>
                        <a:pt x="205727" y="100825"/>
                      </a:lnTo>
                      <a:lnTo>
                        <a:pt x="205727" y="94894"/>
                      </a:lnTo>
                      <a:lnTo>
                        <a:pt x="216217" y="94894"/>
                      </a:lnTo>
                      <a:lnTo>
                        <a:pt x="216217" y="89103"/>
                      </a:lnTo>
                      <a:close/>
                    </a:path>
                    <a:path w="819150" h="120015">
                      <a:moveTo>
                        <a:pt x="242316" y="118973"/>
                      </a:moveTo>
                      <a:lnTo>
                        <a:pt x="233730" y="106362"/>
                      </a:lnTo>
                      <a:lnTo>
                        <a:pt x="236982" y="105092"/>
                      </a:lnTo>
                      <a:lnTo>
                        <a:pt x="239356" y="103568"/>
                      </a:lnTo>
                      <a:lnTo>
                        <a:pt x="239864" y="102184"/>
                      </a:lnTo>
                      <a:lnTo>
                        <a:pt x="240411" y="100698"/>
                      </a:lnTo>
                      <a:lnTo>
                        <a:pt x="240411" y="96215"/>
                      </a:lnTo>
                      <a:lnTo>
                        <a:pt x="239953" y="94437"/>
                      </a:lnTo>
                      <a:lnTo>
                        <a:pt x="239877" y="94310"/>
                      </a:lnTo>
                      <a:lnTo>
                        <a:pt x="236728" y="89408"/>
                      </a:lnTo>
                      <a:lnTo>
                        <a:pt x="234073" y="89217"/>
                      </a:lnTo>
                      <a:lnTo>
                        <a:pt x="234073" y="95161"/>
                      </a:lnTo>
                      <a:lnTo>
                        <a:pt x="234073" y="98196"/>
                      </a:lnTo>
                      <a:lnTo>
                        <a:pt x="233514" y="100317"/>
                      </a:lnTo>
                      <a:lnTo>
                        <a:pt x="232498" y="102006"/>
                      </a:lnTo>
                      <a:lnTo>
                        <a:pt x="230847" y="102184"/>
                      </a:lnTo>
                      <a:lnTo>
                        <a:pt x="226745" y="102184"/>
                      </a:lnTo>
                      <a:lnTo>
                        <a:pt x="226745" y="94310"/>
                      </a:lnTo>
                      <a:lnTo>
                        <a:pt x="231571" y="94310"/>
                      </a:lnTo>
                      <a:lnTo>
                        <a:pt x="234073" y="95161"/>
                      </a:lnTo>
                      <a:lnTo>
                        <a:pt x="234073" y="89217"/>
                      </a:lnTo>
                      <a:lnTo>
                        <a:pt x="232625" y="89103"/>
                      </a:lnTo>
                      <a:lnTo>
                        <a:pt x="220408" y="89103"/>
                      </a:lnTo>
                      <a:lnTo>
                        <a:pt x="220408" y="118973"/>
                      </a:lnTo>
                      <a:lnTo>
                        <a:pt x="226707" y="118973"/>
                      </a:lnTo>
                      <a:lnTo>
                        <a:pt x="226707" y="106362"/>
                      </a:lnTo>
                      <a:lnTo>
                        <a:pt x="234619" y="118973"/>
                      </a:lnTo>
                      <a:lnTo>
                        <a:pt x="242316" y="118973"/>
                      </a:lnTo>
                      <a:close/>
                    </a:path>
                    <a:path w="819150" h="120015">
                      <a:moveTo>
                        <a:pt x="266090" y="118973"/>
                      </a:moveTo>
                      <a:lnTo>
                        <a:pt x="257517" y="106362"/>
                      </a:lnTo>
                      <a:lnTo>
                        <a:pt x="260756" y="105092"/>
                      </a:lnTo>
                      <a:lnTo>
                        <a:pt x="263131" y="103568"/>
                      </a:lnTo>
                      <a:lnTo>
                        <a:pt x="263639" y="102184"/>
                      </a:lnTo>
                      <a:lnTo>
                        <a:pt x="264185" y="100698"/>
                      </a:lnTo>
                      <a:lnTo>
                        <a:pt x="264185" y="96215"/>
                      </a:lnTo>
                      <a:lnTo>
                        <a:pt x="263728" y="94437"/>
                      </a:lnTo>
                      <a:lnTo>
                        <a:pt x="263652" y="94310"/>
                      </a:lnTo>
                      <a:lnTo>
                        <a:pt x="260502" y="89408"/>
                      </a:lnTo>
                      <a:lnTo>
                        <a:pt x="257848" y="89217"/>
                      </a:lnTo>
                      <a:lnTo>
                        <a:pt x="257848" y="95161"/>
                      </a:lnTo>
                      <a:lnTo>
                        <a:pt x="257848" y="98196"/>
                      </a:lnTo>
                      <a:lnTo>
                        <a:pt x="257289" y="100317"/>
                      </a:lnTo>
                      <a:lnTo>
                        <a:pt x="256273" y="102006"/>
                      </a:lnTo>
                      <a:lnTo>
                        <a:pt x="254622" y="102184"/>
                      </a:lnTo>
                      <a:lnTo>
                        <a:pt x="250520" y="102184"/>
                      </a:lnTo>
                      <a:lnTo>
                        <a:pt x="250520" y="94310"/>
                      </a:lnTo>
                      <a:lnTo>
                        <a:pt x="255346" y="94310"/>
                      </a:lnTo>
                      <a:lnTo>
                        <a:pt x="257848" y="95161"/>
                      </a:lnTo>
                      <a:lnTo>
                        <a:pt x="257848" y="89217"/>
                      </a:lnTo>
                      <a:lnTo>
                        <a:pt x="256400" y="89103"/>
                      </a:lnTo>
                      <a:lnTo>
                        <a:pt x="244182" y="89103"/>
                      </a:lnTo>
                      <a:lnTo>
                        <a:pt x="244182" y="118973"/>
                      </a:lnTo>
                      <a:lnTo>
                        <a:pt x="250482" y="118973"/>
                      </a:lnTo>
                      <a:lnTo>
                        <a:pt x="250482" y="106362"/>
                      </a:lnTo>
                      <a:lnTo>
                        <a:pt x="258394" y="118973"/>
                      </a:lnTo>
                      <a:lnTo>
                        <a:pt x="266090" y="118973"/>
                      </a:lnTo>
                      <a:close/>
                    </a:path>
                    <a:path w="819150" h="120015">
                      <a:moveTo>
                        <a:pt x="298970" y="95072"/>
                      </a:moveTo>
                      <a:lnTo>
                        <a:pt x="298462" y="94564"/>
                      </a:lnTo>
                      <a:lnTo>
                        <a:pt x="292277" y="88506"/>
                      </a:lnTo>
                      <a:lnTo>
                        <a:pt x="292277" y="98666"/>
                      </a:lnTo>
                      <a:lnTo>
                        <a:pt x="292252" y="109575"/>
                      </a:lnTo>
                      <a:lnTo>
                        <a:pt x="288391" y="113639"/>
                      </a:lnTo>
                      <a:lnTo>
                        <a:pt x="277850" y="113639"/>
                      </a:lnTo>
                      <a:lnTo>
                        <a:pt x="273748" y="109575"/>
                      </a:lnTo>
                      <a:lnTo>
                        <a:pt x="273875" y="98666"/>
                      </a:lnTo>
                      <a:lnTo>
                        <a:pt x="277850" y="94564"/>
                      </a:lnTo>
                      <a:lnTo>
                        <a:pt x="288391" y="94564"/>
                      </a:lnTo>
                      <a:lnTo>
                        <a:pt x="292277" y="98666"/>
                      </a:lnTo>
                      <a:lnTo>
                        <a:pt x="292277" y="88506"/>
                      </a:lnTo>
                      <a:lnTo>
                        <a:pt x="292112" y="88341"/>
                      </a:lnTo>
                      <a:lnTo>
                        <a:pt x="273799" y="88341"/>
                      </a:lnTo>
                      <a:lnTo>
                        <a:pt x="267157" y="95072"/>
                      </a:lnTo>
                      <a:lnTo>
                        <a:pt x="267157" y="113385"/>
                      </a:lnTo>
                      <a:lnTo>
                        <a:pt x="273748" y="119735"/>
                      </a:lnTo>
                      <a:lnTo>
                        <a:pt x="292493" y="119735"/>
                      </a:lnTo>
                      <a:lnTo>
                        <a:pt x="298627" y="113639"/>
                      </a:lnTo>
                      <a:lnTo>
                        <a:pt x="298881" y="113385"/>
                      </a:lnTo>
                      <a:lnTo>
                        <a:pt x="298970" y="95072"/>
                      </a:lnTo>
                      <a:close/>
                    </a:path>
                    <a:path w="819150" h="120015">
                      <a:moveTo>
                        <a:pt x="301688" y="25"/>
                      </a:moveTo>
                      <a:lnTo>
                        <a:pt x="284149" y="25"/>
                      </a:lnTo>
                      <a:lnTo>
                        <a:pt x="284556" y="2070"/>
                      </a:lnTo>
                      <a:lnTo>
                        <a:pt x="284099" y="4254"/>
                      </a:lnTo>
                      <a:lnTo>
                        <a:pt x="257187" y="59550"/>
                      </a:lnTo>
                      <a:lnTo>
                        <a:pt x="272707" y="59550"/>
                      </a:lnTo>
                      <a:lnTo>
                        <a:pt x="301688" y="25"/>
                      </a:lnTo>
                      <a:close/>
                    </a:path>
                    <a:path w="819150" h="120015">
                      <a:moveTo>
                        <a:pt x="328663" y="89103"/>
                      </a:moveTo>
                      <a:lnTo>
                        <a:pt x="321640" y="89103"/>
                      </a:lnTo>
                      <a:lnTo>
                        <a:pt x="314159" y="110426"/>
                      </a:lnTo>
                      <a:lnTo>
                        <a:pt x="306666" y="89103"/>
                      </a:lnTo>
                      <a:lnTo>
                        <a:pt x="299554" y="89103"/>
                      </a:lnTo>
                      <a:lnTo>
                        <a:pt x="310730" y="118973"/>
                      </a:lnTo>
                      <a:lnTo>
                        <a:pt x="316992" y="118973"/>
                      </a:lnTo>
                      <a:lnTo>
                        <a:pt x="320332" y="110426"/>
                      </a:lnTo>
                      <a:lnTo>
                        <a:pt x="328663" y="89103"/>
                      </a:lnTo>
                      <a:close/>
                    </a:path>
                    <a:path w="819150" h="120015">
                      <a:moveTo>
                        <a:pt x="337553" y="89103"/>
                      </a:moveTo>
                      <a:lnTo>
                        <a:pt x="331038" y="89103"/>
                      </a:lnTo>
                      <a:lnTo>
                        <a:pt x="331038" y="118973"/>
                      </a:lnTo>
                      <a:lnTo>
                        <a:pt x="337553" y="118973"/>
                      </a:lnTo>
                      <a:lnTo>
                        <a:pt x="337553" y="89103"/>
                      </a:lnTo>
                      <a:close/>
                    </a:path>
                    <a:path w="819150" h="120015">
                      <a:moveTo>
                        <a:pt x="360603" y="89103"/>
                      </a:moveTo>
                      <a:lnTo>
                        <a:pt x="343636" y="89103"/>
                      </a:lnTo>
                      <a:lnTo>
                        <a:pt x="343636" y="118973"/>
                      </a:lnTo>
                      <a:lnTo>
                        <a:pt x="360565" y="118973"/>
                      </a:lnTo>
                      <a:lnTo>
                        <a:pt x="360565" y="113004"/>
                      </a:lnTo>
                      <a:lnTo>
                        <a:pt x="350113" y="113004"/>
                      </a:lnTo>
                      <a:lnTo>
                        <a:pt x="350113" y="106616"/>
                      </a:lnTo>
                      <a:lnTo>
                        <a:pt x="360349" y="106616"/>
                      </a:lnTo>
                      <a:lnTo>
                        <a:pt x="360349" y="100825"/>
                      </a:lnTo>
                      <a:lnTo>
                        <a:pt x="350113" y="100825"/>
                      </a:lnTo>
                      <a:lnTo>
                        <a:pt x="350113" y="94894"/>
                      </a:lnTo>
                      <a:lnTo>
                        <a:pt x="360603" y="94894"/>
                      </a:lnTo>
                      <a:lnTo>
                        <a:pt x="360603" y="89103"/>
                      </a:lnTo>
                      <a:close/>
                    </a:path>
                    <a:path w="819150" h="120015">
                      <a:moveTo>
                        <a:pt x="380733" y="139"/>
                      </a:moveTo>
                      <a:lnTo>
                        <a:pt x="320878" y="139"/>
                      </a:lnTo>
                      <a:lnTo>
                        <a:pt x="315163" y="11874"/>
                      </a:lnTo>
                      <a:lnTo>
                        <a:pt x="316801" y="10629"/>
                      </a:lnTo>
                      <a:lnTo>
                        <a:pt x="318998" y="9601"/>
                      </a:lnTo>
                      <a:lnTo>
                        <a:pt x="340512" y="9601"/>
                      </a:lnTo>
                      <a:lnTo>
                        <a:pt x="316166" y="59550"/>
                      </a:lnTo>
                      <a:lnTo>
                        <a:pt x="331635" y="59550"/>
                      </a:lnTo>
                      <a:lnTo>
                        <a:pt x="355993" y="9601"/>
                      </a:lnTo>
                      <a:lnTo>
                        <a:pt x="373214" y="9601"/>
                      </a:lnTo>
                      <a:lnTo>
                        <a:pt x="374408" y="10515"/>
                      </a:lnTo>
                      <a:lnTo>
                        <a:pt x="375056" y="11874"/>
                      </a:lnTo>
                      <a:lnTo>
                        <a:pt x="380733" y="139"/>
                      </a:lnTo>
                      <a:close/>
                    </a:path>
                    <a:path w="819150" h="120015">
                      <a:moveTo>
                        <a:pt x="401561" y="100736"/>
                      </a:moveTo>
                      <a:lnTo>
                        <a:pt x="400837" y="98158"/>
                      </a:lnTo>
                      <a:lnTo>
                        <a:pt x="398589" y="94310"/>
                      </a:lnTo>
                      <a:lnTo>
                        <a:pt x="395846" y="89611"/>
                      </a:lnTo>
                      <a:lnTo>
                        <a:pt x="395211" y="89560"/>
                      </a:lnTo>
                      <a:lnTo>
                        <a:pt x="395211" y="109880"/>
                      </a:lnTo>
                      <a:lnTo>
                        <a:pt x="392074" y="113728"/>
                      </a:lnTo>
                      <a:lnTo>
                        <a:pt x="384086" y="113728"/>
                      </a:lnTo>
                      <a:lnTo>
                        <a:pt x="384086" y="94310"/>
                      </a:lnTo>
                      <a:lnTo>
                        <a:pt x="387388" y="94310"/>
                      </a:lnTo>
                      <a:lnTo>
                        <a:pt x="390055" y="94526"/>
                      </a:lnTo>
                      <a:lnTo>
                        <a:pt x="394322" y="97942"/>
                      </a:lnTo>
                      <a:lnTo>
                        <a:pt x="395147" y="100736"/>
                      </a:lnTo>
                      <a:lnTo>
                        <a:pt x="395211" y="109880"/>
                      </a:lnTo>
                      <a:lnTo>
                        <a:pt x="395211" y="89560"/>
                      </a:lnTo>
                      <a:lnTo>
                        <a:pt x="389928" y="89103"/>
                      </a:lnTo>
                      <a:lnTo>
                        <a:pt x="377571" y="89103"/>
                      </a:lnTo>
                      <a:lnTo>
                        <a:pt x="377571" y="118973"/>
                      </a:lnTo>
                      <a:lnTo>
                        <a:pt x="388785" y="118973"/>
                      </a:lnTo>
                      <a:lnTo>
                        <a:pt x="392671" y="118808"/>
                      </a:lnTo>
                      <a:lnTo>
                        <a:pt x="399364" y="113728"/>
                      </a:lnTo>
                      <a:lnTo>
                        <a:pt x="399859" y="113347"/>
                      </a:lnTo>
                      <a:lnTo>
                        <a:pt x="401561" y="108178"/>
                      </a:lnTo>
                      <a:lnTo>
                        <a:pt x="401561" y="100736"/>
                      </a:lnTo>
                      <a:close/>
                    </a:path>
                    <a:path w="819150" h="120015">
                      <a:moveTo>
                        <a:pt x="422668" y="89103"/>
                      </a:moveTo>
                      <a:lnTo>
                        <a:pt x="405701" y="89103"/>
                      </a:lnTo>
                      <a:lnTo>
                        <a:pt x="405701" y="118973"/>
                      </a:lnTo>
                      <a:lnTo>
                        <a:pt x="422630" y="118973"/>
                      </a:lnTo>
                      <a:lnTo>
                        <a:pt x="422630" y="113004"/>
                      </a:lnTo>
                      <a:lnTo>
                        <a:pt x="412178" y="113004"/>
                      </a:lnTo>
                      <a:lnTo>
                        <a:pt x="412178" y="106616"/>
                      </a:lnTo>
                      <a:lnTo>
                        <a:pt x="422414" y="106616"/>
                      </a:lnTo>
                      <a:lnTo>
                        <a:pt x="422414" y="100825"/>
                      </a:lnTo>
                      <a:lnTo>
                        <a:pt x="412178" y="100825"/>
                      </a:lnTo>
                      <a:lnTo>
                        <a:pt x="412178" y="94894"/>
                      </a:lnTo>
                      <a:lnTo>
                        <a:pt x="422668" y="94894"/>
                      </a:lnTo>
                      <a:lnTo>
                        <a:pt x="422668" y="89103"/>
                      </a:lnTo>
                      <a:close/>
                    </a:path>
                    <a:path w="819150" h="120015">
                      <a:moveTo>
                        <a:pt x="430745" y="59651"/>
                      </a:moveTo>
                      <a:lnTo>
                        <a:pt x="430047" y="46113"/>
                      </a:lnTo>
                      <a:lnTo>
                        <a:pt x="429564" y="36461"/>
                      </a:lnTo>
                      <a:lnTo>
                        <a:pt x="428320" y="12065"/>
                      </a:lnTo>
                      <a:lnTo>
                        <a:pt x="427710" y="203"/>
                      </a:lnTo>
                      <a:lnTo>
                        <a:pt x="416039" y="215"/>
                      </a:lnTo>
                      <a:lnTo>
                        <a:pt x="416039" y="36461"/>
                      </a:lnTo>
                      <a:lnTo>
                        <a:pt x="395351" y="36461"/>
                      </a:lnTo>
                      <a:lnTo>
                        <a:pt x="415544" y="12065"/>
                      </a:lnTo>
                      <a:lnTo>
                        <a:pt x="416039" y="36461"/>
                      </a:lnTo>
                      <a:lnTo>
                        <a:pt x="416039" y="215"/>
                      </a:lnTo>
                      <a:lnTo>
                        <a:pt x="411721" y="215"/>
                      </a:lnTo>
                      <a:lnTo>
                        <a:pt x="411721" y="1676"/>
                      </a:lnTo>
                      <a:lnTo>
                        <a:pt x="411200" y="3327"/>
                      </a:lnTo>
                      <a:lnTo>
                        <a:pt x="362661" y="59651"/>
                      </a:lnTo>
                      <a:lnTo>
                        <a:pt x="376224" y="59651"/>
                      </a:lnTo>
                      <a:lnTo>
                        <a:pt x="387388" y="46113"/>
                      </a:lnTo>
                      <a:lnTo>
                        <a:pt x="416255" y="46113"/>
                      </a:lnTo>
                      <a:lnTo>
                        <a:pt x="416547" y="59651"/>
                      </a:lnTo>
                      <a:lnTo>
                        <a:pt x="430745" y="59651"/>
                      </a:lnTo>
                      <a:close/>
                    </a:path>
                    <a:path w="819150" h="120015">
                      <a:moveTo>
                        <a:pt x="443611" y="113093"/>
                      </a:moveTo>
                      <a:lnTo>
                        <a:pt x="433412" y="113093"/>
                      </a:lnTo>
                      <a:lnTo>
                        <a:pt x="433412" y="89103"/>
                      </a:lnTo>
                      <a:lnTo>
                        <a:pt x="426897" y="89103"/>
                      </a:lnTo>
                      <a:lnTo>
                        <a:pt x="426897" y="118973"/>
                      </a:lnTo>
                      <a:lnTo>
                        <a:pt x="443611" y="118973"/>
                      </a:lnTo>
                      <a:lnTo>
                        <a:pt x="443611" y="113093"/>
                      </a:lnTo>
                      <a:close/>
                    </a:path>
                    <a:path w="819150" h="120015">
                      <a:moveTo>
                        <a:pt x="463867" y="113093"/>
                      </a:moveTo>
                      <a:lnTo>
                        <a:pt x="453669" y="113093"/>
                      </a:lnTo>
                      <a:lnTo>
                        <a:pt x="453669" y="89103"/>
                      </a:lnTo>
                      <a:lnTo>
                        <a:pt x="447154" y="89103"/>
                      </a:lnTo>
                      <a:lnTo>
                        <a:pt x="447154" y="118973"/>
                      </a:lnTo>
                      <a:lnTo>
                        <a:pt x="463867" y="118973"/>
                      </a:lnTo>
                      <a:lnTo>
                        <a:pt x="463867" y="113093"/>
                      </a:lnTo>
                      <a:close/>
                    </a:path>
                    <a:path w="819150" h="120015">
                      <a:moveTo>
                        <a:pt x="497217" y="48171"/>
                      </a:moveTo>
                      <a:lnTo>
                        <a:pt x="496036" y="49314"/>
                      </a:lnTo>
                      <a:lnTo>
                        <a:pt x="492810" y="50126"/>
                      </a:lnTo>
                      <a:lnTo>
                        <a:pt x="467842" y="50126"/>
                      </a:lnTo>
                      <a:lnTo>
                        <a:pt x="492163" y="0"/>
                      </a:lnTo>
                      <a:lnTo>
                        <a:pt x="474751" y="0"/>
                      </a:lnTo>
                      <a:lnTo>
                        <a:pt x="475145" y="2032"/>
                      </a:lnTo>
                      <a:lnTo>
                        <a:pt x="474687" y="4203"/>
                      </a:lnTo>
                      <a:lnTo>
                        <a:pt x="447751" y="59550"/>
                      </a:lnTo>
                      <a:lnTo>
                        <a:pt x="491680" y="59550"/>
                      </a:lnTo>
                      <a:lnTo>
                        <a:pt x="497217" y="48171"/>
                      </a:lnTo>
                      <a:close/>
                    </a:path>
                    <a:path w="819150" h="120015">
                      <a:moveTo>
                        <a:pt x="497255" y="95072"/>
                      </a:moveTo>
                      <a:lnTo>
                        <a:pt x="496747" y="94564"/>
                      </a:lnTo>
                      <a:lnTo>
                        <a:pt x="490562" y="88506"/>
                      </a:lnTo>
                      <a:lnTo>
                        <a:pt x="490562" y="98666"/>
                      </a:lnTo>
                      <a:lnTo>
                        <a:pt x="490537" y="109575"/>
                      </a:lnTo>
                      <a:lnTo>
                        <a:pt x="486676" y="113639"/>
                      </a:lnTo>
                      <a:lnTo>
                        <a:pt x="476135" y="113639"/>
                      </a:lnTo>
                      <a:lnTo>
                        <a:pt x="472033" y="109575"/>
                      </a:lnTo>
                      <a:lnTo>
                        <a:pt x="472160" y="98666"/>
                      </a:lnTo>
                      <a:lnTo>
                        <a:pt x="476135" y="94564"/>
                      </a:lnTo>
                      <a:lnTo>
                        <a:pt x="486676" y="94564"/>
                      </a:lnTo>
                      <a:lnTo>
                        <a:pt x="490562" y="98666"/>
                      </a:lnTo>
                      <a:lnTo>
                        <a:pt x="490562" y="88506"/>
                      </a:lnTo>
                      <a:lnTo>
                        <a:pt x="490397" y="88341"/>
                      </a:lnTo>
                      <a:lnTo>
                        <a:pt x="472071" y="88341"/>
                      </a:lnTo>
                      <a:lnTo>
                        <a:pt x="465442" y="95072"/>
                      </a:lnTo>
                      <a:lnTo>
                        <a:pt x="465442" y="113385"/>
                      </a:lnTo>
                      <a:lnTo>
                        <a:pt x="472033" y="119735"/>
                      </a:lnTo>
                      <a:lnTo>
                        <a:pt x="490778" y="119735"/>
                      </a:lnTo>
                      <a:lnTo>
                        <a:pt x="496912" y="113639"/>
                      </a:lnTo>
                      <a:lnTo>
                        <a:pt x="497166" y="113385"/>
                      </a:lnTo>
                      <a:lnTo>
                        <a:pt x="497255" y="95072"/>
                      </a:lnTo>
                      <a:close/>
                    </a:path>
                    <a:path w="819150" h="120015">
                      <a:moveTo>
                        <a:pt x="531228" y="100533"/>
                      </a:moveTo>
                      <a:lnTo>
                        <a:pt x="519201" y="101422"/>
                      </a:lnTo>
                      <a:lnTo>
                        <a:pt x="519201" y="95199"/>
                      </a:lnTo>
                      <a:lnTo>
                        <a:pt x="520522" y="94145"/>
                      </a:lnTo>
                      <a:lnTo>
                        <a:pt x="524065" y="94145"/>
                      </a:lnTo>
                      <a:lnTo>
                        <a:pt x="525335" y="95453"/>
                      </a:lnTo>
                      <a:lnTo>
                        <a:pt x="526478" y="96977"/>
                      </a:lnTo>
                      <a:lnTo>
                        <a:pt x="529005" y="94145"/>
                      </a:lnTo>
                      <a:lnTo>
                        <a:pt x="530631" y="92316"/>
                      </a:lnTo>
                      <a:lnTo>
                        <a:pt x="528091" y="89700"/>
                      </a:lnTo>
                      <a:lnTo>
                        <a:pt x="525856" y="88303"/>
                      </a:lnTo>
                      <a:lnTo>
                        <a:pt x="516966" y="88303"/>
                      </a:lnTo>
                      <a:lnTo>
                        <a:pt x="512432" y="91605"/>
                      </a:lnTo>
                      <a:lnTo>
                        <a:pt x="512432" y="102057"/>
                      </a:lnTo>
                      <a:lnTo>
                        <a:pt x="516458" y="104508"/>
                      </a:lnTo>
                      <a:lnTo>
                        <a:pt x="520522" y="106451"/>
                      </a:lnTo>
                      <a:lnTo>
                        <a:pt x="523227" y="108013"/>
                      </a:lnTo>
                      <a:lnTo>
                        <a:pt x="524408" y="110553"/>
                      </a:lnTo>
                      <a:lnTo>
                        <a:pt x="524408" y="112674"/>
                      </a:lnTo>
                      <a:lnTo>
                        <a:pt x="522668" y="114109"/>
                      </a:lnTo>
                      <a:lnTo>
                        <a:pt x="518198" y="114109"/>
                      </a:lnTo>
                      <a:lnTo>
                        <a:pt x="516547" y="112458"/>
                      </a:lnTo>
                      <a:lnTo>
                        <a:pt x="515023" y="110718"/>
                      </a:lnTo>
                      <a:lnTo>
                        <a:pt x="510794" y="115379"/>
                      </a:lnTo>
                      <a:lnTo>
                        <a:pt x="513499" y="117995"/>
                      </a:lnTo>
                      <a:lnTo>
                        <a:pt x="516496" y="119659"/>
                      </a:lnTo>
                      <a:lnTo>
                        <a:pt x="526275" y="119659"/>
                      </a:lnTo>
                      <a:lnTo>
                        <a:pt x="531228" y="116090"/>
                      </a:lnTo>
                      <a:lnTo>
                        <a:pt x="531228" y="114109"/>
                      </a:lnTo>
                      <a:lnTo>
                        <a:pt x="531228" y="101422"/>
                      </a:lnTo>
                      <a:lnTo>
                        <a:pt x="531228" y="100533"/>
                      </a:lnTo>
                      <a:close/>
                    </a:path>
                    <a:path w="819150" h="120015">
                      <a:moveTo>
                        <a:pt x="552246" y="89103"/>
                      </a:moveTo>
                      <a:lnTo>
                        <a:pt x="532993" y="89103"/>
                      </a:lnTo>
                      <a:lnTo>
                        <a:pt x="532993" y="94945"/>
                      </a:lnTo>
                      <a:lnTo>
                        <a:pt x="539381" y="94945"/>
                      </a:lnTo>
                      <a:lnTo>
                        <a:pt x="539381" y="118973"/>
                      </a:lnTo>
                      <a:lnTo>
                        <a:pt x="545858" y="118973"/>
                      </a:lnTo>
                      <a:lnTo>
                        <a:pt x="545858" y="94856"/>
                      </a:lnTo>
                      <a:lnTo>
                        <a:pt x="552246" y="94856"/>
                      </a:lnTo>
                      <a:lnTo>
                        <a:pt x="552246" y="89103"/>
                      </a:lnTo>
                      <a:close/>
                    </a:path>
                    <a:path w="819150" h="120015">
                      <a:moveTo>
                        <a:pt x="581698" y="118973"/>
                      </a:moveTo>
                      <a:lnTo>
                        <a:pt x="579221" y="112928"/>
                      </a:lnTo>
                      <a:lnTo>
                        <a:pt x="576910" y="107302"/>
                      </a:lnTo>
                      <a:lnTo>
                        <a:pt x="572046" y="95491"/>
                      </a:lnTo>
                      <a:lnTo>
                        <a:pt x="570179" y="90957"/>
                      </a:lnTo>
                      <a:lnTo>
                        <a:pt x="570179" y="107302"/>
                      </a:lnTo>
                      <a:lnTo>
                        <a:pt x="561975" y="107302"/>
                      </a:lnTo>
                      <a:lnTo>
                        <a:pt x="565988" y="95491"/>
                      </a:lnTo>
                      <a:lnTo>
                        <a:pt x="570179" y="107302"/>
                      </a:lnTo>
                      <a:lnTo>
                        <a:pt x="570179" y="90957"/>
                      </a:lnTo>
                      <a:lnTo>
                        <a:pt x="569417" y="89103"/>
                      </a:lnTo>
                      <a:lnTo>
                        <a:pt x="562521" y="89103"/>
                      </a:lnTo>
                      <a:lnTo>
                        <a:pt x="550799" y="118973"/>
                      </a:lnTo>
                      <a:lnTo>
                        <a:pt x="557745" y="118973"/>
                      </a:lnTo>
                      <a:lnTo>
                        <a:pt x="559943" y="112928"/>
                      </a:lnTo>
                      <a:lnTo>
                        <a:pt x="572338" y="112928"/>
                      </a:lnTo>
                      <a:lnTo>
                        <a:pt x="574662" y="118973"/>
                      </a:lnTo>
                      <a:lnTo>
                        <a:pt x="581698" y="118973"/>
                      </a:lnTo>
                      <a:close/>
                    </a:path>
                    <a:path w="819150" h="120015">
                      <a:moveTo>
                        <a:pt x="589673" y="381"/>
                      </a:moveTo>
                      <a:lnTo>
                        <a:pt x="537540" y="381"/>
                      </a:lnTo>
                      <a:lnTo>
                        <a:pt x="537959" y="2400"/>
                      </a:lnTo>
                      <a:lnTo>
                        <a:pt x="537514" y="4559"/>
                      </a:lnTo>
                      <a:lnTo>
                        <a:pt x="510730" y="59550"/>
                      </a:lnTo>
                      <a:lnTo>
                        <a:pt x="526453" y="59550"/>
                      </a:lnTo>
                      <a:lnTo>
                        <a:pt x="539280" y="33210"/>
                      </a:lnTo>
                      <a:lnTo>
                        <a:pt x="566635" y="33210"/>
                      </a:lnTo>
                      <a:lnTo>
                        <a:pt x="567855" y="34124"/>
                      </a:lnTo>
                      <a:lnTo>
                        <a:pt x="568515" y="35471"/>
                      </a:lnTo>
                      <a:lnTo>
                        <a:pt x="574179" y="23850"/>
                      </a:lnTo>
                      <a:lnTo>
                        <a:pt x="543839" y="23850"/>
                      </a:lnTo>
                      <a:lnTo>
                        <a:pt x="550710" y="9740"/>
                      </a:lnTo>
                      <a:lnTo>
                        <a:pt x="582117" y="9740"/>
                      </a:lnTo>
                      <a:lnTo>
                        <a:pt x="583349" y="10655"/>
                      </a:lnTo>
                      <a:lnTo>
                        <a:pt x="584009" y="12026"/>
                      </a:lnTo>
                      <a:lnTo>
                        <a:pt x="589673" y="381"/>
                      </a:lnTo>
                      <a:close/>
                    </a:path>
                    <a:path w="819150" h="120015">
                      <a:moveTo>
                        <a:pt x="599287" y="89103"/>
                      </a:moveTo>
                      <a:lnTo>
                        <a:pt x="580034" y="89103"/>
                      </a:lnTo>
                      <a:lnTo>
                        <a:pt x="580034" y="94945"/>
                      </a:lnTo>
                      <a:lnTo>
                        <a:pt x="586422" y="94945"/>
                      </a:lnTo>
                      <a:lnTo>
                        <a:pt x="586422" y="118973"/>
                      </a:lnTo>
                      <a:lnTo>
                        <a:pt x="592899" y="118973"/>
                      </a:lnTo>
                      <a:lnTo>
                        <a:pt x="592899" y="94856"/>
                      </a:lnTo>
                      <a:lnTo>
                        <a:pt x="599287" y="94856"/>
                      </a:lnTo>
                      <a:lnTo>
                        <a:pt x="599287" y="89103"/>
                      </a:lnTo>
                      <a:close/>
                    </a:path>
                    <a:path w="819150" h="120015">
                      <a:moveTo>
                        <a:pt x="631901" y="95072"/>
                      </a:moveTo>
                      <a:lnTo>
                        <a:pt x="631393" y="94564"/>
                      </a:lnTo>
                      <a:lnTo>
                        <a:pt x="625221" y="88506"/>
                      </a:lnTo>
                      <a:lnTo>
                        <a:pt x="625221" y="98666"/>
                      </a:lnTo>
                      <a:lnTo>
                        <a:pt x="625195" y="109575"/>
                      </a:lnTo>
                      <a:lnTo>
                        <a:pt x="621334" y="113639"/>
                      </a:lnTo>
                      <a:lnTo>
                        <a:pt x="610793" y="113639"/>
                      </a:lnTo>
                      <a:lnTo>
                        <a:pt x="606691" y="109575"/>
                      </a:lnTo>
                      <a:lnTo>
                        <a:pt x="606818" y="98666"/>
                      </a:lnTo>
                      <a:lnTo>
                        <a:pt x="610793" y="94564"/>
                      </a:lnTo>
                      <a:lnTo>
                        <a:pt x="621334" y="94564"/>
                      </a:lnTo>
                      <a:lnTo>
                        <a:pt x="625221" y="98666"/>
                      </a:lnTo>
                      <a:lnTo>
                        <a:pt x="625221" y="88506"/>
                      </a:lnTo>
                      <a:lnTo>
                        <a:pt x="625055" y="88341"/>
                      </a:lnTo>
                      <a:lnTo>
                        <a:pt x="606729" y="88341"/>
                      </a:lnTo>
                      <a:lnTo>
                        <a:pt x="600087" y="95072"/>
                      </a:lnTo>
                      <a:lnTo>
                        <a:pt x="600087" y="113385"/>
                      </a:lnTo>
                      <a:lnTo>
                        <a:pt x="606691" y="119735"/>
                      </a:lnTo>
                      <a:lnTo>
                        <a:pt x="625436" y="119735"/>
                      </a:lnTo>
                      <a:lnTo>
                        <a:pt x="631558" y="113639"/>
                      </a:lnTo>
                      <a:lnTo>
                        <a:pt x="631812" y="113385"/>
                      </a:lnTo>
                      <a:lnTo>
                        <a:pt x="631901" y="95072"/>
                      </a:lnTo>
                      <a:close/>
                    </a:path>
                    <a:path w="819150" h="120015">
                      <a:moveTo>
                        <a:pt x="654075" y="89103"/>
                      </a:moveTo>
                      <a:lnTo>
                        <a:pt x="647560" y="89103"/>
                      </a:lnTo>
                      <a:lnTo>
                        <a:pt x="647560" y="118973"/>
                      </a:lnTo>
                      <a:lnTo>
                        <a:pt x="654075" y="118973"/>
                      </a:lnTo>
                      <a:lnTo>
                        <a:pt x="654075" y="89103"/>
                      </a:lnTo>
                      <a:close/>
                    </a:path>
                    <a:path w="819150" h="120015">
                      <a:moveTo>
                        <a:pt x="661898" y="406"/>
                      </a:moveTo>
                      <a:lnTo>
                        <a:pt x="609625" y="406"/>
                      </a:lnTo>
                      <a:lnTo>
                        <a:pt x="610031" y="2425"/>
                      </a:lnTo>
                      <a:lnTo>
                        <a:pt x="609600" y="4584"/>
                      </a:lnTo>
                      <a:lnTo>
                        <a:pt x="582828" y="59575"/>
                      </a:lnTo>
                      <a:lnTo>
                        <a:pt x="641451" y="59575"/>
                      </a:lnTo>
                      <a:lnTo>
                        <a:pt x="646950" y="48272"/>
                      </a:lnTo>
                      <a:lnTo>
                        <a:pt x="645756" y="49415"/>
                      </a:lnTo>
                      <a:lnTo>
                        <a:pt x="642480" y="50228"/>
                      </a:lnTo>
                      <a:lnTo>
                        <a:pt x="603097" y="50215"/>
                      </a:lnTo>
                      <a:lnTo>
                        <a:pt x="611378" y="33235"/>
                      </a:lnTo>
                      <a:lnTo>
                        <a:pt x="638848" y="33223"/>
                      </a:lnTo>
                      <a:lnTo>
                        <a:pt x="640067" y="34137"/>
                      </a:lnTo>
                      <a:lnTo>
                        <a:pt x="640727" y="35509"/>
                      </a:lnTo>
                      <a:lnTo>
                        <a:pt x="646391" y="23876"/>
                      </a:lnTo>
                      <a:lnTo>
                        <a:pt x="615937" y="23888"/>
                      </a:lnTo>
                      <a:lnTo>
                        <a:pt x="622808" y="9766"/>
                      </a:lnTo>
                      <a:lnTo>
                        <a:pt x="654329" y="9766"/>
                      </a:lnTo>
                      <a:lnTo>
                        <a:pt x="655561" y="10680"/>
                      </a:lnTo>
                      <a:lnTo>
                        <a:pt x="656221" y="12039"/>
                      </a:lnTo>
                      <a:lnTo>
                        <a:pt x="661898" y="406"/>
                      </a:lnTo>
                      <a:close/>
                    </a:path>
                    <a:path w="819150" h="120015">
                      <a:moveTo>
                        <a:pt x="676325" y="89103"/>
                      </a:moveTo>
                      <a:lnTo>
                        <a:pt x="657072" y="89103"/>
                      </a:lnTo>
                      <a:lnTo>
                        <a:pt x="657072" y="94945"/>
                      </a:lnTo>
                      <a:lnTo>
                        <a:pt x="663460" y="94945"/>
                      </a:lnTo>
                      <a:lnTo>
                        <a:pt x="663460" y="118973"/>
                      </a:lnTo>
                      <a:lnTo>
                        <a:pt x="669937" y="118973"/>
                      </a:lnTo>
                      <a:lnTo>
                        <a:pt x="669937" y="94856"/>
                      </a:lnTo>
                      <a:lnTo>
                        <a:pt x="676325" y="94856"/>
                      </a:lnTo>
                      <a:lnTo>
                        <a:pt x="676325" y="89103"/>
                      </a:lnTo>
                      <a:close/>
                    </a:path>
                    <a:path w="819150" h="120015">
                      <a:moveTo>
                        <a:pt x="705764" y="118973"/>
                      </a:moveTo>
                      <a:lnTo>
                        <a:pt x="703287" y="112928"/>
                      </a:lnTo>
                      <a:lnTo>
                        <a:pt x="700976" y="107302"/>
                      </a:lnTo>
                      <a:lnTo>
                        <a:pt x="696125" y="95491"/>
                      </a:lnTo>
                      <a:lnTo>
                        <a:pt x="694258" y="90957"/>
                      </a:lnTo>
                      <a:lnTo>
                        <a:pt x="694258" y="107302"/>
                      </a:lnTo>
                      <a:lnTo>
                        <a:pt x="686054" y="107302"/>
                      </a:lnTo>
                      <a:lnTo>
                        <a:pt x="690067" y="95491"/>
                      </a:lnTo>
                      <a:lnTo>
                        <a:pt x="694258" y="107302"/>
                      </a:lnTo>
                      <a:lnTo>
                        <a:pt x="694258" y="90957"/>
                      </a:lnTo>
                      <a:lnTo>
                        <a:pt x="693496" y="89103"/>
                      </a:lnTo>
                      <a:lnTo>
                        <a:pt x="686600" y="89103"/>
                      </a:lnTo>
                      <a:lnTo>
                        <a:pt x="674878" y="118973"/>
                      </a:lnTo>
                      <a:lnTo>
                        <a:pt x="681812" y="118973"/>
                      </a:lnTo>
                      <a:lnTo>
                        <a:pt x="684022" y="112928"/>
                      </a:lnTo>
                      <a:lnTo>
                        <a:pt x="696417" y="112928"/>
                      </a:lnTo>
                      <a:lnTo>
                        <a:pt x="698741" y="118973"/>
                      </a:lnTo>
                      <a:lnTo>
                        <a:pt x="705764" y="118973"/>
                      </a:lnTo>
                      <a:close/>
                    </a:path>
                    <a:path w="819150" h="120015">
                      <a:moveTo>
                        <a:pt x="725004" y="113093"/>
                      </a:moveTo>
                      <a:lnTo>
                        <a:pt x="714819" y="113093"/>
                      </a:lnTo>
                      <a:lnTo>
                        <a:pt x="714819" y="89103"/>
                      </a:lnTo>
                      <a:lnTo>
                        <a:pt x="708304" y="89103"/>
                      </a:lnTo>
                      <a:lnTo>
                        <a:pt x="708304" y="118973"/>
                      </a:lnTo>
                      <a:lnTo>
                        <a:pt x="725004" y="118973"/>
                      </a:lnTo>
                      <a:lnTo>
                        <a:pt x="725004" y="113093"/>
                      </a:lnTo>
                      <a:close/>
                    </a:path>
                    <a:path w="819150" h="120015">
                      <a:moveTo>
                        <a:pt x="734999" y="89103"/>
                      </a:moveTo>
                      <a:lnTo>
                        <a:pt x="728484" y="89103"/>
                      </a:lnTo>
                      <a:lnTo>
                        <a:pt x="728484" y="118973"/>
                      </a:lnTo>
                      <a:lnTo>
                        <a:pt x="734999" y="118973"/>
                      </a:lnTo>
                      <a:lnTo>
                        <a:pt x="734999" y="89103"/>
                      </a:lnTo>
                      <a:close/>
                    </a:path>
                    <a:path w="819150" h="120015">
                      <a:moveTo>
                        <a:pt x="736092" y="14300"/>
                      </a:moveTo>
                      <a:lnTo>
                        <a:pt x="736053" y="9817"/>
                      </a:lnTo>
                      <a:lnTo>
                        <a:pt x="735965" y="254"/>
                      </a:lnTo>
                      <a:lnTo>
                        <a:pt x="724433" y="419"/>
                      </a:lnTo>
                      <a:lnTo>
                        <a:pt x="721067" y="419"/>
                      </a:lnTo>
                      <a:lnTo>
                        <a:pt x="721067" y="20459"/>
                      </a:lnTo>
                      <a:lnTo>
                        <a:pt x="715416" y="25755"/>
                      </a:lnTo>
                      <a:lnTo>
                        <a:pt x="692315" y="25755"/>
                      </a:lnTo>
                      <a:lnTo>
                        <a:pt x="700087" y="9817"/>
                      </a:lnTo>
                      <a:lnTo>
                        <a:pt x="719467" y="9817"/>
                      </a:lnTo>
                      <a:lnTo>
                        <a:pt x="720979" y="12458"/>
                      </a:lnTo>
                      <a:lnTo>
                        <a:pt x="721067" y="20459"/>
                      </a:lnTo>
                      <a:lnTo>
                        <a:pt x="721067" y="419"/>
                      </a:lnTo>
                      <a:lnTo>
                        <a:pt x="686917" y="419"/>
                      </a:lnTo>
                      <a:lnTo>
                        <a:pt x="687311" y="2451"/>
                      </a:lnTo>
                      <a:lnTo>
                        <a:pt x="686854" y="4622"/>
                      </a:lnTo>
                      <a:lnTo>
                        <a:pt x="660120" y="59575"/>
                      </a:lnTo>
                      <a:lnTo>
                        <a:pt x="675830" y="59575"/>
                      </a:lnTo>
                      <a:lnTo>
                        <a:pt x="687755" y="35115"/>
                      </a:lnTo>
                      <a:lnTo>
                        <a:pt x="704202" y="35115"/>
                      </a:lnTo>
                      <a:lnTo>
                        <a:pt x="709422" y="59575"/>
                      </a:lnTo>
                      <a:lnTo>
                        <a:pt x="726313" y="59575"/>
                      </a:lnTo>
                      <a:lnTo>
                        <a:pt x="725284" y="58966"/>
                      </a:lnTo>
                      <a:lnTo>
                        <a:pt x="723938" y="57492"/>
                      </a:lnTo>
                      <a:lnTo>
                        <a:pt x="718680" y="35115"/>
                      </a:lnTo>
                      <a:lnTo>
                        <a:pt x="718642" y="34963"/>
                      </a:lnTo>
                      <a:lnTo>
                        <a:pt x="723595" y="33197"/>
                      </a:lnTo>
                      <a:lnTo>
                        <a:pt x="729386" y="29070"/>
                      </a:lnTo>
                      <a:lnTo>
                        <a:pt x="731888" y="25755"/>
                      </a:lnTo>
                      <a:lnTo>
                        <a:pt x="734161" y="22733"/>
                      </a:lnTo>
                      <a:lnTo>
                        <a:pt x="736092" y="14300"/>
                      </a:lnTo>
                      <a:close/>
                    </a:path>
                    <a:path w="819150" h="120015">
                      <a:moveTo>
                        <a:pt x="768324" y="118973"/>
                      </a:moveTo>
                      <a:lnTo>
                        <a:pt x="765848" y="112928"/>
                      </a:lnTo>
                      <a:lnTo>
                        <a:pt x="763536" y="107302"/>
                      </a:lnTo>
                      <a:lnTo>
                        <a:pt x="758698" y="95491"/>
                      </a:lnTo>
                      <a:lnTo>
                        <a:pt x="756831" y="90957"/>
                      </a:lnTo>
                      <a:lnTo>
                        <a:pt x="756831" y="107302"/>
                      </a:lnTo>
                      <a:lnTo>
                        <a:pt x="748614" y="107302"/>
                      </a:lnTo>
                      <a:lnTo>
                        <a:pt x="752640" y="95491"/>
                      </a:lnTo>
                      <a:lnTo>
                        <a:pt x="756831" y="107302"/>
                      </a:lnTo>
                      <a:lnTo>
                        <a:pt x="756831" y="90957"/>
                      </a:lnTo>
                      <a:lnTo>
                        <a:pt x="756069" y="89103"/>
                      </a:lnTo>
                      <a:lnTo>
                        <a:pt x="749173" y="89103"/>
                      </a:lnTo>
                      <a:lnTo>
                        <a:pt x="737438" y="118973"/>
                      </a:lnTo>
                      <a:lnTo>
                        <a:pt x="744385" y="118973"/>
                      </a:lnTo>
                      <a:lnTo>
                        <a:pt x="746594" y="112928"/>
                      </a:lnTo>
                      <a:lnTo>
                        <a:pt x="758977" y="112928"/>
                      </a:lnTo>
                      <a:lnTo>
                        <a:pt x="761314" y="118973"/>
                      </a:lnTo>
                      <a:lnTo>
                        <a:pt x="768324" y="118973"/>
                      </a:lnTo>
                      <a:close/>
                    </a:path>
                    <a:path w="819150" h="120015">
                      <a:moveTo>
                        <a:pt x="796683" y="89103"/>
                      </a:moveTo>
                      <a:lnTo>
                        <a:pt x="790587" y="89103"/>
                      </a:lnTo>
                      <a:lnTo>
                        <a:pt x="790714" y="108775"/>
                      </a:lnTo>
                      <a:lnTo>
                        <a:pt x="783742" y="98920"/>
                      </a:lnTo>
                      <a:lnTo>
                        <a:pt x="776795" y="89103"/>
                      </a:lnTo>
                      <a:lnTo>
                        <a:pt x="770915" y="89103"/>
                      </a:lnTo>
                      <a:lnTo>
                        <a:pt x="770915" y="118973"/>
                      </a:lnTo>
                      <a:lnTo>
                        <a:pt x="777049" y="118973"/>
                      </a:lnTo>
                      <a:lnTo>
                        <a:pt x="776871" y="98920"/>
                      </a:lnTo>
                      <a:lnTo>
                        <a:pt x="790879" y="118973"/>
                      </a:lnTo>
                      <a:lnTo>
                        <a:pt x="796683" y="118973"/>
                      </a:lnTo>
                      <a:lnTo>
                        <a:pt x="796683" y="108775"/>
                      </a:lnTo>
                      <a:lnTo>
                        <a:pt x="796683" y="89103"/>
                      </a:lnTo>
                      <a:close/>
                    </a:path>
                    <a:path w="819150" h="120015">
                      <a:moveTo>
                        <a:pt x="818070" y="14300"/>
                      </a:moveTo>
                      <a:lnTo>
                        <a:pt x="818032" y="9817"/>
                      </a:lnTo>
                      <a:lnTo>
                        <a:pt x="817943" y="254"/>
                      </a:lnTo>
                      <a:lnTo>
                        <a:pt x="806411" y="419"/>
                      </a:lnTo>
                      <a:lnTo>
                        <a:pt x="803033" y="419"/>
                      </a:lnTo>
                      <a:lnTo>
                        <a:pt x="803033" y="20459"/>
                      </a:lnTo>
                      <a:lnTo>
                        <a:pt x="797394" y="25755"/>
                      </a:lnTo>
                      <a:lnTo>
                        <a:pt x="774280" y="25755"/>
                      </a:lnTo>
                      <a:lnTo>
                        <a:pt x="782078" y="9817"/>
                      </a:lnTo>
                      <a:lnTo>
                        <a:pt x="801446" y="9817"/>
                      </a:lnTo>
                      <a:lnTo>
                        <a:pt x="802957" y="12458"/>
                      </a:lnTo>
                      <a:lnTo>
                        <a:pt x="803033" y="20459"/>
                      </a:lnTo>
                      <a:lnTo>
                        <a:pt x="803033" y="419"/>
                      </a:lnTo>
                      <a:lnTo>
                        <a:pt x="768896" y="419"/>
                      </a:lnTo>
                      <a:lnTo>
                        <a:pt x="769289" y="2451"/>
                      </a:lnTo>
                      <a:lnTo>
                        <a:pt x="768832" y="4622"/>
                      </a:lnTo>
                      <a:lnTo>
                        <a:pt x="742099" y="59575"/>
                      </a:lnTo>
                      <a:lnTo>
                        <a:pt x="757821" y="59575"/>
                      </a:lnTo>
                      <a:lnTo>
                        <a:pt x="769734" y="35115"/>
                      </a:lnTo>
                      <a:lnTo>
                        <a:pt x="786180" y="35115"/>
                      </a:lnTo>
                      <a:lnTo>
                        <a:pt x="791400" y="59575"/>
                      </a:lnTo>
                      <a:lnTo>
                        <a:pt x="808291" y="59575"/>
                      </a:lnTo>
                      <a:lnTo>
                        <a:pt x="807275" y="58966"/>
                      </a:lnTo>
                      <a:lnTo>
                        <a:pt x="805903" y="57492"/>
                      </a:lnTo>
                      <a:lnTo>
                        <a:pt x="805408" y="55321"/>
                      </a:lnTo>
                      <a:lnTo>
                        <a:pt x="800658" y="35115"/>
                      </a:lnTo>
                      <a:lnTo>
                        <a:pt x="800620" y="34963"/>
                      </a:lnTo>
                      <a:lnTo>
                        <a:pt x="805573" y="33197"/>
                      </a:lnTo>
                      <a:lnTo>
                        <a:pt x="811352" y="29070"/>
                      </a:lnTo>
                      <a:lnTo>
                        <a:pt x="813854" y="25755"/>
                      </a:lnTo>
                      <a:lnTo>
                        <a:pt x="816127" y="22733"/>
                      </a:lnTo>
                      <a:lnTo>
                        <a:pt x="818070" y="14300"/>
                      </a:lnTo>
                      <a:close/>
                    </a:path>
                    <a:path w="819150" h="120015">
                      <a:moveTo>
                        <a:pt x="818629" y="89103"/>
                      </a:moveTo>
                      <a:lnTo>
                        <a:pt x="801662" y="89103"/>
                      </a:lnTo>
                      <a:lnTo>
                        <a:pt x="801662" y="118973"/>
                      </a:lnTo>
                      <a:lnTo>
                        <a:pt x="818591" y="118973"/>
                      </a:lnTo>
                      <a:lnTo>
                        <a:pt x="818591" y="113004"/>
                      </a:lnTo>
                      <a:lnTo>
                        <a:pt x="808139" y="113004"/>
                      </a:lnTo>
                      <a:lnTo>
                        <a:pt x="808139" y="106616"/>
                      </a:lnTo>
                      <a:lnTo>
                        <a:pt x="818375" y="106616"/>
                      </a:lnTo>
                      <a:lnTo>
                        <a:pt x="818375" y="100825"/>
                      </a:lnTo>
                      <a:lnTo>
                        <a:pt x="808139" y="100825"/>
                      </a:lnTo>
                      <a:lnTo>
                        <a:pt x="808139" y="94894"/>
                      </a:lnTo>
                      <a:lnTo>
                        <a:pt x="818629" y="94894"/>
                      </a:lnTo>
                      <a:lnTo>
                        <a:pt x="818629" y="89103"/>
                      </a:lnTo>
                      <a:close/>
                    </a:path>
                  </a:pathLst>
                </a:custGeom>
                <a:solidFill>
                  <a:srgbClr val="006A65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444" name="object 252">
                  <a:extLst>
                    <a:ext uri="{FF2B5EF4-FFF2-40B4-BE49-F238E27FC236}">
                      <a16:creationId xmlns:a16="http://schemas.microsoft.com/office/drawing/2014/main" id="{AA1BB708-FEC9-0269-5110-D12449C23E2F}"/>
                    </a:ext>
                  </a:extLst>
                </p:cNvPr>
                <p:cNvPicPr/>
                <p:nvPr/>
              </p:nvPicPr>
              <p:blipFill>
                <a:blip r:embed="rId48" cstate="print"/>
                <a:stretch>
                  <a:fillRect/>
                </a:stretch>
              </p:blipFill>
              <p:spPr>
                <a:xfrm>
                  <a:off x="544771" y="1006552"/>
                  <a:ext cx="108127" cy="92824"/>
                </a:xfrm>
                <a:prstGeom prst="rect">
                  <a:avLst/>
                </a:prstGeom>
              </p:spPr>
            </p:pic>
            <p:pic>
              <p:nvPicPr>
                <p:cNvPr id="445" name="object 253">
                  <a:extLst>
                    <a:ext uri="{FF2B5EF4-FFF2-40B4-BE49-F238E27FC236}">
                      <a16:creationId xmlns:a16="http://schemas.microsoft.com/office/drawing/2014/main" id="{6429F485-5607-A71D-F669-A6D1B089BFDD}"/>
                    </a:ext>
                  </a:extLst>
                </p:cNvPr>
                <p:cNvPicPr/>
                <p:nvPr/>
              </p:nvPicPr>
              <p:blipFill>
                <a:blip r:embed="rId49" cstate="print"/>
                <a:stretch>
                  <a:fillRect/>
                </a:stretch>
              </p:blipFill>
              <p:spPr>
                <a:xfrm>
                  <a:off x="601666" y="917087"/>
                  <a:ext cx="230759" cy="67017"/>
                </a:xfrm>
                <a:prstGeom prst="rect">
                  <a:avLst/>
                </a:prstGeom>
              </p:spPr>
            </p:pic>
            <p:sp>
              <p:nvSpPr>
                <p:cNvPr id="446" name="object 254">
                  <a:extLst>
                    <a:ext uri="{FF2B5EF4-FFF2-40B4-BE49-F238E27FC236}">
                      <a16:creationId xmlns:a16="http://schemas.microsoft.com/office/drawing/2014/main" id="{A06AFE08-3080-6689-A584-A0AA9B1DF9A8}"/>
                    </a:ext>
                  </a:extLst>
                </p:cNvPr>
                <p:cNvSpPr/>
                <p:nvPr/>
              </p:nvSpPr>
              <p:spPr>
                <a:xfrm>
                  <a:off x="535862" y="996324"/>
                  <a:ext cx="257810" cy="1219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7809" h="121919">
                      <a:moveTo>
                        <a:pt x="257606" y="0"/>
                      </a:moveTo>
                      <a:lnTo>
                        <a:pt x="186766" y="4483"/>
                      </a:lnTo>
                      <a:lnTo>
                        <a:pt x="148148" y="26412"/>
                      </a:lnTo>
                      <a:lnTo>
                        <a:pt x="135293" y="65760"/>
                      </a:lnTo>
                      <a:lnTo>
                        <a:pt x="127900" y="82763"/>
                      </a:lnTo>
                      <a:lnTo>
                        <a:pt x="82105" y="110274"/>
                      </a:lnTo>
                      <a:lnTo>
                        <a:pt x="4216" y="113055"/>
                      </a:lnTo>
                      <a:lnTo>
                        <a:pt x="0" y="121653"/>
                      </a:lnTo>
                      <a:lnTo>
                        <a:pt x="116558" y="121603"/>
                      </a:lnTo>
                      <a:lnTo>
                        <a:pt x="161094" y="111017"/>
                      </a:lnTo>
                      <a:lnTo>
                        <a:pt x="192251" y="79848"/>
                      </a:lnTo>
                      <a:lnTo>
                        <a:pt x="201320" y="38138"/>
                      </a:lnTo>
                      <a:lnTo>
                        <a:pt x="204665" y="26867"/>
                      </a:lnTo>
                      <a:lnTo>
                        <a:pt x="211458" y="17613"/>
                      </a:lnTo>
                      <a:lnTo>
                        <a:pt x="220951" y="11118"/>
                      </a:lnTo>
                      <a:lnTo>
                        <a:pt x="232397" y="8127"/>
                      </a:lnTo>
                      <a:lnTo>
                        <a:pt x="254215" y="6781"/>
                      </a:lnTo>
                      <a:lnTo>
                        <a:pt x="257606" y="0"/>
                      </a:lnTo>
                      <a:close/>
                    </a:path>
                  </a:pathLst>
                </a:custGeom>
                <a:solidFill>
                  <a:srgbClr val="E31836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</p:grpSp>
          <p:sp>
            <p:nvSpPr>
              <p:cNvPr id="405" name="object 255">
                <a:extLst>
                  <a:ext uri="{FF2B5EF4-FFF2-40B4-BE49-F238E27FC236}">
                    <a16:creationId xmlns:a16="http://schemas.microsoft.com/office/drawing/2014/main" id="{51415988-6C37-BE70-216F-006CABA455E0}"/>
                  </a:ext>
                </a:extLst>
              </p:cNvPr>
              <p:cNvSpPr txBox="1"/>
              <p:nvPr/>
            </p:nvSpPr>
            <p:spPr>
              <a:xfrm>
                <a:off x="6783140" y="1282089"/>
                <a:ext cx="853324" cy="134792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b="1" spc="90" dirty="0">
                    <a:solidFill>
                      <a:srgbClr val="58595B"/>
                    </a:solidFill>
                    <a:cs typeface="Calibri"/>
                  </a:rPr>
                  <a:t>Canada</a:t>
                </a:r>
                <a:endParaRPr sz="700" dirty="0">
                  <a:cs typeface="Calibri"/>
                </a:endParaRPr>
              </a:p>
            </p:txBody>
          </p:sp>
          <p:grpSp>
            <p:nvGrpSpPr>
              <p:cNvPr id="406" name="object 256">
                <a:extLst>
                  <a:ext uri="{FF2B5EF4-FFF2-40B4-BE49-F238E27FC236}">
                    <a16:creationId xmlns:a16="http://schemas.microsoft.com/office/drawing/2014/main" id="{9D0C46AA-1413-2CE9-F5EB-BF09A6D374A4}"/>
                  </a:ext>
                </a:extLst>
              </p:cNvPr>
              <p:cNvGrpSpPr/>
              <p:nvPr/>
            </p:nvGrpSpPr>
            <p:grpSpPr>
              <a:xfrm>
                <a:off x="6236214" y="1022950"/>
                <a:ext cx="5398465" cy="4335653"/>
                <a:chOff x="359041" y="466153"/>
                <a:chExt cx="5398465" cy="4335653"/>
              </a:xfrm>
            </p:grpSpPr>
            <p:sp>
              <p:nvSpPr>
                <p:cNvPr id="414" name="object 257">
                  <a:extLst>
                    <a:ext uri="{FF2B5EF4-FFF2-40B4-BE49-F238E27FC236}">
                      <a16:creationId xmlns:a16="http://schemas.microsoft.com/office/drawing/2014/main" id="{499AF7B3-D1D4-A38D-4DB9-8C3BBF910115}"/>
                    </a:ext>
                  </a:extLst>
                </p:cNvPr>
                <p:cNvSpPr/>
                <p:nvPr/>
              </p:nvSpPr>
              <p:spPr>
                <a:xfrm>
                  <a:off x="3159199" y="491613"/>
                  <a:ext cx="0" cy="17399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739900">
                      <a:moveTo>
                        <a:pt x="0" y="1739798"/>
                      </a:moveTo>
                      <a:lnTo>
                        <a:pt x="0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15" name="object 258">
                  <a:extLst>
                    <a:ext uri="{FF2B5EF4-FFF2-40B4-BE49-F238E27FC236}">
                      <a16:creationId xmlns:a16="http://schemas.microsoft.com/office/drawing/2014/main" id="{0A06DADD-CC8F-42BE-78F8-8AB374266E6A}"/>
                    </a:ext>
                  </a:extLst>
                </p:cNvPr>
                <p:cNvSpPr/>
                <p:nvPr/>
              </p:nvSpPr>
              <p:spPr>
                <a:xfrm>
                  <a:off x="3152838" y="466153"/>
                  <a:ext cx="12700" cy="18103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00" h="1810385">
                      <a:moveTo>
                        <a:pt x="12700" y="1803501"/>
                      </a:moveTo>
                      <a:lnTo>
                        <a:pt x="10845" y="1799018"/>
                      </a:lnTo>
                      <a:lnTo>
                        <a:pt x="6350" y="1797151"/>
                      </a:lnTo>
                      <a:lnTo>
                        <a:pt x="1866" y="1799018"/>
                      </a:lnTo>
                      <a:lnTo>
                        <a:pt x="0" y="1803501"/>
                      </a:lnTo>
                      <a:lnTo>
                        <a:pt x="1866" y="1807997"/>
                      </a:lnTo>
                      <a:lnTo>
                        <a:pt x="6350" y="1809851"/>
                      </a:lnTo>
                      <a:lnTo>
                        <a:pt x="10845" y="1807997"/>
                      </a:lnTo>
                      <a:lnTo>
                        <a:pt x="12700" y="1803501"/>
                      </a:lnTo>
                      <a:close/>
                    </a:path>
                    <a:path w="12700" h="1810385">
                      <a:moveTo>
                        <a:pt x="12700" y="6350"/>
                      </a:moveTo>
                      <a:lnTo>
                        <a:pt x="10845" y="1866"/>
                      </a:lnTo>
                      <a:lnTo>
                        <a:pt x="6350" y="0"/>
                      </a:lnTo>
                      <a:lnTo>
                        <a:pt x="1866" y="1866"/>
                      </a:lnTo>
                      <a:lnTo>
                        <a:pt x="0" y="6350"/>
                      </a:lnTo>
                      <a:lnTo>
                        <a:pt x="1866" y="10845"/>
                      </a:lnTo>
                      <a:lnTo>
                        <a:pt x="6350" y="12700"/>
                      </a:lnTo>
                      <a:lnTo>
                        <a:pt x="10845" y="10845"/>
                      </a:lnTo>
                      <a:lnTo>
                        <a:pt x="12700" y="6350"/>
                      </a:lnTo>
                      <a:close/>
                    </a:path>
                  </a:pathLst>
                </a:custGeom>
                <a:solidFill>
                  <a:srgbClr val="6D6E71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16" name="object 259">
                  <a:extLst>
                    <a:ext uri="{FF2B5EF4-FFF2-40B4-BE49-F238E27FC236}">
                      <a16:creationId xmlns:a16="http://schemas.microsoft.com/office/drawing/2014/main" id="{F26D3BD5-B50A-D824-5A43-824C4C772FDE}"/>
                    </a:ext>
                  </a:extLst>
                </p:cNvPr>
                <p:cNvSpPr/>
                <p:nvPr/>
              </p:nvSpPr>
              <p:spPr>
                <a:xfrm>
                  <a:off x="1404829" y="809087"/>
                  <a:ext cx="0" cy="8820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82014">
                      <a:moveTo>
                        <a:pt x="0" y="881443"/>
                      </a:moveTo>
                      <a:lnTo>
                        <a:pt x="0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17" name="object 260">
                  <a:extLst>
                    <a:ext uri="{FF2B5EF4-FFF2-40B4-BE49-F238E27FC236}">
                      <a16:creationId xmlns:a16="http://schemas.microsoft.com/office/drawing/2014/main" id="{8022BC02-C29F-FEAD-55F2-595A73C17742}"/>
                    </a:ext>
                  </a:extLst>
                </p:cNvPr>
                <p:cNvSpPr/>
                <p:nvPr/>
              </p:nvSpPr>
              <p:spPr>
                <a:xfrm>
                  <a:off x="1398473" y="783996"/>
                  <a:ext cx="12700" cy="9505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00" h="950594">
                      <a:moveTo>
                        <a:pt x="12700" y="944054"/>
                      </a:moveTo>
                      <a:lnTo>
                        <a:pt x="10845" y="939558"/>
                      </a:lnTo>
                      <a:lnTo>
                        <a:pt x="6350" y="937704"/>
                      </a:lnTo>
                      <a:lnTo>
                        <a:pt x="1854" y="939558"/>
                      </a:lnTo>
                      <a:lnTo>
                        <a:pt x="0" y="944054"/>
                      </a:lnTo>
                      <a:lnTo>
                        <a:pt x="1854" y="948537"/>
                      </a:lnTo>
                      <a:lnTo>
                        <a:pt x="6350" y="950404"/>
                      </a:lnTo>
                      <a:lnTo>
                        <a:pt x="10845" y="948537"/>
                      </a:lnTo>
                      <a:lnTo>
                        <a:pt x="12700" y="944054"/>
                      </a:lnTo>
                      <a:close/>
                    </a:path>
                    <a:path w="12700" h="950594">
                      <a:moveTo>
                        <a:pt x="12700" y="6350"/>
                      </a:moveTo>
                      <a:lnTo>
                        <a:pt x="10845" y="1854"/>
                      </a:lnTo>
                      <a:lnTo>
                        <a:pt x="6350" y="0"/>
                      </a:lnTo>
                      <a:lnTo>
                        <a:pt x="1854" y="1854"/>
                      </a:lnTo>
                      <a:lnTo>
                        <a:pt x="0" y="6350"/>
                      </a:lnTo>
                      <a:lnTo>
                        <a:pt x="1854" y="10833"/>
                      </a:lnTo>
                      <a:lnTo>
                        <a:pt x="6350" y="12700"/>
                      </a:lnTo>
                      <a:lnTo>
                        <a:pt x="10845" y="10833"/>
                      </a:lnTo>
                      <a:lnTo>
                        <a:pt x="12700" y="6350"/>
                      </a:lnTo>
                      <a:close/>
                    </a:path>
                  </a:pathLst>
                </a:custGeom>
                <a:solidFill>
                  <a:srgbClr val="6D6E71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18" name="object 261">
                  <a:extLst>
                    <a:ext uri="{FF2B5EF4-FFF2-40B4-BE49-F238E27FC236}">
                      <a16:creationId xmlns:a16="http://schemas.microsoft.com/office/drawing/2014/main" id="{CBA57724-D96F-6FDA-F926-4F6551503D3A}"/>
                    </a:ext>
                  </a:extLst>
                </p:cNvPr>
                <p:cNvSpPr/>
                <p:nvPr/>
              </p:nvSpPr>
              <p:spPr>
                <a:xfrm>
                  <a:off x="403090" y="2358089"/>
                  <a:ext cx="885825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85825">
                      <a:moveTo>
                        <a:pt x="0" y="0"/>
                      </a:moveTo>
                      <a:lnTo>
                        <a:pt x="885710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19" name="object 262">
                  <a:extLst>
                    <a:ext uri="{FF2B5EF4-FFF2-40B4-BE49-F238E27FC236}">
                      <a16:creationId xmlns:a16="http://schemas.microsoft.com/office/drawing/2014/main" id="{EE4772B1-2462-9234-F10A-0F68248D9F3E}"/>
                    </a:ext>
                  </a:extLst>
                </p:cNvPr>
                <p:cNvSpPr/>
                <p:nvPr/>
              </p:nvSpPr>
              <p:spPr>
                <a:xfrm>
                  <a:off x="359041" y="2351747"/>
                  <a:ext cx="955040" cy="127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5040" h="12700">
                      <a:moveTo>
                        <a:pt x="12700" y="6350"/>
                      </a:moveTo>
                      <a:lnTo>
                        <a:pt x="10845" y="1854"/>
                      </a:lnTo>
                      <a:lnTo>
                        <a:pt x="6350" y="0"/>
                      </a:lnTo>
                      <a:lnTo>
                        <a:pt x="1866" y="1854"/>
                      </a:lnTo>
                      <a:lnTo>
                        <a:pt x="0" y="6350"/>
                      </a:lnTo>
                      <a:lnTo>
                        <a:pt x="1866" y="10833"/>
                      </a:lnTo>
                      <a:lnTo>
                        <a:pt x="6350" y="12700"/>
                      </a:lnTo>
                      <a:lnTo>
                        <a:pt x="10845" y="10833"/>
                      </a:lnTo>
                      <a:lnTo>
                        <a:pt x="12700" y="6350"/>
                      </a:lnTo>
                      <a:close/>
                    </a:path>
                    <a:path w="955040" h="12700">
                      <a:moveTo>
                        <a:pt x="954951" y="6350"/>
                      </a:moveTo>
                      <a:lnTo>
                        <a:pt x="953096" y="1854"/>
                      </a:lnTo>
                      <a:lnTo>
                        <a:pt x="948601" y="0"/>
                      </a:lnTo>
                      <a:lnTo>
                        <a:pt x="944118" y="1854"/>
                      </a:lnTo>
                      <a:lnTo>
                        <a:pt x="942251" y="6350"/>
                      </a:lnTo>
                      <a:lnTo>
                        <a:pt x="944118" y="10833"/>
                      </a:lnTo>
                      <a:lnTo>
                        <a:pt x="948601" y="12700"/>
                      </a:lnTo>
                      <a:lnTo>
                        <a:pt x="953096" y="10833"/>
                      </a:lnTo>
                      <a:lnTo>
                        <a:pt x="954951" y="6350"/>
                      </a:lnTo>
                      <a:close/>
                    </a:path>
                  </a:pathLst>
                </a:custGeom>
                <a:solidFill>
                  <a:srgbClr val="6D6E71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20" name="object 263">
                  <a:extLst>
                    <a:ext uri="{FF2B5EF4-FFF2-40B4-BE49-F238E27FC236}">
                      <a16:creationId xmlns:a16="http://schemas.microsoft.com/office/drawing/2014/main" id="{4190B50A-340A-0DF7-6121-C5A68B6F3F89}"/>
                    </a:ext>
                  </a:extLst>
                </p:cNvPr>
                <p:cNvSpPr/>
                <p:nvPr/>
              </p:nvSpPr>
              <p:spPr>
                <a:xfrm>
                  <a:off x="2755221" y="2511663"/>
                  <a:ext cx="327025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7025">
                      <a:moveTo>
                        <a:pt x="326872" y="0"/>
                      </a:moveTo>
                      <a:lnTo>
                        <a:pt x="0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21" name="object 264">
                  <a:extLst>
                    <a:ext uri="{FF2B5EF4-FFF2-40B4-BE49-F238E27FC236}">
                      <a16:creationId xmlns:a16="http://schemas.microsoft.com/office/drawing/2014/main" id="{286A0EB4-3542-36AB-E190-B5438D1D275B}"/>
                    </a:ext>
                  </a:extLst>
                </p:cNvPr>
                <p:cNvSpPr/>
                <p:nvPr/>
              </p:nvSpPr>
              <p:spPr>
                <a:xfrm>
                  <a:off x="2736000" y="2549643"/>
                  <a:ext cx="0" cy="157670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576704">
                      <a:moveTo>
                        <a:pt x="0" y="0"/>
                      </a:moveTo>
                      <a:lnTo>
                        <a:pt x="0" y="1576158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22" name="object 265">
                  <a:extLst>
                    <a:ext uri="{FF2B5EF4-FFF2-40B4-BE49-F238E27FC236}">
                      <a16:creationId xmlns:a16="http://schemas.microsoft.com/office/drawing/2014/main" id="{2B24E503-F6E3-E8F2-66F4-C2285C020710}"/>
                    </a:ext>
                  </a:extLst>
                </p:cNvPr>
                <p:cNvSpPr/>
                <p:nvPr/>
              </p:nvSpPr>
              <p:spPr>
                <a:xfrm>
                  <a:off x="2517509" y="4144796"/>
                  <a:ext cx="17907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9069">
                      <a:moveTo>
                        <a:pt x="178765" y="0"/>
                      </a:moveTo>
                      <a:lnTo>
                        <a:pt x="0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23" name="object 266">
                  <a:extLst>
                    <a:ext uri="{FF2B5EF4-FFF2-40B4-BE49-F238E27FC236}">
                      <a16:creationId xmlns:a16="http://schemas.microsoft.com/office/drawing/2014/main" id="{878D186B-8E7E-27E6-099D-672BA5175CF5}"/>
                    </a:ext>
                  </a:extLst>
                </p:cNvPr>
                <p:cNvSpPr/>
                <p:nvPr/>
              </p:nvSpPr>
              <p:spPr>
                <a:xfrm>
                  <a:off x="2491295" y="2505316"/>
                  <a:ext cx="635635" cy="16459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35635" h="1645920">
                      <a:moveTo>
                        <a:pt x="12700" y="1639481"/>
                      </a:moveTo>
                      <a:lnTo>
                        <a:pt x="10845" y="1634998"/>
                      </a:lnTo>
                      <a:lnTo>
                        <a:pt x="6350" y="1633131"/>
                      </a:lnTo>
                      <a:lnTo>
                        <a:pt x="1866" y="1634998"/>
                      </a:lnTo>
                      <a:lnTo>
                        <a:pt x="0" y="1639481"/>
                      </a:lnTo>
                      <a:lnTo>
                        <a:pt x="1866" y="1643976"/>
                      </a:lnTo>
                      <a:lnTo>
                        <a:pt x="6350" y="1645831"/>
                      </a:lnTo>
                      <a:lnTo>
                        <a:pt x="10845" y="1643976"/>
                      </a:lnTo>
                      <a:lnTo>
                        <a:pt x="12700" y="1639481"/>
                      </a:lnTo>
                      <a:close/>
                    </a:path>
                    <a:path w="635635" h="1645920">
                      <a:moveTo>
                        <a:pt x="251040" y="1639481"/>
                      </a:moveTo>
                      <a:lnTo>
                        <a:pt x="249186" y="1634998"/>
                      </a:lnTo>
                      <a:lnTo>
                        <a:pt x="244690" y="1633131"/>
                      </a:lnTo>
                      <a:lnTo>
                        <a:pt x="240207" y="1634998"/>
                      </a:lnTo>
                      <a:lnTo>
                        <a:pt x="238340" y="1639481"/>
                      </a:lnTo>
                      <a:lnTo>
                        <a:pt x="240207" y="1643976"/>
                      </a:lnTo>
                      <a:lnTo>
                        <a:pt x="244690" y="1645831"/>
                      </a:lnTo>
                      <a:lnTo>
                        <a:pt x="249186" y="1643976"/>
                      </a:lnTo>
                      <a:lnTo>
                        <a:pt x="251040" y="1639481"/>
                      </a:lnTo>
                      <a:close/>
                    </a:path>
                    <a:path w="635635" h="1645920">
                      <a:moveTo>
                        <a:pt x="251040" y="6350"/>
                      </a:moveTo>
                      <a:lnTo>
                        <a:pt x="249186" y="1866"/>
                      </a:lnTo>
                      <a:lnTo>
                        <a:pt x="244690" y="0"/>
                      </a:lnTo>
                      <a:lnTo>
                        <a:pt x="240207" y="1866"/>
                      </a:lnTo>
                      <a:lnTo>
                        <a:pt x="238340" y="6350"/>
                      </a:lnTo>
                      <a:lnTo>
                        <a:pt x="240207" y="10845"/>
                      </a:lnTo>
                      <a:lnTo>
                        <a:pt x="244690" y="12700"/>
                      </a:lnTo>
                      <a:lnTo>
                        <a:pt x="249186" y="10845"/>
                      </a:lnTo>
                      <a:lnTo>
                        <a:pt x="251040" y="6350"/>
                      </a:lnTo>
                      <a:close/>
                    </a:path>
                    <a:path w="635635" h="1645920">
                      <a:moveTo>
                        <a:pt x="635596" y="6350"/>
                      </a:moveTo>
                      <a:lnTo>
                        <a:pt x="633742" y="1866"/>
                      </a:lnTo>
                      <a:lnTo>
                        <a:pt x="629246" y="0"/>
                      </a:lnTo>
                      <a:lnTo>
                        <a:pt x="624763" y="1866"/>
                      </a:lnTo>
                      <a:lnTo>
                        <a:pt x="622896" y="6350"/>
                      </a:lnTo>
                      <a:lnTo>
                        <a:pt x="624763" y="10845"/>
                      </a:lnTo>
                      <a:lnTo>
                        <a:pt x="629246" y="12700"/>
                      </a:lnTo>
                      <a:lnTo>
                        <a:pt x="633742" y="10845"/>
                      </a:lnTo>
                      <a:lnTo>
                        <a:pt x="635596" y="6350"/>
                      </a:lnTo>
                      <a:close/>
                    </a:path>
                  </a:pathLst>
                </a:custGeom>
                <a:solidFill>
                  <a:srgbClr val="6D6E71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24" name="object 267">
                  <a:extLst>
                    <a:ext uri="{FF2B5EF4-FFF2-40B4-BE49-F238E27FC236}">
                      <a16:creationId xmlns:a16="http://schemas.microsoft.com/office/drawing/2014/main" id="{D6DCD6C2-84B3-F4F0-994F-01B53093C891}"/>
                    </a:ext>
                  </a:extLst>
                </p:cNvPr>
                <p:cNvSpPr/>
                <p:nvPr/>
              </p:nvSpPr>
              <p:spPr>
                <a:xfrm>
                  <a:off x="2308943" y="2419340"/>
                  <a:ext cx="0" cy="8674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867410">
                      <a:moveTo>
                        <a:pt x="0" y="867181"/>
                      </a:moveTo>
                      <a:lnTo>
                        <a:pt x="0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25" name="object 268">
                  <a:extLst>
                    <a:ext uri="{FF2B5EF4-FFF2-40B4-BE49-F238E27FC236}">
                      <a16:creationId xmlns:a16="http://schemas.microsoft.com/office/drawing/2014/main" id="{AB4B29FF-48FD-E3B5-1796-8A5166ABB891}"/>
                    </a:ext>
                  </a:extLst>
                </p:cNvPr>
                <p:cNvSpPr/>
                <p:nvPr/>
              </p:nvSpPr>
              <p:spPr>
                <a:xfrm>
                  <a:off x="2346994" y="2400063"/>
                  <a:ext cx="43815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8150">
                      <a:moveTo>
                        <a:pt x="0" y="0"/>
                      </a:moveTo>
                      <a:lnTo>
                        <a:pt x="437756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26" name="object 269">
                  <a:extLst>
                    <a:ext uri="{FF2B5EF4-FFF2-40B4-BE49-F238E27FC236}">
                      <a16:creationId xmlns:a16="http://schemas.microsoft.com/office/drawing/2014/main" id="{61BCA501-A5C8-25C9-F341-BC9FB6AD3D2C}"/>
                    </a:ext>
                  </a:extLst>
                </p:cNvPr>
                <p:cNvSpPr/>
                <p:nvPr/>
              </p:nvSpPr>
              <p:spPr>
                <a:xfrm>
                  <a:off x="2302586" y="2393708"/>
                  <a:ext cx="508000" cy="93789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8000" h="937895">
                      <a:moveTo>
                        <a:pt x="12700" y="931354"/>
                      </a:moveTo>
                      <a:lnTo>
                        <a:pt x="10845" y="926871"/>
                      </a:lnTo>
                      <a:lnTo>
                        <a:pt x="6350" y="925004"/>
                      </a:lnTo>
                      <a:lnTo>
                        <a:pt x="1866" y="926871"/>
                      </a:lnTo>
                      <a:lnTo>
                        <a:pt x="0" y="931354"/>
                      </a:lnTo>
                      <a:lnTo>
                        <a:pt x="1866" y="935850"/>
                      </a:lnTo>
                      <a:lnTo>
                        <a:pt x="6350" y="937704"/>
                      </a:lnTo>
                      <a:lnTo>
                        <a:pt x="10845" y="935850"/>
                      </a:lnTo>
                      <a:lnTo>
                        <a:pt x="12700" y="931354"/>
                      </a:lnTo>
                      <a:close/>
                    </a:path>
                    <a:path w="508000" h="937895">
                      <a:moveTo>
                        <a:pt x="12700" y="6350"/>
                      </a:moveTo>
                      <a:lnTo>
                        <a:pt x="10845" y="1866"/>
                      </a:lnTo>
                      <a:lnTo>
                        <a:pt x="6350" y="0"/>
                      </a:lnTo>
                      <a:lnTo>
                        <a:pt x="1866" y="1866"/>
                      </a:lnTo>
                      <a:lnTo>
                        <a:pt x="0" y="6350"/>
                      </a:lnTo>
                      <a:lnTo>
                        <a:pt x="1866" y="10845"/>
                      </a:lnTo>
                      <a:lnTo>
                        <a:pt x="6350" y="12700"/>
                      </a:lnTo>
                      <a:lnTo>
                        <a:pt x="10845" y="10845"/>
                      </a:lnTo>
                      <a:lnTo>
                        <a:pt x="12700" y="6350"/>
                      </a:lnTo>
                      <a:close/>
                    </a:path>
                    <a:path w="508000" h="937895">
                      <a:moveTo>
                        <a:pt x="507555" y="6350"/>
                      </a:moveTo>
                      <a:lnTo>
                        <a:pt x="505701" y="1866"/>
                      </a:lnTo>
                      <a:lnTo>
                        <a:pt x="501205" y="0"/>
                      </a:lnTo>
                      <a:lnTo>
                        <a:pt x="496722" y="1866"/>
                      </a:lnTo>
                      <a:lnTo>
                        <a:pt x="494855" y="6350"/>
                      </a:lnTo>
                      <a:lnTo>
                        <a:pt x="496722" y="10845"/>
                      </a:lnTo>
                      <a:lnTo>
                        <a:pt x="501205" y="12700"/>
                      </a:lnTo>
                      <a:lnTo>
                        <a:pt x="505701" y="10845"/>
                      </a:lnTo>
                      <a:lnTo>
                        <a:pt x="507555" y="6350"/>
                      </a:lnTo>
                      <a:close/>
                    </a:path>
                  </a:pathLst>
                </a:custGeom>
                <a:solidFill>
                  <a:srgbClr val="6D6E71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27" name="object 270">
                  <a:extLst>
                    <a:ext uri="{FF2B5EF4-FFF2-40B4-BE49-F238E27FC236}">
                      <a16:creationId xmlns:a16="http://schemas.microsoft.com/office/drawing/2014/main" id="{11CE53E6-A914-3EF5-8686-008C2F4379AD}"/>
                    </a:ext>
                  </a:extLst>
                </p:cNvPr>
                <p:cNvSpPr/>
                <p:nvPr/>
              </p:nvSpPr>
              <p:spPr>
                <a:xfrm>
                  <a:off x="2969900" y="2775341"/>
                  <a:ext cx="0" cy="19824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982470">
                      <a:moveTo>
                        <a:pt x="0" y="1982152"/>
                      </a:moveTo>
                      <a:lnTo>
                        <a:pt x="0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28" name="object 271">
                  <a:extLst>
                    <a:ext uri="{FF2B5EF4-FFF2-40B4-BE49-F238E27FC236}">
                      <a16:creationId xmlns:a16="http://schemas.microsoft.com/office/drawing/2014/main" id="{FF38726D-194E-7BFD-785A-DA63D03FFDA1}"/>
                    </a:ext>
                  </a:extLst>
                </p:cNvPr>
                <p:cNvSpPr/>
                <p:nvPr/>
              </p:nvSpPr>
              <p:spPr>
                <a:xfrm>
                  <a:off x="3009079" y="2756464"/>
                  <a:ext cx="21590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5900">
                      <a:moveTo>
                        <a:pt x="0" y="0"/>
                      </a:moveTo>
                      <a:lnTo>
                        <a:pt x="215480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29" name="object 272">
                  <a:extLst>
                    <a:ext uri="{FF2B5EF4-FFF2-40B4-BE49-F238E27FC236}">
                      <a16:creationId xmlns:a16="http://schemas.microsoft.com/office/drawing/2014/main" id="{0D1E8EB1-4D8A-2C48-39C9-3B8A4A1EBA65}"/>
                    </a:ext>
                  </a:extLst>
                </p:cNvPr>
                <p:cNvSpPr/>
                <p:nvPr/>
              </p:nvSpPr>
              <p:spPr>
                <a:xfrm>
                  <a:off x="2963545" y="2750121"/>
                  <a:ext cx="287020" cy="20516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87019" h="2051685">
                      <a:moveTo>
                        <a:pt x="12700" y="2045131"/>
                      </a:moveTo>
                      <a:lnTo>
                        <a:pt x="10833" y="2040648"/>
                      </a:lnTo>
                      <a:lnTo>
                        <a:pt x="6350" y="2038781"/>
                      </a:lnTo>
                      <a:lnTo>
                        <a:pt x="1854" y="2040648"/>
                      </a:lnTo>
                      <a:lnTo>
                        <a:pt x="0" y="2045131"/>
                      </a:lnTo>
                      <a:lnTo>
                        <a:pt x="1854" y="2049627"/>
                      </a:lnTo>
                      <a:lnTo>
                        <a:pt x="6350" y="2051481"/>
                      </a:lnTo>
                      <a:lnTo>
                        <a:pt x="10833" y="2049627"/>
                      </a:lnTo>
                      <a:lnTo>
                        <a:pt x="12700" y="2045131"/>
                      </a:lnTo>
                      <a:close/>
                    </a:path>
                    <a:path w="287019" h="2051685">
                      <a:moveTo>
                        <a:pt x="12700" y="6350"/>
                      </a:moveTo>
                      <a:lnTo>
                        <a:pt x="10833" y="1866"/>
                      </a:lnTo>
                      <a:lnTo>
                        <a:pt x="6350" y="0"/>
                      </a:lnTo>
                      <a:lnTo>
                        <a:pt x="1854" y="1866"/>
                      </a:lnTo>
                      <a:lnTo>
                        <a:pt x="0" y="6350"/>
                      </a:lnTo>
                      <a:lnTo>
                        <a:pt x="1854" y="10845"/>
                      </a:lnTo>
                      <a:lnTo>
                        <a:pt x="6350" y="12700"/>
                      </a:lnTo>
                      <a:lnTo>
                        <a:pt x="10833" y="10845"/>
                      </a:lnTo>
                      <a:lnTo>
                        <a:pt x="12700" y="6350"/>
                      </a:lnTo>
                      <a:close/>
                    </a:path>
                    <a:path w="287019" h="2051685">
                      <a:moveTo>
                        <a:pt x="286956" y="6350"/>
                      </a:moveTo>
                      <a:lnTo>
                        <a:pt x="285089" y="1866"/>
                      </a:lnTo>
                      <a:lnTo>
                        <a:pt x="280606" y="0"/>
                      </a:lnTo>
                      <a:lnTo>
                        <a:pt x="276110" y="1866"/>
                      </a:lnTo>
                      <a:lnTo>
                        <a:pt x="274256" y="6350"/>
                      </a:lnTo>
                      <a:lnTo>
                        <a:pt x="276110" y="10845"/>
                      </a:lnTo>
                      <a:lnTo>
                        <a:pt x="280606" y="12700"/>
                      </a:lnTo>
                      <a:lnTo>
                        <a:pt x="285089" y="10845"/>
                      </a:lnTo>
                      <a:lnTo>
                        <a:pt x="286956" y="6350"/>
                      </a:lnTo>
                      <a:close/>
                    </a:path>
                  </a:pathLst>
                </a:custGeom>
                <a:solidFill>
                  <a:srgbClr val="6D6E71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30" name="object 273">
                  <a:extLst>
                    <a:ext uri="{FF2B5EF4-FFF2-40B4-BE49-F238E27FC236}">
                      <a16:creationId xmlns:a16="http://schemas.microsoft.com/office/drawing/2014/main" id="{68287A7D-53C3-2769-E1A0-B9714D9D0CD0}"/>
                    </a:ext>
                  </a:extLst>
                </p:cNvPr>
                <p:cNvSpPr/>
                <p:nvPr/>
              </p:nvSpPr>
              <p:spPr>
                <a:xfrm>
                  <a:off x="3491999" y="2567519"/>
                  <a:ext cx="0" cy="7270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727075">
                      <a:moveTo>
                        <a:pt x="0" y="726630"/>
                      </a:moveTo>
                      <a:lnTo>
                        <a:pt x="0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31" name="object 274">
                  <a:extLst>
                    <a:ext uri="{FF2B5EF4-FFF2-40B4-BE49-F238E27FC236}">
                      <a16:creationId xmlns:a16="http://schemas.microsoft.com/office/drawing/2014/main" id="{5036B217-C1A8-9F31-B69E-D2600BC78DD6}"/>
                    </a:ext>
                  </a:extLst>
                </p:cNvPr>
                <p:cNvSpPr/>
                <p:nvPr/>
              </p:nvSpPr>
              <p:spPr>
                <a:xfrm>
                  <a:off x="3422430" y="2548883"/>
                  <a:ext cx="23495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3495">
                      <a:moveTo>
                        <a:pt x="23190" y="0"/>
                      </a:moveTo>
                      <a:lnTo>
                        <a:pt x="0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32" name="object 275">
                  <a:extLst>
                    <a:ext uri="{FF2B5EF4-FFF2-40B4-BE49-F238E27FC236}">
                      <a16:creationId xmlns:a16="http://schemas.microsoft.com/office/drawing/2014/main" id="{EF3FB289-14DE-29D2-249D-87CDA241DA54}"/>
                    </a:ext>
                  </a:extLst>
                </p:cNvPr>
                <p:cNvSpPr/>
                <p:nvPr/>
              </p:nvSpPr>
              <p:spPr>
                <a:xfrm>
                  <a:off x="3392881" y="2542539"/>
                  <a:ext cx="106045" cy="79565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6045" h="795654">
                      <a:moveTo>
                        <a:pt x="12700" y="6350"/>
                      </a:moveTo>
                      <a:lnTo>
                        <a:pt x="10845" y="1866"/>
                      </a:lnTo>
                      <a:lnTo>
                        <a:pt x="6350" y="0"/>
                      </a:lnTo>
                      <a:lnTo>
                        <a:pt x="1866" y="1866"/>
                      </a:lnTo>
                      <a:lnTo>
                        <a:pt x="0" y="6350"/>
                      </a:lnTo>
                      <a:lnTo>
                        <a:pt x="1866" y="10845"/>
                      </a:lnTo>
                      <a:lnTo>
                        <a:pt x="6350" y="12700"/>
                      </a:lnTo>
                      <a:lnTo>
                        <a:pt x="10845" y="10845"/>
                      </a:lnTo>
                      <a:lnTo>
                        <a:pt x="12700" y="6350"/>
                      </a:lnTo>
                      <a:close/>
                    </a:path>
                    <a:path w="106045" h="795654">
                      <a:moveTo>
                        <a:pt x="105460" y="788873"/>
                      </a:moveTo>
                      <a:lnTo>
                        <a:pt x="103606" y="784390"/>
                      </a:lnTo>
                      <a:lnTo>
                        <a:pt x="99110" y="782523"/>
                      </a:lnTo>
                      <a:lnTo>
                        <a:pt x="94627" y="784390"/>
                      </a:lnTo>
                      <a:lnTo>
                        <a:pt x="92760" y="788873"/>
                      </a:lnTo>
                      <a:lnTo>
                        <a:pt x="94627" y="793369"/>
                      </a:lnTo>
                      <a:lnTo>
                        <a:pt x="99110" y="795223"/>
                      </a:lnTo>
                      <a:lnTo>
                        <a:pt x="103606" y="793369"/>
                      </a:lnTo>
                      <a:lnTo>
                        <a:pt x="105460" y="788873"/>
                      </a:lnTo>
                      <a:close/>
                    </a:path>
                    <a:path w="106045" h="795654">
                      <a:moveTo>
                        <a:pt x="105460" y="6350"/>
                      </a:moveTo>
                      <a:lnTo>
                        <a:pt x="103606" y="1866"/>
                      </a:lnTo>
                      <a:lnTo>
                        <a:pt x="99110" y="0"/>
                      </a:lnTo>
                      <a:lnTo>
                        <a:pt x="94627" y="1866"/>
                      </a:lnTo>
                      <a:lnTo>
                        <a:pt x="92760" y="6350"/>
                      </a:lnTo>
                      <a:lnTo>
                        <a:pt x="94627" y="10845"/>
                      </a:lnTo>
                      <a:lnTo>
                        <a:pt x="99110" y="12700"/>
                      </a:lnTo>
                      <a:lnTo>
                        <a:pt x="103606" y="10845"/>
                      </a:lnTo>
                      <a:lnTo>
                        <a:pt x="105460" y="6350"/>
                      </a:lnTo>
                      <a:close/>
                    </a:path>
                  </a:pathLst>
                </a:custGeom>
                <a:solidFill>
                  <a:srgbClr val="6D6E71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33" name="object 276">
                  <a:extLst>
                    <a:ext uri="{FF2B5EF4-FFF2-40B4-BE49-F238E27FC236}">
                      <a16:creationId xmlns:a16="http://schemas.microsoft.com/office/drawing/2014/main" id="{174D861A-2C74-268C-5F7E-D433849D5BC4}"/>
                    </a:ext>
                  </a:extLst>
                </p:cNvPr>
                <p:cNvSpPr/>
                <p:nvPr/>
              </p:nvSpPr>
              <p:spPr>
                <a:xfrm>
                  <a:off x="4811710" y="3355781"/>
                  <a:ext cx="0" cy="107505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075054">
                      <a:moveTo>
                        <a:pt x="0" y="0"/>
                      </a:moveTo>
                      <a:lnTo>
                        <a:pt x="0" y="1074953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34" name="object 277">
                  <a:extLst>
                    <a:ext uri="{FF2B5EF4-FFF2-40B4-BE49-F238E27FC236}">
                      <a16:creationId xmlns:a16="http://schemas.microsoft.com/office/drawing/2014/main" id="{87B31630-272B-50A0-4198-FBE98FFE59FF}"/>
                    </a:ext>
                  </a:extLst>
                </p:cNvPr>
                <p:cNvSpPr/>
                <p:nvPr/>
              </p:nvSpPr>
              <p:spPr>
                <a:xfrm>
                  <a:off x="4805350" y="3311715"/>
                  <a:ext cx="12700" cy="11442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00" h="1144270">
                      <a:moveTo>
                        <a:pt x="12700" y="1137881"/>
                      </a:moveTo>
                      <a:lnTo>
                        <a:pt x="10845" y="1133398"/>
                      </a:lnTo>
                      <a:lnTo>
                        <a:pt x="6350" y="1131531"/>
                      </a:lnTo>
                      <a:lnTo>
                        <a:pt x="1866" y="1133398"/>
                      </a:lnTo>
                      <a:lnTo>
                        <a:pt x="0" y="1137881"/>
                      </a:lnTo>
                      <a:lnTo>
                        <a:pt x="1866" y="1142377"/>
                      </a:lnTo>
                      <a:lnTo>
                        <a:pt x="6350" y="1144231"/>
                      </a:lnTo>
                      <a:lnTo>
                        <a:pt x="10845" y="1142377"/>
                      </a:lnTo>
                      <a:lnTo>
                        <a:pt x="12700" y="1137881"/>
                      </a:lnTo>
                      <a:close/>
                    </a:path>
                    <a:path w="12700" h="1144270">
                      <a:moveTo>
                        <a:pt x="12700" y="6350"/>
                      </a:moveTo>
                      <a:lnTo>
                        <a:pt x="10845" y="1866"/>
                      </a:lnTo>
                      <a:lnTo>
                        <a:pt x="6350" y="0"/>
                      </a:lnTo>
                      <a:lnTo>
                        <a:pt x="1866" y="1866"/>
                      </a:lnTo>
                      <a:lnTo>
                        <a:pt x="0" y="6350"/>
                      </a:lnTo>
                      <a:lnTo>
                        <a:pt x="1866" y="10845"/>
                      </a:lnTo>
                      <a:lnTo>
                        <a:pt x="6350" y="12700"/>
                      </a:lnTo>
                      <a:lnTo>
                        <a:pt x="10845" y="10845"/>
                      </a:lnTo>
                      <a:lnTo>
                        <a:pt x="12700" y="6350"/>
                      </a:lnTo>
                      <a:close/>
                    </a:path>
                  </a:pathLst>
                </a:custGeom>
                <a:solidFill>
                  <a:srgbClr val="6D6E71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35" name="object 278">
                  <a:extLst>
                    <a:ext uri="{FF2B5EF4-FFF2-40B4-BE49-F238E27FC236}">
                      <a16:creationId xmlns:a16="http://schemas.microsoft.com/office/drawing/2014/main" id="{90C8D7AB-AFFD-2DB2-A7D4-5E63C4196667}"/>
                    </a:ext>
                  </a:extLst>
                </p:cNvPr>
                <p:cNvSpPr/>
                <p:nvPr/>
              </p:nvSpPr>
              <p:spPr>
                <a:xfrm>
                  <a:off x="3931925" y="2206084"/>
                  <a:ext cx="655955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55954">
                      <a:moveTo>
                        <a:pt x="655383" y="0"/>
                      </a:moveTo>
                      <a:lnTo>
                        <a:pt x="0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36" name="object 279">
                  <a:extLst>
                    <a:ext uri="{FF2B5EF4-FFF2-40B4-BE49-F238E27FC236}">
                      <a16:creationId xmlns:a16="http://schemas.microsoft.com/office/drawing/2014/main" id="{24CCC6C0-BA27-0B1A-3382-247BF82E3CB3}"/>
                    </a:ext>
                  </a:extLst>
                </p:cNvPr>
                <p:cNvSpPr/>
                <p:nvPr/>
              </p:nvSpPr>
              <p:spPr>
                <a:xfrm>
                  <a:off x="3913200" y="2244237"/>
                  <a:ext cx="0" cy="2482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248285">
                      <a:moveTo>
                        <a:pt x="0" y="0"/>
                      </a:moveTo>
                      <a:lnTo>
                        <a:pt x="0" y="248005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437" name="object 280">
                  <a:extLst>
                    <a:ext uri="{FF2B5EF4-FFF2-40B4-BE49-F238E27FC236}">
                      <a16:creationId xmlns:a16="http://schemas.microsoft.com/office/drawing/2014/main" id="{2F3528A5-2B71-BC96-A46C-A88B346A7649}"/>
                    </a:ext>
                  </a:extLst>
                </p:cNvPr>
                <p:cNvSpPr/>
                <p:nvPr/>
              </p:nvSpPr>
              <p:spPr>
                <a:xfrm>
                  <a:off x="3906850" y="2199741"/>
                  <a:ext cx="724535" cy="3181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24535" h="318135">
                      <a:moveTo>
                        <a:pt x="12700" y="311581"/>
                      </a:moveTo>
                      <a:lnTo>
                        <a:pt x="10833" y="307086"/>
                      </a:lnTo>
                      <a:lnTo>
                        <a:pt x="6350" y="305231"/>
                      </a:lnTo>
                      <a:lnTo>
                        <a:pt x="1854" y="307086"/>
                      </a:lnTo>
                      <a:lnTo>
                        <a:pt x="0" y="311581"/>
                      </a:lnTo>
                      <a:lnTo>
                        <a:pt x="1854" y="316064"/>
                      </a:lnTo>
                      <a:lnTo>
                        <a:pt x="6350" y="317931"/>
                      </a:lnTo>
                      <a:lnTo>
                        <a:pt x="10833" y="316064"/>
                      </a:lnTo>
                      <a:lnTo>
                        <a:pt x="12700" y="311581"/>
                      </a:lnTo>
                      <a:close/>
                    </a:path>
                    <a:path w="724535" h="318135">
                      <a:moveTo>
                        <a:pt x="12700" y="6350"/>
                      </a:moveTo>
                      <a:lnTo>
                        <a:pt x="10833" y="1854"/>
                      </a:lnTo>
                      <a:lnTo>
                        <a:pt x="6350" y="0"/>
                      </a:lnTo>
                      <a:lnTo>
                        <a:pt x="1854" y="1854"/>
                      </a:lnTo>
                      <a:lnTo>
                        <a:pt x="0" y="6350"/>
                      </a:lnTo>
                      <a:lnTo>
                        <a:pt x="1854" y="10833"/>
                      </a:lnTo>
                      <a:lnTo>
                        <a:pt x="6350" y="12700"/>
                      </a:lnTo>
                      <a:lnTo>
                        <a:pt x="10833" y="10833"/>
                      </a:lnTo>
                      <a:lnTo>
                        <a:pt x="12700" y="6350"/>
                      </a:lnTo>
                      <a:close/>
                    </a:path>
                    <a:path w="724535" h="318135">
                      <a:moveTo>
                        <a:pt x="724255" y="6350"/>
                      </a:moveTo>
                      <a:lnTo>
                        <a:pt x="722388" y="1854"/>
                      </a:lnTo>
                      <a:lnTo>
                        <a:pt x="717905" y="0"/>
                      </a:lnTo>
                      <a:lnTo>
                        <a:pt x="713409" y="1854"/>
                      </a:lnTo>
                      <a:lnTo>
                        <a:pt x="711555" y="6350"/>
                      </a:lnTo>
                      <a:lnTo>
                        <a:pt x="713409" y="10833"/>
                      </a:lnTo>
                      <a:lnTo>
                        <a:pt x="717905" y="12700"/>
                      </a:lnTo>
                      <a:lnTo>
                        <a:pt x="722388" y="10833"/>
                      </a:lnTo>
                      <a:lnTo>
                        <a:pt x="724255" y="6350"/>
                      </a:lnTo>
                      <a:close/>
                    </a:path>
                  </a:pathLst>
                </a:custGeom>
                <a:solidFill>
                  <a:srgbClr val="6D6E71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pic>
              <p:nvPicPr>
                <p:cNvPr id="438" name="object 281">
                  <a:extLst>
                    <a:ext uri="{FF2B5EF4-FFF2-40B4-BE49-F238E27FC236}">
                      <a16:creationId xmlns:a16="http://schemas.microsoft.com/office/drawing/2014/main" id="{15235833-5CFF-4334-4BA1-EB0F2C7E06E1}"/>
                    </a:ext>
                  </a:extLst>
                </p:cNvPr>
                <p:cNvPicPr/>
                <p:nvPr/>
              </p:nvPicPr>
              <p:blipFill>
                <a:blip r:embed="rId52" cstate="print"/>
                <a:stretch>
                  <a:fillRect/>
                </a:stretch>
              </p:blipFill>
              <p:spPr>
                <a:xfrm>
                  <a:off x="4938876" y="3873848"/>
                  <a:ext cx="818630" cy="261031"/>
                </a:xfrm>
                <a:prstGeom prst="rect">
                  <a:avLst/>
                </a:prstGeom>
              </p:spPr>
            </p:pic>
          </p:grpSp>
          <p:sp>
            <p:nvSpPr>
              <p:cNvPr id="407" name="object 282">
                <a:extLst>
                  <a:ext uri="{FF2B5EF4-FFF2-40B4-BE49-F238E27FC236}">
                    <a16:creationId xmlns:a16="http://schemas.microsoft.com/office/drawing/2014/main" id="{AACC6197-79A7-EAE8-5534-292ADDCC15C5}"/>
                  </a:ext>
                </a:extLst>
              </p:cNvPr>
              <p:cNvSpPr txBox="1"/>
              <p:nvPr/>
            </p:nvSpPr>
            <p:spPr>
              <a:xfrm>
                <a:off x="10549732" y="2681518"/>
                <a:ext cx="379537" cy="134792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b="1" spc="65" dirty="0">
                    <a:solidFill>
                      <a:srgbClr val="58595B"/>
                    </a:solidFill>
                    <a:cs typeface="Calibri"/>
                  </a:rPr>
                  <a:t>India</a:t>
                </a:r>
                <a:endParaRPr sz="700" dirty="0">
                  <a:cs typeface="Calibri"/>
                </a:endParaRPr>
              </a:p>
            </p:txBody>
          </p:sp>
          <p:sp>
            <p:nvSpPr>
              <p:cNvPr id="408" name="object 284">
                <a:extLst>
                  <a:ext uri="{FF2B5EF4-FFF2-40B4-BE49-F238E27FC236}">
                    <a16:creationId xmlns:a16="http://schemas.microsoft.com/office/drawing/2014/main" id="{4729BCB1-F7AC-1E03-5716-293E3A8CACFE}"/>
                  </a:ext>
                </a:extLst>
              </p:cNvPr>
              <p:cNvSpPr txBox="1"/>
              <p:nvPr/>
            </p:nvSpPr>
            <p:spPr>
              <a:xfrm>
                <a:off x="10781058" y="4276095"/>
                <a:ext cx="637533" cy="134792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b="1" spc="55" dirty="0">
                    <a:solidFill>
                      <a:srgbClr val="58595B"/>
                    </a:solidFill>
                    <a:cs typeface="Calibri"/>
                  </a:rPr>
                  <a:t>Australia</a:t>
                </a:r>
                <a:endParaRPr sz="700" dirty="0">
                  <a:cs typeface="Calibri"/>
                </a:endParaRPr>
              </a:p>
            </p:txBody>
          </p:sp>
          <p:pic>
            <p:nvPicPr>
              <p:cNvPr id="409" name="object 285">
                <a:extLst>
                  <a:ext uri="{FF2B5EF4-FFF2-40B4-BE49-F238E27FC236}">
                    <a16:creationId xmlns:a16="http://schemas.microsoft.com/office/drawing/2014/main" id="{3A5FE461-BBAA-8A4E-F785-DD2419B6E86C}"/>
                  </a:ext>
                </a:extLst>
              </p:cNvPr>
              <p:cNvPicPr/>
              <p:nvPr/>
            </p:nvPicPr>
            <p:blipFill>
              <a:blip r:embed="rId53" cstate="print"/>
              <a:stretch>
                <a:fillRect/>
              </a:stretch>
            </p:blipFill>
            <p:spPr>
              <a:xfrm>
                <a:off x="10781261" y="4763440"/>
                <a:ext cx="967686" cy="252873"/>
              </a:xfrm>
              <a:prstGeom prst="rect">
                <a:avLst/>
              </a:prstGeom>
            </p:spPr>
          </p:pic>
          <p:grpSp>
            <p:nvGrpSpPr>
              <p:cNvPr id="410" name="object 286">
                <a:extLst>
                  <a:ext uri="{FF2B5EF4-FFF2-40B4-BE49-F238E27FC236}">
                    <a16:creationId xmlns:a16="http://schemas.microsoft.com/office/drawing/2014/main" id="{E1D8D5B0-3E7E-DFE2-A1CD-EEF4F484E6FC}"/>
                  </a:ext>
                </a:extLst>
              </p:cNvPr>
              <p:cNvGrpSpPr/>
              <p:nvPr/>
            </p:nvGrpSpPr>
            <p:grpSpPr>
              <a:xfrm>
                <a:off x="9103677" y="1168187"/>
                <a:ext cx="2429510" cy="2287270"/>
                <a:chOff x="3226504" y="611390"/>
                <a:chExt cx="2429510" cy="2287270"/>
              </a:xfrm>
            </p:grpSpPr>
            <p:pic>
              <p:nvPicPr>
                <p:cNvPr id="412" name="object 287">
                  <a:extLst>
                    <a:ext uri="{FF2B5EF4-FFF2-40B4-BE49-F238E27FC236}">
                      <a16:creationId xmlns:a16="http://schemas.microsoft.com/office/drawing/2014/main" id="{ED8F5336-531A-1ACA-F59F-ACA10603C2F2}"/>
                    </a:ext>
                  </a:extLst>
                </p:cNvPr>
                <p:cNvPicPr/>
                <p:nvPr/>
              </p:nvPicPr>
              <p:blipFill>
                <a:blip r:embed="rId54" cstate="print"/>
                <a:stretch>
                  <a:fillRect/>
                </a:stretch>
              </p:blipFill>
              <p:spPr>
                <a:xfrm>
                  <a:off x="3226504" y="611390"/>
                  <a:ext cx="988103" cy="562931"/>
                </a:xfrm>
                <a:prstGeom prst="rect">
                  <a:avLst/>
                </a:prstGeom>
              </p:spPr>
            </p:pic>
            <p:pic>
              <p:nvPicPr>
                <p:cNvPr id="413" name="object 288">
                  <a:extLst>
                    <a:ext uri="{FF2B5EF4-FFF2-40B4-BE49-F238E27FC236}">
                      <a16:creationId xmlns:a16="http://schemas.microsoft.com/office/drawing/2014/main" id="{02C39079-5DD1-7FBA-7AC2-C875EFAFE065}"/>
                    </a:ext>
                  </a:extLst>
                </p:cNvPr>
                <p:cNvPicPr/>
                <p:nvPr/>
              </p:nvPicPr>
              <p:blipFill>
                <a:blip r:embed="rId55" cstate="print"/>
                <a:stretch>
                  <a:fillRect/>
                </a:stretch>
              </p:blipFill>
              <p:spPr>
                <a:xfrm>
                  <a:off x="4688024" y="2645746"/>
                  <a:ext cx="967686" cy="252874"/>
                </a:xfrm>
                <a:prstGeom prst="rect">
                  <a:avLst/>
                </a:prstGeom>
              </p:spPr>
            </p:pic>
          </p:grpSp>
          <p:sp>
            <p:nvSpPr>
              <p:cNvPr id="411" name="object 289">
                <a:extLst>
                  <a:ext uri="{FF2B5EF4-FFF2-40B4-BE49-F238E27FC236}">
                    <a16:creationId xmlns:a16="http://schemas.microsoft.com/office/drawing/2014/main" id="{6CADA855-C05D-1D8D-BC6A-944C27254DC9}"/>
                  </a:ext>
                </a:extLst>
              </p:cNvPr>
              <p:cNvSpPr txBox="1"/>
              <p:nvPr/>
            </p:nvSpPr>
            <p:spPr>
              <a:xfrm>
                <a:off x="9090972" y="976392"/>
                <a:ext cx="582052" cy="134792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b="1" spc="65" dirty="0">
                    <a:solidFill>
                      <a:srgbClr val="58595B"/>
                    </a:solidFill>
                    <a:cs typeface="Calibri"/>
                  </a:rPr>
                  <a:t>Turkey</a:t>
                </a:r>
                <a:endParaRPr sz="700" dirty="0">
                  <a:cs typeface="Calibri"/>
                </a:endParaRPr>
              </a:p>
            </p:txBody>
          </p:sp>
        </p:grpSp>
        <p:grpSp>
          <p:nvGrpSpPr>
            <p:cNvPr id="638" name="Gruppo 637">
              <a:extLst>
                <a:ext uri="{FF2B5EF4-FFF2-40B4-BE49-F238E27FC236}">
                  <a16:creationId xmlns:a16="http://schemas.microsoft.com/office/drawing/2014/main" id="{43E26C24-0381-E219-5809-7325247B99AB}"/>
                </a:ext>
              </a:extLst>
            </p:cNvPr>
            <p:cNvGrpSpPr/>
            <p:nvPr/>
          </p:nvGrpSpPr>
          <p:grpSpPr>
            <a:xfrm>
              <a:off x="1509773" y="1315070"/>
              <a:ext cx="3245892" cy="3418704"/>
              <a:chOff x="3059833" y="229582"/>
              <a:chExt cx="4359662" cy="4205945"/>
            </a:xfrm>
            <a:solidFill>
              <a:srgbClr val="DADCDA"/>
            </a:solidFill>
          </p:grpSpPr>
          <p:sp>
            <p:nvSpPr>
              <p:cNvPr id="639" name="Freeform 100">
                <a:extLst>
                  <a:ext uri="{FF2B5EF4-FFF2-40B4-BE49-F238E27FC236}">
                    <a16:creationId xmlns:a16="http://schemas.microsoft.com/office/drawing/2014/main" id="{FAFFEF30-563A-8609-16D9-61C9B077E8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42619" y="2133094"/>
                <a:ext cx="233380" cy="117268"/>
              </a:xfrm>
              <a:custGeom>
                <a:avLst/>
                <a:gdLst>
                  <a:gd name="T0" fmla="*/ 44 w 104"/>
                  <a:gd name="T1" fmla="*/ 1 h 54"/>
                  <a:gd name="T2" fmla="*/ 48 w 104"/>
                  <a:gd name="T3" fmla="*/ 4 h 54"/>
                  <a:gd name="T4" fmla="*/ 51 w 104"/>
                  <a:gd name="T5" fmla="*/ 5 h 54"/>
                  <a:gd name="T6" fmla="*/ 57 w 104"/>
                  <a:gd name="T7" fmla="*/ 8 h 54"/>
                  <a:gd name="T8" fmla="*/ 69 w 104"/>
                  <a:gd name="T9" fmla="*/ 9 h 54"/>
                  <a:gd name="T10" fmla="*/ 71 w 104"/>
                  <a:gd name="T11" fmla="*/ 7 h 54"/>
                  <a:gd name="T12" fmla="*/ 75 w 104"/>
                  <a:gd name="T13" fmla="*/ 6 h 54"/>
                  <a:gd name="T14" fmla="*/ 82 w 104"/>
                  <a:gd name="T15" fmla="*/ 4 h 54"/>
                  <a:gd name="T16" fmla="*/ 85 w 104"/>
                  <a:gd name="T17" fmla="*/ 8 h 54"/>
                  <a:gd name="T18" fmla="*/ 87 w 104"/>
                  <a:gd name="T19" fmla="*/ 8 h 54"/>
                  <a:gd name="T20" fmla="*/ 91 w 104"/>
                  <a:gd name="T21" fmla="*/ 12 h 54"/>
                  <a:gd name="T22" fmla="*/ 94 w 104"/>
                  <a:gd name="T23" fmla="*/ 15 h 54"/>
                  <a:gd name="T24" fmla="*/ 92 w 104"/>
                  <a:gd name="T25" fmla="*/ 22 h 54"/>
                  <a:gd name="T26" fmla="*/ 92 w 104"/>
                  <a:gd name="T27" fmla="*/ 25 h 54"/>
                  <a:gd name="T28" fmla="*/ 92 w 104"/>
                  <a:gd name="T29" fmla="*/ 35 h 54"/>
                  <a:gd name="T30" fmla="*/ 95 w 104"/>
                  <a:gd name="T31" fmla="*/ 39 h 54"/>
                  <a:gd name="T32" fmla="*/ 95 w 104"/>
                  <a:gd name="T33" fmla="*/ 40 h 54"/>
                  <a:gd name="T34" fmla="*/ 99 w 104"/>
                  <a:gd name="T35" fmla="*/ 39 h 54"/>
                  <a:gd name="T36" fmla="*/ 100 w 104"/>
                  <a:gd name="T37" fmla="*/ 38 h 54"/>
                  <a:gd name="T38" fmla="*/ 99 w 104"/>
                  <a:gd name="T39" fmla="*/ 39 h 54"/>
                  <a:gd name="T40" fmla="*/ 90 w 104"/>
                  <a:gd name="T41" fmla="*/ 41 h 54"/>
                  <a:gd name="T42" fmla="*/ 82 w 104"/>
                  <a:gd name="T43" fmla="*/ 46 h 54"/>
                  <a:gd name="T44" fmla="*/ 61 w 104"/>
                  <a:gd name="T45" fmla="*/ 48 h 54"/>
                  <a:gd name="T46" fmla="*/ 46 w 104"/>
                  <a:gd name="T47" fmla="*/ 49 h 54"/>
                  <a:gd name="T48" fmla="*/ 37 w 104"/>
                  <a:gd name="T49" fmla="*/ 51 h 54"/>
                  <a:gd name="T50" fmla="*/ 24 w 104"/>
                  <a:gd name="T51" fmla="*/ 52 h 54"/>
                  <a:gd name="T52" fmla="*/ 17 w 104"/>
                  <a:gd name="T53" fmla="*/ 52 h 54"/>
                  <a:gd name="T54" fmla="*/ 4 w 104"/>
                  <a:gd name="T55" fmla="*/ 53 h 54"/>
                  <a:gd name="T56" fmla="*/ 5 w 104"/>
                  <a:gd name="T57" fmla="*/ 49 h 54"/>
                  <a:gd name="T58" fmla="*/ 13 w 104"/>
                  <a:gd name="T59" fmla="*/ 40 h 54"/>
                  <a:gd name="T60" fmla="*/ 8 w 104"/>
                  <a:gd name="T61" fmla="*/ 38 h 54"/>
                  <a:gd name="T62" fmla="*/ 4 w 104"/>
                  <a:gd name="T63" fmla="*/ 35 h 54"/>
                  <a:gd name="T64" fmla="*/ 9 w 104"/>
                  <a:gd name="T65" fmla="*/ 22 h 54"/>
                  <a:gd name="T66" fmla="*/ 25 w 104"/>
                  <a:gd name="T67" fmla="*/ 25 h 54"/>
                  <a:gd name="T68" fmla="*/ 38 w 104"/>
                  <a:gd name="T69" fmla="*/ 8 h 54"/>
                  <a:gd name="T70" fmla="*/ 40 w 104"/>
                  <a:gd name="T71" fmla="*/ 1 h 54"/>
                  <a:gd name="T72" fmla="*/ 44 w 104"/>
                  <a:gd name="T73" fmla="*/ 1 h 54"/>
                  <a:gd name="T74" fmla="*/ 102 w 104"/>
                  <a:gd name="T75" fmla="*/ 37 h 54"/>
                  <a:gd name="T76" fmla="*/ 102 w 104"/>
                  <a:gd name="T77" fmla="*/ 37 h 54"/>
                  <a:gd name="T78" fmla="*/ 102 w 104"/>
                  <a:gd name="T79" fmla="*/ 37 h 54"/>
                  <a:gd name="T80" fmla="*/ 102 w 104"/>
                  <a:gd name="T81" fmla="*/ 38 h 54"/>
                  <a:gd name="T82" fmla="*/ 102 w 104"/>
                  <a:gd name="T83" fmla="*/ 37 h 54"/>
                  <a:gd name="T84" fmla="*/ 102 w 104"/>
                  <a:gd name="T85" fmla="*/ 37 h 54"/>
                  <a:gd name="T86" fmla="*/ 102 w 104"/>
                  <a:gd name="T87" fmla="*/ 38 h 54"/>
                  <a:gd name="T88" fmla="*/ 102 w 104"/>
                  <a:gd name="T89" fmla="*/ 38 h 54"/>
                  <a:gd name="T90" fmla="*/ 104 w 104"/>
                  <a:gd name="T91" fmla="*/ 42 h 54"/>
                  <a:gd name="T92" fmla="*/ 104 w 104"/>
                  <a:gd name="T93" fmla="*/ 42 h 54"/>
                  <a:gd name="T94" fmla="*/ 102 w 104"/>
                  <a:gd name="T95" fmla="*/ 3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4" h="54">
                    <a:moveTo>
                      <a:pt x="44" y="1"/>
                    </a:moveTo>
                    <a:cubicBezTo>
                      <a:pt x="48" y="4"/>
                      <a:pt x="48" y="4"/>
                      <a:pt x="48" y="4"/>
                    </a:cubicBezTo>
                    <a:cubicBezTo>
                      <a:pt x="51" y="5"/>
                      <a:pt x="51" y="5"/>
                      <a:pt x="51" y="5"/>
                    </a:cubicBezTo>
                    <a:cubicBezTo>
                      <a:pt x="57" y="8"/>
                      <a:pt x="57" y="8"/>
                      <a:pt x="57" y="8"/>
                    </a:cubicBezTo>
                    <a:cubicBezTo>
                      <a:pt x="69" y="9"/>
                      <a:pt x="69" y="9"/>
                      <a:pt x="69" y="9"/>
                    </a:cubicBezTo>
                    <a:cubicBezTo>
                      <a:pt x="71" y="7"/>
                      <a:pt x="71" y="7"/>
                      <a:pt x="71" y="7"/>
                    </a:cubicBezTo>
                    <a:cubicBezTo>
                      <a:pt x="75" y="6"/>
                      <a:pt x="75" y="6"/>
                      <a:pt x="75" y="6"/>
                    </a:cubicBezTo>
                    <a:cubicBezTo>
                      <a:pt x="82" y="4"/>
                      <a:pt x="82" y="4"/>
                      <a:pt x="82" y="4"/>
                    </a:cubicBezTo>
                    <a:cubicBezTo>
                      <a:pt x="85" y="8"/>
                      <a:pt x="85" y="8"/>
                      <a:pt x="85" y="8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8"/>
                      <a:pt x="89" y="10"/>
                      <a:pt x="91" y="12"/>
                    </a:cubicBezTo>
                    <a:cubicBezTo>
                      <a:pt x="92" y="14"/>
                      <a:pt x="94" y="15"/>
                      <a:pt x="94" y="15"/>
                    </a:cubicBezTo>
                    <a:cubicBezTo>
                      <a:pt x="92" y="22"/>
                      <a:pt x="92" y="22"/>
                      <a:pt x="92" y="22"/>
                    </a:cubicBezTo>
                    <a:cubicBezTo>
                      <a:pt x="92" y="25"/>
                      <a:pt x="92" y="25"/>
                      <a:pt x="92" y="25"/>
                    </a:cubicBezTo>
                    <a:cubicBezTo>
                      <a:pt x="92" y="35"/>
                      <a:pt x="92" y="35"/>
                      <a:pt x="92" y="35"/>
                    </a:cubicBezTo>
                    <a:cubicBezTo>
                      <a:pt x="95" y="39"/>
                      <a:pt x="95" y="39"/>
                      <a:pt x="95" y="39"/>
                    </a:cubicBezTo>
                    <a:cubicBezTo>
                      <a:pt x="95" y="40"/>
                      <a:pt x="95" y="40"/>
                      <a:pt x="95" y="40"/>
                    </a:cubicBezTo>
                    <a:cubicBezTo>
                      <a:pt x="99" y="39"/>
                      <a:pt x="99" y="39"/>
                      <a:pt x="99" y="39"/>
                    </a:cubicBezTo>
                    <a:cubicBezTo>
                      <a:pt x="99" y="39"/>
                      <a:pt x="100" y="39"/>
                      <a:pt x="100" y="38"/>
                    </a:cubicBezTo>
                    <a:cubicBezTo>
                      <a:pt x="100" y="39"/>
                      <a:pt x="99" y="39"/>
                      <a:pt x="99" y="39"/>
                    </a:cubicBezTo>
                    <a:cubicBezTo>
                      <a:pt x="90" y="41"/>
                      <a:pt x="90" y="41"/>
                      <a:pt x="90" y="41"/>
                    </a:cubicBezTo>
                    <a:cubicBezTo>
                      <a:pt x="82" y="46"/>
                      <a:pt x="82" y="46"/>
                      <a:pt x="82" y="46"/>
                    </a:cubicBezTo>
                    <a:cubicBezTo>
                      <a:pt x="82" y="46"/>
                      <a:pt x="63" y="48"/>
                      <a:pt x="61" y="48"/>
                    </a:cubicBezTo>
                    <a:cubicBezTo>
                      <a:pt x="60" y="48"/>
                      <a:pt x="48" y="49"/>
                      <a:pt x="46" y="49"/>
                    </a:cubicBezTo>
                    <a:cubicBezTo>
                      <a:pt x="45" y="50"/>
                      <a:pt x="39" y="51"/>
                      <a:pt x="37" y="51"/>
                    </a:cubicBezTo>
                    <a:cubicBezTo>
                      <a:pt x="35" y="51"/>
                      <a:pt x="26" y="52"/>
                      <a:pt x="24" y="52"/>
                    </a:cubicBezTo>
                    <a:cubicBezTo>
                      <a:pt x="22" y="52"/>
                      <a:pt x="17" y="52"/>
                      <a:pt x="17" y="52"/>
                    </a:cubicBezTo>
                    <a:cubicBezTo>
                      <a:pt x="17" y="52"/>
                      <a:pt x="7" y="53"/>
                      <a:pt x="4" y="53"/>
                    </a:cubicBezTo>
                    <a:cubicBezTo>
                      <a:pt x="1" y="54"/>
                      <a:pt x="5" y="49"/>
                      <a:pt x="5" y="49"/>
                    </a:cubicBezTo>
                    <a:cubicBezTo>
                      <a:pt x="5" y="49"/>
                      <a:pt x="17" y="39"/>
                      <a:pt x="13" y="40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0" y="26"/>
                      <a:pt x="5" y="22"/>
                      <a:pt x="9" y="22"/>
                    </a:cubicBezTo>
                    <a:cubicBezTo>
                      <a:pt x="12" y="22"/>
                      <a:pt x="20" y="25"/>
                      <a:pt x="25" y="25"/>
                    </a:cubicBezTo>
                    <a:cubicBezTo>
                      <a:pt x="43" y="25"/>
                      <a:pt x="39" y="19"/>
                      <a:pt x="38" y="8"/>
                    </a:cubicBezTo>
                    <a:cubicBezTo>
                      <a:pt x="38" y="5"/>
                      <a:pt x="39" y="2"/>
                      <a:pt x="40" y="1"/>
                    </a:cubicBezTo>
                    <a:cubicBezTo>
                      <a:pt x="41" y="0"/>
                      <a:pt x="43" y="2"/>
                      <a:pt x="44" y="1"/>
                    </a:cubicBezTo>
                    <a:close/>
                    <a:moveTo>
                      <a:pt x="102" y="37"/>
                    </a:moveTo>
                    <a:cubicBezTo>
                      <a:pt x="102" y="37"/>
                      <a:pt x="102" y="37"/>
                      <a:pt x="102" y="37"/>
                    </a:cubicBezTo>
                    <a:cubicBezTo>
                      <a:pt x="102" y="37"/>
                      <a:pt x="102" y="37"/>
                      <a:pt x="102" y="37"/>
                    </a:cubicBezTo>
                    <a:cubicBezTo>
                      <a:pt x="102" y="38"/>
                      <a:pt x="102" y="38"/>
                      <a:pt x="102" y="38"/>
                    </a:cubicBezTo>
                    <a:cubicBezTo>
                      <a:pt x="102" y="37"/>
                      <a:pt x="102" y="37"/>
                      <a:pt x="102" y="37"/>
                    </a:cubicBezTo>
                    <a:cubicBezTo>
                      <a:pt x="102" y="37"/>
                      <a:pt x="102" y="37"/>
                      <a:pt x="102" y="37"/>
                    </a:cubicBezTo>
                    <a:close/>
                    <a:moveTo>
                      <a:pt x="102" y="38"/>
                    </a:moveTo>
                    <a:cubicBezTo>
                      <a:pt x="102" y="38"/>
                      <a:pt x="102" y="38"/>
                      <a:pt x="102" y="38"/>
                    </a:cubicBezTo>
                    <a:cubicBezTo>
                      <a:pt x="103" y="39"/>
                      <a:pt x="104" y="41"/>
                      <a:pt x="104" y="42"/>
                    </a:cubicBezTo>
                    <a:cubicBezTo>
                      <a:pt x="104" y="42"/>
                      <a:pt x="104" y="42"/>
                      <a:pt x="104" y="42"/>
                    </a:cubicBezTo>
                    <a:cubicBezTo>
                      <a:pt x="104" y="41"/>
                      <a:pt x="103" y="39"/>
                      <a:pt x="102" y="38"/>
                    </a:cubicBez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40" name="Freeform 23">
                <a:extLst>
                  <a:ext uri="{FF2B5EF4-FFF2-40B4-BE49-F238E27FC236}">
                    <a16:creationId xmlns:a16="http://schemas.microsoft.com/office/drawing/2014/main" id="{29A64C36-EB3C-13B0-88B6-7CCC49D461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80321" y="3527746"/>
                <a:ext cx="168552" cy="169620"/>
              </a:xfrm>
              <a:custGeom>
                <a:avLst/>
                <a:gdLst>
                  <a:gd name="T0" fmla="*/ 70 w 75"/>
                  <a:gd name="T1" fmla="*/ 49 h 78"/>
                  <a:gd name="T2" fmla="*/ 52 w 75"/>
                  <a:gd name="T3" fmla="*/ 56 h 78"/>
                  <a:gd name="T4" fmla="*/ 40 w 75"/>
                  <a:gd name="T5" fmla="*/ 65 h 78"/>
                  <a:gd name="T6" fmla="*/ 38 w 75"/>
                  <a:gd name="T7" fmla="*/ 77 h 78"/>
                  <a:gd name="T8" fmla="*/ 32 w 75"/>
                  <a:gd name="T9" fmla="*/ 76 h 78"/>
                  <a:gd name="T10" fmla="*/ 31 w 75"/>
                  <a:gd name="T11" fmla="*/ 70 h 78"/>
                  <a:gd name="T12" fmla="*/ 30 w 75"/>
                  <a:gd name="T13" fmla="*/ 66 h 78"/>
                  <a:gd name="T14" fmla="*/ 26 w 75"/>
                  <a:gd name="T15" fmla="*/ 60 h 78"/>
                  <a:gd name="T16" fmla="*/ 21 w 75"/>
                  <a:gd name="T17" fmla="*/ 57 h 78"/>
                  <a:gd name="T18" fmla="*/ 19 w 75"/>
                  <a:gd name="T19" fmla="*/ 57 h 78"/>
                  <a:gd name="T20" fmla="*/ 15 w 75"/>
                  <a:gd name="T21" fmla="*/ 55 h 78"/>
                  <a:gd name="T22" fmla="*/ 13 w 75"/>
                  <a:gd name="T23" fmla="*/ 49 h 78"/>
                  <a:gd name="T24" fmla="*/ 9 w 75"/>
                  <a:gd name="T25" fmla="*/ 46 h 78"/>
                  <a:gd name="T26" fmla="*/ 6 w 75"/>
                  <a:gd name="T27" fmla="*/ 44 h 78"/>
                  <a:gd name="T28" fmla="*/ 1 w 75"/>
                  <a:gd name="T29" fmla="*/ 34 h 78"/>
                  <a:gd name="T30" fmla="*/ 10 w 75"/>
                  <a:gd name="T31" fmla="*/ 29 h 78"/>
                  <a:gd name="T32" fmla="*/ 16 w 75"/>
                  <a:gd name="T33" fmla="*/ 27 h 78"/>
                  <a:gd name="T34" fmla="*/ 20 w 75"/>
                  <a:gd name="T35" fmla="*/ 24 h 78"/>
                  <a:gd name="T36" fmla="*/ 25 w 75"/>
                  <a:gd name="T37" fmla="*/ 15 h 78"/>
                  <a:gd name="T38" fmla="*/ 24 w 75"/>
                  <a:gd name="T39" fmla="*/ 8 h 78"/>
                  <a:gd name="T40" fmla="*/ 25 w 75"/>
                  <a:gd name="T41" fmla="*/ 4 h 78"/>
                  <a:gd name="T42" fmla="*/ 32 w 75"/>
                  <a:gd name="T43" fmla="*/ 2 h 78"/>
                  <a:gd name="T44" fmla="*/ 39 w 75"/>
                  <a:gd name="T45" fmla="*/ 7 h 78"/>
                  <a:gd name="T46" fmla="*/ 47 w 75"/>
                  <a:gd name="T47" fmla="*/ 11 h 78"/>
                  <a:gd name="T48" fmla="*/ 50 w 75"/>
                  <a:gd name="T49" fmla="*/ 17 h 78"/>
                  <a:gd name="T50" fmla="*/ 59 w 75"/>
                  <a:gd name="T51" fmla="*/ 23 h 78"/>
                  <a:gd name="T52" fmla="*/ 67 w 75"/>
                  <a:gd name="T53" fmla="*/ 26 h 78"/>
                  <a:gd name="T54" fmla="*/ 75 w 75"/>
                  <a:gd name="T55" fmla="*/ 26 h 78"/>
                  <a:gd name="T56" fmla="*/ 73 w 75"/>
                  <a:gd name="T57" fmla="*/ 31 h 78"/>
                  <a:gd name="T58" fmla="*/ 70 w 75"/>
                  <a:gd name="T59" fmla="*/ 37 h 78"/>
                  <a:gd name="T60" fmla="*/ 70 w 75"/>
                  <a:gd name="T61" fmla="*/ 43 h 78"/>
                  <a:gd name="T62" fmla="*/ 70 w 75"/>
                  <a:gd name="T63" fmla="*/ 48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5" h="78">
                    <a:moveTo>
                      <a:pt x="71" y="48"/>
                    </a:moveTo>
                    <a:cubicBezTo>
                      <a:pt x="70" y="49"/>
                      <a:pt x="70" y="49"/>
                      <a:pt x="70" y="49"/>
                    </a:cubicBezTo>
                    <a:cubicBezTo>
                      <a:pt x="66" y="51"/>
                      <a:pt x="61" y="49"/>
                      <a:pt x="60" y="56"/>
                    </a:cubicBezTo>
                    <a:cubicBezTo>
                      <a:pt x="60" y="68"/>
                      <a:pt x="56" y="56"/>
                      <a:pt x="52" y="56"/>
                    </a:cubicBezTo>
                    <a:cubicBezTo>
                      <a:pt x="49" y="56"/>
                      <a:pt x="49" y="58"/>
                      <a:pt x="47" y="60"/>
                    </a:cubicBezTo>
                    <a:cubicBezTo>
                      <a:pt x="44" y="62"/>
                      <a:pt x="41" y="63"/>
                      <a:pt x="40" y="65"/>
                    </a:cubicBezTo>
                    <a:cubicBezTo>
                      <a:pt x="40" y="67"/>
                      <a:pt x="39" y="69"/>
                      <a:pt x="39" y="71"/>
                    </a:cubicBezTo>
                    <a:cubicBezTo>
                      <a:pt x="40" y="74"/>
                      <a:pt x="40" y="77"/>
                      <a:pt x="38" y="77"/>
                    </a:cubicBezTo>
                    <a:cubicBezTo>
                      <a:pt x="37" y="77"/>
                      <a:pt x="34" y="78"/>
                      <a:pt x="32" y="77"/>
                    </a:cubicBezTo>
                    <a:cubicBezTo>
                      <a:pt x="32" y="76"/>
                      <a:pt x="32" y="76"/>
                      <a:pt x="32" y="76"/>
                    </a:cubicBezTo>
                    <a:cubicBezTo>
                      <a:pt x="33" y="73"/>
                      <a:pt x="33" y="73"/>
                      <a:pt x="33" y="73"/>
                    </a:cubicBezTo>
                    <a:cubicBezTo>
                      <a:pt x="31" y="70"/>
                      <a:pt x="31" y="70"/>
                      <a:pt x="31" y="70"/>
                    </a:cubicBezTo>
                    <a:cubicBezTo>
                      <a:pt x="31" y="70"/>
                      <a:pt x="31" y="70"/>
                      <a:pt x="31" y="69"/>
                    </a:cubicBezTo>
                    <a:cubicBezTo>
                      <a:pt x="30" y="68"/>
                      <a:pt x="30" y="66"/>
                      <a:pt x="30" y="66"/>
                    </a:cubicBezTo>
                    <a:cubicBezTo>
                      <a:pt x="29" y="63"/>
                      <a:pt x="29" y="63"/>
                      <a:pt x="29" y="63"/>
                    </a:cubicBezTo>
                    <a:cubicBezTo>
                      <a:pt x="29" y="63"/>
                      <a:pt x="27" y="61"/>
                      <a:pt x="26" y="60"/>
                    </a:cubicBezTo>
                    <a:cubicBezTo>
                      <a:pt x="26" y="60"/>
                      <a:pt x="26" y="59"/>
                      <a:pt x="24" y="58"/>
                    </a:cubicBezTo>
                    <a:cubicBezTo>
                      <a:pt x="23" y="58"/>
                      <a:pt x="21" y="57"/>
                      <a:pt x="21" y="57"/>
                    </a:cubicBezTo>
                    <a:cubicBezTo>
                      <a:pt x="20" y="57"/>
                      <a:pt x="20" y="57"/>
                      <a:pt x="20" y="57"/>
                    </a:cubicBezTo>
                    <a:cubicBezTo>
                      <a:pt x="20" y="57"/>
                      <a:pt x="19" y="57"/>
                      <a:pt x="19" y="57"/>
                    </a:cubicBezTo>
                    <a:cubicBezTo>
                      <a:pt x="17" y="55"/>
                      <a:pt x="17" y="55"/>
                      <a:pt x="17" y="55"/>
                    </a:cubicBezTo>
                    <a:cubicBezTo>
                      <a:pt x="15" y="55"/>
                      <a:pt x="15" y="55"/>
                      <a:pt x="15" y="55"/>
                    </a:cubicBezTo>
                    <a:cubicBezTo>
                      <a:pt x="14" y="52"/>
                      <a:pt x="14" y="52"/>
                      <a:pt x="14" y="52"/>
                    </a:cubicBezTo>
                    <a:cubicBezTo>
                      <a:pt x="13" y="49"/>
                      <a:pt x="13" y="49"/>
                      <a:pt x="13" y="49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9" y="46"/>
                      <a:pt x="9" y="46"/>
                      <a:pt x="9" y="46"/>
                    </a:cubicBezTo>
                    <a:cubicBezTo>
                      <a:pt x="8" y="45"/>
                      <a:pt x="8" y="45"/>
                      <a:pt x="8" y="45"/>
                    </a:cubicBezTo>
                    <a:cubicBezTo>
                      <a:pt x="6" y="44"/>
                      <a:pt x="6" y="44"/>
                      <a:pt x="6" y="44"/>
                    </a:cubicBezTo>
                    <a:cubicBezTo>
                      <a:pt x="5" y="42"/>
                      <a:pt x="7" y="40"/>
                      <a:pt x="6" y="38"/>
                    </a:cubicBezTo>
                    <a:cubicBezTo>
                      <a:pt x="4" y="36"/>
                      <a:pt x="0" y="34"/>
                      <a:pt x="1" y="34"/>
                    </a:cubicBezTo>
                    <a:cubicBezTo>
                      <a:pt x="2" y="32"/>
                      <a:pt x="6" y="33"/>
                      <a:pt x="8" y="32"/>
                    </a:cubicBezTo>
                    <a:cubicBezTo>
                      <a:pt x="9" y="32"/>
                      <a:pt x="9" y="30"/>
                      <a:pt x="10" y="29"/>
                    </a:cubicBezTo>
                    <a:cubicBezTo>
                      <a:pt x="11" y="29"/>
                      <a:pt x="13" y="30"/>
                      <a:pt x="13" y="28"/>
                    </a:cubicBezTo>
                    <a:cubicBezTo>
                      <a:pt x="13" y="26"/>
                      <a:pt x="15" y="26"/>
                      <a:pt x="16" y="27"/>
                    </a:cubicBezTo>
                    <a:cubicBezTo>
                      <a:pt x="16" y="27"/>
                      <a:pt x="17" y="27"/>
                      <a:pt x="19" y="25"/>
                    </a:cubicBezTo>
                    <a:cubicBezTo>
                      <a:pt x="22" y="24"/>
                      <a:pt x="20" y="24"/>
                      <a:pt x="20" y="24"/>
                    </a:cubicBezTo>
                    <a:cubicBezTo>
                      <a:pt x="19" y="21"/>
                      <a:pt x="19" y="21"/>
                      <a:pt x="19" y="21"/>
                    </a:cubicBezTo>
                    <a:cubicBezTo>
                      <a:pt x="25" y="15"/>
                      <a:pt x="25" y="15"/>
                      <a:pt x="25" y="15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6" y="10"/>
                      <a:pt x="25" y="9"/>
                      <a:pt x="24" y="8"/>
                    </a:cubicBezTo>
                    <a:cubicBezTo>
                      <a:pt x="22" y="6"/>
                      <a:pt x="23" y="6"/>
                      <a:pt x="23" y="5"/>
                    </a:cubicBezTo>
                    <a:cubicBezTo>
                      <a:pt x="24" y="4"/>
                      <a:pt x="25" y="4"/>
                      <a:pt x="25" y="4"/>
                    </a:cubicBezTo>
                    <a:cubicBezTo>
                      <a:pt x="26" y="3"/>
                      <a:pt x="28" y="3"/>
                      <a:pt x="30" y="1"/>
                    </a:cubicBezTo>
                    <a:cubicBezTo>
                      <a:pt x="32" y="0"/>
                      <a:pt x="32" y="2"/>
                      <a:pt x="32" y="2"/>
                    </a:cubicBezTo>
                    <a:cubicBezTo>
                      <a:pt x="32" y="2"/>
                      <a:pt x="33" y="5"/>
                      <a:pt x="36" y="6"/>
                    </a:cubicBezTo>
                    <a:cubicBezTo>
                      <a:pt x="38" y="7"/>
                      <a:pt x="39" y="7"/>
                      <a:pt x="39" y="7"/>
                    </a:cubicBezTo>
                    <a:cubicBezTo>
                      <a:pt x="42" y="7"/>
                      <a:pt x="42" y="7"/>
                      <a:pt x="42" y="7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47" y="11"/>
                      <a:pt x="47" y="11"/>
                      <a:pt x="48" y="12"/>
                    </a:cubicBezTo>
                    <a:cubicBezTo>
                      <a:pt x="49" y="13"/>
                      <a:pt x="50" y="17"/>
                      <a:pt x="50" y="17"/>
                    </a:cubicBezTo>
                    <a:cubicBezTo>
                      <a:pt x="58" y="19"/>
                      <a:pt x="58" y="19"/>
                      <a:pt x="58" y="19"/>
                    </a:cubicBezTo>
                    <a:cubicBezTo>
                      <a:pt x="59" y="23"/>
                      <a:pt x="59" y="23"/>
                      <a:pt x="59" y="23"/>
                    </a:cubicBezTo>
                    <a:cubicBezTo>
                      <a:pt x="59" y="23"/>
                      <a:pt x="63" y="23"/>
                      <a:pt x="65" y="24"/>
                    </a:cubicBezTo>
                    <a:cubicBezTo>
                      <a:pt x="67" y="24"/>
                      <a:pt x="67" y="26"/>
                      <a:pt x="67" y="26"/>
                    </a:cubicBezTo>
                    <a:cubicBezTo>
                      <a:pt x="70" y="25"/>
                      <a:pt x="70" y="25"/>
                      <a:pt x="70" y="25"/>
                    </a:cubicBezTo>
                    <a:cubicBezTo>
                      <a:pt x="75" y="26"/>
                      <a:pt x="75" y="26"/>
                      <a:pt x="75" y="26"/>
                    </a:cubicBezTo>
                    <a:cubicBezTo>
                      <a:pt x="75" y="26"/>
                      <a:pt x="75" y="27"/>
                      <a:pt x="74" y="28"/>
                    </a:cubicBezTo>
                    <a:cubicBezTo>
                      <a:pt x="73" y="28"/>
                      <a:pt x="73" y="30"/>
                      <a:pt x="73" y="31"/>
                    </a:cubicBezTo>
                    <a:cubicBezTo>
                      <a:pt x="73" y="33"/>
                      <a:pt x="73" y="34"/>
                      <a:pt x="73" y="35"/>
                    </a:cubicBezTo>
                    <a:cubicBezTo>
                      <a:pt x="72" y="37"/>
                      <a:pt x="71" y="36"/>
                      <a:pt x="70" y="37"/>
                    </a:cubicBezTo>
                    <a:cubicBezTo>
                      <a:pt x="69" y="37"/>
                      <a:pt x="70" y="39"/>
                      <a:pt x="71" y="41"/>
                    </a:cubicBezTo>
                    <a:cubicBezTo>
                      <a:pt x="71" y="42"/>
                      <a:pt x="71" y="42"/>
                      <a:pt x="70" y="43"/>
                    </a:cubicBezTo>
                    <a:cubicBezTo>
                      <a:pt x="68" y="45"/>
                      <a:pt x="67" y="45"/>
                      <a:pt x="67" y="45"/>
                    </a:cubicBezTo>
                    <a:cubicBezTo>
                      <a:pt x="70" y="48"/>
                      <a:pt x="70" y="48"/>
                      <a:pt x="70" y="48"/>
                    </a:cubicBezTo>
                    <a:cubicBezTo>
                      <a:pt x="70" y="48"/>
                      <a:pt x="70" y="48"/>
                      <a:pt x="71" y="48"/>
                    </a:cubicBez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41" name="Freeform 5">
                <a:extLst>
                  <a:ext uri="{FF2B5EF4-FFF2-40B4-BE49-F238E27FC236}">
                    <a16:creationId xmlns:a16="http://schemas.microsoft.com/office/drawing/2014/main" id="{3DF31B34-B8C4-9777-93BD-023A9CDF5A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29539" y="3614650"/>
                <a:ext cx="190162" cy="347616"/>
              </a:xfrm>
              <a:custGeom>
                <a:avLst/>
                <a:gdLst>
                  <a:gd name="T0" fmla="*/ 57 w 85"/>
                  <a:gd name="T1" fmla="*/ 158 h 160"/>
                  <a:gd name="T2" fmla="*/ 58 w 85"/>
                  <a:gd name="T3" fmla="*/ 151 h 160"/>
                  <a:gd name="T4" fmla="*/ 63 w 85"/>
                  <a:gd name="T5" fmla="*/ 149 h 160"/>
                  <a:gd name="T6" fmla="*/ 58 w 85"/>
                  <a:gd name="T7" fmla="*/ 142 h 160"/>
                  <a:gd name="T8" fmla="*/ 61 w 85"/>
                  <a:gd name="T9" fmla="*/ 137 h 160"/>
                  <a:gd name="T10" fmla="*/ 75 w 85"/>
                  <a:gd name="T11" fmla="*/ 124 h 160"/>
                  <a:gd name="T12" fmla="*/ 84 w 85"/>
                  <a:gd name="T13" fmla="*/ 96 h 160"/>
                  <a:gd name="T14" fmla="*/ 79 w 85"/>
                  <a:gd name="T15" fmla="*/ 91 h 160"/>
                  <a:gd name="T16" fmla="*/ 73 w 85"/>
                  <a:gd name="T17" fmla="*/ 88 h 160"/>
                  <a:gd name="T18" fmla="*/ 68 w 85"/>
                  <a:gd name="T19" fmla="*/ 90 h 160"/>
                  <a:gd name="T20" fmla="*/ 68 w 85"/>
                  <a:gd name="T21" fmla="*/ 90 h 160"/>
                  <a:gd name="T22" fmla="*/ 68 w 85"/>
                  <a:gd name="T23" fmla="*/ 90 h 160"/>
                  <a:gd name="T24" fmla="*/ 65 w 85"/>
                  <a:gd name="T25" fmla="*/ 81 h 160"/>
                  <a:gd name="T26" fmla="*/ 59 w 85"/>
                  <a:gd name="T27" fmla="*/ 76 h 160"/>
                  <a:gd name="T28" fmla="*/ 55 w 85"/>
                  <a:gd name="T29" fmla="*/ 68 h 160"/>
                  <a:gd name="T30" fmla="*/ 52 w 85"/>
                  <a:gd name="T31" fmla="*/ 59 h 160"/>
                  <a:gd name="T32" fmla="*/ 56 w 85"/>
                  <a:gd name="T33" fmla="*/ 53 h 160"/>
                  <a:gd name="T34" fmla="*/ 54 w 85"/>
                  <a:gd name="T35" fmla="*/ 43 h 160"/>
                  <a:gd name="T36" fmla="*/ 55 w 85"/>
                  <a:gd name="T37" fmla="*/ 36 h 160"/>
                  <a:gd name="T38" fmla="*/ 53 w 85"/>
                  <a:gd name="T39" fmla="*/ 26 h 160"/>
                  <a:gd name="T40" fmla="*/ 44 w 85"/>
                  <a:gd name="T41" fmla="*/ 17 h 160"/>
                  <a:gd name="T42" fmla="*/ 37 w 85"/>
                  <a:gd name="T43" fmla="*/ 12 h 160"/>
                  <a:gd name="T44" fmla="*/ 31 w 85"/>
                  <a:gd name="T45" fmla="*/ 5 h 160"/>
                  <a:gd name="T46" fmla="*/ 24 w 85"/>
                  <a:gd name="T47" fmla="*/ 7 h 160"/>
                  <a:gd name="T48" fmla="*/ 19 w 85"/>
                  <a:gd name="T49" fmla="*/ 9 h 160"/>
                  <a:gd name="T50" fmla="*/ 17 w 85"/>
                  <a:gd name="T51" fmla="*/ 3 h 160"/>
                  <a:gd name="T52" fmla="*/ 14 w 85"/>
                  <a:gd name="T53" fmla="*/ 0 h 160"/>
                  <a:gd name="T54" fmla="*/ 9 w 85"/>
                  <a:gd name="T55" fmla="*/ 9 h 160"/>
                  <a:gd name="T56" fmla="*/ 5 w 85"/>
                  <a:gd name="T57" fmla="*/ 15 h 160"/>
                  <a:gd name="T58" fmla="*/ 3 w 85"/>
                  <a:gd name="T59" fmla="*/ 21 h 160"/>
                  <a:gd name="T60" fmla="*/ 1 w 85"/>
                  <a:gd name="T61" fmla="*/ 28 h 160"/>
                  <a:gd name="T62" fmla="*/ 5 w 85"/>
                  <a:gd name="T63" fmla="*/ 33 h 160"/>
                  <a:gd name="T64" fmla="*/ 5 w 85"/>
                  <a:gd name="T65" fmla="*/ 39 h 160"/>
                  <a:gd name="T66" fmla="*/ 6 w 85"/>
                  <a:gd name="T67" fmla="*/ 45 h 160"/>
                  <a:gd name="T68" fmla="*/ 14 w 85"/>
                  <a:gd name="T69" fmla="*/ 45 h 160"/>
                  <a:gd name="T70" fmla="*/ 14 w 85"/>
                  <a:gd name="T71" fmla="*/ 54 h 160"/>
                  <a:gd name="T72" fmla="*/ 13 w 85"/>
                  <a:gd name="T73" fmla="*/ 59 h 160"/>
                  <a:gd name="T74" fmla="*/ 14 w 85"/>
                  <a:gd name="T75" fmla="*/ 61 h 160"/>
                  <a:gd name="T76" fmla="*/ 11 w 85"/>
                  <a:gd name="T77" fmla="*/ 67 h 160"/>
                  <a:gd name="T78" fmla="*/ 11 w 85"/>
                  <a:gd name="T79" fmla="*/ 71 h 160"/>
                  <a:gd name="T80" fmla="*/ 14 w 85"/>
                  <a:gd name="T81" fmla="*/ 77 h 160"/>
                  <a:gd name="T82" fmla="*/ 14 w 85"/>
                  <a:gd name="T83" fmla="*/ 87 h 160"/>
                  <a:gd name="T84" fmla="*/ 14 w 85"/>
                  <a:gd name="T85" fmla="*/ 93 h 160"/>
                  <a:gd name="T86" fmla="*/ 13 w 85"/>
                  <a:gd name="T87" fmla="*/ 97 h 160"/>
                  <a:gd name="T88" fmla="*/ 11 w 85"/>
                  <a:gd name="T89" fmla="*/ 101 h 160"/>
                  <a:gd name="T90" fmla="*/ 12 w 85"/>
                  <a:gd name="T91" fmla="*/ 111 h 160"/>
                  <a:gd name="T92" fmla="*/ 19 w 85"/>
                  <a:gd name="T93" fmla="*/ 119 h 160"/>
                  <a:gd name="T94" fmla="*/ 18 w 85"/>
                  <a:gd name="T95" fmla="*/ 126 h 160"/>
                  <a:gd name="T96" fmla="*/ 13 w 85"/>
                  <a:gd name="T97" fmla="*/ 120 h 160"/>
                  <a:gd name="T98" fmla="*/ 14 w 85"/>
                  <a:gd name="T99" fmla="*/ 124 h 160"/>
                  <a:gd name="T100" fmla="*/ 19 w 85"/>
                  <a:gd name="T101" fmla="*/ 131 h 160"/>
                  <a:gd name="T102" fmla="*/ 32 w 85"/>
                  <a:gd name="T103" fmla="*/ 138 h 160"/>
                  <a:gd name="T104" fmla="*/ 38 w 85"/>
                  <a:gd name="T105" fmla="*/ 139 h 160"/>
                  <a:gd name="T106" fmla="*/ 44 w 85"/>
                  <a:gd name="T107" fmla="*/ 151 h 160"/>
                  <a:gd name="T108" fmla="*/ 46 w 85"/>
                  <a:gd name="T109" fmla="*/ 155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5" h="160">
                    <a:moveTo>
                      <a:pt x="49" y="158"/>
                    </a:moveTo>
                    <a:cubicBezTo>
                      <a:pt x="52" y="160"/>
                      <a:pt x="52" y="160"/>
                      <a:pt x="52" y="160"/>
                    </a:cubicBezTo>
                    <a:cubicBezTo>
                      <a:pt x="55" y="159"/>
                      <a:pt x="55" y="159"/>
                      <a:pt x="55" y="159"/>
                    </a:cubicBezTo>
                    <a:cubicBezTo>
                      <a:pt x="57" y="158"/>
                      <a:pt x="57" y="158"/>
                      <a:pt x="57" y="158"/>
                    </a:cubicBezTo>
                    <a:cubicBezTo>
                      <a:pt x="57" y="158"/>
                      <a:pt x="59" y="156"/>
                      <a:pt x="59" y="156"/>
                    </a:cubicBezTo>
                    <a:cubicBezTo>
                      <a:pt x="59" y="156"/>
                      <a:pt x="59" y="154"/>
                      <a:pt x="59" y="154"/>
                    </a:cubicBezTo>
                    <a:cubicBezTo>
                      <a:pt x="58" y="153"/>
                      <a:pt x="58" y="153"/>
                      <a:pt x="58" y="153"/>
                    </a:cubicBezTo>
                    <a:cubicBezTo>
                      <a:pt x="58" y="153"/>
                      <a:pt x="57" y="151"/>
                      <a:pt x="58" y="151"/>
                    </a:cubicBezTo>
                    <a:cubicBezTo>
                      <a:pt x="59" y="151"/>
                      <a:pt x="60" y="150"/>
                      <a:pt x="60" y="151"/>
                    </a:cubicBezTo>
                    <a:cubicBezTo>
                      <a:pt x="61" y="151"/>
                      <a:pt x="60" y="151"/>
                      <a:pt x="61" y="151"/>
                    </a:cubicBezTo>
                    <a:cubicBezTo>
                      <a:pt x="62" y="151"/>
                      <a:pt x="63" y="150"/>
                      <a:pt x="63" y="150"/>
                    </a:cubicBezTo>
                    <a:cubicBezTo>
                      <a:pt x="63" y="149"/>
                      <a:pt x="63" y="149"/>
                      <a:pt x="63" y="149"/>
                    </a:cubicBezTo>
                    <a:cubicBezTo>
                      <a:pt x="63" y="149"/>
                      <a:pt x="63" y="149"/>
                      <a:pt x="63" y="149"/>
                    </a:cubicBezTo>
                    <a:cubicBezTo>
                      <a:pt x="62" y="148"/>
                      <a:pt x="59" y="146"/>
                      <a:pt x="58" y="146"/>
                    </a:cubicBezTo>
                    <a:cubicBezTo>
                      <a:pt x="58" y="145"/>
                      <a:pt x="57" y="144"/>
                      <a:pt x="57" y="144"/>
                    </a:cubicBezTo>
                    <a:cubicBezTo>
                      <a:pt x="57" y="143"/>
                      <a:pt x="58" y="142"/>
                      <a:pt x="58" y="142"/>
                    </a:cubicBezTo>
                    <a:cubicBezTo>
                      <a:pt x="57" y="141"/>
                      <a:pt x="57" y="141"/>
                      <a:pt x="57" y="141"/>
                    </a:cubicBezTo>
                    <a:cubicBezTo>
                      <a:pt x="57" y="141"/>
                      <a:pt x="58" y="140"/>
                      <a:pt x="59" y="140"/>
                    </a:cubicBezTo>
                    <a:cubicBezTo>
                      <a:pt x="59" y="140"/>
                      <a:pt x="60" y="140"/>
                      <a:pt x="60" y="140"/>
                    </a:cubicBezTo>
                    <a:cubicBezTo>
                      <a:pt x="61" y="137"/>
                      <a:pt x="61" y="137"/>
                      <a:pt x="61" y="137"/>
                    </a:cubicBezTo>
                    <a:cubicBezTo>
                      <a:pt x="61" y="137"/>
                      <a:pt x="61" y="136"/>
                      <a:pt x="62" y="136"/>
                    </a:cubicBezTo>
                    <a:cubicBezTo>
                      <a:pt x="62" y="136"/>
                      <a:pt x="63" y="136"/>
                      <a:pt x="63" y="136"/>
                    </a:cubicBezTo>
                    <a:cubicBezTo>
                      <a:pt x="70" y="132"/>
                      <a:pt x="70" y="132"/>
                      <a:pt x="70" y="132"/>
                    </a:cubicBezTo>
                    <a:cubicBezTo>
                      <a:pt x="75" y="124"/>
                      <a:pt x="75" y="124"/>
                      <a:pt x="75" y="124"/>
                    </a:cubicBezTo>
                    <a:cubicBezTo>
                      <a:pt x="77" y="115"/>
                      <a:pt x="77" y="115"/>
                      <a:pt x="77" y="115"/>
                    </a:cubicBezTo>
                    <a:cubicBezTo>
                      <a:pt x="80" y="107"/>
                      <a:pt x="80" y="107"/>
                      <a:pt x="80" y="107"/>
                    </a:cubicBezTo>
                    <a:cubicBezTo>
                      <a:pt x="80" y="107"/>
                      <a:pt x="84" y="103"/>
                      <a:pt x="84" y="104"/>
                    </a:cubicBezTo>
                    <a:cubicBezTo>
                      <a:pt x="85" y="105"/>
                      <a:pt x="84" y="96"/>
                      <a:pt x="84" y="96"/>
                    </a:cubicBezTo>
                    <a:cubicBezTo>
                      <a:pt x="81" y="93"/>
                      <a:pt x="81" y="93"/>
                      <a:pt x="81" y="93"/>
                    </a:cubicBezTo>
                    <a:cubicBezTo>
                      <a:pt x="81" y="91"/>
                      <a:pt x="81" y="91"/>
                      <a:pt x="81" y="91"/>
                    </a:cubicBezTo>
                    <a:cubicBezTo>
                      <a:pt x="81" y="91"/>
                      <a:pt x="80" y="91"/>
                      <a:pt x="80" y="91"/>
                    </a:cubicBezTo>
                    <a:cubicBezTo>
                      <a:pt x="80" y="91"/>
                      <a:pt x="80" y="91"/>
                      <a:pt x="79" y="91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7" y="88"/>
                      <a:pt x="77" y="88"/>
                      <a:pt x="77" y="88"/>
                    </a:cubicBezTo>
                    <a:cubicBezTo>
                      <a:pt x="77" y="88"/>
                      <a:pt x="76" y="89"/>
                      <a:pt x="75" y="89"/>
                    </a:cubicBezTo>
                    <a:cubicBezTo>
                      <a:pt x="74" y="89"/>
                      <a:pt x="74" y="88"/>
                      <a:pt x="73" y="88"/>
                    </a:cubicBezTo>
                    <a:cubicBezTo>
                      <a:pt x="73" y="88"/>
                      <a:pt x="73" y="88"/>
                      <a:pt x="73" y="88"/>
                    </a:cubicBezTo>
                    <a:cubicBezTo>
                      <a:pt x="73" y="88"/>
                      <a:pt x="72" y="88"/>
                      <a:pt x="71" y="88"/>
                    </a:cubicBezTo>
                    <a:cubicBezTo>
                      <a:pt x="70" y="88"/>
                      <a:pt x="69" y="90"/>
                      <a:pt x="68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89"/>
                      <a:pt x="68" y="89"/>
                      <a:pt x="68" y="89"/>
                    </a:cubicBezTo>
                    <a:cubicBezTo>
                      <a:pt x="68" y="88"/>
                      <a:pt x="68" y="88"/>
                      <a:pt x="67" y="87"/>
                    </a:cubicBezTo>
                    <a:cubicBezTo>
                      <a:pt x="67" y="86"/>
                      <a:pt x="67" y="84"/>
                      <a:pt x="66" y="83"/>
                    </a:cubicBezTo>
                    <a:cubicBezTo>
                      <a:pt x="65" y="82"/>
                      <a:pt x="65" y="81"/>
                      <a:pt x="65" y="81"/>
                    </a:cubicBezTo>
                    <a:cubicBezTo>
                      <a:pt x="65" y="81"/>
                      <a:pt x="63" y="81"/>
                      <a:pt x="62" y="81"/>
                    </a:cubicBezTo>
                    <a:cubicBezTo>
                      <a:pt x="62" y="81"/>
                      <a:pt x="61" y="81"/>
                      <a:pt x="61" y="81"/>
                    </a:cubicBezTo>
                    <a:cubicBezTo>
                      <a:pt x="61" y="81"/>
                      <a:pt x="60" y="79"/>
                      <a:pt x="61" y="79"/>
                    </a:cubicBezTo>
                    <a:cubicBezTo>
                      <a:pt x="61" y="78"/>
                      <a:pt x="60" y="77"/>
                      <a:pt x="59" y="76"/>
                    </a:cubicBezTo>
                    <a:cubicBezTo>
                      <a:pt x="59" y="76"/>
                      <a:pt x="57" y="73"/>
                      <a:pt x="57" y="73"/>
                    </a:cubicBezTo>
                    <a:cubicBezTo>
                      <a:pt x="57" y="73"/>
                      <a:pt x="56" y="73"/>
                      <a:pt x="56" y="72"/>
                    </a:cubicBezTo>
                    <a:cubicBezTo>
                      <a:pt x="56" y="71"/>
                      <a:pt x="56" y="70"/>
                      <a:pt x="56" y="70"/>
                    </a:cubicBezTo>
                    <a:cubicBezTo>
                      <a:pt x="55" y="68"/>
                      <a:pt x="55" y="68"/>
                      <a:pt x="55" y="68"/>
                    </a:cubicBezTo>
                    <a:cubicBezTo>
                      <a:pt x="55" y="68"/>
                      <a:pt x="57" y="67"/>
                      <a:pt x="57" y="66"/>
                    </a:cubicBezTo>
                    <a:cubicBezTo>
                      <a:pt x="57" y="66"/>
                      <a:pt x="58" y="65"/>
                      <a:pt x="57" y="64"/>
                    </a:cubicBezTo>
                    <a:cubicBezTo>
                      <a:pt x="57" y="63"/>
                      <a:pt x="55" y="62"/>
                      <a:pt x="55" y="62"/>
                    </a:cubicBezTo>
                    <a:cubicBezTo>
                      <a:pt x="54" y="61"/>
                      <a:pt x="53" y="60"/>
                      <a:pt x="52" y="59"/>
                    </a:cubicBezTo>
                    <a:cubicBezTo>
                      <a:pt x="52" y="58"/>
                      <a:pt x="52" y="57"/>
                      <a:pt x="52" y="57"/>
                    </a:cubicBezTo>
                    <a:cubicBezTo>
                      <a:pt x="52" y="57"/>
                      <a:pt x="52" y="56"/>
                      <a:pt x="53" y="56"/>
                    </a:cubicBezTo>
                    <a:cubicBezTo>
                      <a:pt x="54" y="55"/>
                      <a:pt x="55" y="55"/>
                      <a:pt x="55" y="54"/>
                    </a:cubicBezTo>
                    <a:cubicBezTo>
                      <a:pt x="55" y="54"/>
                      <a:pt x="56" y="54"/>
                      <a:pt x="56" y="53"/>
                    </a:cubicBezTo>
                    <a:cubicBezTo>
                      <a:pt x="55" y="52"/>
                      <a:pt x="54" y="51"/>
                      <a:pt x="54" y="51"/>
                    </a:cubicBezTo>
                    <a:cubicBezTo>
                      <a:pt x="55" y="48"/>
                      <a:pt x="55" y="48"/>
                      <a:pt x="55" y="48"/>
                    </a:cubicBezTo>
                    <a:cubicBezTo>
                      <a:pt x="54" y="47"/>
                      <a:pt x="54" y="47"/>
                      <a:pt x="54" y="47"/>
                    </a:cubicBezTo>
                    <a:cubicBezTo>
                      <a:pt x="54" y="43"/>
                      <a:pt x="54" y="43"/>
                      <a:pt x="54" y="43"/>
                    </a:cubicBezTo>
                    <a:cubicBezTo>
                      <a:pt x="54" y="42"/>
                      <a:pt x="54" y="42"/>
                      <a:pt x="54" y="42"/>
                    </a:cubicBezTo>
                    <a:cubicBezTo>
                      <a:pt x="54" y="42"/>
                      <a:pt x="55" y="40"/>
                      <a:pt x="55" y="40"/>
                    </a:cubicBezTo>
                    <a:cubicBezTo>
                      <a:pt x="55" y="39"/>
                      <a:pt x="55" y="37"/>
                      <a:pt x="55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4" y="30"/>
                      <a:pt x="54" y="30"/>
                      <a:pt x="54" y="30"/>
                    </a:cubicBezTo>
                    <a:cubicBezTo>
                      <a:pt x="54" y="30"/>
                      <a:pt x="54" y="30"/>
                      <a:pt x="54" y="29"/>
                    </a:cubicBezTo>
                    <a:cubicBezTo>
                      <a:pt x="53" y="28"/>
                      <a:pt x="53" y="26"/>
                      <a:pt x="53" y="26"/>
                    </a:cubicBezTo>
                    <a:cubicBezTo>
                      <a:pt x="52" y="23"/>
                      <a:pt x="52" y="23"/>
                      <a:pt x="52" y="23"/>
                    </a:cubicBezTo>
                    <a:cubicBezTo>
                      <a:pt x="52" y="23"/>
                      <a:pt x="50" y="21"/>
                      <a:pt x="49" y="20"/>
                    </a:cubicBezTo>
                    <a:cubicBezTo>
                      <a:pt x="49" y="20"/>
                      <a:pt x="49" y="19"/>
                      <a:pt x="47" y="18"/>
                    </a:cubicBezTo>
                    <a:cubicBezTo>
                      <a:pt x="46" y="18"/>
                      <a:pt x="44" y="17"/>
                      <a:pt x="44" y="17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0" y="15"/>
                      <a:pt x="40" y="15"/>
                      <a:pt x="40" y="15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2" y="6"/>
                      <a:pt x="32" y="6"/>
                      <a:pt x="32" y="6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28" y="4"/>
                      <a:pt x="28" y="4"/>
                      <a:pt x="28" y="4"/>
                    </a:cubicBezTo>
                    <a:cubicBezTo>
                      <a:pt x="28" y="4"/>
                      <a:pt x="27" y="6"/>
                      <a:pt x="27" y="6"/>
                    </a:cubicBezTo>
                    <a:cubicBezTo>
                      <a:pt x="27" y="6"/>
                      <a:pt x="24" y="7"/>
                      <a:pt x="24" y="7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10"/>
                      <a:pt x="20" y="10"/>
                      <a:pt x="20" y="9"/>
                    </a:cubicBezTo>
                    <a:cubicBezTo>
                      <a:pt x="19" y="9"/>
                      <a:pt x="19" y="9"/>
                      <a:pt x="19" y="9"/>
                    </a:cubicBezTo>
                    <a:cubicBezTo>
                      <a:pt x="19" y="9"/>
                      <a:pt x="18" y="8"/>
                      <a:pt x="18" y="7"/>
                    </a:cubicBezTo>
                    <a:cubicBezTo>
                      <a:pt x="18" y="7"/>
                      <a:pt x="17" y="6"/>
                      <a:pt x="17" y="6"/>
                    </a:cubicBezTo>
                    <a:cubicBezTo>
                      <a:pt x="17" y="6"/>
                      <a:pt x="17" y="5"/>
                      <a:pt x="17" y="5"/>
                    </a:cubicBezTo>
                    <a:cubicBezTo>
                      <a:pt x="17" y="4"/>
                      <a:pt x="17" y="3"/>
                      <a:pt x="17" y="3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0"/>
                      <a:pt x="14" y="0"/>
                      <a:pt x="14" y="0"/>
                    </a:cubicBezTo>
                    <a:cubicBezTo>
                      <a:pt x="14" y="0"/>
                      <a:pt x="10" y="4"/>
                      <a:pt x="10" y="4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0" y="7"/>
                      <a:pt x="10" y="7"/>
                      <a:pt x="10" y="7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8" y="11"/>
                      <a:pt x="7" y="12"/>
                      <a:pt x="7" y="13"/>
                    </a:cubicBezTo>
                    <a:cubicBezTo>
                      <a:pt x="7" y="13"/>
                      <a:pt x="6" y="14"/>
                      <a:pt x="6" y="14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18"/>
                      <a:pt x="4" y="19"/>
                      <a:pt x="4" y="20"/>
                    </a:cubicBezTo>
                    <a:cubicBezTo>
                      <a:pt x="4" y="20"/>
                      <a:pt x="3" y="21"/>
                      <a:pt x="3" y="21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3" y="29"/>
                      <a:pt x="3" y="29"/>
                      <a:pt x="3" y="29"/>
                    </a:cubicBezTo>
                    <a:cubicBezTo>
                      <a:pt x="5" y="30"/>
                      <a:pt x="5" y="30"/>
                      <a:pt x="5" y="30"/>
                    </a:cubicBezTo>
                    <a:cubicBezTo>
                      <a:pt x="5" y="30"/>
                      <a:pt x="5" y="31"/>
                      <a:pt x="5" y="32"/>
                    </a:cubicBezTo>
                    <a:cubicBezTo>
                      <a:pt x="5" y="32"/>
                      <a:pt x="5" y="33"/>
                      <a:pt x="5" y="33"/>
                    </a:cubicBezTo>
                    <a:cubicBezTo>
                      <a:pt x="4" y="35"/>
                      <a:pt x="4" y="35"/>
                      <a:pt x="4" y="35"/>
                    </a:cubicBezTo>
                    <a:cubicBezTo>
                      <a:pt x="4" y="35"/>
                      <a:pt x="5" y="36"/>
                      <a:pt x="5" y="36"/>
                    </a:cubicBezTo>
                    <a:cubicBezTo>
                      <a:pt x="5" y="36"/>
                      <a:pt x="5" y="37"/>
                      <a:pt x="5" y="37"/>
                    </a:cubicBezTo>
                    <a:cubicBezTo>
                      <a:pt x="5" y="37"/>
                      <a:pt x="5" y="39"/>
                      <a:pt x="5" y="39"/>
                    </a:cubicBezTo>
                    <a:cubicBezTo>
                      <a:pt x="4" y="40"/>
                      <a:pt x="4" y="40"/>
                      <a:pt x="4" y="40"/>
                    </a:cubicBezTo>
                    <a:cubicBezTo>
                      <a:pt x="4" y="40"/>
                      <a:pt x="5" y="41"/>
                      <a:pt x="5" y="42"/>
                    </a:cubicBezTo>
                    <a:cubicBezTo>
                      <a:pt x="5" y="42"/>
                      <a:pt x="5" y="43"/>
                      <a:pt x="5" y="43"/>
                    </a:cubicBezTo>
                    <a:cubicBezTo>
                      <a:pt x="4" y="43"/>
                      <a:pt x="6" y="45"/>
                      <a:pt x="6" y="45"/>
                    </a:cubicBezTo>
                    <a:cubicBezTo>
                      <a:pt x="6" y="45"/>
                      <a:pt x="7" y="44"/>
                      <a:pt x="8" y="44"/>
                    </a:cubicBezTo>
                    <a:cubicBezTo>
                      <a:pt x="8" y="44"/>
                      <a:pt x="10" y="44"/>
                      <a:pt x="10" y="44"/>
                    </a:cubicBezTo>
                    <a:cubicBezTo>
                      <a:pt x="12" y="45"/>
                      <a:pt x="12" y="45"/>
                      <a:pt x="12" y="45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4" y="54"/>
                      <a:pt x="14" y="54"/>
                      <a:pt x="14" y="54"/>
                    </a:cubicBezTo>
                    <a:cubicBezTo>
                      <a:pt x="16" y="55"/>
                      <a:pt x="16" y="55"/>
                      <a:pt x="16" y="55"/>
                    </a:cubicBezTo>
                    <a:cubicBezTo>
                      <a:pt x="16" y="55"/>
                      <a:pt x="16" y="55"/>
                      <a:pt x="16" y="55"/>
                    </a:cubicBezTo>
                    <a:cubicBezTo>
                      <a:pt x="16" y="55"/>
                      <a:pt x="16" y="57"/>
                      <a:pt x="16" y="58"/>
                    </a:cubicBezTo>
                    <a:cubicBezTo>
                      <a:pt x="15" y="58"/>
                      <a:pt x="14" y="58"/>
                      <a:pt x="13" y="59"/>
                    </a:cubicBezTo>
                    <a:cubicBezTo>
                      <a:pt x="12" y="59"/>
                      <a:pt x="11" y="59"/>
                      <a:pt x="11" y="59"/>
                    </a:cubicBezTo>
                    <a:cubicBezTo>
                      <a:pt x="11" y="60"/>
                      <a:pt x="11" y="60"/>
                      <a:pt x="11" y="60"/>
                    </a:cubicBezTo>
                    <a:cubicBezTo>
                      <a:pt x="13" y="61"/>
                      <a:pt x="13" y="61"/>
                      <a:pt x="13" y="61"/>
                    </a:cubicBezTo>
                    <a:cubicBezTo>
                      <a:pt x="13" y="61"/>
                      <a:pt x="14" y="61"/>
                      <a:pt x="14" y="61"/>
                    </a:cubicBezTo>
                    <a:cubicBezTo>
                      <a:pt x="14" y="62"/>
                      <a:pt x="14" y="64"/>
                      <a:pt x="14" y="64"/>
                    </a:cubicBezTo>
                    <a:cubicBezTo>
                      <a:pt x="14" y="64"/>
                      <a:pt x="14" y="65"/>
                      <a:pt x="13" y="65"/>
                    </a:cubicBezTo>
                    <a:cubicBezTo>
                      <a:pt x="13" y="65"/>
                      <a:pt x="12" y="66"/>
                      <a:pt x="12" y="66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0" y="68"/>
                      <a:pt x="10" y="68"/>
                      <a:pt x="10" y="68"/>
                    </a:cubicBezTo>
                    <a:cubicBezTo>
                      <a:pt x="8" y="69"/>
                      <a:pt x="8" y="69"/>
                      <a:pt x="8" y="69"/>
                    </a:cubicBezTo>
                    <a:cubicBezTo>
                      <a:pt x="10" y="71"/>
                      <a:pt x="10" y="71"/>
                      <a:pt x="10" y="71"/>
                    </a:cubicBezTo>
                    <a:cubicBezTo>
                      <a:pt x="11" y="71"/>
                      <a:pt x="11" y="71"/>
                      <a:pt x="11" y="71"/>
                    </a:cubicBezTo>
                    <a:cubicBezTo>
                      <a:pt x="11" y="71"/>
                      <a:pt x="12" y="72"/>
                      <a:pt x="12" y="72"/>
                    </a:cubicBezTo>
                    <a:cubicBezTo>
                      <a:pt x="12" y="72"/>
                      <a:pt x="15" y="74"/>
                      <a:pt x="15" y="74"/>
                    </a:cubicBezTo>
                    <a:cubicBezTo>
                      <a:pt x="14" y="75"/>
                      <a:pt x="14" y="75"/>
                      <a:pt x="14" y="75"/>
                    </a:cubicBezTo>
                    <a:cubicBezTo>
                      <a:pt x="14" y="75"/>
                      <a:pt x="14" y="76"/>
                      <a:pt x="14" y="77"/>
                    </a:cubicBezTo>
                    <a:cubicBezTo>
                      <a:pt x="14" y="78"/>
                      <a:pt x="14" y="81"/>
                      <a:pt x="14" y="81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4" y="86"/>
                      <a:pt x="14" y="86"/>
                    </a:cubicBezTo>
                    <a:cubicBezTo>
                      <a:pt x="14" y="87"/>
                      <a:pt x="14" y="87"/>
                      <a:pt x="14" y="87"/>
                    </a:cubicBezTo>
                    <a:cubicBezTo>
                      <a:pt x="13" y="88"/>
                      <a:pt x="13" y="88"/>
                      <a:pt x="13" y="88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6" y="92"/>
                      <a:pt x="16" y="92"/>
                      <a:pt x="16" y="92"/>
                    </a:cubicBezTo>
                    <a:cubicBezTo>
                      <a:pt x="14" y="93"/>
                      <a:pt x="14" y="93"/>
                      <a:pt x="14" y="93"/>
                    </a:cubicBezTo>
                    <a:cubicBezTo>
                      <a:pt x="14" y="93"/>
                      <a:pt x="13" y="93"/>
                      <a:pt x="13" y="93"/>
                    </a:cubicBezTo>
                    <a:cubicBezTo>
                      <a:pt x="13" y="94"/>
                      <a:pt x="13" y="95"/>
                      <a:pt x="13" y="95"/>
                    </a:cubicBezTo>
                    <a:cubicBezTo>
                      <a:pt x="14" y="96"/>
                      <a:pt x="14" y="96"/>
                      <a:pt x="14" y="96"/>
                    </a:cubicBezTo>
                    <a:cubicBezTo>
                      <a:pt x="13" y="97"/>
                      <a:pt x="13" y="97"/>
                      <a:pt x="13" y="97"/>
                    </a:cubicBezTo>
                    <a:cubicBezTo>
                      <a:pt x="13" y="97"/>
                      <a:pt x="13" y="97"/>
                      <a:pt x="13" y="97"/>
                    </a:cubicBezTo>
                    <a:cubicBezTo>
                      <a:pt x="13" y="97"/>
                      <a:pt x="13" y="99"/>
                      <a:pt x="13" y="99"/>
                    </a:cubicBezTo>
                    <a:cubicBezTo>
                      <a:pt x="13" y="99"/>
                      <a:pt x="13" y="100"/>
                      <a:pt x="12" y="100"/>
                    </a:cubicBezTo>
                    <a:cubicBezTo>
                      <a:pt x="12" y="100"/>
                      <a:pt x="11" y="101"/>
                      <a:pt x="11" y="101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11" y="107"/>
                      <a:pt x="11" y="107"/>
                      <a:pt x="11" y="107"/>
                    </a:cubicBezTo>
                    <a:cubicBezTo>
                      <a:pt x="11" y="108"/>
                      <a:pt x="11" y="108"/>
                      <a:pt x="11" y="108"/>
                    </a:cubicBezTo>
                    <a:cubicBezTo>
                      <a:pt x="12" y="111"/>
                      <a:pt x="12" y="111"/>
                      <a:pt x="12" y="111"/>
                    </a:cubicBezTo>
                    <a:cubicBezTo>
                      <a:pt x="14" y="114"/>
                      <a:pt x="14" y="114"/>
                      <a:pt x="14" y="114"/>
                    </a:cubicBezTo>
                    <a:cubicBezTo>
                      <a:pt x="16" y="116"/>
                      <a:pt x="16" y="116"/>
                      <a:pt x="16" y="116"/>
                    </a:cubicBezTo>
                    <a:cubicBezTo>
                      <a:pt x="17" y="118"/>
                      <a:pt x="17" y="118"/>
                      <a:pt x="17" y="118"/>
                    </a:cubicBezTo>
                    <a:cubicBezTo>
                      <a:pt x="19" y="119"/>
                      <a:pt x="19" y="119"/>
                      <a:pt x="19" y="119"/>
                    </a:cubicBezTo>
                    <a:cubicBezTo>
                      <a:pt x="18" y="122"/>
                      <a:pt x="18" y="122"/>
                      <a:pt x="18" y="122"/>
                    </a:cubicBezTo>
                    <a:cubicBezTo>
                      <a:pt x="19" y="123"/>
                      <a:pt x="19" y="123"/>
                      <a:pt x="19" y="123"/>
                    </a:cubicBezTo>
                    <a:cubicBezTo>
                      <a:pt x="19" y="125"/>
                      <a:pt x="19" y="125"/>
                      <a:pt x="19" y="125"/>
                    </a:cubicBezTo>
                    <a:cubicBezTo>
                      <a:pt x="19" y="125"/>
                      <a:pt x="19" y="125"/>
                      <a:pt x="18" y="126"/>
                    </a:cubicBezTo>
                    <a:cubicBezTo>
                      <a:pt x="18" y="126"/>
                      <a:pt x="18" y="126"/>
                      <a:pt x="17" y="125"/>
                    </a:cubicBezTo>
                    <a:cubicBezTo>
                      <a:pt x="16" y="125"/>
                      <a:pt x="15" y="123"/>
                      <a:pt x="15" y="123"/>
                    </a:cubicBezTo>
                    <a:cubicBezTo>
                      <a:pt x="15" y="123"/>
                      <a:pt x="14" y="121"/>
                      <a:pt x="14" y="121"/>
                    </a:cubicBezTo>
                    <a:cubicBezTo>
                      <a:pt x="14" y="121"/>
                      <a:pt x="13" y="120"/>
                      <a:pt x="13" y="120"/>
                    </a:cubicBezTo>
                    <a:cubicBezTo>
                      <a:pt x="11" y="120"/>
                      <a:pt x="11" y="120"/>
                      <a:pt x="11" y="120"/>
                    </a:cubicBezTo>
                    <a:cubicBezTo>
                      <a:pt x="11" y="120"/>
                      <a:pt x="11" y="121"/>
                      <a:pt x="11" y="121"/>
                    </a:cubicBezTo>
                    <a:cubicBezTo>
                      <a:pt x="11" y="122"/>
                      <a:pt x="11" y="122"/>
                      <a:pt x="12" y="123"/>
                    </a:cubicBezTo>
                    <a:cubicBezTo>
                      <a:pt x="13" y="124"/>
                      <a:pt x="13" y="124"/>
                      <a:pt x="14" y="124"/>
                    </a:cubicBezTo>
                    <a:cubicBezTo>
                      <a:pt x="14" y="124"/>
                      <a:pt x="14" y="125"/>
                      <a:pt x="15" y="125"/>
                    </a:cubicBezTo>
                    <a:cubicBezTo>
                      <a:pt x="15" y="126"/>
                      <a:pt x="15" y="128"/>
                      <a:pt x="15" y="128"/>
                    </a:cubicBezTo>
                    <a:cubicBezTo>
                      <a:pt x="17" y="130"/>
                      <a:pt x="17" y="130"/>
                      <a:pt x="17" y="130"/>
                    </a:cubicBezTo>
                    <a:cubicBezTo>
                      <a:pt x="19" y="131"/>
                      <a:pt x="19" y="131"/>
                      <a:pt x="19" y="131"/>
                    </a:cubicBezTo>
                    <a:cubicBezTo>
                      <a:pt x="27" y="135"/>
                      <a:pt x="27" y="135"/>
                      <a:pt x="27" y="135"/>
                    </a:cubicBezTo>
                    <a:cubicBezTo>
                      <a:pt x="30" y="136"/>
                      <a:pt x="30" y="136"/>
                      <a:pt x="30" y="136"/>
                    </a:cubicBezTo>
                    <a:cubicBezTo>
                      <a:pt x="31" y="136"/>
                      <a:pt x="31" y="136"/>
                      <a:pt x="31" y="136"/>
                    </a:cubicBezTo>
                    <a:cubicBezTo>
                      <a:pt x="32" y="138"/>
                      <a:pt x="32" y="138"/>
                      <a:pt x="32" y="138"/>
                    </a:cubicBezTo>
                    <a:cubicBezTo>
                      <a:pt x="33" y="139"/>
                      <a:pt x="33" y="139"/>
                      <a:pt x="33" y="139"/>
                    </a:cubicBezTo>
                    <a:cubicBezTo>
                      <a:pt x="33" y="139"/>
                      <a:pt x="34" y="139"/>
                      <a:pt x="35" y="139"/>
                    </a:cubicBezTo>
                    <a:cubicBezTo>
                      <a:pt x="35" y="139"/>
                      <a:pt x="37" y="139"/>
                      <a:pt x="37" y="139"/>
                    </a:cubicBezTo>
                    <a:cubicBezTo>
                      <a:pt x="37" y="139"/>
                      <a:pt x="38" y="138"/>
                      <a:pt x="38" y="139"/>
                    </a:cubicBezTo>
                    <a:cubicBezTo>
                      <a:pt x="38" y="140"/>
                      <a:pt x="41" y="145"/>
                      <a:pt x="41" y="145"/>
                    </a:cubicBezTo>
                    <a:cubicBezTo>
                      <a:pt x="41" y="145"/>
                      <a:pt x="41" y="146"/>
                      <a:pt x="42" y="147"/>
                    </a:cubicBezTo>
                    <a:cubicBezTo>
                      <a:pt x="43" y="148"/>
                      <a:pt x="45" y="149"/>
                      <a:pt x="45" y="149"/>
                    </a:cubicBezTo>
                    <a:cubicBezTo>
                      <a:pt x="45" y="149"/>
                      <a:pt x="44" y="150"/>
                      <a:pt x="44" y="151"/>
                    </a:cubicBezTo>
                    <a:cubicBezTo>
                      <a:pt x="45" y="152"/>
                      <a:pt x="44" y="152"/>
                      <a:pt x="45" y="152"/>
                    </a:cubicBezTo>
                    <a:cubicBezTo>
                      <a:pt x="45" y="153"/>
                      <a:pt x="45" y="153"/>
                      <a:pt x="45" y="153"/>
                    </a:cubicBezTo>
                    <a:cubicBezTo>
                      <a:pt x="45" y="153"/>
                      <a:pt x="45" y="153"/>
                      <a:pt x="45" y="154"/>
                    </a:cubicBezTo>
                    <a:cubicBezTo>
                      <a:pt x="46" y="154"/>
                      <a:pt x="46" y="155"/>
                      <a:pt x="46" y="155"/>
                    </a:cubicBezTo>
                    <a:cubicBezTo>
                      <a:pt x="46" y="158"/>
                      <a:pt x="46" y="158"/>
                      <a:pt x="46" y="158"/>
                    </a:cubicBezTo>
                    <a:cubicBezTo>
                      <a:pt x="48" y="158"/>
                      <a:pt x="48" y="158"/>
                      <a:pt x="48" y="158"/>
                    </a:cubicBezTo>
                    <a:lnTo>
                      <a:pt x="49" y="15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42" name="Freeform 6">
                <a:extLst>
                  <a:ext uri="{FF2B5EF4-FFF2-40B4-BE49-F238E27FC236}">
                    <a16:creationId xmlns:a16="http://schemas.microsoft.com/office/drawing/2014/main" id="{7465A401-E266-50CD-DF60-2F048F6723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9539" y="3614650"/>
                <a:ext cx="190162" cy="347616"/>
              </a:xfrm>
              <a:custGeom>
                <a:avLst/>
                <a:gdLst>
                  <a:gd name="T0" fmla="*/ 45 w 85"/>
                  <a:gd name="T1" fmla="*/ 154 h 160"/>
                  <a:gd name="T2" fmla="*/ 41 w 85"/>
                  <a:gd name="T3" fmla="*/ 145 h 160"/>
                  <a:gd name="T4" fmla="*/ 15 w 85"/>
                  <a:gd name="T5" fmla="*/ 128 h 160"/>
                  <a:gd name="T6" fmla="*/ 14 w 85"/>
                  <a:gd name="T7" fmla="*/ 121 h 160"/>
                  <a:gd name="T8" fmla="*/ 18 w 85"/>
                  <a:gd name="T9" fmla="*/ 119 h 160"/>
                  <a:gd name="T10" fmla="*/ 12 w 85"/>
                  <a:gd name="T11" fmla="*/ 100 h 160"/>
                  <a:gd name="T12" fmla="*/ 14 w 85"/>
                  <a:gd name="T13" fmla="*/ 93 h 160"/>
                  <a:gd name="T14" fmla="*/ 14 w 85"/>
                  <a:gd name="T15" fmla="*/ 77 h 160"/>
                  <a:gd name="T16" fmla="*/ 11 w 85"/>
                  <a:gd name="T17" fmla="*/ 67 h 160"/>
                  <a:gd name="T18" fmla="*/ 13 w 85"/>
                  <a:gd name="T19" fmla="*/ 58 h 160"/>
                  <a:gd name="T20" fmla="*/ 14 w 85"/>
                  <a:gd name="T21" fmla="*/ 46 h 160"/>
                  <a:gd name="T22" fmla="*/ 4 w 85"/>
                  <a:gd name="T23" fmla="*/ 39 h 160"/>
                  <a:gd name="T24" fmla="*/ 0 w 85"/>
                  <a:gd name="T25" fmla="*/ 27 h 160"/>
                  <a:gd name="T26" fmla="*/ 4 w 85"/>
                  <a:gd name="T27" fmla="*/ 15 h 160"/>
                  <a:gd name="T28" fmla="*/ 16 w 85"/>
                  <a:gd name="T29" fmla="*/ 0 h 160"/>
                  <a:gd name="T30" fmla="*/ 19 w 85"/>
                  <a:gd name="T31" fmla="*/ 8 h 160"/>
                  <a:gd name="T32" fmla="*/ 31 w 85"/>
                  <a:gd name="T33" fmla="*/ 4 h 160"/>
                  <a:gd name="T34" fmla="*/ 42 w 85"/>
                  <a:gd name="T35" fmla="*/ 16 h 160"/>
                  <a:gd name="T36" fmla="*/ 54 w 85"/>
                  <a:gd name="T37" fmla="*/ 30 h 160"/>
                  <a:gd name="T38" fmla="*/ 55 w 85"/>
                  <a:gd name="T39" fmla="*/ 48 h 160"/>
                  <a:gd name="T40" fmla="*/ 52 w 85"/>
                  <a:gd name="T41" fmla="*/ 59 h 160"/>
                  <a:gd name="T42" fmla="*/ 57 w 85"/>
                  <a:gd name="T43" fmla="*/ 73 h 160"/>
                  <a:gd name="T44" fmla="*/ 68 w 85"/>
                  <a:gd name="T45" fmla="*/ 87 h 160"/>
                  <a:gd name="T46" fmla="*/ 77 w 85"/>
                  <a:gd name="T47" fmla="*/ 88 h 160"/>
                  <a:gd name="T48" fmla="*/ 80 w 85"/>
                  <a:gd name="T49" fmla="*/ 107 h 160"/>
                  <a:gd name="T50" fmla="*/ 60 w 85"/>
                  <a:gd name="T51" fmla="*/ 140 h 160"/>
                  <a:gd name="T52" fmla="*/ 61 w 85"/>
                  <a:gd name="T53" fmla="*/ 147 h 160"/>
                  <a:gd name="T54" fmla="*/ 59 w 85"/>
                  <a:gd name="T55" fmla="*/ 154 h 160"/>
                  <a:gd name="T56" fmla="*/ 49 w 85"/>
                  <a:gd name="T57" fmla="*/ 158 h 160"/>
                  <a:gd name="T58" fmla="*/ 57 w 85"/>
                  <a:gd name="T59" fmla="*/ 151 h 160"/>
                  <a:gd name="T60" fmla="*/ 63 w 85"/>
                  <a:gd name="T61" fmla="*/ 149 h 160"/>
                  <a:gd name="T62" fmla="*/ 59 w 85"/>
                  <a:gd name="T63" fmla="*/ 140 h 160"/>
                  <a:gd name="T64" fmla="*/ 75 w 85"/>
                  <a:gd name="T65" fmla="*/ 124 h 160"/>
                  <a:gd name="T66" fmla="*/ 80 w 85"/>
                  <a:gd name="T67" fmla="*/ 91 h 160"/>
                  <a:gd name="T68" fmla="*/ 69 w 85"/>
                  <a:gd name="T69" fmla="*/ 90 h 160"/>
                  <a:gd name="T70" fmla="*/ 65 w 85"/>
                  <a:gd name="T71" fmla="*/ 81 h 160"/>
                  <a:gd name="T72" fmla="*/ 55 w 85"/>
                  <a:gd name="T73" fmla="*/ 68 h 160"/>
                  <a:gd name="T74" fmla="*/ 54 w 85"/>
                  <a:gd name="T75" fmla="*/ 55 h 160"/>
                  <a:gd name="T76" fmla="*/ 54 w 85"/>
                  <a:gd name="T77" fmla="*/ 42 h 160"/>
                  <a:gd name="T78" fmla="*/ 52 w 85"/>
                  <a:gd name="T79" fmla="*/ 26 h 160"/>
                  <a:gd name="T80" fmla="*/ 40 w 85"/>
                  <a:gd name="T81" fmla="*/ 15 h 160"/>
                  <a:gd name="T82" fmla="*/ 24 w 85"/>
                  <a:gd name="T83" fmla="*/ 7 h 160"/>
                  <a:gd name="T84" fmla="*/ 17 w 85"/>
                  <a:gd name="T85" fmla="*/ 5 h 160"/>
                  <a:gd name="T86" fmla="*/ 9 w 85"/>
                  <a:gd name="T87" fmla="*/ 9 h 160"/>
                  <a:gd name="T88" fmla="*/ 4 w 85"/>
                  <a:gd name="T89" fmla="*/ 20 h 160"/>
                  <a:gd name="T90" fmla="*/ 6 w 85"/>
                  <a:gd name="T91" fmla="*/ 32 h 160"/>
                  <a:gd name="T92" fmla="*/ 5 w 85"/>
                  <a:gd name="T93" fmla="*/ 41 h 160"/>
                  <a:gd name="T94" fmla="*/ 15 w 85"/>
                  <a:gd name="T95" fmla="*/ 46 h 160"/>
                  <a:gd name="T96" fmla="*/ 13 w 85"/>
                  <a:gd name="T97" fmla="*/ 59 h 160"/>
                  <a:gd name="T98" fmla="*/ 12 w 85"/>
                  <a:gd name="T99" fmla="*/ 66 h 160"/>
                  <a:gd name="T100" fmla="*/ 15 w 85"/>
                  <a:gd name="T101" fmla="*/ 75 h 160"/>
                  <a:gd name="T102" fmla="*/ 17 w 85"/>
                  <a:gd name="T103" fmla="*/ 92 h 160"/>
                  <a:gd name="T104" fmla="*/ 13 w 85"/>
                  <a:gd name="T105" fmla="*/ 101 h 160"/>
                  <a:gd name="T106" fmla="*/ 18 w 85"/>
                  <a:gd name="T107" fmla="*/ 122 h 160"/>
                  <a:gd name="T108" fmla="*/ 13 w 85"/>
                  <a:gd name="T109" fmla="*/ 120 h 160"/>
                  <a:gd name="T110" fmla="*/ 27 w 85"/>
                  <a:gd name="T111" fmla="*/ 135 h 160"/>
                  <a:gd name="T112" fmla="*/ 38 w 85"/>
                  <a:gd name="T113" fmla="*/ 139 h 160"/>
                  <a:gd name="T114" fmla="*/ 47 w 85"/>
                  <a:gd name="T115" fmla="*/ 155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85" h="160">
                    <a:moveTo>
                      <a:pt x="52" y="160"/>
                    </a:moveTo>
                    <a:cubicBezTo>
                      <a:pt x="52" y="160"/>
                      <a:pt x="52" y="160"/>
                      <a:pt x="52" y="160"/>
                    </a:cubicBezTo>
                    <a:cubicBezTo>
                      <a:pt x="49" y="158"/>
                      <a:pt x="49" y="158"/>
                      <a:pt x="49" y="158"/>
                    </a:cubicBezTo>
                    <a:cubicBezTo>
                      <a:pt x="48" y="159"/>
                      <a:pt x="48" y="159"/>
                      <a:pt x="48" y="159"/>
                    </a:cubicBezTo>
                    <a:cubicBezTo>
                      <a:pt x="46" y="158"/>
                      <a:pt x="46" y="158"/>
                      <a:pt x="46" y="158"/>
                    </a:cubicBezTo>
                    <a:cubicBezTo>
                      <a:pt x="46" y="155"/>
                      <a:pt x="46" y="155"/>
                      <a:pt x="46" y="155"/>
                    </a:cubicBezTo>
                    <a:cubicBezTo>
                      <a:pt x="46" y="155"/>
                      <a:pt x="45" y="155"/>
                      <a:pt x="45" y="154"/>
                    </a:cubicBezTo>
                    <a:cubicBezTo>
                      <a:pt x="45" y="152"/>
                      <a:pt x="45" y="152"/>
                      <a:pt x="45" y="152"/>
                    </a:cubicBezTo>
                    <a:cubicBezTo>
                      <a:pt x="44" y="153"/>
                      <a:pt x="44" y="153"/>
                      <a:pt x="44" y="153"/>
                    </a:cubicBezTo>
                    <a:cubicBezTo>
                      <a:pt x="44" y="152"/>
                      <a:pt x="44" y="152"/>
                      <a:pt x="44" y="152"/>
                    </a:cubicBezTo>
                    <a:cubicBezTo>
                      <a:pt x="44" y="151"/>
                      <a:pt x="44" y="151"/>
                      <a:pt x="44" y="151"/>
                    </a:cubicBezTo>
                    <a:cubicBezTo>
                      <a:pt x="44" y="150"/>
                      <a:pt x="44" y="149"/>
                      <a:pt x="45" y="149"/>
                    </a:cubicBezTo>
                    <a:cubicBezTo>
                      <a:pt x="44" y="149"/>
                      <a:pt x="42" y="148"/>
                      <a:pt x="42" y="147"/>
                    </a:cubicBezTo>
                    <a:cubicBezTo>
                      <a:pt x="41" y="147"/>
                      <a:pt x="41" y="145"/>
                      <a:pt x="41" y="145"/>
                    </a:cubicBezTo>
                    <a:cubicBezTo>
                      <a:pt x="40" y="145"/>
                      <a:pt x="38" y="141"/>
                      <a:pt x="38" y="139"/>
                    </a:cubicBezTo>
                    <a:cubicBezTo>
                      <a:pt x="36" y="139"/>
                      <a:pt x="35" y="139"/>
                      <a:pt x="35" y="139"/>
                    </a:cubicBezTo>
                    <a:cubicBezTo>
                      <a:pt x="34" y="139"/>
                      <a:pt x="33" y="139"/>
                      <a:pt x="33" y="139"/>
                    </a:cubicBezTo>
                    <a:cubicBezTo>
                      <a:pt x="32" y="138"/>
                      <a:pt x="32" y="138"/>
                      <a:pt x="32" y="138"/>
                    </a:cubicBezTo>
                    <a:cubicBezTo>
                      <a:pt x="31" y="137"/>
                      <a:pt x="31" y="137"/>
                      <a:pt x="31" y="137"/>
                    </a:cubicBezTo>
                    <a:cubicBezTo>
                      <a:pt x="27" y="135"/>
                      <a:pt x="27" y="135"/>
                      <a:pt x="27" y="135"/>
                    </a:cubicBezTo>
                    <a:cubicBezTo>
                      <a:pt x="15" y="128"/>
                      <a:pt x="15" y="128"/>
                      <a:pt x="15" y="128"/>
                    </a:cubicBezTo>
                    <a:cubicBezTo>
                      <a:pt x="15" y="128"/>
                      <a:pt x="14" y="126"/>
                      <a:pt x="14" y="125"/>
                    </a:cubicBezTo>
                    <a:cubicBezTo>
                      <a:pt x="14" y="125"/>
                      <a:pt x="14" y="125"/>
                      <a:pt x="14" y="124"/>
                    </a:cubicBezTo>
                    <a:cubicBezTo>
                      <a:pt x="13" y="124"/>
                      <a:pt x="12" y="124"/>
                      <a:pt x="12" y="123"/>
                    </a:cubicBezTo>
                    <a:cubicBezTo>
                      <a:pt x="11" y="123"/>
                      <a:pt x="11" y="122"/>
                      <a:pt x="10" y="121"/>
                    </a:cubicBezTo>
                    <a:cubicBezTo>
                      <a:pt x="10" y="121"/>
                      <a:pt x="10" y="120"/>
                      <a:pt x="10" y="120"/>
                    </a:cubicBezTo>
                    <a:cubicBezTo>
                      <a:pt x="13" y="120"/>
                      <a:pt x="13" y="120"/>
                      <a:pt x="13" y="120"/>
                    </a:cubicBezTo>
                    <a:cubicBezTo>
                      <a:pt x="13" y="120"/>
                      <a:pt x="14" y="121"/>
                      <a:pt x="14" y="121"/>
                    </a:cubicBezTo>
                    <a:cubicBezTo>
                      <a:pt x="15" y="121"/>
                      <a:pt x="15" y="123"/>
                      <a:pt x="15" y="123"/>
                    </a:cubicBezTo>
                    <a:cubicBezTo>
                      <a:pt x="15" y="123"/>
                      <a:pt x="16" y="125"/>
                      <a:pt x="17" y="125"/>
                    </a:cubicBezTo>
                    <a:cubicBezTo>
                      <a:pt x="17" y="125"/>
                      <a:pt x="18" y="125"/>
                      <a:pt x="18" y="125"/>
                    </a:cubicBezTo>
                    <a:cubicBezTo>
                      <a:pt x="18" y="125"/>
                      <a:pt x="18" y="125"/>
                      <a:pt x="18" y="125"/>
                    </a:cubicBezTo>
                    <a:cubicBezTo>
                      <a:pt x="19" y="123"/>
                      <a:pt x="19" y="123"/>
                      <a:pt x="19" y="123"/>
                    </a:cubicBezTo>
                    <a:cubicBezTo>
                      <a:pt x="18" y="122"/>
                      <a:pt x="18" y="122"/>
                      <a:pt x="18" y="122"/>
                    </a:cubicBezTo>
                    <a:cubicBezTo>
                      <a:pt x="18" y="119"/>
                      <a:pt x="18" y="119"/>
                      <a:pt x="18" y="119"/>
                    </a:cubicBezTo>
                    <a:cubicBezTo>
                      <a:pt x="17" y="118"/>
                      <a:pt x="17" y="118"/>
                      <a:pt x="17" y="118"/>
                    </a:cubicBezTo>
                    <a:cubicBezTo>
                      <a:pt x="16" y="116"/>
                      <a:pt x="16" y="116"/>
                      <a:pt x="16" y="116"/>
                    </a:cubicBezTo>
                    <a:cubicBezTo>
                      <a:pt x="12" y="111"/>
                      <a:pt x="12" y="111"/>
                      <a:pt x="12" y="111"/>
                    </a:cubicBezTo>
                    <a:cubicBezTo>
                      <a:pt x="10" y="108"/>
                      <a:pt x="10" y="108"/>
                      <a:pt x="10" y="108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11" y="101"/>
                      <a:pt x="11" y="101"/>
                      <a:pt x="11" y="101"/>
                    </a:cubicBezTo>
                    <a:cubicBezTo>
                      <a:pt x="11" y="101"/>
                      <a:pt x="12" y="100"/>
                      <a:pt x="12" y="100"/>
                    </a:cubicBezTo>
                    <a:cubicBezTo>
                      <a:pt x="12" y="100"/>
                      <a:pt x="13" y="99"/>
                      <a:pt x="13" y="99"/>
                    </a:cubicBezTo>
                    <a:cubicBezTo>
                      <a:pt x="13" y="99"/>
                      <a:pt x="13" y="98"/>
                      <a:pt x="13" y="98"/>
                    </a:cubicBezTo>
                    <a:cubicBezTo>
                      <a:pt x="13" y="97"/>
                      <a:pt x="13" y="97"/>
                      <a:pt x="13" y="97"/>
                    </a:cubicBezTo>
                    <a:cubicBezTo>
                      <a:pt x="14" y="95"/>
                      <a:pt x="14" y="95"/>
                      <a:pt x="14" y="95"/>
                    </a:cubicBezTo>
                    <a:cubicBezTo>
                      <a:pt x="12" y="95"/>
                      <a:pt x="12" y="95"/>
                      <a:pt x="12" y="95"/>
                    </a:cubicBezTo>
                    <a:cubicBezTo>
                      <a:pt x="12" y="94"/>
                      <a:pt x="13" y="93"/>
                      <a:pt x="13" y="93"/>
                    </a:cubicBezTo>
                    <a:cubicBezTo>
                      <a:pt x="13" y="93"/>
                      <a:pt x="13" y="93"/>
                      <a:pt x="14" y="93"/>
                    </a:cubicBezTo>
                    <a:cubicBezTo>
                      <a:pt x="16" y="91"/>
                      <a:pt x="16" y="91"/>
                      <a:pt x="16" y="91"/>
                    </a:cubicBezTo>
                    <a:cubicBezTo>
                      <a:pt x="16" y="90"/>
                      <a:pt x="16" y="90"/>
                      <a:pt x="16" y="90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4" y="86"/>
                      <a:pt x="14" y="86"/>
                      <a:pt x="14" y="86"/>
                    </a:cubicBezTo>
                    <a:cubicBezTo>
                      <a:pt x="13" y="85"/>
                      <a:pt x="12" y="83"/>
                      <a:pt x="12" y="83"/>
                    </a:cubicBezTo>
                    <a:cubicBezTo>
                      <a:pt x="13" y="81"/>
                      <a:pt x="13" y="81"/>
                      <a:pt x="13" y="81"/>
                    </a:cubicBezTo>
                    <a:cubicBezTo>
                      <a:pt x="13" y="81"/>
                      <a:pt x="14" y="78"/>
                      <a:pt x="14" y="77"/>
                    </a:cubicBezTo>
                    <a:cubicBezTo>
                      <a:pt x="14" y="76"/>
                      <a:pt x="14" y="75"/>
                      <a:pt x="14" y="75"/>
                    </a:cubicBezTo>
                    <a:cubicBezTo>
                      <a:pt x="14" y="74"/>
                      <a:pt x="14" y="74"/>
                      <a:pt x="14" y="74"/>
                    </a:cubicBezTo>
                    <a:cubicBezTo>
                      <a:pt x="13" y="73"/>
                      <a:pt x="12" y="72"/>
                      <a:pt x="12" y="72"/>
                    </a:cubicBezTo>
                    <a:cubicBezTo>
                      <a:pt x="12" y="72"/>
                      <a:pt x="11" y="72"/>
                      <a:pt x="11" y="71"/>
                    </a:cubicBezTo>
                    <a:cubicBezTo>
                      <a:pt x="10" y="71"/>
                      <a:pt x="10" y="71"/>
                      <a:pt x="10" y="71"/>
                    </a:cubicBezTo>
                    <a:cubicBezTo>
                      <a:pt x="8" y="69"/>
                      <a:pt x="8" y="69"/>
                      <a:pt x="8" y="69"/>
                    </a:cubicBezTo>
                    <a:cubicBezTo>
                      <a:pt x="11" y="67"/>
                      <a:pt x="11" y="67"/>
                      <a:pt x="11" y="67"/>
                    </a:cubicBezTo>
                    <a:cubicBezTo>
                      <a:pt x="11" y="66"/>
                      <a:pt x="11" y="66"/>
                      <a:pt x="11" y="66"/>
                    </a:cubicBezTo>
                    <a:cubicBezTo>
                      <a:pt x="12" y="65"/>
                      <a:pt x="13" y="65"/>
                      <a:pt x="13" y="65"/>
                    </a:cubicBezTo>
                    <a:cubicBezTo>
                      <a:pt x="13" y="65"/>
                      <a:pt x="14" y="64"/>
                      <a:pt x="14" y="64"/>
                    </a:cubicBezTo>
                    <a:cubicBezTo>
                      <a:pt x="14" y="63"/>
                      <a:pt x="14" y="62"/>
                      <a:pt x="14" y="61"/>
                    </a:cubicBezTo>
                    <a:cubicBezTo>
                      <a:pt x="11" y="60"/>
                      <a:pt x="11" y="60"/>
                      <a:pt x="11" y="60"/>
                    </a:cubicBezTo>
                    <a:cubicBezTo>
                      <a:pt x="11" y="59"/>
                      <a:pt x="11" y="59"/>
                      <a:pt x="11" y="59"/>
                    </a:cubicBezTo>
                    <a:cubicBezTo>
                      <a:pt x="11" y="59"/>
                      <a:pt x="12" y="59"/>
                      <a:pt x="13" y="58"/>
                    </a:cubicBezTo>
                    <a:cubicBezTo>
                      <a:pt x="14" y="58"/>
                      <a:pt x="15" y="57"/>
                      <a:pt x="15" y="57"/>
                    </a:cubicBezTo>
                    <a:cubicBezTo>
                      <a:pt x="16" y="57"/>
                      <a:pt x="16" y="56"/>
                      <a:pt x="16" y="55"/>
                    </a:cubicBezTo>
                    <a:cubicBezTo>
                      <a:pt x="14" y="54"/>
                      <a:pt x="14" y="54"/>
                      <a:pt x="14" y="54"/>
                    </a:cubicBezTo>
                    <a:cubicBezTo>
                      <a:pt x="15" y="52"/>
                      <a:pt x="15" y="52"/>
                      <a:pt x="15" y="52"/>
                    </a:cubicBezTo>
                    <a:cubicBezTo>
                      <a:pt x="14" y="49"/>
                      <a:pt x="14" y="49"/>
                      <a:pt x="14" y="49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14" y="46"/>
                      <a:pt x="14" y="46"/>
                      <a:pt x="14" y="46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8" y="44"/>
                      <a:pt x="7" y="45"/>
                      <a:pt x="7" y="45"/>
                    </a:cubicBezTo>
                    <a:cubicBezTo>
                      <a:pt x="4" y="44"/>
                      <a:pt x="4" y="43"/>
                      <a:pt x="4" y="43"/>
                    </a:cubicBezTo>
                    <a:cubicBezTo>
                      <a:pt x="5" y="43"/>
                      <a:pt x="5" y="42"/>
                      <a:pt x="5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4" y="39"/>
                      <a:pt x="5" y="37"/>
                      <a:pt x="5" y="37"/>
                    </a:cubicBezTo>
                    <a:cubicBezTo>
                      <a:pt x="4" y="36"/>
                      <a:pt x="4" y="35"/>
                      <a:pt x="4" y="35"/>
                    </a:cubicBezTo>
                    <a:cubicBezTo>
                      <a:pt x="5" y="33"/>
                      <a:pt x="5" y="33"/>
                      <a:pt x="5" y="33"/>
                    </a:cubicBezTo>
                    <a:cubicBezTo>
                      <a:pt x="5" y="32"/>
                      <a:pt x="5" y="32"/>
                      <a:pt x="5" y="32"/>
                    </a:cubicBezTo>
                    <a:cubicBezTo>
                      <a:pt x="5" y="31"/>
                      <a:pt x="5" y="30"/>
                      <a:pt x="5" y="30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3" y="21"/>
                      <a:pt x="3" y="21"/>
                      <a:pt x="3" y="21"/>
                    </a:cubicBezTo>
                    <a:cubicBezTo>
                      <a:pt x="3" y="20"/>
                      <a:pt x="3" y="20"/>
                      <a:pt x="3" y="19"/>
                    </a:cubicBezTo>
                    <a:cubicBezTo>
                      <a:pt x="3" y="19"/>
                      <a:pt x="4" y="18"/>
                      <a:pt x="4" y="18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4"/>
                      <a:pt x="6" y="13"/>
                      <a:pt x="7" y="13"/>
                    </a:cubicBezTo>
                    <a:cubicBezTo>
                      <a:pt x="7" y="12"/>
                      <a:pt x="7" y="11"/>
                      <a:pt x="7" y="11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3" y="0"/>
                      <a:pt x="14" y="0"/>
                      <a:pt x="14" y="0"/>
                    </a:cubicBezTo>
                    <a:cubicBezTo>
                      <a:pt x="15" y="0"/>
                      <a:pt x="16" y="0"/>
                      <a:pt x="16" y="0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8" y="3"/>
                      <a:pt x="18" y="3"/>
                      <a:pt x="18" y="3"/>
                    </a:cubicBezTo>
                    <a:cubicBezTo>
                      <a:pt x="18" y="4"/>
                      <a:pt x="17" y="4"/>
                      <a:pt x="17" y="5"/>
                    </a:cubicBezTo>
                    <a:cubicBezTo>
                      <a:pt x="18" y="5"/>
                      <a:pt x="17" y="6"/>
                      <a:pt x="17" y="6"/>
                    </a:cubicBezTo>
                    <a:cubicBezTo>
                      <a:pt x="18" y="6"/>
                      <a:pt x="18" y="7"/>
                      <a:pt x="18" y="7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19" y="9"/>
                      <a:pt x="20" y="9"/>
                      <a:pt x="20" y="9"/>
                    </a:cubicBezTo>
                    <a:cubicBezTo>
                      <a:pt x="22" y="8"/>
                      <a:pt x="22" y="8"/>
                      <a:pt x="22" y="8"/>
                    </a:cubicBezTo>
                    <a:cubicBezTo>
                      <a:pt x="24" y="7"/>
                      <a:pt x="24" y="7"/>
                      <a:pt x="24" y="7"/>
                    </a:cubicBezTo>
                    <a:cubicBezTo>
                      <a:pt x="24" y="7"/>
                      <a:pt x="26" y="6"/>
                      <a:pt x="27" y="6"/>
                    </a:cubicBezTo>
                    <a:cubicBezTo>
                      <a:pt x="27" y="6"/>
                      <a:pt x="27" y="5"/>
                      <a:pt x="28" y="4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31" y="4"/>
                      <a:pt x="31" y="4"/>
                      <a:pt x="31" y="4"/>
                    </a:cubicBezTo>
                    <a:cubicBezTo>
                      <a:pt x="32" y="6"/>
                      <a:pt x="32" y="6"/>
                      <a:pt x="32" y="6"/>
                    </a:cubicBezTo>
                    <a:cubicBezTo>
                      <a:pt x="34" y="7"/>
                      <a:pt x="34" y="7"/>
                      <a:pt x="34" y="7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37" y="12"/>
                      <a:pt x="37" y="12"/>
                      <a:pt x="37" y="12"/>
                    </a:cubicBezTo>
                    <a:cubicBezTo>
                      <a:pt x="39" y="15"/>
                      <a:pt x="39" y="15"/>
                      <a:pt x="39" y="15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42" y="16"/>
                      <a:pt x="42" y="16"/>
                      <a:pt x="42" y="16"/>
                    </a:cubicBezTo>
                    <a:cubicBezTo>
                      <a:pt x="44" y="17"/>
                      <a:pt x="44" y="17"/>
                      <a:pt x="44" y="17"/>
                    </a:cubicBezTo>
                    <a:cubicBezTo>
                      <a:pt x="44" y="17"/>
                      <a:pt x="46" y="17"/>
                      <a:pt x="48" y="18"/>
                    </a:cubicBezTo>
                    <a:cubicBezTo>
                      <a:pt x="49" y="18"/>
                      <a:pt x="49" y="19"/>
                      <a:pt x="49" y="19"/>
                    </a:cubicBezTo>
                    <a:cubicBezTo>
                      <a:pt x="50" y="21"/>
                      <a:pt x="52" y="23"/>
                      <a:pt x="52" y="23"/>
                    </a:cubicBezTo>
                    <a:cubicBezTo>
                      <a:pt x="53" y="26"/>
                      <a:pt x="53" y="26"/>
                      <a:pt x="53" y="26"/>
                    </a:cubicBezTo>
                    <a:cubicBezTo>
                      <a:pt x="53" y="26"/>
                      <a:pt x="54" y="28"/>
                      <a:pt x="54" y="29"/>
                    </a:cubicBezTo>
                    <a:cubicBezTo>
                      <a:pt x="54" y="29"/>
                      <a:pt x="54" y="30"/>
                      <a:pt x="54" y="30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8"/>
                      <a:pt x="55" y="38"/>
                      <a:pt x="55" y="38"/>
                    </a:cubicBezTo>
                    <a:cubicBezTo>
                      <a:pt x="55" y="38"/>
                      <a:pt x="55" y="40"/>
                      <a:pt x="55" y="40"/>
                    </a:cubicBezTo>
                    <a:cubicBezTo>
                      <a:pt x="55" y="40"/>
                      <a:pt x="55" y="42"/>
                      <a:pt x="55" y="42"/>
                    </a:cubicBezTo>
                    <a:cubicBezTo>
                      <a:pt x="54" y="43"/>
                      <a:pt x="54" y="43"/>
                      <a:pt x="54" y="43"/>
                    </a:cubicBezTo>
                    <a:cubicBezTo>
                      <a:pt x="55" y="48"/>
                      <a:pt x="55" y="48"/>
                      <a:pt x="55" y="48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5" y="51"/>
                      <a:pt x="56" y="52"/>
                      <a:pt x="56" y="53"/>
                    </a:cubicBezTo>
                    <a:cubicBezTo>
                      <a:pt x="57" y="53"/>
                      <a:pt x="56" y="54"/>
                      <a:pt x="56" y="54"/>
                    </a:cubicBezTo>
                    <a:cubicBezTo>
                      <a:pt x="55" y="55"/>
                      <a:pt x="55" y="55"/>
                      <a:pt x="54" y="56"/>
                    </a:cubicBezTo>
                    <a:cubicBezTo>
                      <a:pt x="53" y="56"/>
                      <a:pt x="53" y="56"/>
                      <a:pt x="53" y="56"/>
                    </a:cubicBezTo>
                    <a:cubicBezTo>
                      <a:pt x="53" y="57"/>
                      <a:pt x="52" y="57"/>
                      <a:pt x="52" y="57"/>
                    </a:cubicBezTo>
                    <a:cubicBezTo>
                      <a:pt x="52" y="57"/>
                      <a:pt x="52" y="58"/>
                      <a:pt x="52" y="59"/>
                    </a:cubicBezTo>
                    <a:cubicBezTo>
                      <a:pt x="53" y="60"/>
                      <a:pt x="55" y="61"/>
                      <a:pt x="55" y="61"/>
                    </a:cubicBezTo>
                    <a:cubicBezTo>
                      <a:pt x="55" y="61"/>
                      <a:pt x="57" y="63"/>
                      <a:pt x="57" y="64"/>
                    </a:cubicBezTo>
                    <a:cubicBezTo>
                      <a:pt x="58" y="64"/>
                      <a:pt x="57" y="65"/>
                      <a:pt x="57" y="66"/>
                    </a:cubicBezTo>
                    <a:cubicBezTo>
                      <a:pt x="57" y="66"/>
                      <a:pt x="57" y="67"/>
                      <a:pt x="55" y="68"/>
                    </a:cubicBezTo>
                    <a:cubicBezTo>
                      <a:pt x="56" y="69"/>
                      <a:pt x="56" y="69"/>
                      <a:pt x="56" y="69"/>
                    </a:cubicBezTo>
                    <a:cubicBezTo>
                      <a:pt x="57" y="72"/>
                      <a:pt x="57" y="72"/>
                      <a:pt x="57" y="72"/>
                    </a:cubicBezTo>
                    <a:cubicBezTo>
                      <a:pt x="57" y="72"/>
                      <a:pt x="57" y="73"/>
                      <a:pt x="57" y="73"/>
                    </a:cubicBezTo>
                    <a:cubicBezTo>
                      <a:pt x="58" y="74"/>
                      <a:pt x="59" y="76"/>
                      <a:pt x="60" y="76"/>
                    </a:cubicBezTo>
                    <a:cubicBezTo>
                      <a:pt x="60" y="76"/>
                      <a:pt x="61" y="78"/>
                      <a:pt x="61" y="79"/>
                    </a:cubicBezTo>
                    <a:cubicBezTo>
                      <a:pt x="61" y="79"/>
                      <a:pt x="61" y="80"/>
                      <a:pt x="61" y="80"/>
                    </a:cubicBezTo>
                    <a:cubicBezTo>
                      <a:pt x="61" y="80"/>
                      <a:pt x="62" y="80"/>
                      <a:pt x="62" y="80"/>
                    </a:cubicBezTo>
                    <a:cubicBezTo>
                      <a:pt x="63" y="81"/>
                      <a:pt x="65" y="81"/>
                      <a:pt x="65" y="81"/>
                    </a:cubicBezTo>
                    <a:cubicBezTo>
                      <a:pt x="65" y="81"/>
                      <a:pt x="66" y="82"/>
                      <a:pt x="66" y="83"/>
                    </a:cubicBezTo>
                    <a:cubicBezTo>
                      <a:pt x="67" y="84"/>
                      <a:pt x="68" y="86"/>
                      <a:pt x="68" y="87"/>
                    </a:cubicBezTo>
                    <a:cubicBezTo>
                      <a:pt x="68" y="87"/>
                      <a:pt x="68" y="88"/>
                      <a:pt x="68" y="88"/>
                    </a:cubicBezTo>
                    <a:cubicBezTo>
                      <a:pt x="68" y="89"/>
                      <a:pt x="68" y="89"/>
                      <a:pt x="68" y="89"/>
                    </a:cubicBezTo>
                    <a:cubicBezTo>
                      <a:pt x="68" y="90"/>
                      <a:pt x="69" y="89"/>
                      <a:pt x="69" y="89"/>
                    </a:cubicBezTo>
                    <a:cubicBezTo>
                      <a:pt x="69" y="89"/>
                      <a:pt x="70" y="88"/>
                      <a:pt x="70" y="88"/>
                    </a:cubicBezTo>
                    <a:cubicBezTo>
                      <a:pt x="71" y="88"/>
                      <a:pt x="72" y="88"/>
                      <a:pt x="73" y="88"/>
                    </a:cubicBezTo>
                    <a:cubicBezTo>
                      <a:pt x="74" y="88"/>
                      <a:pt x="74" y="88"/>
                      <a:pt x="74" y="88"/>
                    </a:cubicBezTo>
                    <a:cubicBezTo>
                      <a:pt x="76" y="88"/>
                      <a:pt x="76" y="88"/>
                      <a:pt x="77" y="88"/>
                    </a:cubicBezTo>
                    <a:cubicBezTo>
                      <a:pt x="79" y="89"/>
                      <a:pt x="79" y="89"/>
                      <a:pt x="79" y="89"/>
                    </a:cubicBezTo>
                    <a:cubicBezTo>
                      <a:pt x="80" y="91"/>
                      <a:pt x="80" y="91"/>
                      <a:pt x="80" y="91"/>
                    </a:cubicBezTo>
                    <a:cubicBezTo>
                      <a:pt x="80" y="91"/>
                      <a:pt x="81" y="91"/>
                      <a:pt x="81" y="91"/>
                    </a:cubicBezTo>
                    <a:cubicBezTo>
                      <a:pt x="82" y="93"/>
                      <a:pt x="82" y="93"/>
                      <a:pt x="82" y="93"/>
                    </a:cubicBezTo>
                    <a:cubicBezTo>
                      <a:pt x="84" y="96"/>
                      <a:pt x="84" y="96"/>
                      <a:pt x="84" y="96"/>
                    </a:cubicBezTo>
                    <a:cubicBezTo>
                      <a:pt x="85" y="104"/>
                      <a:pt x="85" y="104"/>
                      <a:pt x="85" y="104"/>
                    </a:cubicBezTo>
                    <a:cubicBezTo>
                      <a:pt x="83" y="104"/>
                      <a:pt x="81" y="106"/>
                      <a:pt x="80" y="107"/>
                    </a:cubicBezTo>
                    <a:cubicBezTo>
                      <a:pt x="77" y="115"/>
                      <a:pt x="77" y="115"/>
                      <a:pt x="77" y="115"/>
                    </a:cubicBezTo>
                    <a:cubicBezTo>
                      <a:pt x="75" y="124"/>
                      <a:pt x="75" y="124"/>
                      <a:pt x="75" y="124"/>
                    </a:cubicBezTo>
                    <a:cubicBezTo>
                      <a:pt x="70" y="132"/>
                      <a:pt x="70" y="132"/>
                      <a:pt x="70" y="132"/>
                    </a:cubicBezTo>
                    <a:cubicBezTo>
                      <a:pt x="63" y="136"/>
                      <a:pt x="63" y="136"/>
                      <a:pt x="63" y="136"/>
                    </a:cubicBezTo>
                    <a:cubicBezTo>
                      <a:pt x="62" y="136"/>
                      <a:pt x="62" y="136"/>
                      <a:pt x="62" y="136"/>
                    </a:cubicBezTo>
                    <a:cubicBezTo>
                      <a:pt x="62" y="136"/>
                      <a:pt x="61" y="137"/>
                      <a:pt x="61" y="137"/>
                    </a:cubicBezTo>
                    <a:cubicBezTo>
                      <a:pt x="60" y="140"/>
                      <a:pt x="60" y="140"/>
                      <a:pt x="60" y="140"/>
                    </a:cubicBezTo>
                    <a:cubicBezTo>
                      <a:pt x="59" y="141"/>
                      <a:pt x="59" y="141"/>
                      <a:pt x="59" y="141"/>
                    </a:cubicBezTo>
                    <a:cubicBezTo>
                      <a:pt x="58" y="141"/>
                      <a:pt x="58" y="141"/>
                      <a:pt x="58" y="141"/>
                    </a:cubicBezTo>
                    <a:cubicBezTo>
                      <a:pt x="58" y="142"/>
                      <a:pt x="58" y="142"/>
                      <a:pt x="58" y="142"/>
                    </a:cubicBezTo>
                    <a:cubicBezTo>
                      <a:pt x="58" y="143"/>
                      <a:pt x="58" y="143"/>
                      <a:pt x="58" y="144"/>
                    </a:cubicBezTo>
                    <a:cubicBezTo>
                      <a:pt x="58" y="144"/>
                      <a:pt x="58" y="144"/>
                      <a:pt x="58" y="145"/>
                    </a:cubicBezTo>
                    <a:cubicBezTo>
                      <a:pt x="58" y="145"/>
                      <a:pt x="59" y="145"/>
                      <a:pt x="59" y="146"/>
                    </a:cubicBezTo>
                    <a:cubicBezTo>
                      <a:pt x="59" y="146"/>
                      <a:pt x="60" y="147"/>
                      <a:pt x="61" y="147"/>
                    </a:cubicBezTo>
                    <a:cubicBezTo>
                      <a:pt x="62" y="148"/>
                      <a:pt x="63" y="148"/>
                      <a:pt x="63" y="148"/>
                    </a:cubicBezTo>
                    <a:cubicBezTo>
                      <a:pt x="64" y="150"/>
                      <a:pt x="64" y="150"/>
                      <a:pt x="64" y="150"/>
                    </a:cubicBezTo>
                    <a:cubicBezTo>
                      <a:pt x="63" y="151"/>
                      <a:pt x="62" y="151"/>
                      <a:pt x="61" y="151"/>
                    </a:cubicBezTo>
                    <a:cubicBezTo>
                      <a:pt x="61" y="151"/>
                      <a:pt x="60" y="151"/>
                      <a:pt x="60" y="151"/>
                    </a:cubicBezTo>
                    <a:cubicBezTo>
                      <a:pt x="59" y="151"/>
                      <a:pt x="59" y="151"/>
                      <a:pt x="58" y="151"/>
                    </a:cubicBezTo>
                    <a:cubicBezTo>
                      <a:pt x="58" y="151"/>
                      <a:pt x="58" y="152"/>
                      <a:pt x="58" y="153"/>
                    </a:cubicBezTo>
                    <a:cubicBezTo>
                      <a:pt x="59" y="154"/>
                      <a:pt x="59" y="154"/>
                      <a:pt x="59" y="154"/>
                    </a:cubicBezTo>
                    <a:cubicBezTo>
                      <a:pt x="59" y="154"/>
                      <a:pt x="59" y="156"/>
                      <a:pt x="59" y="156"/>
                    </a:cubicBezTo>
                    <a:cubicBezTo>
                      <a:pt x="59" y="156"/>
                      <a:pt x="59" y="157"/>
                      <a:pt x="57" y="158"/>
                    </a:cubicBezTo>
                    <a:cubicBezTo>
                      <a:pt x="56" y="160"/>
                      <a:pt x="56" y="160"/>
                      <a:pt x="56" y="160"/>
                    </a:cubicBezTo>
                    <a:cubicBezTo>
                      <a:pt x="52" y="160"/>
                      <a:pt x="52" y="160"/>
                      <a:pt x="52" y="160"/>
                    </a:cubicBezTo>
                    <a:cubicBezTo>
                      <a:pt x="52" y="160"/>
                      <a:pt x="52" y="160"/>
                      <a:pt x="52" y="160"/>
                    </a:cubicBezTo>
                    <a:close/>
                    <a:moveTo>
                      <a:pt x="49" y="158"/>
                    </a:moveTo>
                    <a:cubicBezTo>
                      <a:pt x="49" y="158"/>
                      <a:pt x="49" y="158"/>
                      <a:pt x="49" y="158"/>
                    </a:cubicBezTo>
                    <a:cubicBezTo>
                      <a:pt x="52" y="159"/>
                      <a:pt x="52" y="159"/>
                      <a:pt x="52" y="159"/>
                    </a:cubicBezTo>
                    <a:cubicBezTo>
                      <a:pt x="55" y="159"/>
                      <a:pt x="55" y="159"/>
                      <a:pt x="55" y="159"/>
                    </a:cubicBezTo>
                    <a:cubicBezTo>
                      <a:pt x="57" y="158"/>
                      <a:pt x="57" y="158"/>
                      <a:pt x="57" y="158"/>
                    </a:cubicBezTo>
                    <a:cubicBezTo>
                      <a:pt x="58" y="157"/>
                      <a:pt x="59" y="156"/>
                      <a:pt x="59" y="156"/>
                    </a:cubicBezTo>
                    <a:cubicBezTo>
                      <a:pt x="59" y="156"/>
                      <a:pt x="58" y="154"/>
                      <a:pt x="58" y="154"/>
                    </a:cubicBezTo>
                    <a:cubicBezTo>
                      <a:pt x="58" y="153"/>
                      <a:pt x="58" y="153"/>
                      <a:pt x="58" y="153"/>
                    </a:cubicBezTo>
                    <a:cubicBezTo>
                      <a:pt x="58" y="153"/>
                      <a:pt x="57" y="152"/>
                      <a:pt x="57" y="151"/>
                    </a:cubicBezTo>
                    <a:cubicBezTo>
                      <a:pt x="57" y="151"/>
                      <a:pt x="58" y="150"/>
                      <a:pt x="58" y="150"/>
                    </a:cubicBezTo>
                    <a:cubicBezTo>
                      <a:pt x="59" y="150"/>
                      <a:pt x="59" y="150"/>
                      <a:pt x="59" y="150"/>
                    </a:cubicBezTo>
                    <a:cubicBezTo>
                      <a:pt x="59" y="150"/>
                      <a:pt x="60" y="150"/>
                      <a:pt x="60" y="150"/>
                    </a:cubicBezTo>
                    <a:cubicBezTo>
                      <a:pt x="61" y="151"/>
                      <a:pt x="61" y="151"/>
                      <a:pt x="61" y="151"/>
                    </a:cubicBezTo>
                    <a:cubicBezTo>
                      <a:pt x="61" y="151"/>
                      <a:pt x="61" y="151"/>
                      <a:pt x="61" y="151"/>
                    </a:cubicBezTo>
                    <a:cubicBezTo>
                      <a:pt x="62" y="151"/>
                      <a:pt x="63" y="150"/>
                      <a:pt x="63" y="149"/>
                    </a:cubicBezTo>
                    <a:cubicBezTo>
                      <a:pt x="63" y="149"/>
                      <a:pt x="63" y="149"/>
                      <a:pt x="63" y="149"/>
                    </a:cubicBezTo>
                    <a:cubicBezTo>
                      <a:pt x="62" y="149"/>
                      <a:pt x="62" y="148"/>
                      <a:pt x="61" y="148"/>
                    </a:cubicBezTo>
                    <a:cubicBezTo>
                      <a:pt x="59" y="147"/>
                      <a:pt x="58" y="146"/>
                      <a:pt x="58" y="146"/>
                    </a:cubicBezTo>
                    <a:cubicBezTo>
                      <a:pt x="58" y="146"/>
                      <a:pt x="58" y="145"/>
                      <a:pt x="58" y="145"/>
                    </a:cubicBezTo>
                    <a:cubicBezTo>
                      <a:pt x="57" y="145"/>
                      <a:pt x="57" y="144"/>
                      <a:pt x="57" y="144"/>
                    </a:cubicBezTo>
                    <a:cubicBezTo>
                      <a:pt x="57" y="143"/>
                      <a:pt x="57" y="142"/>
                      <a:pt x="57" y="142"/>
                    </a:cubicBezTo>
                    <a:cubicBezTo>
                      <a:pt x="57" y="141"/>
                      <a:pt x="57" y="141"/>
                      <a:pt x="57" y="141"/>
                    </a:cubicBezTo>
                    <a:cubicBezTo>
                      <a:pt x="57" y="141"/>
                      <a:pt x="58" y="140"/>
                      <a:pt x="59" y="140"/>
                    </a:cubicBezTo>
                    <a:cubicBezTo>
                      <a:pt x="60" y="140"/>
                      <a:pt x="60" y="140"/>
                      <a:pt x="60" y="140"/>
                    </a:cubicBezTo>
                    <a:cubicBezTo>
                      <a:pt x="61" y="137"/>
                      <a:pt x="61" y="137"/>
                      <a:pt x="61" y="137"/>
                    </a:cubicBezTo>
                    <a:cubicBezTo>
                      <a:pt x="61" y="137"/>
                      <a:pt x="61" y="136"/>
                      <a:pt x="62" y="136"/>
                    </a:cubicBezTo>
                    <a:cubicBezTo>
                      <a:pt x="63" y="136"/>
                      <a:pt x="63" y="136"/>
                      <a:pt x="63" y="136"/>
                    </a:cubicBezTo>
                    <a:cubicBezTo>
                      <a:pt x="63" y="136"/>
                      <a:pt x="63" y="136"/>
                      <a:pt x="63" y="136"/>
                    </a:cubicBezTo>
                    <a:cubicBezTo>
                      <a:pt x="70" y="132"/>
                      <a:pt x="70" y="132"/>
                      <a:pt x="70" y="132"/>
                    </a:cubicBezTo>
                    <a:cubicBezTo>
                      <a:pt x="75" y="124"/>
                      <a:pt x="75" y="124"/>
                      <a:pt x="75" y="124"/>
                    </a:cubicBezTo>
                    <a:cubicBezTo>
                      <a:pt x="76" y="115"/>
                      <a:pt x="76" y="115"/>
                      <a:pt x="76" y="115"/>
                    </a:cubicBezTo>
                    <a:cubicBezTo>
                      <a:pt x="79" y="107"/>
                      <a:pt x="79" y="107"/>
                      <a:pt x="79" y="107"/>
                    </a:cubicBezTo>
                    <a:cubicBezTo>
                      <a:pt x="80" y="106"/>
                      <a:pt x="83" y="104"/>
                      <a:pt x="84" y="104"/>
                    </a:cubicBezTo>
                    <a:cubicBezTo>
                      <a:pt x="84" y="103"/>
                      <a:pt x="84" y="100"/>
                      <a:pt x="83" y="96"/>
                    </a:cubicBezTo>
                    <a:cubicBezTo>
                      <a:pt x="81" y="93"/>
                      <a:pt x="81" y="93"/>
                      <a:pt x="81" y="93"/>
                    </a:cubicBezTo>
                    <a:cubicBezTo>
                      <a:pt x="81" y="91"/>
                      <a:pt x="81" y="91"/>
                      <a:pt x="81" y="91"/>
                    </a:cubicBezTo>
                    <a:cubicBezTo>
                      <a:pt x="81" y="92"/>
                      <a:pt x="80" y="92"/>
                      <a:pt x="80" y="91"/>
                    </a:cubicBezTo>
                    <a:cubicBezTo>
                      <a:pt x="80" y="91"/>
                      <a:pt x="79" y="91"/>
                      <a:pt x="79" y="91"/>
                    </a:cubicBezTo>
                    <a:cubicBezTo>
                      <a:pt x="79" y="90"/>
                      <a:pt x="79" y="90"/>
                      <a:pt x="79" y="90"/>
                    </a:cubicBezTo>
                    <a:cubicBezTo>
                      <a:pt x="76" y="89"/>
                      <a:pt x="76" y="89"/>
                      <a:pt x="76" y="89"/>
                    </a:cubicBezTo>
                    <a:cubicBezTo>
                      <a:pt x="76" y="89"/>
                      <a:pt x="76" y="89"/>
                      <a:pt x="75" y="89"/>
                    </a:cubicBezTo>
                    <a:cubicBezTo>
                      <a:pt x="75" y="89"/>
                      <a:pt x="74" y="89"/>
                      <a:pt x="74" y="89"/>
                    </a:cubicBezTo>
                    <a:cubicBezTo>
                      <a:pt x="72" y="88"/>
                      <a:pt x="71" y="88"/>
                      <a:pt x="71" y="89"/>
                    </a:cubicBezTo>
                    <a:cubicBezTo>
                      <a:pt x="70" y="89"/>
                      <a:pt x="70" y="89"/>
                      <a:pt x="69" y="90"/>
                    </a:cubicBezTo>
                    <a:cubicBezTo>
                      <a:pt x="69" y="90"/>
                      <a:pt x="69" y="90"/>
                      <a:pt x="69" y="90"/>
                    </a:cubicBezTo>
                    <a:cubicBezTo>
                      <a:pt x="68" y="91"/>
                      <a:pt x="68" y="90"/>
                      <a:pt x="68" y="90"/>
                    </a:cubicBezTo>
                    <a:cubicBezTo>
                      <a:pt x="68" y="90"/>
                      <a:pt x="68" y="90"/>
                      <a:pt x="67" y="90"/>
                    </a:cubicBezTo>
                    <a:cubicBezTo>
                      <a:pt x="67" y="88"/>
                      <a:pt x="67" y="88"/>
                      <a:pt x="67" y="88"/>
                    </a:cubicBezTo>
                    <a:cubicBezTo>
                      <a:pt x="67" y="88"/>
                      <a:pt x="67" y="87"/>
                      <a:pt x="67" y="87"/>
                    </a:cubicBezTo>
                    <a:cubicBezTo>
                      <a:pt x="67" y="86"/>
                      <a:pt x="66" y="84"/>
                      <a:pt x="66" y="83"/>
                    </a:cubicBezTo>
                    <a:cubicBezTo>
                      <a:pt x="65" y="82"/>
                      <a:pt x="65" y="82"/>
                      <a:pt x="65" y="81"/>
                    </a:cubicBezTo>
                    <a:cubicBezTo>
                      <a:pt x="65" y="81"/>
                      <a:pt x="63" y="81"/>
                      <a:pt x="63" y="81"/>
                    </a:cubicBezTo>
                    <a:cubicBezTo>
                      <a:pt x="62" y="81"/>
                      <a:pt x="61" y="81"/>
                      <a:pt x="61" y="81"/>
                    </a:cubicBezTo>
                    <a:cubicBezTo>
                      <a:pt x="60" y="80"/>
                      <a:pt x="60" y="79"/>
                      <a:pt x="61" y="78"/>
                    </a:cubicBezTo>
                    <a:cubicBezTo>
                      <a:pt x="61" y="78"/>
                      <a:pt x="60" y="77"/>
                      <a:pt x="59" y="76"/>
                    </a:cubicBezTo>
                    <a:cubicBezTo>
                      <a:pt x="59" y="76"/>
                      <a:pt x="57" y="73"/>
                      <a:pt x="57" y="73"/>
                    </a:cubicBezTo>
                    <a:cubicBezTo>
                      <a:pt x="57" y="73"/>
                      <a:pt x="56" y="73"/>
                      <a:pt x="56" y="72"/>
                    </a:cubicBezTo>
                    <a:cubicBezTo>
                      <a:pt x="55" y="68"/>
                      <a:pt x="55" y="68"/>
                      <a:pt x="55" y="68"/>
                    </a:cubicBezTo>
                    <a:cubicBezTo>
                      <a:pt x="56" y="67"/>
                      <a:pt x="56" y="66"/>
                      <a:pt x="56" y="66"/>
                    </a:cubicBezTo>
                    <a:cubicBezTo>
                      <a:pt x="57" y="65"/>
                      <a:pt x="57" y="64"/>
                      <a:pt x="57" y="64"/>
                    </a:cubicBezTo>
                    <a:cubicBezTo>
                      <a:pt x="57" y="64"/>
                      <a:pt x="55" y="62"/>
                      <a:pt x="54" y="62"/>
                    </a:cubicBezTo>
                    <a:cubicBezTo>
                      <a:pt x="54" y="62"/>
                      <a:pt x="52" y="60"/>
                      <a:pt x="52" y="59"/>
                    </a:cubicBezTo>
                    <a:cubicBezTo>
                      <a:pt x="51" y="58"/>
                      <a:pt x="51" y="57"/>
                      <a:pt x="51" y="57"/>
                    </a:cubicBezTo>
                    <a:cubicBezTo>
                      <a:pt x="52" y="56"/>
                      <a:pt x="52" y="56"/>
                      <a:pt x="53" y="56"/>
                    </a:cubicBezTo>
                    <a:cubicBezTo>
                      <a:pt x="54" y="55"/>
                      <a:pt x="54" y="55"/>
                      <a:pt x="54" y="55"/>
                    </a:cubicBezTo>
                    <a:cubicBezTo>
                      <a:pt x="54" y="55"/>
                      <a:pt x="55" y="54"/>
                      <a:pt x="55" y="54"/>
                    </a:cubicBezTo>
                    <a:cubicBezTo>
                      <a:pt x="55" y="53"/>
                      <a:pt x="55" y="53"/>
                      <a:pt x="55" y="53"/>
                    </a:cubicBezTo>
                    <a:cubicBezTo>
                      <a:pt x="55" y="53"/>
                      <a:pt x="54" y="51"/>
                      <a:pt x="54" y="51"/>
                    </a:cubicBezTo>
                    <a:cubicBezTo>
                      <a:pt x="55" y="48"/>
                      <a:pt x="55" y="48"/>
                      <a:pt x="55" y="48"/>
                    </a:cubicBezTo>
                    <a:cubicBezTo>
                      <a:pt x="54" y="47"/>
                      <a:pt x="54" y="47"/>
                      <a:pt x="54" y="47"/>
                    </a:cubicBezTo>
                    <a:cubicBezTo>
                      <a:pt x="54" y="43"/>
                      <a:pt x="54" y="43"/>
                      <a:pt x="54" y="43"/>
                    </a:cubicBezTo>
                    <a:cubicBezTo>
                      <a:pt x="54" y="42"/>
                      <a:pt x="54" y="42"/>
                      <a:pt x="54" y="42"/>
                    </a:cubicBezTo>
                    <a:cubicBezTo>
                      <a:pt x="54" y="41"/>
                      <a:pt x="54" y="40"/>
                      <a:pt x="54" y="40"/>
                    </a:cubicBezTo>
                    <a:cubicBezTo>
                      <a:pt x="54" y="39"/>
                      <a:pt x="55" y="38"/>
                      <a:pt x="55" y="37"/>
                    </a:cubicBezTo>
                    <a:cubicBezTo>
                      <a:pt x="55" y="35"/>
                      <a:pt x="55" y="35"/>
                      <a:pt x="55" y="35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4" y="30"/>
                      <a:pt x="54" y="30"/>
                      <a:pt x="54" y="30"/>
                    </a:cubicBezTo>
                    <a:cubicBezTo>
                      <a:pt x="54" y="30"/>
                      <a:pt x="54" y="30"/>
                      <a:pt x="53" y="29"/>
                    </a:cubicBezTo>
                    <a:cubicBezTo>
                      <a:pt x="53" y="28"/>
                      <a:pt x="52" y="26"/>
                      <a:pt x="52" y="26"/>
                    </a:cubicBezTo>
                    <a:cubicBezTo>
                      <a:pt x="51" y="24"/>
                      <a:pt x="51" y="24"/>
                      <a:pt x="51" y="24"/>
                    </a:cubicBezTo>
                    <a:cubicBezTo>
                      <a:pt x="51" y="23"/>
                      <a:pt x="49" y="21"/>
                      <a:pt x="49" y="21"/>
                    </a:cubicBezTo>
                    <a:cubicBezTo>
                      <a:pt x="49" y="20"/>
                      <a:pt x="48" y="20"/>
                      <a:pt x="48" y="20"/>
                    </a:cubicBezTo>
                    <a:cubicBezTo>
                      <a:pt x="48" y="19"/>
                      <a:pt x="48" y="19"/>
                      <a:pt x="47" y="19"/>
                    </a:cubicBezTo>
                    <a:cubicBezTo>
                      <a:pt x="46" y="18"/>
                      <a:pt x="44" y="17"/>
                      <a:pt x="44" y="17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0" y="15"/>
                      <a:pt x="40" y="15"/>
                      <a:pt x="40" y="1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36" y="12"/>
                      <a:pt x="36" y="12"/>
                      <a:pt x="36" y="12"/>
                    </a:cubicBezTo>
                    <a:cubicBezTo>
                      <a:pt x="36" y="9"/>
                      <a:pt x="36" y="9"/>
                      <a:pt x="36" y="9"/>
                    </a:cubicBezTo>
                    <a:cubicBezTo>
                      <a:pt x="29" y="4"/>
                      <a:pt x="29" y="4"/>
                      <a:pt x="29" y="4"/>
                    </a:cubicBezTo>
                    <a:cubicBezTo>
                      <a:pt x="28" y="5"/>
                      <a:pt x="28" y="5"/>
                      <a:pt x="28" y="5"/>
                    </a:cubicBezTo>
                    <a:cubicBezTo>
                      <a:pt x="28" y="5"/>
                      <a:pt x="27" y="6"/>
                      <a:pt x="27" y="6"/>
                    </a:cubicBezTo>
                    <a:cubicBezTo>
                      <a:pt x="27" y="7"/>
                      <a:pt x="24" y="7"/>
                      <a:pt x="24" y="7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10"/>
                      <a:pt x="19" y="10"/>
                      <a:pt x="19" y="10"/>
                    </a:cubicBezTo>
                    <a:cubicBezTo>
                      <a:pt x="19" y="9"/>
                      <a:pt x="18" y="9"/>
                      <a:pt x="18" y="9"/>
                    </a:cubicBezTo>
                    <a:cubicBezTo>
                      <a:pt x="18" y="8"/>
                      <a:pt x="18" y="8"/>
                      <a:pt x="18" y="8"/>
                    </a:cubicBezTo>
                    <a:cubicBezTo>
                      <a:pt x="17" y="7"/>
                      <a:pt x="17" y="6"/>
                      <a:pt x="17" y="6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7" y="4"/>
                      <a:pt x="17" y="4"/>
                      <a:pt x="17" y="3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4" y="0"/>
                      <a:pt x="14" y="0"/>
                    </a:cubicBezTo>
                    <a:cubicBezTo>
                      <a:pt x="14" y="1"/>
                      <a:pt x="12" y="2"/>
                      <a:pt x="11" y="4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9" y="9"/>
                      <a:pt x="9" y="9"/>
                      <a:pt x="9" y="9"/>
                    </a:cubicBezTo>
                    <a:cubicBezTo>
                      <a:pt x="8" y="12"/>
                      <a:pt x="8" y="12"/>
                      <a:pt x="8" y="12"/>
                    </a:cubicBezTo>
                    <a:cubicBezTo>
                      <a:pt x="8" y="12"/>
                      <a:pt x="8" y="13"/>
                      <a:pt x="7" y="13"/>
                    </a:cubicBezTo>
                    <a:cubicBezTo>
                      <a:pt x="7" y="14"/>
                      <a:pt x="6" y="15"/>
                      <a:pt x="6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4" y="18"/>
                      <a:pt x="4" y="19"/>
                      <a:pt x="4" y="20"/>
                    </a:cubicBezTo>
                    <a:cubicBezTo>
                      <a:pt x="4" y="20"/>
                      <a:pt x="4" y="20"/>
                      <a:pt x="3" y="21"/>
                    </a:cubicBezTo>
                    <a:cubicBezTo>
                      <a:pt x="3" y="23"/>
                      <a:pt x="3" y="23"/>
                      <a:pt x="3" y="23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1" y="28"/>
                      <a:pt x="1" y="28"/>
                      <a:pt x="1" y="28"/>
                    </a:cubicBezTo>
                    <a:cubicBezTo>
                      <a:pt x="5" y="30"/>
                      <a:pt x="5" y="30"/>
                      <a:pt x="5" y="30"/>
                    </a:cubicBezTo>
                    <a:cubicBezTo>
                      <a:pt x="6" y="30"/>
                      <a:pt x="6" y="31"/>
                      <a:pt x="6" y="32"/>
                    </a:cubicBezTo>
                    <a:cubicBezTo>
                      <a:pt x="6" y="32"/>
                      <a:pt x="5" y="33"/>
                      <a:pt x="5" y="33"/>
                    </a:cubicBezTo>
                    <a:cubicBezTo>
                      <a:pt x="5" y="35"/>
                      <a:pt x="5" y="35"/>
                      <a:pt x="5" y="35"/>
                    </a:cubicBezTo>
                    <a:cubicBezTo>
                      <a:pt x="5" y="35"/>
                      <a:pt x="5" y="36"/>
                      <a:pt x="5" y="36"/>
                    </a:cubicBezTo>
                    <a:cubicBezTo>
                      <a:pt x="5" y="36"/>
                      <a:pt x="6" y="37"/>
                      <a:pt x="6" y="37"/>
                    </a:cubicBezTo>
                    <a:cubicBezTo>
                      <a:pt x="6" y="38"/>
                      <a:pt x="5" y="39"/>
                      <a:pt x="5" y="39"/>
                    </a:cubicBezTo>
                    <a:cubicBezTo>
                      <a:pt x="4" y="40"/>
                      <a:pt x="4" y="40"/>
                      <a:pt x="4" y="40"/>
                    </a:cubicBezTo>
                    <a:cubicBezTo>
                      <a:pt x="5" y="41"/>
                      <a:pt x="5" y="41"/>
                      <a:pt x="5" y="41"/>
                    </a:cubicBezTo>
                    <a:cubicBezTo>
                      <a:pt x="5" y="41"/>
                      <a:pt x="5" y="43"/>
                      <a:pt x="5" y="43"/>
                    </a:cubicBezTo>
                    <a:cubicBezTo>
                      <a:pt x="5" y="43"/>
                      <a:pt x="6" y="44"/>
                      <a:pt x="7" y="44"/>
                    </a:cubicBezTo>
                    <a:cubicBezTo>
                      <a:pt x="7" y="44"/>
                      <a:pt x="7" y="44"/>
                      <a:pt x="8" y="44"/>
                    </a:cubicBezTo>
                    <a:cubicBezTo>
                      <a:pt x="9" y="44"/>
                      <a:pt x="9" y="44"/>
                      <a:pt x="9" y="44"/>
                    </a:cubicBezTo>
                    <a:cubicBezTo>
                      <a:pt x="10" y="44"/>
                      <a:pt x="10" y="44"/>
                      <a:pt x="10" y="44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15" y="46"/>
                      <a:pt x="15" y="46"/>
                      <a:pt x="15" y="46"/>
                    </a:cubicBezTo>
                    <a:cubicBezTo>
                      <a:pt x="15" y="49"/>
                      <a:pt x="15" y="49"/>
                      <a:pt x="15" y="49"/>
                    </a:cubicBezTo>
                    <a:cubicBezTo>
                      <a:pt x="16" y="52"/>
                      <a:pt x="16" y="52"/>
                      <a:pt x="16" y="52"/>
                    </a:cubicBezTo>
                    <a:cubicBezTo>
                      <a:pt x="15" y="54"/>
                      <a:pt x="15" y="54"/>
                      <a:pt x="15" y="54"/>
                    </a:cubicBezTo>
                    <a:cubicBezTo>
                      <a:pt x="16" y="54"/>
                      <a:pt x="16" y="54"/>
                      <a:pt x="16" y="54"/>
                    </a:cubicBezTo>
                    <a:cubicBezTo>
                      <a:pt x="16" y="54"/>
                      <a:pt x="16" y="55"/>
                      <a:pt x="16" y="55"/>
                    </a:cubicBezTo>
                    <a:cubicBezTo>
                      <a:pt x="16" y="56"/>
                      <a:pt x="16" y="58"/>
                      <a:pt x="16" y="58"/>
                    </a:cubicBezTo>
                    <a:cubicBezTo>
                      <a:pt x="15" y="58"/>
                      <a:pt x="14" y="59"/>
                      <a:pt x="13" y="59"/>
                    </a:cubicBezTo>
                    <a:cubicBezTo>
                      <a:pt x="12" y="59"/>
                      <a:pt x="11" y="59"/>
                      <a:pt x="11" y="59"/>
                    </a:cubicBezTo>
                    <a:cubicBezTo>
                      <a:pt x="11" y="60"/>
                      <a:pt x="11" y="60"/>
                      <a:pt x="11" y="60"/>
                    </a:cubicBezTo>
                    <a:cubicBezTo>
                      <a:pt x="13" y="61"/>
                      <a:pt x="13" y="61"/>
                      <a:pt x="13" y="61"/>
                    </a:cubicBezTo>
                    <a:cubicBezTo>
                      <a:pt x="14" y="61"/>
                      <a:pt x="14" y="61"/>
                      <a:pt x="14" y="61"/>
                    </a:cubicBezTo>
                    <a:cubicBezTo>
                      <a:pt x="15" y="62"/>
                      <a:pt x="15" y="64"/>
                      <a:pt x="15" y="64"/>
                    </a:cubicBezTo>
                    <a:cubicBezTo>
                      <a:pt x="14" y="64"/>
                      <a:pt x="14" y="65"/>
                      <a:pt x="14" y="65"/>
                    </a:cubicBezTo>
                    <a:cubicBezTo>
                      <a:pt x="13" y="65"/>
                      <a:pt x="12" y="66"/>
                      <a:pt x="12" y="66"/>
                    </a:cubicBezTo>
                    <a:cubicBezTo>
                      <a:pt x="10" y="68"/>
                      <a:pt x="10" y="68"/>
                      <a:pt x="10" y="68"/>
                    </a:cubicBezTo>
                    <a:cubicBezTo>
                      <a:pt x="9" y="69"/>
                      <a:pt x="9" y="69"/>
                      <a:pt x="9" y="69"/>
                    </a:cubicBezTo>
                    <a:cubicBezTo>
                      <a:pt x="10" y="71"/>
                      <a:pt x="10" y="71"/>
                      <a:pt x="10" y="71"/>
                    </a:cubicBezTo>
                    <a:cubicBezTo>
                      <a:pt x="11" y="71"/>
                      <a:pt x="11" y="71"/>
                      <a:pt x="11" y="71"/>
                    </a:cubicBezTo>
                    <a:cubicBezTo>
                      <a:pt x="12" y="71"/>
                      <a:pt x="12" y="71"/>
                      <a:pt x="12" y="72"/>
                    </a:cubicBezTo>
                    <a:cubicBezTo>
                      <a:pt x="12" y="72"/>
                      <a:pt x="12" y="72"/>
                      <a:pt x="15" y="73"/>
                    </a:cubicBezTo>
                    <a:cubicBezTo>
                      <a:pt x="15" y="75"/>
                      <a:pt x="15" y="75"/>
                      <a:pt x="15" y="75"/>
                    </a:cubicBezTo>
                    <a:cubicBezTo>
                      <a:pt x="15" y="75"/>
                      <a:pt x="15" y="76"/>
                      <a:pt x="15" y="77"/>
                    </a:cubicBezTo>
                    <a:cubicBezTo>
                      <a:pt x="15" y="78"/>
                      <a:pt x="14" y="81"/>
                      <a:pt x="14" y="81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3" y="83"/>
                      <a:pt x="14" y="84"/>
                      <a:pt x="14" y="86"/>
                    </a:cubicBezTo>
                    <a:cubicBezTo>
                      <a:pt x="13" y="89"/>
                      <a:pt x="13" y="89"/>
                      <a:pt x="13" y="89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7" y="92"/>
                      <a:pt x="17" y="92"/>
                      <a:pt x="17" y="92"/>
                    </a:cubicBezTo>
                    <a:cubicBezTo>
                      <a:pt x="14" y="93"/>
                      <a:pt x="14" y="93"/>
                      <a:pt x="14" y="93"/>
                    </a:cubicBezTo>
                    <a:cubicBezTo>
                      <a:pt x="14" y="93"/>
                      <a:pt x="13" y="93"/>
                      <a:pt x="13" y="94"/>
                    </a:cubicBezTo>
                    <a:cubicBezTo>
                      <a:pt x="13" y="94"/>
                      <a:pt x="13" y="95"/>
                      <a:pt x="13" y="95"/>
                    </a:cubicBezTo>
                    <a:cubicBezTo>
                      <a:pt x="15" y="95"/>
                      <a:pt x="15" y="95"/>
                      <a:pt x="15" y="95"/>
                    </a:cubicBezTo>
                    <a:cubicBezTo>
                      <a:pt x="13" y="97"/>
                      <a:pt x="13" y="97"/>
                      <a:pt x="13" y="97"/>
                    </a:cubicBezTo>
                    <a:cubicBezTo>
                      <a:pt x="13" y="97"/>
                      <a:pt x="13" y="99"/>
                      <a:pt x="13" y="99"/>
                    </a:cubicBezTo>
                    <a:cubicBezTo>
                      <a:pt x="13" y="99"/>
                      <a:pt x="13" y="100"/>
                      <a:pt x="13" y="101"/>
                    </a:cubicBezTo>
                    <a:cubicBezTo>
                      <a:pt x="12" y="101"/>
                      <a:pt x="12" y="101"/>
                      <a:pt x="12" y="101"/>
                    </a:cubicBezTo>
                    <a:cubicBezTo>
                      <a:pt x="12" y="103"/>
                      <a:pt x="12" y="103"/>
                      <a:pt x="12" y="103"/>
                    </a:cubicBezTo>
                    <a:cubicBezTo>
                      <a:pt x="11" y="108"/>
                      <a:pt x="11" y="108"/>
                      <a:pt x="11" y="108"/>
                    </a:cubicBezTo>
                    <a:cubicBezTo>
                      <a:pt x="14" y="114"/>
                      <a:pt x="14" y="114"/>
                      <a:pt x="14" y="114"/>
                    </a:cubicBezTo>
                    <a:cubicBezTo>
                      <a:pt x="17" y="117"/>
                      <a:pt x="17" y="117"/>
                      <a:pt x="17" y="117"/>
                    </a:cubicBezTo>
                    <a:cubicBezTo>
                      <a:pt x="19" y="119"/>
                      <a:pt x="19" y="119"/>
                      <a:pt x="19" y="119"/>
                    </a:cubicBezTo>
                    <a:cubicBezTo>
                      <a:pt x="18" y="122"/>
                      <a:pt x="18" y="122"/>
                      <a:pt x="18" y="122"/>
                    </a:cubicBezTo>
                    <a:cubicBezTo>
                      <a:pt x="19" y="123"/>
                      <a:pt x="19" y="123"/>
                      <a:pt x="19" y="123"/>
                    </a:cubicBezTo>
                    <a:cubicBezTo>
                      <a:pt x="19" y="125"/>
                      <a:pt x="19" y="125"/>
                      <a:pt x="19" y="125"/>
                    </a:cubicBezTo>
                    <a:cubicBezTo>
                      <a:pt x="19" y="125"/>
                      <a:pt x="19" y="126"/>
                      <a:pt x="18" y="126"/>
                    </a:cubicBezTo>
                    <a:cubicBezTo>
                      <a:pt x="18" y="126"/>
                      <a:pt x="17" y="126"/>
                      <a:pt x="17" y="126"/>
                    </a:cubicBezTo>
                    <a:cubicBezTo>
                      <a:pt x="16" y="125"/>
                      <a:pt x="15" y="123"/>
                      <a:pt x="15" y="123"/>
                    </a:cubicBezTo>
                    <a:cubicBezTo>
                      <a:pt x="15" y="123"/>
                      <a:pt x="14" y="122"/>
                      <a:pt x="14" y="121"/>
                    </a:cubicBezTo>
                    <a:cubicBezTo>
                      <a:pt x="14" y="121"/>
                      <a:pt x="13" y="120"/>
                      <a:pt x="13" y="120"/>
                    </a:cubicBezTo>
                    <a:cubicBezTo>
                      <a:pt x="11" y="120"/>
                      <a:pt x="11" y="120"/>
                      <a:pt x="11" y="120"/>
                    </a:cubicBezTo>
                    <a:cubicBezTo>
                      <a:pt x="11" y="121"/>
                      <a:pt x="11" y="121"/>
                      <a:pt x="11" y="121"/>
                    </a:cubicBezTo>
                    <a:cubicBezTo>
                      <a:pt x="11" y="121"/>
                      <a:pt x="12" y="122"/>
                      <a:pt x="12" y="123"/>
                    </a:cubicBezTo>
                    <a:cubicBezTo>
                      <a:pt x="13" y="123"/>
                      <a:pt x="14" y="124"/>
                      <a:pt x="14" y="124"/>
                    </a:cubicBezTo>
                    <a:cubicBezTo>
                      <a:pt x="14" y="124"/>
                      <a:pt x="15" y="125"/>
                      <a:pt x="15" y="125"/>
                    </a:cubicBezTo>
                    <a:cubicBezTo>
                      <a:pt x="15" y="125"/>
                      <a:pt x="16" y="128"/>
                      <a:pt x="16" y="128"/>
                    </a:cubicBezTo>
                    <a:cubicBezTo>
                      <a:pt x="27" y="135"/>
                      <a:pt x="27" y="135"/>
                      <a:pt x="27" y="135"/>
                    </a:cubicBezTo>
                    <a:cubicBezTo>
                      <a:pt x="31" y="136"/>
                      <a:pt x="31" y="136"/>
                      <a:pt x="31" y="136"/>
                    </a:cubicBezTo>
                    <a:cubicBezTo>
                      <a:pt x="32" y="138"/>
                      <a:pt x="32" y="138"/>
                      <a:pt x="32" y="138"/>
                    </a:cubicBezTo>
                    <a:cubicBezTo>
                      <a:pt x="33" y="138"/>
                      <a:pt x="33" y="138"/>
                      <a:pt x="33" y="138"/>
                    </a:cubicBezTo>
                    <a:cubicBezTo>
                      <a:pt x="33" y="138"/>
                      <a:pt x="34" y="138"/>
                      <a:pt x="35" y="138"/>
                    </a:cubicBezTo>
                    <a:cubicBezTo>
                      <a:pt x="35" y="138"/>
                      <a:pt x="35" y="138"/>
                      <a:pt x="35" y="138"/>
                    </a:cubicBezTo>
                    <a:cubicBezTo>
                      <a:pt x="35" y="138"/>
                      <a:pt x="37" y="139"/>
                      <a:pt x="37" y="139"/>
                    </a:cubicBezTo>
                    <a:cubicBezTo>
                      <a:pt x="37" y="139"/>
                      <a:pt x="38" y="139"/>
                      <a:pt x="38" y="139"/>
                    </a:cubicBezTo>
                    <a:cubicBezTo>
                      <a:pt x="38" y="140"/>
                      <a:pt x="40" y="143"/>
                      <a:pt x="41" y="145"/>
                    </a:cubicBezTo>
                    <a:cubicBezTo>
                      <a:pt x="41" y="145"/>
                      <a:pt x="42" y="146"/>
                      <a:pt x="42" y="147"/>
                    </a:cubicBezTo>
                    <a:cubicBezTo>
                      <a:pt x="43" y="147"/>
                      <a:pt x="45" y="148"/>
                      <a:pt x="45" y="148"/>
                    </a:cubicBezTo>
                    <a:cubicBezTo>
                      <a:pt x="45" y="149"/>
                      <a:pt x="45" y="150"/>
                      <a:pt x="45" y="151"/>
                    </a:cubicBezTo>
                    <a:cubicBezTo>
                      <a:pt x="45" y="151"/>
                      <a:pt x="45" y="151"/>
                      <a:pt x="45" y="152"/>
                    </a:cubicBezTo>
                    <a:cubicBezTo>
                      <a:pt x="45" y="153"/>
                      <a:pt x="46" y="153"/>
                      <a:pt x="46" y="153"/>
                    </a:cubicBezTo>
                    <a:cubicBezTo>
                      <a:pt x="46" y="154"/>
                      <a:pt x="47" y="155"/>
                      <a:pt x="47" y="155"/>
                    </a:cubicBezTo>
                    <a:cubicBezTo>
                      <a:pt x="47" y="158"/>
                      <a:pt x="47" y="158"/>
                      <a:pt x="47" y="158"/>
                    </a:cubicBezTo>
                    <a:cubicBezTo>
                      <a:pt x="48" y="158"/>
                      <a:pt x="48" y="158"/>
                      <a:pt x="48" y="158"/>
                    </a:cubicBezTo>
                    <a:lnTo>
                      <a:pt x="49" y="15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43" name="Freeform 84">
                <a:extLst>
                  <a:ext uri="{FF2B5EF4-FFF2-40B4-BE49-F238E27FC236}">
                    <a16:creationId xmlns:a16="http://schemas.microsoft.com/office/drawing/2014/main" id="{96B60241-9EF6-1A66-9C3F-C6A9C2902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42022" y="3519370"/>
                <a:ext cx="173954" cy="192655"/>
              </a:xfrm>
              <a:custGeom>
                <a:avLst/>
                <a:gdLst>
                  <a:gd name="T0" fmla="*/ 46 w 78"/>
                  <a:gd name="T1" fmla="*/ 88 h 89"/>
                  <a:gd name="T2" fmla="*/ 44 w 78"/>
                  <a:gd name="T3" fmla="*/ 86 h 89"/>
                  <a:gd name="T4" fmla="*/ 44 w 78"/>
                  <a:gd name="T5" fmla="*/ 81 h 89"/>
                  <a:gd name="T6" fmla="*/ 44 w 78"/>
                  <a:gd name="T7" fmla="*/ 77 h 89"/>
                  <a:gd name="T8" fmla="*/ 42 w 78"/>
                  <a:gd name="T9" fmla="*/ 73 h 89"/>
                  <a:gd name="T10" fmla="*/ 39 w 78"/>
                  <a:gd name="T11" fmla="*/ 69 h 89"/>
                  <a:gd name="T12" fmla="*/ 43 w 78"/>
                  <a:gd name="T13" fmla="*/ 64 h 89"/>
                  <a:gd name="T14" fmla="*/ 44 w 78"/>
                  <a:gd name="T15" fmla="*/ 59 h 89"/>
                  <a:gd name="T16" fmla="*/ 47 w 78"/>
                  <a:gd name="T17" fmla="*/ 55 h 89"/>
                  <a:gd name="T18" fmla="*/ 50 w 78"/>
                  <a:gd name="T19" fmla="*/ 49 h 89"/>
                  <a:gd name="T20" fmla="*/ 55 w 78"/>
                  <a:gd name="T21" fmla="*/ 44 h 89"/>
                  <a:gd name="T22" fmla="*/ 56 w 78"/>
                  <a:gd name="T23" fmla="*/ 47 h 89"/>
                  <a:gd name="T24" fmla="*/ 57 w 78"/>
                  <a:gd name="T25" fmla="*/ 51 h 89"/>
                  <a:gd name="T26" fmla="*/ 59 w 78"/>
                  <a:gd name="T27" fmla="*/ 54 h 89"/>
                  <a:gd name="T28" fmla="*/ 66 w 78"/>
                  <a:gd name="T29" fmla="*/ 50 h 89"/>
                  <a:gd name="T30" fmla="*/ 68 w 78"/>
                  <a:gd name="T31" fmla="*/ 48 h 89"/>
                  <a:gd name="T32" fmla="*/ 67 w 78"/>
                  <a:gd name="T33" fmla="*/ 41 h 89"/>
                  <a:gd name="T34" fmla="*/ 70 w 78"/>
                  <a:gd name="T35" fmla="*/ 36 h 89"/>
                  <a:gd name="T36" fmla="*/ 78 w 78"/>
                  <a:gd name="T37" fmla="*/ 31 h 89"/>
                  <a:gd name="T38" fmla="*/ 71 w 78"/>
                  <a:gd name="T39" fmla="*/ 25 h 89"/>
                  <a:gd name="T40" fmla="*/ 62 w 78"/>
                  <a:gd name="T41" fmla="*/ 20 h 89"/>
                  <a:gd name="T42" fmla="*/ 57 w 78"/>
                  <a:gd name="T43" fmla="*/ 17 h 89"/>
                  <a:gd name="T44" fmla="*/ 50 w 78"/>
                  <a:gd name="T45" fmla="*/ 19 h 89"/>
                  <a:gd name="T46" fmla="*/ 46 w 78"/>
                  <a:gd name="T47" fmla="*/ 17 h 89"/>
                  <a:gd name="T48" fmla="*/ 40 w 78"/>
                  <a:gd name="T49" fmla="*/ 14 h 89"/>
                  <a:gd name="T50" fmla="*/ 38 w 78"/>
                  <a:gd name="T51" fmla="*/ 10 h 89"/>
                  <a:gd name="T52" fmla="*/ 33 w 78"/>
                  <a:gd name="T53" fmla="*/ 7 h 89"/>
                  <a:gd name="T54" fmla="*/ 26 w 78"/>
                  <a:gd name="T55" fmla="*/ 5 h 89"/>
                  <a:gd name="T56" fmla="*/ 25 w 78"/>
                  <a:gd name="T57" fmla="*/ 0 h 89"/>
                  <a:gd name="T58" fmla="*/ 20 w 78"/>
                  <a:gd name="T59" fmla="*/ 2 h 89"/>
                  <a:gd name="T60" fmla="*/ 17 w 78"/>
                  <a:gd name="T61" fmla="*/ 0 h 89"/>
                  <a:gd name="T62" fmla="*/ 14 w 78"/>
                  <a:gd name="T63" fmla="*/ 4 h 89"/>
                  <a:gd name="T64" fmla="*/ 17 w 78"/>
                  <a:gd name="T65" fmla="*/ 6 h 89"/>
                  <a:gd name="T66" fmla="*/ 19 w 78"/>
                  <a:gd name="T67" fmla="*/ 10 h 89"/>
                  <a:gd name="T68" fmla="*/ 20 w 78"/>
                  <a:gd name="T69" fmla="*/ 14 h 89"/>
                  <a:gd name="T70" fmla="*/ 17 w 78"/>
                  <a:gd name="T71" fmla="*/ 14 h 89"/>
                  <a:gd name="T72" fmla="*/ 12 w 78"/>
                  <a:gd name="T73" fmla="*/ 12 h 89"/>
                  <a:gd name="T74" fmla="*/ 8 w 78"/>
                  <a:gd name="T75" fmla="*/ 20 h 89"/>
                  <a:gd name="T76" fmla="*/ 7 w 78"/>
                  <a:gd name="T77" fmla="*/ 28 h 89"/>
                  <a:gd name="T78" fmla="*/ 0 w 78"/>
                  <a:gd name="T79" fmla="*/ 32 h 89"/>
                  <a:gd name="T80" fmla="*/ 3 w 78"/>
                  <a:gd name="T81" fmla="*/ 40 h 89"/>
                  <a:gd name="T82" fmla="*/ 4 w 78"/>
                  <a:gd name="T83" fmla="*/ 46 h 89"/>
                  <a:gd name="T84" fmla="*/ 7 w 78"/>
                  <a:gd name="T85" fmla="*/ 49 h 89"/>
                  <a:gd name="T86" fmla="*/ 5 w 78"/>
                  <a:gd name="T87" fmla="*/ 54 h 89"/>
                  <a:gd name="T88" fmla="*/ 3 w 78"/>
                  <a:gd name="T89" fmla="*/ 57 h 89"/>
                  <a:gd name="T90" fmla="*/ 5 w 78"/>
                  <a:gd name="T91" fmla="*/ 61 h 89"/>
                  <a:gd name="T92" fmla="*/ 12 w 78"/>
                  <a:gd name="T93" fmla="*/ 60 h 89"/>
                  <a:gd name="T94" fmla="*/ 13 w 78"/>
                  <a:gd name="T95" fmla="*/ 57 h 89"/>
                  <a:gd name="T96" fmla="*/ 16 w 78"/>
                  <a:gd name="T97" fmla="*/ 60 h 89"/>
                  <a:gd name="T98" fmla="*/ 14 w 78"/>
                  <a:gd name="T99" fmla="*/ 61 h 89"/>
                  <a:gd name="T100" fmla="*/ 12 w 78"/>
                  <a:gd name="T101" fmla="*/ 63 h 89"/>
                  <a:gd name="T102" fmla="*/ 8 w 78"/>
                  <a:gd name="T103" fmla="*/ 65 h 89"/>
                  <a:gd name="T104" fmla="*/ 13 w 78"/>
                  <a:gd name="T105" fmla="*/ 65 h 89"/>
                  <a:gd name="T106" fmla="*/ 17 w 78"/>
                  <a:gd name="T107" fmla="*/ 69 h 89"/>
                  <a:gd name="T108" fmla="*/ 25 w 78"/>
                  <a:gd name="T109" fmla="*/ 71 h 89"/>
                  <a:gd name="T110" fmla="*/ 30 w 78"/>
                  <a:gd name="T111" fmla="*/ 75 h 89"/>
                  <a:gd name="T112" fmla="*/ 31 w 78"/>
                  <a:gd name="T113" fmla="*/ 77 h 89"/>
                  <a:gd name="T114" fmla="*/ 34 w 78"/>
                  <a:gd name="T115" fmla="*/ 80 h 89"/>
                  <a:gd name="T116" fmla="*/ 36 w 78"/>
                  <a:gd name="T117" fmla="*/ 84 h 89"/>
                  <a:gd name="T118" fmla="*/ 40 w 78"/>
                  <a:gd name="T119" fmla="*/ 86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8" h="89">
                    <a:moveTo>
                      <a:pt x="42" y="87"/>
                    </a:moveTo>
                    <a:cubicBezTo>
                      <a:pt x="42" y="87"/>
                      <a:pt x="47" y="89"/>
                      <a:pt x="46" y="89"/>
                    </a:cubicBezTo>
                    <a:cubicBezTo>
                      <a:pt x="46" y="89"/>
                      <a:pt x="46" y="89"/>
                      <a:pt x="46" y="88"/>
                    </a:cubicBezTo>
                    <a:cubicBezTo>
                      <a:pt x="46" y="88"/>
                      <a:pt x="45" y="89"/>
                      <a:pt x="45" y="89"/>
                    </a:cubicBezTo>
                    <a:cubicBezTo>
                      <a:pt x="45" y="89"/>
                      <a:pt x="43" y="87"/>
                      <a:pt x="44" y="87"/>
                    </a:cubicBezTo>
                    <a:cubicBezTo>
                      <a:pt x="44" y="87"/>
                      <a:pt x="44" y="86"/>
                      <a:pt x="44" y="86"/>
                    </a:cubicBezTo>
                    <a:cubicBezTo>
                      <a:pt x="44" y="85"/>
                      <a:pt x="43" y="84"/>
                      <a:pt x="43" y="84"/>
                    </a:cubicBezTo>
                    <a:cubicBezTo>
                      <a:pt x="44" y="83"/>
                      <a:pt x="44" y="83"/>
                      <a:pt x="44" y="83"/>
                    </a:cubicBezTo>
                    <a:cubicBezTo>
                      <a:pt x="44" y="83"/>
                      <a:pt x="44" y="81"/>
                      <a:pt x="44" y="81"/>
                    </a:cubicBezTo>
                    <a:cubicBezTo>
                      <a:pt x="44" y="81"/>
                      <a:pt x="44" y="80"/>
                      <a:pt x="44" y="80"/>
                    </a:cubicBezTo>
                    <a:cubicBezTo>
                      <a:pt x="44" y="80"/>
                      <a:pt x="43" y="79"/>
                      <a:pt x="43" y="79"/>
                    </a:cubicBezTo>
                    <a:cubicBezTo>
                      <a:pt x="44" y="77"/>
                      <a:pt x="44" y="77"/>
                      <a:pt x="44" y="77"/>
                    </a:cubicBezTo>
                    <a:cubicBezTo>
                      <a:pt x="44" y="77"/>
                      <a:pt x="44" y="76"/>
                      <a:pt x="44" y="76"/>
                    </a:cubicBezTo>
                    <a:cubicBezTo>
                      <a:pt x="44" y="75"/>
                      <a:pt x="44" y="74"/>
                      <a:pt x="44" y="74"/>
                    </a:cubicBezTo>
                    <a:cubicBezTo>
                      <a:pt x="42" y="73"/>
                      <a:pt x="42" y="73"/>
                      <a:pt x="42" y="73"/>
                    </a:cubicBezTo>
                    <a:cubicBezTo>
                      <a:pt x="40" y="72"/>
                      <a:pt x="40" y="72"/>
                      <a:pt x="40" y="72"/>
                    </a:cubicBezTo>
                    <a:cubicBezTo>
                      <a:pt x="39" y="71"/>
                      <a:pt x="39" y="71"/>
                      <a:pt x="39" y="71"/>
                    </a:cubicBezTo>
                    <a:cubicBezTo>
                      <a:pt x="39" y="69"/>
                      <a:pt x="39" y="69"/>
                      <a:pt x="39" y="69"/>
                    </a:cubicBezTo>
                    <a:cubicBezTo>
                      <a:pt x="41" y="67"/>
                      <a:pt x="41" y="67"/>
                      <a:pt x="41" y="67"/>
                    </a:cubicBezTo>
                    <a:cubicBezTo>
                      <a:pt x="42" y="65"/>
                      <a:pt x="42" y="65"/>
                      <a:pt x="42" y="65"/>
                    </a:cubicBezTo>
                    <a:cubicBezTo>
                      <a:pt x="42" y="65"/>
                      <a:pt x="43" y="64"/>
                      <a:pt x="43" y="64"/>
                    </a:cubicBezTo>
                    <a:cubicBezTo>
                      <a:pt x="43" y="63"/>
                      <a:pt x="43" y="62"/>
                      <a:pt x="43" y="62"/>
                    </a:cubicBezTo>
                    <a:cubicBezTo>
                      <a:pt x="43" y="60"/>
                      <a:pt x="43" y="60"/>
                      <a:pt x="43" y="60"/>
                    </a:cubicBezTo>
                    <a:cubicBezTo>
                      <a:pt x="44" y="59"/>
                      <a:pt x="44" y="59"/>
                      <a:pt x="44" y="59"/>
                    </a:cubicBezTo>
                    <a:cubicBezTo>
                      <a:pt x="45" y="58"/>
                      <a:pt x="45" y="58"/>
                      <a:pt x="45" y="58"/>
                    </a:cubicBezTo>
                    <a:cubicBezTo>
                      <a:pt x="45" y="58"/>
                      <a:pt x="46" y="57"/>
                      <a:pt x="46" y="57"/>
                    </a:cubicBezTo>
                    <a:cubicBezTo>
                      <a:pt x="46" y="56"/>
                      <a:pt x="47" y="55"/>
                      <a:pt x="47" y="55"/>
                    </a:cubicBezTo>
                    <a:cubicBezTo>
                      <a:pt x="48" y="53"/>
                      <a:pt x="48" y="53"/>
                      <a:pt x="48" y="53"/>
                    </a:cubicBezTo>
                    <a:cubicBezTo>
                      <a:pt x="49" y="51"/>
                      <a:pt x="49" y="51"/>
                      <a:pt x="49" y="51"/>
                    </a:cubicBezTo>
                    <a:cubicBezTo>
                      <a:pt x="50" y="49"/>
                      <a:pt x="50" y="49"/>
                      <a:pt x="50" y="49"/>
                    </a:cubicBezTo>
                    <a:cubicBezTo>
                      <a:pt x="49" y="48"/>
                      <a:pt x="49" y="48"/>
                      <a:pt x="49" y="48"/>
                    </a:cubicBezTo>
                    <a:cubicBezTo>
                      <a:pt x="49" y="48"/>
                      <a:pt x="53" y="44"/>
                      <a:pt x="53" y="44"/>
                    </a:cubicBezTo>
                    <a:cubicBezTo>
                      <a:pt x="53" y="44"/>
                      <a:pt x="55" y="44"/>
                      <a:pt x="55" y="44"/>
                    </a:cubicBezTo>
                    <a:cubicBezTo>
                      <a:pt x="55" y="45"/>
                      <a:pt x="55" y="45"/>
                      <a:pt x="55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7"/>
                      <a:pt x="56" y="47"/>
                      <a:pt x="56" y="47"/>
                    </a:cubicBezTo>
                    <a:cubicBezTo>
                      <a:pt x="56" y="47"/>
                      <a:pt x="56" y="48"/>
                      <a:pt x="56" y="49"/>
                    </a:cubicBezTo>
                    <a:cubicBezTo>
                      <a:pt x="56" y="49"/>
                      <a:pt x="56" y="50"/>
                      <a:pt x="56" y="50"/>
                    </a:cubicBezTo>
                    <a:cubicBezTo>
                      <a:pt x="56" y="50"/>
                      <a:pt x="57" y="51"/>
                      <a:pt x="57" y="51"/>
                    </a:cubicBezTo>
                    <a:cubicBezTo>
                      <a:pt x="57" y="52"/>
                      <a:pt x="58" y="53"/>
                      <a:pt x="58" y="53"/>
                    </a:cubicBezTo>
                    <a:cubicBezTo>
                      <a:pt x="58" y="53"/>
                      <a:pt x="58" y="53"/>
                      <a:pt x="59" y="53"/>
                    </a:cubicBezTo>
                    <a:cubicBezTo>
                      <a:pt x="59" y="54"/>
                      <a:pt x="59" y="54"/>
                      <a:pt x="59" y="54"/>
                    </a:cubicBezTo>
                    <a:cubicBezTo>
                      <a:pt x="61" y="53"/>
                      <a:pt x="61" y="53"/>
                      <a:pt x="61" y="53"/>
                    </a:cubicBezTo>
                    <a:cubicBezTo>
                      <a:pt x="63" y="51"/>
                      <a:pt x="63" y="51"/>
                      <a:pt x="63" y="51"/>
                    </a:cubicBezTo>
                    <a:cubicBezTo>
                      <a:pt x="63" y="51"/>
                      <a:pt x="66" y="50"/>
                      <a:pt x="66" y="50"/>
                    </a:cubicBezTo>
                    <a:cubicBezTo>
                      <a:pt x="66" y="50"/>
                      <a:pt x="67" y="48"/>
                      <a:pt x="67" y="48"/>
                    </a:cubicBezTo>
                    <a:cubicBezTo>
                      <a:pt x="68" y="48"/>
                      <a:pt x="68" y="48"/>
                      <a:pt x="68" y="48"/>
                    </a:cubicBezTo>
                    <a:cubicBezTo>
                      <a:pt x="68" y="48"/>
                      <a:pt x="68" y="48"/>
                      <a:pt x="68" y="48"/>
                    </a:cubicBezTo>
                    <a:cubicBezTo>
                      <a:pt x="67" y="46"/>
                      <a:pt x="69" y="44"/>
                      <a:pt x="68" y="42"/>
                    </a:cubicBezTo>
                    <a:cubicBezTo>
                      <a:pt x="68" y="42"/>
                      <a:pt x="67" y="41"/>
                      <a:pt x="67" y="41"/>
                    </a:cubicBezTo>
                    <a:cubicBezTo>
                      <a:pt x="67" y="41"/>
                      <a:pt x="67" y="41"/>
                      <a:pt x="67" y="41"/>
                    </a:cubicBezTo>
                    <a:cubicBezTo>
                      <a:pt x="67" y="41"/>
                      <a:pt x="67" y="41"/>
                      <a:pt x="67" y="41"/>
                    </a:cubicBezTo>
                    <a:cubicBezTo>
                      <a:pt x="65" y="39"/>
                      <a:pt x="62" y="38"/>
                      <a:pt x="63" y="38"/>
                    </a:cubicBezTo>
                    <a:cubicBezTo>
                      <a:pt x="64" y="36"/>
                      <a:pt x="68" y="37"/>
                      <a:pt x="70" y="36"/>
                    </a:cubicBezTo>
                    <a:cubicBezTo>
                      <a:pt x="71" y="36"/>
                      <a:pt x="71" y="34"/>
                      <a:pt x="72" y="33"/>
                    </a:cubicBezTo>
                    <a:cubicBezTo>
                      <a:pt x="73" y="33"/>
                      <a:pt x="75" y="34"/>
                      <a:pt x="75" y="32"/>
                    </a:cubicBezTo>
                    <a:cubicBezTo>
                      <a:pt x="75" y="30"/>
                      <a:pt x="77" y="30"/>
                      <a:pt x="78" y="31"/>
                    </a:cubicBezTo>
                    <a:cubicBezTo>
                      <a:pt x="78" y="31"/>
                      <a:pt x="78" y="31"/>
                      <a:pt x="78" y="31"/>
                    </a:cubicBezTo>
                    <a:cubicBezTo>
                      <a:pt x="77" y="29"/>
                      <a:pt x="74" y="27"/>
                      <a:pt x="73" y="26"/>
                    </a:cubicBezTo>
                    <a:cubicBezTo>
                      <a:pt x="73" y="26"/>
                      <a:pt x="73" y="25"/>
                      <a:pt x="71" y="25"/>
                    </a:cubicBezTo>
                    <a:cubicBezTo>
                      <a:pt x="70" y="25"/>
                      <a:pt x="68" y="23"/>
                      <a:pt x="68" y="23"/>
                    </a:cubicBezTo>
                    <a:cubicBezTo>
                      <a:pt x="65" y="23"/>
                      <a:pt x="65" y="23"/>
                      <a:pt x="65" y="23"/>
                    </a:cubicBezTo>
                    <a:cubicBezTo>
                      <a:pt x="65" y="23"/>
                      <a:pt x="62" y="20"/>
                      <a:pt x="62" y="20"/>
                    </a:cubicBezTo>
                    <a:cubicBezTo>
                      <a:pt x="61" y="20"/>
                      <a:pt x="58" y="19"/>
                      <a:pt x="58" y="19"/>
                    </a:cubicBezTo>
                    <a:cubicBezTo>
                      <a:pt x="58" y="17"/>
                      <a:pt x="58" y="17"/>
                      <a:pt x="58" y="17"/>
                    </a:cubicBezTo>
                    <a:cubicBezTo>
                      <a:pt x="58" y="17"/>
                      <a:pt x="57" y="17"/>
                      <a:pt x="57" y="17"/>
                    </a:cubicBezTo>
                    <a:cubicBezTo>
                      <a:pt x="56" y="17"/>
                      <a:pt x="55" y="18"/>
                      <a:pt x="55" y="18"/>
                    </a:cubicBezTo>
                    <a:cubicBezTo>
                      <a:pt x="52" y="19"/>
                      <a:pt x="52" y="19"/>
                      <a:pt x="52" y="19"/>
                    </a:cubicBezTo>
                    <a:cubicBezTo>
                      <a:pt x="52" y="19"/>
                      <a:pt x="50" y="19"/>
                      <a:pt x="50" y="19"/>
                    </a:cubicBezTo>
                    <a:cubicBezTo>
                      <a:pt x="49" y="18"/>
                      <a:pt x="48" y="16"/>
                      <a:pt x="48" y="16"/>
                    </a:cubicBezTo>
                    <a:cubicBezTo>
                      <a:pt x="48" y="16"/>
                      <a:pt x="48" y="16"/>
                      <a:pt x="47" y="16"/>
                    </a:cubicBezTo>
                    <a:cubicBezTo>
                      <a:pt x="46" y="17"/>
                      <a:pt x="48" y="18"/>
                      <a:pt x="46" y="17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1" y="14"/>
                      <a:pt x="41" y="14"/>
                      <a:pt x="41" y="14"/>
                    </a:cubicBezTo>
                    <a:cubicBezTo>
                      <a:pt x="40" y="14"/>
                      <a:pt x="40" y="14"/>
                      <a:pt x="40" y="14"/>
                    </a:cubicBezTo>
                    <a:cubicBezTo>
                      <a:pt x="39" y="14"/>
                      <a:pt x="39" y="14"/>
                      <a:pt x="39" y="14"/>
                    </a:cubicBezTo>
                    <a:cubicBezTo>
                      <a:pt x="39" y="14"/>
                      <a:pt x="38" y="12"/>
                      <a:pt x="38" y="12"/>
                    </a:cubicBezTo>
                    <a:cubicBezTo>
                      <a:pt x="38" y="12"/>
                      <a:pt x="38" y="10"/>
                      <a:pt x="38" y="10"/>
                    </a:cubicBezTo>
                    <a:cubicBezTo>
                      <a:pt x="37" y="10"/>
                      <a:pt x="34" y="9"/>
                      <a:pt x="34" y="9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3" y="7"/>
                      <a:pt x="33" y="7"/>
                      <a:pt x="33" y="7"/>
                    </a:cubicBezTo>
                    <a:cubicBezTo>
                      <a:pt x="32" y="7"/>
                      <a:pt x="30" y="6"/>
                      <a:pt x="30" y="6"/>
                    </a:cubicBezTo>
                    <a:cubicBezTo>
                      <a:pt x="29" y="5"/>
                      <a:pt x="29" y="5"/>
                      <a:pt x="29" y="5"/>
                    </a:cubicBezTo>
                    <a:cubicBezTo>
                      <a:pt x="26" y="5"/>
                      <a:pt x="26" y="5"/>
                      <a:pt x="26" y="5"/>
                    </a:cubicBezTo>
                    <a:cubicBezTo>
                      <a:pt x="25" y="3"/>
                      <a:pt x="25" y="3"/>
                      <a:pt x="25" y="3"/>
                    </a:cubicBezTo>
                    <a:cubicBezTo>
                      <a:pt x="25" y="3"/>
                      <a:pt x="24" y="2"/>
                      <a:pt x="24" y="2"/>
                    </a:cubicBezTo>
                    <a:cubicBezTo>
                      <a:pt x="25" y="2"/>
                      <a:pt x="25" y="0"/>
                      <a:pt x="25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23" y="0"/>
                      <a:pt x="21" y="1"/>
                      <a:pt x="21" y="1"/>
                    </a:cubicBezTo>
                    <a:cubicBezTo>
                      <a:pt x="21" y="1"/>
                      <a:pt x="20" y="2"/>
                      <a:pt x="20" y="2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4" y="3"/>
                      <a:pt x="14" y="3"/>
                      <a:pt x="14" y="3"/>
                    </a:cubicBezTo>
                    <a:cubicBezTo>
                      <a:pt x="14" y="3"/>
                      <a:pt x="14" y="4"/>
                      <a:pt x="14" y="4"/>
                    </a:cubicBezTo>
                    <a:cubicBezTo>
                      <a:pt x="14" y="4"/>
                      <a:pt x="16" y="4"/>
                      <a:pt x="16" y="4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6" y="6"/>
                      <a:pt x="16" y="6"/>
                      <a:pt x="17" y="6"/>
                    </a:cubicBezTo>
                    <a:cubicBezTo>
                      <a:pt x="17" y="6"/>
                      <a:pt x="18" y="7"/>
                      <a:pt x="18" y="7"/>
                    </a:cubicBezTo>
                    <a:cubicBezTo>
                      <a:pt x="19" y="8"/>
                      <a:pt x="19" y="8"/>
                      <a:pt x="19" y="8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21" y="13"/>
                      <a:pt x="21" y="13"/>
                      <a:pt x="21" y="13"/>
                    </a:cubicBezTo>
                    <a:cubicBezTo>
                      <a:pt x="20" y="14"/>
                      <a:pt x="20" y="14"/>
                      <a:pt x="20" y="14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17" y="15"/>
                      <a:pt x="17" y="15"/>
                      <a:pt x="17" y="15"/>
                    </a:cubicBezTo>
                    <a:cubicBezTo>
                      <a:pt x="17" y="14"/>
                      <a:pt x="17" y="14"/>
                      <a:pt x="17" y="14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14"/>
                      <a:pt x="12" y="14"/>
                      <a:pt x="12" y="14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8" y="20"/>
                      <a:pt x="8" y="20"/>
                      <a:pt x="8" y="20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5"/>
                      <a:pt x="6" y="25"/>
                      <a:pt x="6" y="25"/>
                    </a:cubicBezTo>
                    <a:cubicBezTo>
                      <a:pt x="7" y="28"/>
                      <a:pt x="7" y="28"/>
                      <a:pt x="7" y="28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5"/>
                      <a:pt x="0" y="35"/>
                      <a:pt x="0" y="35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4" y="46"/>
                      <a:pt x="4" y="46"/>
                      <a:pt x="4" y="46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7" y="49"/>
                      <a:pt x="7" y="49"/>
                      <a:pt x="7" y="49"/>
                    </a:cubicBezTo>
                    <a:cubicBezTo>
                      <a:pt x="7" y="50"/>
                      <a:pt x="7" y="50"/>
                      <a:pt x="7" y="50"/>
                    </a:cubicBezTo>
                    <a:cubicBezTo>
                      <a:pt x="7" y="52"/>
                      <a:pt x="7" y="52"/>
                      <a:pt x="7" y="52"/>
                    </a:cubicBezTo>
                    <a:cubicBezTo>
                      <a:pt x="5" y="54"/>
                      <a:pt x="5" y="54"/>
                      <a:pt x="5" y="54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4" y="55"/>
                      <a:pt x="4" y="55"/>
                      <a:pt x="4" y="55"/>
                    </a:cubicBezTo>
                    <a:cubicBezTo>
                      <a:pt x="3" y="57"/>
                      <a:pt x="3" y="57"/>
                      <a:pt x="3" y="57"/>
                    </a:cubicBezTo>
                    <a:cubicBezTo>
                      <a:pt x="4" y="58"/>
                      <a:pt x="4" y="58"/>
                      <a:pt x="4" y="58"/>
                    </a:cubicBezTo>
                    <a:cubicBezTo>
                      <a:pt x="3" y="59"/>
                      <a:pt x="3" y="59"/>
                      <a:pt x="3" y="59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9" y="62"/>
                      <a:pt x="9" y="62"/>
                      <a:pt x="9" y="62"/>
                    </a:cubicBezTo>
                    <a:cubicBezTo>
                      <a:pt x="11" y="61"/>
                      <a:pt x="11" y="61"/>
                      <a:pt x="11" y="61"/>
                    </a:cubicBezTo>
                    <a:cubicBezTo>
                      <a:pt x="12" y="60"/>
                      <a:pt x="12" y="60"/>
                      <a:pt x="12" y="60"/>
                    </a:cubicBezTo>
                    <a:cubicBezTo>
                      <a:pt x="11" y="59"/>
                      <a:pt x="11" y="59"/>
                      <a:pt x="11" y="59"/>
                    </a:cubicBezTo>
                    <a:cubicBezTo>
                      <a:pt x="11" y="59"/>
                      <a:pt x="11" y="58"/>
                      <a:pt x="12" y="58"/>
                    </a:cubicBezTo>
                    <a:cubicBezTo>
                      <a:pt x="12" y="57"/>
                      <a:pt x="13" y="57"/>
                      <a:pt x="13" y="57"/>
                    </a:cubicBezTo>
                    <a:cubicBezTo>
                      <a:pt x="13" y="58"/>
                      <a:pt x="13" y="58"/>
                      <a:pt x="13" y="58"/>
                    </a:cubicBezTo>
                    <a:cubicBezTo>
                      <a:pt x="16" y="58"/>
                      <a:pt x="16" y="58"/>
                      <a:pt x="16" y="58"/>
                    </a:cubicBezTo>
                    <a:cubicBezTo>
                      <a:pt x="16" y="60"/>
                      <a:pt x="16" y="60"/>
                      <a:pt x="16" y="60"/>
                    </a:cubicBezTo>
                    <a:cubicBezTo>
                      <a:pt x="15" y="61"/>
                      <a:pt x="15" y="61"/>
                      <a:pt x="15" y="61"/>
                    </a:cubicBezTo>
                    <a:cubicBezTo>
                      <a:pt x="14" y="60"/>
                      <a:pt x="14" y="60"/>
                      <a:pt x="14" y="60"/>
                    </a:cubicBezTo>
                    <a:cubicBezTo>
                      <a:pt x="14" y="60"/>
                      <a:pt x="14" y="61"/>
                      <a:pt x="14" y="61"/>
                    </a:cubicBezTo>
                    <a:cubicBezTo>
                      <a:pt x="14" y="61"/>
                      <a:pt x="14" y="64"/>
                      <a:pt x="14" y="64"/>
                    </a:cubicBezTo>
                    <a:cubicBezTo>
                      <a:pt x="14" y="64"/>
                      <a:pt x="14" y="65"/>
                      <a:pt x="13" y="64"/>
                    </a:cubicBezTo>
                    <a:cubicBezTo>
                      <a:pt x="13" y="64"/>
                      <a:pt x="12" y="63"/>
                      <a:pt x="12" y="63"/>
                    </a:cubicBezTo>
                    <a:cubicBezTo>
                      <a:pt x="9" y="62"/>
                      <a:pt x="9" y="62"/>
                      <a:pt x="9" y="62"/>
                    </a:cubicBezTo>
                    <a:cubicBezTo>
                      <a:pt x="8" y="63"/>
                      <a:pt x="8" y="63"/>
                      <a:pt x="8" y="63"/>
                    </a:cubicBezTo>
                    <a:cubicBezTo>
                      <a:pt x="8" y="63"/>
                      <a:pt x="8" y="64"/>
                      <a:pt x="8" y="65"/>
                    </a:cubicBezTo>
                    <a:cubicBezTo>
                      <a:pt x="9" y="65"/>
                      <a:pt x="10" y="65"/>
                      <a:pt x="10" y="65"/>
                    </a:cubicBezTo>
                    <a:cubicBezTo>
                      <a:pt x="10" y="65"/>
                      <a:pt x="12" y="65"/>
                      <a:pt x="12" y="65"/>
                    </a:cubicBezTo>
                    <a:cubicBezTo>
                      <a:pt x="12" y="65"/>
                      <a:pt x="12" y="65"/>
                      <a:pt x="13" y="65"/>
                    </a:cubicBezTo>
                    <a:cubicBezTo>
                      <a:pt x="13" y="65"/>
                      <a:pt x="15" y="65"/>
                      <a:pt x="15" y="65"/>
                    </a:cubicBezTo>
                    <a:cubicBezTo>
                      <a:pt x="15" y="67"/>
                      <a:pt x="15" y="67"/>
                      <a:pt x="15" y="67"/>
                    </a:cubicBezTo>
                    <a:cubicBezTo>
                      <a:pt x="17" y="69"/>
                      <a:pt x="17" y="69"/>
                      <a:pt x="17" y="69"/>
                    </a:cubicBezTo>
                    <a:cubicBezTo>
                      <a:pt x="21" y="69"/>
                      <a:pt x="21" y="69"/>
                      <a:pt x="21" y="69"/>
                    </a:cubicBezTo>
                    <a:cubicBezTo>
                      <a:pt x="22" y="69"/>
                      <a:pt x="22" y="69"/>
                      <a:pt x="22" y="69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5" y="71"/>
                      <a:pt x="26" y="73"/>
                      <a:pt x="27" y="73"/>
                    </a:cubicBezTo>
                    <a:cubicBezTo>
                      <a:pt x="27" y="73"/>
                      <a:pt x="28" y="75"/>
                      <a:pt x="28" y="75"/>
                    </a:cubicBezTo>
                    <a:cubicBezTo>
                      <a:pt x="30" y="75"/>
                      <a:pt x="30" y="75"/>
                      <a:pt x="30" y="75"/>
                    </a:cubicBezTo>
                    <a:cubicBezTo>
                      <a:pt x="31" y="75"/>
                      <a:pt x="31" y="75"/>
                      <a:pt x="31" y="75"/>
                    </a:cubicBezTo>
                    <a:cubicBezTo>
                      <a:pt x="31" y="75"/>
                      <a:pt x="32" y="76"/>
                      <a:pt x="32" y="76"/>
                    </a:cubicBezTo>
                    <a:cubicBezTo>
                      <a:pt x="31" y="77"/>
                      <a:pt x="31" y="77"/>
                      <a:pt x="31" y="77"/>
                    </a:cubicBezTo>
                    <a:cubicBezTo>
                      <a:pt x="32" y="79"/>
                      <a:pt x="32" y="79"/>
                      <a:pt x="32" y="79"/>
                    </a:cubicBezTo>
                    <a:cubicBezTo>
                      <a:pt x="34" y="79"/>
                      <a:pt x="34" y="79"/>
                      <a:pt x="34" y="79"/>
                    </a:cubicBezTo>
                    <a:cubicBezTo>
                      <a:pt x="34" y="79"/>
                      <a:pt x="34" y="79"/>
                      <a:pt x="34" y="80"/>
                    </a:cubicBezTo>
                    <a:cubicBezTo>
                      <a:pt x="34" y="80"/>
                      <a:pt x="35" y="82"/>
                      <a:pt x="35" y="82"/>
                    </a:cubicBezTo>
                    <a:cubicBezTo>
                      <a:pt x="35" y="83"/>
                      <a:pt x="35" y="83"/>
                      <a:pt x="35" y="83"/>
                    </a:cubicBezTo>
                    <a:cubicBezTo>
                      <a:pt x="35" y="83"/>
                      <a:pt x="36" y="83"/>
                      <a:pt x="36" y="84"/>
                    </a:cubicBezTo>
                    <a:cubicBezTo>
                      <a:pt x="36" y="84"/>
                      <a:pt x="36" y="84"/>
                      <a:pt x="36" y="85"/>
                    </a:cubicBezTo>
                    <a:cubicBezTo>
                      <a:pt x="37" y="85"/>
                      <a:pt x="39" y="85"/>
                      <a:pt x="39" y="85"/>
                    </a:cubicBezTo>
                    <a:cubicBezTo>
                      <a:pt x="40" y="86"/>
                      <a:pt x="40" y="86"/>
                      <a:pt x="40" y="86"/>
                    </a:cubicBezTo>
                    <a:cubicBezTo>
                      <a:pt x="41" y="87"/>
                      <a:pt x="41" y="87"/>
                      <a:pt x="41" y="87"/>
                    </a:cubicBezTo>
                    <a:lnTo>
                      <a:pt x="42" y="8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44" name="Freeform 193">
                <a:extLst>
                  <a:ext uri="{FF2B5EF4-FFF2-40B4-BE49-F238E27FC236}">
                    <a16:creationId xmlns:a16="http://schemas.microsoft.com/office/drawing/2014/main" id="{FB3C1FE1-54B2-40B9-5441-CFCD98D192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5148" y="3610462"/>
                <a:ext cx="237702" cy="202078"/>
              </a:xfrm>
              <a:custGeom>
                <a:avLst/>
                <a:gdLst>
                  <a:gd name="T0" fmla="*/ 19 w 106"/>
                  <a:gd name="T1" fmla="*/ 90 h 93"/>
                  <a:gd name="T2" fmla="*/ 16 w 106"/>
                  <a:gd name="T3" fmla="*/ 91 h 93"/>
                  <a:gd name="T4" fmla="*/ 14 w 106"/>
                  <a:gd name="T5" fmla="*/ 85 h 93"/>
                  <a:gd name="T6" fmla="*/ 10 w 106"/>
                  <a:gd name="T7" fmla="*/ 83 h 93"/>
                  <a:gd name="T8" fmla="*/ 9 w 106"/>
                  <a:gd name="T9" fmla="*/ 81 h 93"/>
                  <a:gd name="T10" fmla="*/ 5 w 106"/>
                  <a:gd name="T11" fmla="*/ 75 h 93"/>
                  <a:gd name="T12" fmla="*/ 4 w 106"/>
                  <a:gd name="T13" fmla="*/ 72 h 93"/>
                  <a:gd name="T14" fmla="*/ 5 w 106"/>
                  <a:gd name="T15" fmla="*/ 68 h 93"/>
                  <a:gd name="T16" fmla="*/ 3 w 106"/>
                  <a:gd name="T17" fmla="*/ 64 h 93"/>
                  <a:gd name="T18" fmla="*/ 0 w 106"/>
                  <a:gd name="T19" fmla="*/ 59 h 93"/>
                  <a:gd name="T20" fmla="*/ 3 w 106"/>
                  <a:gd name="T21" fmla="*/ 56 h 93"/>
                  <a:gd name="T22" fmla="*/ 2 w 106"/>
                  <a:gd name="T23" fmla="*/ 53 h 93"/>
                  <a:gd name="T24" fmla="*/ 2 w 106"/>
                  <a:gd name="T25" fmla="*/ 49 h 93"/>
                  <a:gd name="T26" fmla="*/ 2 w 106"/>
                  <a:gd name="T27" fmla="*/ 44 h 93"/>
                  <a:gd name="T28" fmla="*/ 3 w 106"/>
                  <a:gd name="T29" fmla="*/ 39 h 93"/>
                  <a:gd name="T30" fmla="*/ 9 w 106"/>
                  <a:gd name="T31" fmla="*/ 39 h 93"/>
                  <a:gd name="T32" fmla="*/ 11 w 106"/>
                  <a:gd name="T33" fmla="*/ 27 h 93"/>
                  <a:gd name="T34" fmla="*/ 23 w 106"/>
                  <a:gd name="T35" fmla="*/ 18 h 93"/>
                  <a:gd name="T36" fmla="*/ 26 w 106"/>
                  <a:gd name="T37" fmla="*/ 21 h 93"/>
                  <a:gd name="T38" fmla="*/ 31 w 106"/>
                  <a:gd name="T39" fmla="*/ 18 h 93"/>
                  <a:gd name="T40" fmla="*/ 42 w 106"/>
                  <a:gd name="T41" fmla="*/ 10 h 93"/>
                  <a:gd name="T42" fmla="*/ 46 w 106"/>
                  <a:gd name="T43" fmla="*/ 11 h 93"/>
                  <a:gd name="T44" fmla="*/ 52 w 106"/>
                  <a:gd name="T45" fmla="*/ 6 h 93"/>
                  <a:gd name="T46" fmla="*/ 57 w 106"/>
                  <a:gd name="T47" fmla="*/ 4 h 93"/>
                  <a:gd name="T48" fmla="*/ 62 w 106"/>
                  <a:gd name="T49" fmla="*/ 3 h 93"/>
                  <a:gd name="T50" fmla="*/ 68 w 106"/>
                  <a:gd name="T51" fmla="*/ 1 h 93"/>
                  <a:gd name="T52" fmla="*/ 73 w 106"/>
                  <a:gd name="T53" fmla="*/ 0 h 93"/>
                  <a:gd name="T54" fmla="*/ 94 w 106"/>
                  <a:gd name="T55" fmla="*/ 15 h 93"/>
                  <a:gd name="T56" fmla="*/ 105 w 106"/>
                  <a:gd name="T57" fmla="*/ 30 h 93"/>
                  <a:gd name="T58" fmla="*/ 106 w 106"/>
                  <a:gd name="T59" fmla="*/ 48 h 93"/>
                  <a:gd name="T60" fmla="*/ 97 w 106"/>
                  <a:gd name="T61" fmla="*/ 51 h 93"/>
                  <a:gd name="T62" fmla="*/ 93 w 106"/>
                  <a:gd name="T63" fmla="*/ 64 h 93"/>
                  <a:gd name="T64" fmla="*/ 72 w 106"/>
                  <a:gd name="T65" fmla="*/ 68 h 93"/>
                  <a:gd name="T66" fmla="*/ 63 w 106"/>
                  <a:gd name="T67" fmla="*/ 76 h 93"/>
                  <a:gd name="T68" fmla="*/ 53 w 106"/>
                  <a:gd name="T69" fmla="*/ 85 h 93"/>
                  <a:gd name="T70" fmla="*/ 41 w 106"/>
                  <a:gd name="T71" fmla="*/ 87 h 93"/>
                  <a:gd name="T72" fmla="*/ 29 w 106"/>
                  <a:gd name="T73" fmla="*/ 90 h 93"/>
                  <a:gd name="T74" fmla="*/ 28 w 106"/>
                  <a:gd name="T75" fmla="*/ 93 h 93"/>
                  <a:gd name="T76" fmla="*/ 27 w 106"/>
                  <a:gd name="T77" fmla="*/ 92 h 93"/>
                  <a:gd name="T78" fmla="*/ 23 w 106"/>
                  <a:gd name="T79" fmla="*/ 91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06" h="93">
                    <a:moveTo>
                      <a:pt x="21" y="90"/>
                    </a:moveTo>
                    <a:cubicBezTo>
                      <a:pt x="21" y="90"/>
                      <a:pt x="20" y="90"/>
                      <a:pt x="19" y="90"/>
                    </a:cubicBezTo>
                    <a:cubicBezTo>
                      <a:pt x="18" y="90"/>
                      <a:pt x="17" y="92"/>
                      <a:pt x="16" y="92"/>
                    </a:cubicBezTo>
                    <a:cubicBezTo>
                      <a:pt x="16" y="92"/>
                      <a:pt x="16" y="92"/>
                      <a:pt x="16" y="91"/>
                    </a:cubicBezTo>
                    <a:cubicBezTo>
                      <a:pt x="16" y="90"/>
                      <a:pt x="16" y="90"/>
                      <a:pt x="15" y="89"/>
                    </a:cubicBezTo>
                    <a:cubicBezTo>
                      <a:pt x="15" y="88"/>
                      <a:pt x="15" y="86"/>
                      <a:pt x="14" y="85"/>
                    </a:cubicBezTo>
                    <a:cubicBezTo>
                      <a:pt x="13" y="84"/>
                      <a:pt x="13" y="83"/>
                      <a:pt x="13" y="83"/>
                    </a:cubicBezTo>
                    <a:cubicBezTo>
                      <a:pt x="13" y="83"/>
                      <a:pt x="11" y="83"/>
                      <a:pt x="10" y="83"/>
                    </a:cubicBezTo>
                    <a:cubicBezTo>
                      <a:pt x="10" y="83"/>
                      <a:pt x="9" y="83"/>
                      <a:pt x="9" y="83"/>
                    </a:cubicBezTo>
                    <a:cubicBezTo>
                      <a:pt x="9" y="83"/>
                      <a:pt x="8" y="81"/>
                      <a:pt x="9" y="81"/>
                    </a:cubicBezTo>
                    <a:cubicBezTo>
                      <a:pt x="9" y="80"/>
                      <a:pt x="8" y="79"/>
                      <a:pt x="7" y="78"/>
                    </a:cubicBezTo>
                    <a:cubicBezTo>
                      <a:pt x="7" y="78"/>
                      <a:pt x="5" y="75"/>
                      <a:pt x="5" y="75"/>
                    </a:cubicBezTo>
                    <a:cubicBezTo>
                      <a:pt x="5" y="75"/>
                      <a:pt x="4" y="75"/>
                      <a:pt x="4" y="74"/>
                    </a:cubicBezTo>
                    <a:cubicBezTo>
                      <a:pt x="4" y="73"/>
                      <a:pt x="4" y="72"/>
                      <a:pt x="4" y="72"/>
                    </a:cubicBezTo>
                    <a:cubicBezTo>
                      <a:pt x="3" y="70"/>
                      <a:pt x="3" y="70"/>
                      <a:pt x="3" y="70"/>
                    </a:cubicBezTo>
                    <a:cubicBezTo>
                      <a:pt x="3" y="70"/>
                      <a:pt x="5" y="69"/>
                      <a:pt x="5" y="68"/>
                    </a:cubicBezTo>
                    <a:cubicBezTo>
                      <a:pt x="5" y="68"/>
                      <a:pt x="6" y="67"/>
                      <a:pt x="5" y="66"/>
                    </a:cubicBezTo>
                    <a:cubicBezTo>
                      <a:pt x="5" y="65"/>
                      <a:pt x="3" y="64"/>
                      <a:pt x="3" y="64"/>
                    </a:cubicBezTo>
                    <a:cubicBezTo>
                      <a:pt x="2" y="63"/>
                      <a:pt x="1" y="62"/>
                      <a:pt x="0" y="61"/>
                    </a:cubicBezTo>
                    <a:cubicBezTo>
                      <a:pt x="0" y="60"/>
                      <a:pt x="0" y="59"/>
                      <a:pt x="0" y="59"/>
                    </a:cubicBezTo>
                    <a:cubicBezTo>
                      <a:pt x="0" y="59"/>
                      <a:pt x="0" y="58"/>
                      <a:pt x="1" y="58"/>
                    </a:cubicBezTo>
                    <a:cubicBezTo>
                      <a:pt x="2" y="57"/>
                      <a:pt x="3" y="57"/>
                      <a:pt x="3" y="56"/>
                    </a:cubicBezTo>
                    <a:cubicBezTo>
                      <a:pt x="3" y="56"/>
                      <a:pt x="4" y="56"/>
                      <a:pt x="4" y="55"/>
                    </a:cubicBezTo>
                    <a:cubicBezTo>
                      <a:pt x="3" y="54"/>
                      <a:pt x="2" y="53"/>
                      <a:pt x="2" y="53"/>
                    </a:cubicBezTo>
                    <a:cubicBezTo>
                      <a:pt x="3" y="50"/>
                      <a:pt x="3" y="50"/>
                      <a:pt x="3" y="50"/>
                    </a:cubicBezTo>
                    <a:cubicBezTo>
                      <a:pt x="2" y="49"/>
                      <a:pt x="2" y="49"/>
                      <a:pt x="2" y="49"/>
                    </a:cubicBezTo>
                    <a:cubicBezTo>
                      <a:pt x="2" y="45"/>
                      <a:pt x="2" y="45"/>
                      <a:pt x="2" y="45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4"/>
                      <a:pt x="3" y="42"/>
                      <a:pt x="3" y="42"/>
                    </a:cubicBezTo>
                    <a:cubicBezTo>
                      <a:pt x="3" y="41"/>
                      <a:pt x="3" y="39"/>
                      <a:pt x="3" y="39"/>
                    </a:cubicBezTo>
                    <a:cubicBezTo>
                      <a:pt x="3" y="39"/>
                      <a:pt x="3" y="39"/>
                      <a:pt x="3" y="39"/>
                    </a:cubicBezTo>
                    <a:cubicBezTo>
                      <a:pt x="5" y="40"/>
                      <a:pt x="8" y="39"/>
                      <a:pt x="9" y="39"/>
                    </a:cubicBezTo>
                    <a:cubicBezTo>
                      <a:pt x="11" y="39"/>
                      <a:pt x="11" y="36"/>
                      <a:pt x="10" y="33"/>
                    </a:cubicBezTo>
                    <a:cubicBezTo>
                      <a:pt x="10" y="31"/>
                      <a:pt x="11" y="29"/>
                      <a:pt x="11" y="27"/>
                    </a:cubicBezTo>
                    <a:cubicBezTo>
                      <a:pt x="12" y="25"/>
                      <a:pt x="15" y="24"/>
                      <a:pt x="18" y="22"/>
                    </a:cubicBezTo>
                    <a:cubicBezTo>
                      <a:pt x="20" y="20"/>
                      <a:pt x="20" y="18"/>
                      <a:pt x="23" y="18"/>
                    </a:cubicBezTo>
                    <a:cubicBezTo>
                      <a:pt x="23" y="18"/>
                      <a:pt x="24" y="18"/>
                      <a:pt x="25" y="19"/>
                    </a:cubicBezTo>
                    <a:cubicBezTo>
                      <a:pt x="25" y="19"/>
                      <a:pt x="25" y="20"/>
                      <a:pt x="26" y="21"/>
                    </a:cubicBezTo>
                    <a:cubicBezTo>
                      <a:pt x="26" y="21"/>
                      <a:pt x="26" y="21"/>
                      <a:pt x="27" y="21"/>
                    </a:cubicBezTo>
                    <a:cubicBezTo>
                      <a:pt x="29" y="24"/>
                      <a:pt x="31" y="26"/>
                      <a:pt x="31" y="18"/>
                    </a:cubicBezTo>
                    <a:cubicBezTo>
                      <a:pt x="32" y="11"/>
                      <a:pt x="37" y="13"/>
                      <a:pt x="41" y="11"/>
                    </a:cubicBezTo>
                    <a:cubicBezTo>
                      <a:pt x="41" y="11"/>
                      <a:pt x="41" y="11"/>
                      <a:pt x="42" y="10"/>
                    </a:cubicBezTo>
                    <a:cubicBezTo>
                      <a:pt x="43" y="11"/>
                      <a:pt x="44" y="11"/>
                      <a:pt x="45" y="11"/>
                    </a:cubicBezTo>
                    <a:cubicBezTo>
                      <a:pt x="46" y="11"/>
                      <a:pt x="46" y="11"/>
                      <a:pt x="46" y="11"/>
                    </a:cubicBezTo>
                    <a:cubicBezTo>
                      <a:pt x="46" y="11"/>
                      <a:pt x="49" y="7"/>
                      <a:pt x="49" y="7"/>
                    </a:cubicBezTo>
                    <a:cubicBezTo>
                      <a:pt x="50" y="7"/>
                      <a:pt x="52" y="6"/>
                      <a:pt x="52" y="6"/>
                    </a:cubicBezTo>
                    <a:cubicBezTo>
                      <a:pt x="54" y="3"/>
                      <a:pt x="54" y="3"/>
                      <a:pt x="54" y="3"/>
                    </a:cubicBezTo>
                    <a:cubicBezTo>
                      <a:pt x="54" y="3"/>
                      <a:pt x="56" y="4"/>
                      <a:pt x="57" y="4"/>
                    </a:cubicBezTo>
                    <a:cubicBezTo>
                      <a:pt x="58" y="4"/>
                      <a:pt x="59" y="4"/>
                      <a:pt x="61" y="4"/>
                    </a:cubicBezTo>
                    <a:cubicBezTo>
                      <a:pt x="62" y="3"/>
                      <a:pt x="62" y="3"/>
                      <a:pt x="62" y="3"/>
                    </a:cubicBezTo>
                    <a:cubicBezTo>
                      <a:pt x="62" y="3"/>
                      <a:pt x="64" y="1"/>
                      <a:pt x="66" y="1"/>
                    </a:cubicBezTo>
                    <a:cubicBezTo>
                      <a:pt x="68" y="0"/>
                      <a:pt x="68" y="1"/>
                      <a:pt x="68" y="1"/>
                    </a:cubicBezTo>
                    <a:cubicBezTo>
                      <a:pt x="68" y="1"/>
                      <a:pt x="71" y="1"/>
                      <a:pt x="73" y="1"/>
                    </a:cubicBezTo>
                    <a:cubicBezTo>
                      <a:pt x="73" y="1"/>
                      <a:pt x="73" y="0"/>
                      <a:pt x="73" y="0"/>
                    </a:cubicBezTo>
                    <a:cubicBezTo>
                      <a:pt x="76" y="2"/>
                      <a:pt x="76" y="5"/>
                      <a:pt x="79" y="8"/>
                    </a:cubicBezTo>
                    <a:cubicBezTo>
                      <a:pt x="83" y="12"/>
                      <a:pt x="87" y="11"/>
                      <a:pt x="94" y="15"/>
                    </a:cubicBezTo>
                    <a:cubicBezTo>
                      <a:pt x="94" y="16"/>
                      <a:pt x="98" y="19"/>
                      <a:pt x="99" y="22"/>
                    </a:cubicBezTo>
                    <a:cubicBezTo>
                      <a:pt x="100" y="26"/>
                      <a:pt x="104" y="26"/>
                      <a:pt x="105" y="30"/>
                    </a:cubicBezTo>
                    <a:cubicBezTo>
                      <a:pt x="105" y="33"/>
                      <a:pt x="103" y="34"/>
                      <a:pt x="103" y="37"/>
                    </a:cubicBezTo>
                    <a:cubicBezTo>
                      <a:pt x="103" y="40"/>
                      <a:pt x="105" y="47"/>
                      <a:pt x="106" y="48"/>
                    </a:cubicBezTo>
                    <a:cubicBezTo>
                      <a:pt x="106" y="48"/>
                      <a:pt x="106" y="49"/>
                      <a:pt x="106" y="49"/>
                    </a:cubicBezTo>
                    <a:cubicBezTo>
                      <a:pt x="97" y="51"/>
                      <a:pt x="97" y="51"/>
                      <a:pt x="97" y="51"/>
                    </a:cubicBezTo>
                    <a:cubicBezTo>
                      <a:pt x="98" y="60"/>
                      <a:pt x="98" y="60"/>
                      <a:pt x="98" y="60"/>
                    </a:cubicBezTo>
                    <a:cubicBezTo>
                      <a:pt x="93" y="64"/>
                      <a:pt x="93" y="64"/>
                      <a:pt x="93" y="64"/>
                    </a:cubicBezTo>
                    <a:cubicBezTo>
                      <a:pt x="93" y="64"/>
                      <a:pt x="81" y="66"/>
                      <a:pt x="80" y="66"/>
                    </a:cubicBezTo>
                    <a:cubicBezTo>
                      <a:pt x="79" y="66"/>
                      <a:pt x="74" y="67"/>
                      <a:pt x="72" y="68"/>
                    </a:cubicBezTo>
                    <a:cubicBezTo>
                      <a:pt x="70" y="68"/>
                      <a:pt x="67" y="70"/>
                      <a:pt x="66" y="70"/>
                    </a:cubicBezTo>
                    <a:cubicBezTo>
                      <a:pt x="64" y="71"/>
                      <a:pt x="63" y="76"/>
                      <a:pt x="63" y="76"/>
                    </a:cubicBezTo>
                    <a:cubicBezTo>
                      <a:pt x="63" y="76"/>
                      <a:pt x="60" y="80"/>
                      <a:pt x="59" y="81"/>
                    </a:cubicBezTo>
                    <a:cubicBezTo>
                      <a:pt x="58" y="82"/>
                      <a:pt x="53" y="85"/>
                      <a:pt x="53" y="85"/>
                    </a:cubicBezTo>
                    <a:cubicBezTo>
                      <a:pt x="53" y="85"/>
                      <a:pt x="48" y="85"/>
                      <a:pt x="47" y="85"/>
                    </a:cubicBezTo>
                    <a:cubicBezTo>
                      <a:pt x="45" y="85"/>
                      <a:pt x="43" y="87"/>
                      <a:pt x="41" y="87"/>
                    </a:cubicBezTo>
                    <a:cubicBezTo>
                      <a:pt x="38" y="88"/>
                      <a:pt x="36" y="89"/>
                      <a:pt x="35" y="89"/>
                    </a:cubicBezTo>
                    <a:cubicBezTo>
                      <a:pt x="34" y="89"/>
                      <a:pt x="29" y="90"/>
                      <a:pt x="29" y="90"/>
                    </a:cubicBezTo>
                    <a:cubicBezTo>
                      <a:pt x="29" y="93"/>
                      <a:pt x="29" y="93"/>
                      <a:pt x="29" y="93"/>
                    </a:cubicBezTo>
                    <a:cubicBezTo>
                      <a:pt x="29" y="93"/>
                      <a:pt x="28" y="93"/>
                      <a:pt x="28" y="93"/>
                    </a:cubicBezTo>
                    <a:cubicBezTo>
                      <a:pt x="28" y="93"/>
                      <a:pt x="28" y="93"/>
                      <a:pt x="27" y="93"/>
                    </a:cubicBezTo>
                    <a:cubicBezTo>
                      <a:pt x="27" y="92"/>
                      <a:pt x="27" y="92"/>
                      <a:pt x="27" y="92"/>
                    </a:cubicBezTo>
                    <a:cubicBezTo>
                      <a:pt x="25" y="90"/>
                      <a:pt x="25" y="90"/>
                      <a:pt x="25" y="90"/>
                    </a:cubicBezTo>
                    <a:cubicBezTo>
                      <a:pt x="25" y="90"/>
                      <a:pt x="24" y="91"/>
                      <a:pt x="23" y="91"/>
                    </a:cubicBezTo>
                    <a:cubicBezTo>
                      <a:pt x="22" y="91"/>
                      <a:pt x="22" y="90"/>
                      <a:pt x="21" y="90"/>
                    </a:cubicBez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45" name="Freeform 47">
                <a:extLst>
                  <a:ext uri="{FF2B5EF4-FFF2-40B4-BE49-F238E27FC236}">
                    <a16:creationId xmlns:a16="http://schemas.microsoft.com/office/drawing/2014/main" id="{D621F949-CB33-6597-3633-EF3C822941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23768" y="2800057"/>
                <a:ext cx="437587" cy="236631"/>
              </a:xfrm>
              <a:custGeom>
                <a:avLst/>
                <a:gdLst>
                  <a:gd name="T0" fmla="*/ 32 w 195"/>
                  <a:gd name="T1" fmla="*/ 49 h 109"/>
                  <a:gd name="T2" fmla="*/ 40 w 195"/>
                  <a:gd name="T3" fmla="*/ 37 h 109"/>
                  <a:gd name="T4" fmla="*/ 47 w 195"/>
                  <a:gd name="T5" fmla="*/ 25 h 109"/>
                  <a:gd name="T6" fmla="*/ 53 w 195"/>
                  <a:gd name="T7" fmla="*/ 15 h 109"/>
                  <a:gd name="T8" fmla="*/ 64 w 195"/>
                  <a:gd name="T9" fmla="*/ 13 h 109"/>
                  <a:gd name="T10" fmla="*/ 71 w 195"/>
                  <a:gd name="T11" fmla="*/ 17 h 109"/>
                  <a:gd name="T12" fmla="*/ 78 w 195"/>
                  <a:gd name="T13" fmla="*/ 8 h 109"/>
                  <a:gd name="T14" fmla="*/ 87 w 195"/>
                  <a:gd name="T15" fmla="*/ 10 h 109"/>
                  <a:gd name="T16" fmla="*/ 96 w 195"/>
                  <a:gd name="T17" fmla="*/ 14 h 109"/>
                  <a:gd name="T18" fmla="*/ 97 w 195"/>
                  <a:gd name="T19" fmla="*/ 22 h 109"/>
                  <a:gd name="T20" fmla="*/ 102 w 195"/>
                  <a:gd name="T21" fmla="*/ 23 h 109"/>
                  <a:gd name="T22" fmla="*/ 106 w 195"/>
                  <a:gd name="T23" fmla="*/ 23 h 109"/>
                  <a:gd name="T24" fmla="*/ 108 w 195"/>
                  <a:gd name="T25" fmla="*/ 20 h 109"/>
                  <a:gd name="T26" fmla="*/ 111 w 195"/>
                  <a:gd name="T27" fmla="*/ 15 h 109"/>
                  <a:gd name="T28" fmla="*/ 114 w 195"/>
                  <a:gd name="T29" fmla="*/ 12 h 109"/>
                  <a:gd name="T30" fmla="*/ 118 w 195"/>
                  <a:gd name="T31" fmla="*/ 9 h 109"/>
                  <a:gd name="T32" fmla="*/ 123 w 195"/>
                  <a:gd name="T33" fmla="*/ 9 h 109"/>
                  <a:gd name="T34" fmla="*/ 126 w 195"/>
                  <a:gd name="T35" fmla="*/ 8 h 109"/>
                  <a:gd name="T36" fmla="*/ 131 w 195"/>
                  <a:gd name="T37" fmla="*/ 9 h 109"/>
                  <a:gd name="T38" fmla="*/ 135 w 195"/>
                  <a:gd name="T39" fmla="*/ 11 h 109"/>
                  <a:gd name="T40" fmla="*/ 142 w 195"/>
                  <a:gd name="T41" fmla="*/ 7 h 109"/>
                  <a:gd name="T42" fmla="*/ 145 w 195"/>
                  <a:gd name="T43" fmla="*/ 4 h 109"/>
                  <a:gd name="T44" fmla="*/ 148 w 195"/>
                  <a:gd name="T45" fmla="*/ 1 h 109"/>
                  <a:gd name="T46" fmla="*/ 154 w 195"/>
                  <a:gd name="T47" fmla="*/ 2 h 109"/>
                  <a:gd name="T48" fmla="*/ 162 w 195"/>
                  <a:gd name="T49" fmla="*/ 1 h 109"/>
                  <a:gd name="T50" fmla="*/ 168 w 195"/>
                  <a:gd name="T51" fmla="*/ 1 h 109"/>
                  <a:gd name="T52" fmla="*/ 173 w 195"/>
                  <a:gd name="T53" fmla="*/ 4 h 109"/>
                  <a:gd name="T54" fmla="*/ 175 w 195"/>
                  <a:gd name="T55" fmla="*/ 9 h 109"/>
                  <a:gd name="T56" fmla="*/ 183 w 195"/>
                  <a:gd name="T57" fmla="*/ 10 h 109"/>
                  <a:gd name="T58" fmla="*/ 187 w 195"/>
                  <a:gd name="T59" fmla="*/ 11 h 109"/>
                  <a:gd name="T60" fmla="*/ 195 w 195"/>
                  <a:gd name="T61" fmla="*/ 12 h 109"/>
                  <a:gd name="T62" fmla="*/ 193 w 195"/>
                  <a:gd name="T63" fmla="*/ 20 h 109"/>
                  <a:gd name="T64" fmla="*/ 192 w 195"/>
                  <a:gd name="T65" fmla="*/ 27 h 109"/>
                  <a:gd name="T66" fmla="*/ 191 w 195"/>
                  <a:gd name="T67" fmla="*/ 33 h 109"/>
                  <a:gd name="T68" fmla="*/ 188 w 195"/>
                  <a:gd name="T69" fmla="*/ 39 h 109"/>
                  <a:gd name="T70" fmla="*/ 188 w 195"/>
                  <a:gd name="T71" fmla="*/ 47 h 109"/>
                  <a:gd name="T72" fmla="*/ 186 w 195"/>
                  <a:gd name="T73" fmla="*/ 52 h 109"/>
                  <a:gd name="T74" fmla="*/ 169 w 195"/>
                  <a:gd name="T75" fmla="*/ 49 h 109"/>
                  <a:gd name="T76" fmla="*/ 146 w 195"/>
                  <a:gd name="T77" fmla="*/ 50 h 109"/>
                  <a:gd name="T78" fmla="*/ 126 w 195"/>
                  <a:gd name="T79" fmla="*/ 70 h 109"/>
                  <a:gd name="T80" fmla="*/ 110 w 195"/>
                  <a:gd name="T81" fmla="*/ 78 h 109"/>
                  <a:gd name="T82" fmla="*/ 94 w 195"/>
                  <a:gd name="T83" fmla="*/ 85 h 109"/>
                  <a:gd name="T84" fmla="*/ 73 w 195"/>
                  <a:gd name="T85" fmla="*/ 96 h 109"/>
                  <a:gd name="T86" fmla="*/ 47 w 195"/>
                  <a:gd name="T87" fmla="*/ 107 h 109"/>
                  <a:gd name="T88" fmla="*/ 22 w 195"/>
                  <a:gd name="T89" fmla="*/ 98 h 109"/>
                  <a:gd name="T90" fmla="*/ 14 w 195"/>
                  <a:gd name="T91" fmla="*/ 102 h 109"/>
                  <a:gd name="T92" fmla="*/ 4 w 195"/>
                  <a:gd name="T93" fmla="*/ 88 h 109"/>
                  <a:gd name="T94" fmla="*/ 0 w 195"/>
                  <a:gd name="T95" fmla="*/ 84 h 109"/>
                  <a:gd name="T96" fmla="*/ 2 w 195"/>
                  <a:gd name="T97" fmla="*/ 75 h 109"/>
                  <a:gd name="T98" fmla="*/ 3 w 195"/>
                  <a:gd name="T99" fmla="*/ 68 h 109"/>
                  <a:gd name="T100" fmla="*/ 5 w 195"/>
                  <a:gd name="T101" fmla="*/ 60 h 109"/>
                  <a:gd name="T102" fmla="*/ 9 w 195"/>
                  <a:gd name="T103" fmla="*/ 55 h 109"/>
                  <a:gd name="T104" fmla="*/ 16 w 195"/>
                  <a:gd name="T105" fmla="*/ 57 h 109"/>
                  <a:gd name="T106" fmla="*/ 22 w 195"/>
                  <a:gd name="T107" fmla="*/ 5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95" h="109">
                    <a:moveTo>
                      <a:pt x="26" y="54"/>
                    </a:moveTo>
                    <a:cubicBezTo>
                      <a:pt x="29" y="52"/>
                      <a:pt x="29" y="52"/>
                      <a:pt x="29" y="52"/>
                    </a:cubicBezTo>
                    <a:cubicBezTo>
                      <a:pt x="29" y="52"/>
                      <a:pt x="29" y="49"/>
                      <a:pt x="30" y="50"/>
                    </a:cubicBezTo>
                    <a:cubicBezTo>
                      <a:pt x="30" y="50"/>
                      <a:pt x="32" y="49"/>
                      <a:pt x="32" y="49"/>
                    </a:cubicBezTo>
                    <a:cubicBezTo>
                      <a:pt x="33" y="47"/>
                      <a:pt x="33" y="47"/>
                      <a:pt x="33" y="47"/>
                    </a:cubicBezTo>
                    <a:cubicBezTo>
                      <a:pt x="34" y="44"/>
                      <a:pt x="34" y="44"/>
                      <a:pt x="34" y="44"/>
                    </a:cubicBezTo>
                    <a:cubicBezTo>
                      <a:pt x="39" y="42"/>
                      <a:pt x="39" y="42"/>
                      <a:pt x="39" y="42"/>
                    </a:cubicBezTo>
                    <a:cubicBezTo>
                      <a:pt x="40" y="37"/>
                      <a:pt x="40" y="37"/>
                      <a:pt x="40" y="37"/>
                    </a:cubicBezTo>
                    <a:cubicBezTo>
                      <a:pt x="39" y="34"/>
                      <a:pt x="39" y="34"/>
                      <a:pt x="39" y="34"/>
                    </a:cubicBezTo>
                    <a:cubicBezTo>
                      <a:pt x="39" y="34"/>
                      <a:pt x="39" y="30"/>
                      <a:pt x="40" y="30"/>
                    </a:cubicBezTo>
                    <a:cubicBezTo>
                      <a:pt x="41" y="30"/>
                      <a:pt x="44" y="28"/>
                      <a:pt x="44" y="28"/>
                    </a:cubicBezTo>
                    <a:cubicBezTo>
                      <a:pt x="47" y="25"/>
                      <a:pt x="47" y="25"/>
                      <a:pt x="47" y="25"/>
                    </a:cubicBezTo>
                    <a:cubicBezTo>
                      <a:pt x="47" y="23"/>
                      <a:pt x="47" y="23"/>
                      <a:pt x="47" y="23"/>
                    </a:cubicBezTo>
                    <a:cubicBezTo>
                      <a:pt x="49" y="19"/>
                      <a:pt x="49" y="19"/>
                      <a:pt x="49" y="19"/>
                    </a:cubicBezTo>
                    <a:cubicBezTo>
                      <a:pt x="51" y="17"/>
                      <a:pt x="51" y="17"/>
                      <a:pt x="51" y="17"/>
                    </a:cubicBezTo>
                    <a:cubicBezTo>
                      <a:pt x="53" y="15"/>
                      <a:pt x="53" y="15"/>
                      <a:pt x="53" y="15"/>
                    </a:cubicBezTo>
                    <a:cubicBezTo>
                      <a:pt x="56" y="14"/>
                      <a:pt x="56" y="14"/>
                      <a:pt x="56" y="14"/>
                    </a:cubicBezTo>
                    <a:cubicBezTo>
                      <a:pt x="56" y="14"/>
                      <a:pt x="57" y="14"/>
                      <a:pt x="58" y="14"/>
                    </a:cubicBezTo>
                    <a:cubicBezTo>
                      <a:pt x="59" y="14"/>
                      <a:pt x="60" y="13"/>
                      <a:pt x="60" y="13"/>
                    </a:cubicBezTo>
                    <a:cubicBezTo>
                      <a:pt x="61" y="13"/>
                      <a:pt x="64" y="13"/>
                      <a:pt x="64" y="13"/>
                    </a:cubicBezTo>
                    <a:cubicBezTo>
                      <a:pt x="64" y="13"/>
                      <a:pt x="66" y="11"/>
                      <a:pt x="66" y="12"/>
                    </a:cubicBezTo>
                    <a:cubicBezTo>
                      <a:pt x="66" y="14"/>
                      <a:pt x="66" y="15"/>
                      <a:pt x="66" y="15"/>
                    </a:cubicBezTo>
                    <a:cubicBezTo>
                      <a:pt x="67" y="16"/>
                      <a:pt x="68" y="18"/>
                      <a:pt x="68" y="18"/>
                    </a:cubicBezTo>
                    <a:cubicBezTo>
                      <a:pt x="68" y="18"/>
                      <a:pt x="70" y="18"/>
                      <a:pt x="71" y="17"/>
                    </a:cubicBezTo>
                    <a:cubicBezTo>
                      <a:pt x="72" y="16"/>
                      <a:pt x="74" y="15"/>
                      <a:pt x="74" y="15"/>
                    </a:cubicBezTo>
                    <a:cubicBezTo>
                      <a:pt x="74" y="15"/>
                      <a:pt x="76" y="17"/>
                      <a:pt x="76" y="16"/>
                    </a:cubicBezTo>
                    <a:cubicBezTo>
                      <a:pt x="76" y="15"/>
                      <a:pt x="76" y="11"/>
                      <a:pt x="76" y="11"/>
                    </a:cubicBezTo>
                    <a:cubicBezTo>
                      <a:pt x="78" y="8"/>
                      <a:pt x="78" y="8"/>
                      <a:pt x="78" y="8"/>
                    </a:cubicBezTo>
                    <a:cubicBezTo>
                      <a:pt x="78" y="8"/>
                      <a:pt x="80" y="8"/>
                      <a:pt x="80" y="7"/>
                    </a:cubicBezTo>
                    <a:cubicBezTo>
                      <a:pt x="80" y="6"/>
                      <a:pt x="82" y="4"/>
                      <a:pt x="82" y="4"/>
                    </a:cubicBezTo>
                    <a:cubicBezTo>
                      <a:pt x="85" y="4"/>
                      <a:pt x="85" y="4"/>
                      <a:pt x="85" y="4"/>
                    </a:cubicBezTo>
                    <a:cubicBezTo>
                      <a:pt x="87" y="10"/>
                      <a:pt x="87" y="10"/>
                      <a:pt x="87" y="10"/>
                    </a:cubicBezTo>
                    <a:cubicBezTo>
                      <a:pt x="90" y="12"/>
                      <a:pt x="90" y="12"/>
                      <a:pt x="90" y="12"/>
                    </a:cubicBezTo>
                    <a:cubicBezTo>
                      <a:pt x="91" y="13"/>
                      <a:pt x="91" y="13"/>
                      <a:pt x="91" y="13"/>
                    </a:cubicBezTo>
                    <a:cubicBezTo>
                      <a:pt x="93" y="14"/>
                      <a:pt x="93" y="14"/>
                      <a:pt x="93" y="14"/>
                    </a:cubicBezTo>
                    <a:cubicBezTo>
                      <a:pt x="96" y="14"/>
                      <a:pt x="96" y="14"/>
                      <a:pt x="96" y="14"/>
                    </a:cubicBezTo>
                    <a:cubicBezTo>
                      <a:pt x="96" y="15"/>
                      <a:pt x="96" y="15"/>
                      <a:pt x="96" y="15"/>
                    </a:cubicBezTo>
                    <a:cubicBezTo>
                      <a:pt x="98" y="17"/>
                      <a:pt x="98" y="17"/>
                      <a:pt x="98" y="17"/>
                    </a:cubicBezTo>
                    <a:cubicBezTo>
                      <a:pt x="99" y="20"/>
                      <a:pt x="99" y="20"/>
                      <a:pt x="99" y="20"/>
                    </a:cubicBezTo>
                    <a:cubicBezTo>
                      <a:pt x="97" y="22"/>
                      <a:pt x="97" y="22"/>
                      <a:pt x="97" y="22"/>
                    </a:cubicBezTo>
                    <a:cubicBezTo>
                      <a:pt x="97" y="23"/>
                      <a:pt x="97" y="23"/>
                      <a:pt x="97" y="23"/>
                    </a:cubicBezTo>
                    <a:cubicBezTo>
                      <a:pt x="98" y="24"/>
                      <a:pt x="98" y="24"/>
                      <a:pt x="98" y="24"/>
                    </a:cubicBezTo>
                    <a:cubicBezTo>
                      <a:pt x="98" y="24"/>
                      <a:pt x="99" y="24"/>
                      <a:pt x="99" y="24"/>
                    </a:cubicBezTo>
                    <a:cubicBezTo>
                      <a:pt x="99" y="24"/>
                      <a:pt x="101" y="23"/>
                      <a:pt x="102" y="23"/>
                    </a:cubicBezTo>
                    <a:cubicBezTo>
                      <a:pt x="102" y="23"/>
                      <a:pt x="102" y="22"/>
                      <a:pt x="102" y="22"/>
                    </a:cubicBezTo>
                    <a:cubicBezTo>
                      <a:pt x="102" y="22"/>
                      <a:pt x="104" y="21"/>
                      <a:pt x="104" y="21"/>
                    </a:cubicBezTo>
                    <a:cubicBezTo>
                      <a:pt x="104" y="21"/>
                      <a:pt x="105" y="21"/>
                      <a:pt x="105" y="21"/>
                    </a:cubicBezTo>
                    <a:cubicBezTo>
                      <a:pt x="105" y="22"/>
                      <a:pt x="106" y="23"/>
                      <a:pt x="106" y="23"/>
                    </a:cubicBezTo>
                    <a:cubicBezTo>
                      <a:pt x="106" y="23"/>
                      <a:pt x="107" y="22"/>
                      <a:pt x="107" y="23"/>
                    </a:cubicBezTo>
                    <a:cubicBezTo>
                      <a:pt x="107" y="23"/>
                      <a:pt x="108" y="23"/>
                      <a:pt x="108" y="23"/>
                    </a:cubicBezTo>
                    <a:cubicBezTo>
                      <a:pt x="108" y="23"/>
                      <a:pt x="108" y="23"/>
                      <a:pt x="108" y="22"/>
                    </a:cubicBezTo>
                    <a:cubicBezTo>
                      <a:pt x="108" y="20"/>
                      <a:pt x="108" y="20"/>
                      <a:pt x="108" y="20"/>
                    </a:cubicBezTo>
                    <a:cubicBezTo>
                      <a:pt x="108" y="19"/>
                      <a:pt x="108" y="18"/>
                      <a:pt x="108" y="18"/>
                    </a:cubicBezTo>
                    <a:cubicBezTo>
                      <a:pt x="109" y="17"/>
                      <a:pt x="109" y="17"/>
                      <a:pt x="109" y="16"/>
                    </a:cubicBezTo>
                    <a:cubicBezTo>
                      <a:pt x="109" y="16"/>
                      <a:pt x="108" y="15"/>
                      <a:pt x="109" y="15"/>
                    </a:cubicBezTo>
                    <a:cubicBezTo>
                      <a:pt x="110" y="15"/>
                      <a:pt x="111" y="15"/>
                      <a:pt x="111" y="15"/>
                    </a:cubicBezTo>
                    <a:cubicBezTo>
                      <a:pt x="111" y="15"/>
                      <a:pt x="111" y="14"/>
                      <a:pt x="111" y="14"/>
                    </a:cubicBezTo>
                    <a:cubicBezTo>
                      <a:pt x="111" y="14"/>
                      <a:pt x="112" y="13"/>
                      <a:pt x="113" y="13"/>
                    </a:cubicBezTo>
                    <a:cubicBezTo>
                      <a:pt x="113" y="13"/>
                      <a:pt x="113" y="14"/>
                      <a:pt x="114" y="13"/>
                    </a:cubicBezTo>
                    <a:cubicBezTo>
                      <a:pt x="115" y="12"/>
                      <a:pt x="114" y="12"/>
                      <a:pt x="114" y="12"/>
                    </a:cubicBezTo>
                    <a:cubicBezTo>
                      <a:pt x="114" y="11"/>
                      <a:pt x="114" y="11"/>
                      <a:pt x="114" y="11"/>
                    </a:cubicBezTo>
                    <a:cubicBezTo>
                      <a:pt x="115" y="10"/>
                      <a:pt x="114" y="11"/>
                      <a:pt x="116" y="11"/>
                    </a:cubicBezTo>
                    <a:cubicBezTo>
                      <a:pt x="117" y="10"/>
                      <a:pt x="118" y="10"/>
                      <a:pt x="118" y="10"/>
                    </a:cubicBezTo>
                    <a:cubicBezTo>
                      <a:pt x="118" y="10"/>
                      <a:pt x="118" y="9"/>
                      <a:pt x="118" y="9"/>
                    </a:cubicBezTo>
                    <a:cubicBezTo>
                      <a:pt x="120" y="8"/>
                      <a:pt x="120" y="8"/>
                      <a:pt x="120" y="8"/>
                    </a:cubicBezTo>
                    <a:cubicBezTo>
                      <a:pt x="120" y="8"/>
                      <a:pt x="120" y="9"/>
                      <a:pt x="120" y="9"/>
                    </a:cubicBezTo>
                    <a:cubicBezTo>
                      <a:pt x="120" y="9"/>
                      <a:pt x="121" y="9"/>
                      <a:pt x="122" y="9"/>
                    </a:cubicBezTo>
                    <a:cubicBezTo>
                      <a:pt x="122" y="9"/>
                      <a:pt x="123" y="10"/>
                      <a:pt x="123" y="9"/>
                    </a:cubicBezTo>
                    <a:cubicBezTo>
                      <a:pt x="123" y="9"/>
                      <a:pt x="124" y="9"/>
                      <a:pt x="124" y="8"/>
                    </a:cubicBezTo>
                    <a:cubicBezTo>
                      <a:pt x="124" y="8"/>
                      <a:pt x="124" y="8"/>
                      <a:pt x="124" y="8"/>
                    </a:cubicBezTo>
                    <a:cubicBezTo>
                      <a:pt x="124" y="8"/>
                      <a:pt x="124" y="7"/>
                      <a:pt x="125" y="7"/>
                    </a:cubicBezTo>
                    <a:cubicBezTo>
                      <a:pt x="126" y="8"/>
                      <a:pt x="125" y="8"/>
                      <a:pt x="126" y="8"/>
                    </a:cubicBezTo>
                    <a:cubicBezTo>
                      <a:pt x="126" y="7"/>
                      <a:pt x="128" y="6"/>
                      <a:pt x="128" y="6"/>
                    </a:cubicBezTo>
                    <a:cubicBezTo>
                      <a:pt x="128" y="6"/>
                      <a:pt x="128" y="6"/>
                      <a:pt x="129" y="8"/>
                    </a:cubicBezTo>
                    <a:cubicBezTo>
                      <a:pt x="129" y="9"/>
                      <a:pt x="130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2" y="11"/>
                      <a:pt x="132" y="11"/>
                    </a:cubicBezTo>
                    <a:cubicBezTo>
                      <a:pt x="133" y="11"/>
                      <a:pt x="133" y="11"/>
                      <a:pt x="133" y="11"/>
                    </a:cubicBezTo>
                    <a:cubicBezTo>
                      <a:pt x="134" y="10"/>
                      <a:pt x="134" y="10"/>
                      <a:pt x="134" y="10"/>
                    </a:cubicBezTo>
                    <a:cubicBezTo>
                      <a:pt x="134" y="10"/>
                      <a:pt x="134" y="11"/>
                      <a:pt x="135" y="11"/>
                    </a:cubicBezTo>
                    <a:cubicBezTo>
                      <a:pt x="136" y="11"/>
                      <a:pt x="137" y="12"/>
                      <a:pt x="137" y="12"/>
                    </a:cubicBezTo>
                    <a:cubicBezTo>
                      <a:pt x="137" y="11"/>
                      <a:pt x="138" y="10"/>
                      <a:pt x="138" y="10"/>
                    </a:cubicBezTo>
                    <a:cubicBezTo>
                      <a:pt x="138" y="9"/>
                      <a:pt x="138" y="9"/>
                      <a:pt x="139" y="8"/>
                    </a:cubicBezTo>
                    <a:cubicBezTo>
                      <a:pt x="139" y="8"/>
                      <a:pt x="142" y="7"/>
                      <a:pt x="142" y="7"/>
                    </a:cubicBezTo>
                    <a:cubicBezTo>
                      <a:pt x="142" y="7"/>
                      <a:pt x="141" y="5"/>
                      <a:pt x="140" y="5"/>
                    </a:cubicBezTo>
                    <a:cubicBezTo>
                      <a:pt x="140" y="5"/>
                      <a:pt x="139" y="4"/>
                      <a:pt x="141" y="3"/>
                    </a:cubicBezTo>
                    <a:cubicBezTo>
                      <a:pt x="142" y="3"/>
                      <a:pt x="143" y="3"/>
                      <a:pt x="143" y="3"/>
                    </a:cubicBezTo>
                    <a:cubicBezTo>
                      <a:pt x="145" y="4"/>
                      <a:pt x="145" y="4"/>
                      <a:pt x="145" y="4"/>
                    </a:cubicBezTo>
                    <a:cubicBezTo>
                      <a:pt x="145" y="3"/>
                      <a:pt x="145" y="3"/>
                      <a:pt x="145" y="3"/>
                    </a:cubicBezTo>
                    <a:cubicBezTo>
                      <a:pt x="146" y="2"/>
                      <a:pt x="146" y="2"/>
                      <a:pt x="146" y="2"/>
                    </a:cubicBezTo>
                    <a:cubicBezTo>
                      <a:pt x="146" y="2"/>
                      <a:pt x="147" y="1"/>
                      <a:pt x="147" y="1"/>
                    </a:cubicBezTo>
                    <a:cubicBezTo>
                      <a:pt x="147" y="1"/>
                      <a:pt x="148" y="1"/>
                      <a:pt x="148" y="1"/>
                    </a:cubicBezTo>
                    <a:cubicBezTo>
                      <a:pt x="149" y="1"/>
                      <a:pt x="150" y="1"/>
                      <a:pt x="150" y="1"/>
                    </a:cubicBezTo>
                    <a:cubicBezTo>
                      <a:pt x="150" y="1"/>
                      <a:pt x="151" y="2"/>
                      <a:pt x="151" y="2"/>
                    </a:cubicBezTo>
                    <a:cubicBezTo>
                      <a:pt x="152" y="2"/>
                      <a:pt x="153" y="2"/>
                      <a:pt x="153" y="2"/>
                    </a:cubicBezTo>
                    <a:cubicBezTo>
                      <a:pt x="153" y="2"/>
                      <a:pt x="154" y="3"/>
                      <a:pt x="154" y="2"/>
                    </a:cubicBezTo>
                    <a:cubicBezTo>
                      <a:pt x="155" y="2"/>
                      <a:pt x="155" y="1"/>
                      <a:pt x="155" y="1"/>
                    </a:cubicBezTo>
                    <a:cubicBezTo>
                      <a:pt x="155" y="1"/>
                      <a:pt x="159" y="0"/>
                      <a:pt x="159" y="0"/>
                    </a:cubicBezTo>
                    <a:cubicBezTo>
                      <a:pt x="159" y="0"/>
                      <a:pt x="160" y="0"/>
                      <a:pt x="160" y="0"/>
                    </a:cubicBezTo>
                    <a:cubicBezTo>
                      <a:pt x="161" y="1"/>
                      <a:pt x="162" y="1"/>
                      <a:pt x="162" y="1"/>
                    </a:cubicBezTo>
                    <a:cubicBezTo>
                      <a:pt x="163" y="1"/>
                      <a:pt x="164" y="2"/>
                      <a:pt x="164" y="2"/>
                    </a:cubicBezTo>
                    <a:cubicBezTo>
                      <a:pt x="165" y="3"/>
                      <a:pt x="166" y="3"/>
                      <a:pt x="166" y="3"/>
                    </a:cubicBezTo>
                    <a:cubicBezTo>
                      <a:pt x="166" y="3"/>
                      <a:pt x="166" y="1"/>
                      <a:pt x="166" y="1"/>
                    </a:cubicBezTo>
                    <a:cubicBezTo>
                      <a:pt x="167" y="1"/>
                      <a:pt x="168" y="1"/>
                      <a:pt x="168" y="1"/>
                    </a:cubicBezTo>
                    <a:cubicBezTo>
                      <a:pt x="169" y="2"/>
                      <a:pt x="169" y="2"/>
                      <a:pt x="169" y="2"/>
                    </a:cubicBezTo>
                    <a:cubicBezTo>
                      <a:pt x="169" y="2"/>
                      <a:pt x="170" y="3"/>
                      <a:pt x="171" y="3"/>
                    </a:cubicBezTo>
                    <a:cubicBezTo>
                      <a:pt x="171" y="3"/>
                      <a:pt x="172" y="2"/>
                      <a:pt x="172" y="2"/>
                    </a:cubicBezTo>
                    <a:cubicBezTo>
                      <a:pt x="172" y="3"/>
                      <a:pt x="173" y="3"/>
                      <a:pt x="173" y="4"/>
                    </a:cubicBezTo>
                    <a:cubicBezTo>
                      <a:pt x="173" y="4"/>
                      <a:pt x="174" y="5"/>
                      <a:pt x="174" y="5"/>
                    </a:cubicBezTo>
                    <a:cubicBezTo>
                      <a:pt x="174" y="6"/>
                      <a:pt x="175" y="6"/>
                      <a:pt x="175" y="6"/>
                    </a:cubicBezTo>
                    <a:cubicBezTo>
                      <a:pt x="175" y="7"/>
                      <a:pt x="175" y="8"/>
                      <a:pt x="175" y="8"/>
                    </a:cubicBezTo>
                    <a:cubicBezTo>
                      <a:pt x="175" y="8"/>
                      <a:pt x="175" y="8"/>
                      <a:pt x="175" y="9"/>
                    </a:cubicBezTo>
                    <a:cubicBezTo>
                      <a:pt x="176" y="9"/>
                      <a:pt x="179" y="9"/>
                      <a:pt x="179" y="9"/>
                    </a:cubicBezTo>
                    <a:cubicBezTo>
                      <a:pt x="179" y="9"/>
                      <a:pt x="180" y="9"/>
                      <a:pt x="180" y="10"/>
                    </a:cubicBezTo>
                    <a:cubicBezTo>
                      <a:pt x="180" y="10"/>
                      <a:pt x="182" y="10"/>
                      <a:pt x="182" y="10"/>
                    </a:cubicBezTo>
                    <a:cubicBezTo>
                      <a:pt x="182" y="10"/>
                      <a:pt x="183" y="9"/>
                      <a:pt x="183" y="10"/>
                    </a:cubicBezTo>
                    <a:cubicBezTo>
                      <a:pt x="183" y="10"/>
                      <a:pt x="183" y="11"/>
                      <a:pt x="183" y="11"/>
                    </a:cubicBezTo>
                    <a:cubicBezTo>
                      <a:pt x="185" y="11"/>
                      <a:pt x="185" y="11"/>
                      <a:pt x="185" y="11"/>
                    </a:cubicBezTo>
                    <a:cubicBezTo>
                      <a:pt x="186" y="11"/>
                      <a:pt x="186" y="11"/>
                      <a:pt x="186" y="11"/>
                    </a:cubicBezTo>
                    <a:cubicBezTo>
                      <a:pt x="186" y="11"/>
                      <a:pt x="187" y="10"/>
                      <a:pt x="187" y="11"/>
                    </a:cubicBezTo>
                    <a:cubicBezTo>
                      <a:pt x="187" y="11"/>
                      <a:pt x="188" y="11"/>
                      <a:pt x="188" y="11"/>
                    </a:cubicBezTo>
                    <a:cubicBezTo>
                      <a:pt x="188" y="11"/>
                      <a:pt x="190" y="12"/>
                      <a:pt x="190" y="12"/>
                    </a:cubicBezTo>
                    <a:cubicBezTo>
                      <a:pt x="190" y="12"/>
                      <a:pt x="191" y="12"/>
                      <a:pt x="192" y="12"/>
                    </a:cubicBezTo>
                    <a:cubicBezTo>
                      <a:pt x="192" y="12"/>
                      <a:pt x="195" y="12"/>
                      <a:pt x="195" y="12"/>
                    </a:cubicBezTo>
                    <a:cubicBezTo>
                      <a:pt x="195" y="12"/>
                      <a:pt x="195" y="13"/>
                      <a:pt x="195" y="14"/>
                    </a:cubicBezTo>
                    <a:cubicBezTo>
                      <a:pt x="195" y="14"/>
                      <a:pt x="195" y="16"/>
                      <a:pt x="195" y="16"/>
                    </a:cubicBezTo>
                    <a:cubicBezTo>
                      <a:pt x="195" y="16"/>
                      <a:pt x="194" y="17"/>
                      <a:pt x="194" y="18"/>
                    </a:cubicBezTo>
                    <a:cubicBezTo>
                      <a:pt x="193" y="18"/>
                      <a:pt x="193" y="20"/>
                      <a:pt x="193" y="20"/>
                    </a:cubicBezTo>
                    <a:cubicBezTo>
                      <a:pt x="193" y="20"/>
                      <a:pt x="193" y="21"/>
                      <a:pt x="193" y="21"/>
                    </a:cubicBezTo>
                    <a:cubicBezTo>
                      <a:pt x="193" y="21"/>
                      <a:pt x="193" y="23"/>
                      <a:pt x="193" y="23"/>
                    </a:cubicBezTo>
                    <a:cubicBezTo>
                      <a:pt x="192" y="25"/>
                      <a:pt x="192" y="25"/>
                      <a:pt x="192" y="25"/>
                    </a:cubicBezTo>
                    <a:cubicBezTo>
                      <a:pt x="192" y="25"/>
                      <a:pt x="191" y="26"/>
                      <a:pt x="192" y="27"/>
                    </a:cubicBezTo>
                    <a:cubicBezTo>
                      <a:pt x="192" y="27"/>
                      <a:pt x="192" y="28"/>
                      <a:pt x="192" y="28"/>
                    </a:cubicBezTo>
                    <a:cubicBezTo>
                      <a:pt x="193" y="29"/>
                      <a:pt x="193" y="29"/>
                      <a:pt x="193" y="29"/>
                    </a:cubicBezTo>
                    <a:cubicBezTo>
                      <a:pt x="191" y="31"/>
                      <a:pt x="191" y="31"/>
                      <a:pt x="191" y="31"/>
                    </a:cubicBezTo>
                    <a:cubicBezTo>
                      <a:pt x="191" y="33"/>
                      <a:pt x="191" y="33"/>
                      <a:pt x="191" y="33"/>
                    </a:cubicBezTo>
                    <a:cubicBezTo>
                      <a:pt x="191" y="33"/>
                      <a:pt x="192" y="34"/>
                      <a:pt x="191" y="35"/>
                    </a:cubicBezTo>
                    <a:cubicBezTo>
                      <a:pt x="191" y="35"/>
                      <a:pt x="190" y="36"/>
                      <a:pt x="190" y="36"/>
                    </a:cubicBezTo>
                    <a:cubicBezTo>
                      <a:pt x="190" y="36"/>
                      <a:pt x="188" y="38"/>
                      <a:pt x="188" y="38"/>
                    </a:cubicBezTo>
                    <a:cubicBezTo>
                      <a:pt x="188" y="38"/>
                      <a:pt x="188" y="39"/>
                      <a:pt x="188" y="39"/>
                    </a:cubicBezTo>
                    <a:cubicBezTo>
                      <a:pt x="188" y="39"/>
                      <a:pt x="187" y="41"/>
                      <a:pt x="187" y="41"/>
                    </a:cubicBezTo>
                    <a:cubicBezTo>
                      <a:pt x="187" y="41"/>
                      <a:pt x="187" y="44"/>
                      <a:pt x="187" y="44"/>
                    </a:cubicBezTo>
                    <a:cubicBezTo>
                      <a:pt x="187" y="44"/>
                      <a:pt x="188" y="45"/>
                      <a:pt x="188" y="45"/>
                    </a:cubicBezTo>
                    <a:cubicBezTo>
                      <a:pt x="188" y="45"/>
                      <a:pt x="188" y="46"/>
                      <a:pt x="188" y="47"/>
                    </a:cubicBezTo>
                    <a:cubicBezTo>
                      <a:pt x="187" y="47"/>
                      <a:pt x="188" y="48"/>
                      <a:pt x="188" y="49"/>
                    </a:cubicBezTo>
                    <a:cubicBezTo>
                      <a:pt x="188" y="49"/>
                      <a:pt x="188" y="50"/>
                      <a:pt x="188" y="50"/>
                    </a:cubicBezTo>
                    <a:cubicBezTo>
                      <a:pt x="187" y="52"/>
                      <a:pt x="187" y="52"/>
                      <a:pt x="187" y="52"/>
                    </a:cubicBezTo>
                    <a:cubicBezTo>
                      <a:pt x="186" y="52"/>
                      <a:pt x="186" y="52"/>
                      <a:pt x="186" y="52"/>
                    </a:cubicBezTo>
                    <a:cubicBezTo>
                      <a:pt x="187" y="55"/>
                      <a:pt x="187" y="55"/>
                      <a:pt x="187" y="55"/>
                    </a:cubicBezTo>
                    <a:cubicBezTo>
                      <a:pt x="185" y="57"/>
                      <a:pt x="185" y="57"/>
                      <a:pt x="185" y="57"/>
                    </a:cubicBezTo>
                    <a:cubicBezTo>
                      <a:pt x="177" y="57"/>
                      <a:pt x="177" y="57"/>
                      <a:pt x="177" y="57"/>
                    </a:cubicBezTo>
                    <a:cubicBezTo>
                      <a:pt x="169" y="49"/>
                      <a:pt x="169" y="49"/>
                      <a:pt x="169" y="49"/>
                    </a:cubicBezTo>
                    <a:cubicBezTo>
                      <a:pt x="163" y="48"/>
                      <a:pt x="163" y="48"/>
                      <a:pt x="163" y="48"/>
                    </a:cubicBezTo>
                    <a:cubicBezTo>
                      <a:pt x="158" y="52"/>
                      <a:pt x="158" y="52"/>
                      <a:pt x="158" y="52"/>
                    </a:cubicBezTo>
                    <a:cubicBezTo>
                      <a:pt x="151" y="53"/>
                      <a:pt x="151" y="53"/>
                      <a:pt x="151" y="53"/>
                    </a:cubicBezTo>
                    <a:cubicBezTo>
                      <a:pt x="146" y="50"/>
                      <a:pt x="146" y="50"/>
                      <a:pt x="146" y="50"/>
                    </a:cubicBezTo>
                    <a:cubicBezTo>
                      <a:pt x="132" y="54"/>
                      <a:pt x="132" y="54"/>
                      <a:pt x="132" y="54"/>
                    </a:cubicBezTo>
                    <a:cubicBezTo>
                      <a:pt x="131" y="57"/>
                      <a:pt x="131" y="57"/>
                      <a:pt x="131" y="57"/>
                    </a:cubicBezTo>
                    <a:cubicBezTo>
                      <a:pt x="129" y="64"/>
                      <a:pt x="129" y="64"/>
                      <a:pt x="129" y="64"/>
                    </a:cubicBezTo>
                    <a:cubicBezTo>
                      <a:pt x="126" y="70"/>
                      <a:pt x="126" y="70"/>
                      <a:pt x="126" y="70"/>
                    </a:cubicBezTo>
                    <a:cubicBezTo>
                      <a:pt x="122" y="72"/>
                      <a:pt x="122" y="72"/>
                      <a:pt x="122" y="72"/>
                    </a:cubicBezTo>
                    <a:cubicBezTo>
                      <a:pt x="119" y="74"/>
                      <a:pt x="119" y="74"/>
                      <a:pt x="119" y="74"/>
                    </a:cubicBezTo>
                    <a:cubicBezTo>
                      <a:pt x="116" y="78"/>
                      <a:pt x="116" y="78"/>
                      <a:pt x="116" y="78"/>
                    </a:cubicBezTo>
                    <a:cubicBezTo>
                      <a:pt x="110" y="78"/>
                      <a:pt x="110" y="78"/>
                      <a:pt x="110" y="78"/>
                    </a:cubicBezTo>
                    <a:cubicBezTo>
                      <a:pt x="106" y="77"/>
                      <a:pt x="106" y="77"/>
                      <a:pt x="106" y="77"/>
                    </a:cubicBezTo>
                    <a:cubicBezTo>
                      <a:pt x="100" y="78"/>
                      <a:pt x="100" y="78"/>
                      <a:pt x="100" y="78"/>
                    </a:cubicBezTo>
                    <a:cubicBezTo>
                      <a:pt x="98" y="84"/>
                      <a:pt x="98" y="84"/>
                      <a:pt x="98" y="84"/>
                    </a:cubicBezTo>
                    <a:cubicBezTo>
                      <a:pt x="94" y="85"/>
                      <a:pt x="94" y="85"/>
                      <a:pt x="94" y="85"/>
                    </a:cubicBezTo>
                    <a:cubicBezTo>
                      <a:pt x="87" y="86"/>
                      <a:pt x="87" y="86"/>
                      <a:pt x="87" y="86"/>
                    </a:cubicBezTo>
                    <a:cubicBezTo>
                      <a:pt x="78" y="89"/>
                      <a:pt x="78" y="89"/>
                      <a:pt x="78" y="89"/>
                    </a:cubicBezTo>
                    <a:cubicBezTo>
                      <a:pt x="73" y="94"/>
                      <a:pt x="73" y="94"/>
                      <a:pt x="73" y="94"/>
                    </a:cubicBezTo>
                    <a:cubicBezTo>
                      <a:pt x="73" y="96"/>
                      <a:pt x="73" y="96"/>
                      <a:pt x="73" y="96"/>
                    </a:cubicBezTo>
                    <a:cubicBezTo>
                      <a:pt x="73" y="96"/>
                      <a:pt x="77" y="99"/>
                      <a:pt x="79" y="100"/>
                    </a:cubicBezTo>
                    <a:cubicBezTo>
                      <a:pt x="81" y="102"/>
                      <a:pt x="75" y="103"/>
                      <a:pt x="74" y="104"/>
                    </a:cubicBezTo>
                    <a:cubicBezTo>
                      <a:pt x="73" y="105"/>
                      <a:pt x="64" y="106"/>
                      <a:pt x="64" y="106"/>
                    </a:cubicBezTo>
                    <a:cubicBezTo>
                      <a:pt x="47" y="107"/>
                      <a:pt x="47" y="107"/>
                      <a:pt x="47" y="107"/>
                    </a:cubicBezTo>
                    <a:cubicBezTo>
                      <a:pt x="38" y="109"/>
                      <a:pt x="38" y="109"/>
                      <a:pt x="38" y="109"/>
                    </a:cubicBezTo>
                    <a:cubicBezTo>
                      <a:pt x="34" y="107"/>
                      <a:pt x="34" y="107"/>
                      <a:pt x="34" y="107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2" y="98"/>
                      <a:pt x="22" y="98"/>
                      <a:pt x="22" y="98"/>
                    </a:cubicBezTo>
                    <a:cubicBezTo>
                      <a:pt x="22" y="98"/>
                      <a:pt x="22" y="98"/>
                      <a:pt x="22" y="98"/>
                    </a:cubicBezTo>
                    <a:cubicBezTo>
                      <a:pt x="14" y="97"/>
                      <a:pt x="14" y="97"/>
                      <a:pt x="14" y="97"/>
                    </a:cubicBezTo>
                    <a:cubicBezTo>
                      <a:pt x="14" y="98"/>
                      <a:pt x="14" y="98"/>
                      <a:pt x="14" y="98"/>
                    </a:cubicBezTo>
                    <a:cubicBezTo>
                      <a:pt x="14" y="102"/>
                      <a:pt x="14" y="102"/>
                      <a:pt x="14" y="102"/>
                    </a:cubicBezTo>
                    <a:cubicBezTo>
                      <a:pt x="11" y="106"/>
                      <a:pt x="11" y="106"/>
                      <a:pt x="11" y="106"/>
                    </a:cubicBezTo>
                    <a:cubicBezTo>
                      <a:pt x="9" y="103"/>
                      <a:pt x="8" y="98"/>
                      <a:pt x="6" y="93"/>
                    </a:cubicBezTo>
                    <a:cubicBezTo>
                      <a:pt x="6" y="93"/>
                      <a:pt x="6" y="92"/>
                      <a:pt x="5" y="91"/>
                    </a:cubicBezTo>
                    <a:cubicBezTo>
                      <a:pt x="5" y="90"/>
                      <a:pt x="4" y="88"/>
                      <a:pt x="4" y="88"/>
                    </a:cubicBezTo>
                    <a:cubicBezTo>
                      <a:pt x="4" y="88"/>
                      <a:pt x="4" y="88"/>
                      <a:pt x="4" y="88"/>
                    </a:cubicBezTo>
                    <a:cubicBezTo>
                      <a:pt x="3" y="87"/>
                      <a:pt x="2" y="86"/>
                      <a:pt x="2" y="86"/>
                    </a:cubicBezTo>
                    <a:cubicBezTo>
                      <a:pt x="2" y="86"/>
                      <a:pt x="2" y="85"/>
                      <a:pt x="2" y="85"/>
                    </a:cubicBezTo>
                    <a:cubicBezTo>
                      <a:pt x="1" y="85"/>
                      <a:pt x="0" y="84"/>
                      <a:pt x="0" y="84"/>
                    </a:cubicBezTo>
                    <a:cubicBezTo>
                      <a:pt x="0" y="84"/>
                      <a:pt x="0" y="81"/>
                      <a:pt x="0" y="81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2" y="77"/>
                      <a:pt x="2" y="77"/>
                      <a:pt x="2" y="77"/>
                    </a:cubicBezTo>
                    <a:cubicBezTo>
                      <a:pt x="2" y="77"/>
                      <a:pt x="2" y="75"/>
                      <a:pt x="2" y="75"/>
                    </a:cubicBezTo>
                    <a:cubicBezTo>
                      <a:pt x="2" y="75"/>
                      <a:pt x="3" y="73"/>
                      <a:pt x="3" y="73"/>
                    </a:cubicBezTo>
                    <a:cubicBezTo>
                      <a:pt x="2" y="72"/>
                      <a:pt x="2" y="72"/>
                      <a:pt x="2" y="72"/>
                    </a:cubicBezTo>
                    <a:cubicBezTo>
                      <a:pt x="2" y="69"/>
                      <a:pt x="2" y="69"/>
                      <a:pt x="2" y="69"/>
                    </a:cubicBezTo>
                    <a:cubicBezTo>
                      <a:pt x="3" y="68"/>
                      <a:pt x="3" y="68"/>
                      <a:pt x="3" y="68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5"/>
                      <a:pt x="3" y="65"/>
                    </a:cubicBezTo>
                    <a:cubicBezTo>
                      <a:pt x="4" y="65"/>
                      <a:pt x="4" y="62"/>
                      <a:pt x="4" y="62"/>
                    </a:cubicBezTo>
                    <a:cubicBezTo>
                      <a:pt x="4" y="62"/>
                      <a:pt x="5" y="60"/>
                      <a:pt x="5" y="60"/>
                    </a:cubicBezTo>
                    <a:cubicBezTo>
                      <a:pt x="6" y="60"/>
                      <a:pt x="6" y="59"/>
                      <a:pt x="6" y="59"/>
                    </a:cubicBezTo>
                    <a:cubicBezTo>
                      <a:pt x="6" y="58"/>
                      <a:pt x="6" y="57"/>
                      <a:pt x="6" y="57"/>
                    </a:cubicBezTo>
                    <a:cubicBezTo>
                      <a:pt x="8" y="56"/>
                      <a:pt x="8" y="56"/>
                      <a:pt x="8" y="56"/>
                    </a:cubicBezTo>
                    <a:cubicBezTo>
                      <a:pt x="8" y="56"/>
                      <a:pt x="9" y="55"/>
                      <a:pt x="9" y="55"/>
                    </a:cubicBezTo>
                    <a:cubicBezTo>
                      <a:pt x="9" y="55"/>
                      <a:pt x="10" y="55"/>
                      <a:pt x="11" y="55"/>
                    </a:cubicBezTo>
                    <a:cubicBezTo>
                      <a:pt x="11" y="55"/>
                      <a:pt x="12" y="55"/>
                      <a:pt x="13" y="55"/>
                    </a:cubicBezTo>
                    <a:cubicBezTo>
                      <a:pt x="13" y="55"/>
                      <a:pt x="13" y="56"/>
                      <a:pt x="14" y="56"/>
                    </a:cubicBezTo>
                    <a:cubicBezTo>
                      <a:pt x="15" y="56"/>
                      <a:pt x="16" y="57"/>
                      <a:pt x="16" y="57"/>
                    </a:cubicBezTo>
                    <a:cubicBezTo>
                      <a:pt x="17" y="56"/>
                      <a:pt x="17" y="56"/>
                      <a:pt x="17" y="56"/>
                    </a:cubicBezTo>
                    <a:cubicBezTo>
                      <a:pt x="18" y="56"/>
                      <a:pt x="18" y="55"/>
                      <a:pt x="18" y="55"/>
                    </a:cubicBezTo>
                    <a:cubicBezTo>
                      <a:pt x="19" y="55"/>
                      <a:pt x="21" y="56"/>
                      <a:pt x="21" y="56"/>
                    </a:cubicBezTo>
                    <a:cubicBezTo>
                      <a:pt x="21" y="56"/>
                      <a:pt x="22" y="57"/>
                      <a:pt x="22" y="56"/>
                    </a:cubicBezTo>
                    <a:cubicBezTo>
                      <a:pt x="23" y="56"/>
                      <a:pt x="24" y="55"/>
                      <a:pt x="24" y="55"/>
                    </a:cubicBezTo>
                    <a:cubicBezTo>
                      <a:pt x="26" y="54"/>
                      <a:pt x="26" y="54"/>
                      <a:pt x="26" y="54"/>
                    </a:cubicBez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46" name="Freeform 88">
                <a:extLst>
                  <a:ext uri="{FF2B5EF4-FFF2-40B4-BE49-F238E27FC236}">
                    <a16:creationId xmlns:a16="http://schemas.microsoft.com/office/drawing/2014/main" id="{FDA86013-5C64-15D4-9E14-BD611D5DD3A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0136" y="3153955"/>
                <a:ext cx="261472" cy="191608"/>
              </a:xfrm>
              <a:custGeom>
                <a:avLst/>
                <a:gdLst>
                  <a:gd name="T0" fmla="*/ 5 w 117"/>
                  <a:gd name="T1" fmla="*/ 46 h 88"/>
                  <a:gd name="T2" fmla="*/ 1 w 117"/>
                  <a:gd name="T3" fmla="*/ 42 h 88"/>
                  <a:gd name="T4" fmla="*/ 6 w 117"/>
                  <a:gd name="T5" fmla="*/ 36 h 88"/>
                  <a:gd name="T6" fmla="*/ 10 w 117"/>
                  <a:gd name="T7" fmla="*/ 33 h 88"/>
                  <a:gd name="T8" fmla="*/ 13 w 117"/>
                  <a:gd name="T9" fmla="*/ 27 h 88"/>
                  <a:gd name="T10" fmla="*/ 41 w 117"/>
                  <a:gd name="T11" fmla="*/ 31 h 88"/>
                  <a:gd name="T12" fmla="*/ 48 w 117"/>
                  <a:gd name="T13" fmla="*/ 26 h 88"/>
                  <a:gd name="T14" fmla="*/ 55 w 117"/>
                  <a:gd name="T15" fmla="*/ 19 h 88"/>
                  <a:gd name="T16" fmla="*/ 71 w 117"/>
                  <a:gd name="T17" fmla="*/ 15 h 88"/>
                  <a:gd name="T18" fmla="*/ 85 w 117"/>
                  <a:gd name="T19" fmla="*/ 12 h 88"/>
                  <a:gd name="T20" fmla="*/ 95 w 117"/>
                  <a:gd name="T21" fmla="*/ 8 h 88"/>
                  <a:gd name="T22" fmla="*/ 101 w 117"/>
                  <a:gd name="T23" fmla="*/ 2 h 88"/>
                  <a:gd name="T24" fmla="*/ 107 w 117"/>
                  <a:gd name="T25" fmla="*/ 2 h 88"/>
                  <a:gd name="T26" fmla="*/ 108 w 117"/>
                  <a:gd name="T27" fmla="*/ 5 h 88"/>
                  <a:gd name="T28" fmla="*/ 109 w 117"/>
                  <a:gd name="T29" fmla="*/ 7 h 88"/>
                  <a:gd name="T30" fmla="*/ 111 w 117"/>
                  <a:gd name="T31" fmla="*/ 10 h 88"/>
                  <a:gd name="T32" fmla="*/ 115 w 117"/>
                  <a:gd name="T33" fmla="*/ 19 h 88"/>
                  <a:gd name="T34" fmla="*/ 109 w 117"/>
                  <a:gd name="T35" fmla="*/ 22 h 88"/>
                  <a:gd name="T36" fmla="*/ 107 w 117"/>
                  <a:gd name="T37" fmla="*/ 27 h 88"/>
                  <a:gd name="T38" fmla="*/ 102 w 117"/>
                  <a:gd name="T39" fmla="*/ 28 h 88"/>
                  <a:gd name="T40" fmla="*/ 101 w 117"/>
                  <a:gd name="T41" fmla="*/ 32 h 88"/>
                  <a:gd name="T42" fmla="*/ 96 w 117"/>
                  <a:gd name="T43" fmla="*/ 35 h 88"/>
                  <a:gd name="T44" fmla="*/ 91 w 117"/>
                  <a:gd name="T45" fmla="*/ 38 h 88"/>
                  <a:gd name="T46" fmla="*/ 86 w 117"/>
                  <a:gd name="T47" fmla="*/ 41 h 88"/>
                  <a:gd name="T48" fmla="*/ 87 w 117"/>
                  <a:gd name="T49" fmla="*/ 46 h 88"/>
                  <a:gd name="T50" fmla="*/ 90 w 117"/>
                  <a:gd name="T51" fmla="*/ 49 h 88"/>
                  <a:gd name="T52" fmla="*/ 89 w 117"/>
                  <a:gd name="T53" fmla="*/ 56 h 88"/>
                  <a:gd name="T54" fmla="*/ 88 w 117"/>
                  <a:gd name="T55" fmla="*/ 60 h 88"/>
                  <a:gd name="T56" fmla="*/ 83 w 117"/>
                  <a:gd name="T57" fmla="*/ 62 h 88"/>
                  <a:gd name="T58" fmla="*/ 78 w 117"/>
                  <a:gd name="T59" fmla="*/ 64 h 88"/>
                  <a:gd name="T60" fmla="*/ 76 w 117"/>
                  <a:gd name="T61" fmla="*/ 68 h 88"/>
                  <a:gd name="T62" fmla="*/ 79 w 117"/>
                  <a:gd name="T63" fmla="*/ 69 h 88"/>
                  <a:gd name="T64" fmla="*/ 77 w 117"/>
                  <a:gd name="T65" fmla="*/ 72 h 88"/>
                  <a:gd name="T66" fmla="*/ 76 w 117"/>
                  <a:gd name="T67" fmla="*/ 76 h 88"/>
                  <a:gd name="T68" fmla="*/ 79 w 117"/>
                  <a:gd name="T69" fmla="*/ 80 h 88"/>
                  <a:gd name="T70" fmla="*/ 74 w 117"/>
                  <a:gd name="T71" fmla="*/ 83 h 88"/>
                  <a:gd name="T72" fmla="*/ 69 w 117"/>
                  <a:gd name="T73" fmla="*/ 81 h 88"/>
                  <a:gd name="T74" fmla="*/ 64 w 117"/>
                  <a:gd name="T75" fmla="*/ 80 h 88"/>
                  <a:gd name="T76" fmla="*/ 61 w 117"/>
                  <a:gd name="T77" fmla="*/ 82 h 88"/>
                  <a:gd name="T78" fmla="*/ 55 w 117"/>
                  <a:gd name="T79" fmla="*/ 80 h 88"/>
                  <a:gd name="T80" fmla="*/ 53 w 117"/>
                  <a:gd name="T81" fmla="*/ 77 h 88"/>
                  <a:gd name="T82" fmla="*/ 49 w 117"/>
                  <a:gd name="T83" fmla="*/ 72 h 88"/>
                  <a:gd name="T84" fmla="*/ 46 w 117"/>
                  <a:gd name="T85" fmla="*/ 76 h 88"/>
                  <a:gd name="T86" fmla="*/ 45 w 117"/>
                  <a:gd name="T87" fmla="*/ 80 h 88"/>
                  <a:gd name="T88" fmla="*/ 39 w 117"/>
                  <a:gd name="T89" fmla="*/ 83 h 88"/>
                  <a:gd name="T90" fmla="*/ 33 w 117"/>
                  <a:gd name="T91" fmla="*/ 84 h 88"/>
                  <a:gd name="T92" fmla="*/ 28 w 117"/>
                  <a:gd name="T93" fmla="*/ 83 h 88"/>
                  <a:gd name="T94" fmla="*/ 27 w 117"/>
                  <a:gd name="T95" fmla="*/ 84 h 88"/>
                  <a:gd name="T96" fmla="*/ 24 w 117"/>
                  <a:gd name="T97" fmla="*/ 87 h 88"/>
                  <a:gd name="T98" fmla="*/ 21 w 117"/>
                  <a:gd name="T99" fmla="*/ 88 h 88"/>
                  <a:gd name="T100" fmla="*/ 15 w 117"/>
                  <a:gd name="T101" fmla="*/ 87 h 88"/>
                  <a:gd name="T102" fmla="*/ 11 w 117"/>
                  <a:gd name="T103" fmla="*/ 84 h 88"/>
                  <a:gd name="T104" fmla="*/ 15 w 117"/>
                  <a:gd name="T105" fmla="*/ 82 h 88"/>
                  <a:gd name="T106" fmla="*/ 17 w 117"/>
                  <a:gd name="T107" fmla="*/ 81 h 88"/>
                  <a:gd name="T108" fmla="*/ 19 w 117"/>
                  <a:gd name="T109" fmla="*/ 79 h 88"/>
                  <a:gd name="T110" fmla="*/ 17 w 117"/>
                  <a:gd name="T111" fmla="*/ 77 h 88"/>
                  <a:gd name="T112" fmla="*/ 9 w 117"/>
                  <a:gd name="T113" fmla="*/ 67 h 88"/>
                  <a:gd name="T114" fmla="*/ 11 w 117"/>
                  <a:gd name="T115" fmla="*/ 61 h 88"/>
                  <a:gd name="T116" fmla="*/ 9 w 117"/>
                  <a:gd name="T117" fmla="*/ 58 h 88"/>
                  <a:gd name="T118" fmla="*/ 6 w 117"/>
                  <a:gd name="T119" fmla="*/ 58 h 88"/>
                  <a:gd name="T120" fmla="*/ 5 w 117"/>
                  <a:gd name="T121" fmla="*/ 55 h 88"/>
                  <a:gd name="T122" fmla="*/ 11 w 117"/>
                  <a:gd name="T123" fmla="*/ 4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7" h="88">
                    <a:moveTo>
                      <a:pt x="9" y="48"/>
                    </a:moveTo>
                    <a:cubicBezTo>
                      <a:pt x="7" y="47"/>
                      <a:pt x="7" y="47"/>
                      <a:pt x="7" y="47"/>
                    </a:cubicBezTo>
                    <a:cubicBezTo>
                      <a:pt x="5" y="46"/>
                      <a:pt x="5" y="46"/>
                      <a:pt x="5" y="46"/>
                    </a:cubicBezTo>
                    <a:cubicBezTo>
                      <a:pt x="2" y="46"/>
                      <a:pt x="2" y="46"/>
                      <a:pt x="2" y="46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1" y="42"/>
                      <a:pt x="1" y="42"/>
                      <a:pt x="1" y="42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1" y="40"/>
                      <a:pt x="3" y="38"/>
                      <a:pt x="3" y="38"/>
                    </a:cubicBezTo>
                    <a:cubicBezTo>
                      <a:pt x="4" y="37"/>
                      <a:pt x="6" y="36"/>
                      <a:pt x="6" y="36"/>
                    </a:cubicBezTo>
                    <a:cubicBezTo>
                      <a:pt x="7" y="34"/>
                      <a:pt x="7" y="34"/>
                      <a:pt x="7" y="34"/>
                    </a:cubicBezTo>
                    <a:cubicBezTo>
                      <a:pt x="7" y="34"/>
                      <a:pt x="8" y="33"/>
                      <a:pt x="9" y="33"/>
                    </a:cubicBezTo>
                    <a:cubicBezTo>
                      <a:pt x="10" y="33"/>
                      <a:pt x="10" y="34"/>
                      <a:pt x="10" y="33"/>
                    </a:cubicBezTo>
                    <a:cubicBezTo>
                      <a:pt x="11" y="33"/>
                      <a:pt x="11" y="29"/>
                      <a:pt x="11" y="29"/>
                    </a:cubicBezTo>
                    <a:cubicBezTo>
                      <a:pt x="11" y="27"/>
                      <a:pt x="11" y="27"/>
                      <a:pt x="11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2" y="30"/>
                      <a:pt x="22" y="30"/>
                      <a:pt x="22" y="30"/>
                    </a:cubicBezTo>
                    <a:cubicBezTo>
                      <a:pt x="32" y="31"/>
                      <a:pt x="32" y="31"/>
                      <a:pt x="32" y="31"/>
                    </a:cubicBezTo>
                    <a:cubicBezTo>
                      <a:pt x="41" y="31"/>
                      <a:pt x="41" y="31"/>
                      <a:pt x="41" y="31"/>
                    </a:cubicBezTo>
                    <a:cubicBezTo>
                      <a:pt x="43" y="31"/>
                      <a:pt x="43" y="31"/>
                      <a:pt x="43" y="31"/>
                    </a:cubicBezTo>
                    <a:cubicBezTo>
                      <a:pt x="46" y="29"/>
                      <a:pt x="46" y="29"/>
                      <a:pt x="46" y="29"/>
                    </a:cubicBezTo>
                    <a:cubicBezTo>
                      <a:pt x="48" y="26"/>
                      <a:pt x="48" y="26"/>
                      <a:pt x="48" y="26"/>
                    </a:cubicBezTo>
                    <a:cubicBezTo>
                      <a:pt x="52" y="25"/>
                      <a:pt x="52" y="25"/>
                      <a:pt x="52" y="25"/>
                    </a:cubicBezTo>
                    <a:cubicBezTo>
                      <a:pt x="53" y="23"/>
                      <a:pt x="53" y="23"/>
                      <a:pt x="53" y="23"/>
                    </a:cubicBezTo>
                    <a:cubicBezTo>
                      <a:pt x="55" y="19"/>
                      <a:pt x="55" y="19"/>
                      <a:pt x="55" y="19"/>
                    </a:cubicBezTo>
                    <a:cubicBezTo>
                      <a:pt x="58" y="17"/>
                      <a:pt x="58" y="17"/>
                      <a:pt x="58" y="17"/>
                    </a:cubicBezTo>
                    <a:cubicBezTo>
                      <a:pt x="64" y="17"/>
                      <a:pt x="64" y="17"/>
                      <a:pt x="64" y="17"/>
                    </a:cubicBezTo>
                    <a:cubicBezTo>
                      <a:pt x="71" y="15"/>
                      <a:pt x="71" y="15"/>
                      <a:pt x="71" y="15"/>
                    </a:cubicBezTo>
                    <a:cubicBezTo>
                      <a:pt x="76" y="17"/>
                      <a:pt x="76" y="17"/>
                      <a:pt x="76" y="17"/>
                    </a:cubicBezTo>
                    <a:cubicBezTo>
                      <a:pt x="82" y="13"/>
                      <a:pt x="82" y="13"/>
                      <a:pt x="82" y="13"/>
                    </a:cubicBezTo>
                    <a:cubicBezTo>
                      <a:pt x="85" y="12"/>
                      <a:pt x="85" y="12"/>
                      <a:pt x="85" y="12"/>
                    </a:cubicBezTo>
                    <a:cubicBezTo>
                      <a:pt x="90" y="10"/>
                      <a:pt x="90" y="10"/>
                      <a:pt x="90" y="10"/>
                    </a:cubicBezTo>
                    <a:cubicBezTo>
                      <a:pt x="96" y="14"/>
                      <a:pt x="96" y="14"/>
                      <a:pt x="96" y="14"/>
                    </a:cubicBezTo>
                    <a:cubicBezTo>
                      <a:pt x="95" y="8"/>
                      <a:pt x="95" y="8"/>
                      <a:pt x="95" y="8"/>
                    </a:cubicBezTo>
                    <a:cubicBezTo>
                      <a:pt x="96" y="4"/>
                      <a:pt x="96" y="4"/>
                      <a:pt x="96" y="4"/>
                    </a:cubicBezTo>
                    <a:cubicBezTo>
                      <a:pt x="100" y="2"/>
                      <a:pt x="100" y="2"/>
                      <a:pt x="100" y="2"/>
                    </a:cubicBezTo>
                    <a:cubicBezTo>
                      <a:pt x="101" y="2"/>
                      <a:pt x="101" y="2"/>
                      <a:pt x="101" y="2"/>
                    </a:cubicBezTo>
                    <a:cubicBezTo>
                      <a:pt x="101" y="2"/>
                      <a:pt x="101" y="2"/>
                      <a:pt x="101" y="2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8" y="4"/>
                      <a:pt x="108" y="4"/>
                      <a:pt x="108" y="4"/>
                    </a:cubicBezTo>
                    <a:cubicBezTo>
                      <a:pt x="108" y="4"/>
                      <a:pt x="108" y="4"/>
                      <a:pt x="108" y="4"/>
                    </a:cubicBezTo>
                    <a:cubicBezTo>
                      <a:pt x="108" y="4"/>
                      <a:pt x="108" y="4"/>
                      <a:pt x="108" y="5"/>
                    </a:cubicBezTo>
                    <a:cubicBezTo>
                      <a:pt x="108" y="5"/>
                      <a:pt x="108" y="5"/>
                      <a:pt x="108" y="5"/>
                    </a:cubicBezTo>
                    <a:cubicBezTo>
                      <a:pt x="108" y="6"/>
                      <a:pt x="108" y="6"/>
                      <a:pt x="108" y="6"/>
                    </a:cubicBezTo>
                    <a:cubicBezTo>
                      <a:pt x="109" y="7"/>
                      <a:pt x="109" y="7"/>
                      <a:pt x="109" y="7"/>
                    </a:cubicBezTo>
                    <a:cubicBezTo>
                      <a:pt x="110" y="8"/>
                      <a:pt x="110" y="8"/>
                      <a:pt x="110" y="8"/>
                    </a:cubicBezTo>
                    <a:cubicBezTo>
                      <a:pt x="110" y="8"/>
                      <a:pt x="110" y="8"/>
                      <a:pt x="110" y="8"/>
                    </a:cubicBezTo>
                    <a:cubicBezTo>
                      <a:pt x="111" y="10"/>
                      <a:pt x="111" y="10"/>
                      <a:pt x="111" y="10"/>
                    </a:cubicBezTo>
                    <a:cubicBezTo>
                      <a:pt x="111" y="12"/>
                      <a:pt x="111" y="12"/>
                      <a:pt x="111" y="12"/>
                    </a:cubicBezTo>
                    <a:cubicBezTo>
                      <a:pt x="117" y="19"/>
                      <a:pt x="117" y="19"/>
                      <a:pt x="117" y="19"/>
                    </a:cubicBezTo>
                    <a:cubicBezTo>
                      <a:pt x="117" y="19"/>
                      <a:pt x="115" y="19"/>
                      <a:pt x="115" y="19"/>
                    </a:cubicBezTo>
                    <a:cubicBezTo>
                      <a:pt x="114" y="19"/>
                      <a:pt x="112" y="19"/>
                      <a:pt x="112" y="19"/>
                    </a:cubicBezTo>
                    <a:cubicBezTo>
                      <a:pt x="112" y="19"/>
                      <a:pt x="111" y="20"/>
                      <a:pt x="110" y="20"/>
                    </a:cubicBezTo>
                    <a:cubicBezTo>
                      <a:pt x="110" y="20"/>
                      <a:pt x="109" y="22"/>
                      <a:pt x="109" y="22"/>
                    </a:cubicBezTo>
                    <a:cubicBezTo>
                      <a:pt x="108" y="23"/>
                      <a:pt x="108" y="23"/>
                      <a:pt x="108" y="23"/>
                    </a:cubicBezTo>
                    <a:cubicBezTo>
                      <a:pt x="109" y="24"/>
                      <a:pt x="109" y="24"/>
                      <a:pt x="109" y="24"/>
                    </a:cubicBezTo>
                    <a:cubicBezTo>
                      <a:pt x="111" y="28"/>
                      <a:pt x="112" y="28"/>
                      <a:pt x="107" y="27"/>
                    </a:cubicBezTo>
                    <a:cubicBezTo>
                      <a:pt x="105" y="26"/>
                      <a:pt x="105" y="26"/>
                      <a:pt x="105" y="26"/>
                    </a:cubicBezTo>
                    <a:cubicBezTo>
                      <a:pt x="104" y="27"/>
                      <a:pt x="104" y="27"/>
                      <a:pt x="104" y="27"/>
                    </a:cubicBezTo>
                    <a:cubicBezTo>
                      <a:pt x="102" y="28"/>
                      <a:pt x="102" y="28"/>
                      <a:pt x="102" y="28"/>
                    </a:cubicBezTo>
                    <a:cubicBezTo>
                      <a:pt x="102" y="28"/>
                      <a:pt x="102" y="28"/>
                      <a:pt x="102" y="28"/>
                    </a:cubicBezTo>
                    <a:cubicBezTo>
                      <a:pt x="102" y="28"/>
                      <a:pt x="102" y="30"/>
                      <a:pt x="102" y="30"/>
                    </a:cubicBezTo>
                    <a:cubicBezTo>
                      <a:pt x="101" y="32"/>
                      <a:pt x="101" y="32"/>
                      <a:pt x="101" y="32"/>
                    </a:cubicBezTo>
                    <a:cubicBezTo>
                      <a:pt x="99" y="33"/>
                      <a:pt x="99" y="33"/>
                      <a:pt x="99" y="33"/>
                    </a:cubicBezTo>
                    <a:cubicBezTo>
                      <a:pt x="97" y="34"/>
                      <a:pt x="97" y="34"/>
                      <a:pt x="97" y="34"/>
                    </a:cubicBezTo>
                    <a:cubicBezTo>
                      <a:pt x="96" y="35"/>
                      <a:pt x="96" y="35"/>
                      <a:pt x="96" y="35"/>
                    </a:cubicBezTo>
                    <a:cubicBezTo>
                      <a:pt x="94" y="35"/>
                      <a:pt x="94" y="35"/>
                      <a:pt x="94" y="35"/>
                    </a:cubicBezTo>
                    <a:cubicBezTo>
                      <a:pt x="92" y="36"/>
                      <a:pt x="92" y="36"/>
                      <a:pt x="92" y="36"/>
                    </a:cubicBezTo>
                    <a:cubicBezTo>
                      <a:pt x="91" y="38"/>
                      <a:pt x="91" y="38"/>
                      <a:pt x="91" y="38"/>
                    </a:cubicBezTo>
                    <a:cubicBezTo>
                      <a:pt x="91" y="38"/>
                      <a:pt x="89" y="38"/>
                      <a:pt x="89" y="38"/>
                    </a:cubicBezTo>
                    <a:cubicBezTo>
                      <a:pt x="89" y="38"/>
                      <a:pt x="86" y="39"/>
                      <a:pt x="86" y="39"/>
                    </a:cubicBezTo>
                    <a:cubicBezTo>
                      <a:pt x="86" y="41"/>
                      <a:pt x="86" y="41"/>
                      <a:pt x="86" y="41"/>
                    </a:cubicBezTo>
                    <a:cubicBezTo>
                      <a:pt x="86" y="41"/>
                      <a:pt x="85" y="42"/>
                      <a:pt x="85" y="42"/>
                    </a:cubicBezTo>
                    <a:cubicBezTo>
                      <a:pt x="85" y="42"/>
                      <a:pt x="85" y="45"/>
                      <a:pt x="85" y="45"/>
                    </a:cubicBezTo>
                    <a:cubicBezTo>
                      <a:pt x="85" y="45"/>
                      <a:pt x="87" y="46"/>
                      <a:pt x="87" y="46"/>
                    </a:cubicBezTo>
                    <a:cubicBezTo>
                      <a:pt x="88" y="47"/>
                      <a:pt x="88" y="47"/>
                      <a:pt x="88" y="47"/>
                    </a:cubicBezTo>
                    <a:cubicBezTo>
                      <a:pt x="89" y="48"/>
                      <a:pt x="89" y="48"/>
                      <a:pt x="89" y="48"/>
                    </a:cubicBezTo>
                    <a:cubicBezTo>
                      <a:pt x="89" y="48"/>
                      <a:pt x="90" y="49"/>
                      <a:pt x="90" y="49"/>
                    </a:cubicBezTo>
                    <a:cubicBezTo>
                      <a:pt x="89" y="49"/>
                      <a:pt x="89" y="52"/>
                      <a:pt x="89" y="52"/>
                    </a:cubicBezTo>
                    <a:cubicBezTo>
                      <a:pt x="90" y="55"/>
                      <a:pt x="90" y="55"/>
                      <a:pt x="90" y="55"/>
                    </a:cubicBezTo>
                    <a:cubicBezTo>
                      <a:pt x="89" y="56"/>
                      <a:pt x="89" y="56"/>
                      <a:pt x="89" y="56"/>
                    </a:cubicBezTo>
                    <a:cubicBezTo>
                      <a:pt x="90" y="58"/>
                      <a:pt x="90" y="58"/>
                      <a:pt x="90" y="58"/>
                    </a:cubicBezTo>
                    <a:cubicBezTo>
                      <a:pt x="90" y="58"/>
                      <a:pt x="91" y="58"/>
                      <a:pt x="90" y="59"/>
                    </a:cubicBezTo>
                    <a:cubicBezTo>
                      <a:pt x="89" y="59"/>
                      <a:pt x="88" y="60"/>
                      <a:pt x="88" y="60"/>
                    </a:cubicBezTo>
                    <a:cubicBezTo>
                      <a:pt x="88" y="60"/>
                      <a:pt x="86" y="60"/>
                      <a:pt x="86" y="60"/>
                    </a:cubicBezTo>
                    <a:cubicBezTo>
                      <a:pt x="86" y="60"/>
                      <a:pt x="84" y="60"/>
                      <a:pt x="84" y="60"/>
                    </a:cubicBezTo>
                    <a:cubicBezTo>
                      <a:pt x="83" y="62"/>
                      <a:pt x="83" y="62"/>
                      <a:pt x="83" y="62"/>
                    </a:cubicBezTo>
                    <a:cubicBezTo>
                      <a:pt x="81" y="61"/>
                      <a:pt x="81" y="61"/>
                      <a:pt x="81" y="61"/>
                    </a:cubicBezTo>
                    <a:cubicBezTo>
                      <a:pt x="81" y="63"/>
                      <a:pt x="81" y="63"/>
                      <a:pt x="81" y="63"/>
                    </a:cubicBezTo>
                    <a:cubicBezTo>
                      <a:pt x="78" y="64"/>
                      <a:pt x="78" y="64"/>
                      <a:pt x="78" y="64"/>
                    </a:cubicBezTo>
                    <a:cubicBezTo>
                      <a:pt x="76" y="65"/>
                      <a:pt x="76" y="65"/>
                      <a:pt x="76" y="65"/>
                    </a:cubicBezTo>
                    <a:cubicBezTo>
                      <a:pt x="75" y="67"/>
                      <a:pt x="75" y="67"/>
                      <a:pt x="75" y="67"/>
                    </a:cubicBezTo>
                    <a:cubicBezTo>
                      <a:pt x="76" y="68"/>
                      <a:pt x="76" y="68"/>
                      <a:pt x="76" y="68"/>
                    </a:cubicBezTo>
                    <a:cubicBezTo>
                      <a:pt x="76" y="68"/>
                      <a:pt x="77" y="69"/>
                      <a:pt x="77" y="68"/>
                    </a:cubicBezTo>
                    <a:cubicBezTo>
                      <a:pt x="77" y="68"/>
                      <a:pt x="77" y="67"/>
                      <a:pt x="77" y="67"/>
                    </a:cubicBezTo>
                    <a:cubicBezTo>
                      <a:pt x="78" y="68"/>
                      <a:pt x="79" y="69"/>
                      <a:pt x="79" y="69"/>
                    </a:cubicBezTo>
                    <a:cubicBezTo>
                      <a:pt x="80" y="71"/>
                      <a:pt x="80" y="71"/>
                      <a:pt x="80" y="71"/>
                    </a:cubicBezTo>
                    <a:cubicBezTo>
                      <a:pt x="80" y="71"/>
                      <a:pt x="78" y="71"/>
                      <a:pt x="78" y="71"/>
                    </a:cubicBezTo>
                    <a:cubicBezTo>
                      <a:pt x="78" y="71"/>
                      <a:pt x="77" y="72"/>
                      <a:pt x="77" y="72"/>
                    </a:cubicBezTo>
                    <a:cubicBezTo>
                      <a:pt x="76" y="73"/>
                      <a:pt x="76" y="73"/>
                      <a:pt x="76" y="73"/>
                    </a:cubicBezTo>
                    <a:cubicBezTo>
                      <a:pt x="76" y="74"/>
                      <a:pt x="76" y="74"/>
                      <a:pt x="76" y="75"/>
                    </a:cubicBezTo>
                    <a:cubicBezTo>
                      <a:pt x="76" y="75"/>
                      <a:pt x="76" y="76"/>
                      <a:pt x="76" y="76"/>
                    </a:cubicBezTo>
                    <a:cubicBezTo>
                      <a:pt x="77" y="76"/>
                      <a:pt x="78" y="78"/>
                      <a:pt x="78" y="78"/>
                    </a:cubicBezTo>
                    <a:cubicBezTo>
                      <a:pt x="78" y="78"/>
                      <a:pt x="79" y="79"/>
                      <a:pt x="79" y="79"/>
                    </a:cubicBezTo>
                    <a:cubicBezTo>
                      <a:pt x="79" y="79"/>
                      <a:pt x="79" y="80"/>
                      <a:pt x="79" y="80"/>
                    </a:cubicBezTo>
                    <a:cubicBezTo>
                      <a:pt x="79" y="80"/>
                      <a:pt x="78" y="81"/>
                      <a:pt x="77" y="81"/>
                    </a:cubicBezTo>
                    <a:cubicBezTo>
                      <a:pt x="77" y="81"/>
                      <a:pt x="75" y="81"/>
                      <a:pt x="75" y="81"/>
                    </a:cubicBezTo>
                    <a:cubicBezTo>
                      <a:pt x="75" y="81"/>
                      <a:pt x="74" y="83"/>
                      <a:pt x="74" y="83"/>
                    </a:cubicBezTo>
                    <a:cubicBezTo>
                      <a:pt x="74" y="83"/>
                      <a:pt x="73" y="83"/>
                      <a:pt x="72" y="83"/>
                    </a:cubicBezTo>
                    <a:cubicBezTo>
                      <a:pt x="72" y="83"/>
                      <a:pt x="74" y="84"/>
                      <a:pt x="72" y="83"/>
                    </a:cubicBezTo>
                    <a:cubicBezTo>
                      <a:pt x="69" y="82"/>
                      <a:pt x="69" y="81"/>
                      <a:pt x="69" y="81"/>
                    </a:cubicBezTo>
                    <a:cubicBezTo>
                      <a:pt x="69" y="81"/>
                      <a:pt x="68" y="80"/>
                      <a:pt x="68" y="80"/>
                    </a:cubicBezTo>
                    <a:cubicBezTo>
                      <a:pt x="67" y="80"/>
                      <a:pt x="66" y="80"/>
                      <a:pt x="66" y="80"/>
                    </a:cubicBezTo>
                    <a:cubicBezTo>
                      <a:pt x="64" y="80"/>
                      <a:pt x="64" y="80"/>
                      <a:pt x="64" y="80"/>
                    </a:cubicBezTo>
                    <a:cubicBezTo>
                      <a:pt x="63" y="79"/>
                      <a:pt x="63" y="79"/>
                      <a:pt x="63" y="79"/>
                    </a:cubicBezTo>
                    <a:cubicBezTo>
                      <a:pt x="62" y="81"/>
                      <a:pt x="62" y="81"/>
                      <a:pt x="62" y="81"/>
                    </a:cubicBezTo>
                    <a:cubicBezTo>
                      <a:pt x="62" y="81"/>
                      <a:pt x="62" y="82"/>
                      <a:pt x="61" y="82"/>
                    </a:cubicBezTo>
                    <a:cubicBezTo>
                      <a:pt x="60" y="83"/>
                      <a:pt x="61" y="83"/>
                      <a:pt x="60" y="83"/>
                    </a:cubicBezTo>
                    <a:cubicBezTo>
                      <a:pt x="58" y="83"/>
                      <a:pt x="57" y="81"/>
                      <a:pt x="57" y="81"/>
                    </a:cubicBezTo>
                    <a:cubicBezTo>
                      <a:pt x="57" y="81"/>
                      <a:pt x="55" y="80"/>
                      <a:pt x="55" y="80"/>
                    </a:cubicBezTo>
                    <a:cubicBezTo>
                      <a:pt x="54" y="79"/>
                      <a:pt x="54" y="79"/>
                      <a:pt x="54" y="79"/>
                    </a:cubicBezTo>
                    <a:cubicBezTo>
                      <a:pt x="53" y="79"/>
                      <a:pt x="53" y="80"/>
                      <a:pt x="53" y="78"/>
                    </a:cubicBezTo>
                    <a:cubicBezTo>
                      <a:pt x="53" y="77"/>
                      <a:pt x="53" y="77"/>
                      <a:pt x="53" y="77"/>
                    </a:cubicBezTo>
                    <a:cubicBezTo>
                      <a:pt x="52" y="76"/>
                      <a:pt x="52" y="77"/>
                      <a:pt x="51" y="76"/>
                    </a:cubicBezTo>
                    <a:cubicBezTo>
                      <a:pt x="51" y="75"/>
                      <a:pt x="50" y="74"/>
                      <a:pt x="50" y="74"/>
                    </a:cubicBezTo>
                    <a:cubicBezTo>
                      <a:pt x="49" y="72"/>
                      <a:pt x="49" y="72"/>
                      <a:pt x="49" y="72"/>
                    </a:cubicBezTo>
                    <a:cubicBezTo>
                      <a:pt x="49" y="72"/>
                      <a:pt x="49" y="72"/>
                      <a:pt x="49" y="73"/>
                    </a:cubicBezTo>
                    <a:cubicBezTo>
                      <a:pt x="48" y="74"/>
                      <a:pt x="47" y="74"/>
                      <a:pt x="47" y="74"/>
                    </a:cubicBezTo>
                    <a:cubicBezTo>
                      <a:pt x="47" y="75"/>
                      <a:pt x="46" y="76"/>
                      <a:pt x="46" y="76"/>
                    </a:cubicBezTo>
                    <a:cubicBezTo>
                      <a:pt x="46" y="76"/>
                      <a:pt x="45" y="77"/>
                      <a:pt x="45" y="78"/>
                    </a:cubicBezTo>
                    <a:cubicBezTo>
                      <a:pt x="46" y="78"/>
                      <a:pt x="46" y="78"/>
                      <a:pt x="46" y="79"/>
                    </a:cubicBezTo>
                    <a:cubicBezTo>
                      <a:pt x="46" y="79"/>
                      <a:pt x="45" y="80"/>
                      <a:pt x="45" y="80"/>
                    </a:cubicBezTo>
                    <a:cubicBezTo>
                      <a:pt x="44" y="81"/>
                      <a:pt x="44" y="81"/>
                      <a:pt x="43" y="81"/>
                    </a:cubicBezTo>
                    <a:cubicBezTo>
                      <a:pt x="43" y="82"/>
                      <a:pt x="41" y="83"/>
                      <a:pt x="41" y="83"/>
                    </a:cubicBezTo>
                    <a:cubicBezTo>
                      <a:pt x="39" y="83"/>
                      <a:pt x="39" y="83"/>
                      <a:pt x="39" y="83"/>
                    </a:cubicBezTo>
                    <a:cubicBezTo>
                      <a:pt x="36" y="82"/>
                      <a:pt x="36" y="82"/>
                      <a:pt x="36" y="82"/>
                    </a:cubicBezTo>
                    <a:cubicBezTo>
                      <a:pt x="34" y="84"/>
                      <a:pt x="34" y="84"/>
                      <a:pt x="34" y="84"/>
                    </a:cubicBezTo>
                    <a:cubicBezTo>
                      <a:pt x="34" y="84"/>
                      <a:pt x="33" y="84"/>
                      <a:pt x="33" y="84"/>
                    </a:cubicBezTo>
                    <a:cubicBezTo>
                      <a:pt x="32" y="84"/>
                      <a:pt x="31" y="84"/>
                      <a:pt x="31" y="84"/>
                    </a:cubicBezTo>
                    <a:cubicBezTo>
                      <a:pt x="31" y="84"/>
                      <a:pt x="30" y="83"/>
                      <a:pt x="29" y="83"/>
                    </a:cubicBezTo>
                    <a:cubicBezTo>
                      <a:pt x="29" y="83"/>
                      <a:pt x="28" y="83"/>
                      <a:pt x="28" y="83"/>
                    </a:cubicBezTo>
                    <a:cubicBezTo>
                      <a:pt x="27" y="83"/>
                      <a:pt x="26" y="83"/>
                      <a:pt x="26" y="83"/>
                    </a:cubicBezTo>
                    <a:cubicBezTo>
                      <a:pt x="26" y="84"/>
                      <a:pt x="26" y="84"/>
                      <a:pt x="26" y="84"/>
                    </a:cubicBezTo>
                    <a:cubicBezTo>
                      <a:pt x="26" y="84"/>
                      <a:pt x="27" y="84"/>
                      <a:pt x="27" y="84"/>
                    </a:cubicBezTo>
                    <a:cubicBezTo>
                      <a:pt x="27" y="85"/>
                      <a:pt x="27" y="86"/>
                      <a:pt x="27" y="86"/>
                    </a:cubicBezTo>
                    <a:cubicBezTo>
                      <a:pt x="27" y="86"/>
                      <a:pt x="26" y="86"/>
                      <a:pt x="26" y="86"/>
                    </a:cubicBezTo>
                    <a:cubicBezTo>
                      <a:pt x="26" y="87"/>
                      <a:pt x="24" y="87"/>
                      <a:pt x="24" y="87"/>
                    </a:cubicBezTo>
                    <a:cubicBezTo>
                      <a:pt x="24" y="87"/>
                      <a:pt x="24" y="88"/>
                      <a:pt x="24" y="88"/>
                    </a:cubicBezTo>
                    <a:cubicBezTo>
                      <a:pt x="24" y="88"/>
                      <a:pt x="24" y="88"/>
                      <a:pt x="23" y="88"/>
                    </a:cubicBezTo>
                    <a:cubicBezTo>
                      <a:pt x="22" y="88"/>
                      <a:pt x="22" y="88"/>
                      <a:pt x="21" y="88"/>
                    </a:cubicBezTo>
                    <a:cubicBezTo>
                      <a:pt x="21" y="87"/>
                      <a:pt x="20" y="87"/>
                      <a:pt x="19" y="87"/>
                    </a:cubicBezTo>
                    <a:cubicBezTo>
                      <a:pt x="19" y="87"/>
                      <a:pt x="16" y="86"/>
                      <a:pt x="16" y="86"/>
                    </a:cubicBezTo>
                    <a:cubicBezTo>
                      <a:pt x="16" y="86"/>
                      <a:pt x="15" y="87"/>
                      <a:pt x="15" y="87"/>
                    </a:cubicBezTo>
                    <a:cubicBezTo>
                      <a:pt x="14" y="87"/>
                      <a:pt x="13" y="87"/>
                      <a:pt x="12" y="86"/>
                    </a:cubicBezTo>
                    <a:cubicBezTo>
                      <a:pt x="12" y="86"/>
                      <a:pt x="11" y="86"/>
                      <a:pt x="11" y="86"/>
                    </a:cubicBezTo>
                    <a:cubicBezTo>
                      <a:pt x="11" y="85"/>
                      <a:pt x="11" y="84"/>
                      <a:pt x="11" y="84"/>
                    </a:cubicBezTo>
                    <a:cubicBezTo>
                      <a:pt x="11" y="84"/>
                      <a:pt x="10" y="83"/>
                      <a:pt x="11" y="83"/>
                    </a:cubicBezTo>
                    <a:cubicBezTo>
                      <a:pt x="11" y="83"/>
                      <a:pt x="12" y="83"/>
                      <a:pt x="13" y="83"/>
                    </a:cubicBezTo>
                    <a:cubicBezTo>
                      <a:pt x="14" y="83"/>
                      <a:pt x="15" y="83"/>
                      <a:pt x="15" y="82"/>
                    </a:cubicBezTo>
                    <a:cubicBezTo>
                      <a:pt x="15" y="82"/>
                      <a:pt x="15" y="82"/>
                      <a:pt x="16" y="82"/>
                    </a:cubicBezTo>
                    <a:cubicBezTo>
                      <a:pt x="16" y="82"/>
                      <a:pt x="17" y="83"/>
                      <a:pt x="17" y="82"/>
                    </a:cubicBezTo>
                    <a:cubicBezTo>
                      <a:pt x="17" y="81"/>
                      <a:pt x="17" y="81"/>
                      <a:pt x="17" y="81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6" y="80"/>
                      <a:pt x="17" y="79"/>
                      <a:pt x="17" y="79"/>
                    </a:cubicBezTo>
                    <a:cubicBezTo>
                      <a:pt x="18" y="79"/>
                      <a:pt x="19" y="79"/>
                      <a:pt x="19" y="79"/>
                    </a:cubicBezTo>
                    <a:cubicBezTo>
                      <a:pt x="20" y="79"/>
                      <a:pt x="21" y="79"/>
                      <a:pt x="21" y="79"/>
                    </a:cubicBezTo>
                    <a:cubicBezTo>
                      <a:pt x="21" y="79"/>
                      <a:pt x="21" y="79"/>
                      <a:pt x="22" y="78"/>
                    </a:cubicBezTo>
                    <a:cubicBezTo>
                      <a:pt x="22" y="78"/>
                      <a:pt x="18" y="78"/>
                      <a:pt x="17" y="77"/>
                    </a:cubicBezTo>
                    <a:cubicBezTo>
                      <a:pt x="15" y="75"/>
                      <a:pt x="13" y="74"/>
                      <a:pt x="13" y="70"/>
                    </a:cubicBezTo>
                    <a:cubicBezTo>
                      <a:pt x="12" y="70"/>
                      <a:pt x="12" y="68"/>
                      <a:pt x="11" y="68"/>
                    </a:cubicBezTo>
                    <a:cubicBezTo>
                      <a:pt x="11" y="68"/>
                      <a:pt x="9" y="67"/>
                      <a:pt x="9" y="67"/>
                    </a:cubicBezTo>
                    <a:cubicBezTo>
                      <a:pt x="9" y="66"/>
                      <a:pt x="9" y="66"/>
                      <a:pt x="10" y="65"/>
                    </a:cubicBezTo>
                    <a:cubicBezTo>
                      <a:pt x="10" y="64"/>
                      <a:pt x="10" y="64"/>
                      <a:pt x="11" y="63"/>
                    </a:cubicBezTo>
                    <a:cubicBezTo>
                      <a:pt x="11" y="63"/>
                      <a:pt x="11" y="61"/>
                      <a:pt x="11" y="61"/>
                    </a:cubicBezTo>
                    <a:cubicBezTo>
                      <a:pt x="11" y="61"/>
                      <a:pt x="12" y="60"/>
                      <a:pt x="11" y="60"/>
                    </a:cubicBezTo>
                    <a:cubicBezTo>
                      <a:pt x="11" y="59"/>
                      <a:pt x="10" y="58"/>
                      <a:pt x="10" y="58"/>
                    </a:cubicBezTo>
                    <a:cubicBezTo>
                      <a:pt x="10" y="58"/>
                      <a:pt x="10" y="58"/>
                      <a:pt x="9" y="58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7" y="60"/>
                      <a:pt x="7" y="60"/>
                      <a:pt x="7" y="60"/>
                    </a:cubicBezTo>
                    <a:cubicBezTo>
                      <a:pt x="7" y="60"/>
                      <a:pt x="6" y="58"/>
                      <a:pt x="6" y="58"/>
                    </a:cubicBezTo>
                    <a:cubicBezTo>
                      <a:pt x="5" y="58"/>
                      <a:pt x="5" y="58"/>
                      <a:pt x="5" y="57"/>
                    </a:cubicBezTo>
                    <a:cubicBezTo>
                      <a:pt x="5" y="57"/>
                      <a:pt x="6" y="56"/>
                      <a:pt x="6" y="56"/>
                    </a:cubicBezTo>
                    <a:cubicBezTo>
                      <a:pt x="6" y="56"/>
                      <a:pt x="5" y="55"/>
                      <a:pt x="5" y="55"/>
                    </a:cubicBezTo>
                    <a:cubicBezTo>
                      <a:pt x="5" y="55"/>
                      <a:pt x="6" y="53"/>
                      <a:pt x="7" y="53"/>
                    </a:cubicBezTo>
                    <a:cubicBezTo>
                      <a:pt x="8" y="52"/>
                      <a:pt x="10" y="50"/>
                      <a:pt x="10" y="50"/>
                    </a:cubicBezTo>
                    <a:cubicBezTo>
                      <a:pt x="11" y="48"/>
                      <a:pt x="11" y="48"/>
                      <a:pt x="11" y="48"/>
                    </a:cubicBezTo>
                    <a:cubicBezTo>
                      <a:pt x="10" y="47"/>
                      <a:pt x="10" y="47"/>
                      <a:pt x="10" y="47"/>
                    </a:cubicBezTo>
                    <a:cubicBezTo>
                      <a:pt x="10" y="47"/>
                      <a:pt x="9" y="48"/>
                      <a:pt x="9" y="48"/>
                    </a:cubicBez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47" name="Freeform 197">
                <a:extLst>
                  <a:ext uri="{FF2B5EF4-FFF2-40B4-BE49-F238E27FC236}">
                    <a16:creationId xmlns:a16="http://schemas.microsoft.com/office/drawing/2014/main" id="{78A53949-6B20-CA9A-5C1F-C626C18821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7423" y="3194789"/>
                <a:ext cx="508898" cy="458602"/>
              </a:xfrm>
              <a:custGeom>
                <a:avLst/>
                <a:gdLst>
                  <a:gd name="T0" fmla="*/ 216 w 227"/>
                  <a:gd name="T1" fmla="*/ 62 h 211"/>
                  <a:gd name="T2" fmla="*/ 209 w 227"/>
                  <a:gd name="T3" fmla="*/ 47 h 211"/>
                  <a:gd name="T4" fmla="*/ 183 w 227"/>
                  <a:gd name="T5" fmla="*/ 33 h 211"/>
                  <a:gd name="T6" fmla="*/ 141 w 227"/>
                  <a:gd name="T7" fmla="*/ 25 h 211"/>
                  <a:gd name="T8" fmla="*/ 102 w 227"/>
                  <a:gd name="T9" fmla="*/ 1 h 211"/>
                  <a:gd name="T10" fmla="*/ 84 w 227"/>
                  <a:gd name="T11" fmla="*/ 17 h 211"/>
                  <a:gd name="T12" fmla="*/ 82 w 227"/>
                  <a:gd name="T13" fmla="*/ 40 h 211"/>
                  <a:gd name="T14" fmla="*/ 70 w 227"/>
                  <a:gd name="T15" fmla="*/ 52 h 211"/>
                  <a:gd name="T16" fmla="*/ 58 w 227"/>
                  <a:gd name="T17" fmla="*/ 61 h 211"/>
                  <a:gd name="T18" fmla="*/ 39 w 227"/>
                  <a:gd name="T19" fmla="*/ 55 h 211"/>
                  <a:gd name="T20" fmla="*/ 18 w 227"/>
                  <a:gd name="T21" fmla="*/ 65 h 211"/>
                  <a:gd name="T22" fmla="*/ 3 w 227"/>
                  <a:gd name="T23" fmla="*/ 67 h 211"/>
                  <a:gd name="T24" fmla="*/ 3 w 227"/>
                  <a:gd name="T25" fmla="*/ 66 h 211"/>
                  <a:gd name="T26" fmla="*/ 3 w 227"/>
                  <a:gd name="T27" fmla="*/ 66 h 211"/>
                  <a:gd name="T28" fmla="*/ 4 w 227"/>
                  <a:gd name="T29" fmla="*/ 77 h 211"/>
                  <a:gd name="T30" fmla="*/ 17 w 227"/>
                  <a:gd name="T31" fmla="*/ 102 h 211"/>
                  <a:gd name="T32" fmla="*/ 30 w 227"/>
                  <a:gd name="T33" fmla="*/ 77 h 211"/>
                  <a:gd name="T34" fmla="*/ 51 w 227"/>
                  <a:gd name="T35" fmla="*/ 92 h 211"/>
                  <a:gd name="T36" fmla="*/ 64 w 227"/>
                  <a:gd name="T37" fmla="*/ 115 h 211"/>
                  <a:gd name="T38" fmla="*/ 53 w 227"/>
                  <a:gd name="T39" fmla="*/ 108 h 211"/>
                  <a:gd name="T40" fmla="*/ 65 w 227"/>
                  <a:gd name="T41" fmla="*/ 124 h 211"/>
                  <a:gd name="T42" fmla="*/ 73 w 227"/>
                  <a:gd name="T43" fmla="*/ 138 h 211"/>
                  <a:gd name="T44" fmla="*/ 72 w 227"/>
                  <a:gd name="T45" fmla="*/ 145 h 211"/>
                  <a:gd name="T46" fmla="*/ 58 w 227"/>
                  <a:gd name="T47" fmla="*/ 130 h 211"/>
                  <a:gd name="T48" fmla="*/ 61 w 227"/>
                  <a:gd name="T49" fmla="*/ 136 h 211"/>
                  <a:gd name="T50" fmla="*/ 76 w 227"/>
                  <a:gd name="T51" fmla="*/ 153 h 211"/>
                  <a:gd name="T52" fmla="*/ 74 w 227"/>
                  <a:gd name="T53" fmla="*/ 146 h 211"/>
                  <a:gd name="T54" fmla="*/ 89 w 227"/>
                  <a:gd name="T55" fmla="*/ 156 h 211"/>
                  <a:gd name="T56" fmla="*/ 99 w 227"/>
                  <a:gd name="T57" fmla="*/ 157 h 211"/>
                  <a:gd name="T58" fmla="*/ 126 w 227"/>
                  <a:gd name="T59" fmla="*/ 164 h 211"/>
                  <a:gd name="T60" fmla="*/ 160 w 227"/>
                  <a:gd name="T61" fmla="*/ 187 h 211"/>
                  <a:gd name="T62" fmla="*/ 140 w 227"/>
                  <a:gd name="T63" fmla="*/ 190 h 211"/>
                  <a:gd name="T64" fmla="*/ 184 w 227"/>
                  <a:gd name="T65" fmla="*/ 200 h 211"/>
                  <a:gd name="T66" fmla="*/ 171 w 227"/>
                  <a:gd name="T67" fmla="*/ 185 h 211"/>
                  <a:gd name="T68" fmla="*/ 153 w 227"/>
                  <a:gd name="T69" fmla="*/ 162 h 211"/>
                  <a:gd name="T70" fmla="*/ 118 w 227"/>
                  <a:gd name="T71" fmla="*/ 135 h 211"/>
                  <a:gd name="T72" fmla="*/ 100 w 227"/>
                  <a:gd name="T73" fmla="*/ 105 h 211"/>
                  <a:gd name="T74" fmla="*/ 88 w 227"/>
                  <a:gd name="T75" fmla="*/ 76 h 211"/>
                  <a:gd name="T76" fmla="*/ 121 w 227"/>
                  <a:gd name="T77" fmla="*/ 70 h 211"/>
                  <a:gd name="T78" fmla="*/ 160 w 227"/>
                  <a:gd name="T79" fmla="*/ 71 h 211"/>
                  <a:gd name="T80" fmla="*/ 189 w 227"/>
                  <a:gd name="T81" fmla="*/ 70 h 211"/>
                  <a:gd name="T82" fmla="*/ 179 w 227"/>
                  <a:gd name="T83" fmla="*/ 190 h 211"/>
                  <a:gd name="T84" fmla="*/ 192 w 227"/>
                  <a:gd name="T85" fmla="*/ 201 h 211"/>
                  <a:gd name="T86" fmla="*/ 159 w 227"/>
                  <a:gd name="T87" fmla="*/ 195 h 211"/>
                  <a:gd name="T88" fmla="*/ 144 w 227"/>
                  <a:gd name="T89" fmla="*/ 199 h 211"/>
                  <a:gd name="T90" fmla="*/ 115 w 227"/>
                  <a:gd name="T91" fmla="*/ 191 h 211"/>
                  <a:gd name="T92" fmla="*/ 136 w 227"/>
                  <a:gd name="T93" fmla="*/ 178 h 211"/>
                  <a:gd name="T94" fmla="*/ 144 w 227"/>
                  <a:gd name="T95" fmla="*/ 180 h 211"/>
                  <a:gd name="T96" fmla="*/ 123 w 227"/>
                  <a:gd name="T97" fmla="*/ 178 h 211"/>
                  <a:gd name="T98" fmla="*/ 129 w 227"/>
                  <a:gd name="T99" fmla="*/ 168 h 211"/>
                  <a:gd name="T100" fmla="*/ 51 w 227"/>
                  <a:gd name="T101" fmla="*/ 93 h 211"/>
                  <a:gd name="T102" fmla="*/ 50 w 227"/>
                  <a:gd name="T103" fmla="*/ 97 h 211"/>
                  <a:gd name="T104" fmla="*/ 60 w 227"/>
                  <a:gd name="T105" fmla="*/ 119 h 211"/>
                  <a:gd name="T106" fmla="*/ 53 w 227"/>
                  <a:gd name="T107" fmla="*/ 121 h 211"/>
                  <a:gd name="T108" fmla="*/ 35 w 227"/>
                  <a:gd name="T109" fmla="*/ 119 h 211"/>
                  <a:gd name="T110" fmla="*/ 36 w 227"/>
                  <a:gd name="T111" fmla="*/ 91 h 211"/>
                  <a:gd name="T112" fmla="*/ 40 w 227"/>
                  <a:gd name="T113" fmla="*/ 103 h 211"/>
                  <a:gd name="T114" fmla="*/ 45 w 227"/>
                  <a:gd name="T115" fmla="*/ 120 h 211"/>
                  <a:gd name="T116" fmla="*/ 37 w 227"/>
                  <a:gd name="T117" fmla="*/ 107 h 211"/>
                  <a:gd name="T118" fmla="*/ 34 w 227"/>
                  <a:gd name="T119" fmla="*/ 90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27" h="211">
                    <a:moveTo>
                      <a:pt x="215" y="82"/>
                    </a:moveTo>
                    <a:cubicBezTo>
                      <a:pt x="215" y="80"/>
                      <a:pt x="214" y="79"/>
                      <a:pt x="216" y="78"/>
                    </a:cubicBezTo>
                    <a:cubicBezTo>
                      <a:pt x="217" y="78"/>
                      <a:pt x="218" y="80"/>
                      <a:pt x="218" y="78"/>
                    </a:cubicBezTo>
                    <a:cubicBezTo>
                      <a:pt x="218" y="76"/>
                      <a:pt x="219" y="77"/>
                      <a:pt x="218" y="75"/>
                    </a:cubicBezTo>
                    <a:cubicBezTo>
                      <a:pt x="218" y="75"/>
                      <a:pt x="218" y="75"/>
                      <a:pt x="218" y="75"/>
                    </a:cubicBezTo>
                    <a:cubicBezTo>
                      <a:pt x="218" y="75"/>
                      <a:pt x="218" y="75"/>
                      <a:pt x="218" y="75"/>
                    </a:cubicBezTo>
                    <a:cubicBezTo>
                      <a:pt x="218" y="75"/>
                      <a:pt x="218" y="77"/>
                      <a:pt x="217" y="77"/>
                    </a:cubicBezTo>
                    <a:cubicBezTo>
                      <a:pt x="217" y="77"/>
                      <a:pt x="216" y="78"/>
                      <a:pt x="215" y="78"/>
                    </a:cubicBezTo>
                    <a:cubicBezTo>
                      <a:pt x="214" y="77"/>
                      <a:pt x="214" y="77"/>
                      <a:pt x="214" y="77"/>
                    </a:cubicBezTo>
                    <a:cubicBezTo>
                      <a:pt x="216" y="75"/>
                      <a:pt x="216" y="75"/>
                      <a:pt x="216" y="75"/>
                    </a:cubicBezTo>
                    <a:cubicBezTo>
                      <a:pt x="216" y="71"/>
                      <a:pt x="216" y="71"/>
                      <a:pt x="216" y="71"/>
                    </a:cubicBezTo>
                    <a:cubicBezTo>
                      <a:pt x="216" y="71"/>
                      <a:pt x="215" y="69"/>
                      <a:pt x="214" y="67"/>
                    </a:cubicBezTo>
                    <a:cubicBezTo>
                      <a:pt x="213" y="66"/>
                      <a:pt x="212" y="65"/>
                      <a:pt x="212" y="65"/>
                    </a:cubicBezTo>
                    <a:cubicBezTo>
                      <a:pt x="215" y="63"/>
                      <a:pt x="215" y="63"/>
                      <a:pt x="215" y="63"/>
                    </a:cubicBezTo>
                    <a:cubicBezTo>
                      <a:pt x="216" y="62"/>
                      <a:pt x="216" y="62"/>
                      <a:pt x="216" y="62"/>
                    </a:cubicBezTo>
                    <a:cubicBezTo>
                      <a:pt x="216" y="61"/>
                      <a:pt x="216" y="61"/>
                      <a:pt x="216" y="61"/>
                    </a:cubicBezTo>
                    <a:cubicBezTo>
                      <a:pt x="216" y="61"/>
                      <a:pt x="218" y="63"/>
                      <a:pt x="220" y="63"/>
                    </a:cubicBezTo>
                    <a:cubicBezTo>
                      <a:pt x="221" y="63"/>
                      <a:pt x="220" y="63"/>
                      <a:pt x="222" y="62"/>
                    </a:cubicBezTo>
                    <a:cubicBezTo>
                      <a:pt x="224" y="62"/>
                      <a:pt x="227" y="59"/>
                      <a:pt x="227" y="59"/>
                    </a:cubicBezTo>
                    <a:cubicBezTo>
                      <a:pt x="227" y="59"/>
                      <a:pt x="225" y="57"/>
                      <a:pt x="224" y="57"/>
                    </a:cubicBezTo>
                    <a:cubicBezTo>
                      <a:pt x="223" y="58"/>
                      <a:pt x="224" y="58"/>
                      <a:pt x="221" y="58"/>
                    </a:cubicBezTo>
                    <a:cubicBezTo>
                      <a:pt x="218" y="57"/>
                      <a:pt x="217" y="56"/>
                      <a:pt x="217" y="56"/>
                    </a:cubicBezTo>
                    <a:cubicBezTo>
                      <a:pt x="217" y="56"/>
                      <a:pt x="216" y="56"/>
                      <a:pt x="215" y="56"/>
                    </a:cubicBezTo>
                    <a:cubicBezTo>
                      <a:pt x="214" y="56"/>
                      <a:pt x="214" y="56"/>
                      <a:pt x="213" y="55"/>
                    </a:cubicBezTo>
                    <a:cubicBezTo>
                      <a:pt x="211" y="53"/>
                      <a:pt x="209" y="51"/>
                      <a:pt x="209" y="51"/>
                    </a:cubicBezTo>
                    <a:cubicBezTo>
                      <a:pt x="209" y="51"/>
                      <a:pt x="207" y="52"/>
                      <a:pt x="207" y="51"/>
                    </a:cubicBezTo>
                    <a:cubicBezTo>
                      <a:pt x="207" y="51"/>
                      <a:pt x="208" y="49"/>
                      <a:pt x="208" y="49"/>
                    </a:cubicBezTo>
                    <a:cubicBezTo>
                      <a:pt x="208" y="48"/>
                      <a:pt x="208" y="48"/>
                      <a:pt x="208" y="48"/>
                    </a:cubicBezTo>
                    <a:cubicBezTo>
                      <a:pt x="207" y="47"/>
                      <a:pt x="207" y="47"/>
                      <a:pt x="207" y="47"/>
                    </a:cubicBezTo>
                    <a:cubicBezTo>
                      <a:pt x="207" y="47"/>
                      <a:pt x="209" y="47"/>
                      <a:pt x="209" y="47"/>
                    </a:cubicBezTo>
                    <a:cubicBezTo>
                      <a:pt x="210" y="46"/>
                      <a:pt x="210" y="46"/>
                      <a:pt x="210" y="46"/>
                    </a:cubicBezTo>
                    <a:cubicBezTo>
                      <a:pt x="212" y="44"/>
                      <a:pt x="210" y="42"/>
                      <a:pt x="207" y="43"/>
                    </a:cubicBezTo>
                    <a:cubicBezTo>
                      <a:pt x="206" y="43"/>
                      <a:pt x="205" y="44"/>
                      <a:pt x="205" y="44"/>
                    </a:cubicBezTo>
                    <a:cubicBezTo>
                      <a:pt x="204" y="44"/>
                      <a:pt x="202" y="43"/>
                      <a:pt x="202" y="42"/>
                    </a:cubicBezTo>
                    <a:cubicBezTo>
                      <a:pt x="202" y="41"/>
                      <a:pt x="201" y="41"/>
                      <a:pt x="203" y="40"/>
                    </a:cubicBezTo>
                    <a:cubicBezTo>
                      <a:pt x="204" y="40"/>
                      <a:pt x="205" y="38"/>
                      <a:pt x="205" y="38"/>
                    </a:cubicBezTo>
                    <a:cubicBezTo>
                      <a:pt x="203" y="35"/>
                      <a:pt x="203" y="35"/>
                      <a:pt x="203" y="35"/>
                    </a:cubicBezTo>
                    <a:cubicBezTo>
                      <a:pt x="204" y="29"/>
                      <a:pt x="204" y="29"/>
                      <a:pt x="204" y="29"/>
                    </a:cubicBezTo>
                    <a:cubicBezTo>
                      <a:pt x="200" y="28"/>
                      <a:pt x="200" y="28"/>
                      <a:pt x="200" y="28"/>
                    </a:cubicBezTo>
                    <a:cubicBezTo>
                      <a:pt x="200" y="26"/>
                      <a:pt x="200" y="26"/>
                      <a:pt x="200" y="26"/>
                    </a:cubicBezTo>
                    <a:cubicBezTo>
                      <a:pt x="198" y="25"/>
                      <a:pt x="198" y="25"/>
                      <a:pt x="198" y="25"/>
                    </a:cubicBezTo>
                    <a:cubicBezTo>
                      <a:pt x="196" y="30"/>
                      <a:pt x="196" y="30"/>
                      <a:pt x="196" y="30"/>
                    </a:cubicBezTo>
                    <a:cubicBezTo>
                      <a:pt x="196" y="30"/>
                      <a:pt x="193" y="31"/>
                      <a:pt x="193" y="32"/>
                    </a:cubicBezTo>
                    <a:cubicBezTo>
                      <a:pt x="192" y="33"/>
                      <a:pt x="187" y="33"/>
                      <a:pt x="187" y="33"/>
                    </a:cubicBezTo>
                    <a:cubicBezTo>
                      <a:pt x="183" y="33"/>
                      <a:pt x="183" y="33"/>
                      <a:pt x="183" y="33"/>
                    </a:cubicBezTo>
                    <a:cubicBezTo>
                      <a:pt x="176" y="35"/>
                      <a:pt x="176" y="35"/>
                      <a:pt x="176" y="35"/>
                    </a:cubicBezTo>
                    <a:cubicBezTo>
                      <a:pt x="176" y="35"/>
                      <a:pt x="174" y="36"/>
                      <a:pt x="173" y="36"/>
                    </a:cubicBezTo>
                    <a:cubicBezTo>
                      <a:pt x="172" y="36"/>
                      <a:pt x="167" y="35"/>
                      <a:pt x="167" y="35"/>
                    </a:cubicBezTo>
                    <a:cubicBezTo>
                      <a:pt x="164" y="36"/>
                      <a:pt x="164" y="36"/>
                      <a:pt x="164" y="36"/>
                    </a:cubicBezTo>
                    <a:cubicBezTo>
                      <a:pt x="157" y="34"/>
                      <a:pt x="157" y="34"/>
                      <a:pt x="157" y="34"/>
                    </a:cubicBezTo>
                    <a:cubicBezTo>
                      <a:pt x="155" y="32"/>
                      <a:pt x="155" y="32"/>
                      <a:pt x="155" y="32"/>
                    </a:cubicBezTo>
                    <a:cubicBezTo>
                      <a:pt x="154" y="31"/>
                      <a:pt x="154" y="31"/>
                      <a:pt x="154" y="31"/>
                    </a:cubicBezTo>
                    <a:cubicBezTo>
                      <a:pt x="149" y="30"/>
                      <a:pt x="149" y="30"/>
                      <a:pt x="149" y="30"/>
                    </a:cubicBezTo>
                    <a:cubicBezTo>
                      <a:pt x="148" y="28"/>
                      <a:pt x="148" y="28"/>
                      <a:pt x="148" y="28"/>
                    </a:cubicBezTo>
                    <a:cubicBezTo>
                      <a:pt x="144" y="28"/>
                      <a:pt x="144" y="28"/>
                      <a:pt x="144" y="28"/>
                    </a:cubicBezTo>
                    <a:cubicBezTo>
                      <a:pt x="144" y="28"/>
                      <a:pt x="144" y="28"/>
                      <a:pt x="144" y="28"/>
                    </a:cubicBezTo>
                    <a:cubicBezTo>
                      <a:pt x="144" y="28"/>
                      <a:pt x="144" y="28"/>
                      <a:pt x="144" y="28"/>
                    </a:cubicBezTo>
                    <a:cubicBezTo>
                      <a:pt x="142" y="27"/>
                      <a:pt x="142" y="27"/>
                      <a:pt x="142" y="27"/>
                    </a:cubicBezTo>
                    <a:cubicBezTo>
                      <a:pt x="142" y="26"/>
                      <a:pt x="142" y="26"/>
                      <a:pt x="142" y="26"/>
                    </a:cubicBezTo>
                    <a:cubicBezTo>
                      <a:pt x="141" y="26"/>
                      <a:pt x="141" y="26"/>
                      <a:pt x="141" y="25"/>
                    </a:cubicBezTo>
                    <a:cubicBezTo>
                      <a:pt x="140" y="24"/>
                      <a:pt x="140" y="24"/>
                      <a:pt x="140" y="24"/>
                    </a:cubicBezTo>
                    <a:cubicBezTo>
                      <a:pt x="135" y="18"/>
                      <a:pt x="135" y="18"/>
                      <a:pt x="135" y="18"/>
                    </a:cubicBezTo>
                    <a:cubicBezTo>
                      <a:pt x="134" y="18"/>
                      <a:pt x="134" y="18"/>
                      <a:pt x="134" y="18"/>
                    </a:cubicBezTo>
                    <a:cubicBezTo>
                      <a:pt x="134" y="18"/>
                      <a:pt x="134" y="18"/>
                      <a:pt x="134" y="18"/>
                    </a:cubicBezTo>
                    <a:cubicBezTo>
                      <a:pt x="125" y="15"/>
                      <a:pt x="125" y="15"/>
                      <a:pt x="125" y="15"/>
                    </a:cubicBezTo>
                    <a:cubicBezTo>
                      <a:pt x="122" y="11"/>
                      <a:pt x="122" y="11"/>
                      <a:pt x="122" y="11"/>
                    </a:cubicBezTo>
                    <a:cubicBezTo>
                      <a:pt x="119" y="9"/>
                      <a:pt x="119" y="9"/>
                      <a:pt x="119" y="9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1" y="3"/>
                      <a:pt x="111" y="3"/>
                      <a:pt x="111" y="3"/>
                    </a:cubicBezTo>
                    <a:cubicBezTo>
                      <a:pt x="109" y="1"/>
                      <a:pt x="109" y="1"/>
                      <a:pt x="109" y="1"/>
                    </a:cubicBezTo>
                    <a:cubicBezTo>
                      <a:pt x="109" y="1"/>
                      <a:pt x="109" y="1"/>
                      <a:pt x="109" y="1"/>
                    </a:cubicBezTo>
                    <a:cubicBezTo>
                      <a:pt x="109" y="1"/>
                      <a:pt x="108" y="0"/>
                      <a:pt x="108" y="0"/>
                    </a:cubicBezTo>
                    <a:cubicBezTo>
                      <a:pt x="108" y="0"/>
                      <a:pt x="107" y="0"/>
                      <a:pt x="107" y="0"/>
                    </a:cubicBezTo>
                    <a:cubicBezTo>
                      <a:pt x="106" y="0"/>
                      <a:pt x="104" y="0"/>
                      <a:pt x="104" y="0"/>
                    </a:cubicBezTo>
                    <a:cubicBezTo>
                      <a:pt x="104" y="0"/>
                      <a:pt x="103" y="1"/>
                      <a:pt x="102" y="1"/>
                    </a:cubicBezTo>
                    <a:cubicBezTo>
                      <a:pt x="102" y="1"/>
                      <a:pt x="101" y="3"/>
                      <a:pt x="101" y="3"/>
                    </a:cubicBezTo>
                    <a:cubicBezTo>
                      <a:pt x="100" y="4"/>
                      <a:pt x="100" y="4"/>
                      <a:pt x="100" y="4"/>
                    </a:cubicBezTo>
                    <a:cubicBezTo>
                      <a:pt x="101" y="5"/>
                      <a:pt x="101" y="5"/>
                      <a:pt x="101" y="5"/>
                    </a:cubicBezTo>
                    <a:cubicBezTo>
                      <a:pt x="103" y="9"/>
                      <a:pt x="104" y="9"/>
                      <a:pt x="99" y="8"/>
                    </a:cubicBezTo>
                    <a:cubicBezTo>
                      <a:pt x="97" y="7"/>
                      <a:pt x="97" y="7"/>
                      <a:pt x="97" y="7"/>
                    </a:cubicBezTo>
                    <a:cubicBezTo>
                      <a:pt x="96" y="8"/>
                      <a:pt x="96" y="8"/>
                      <a:pt x="96" y="8"/>
                    </a:cubicBezTo>
                    <a:cubicBezTo>
                      <a:pt x="94" y="9"/>
                      <a:pt x="94" y="9"/>
                      <a:pt x="94" y="9"/>
                    </a:cubicBezTo>
                    <a:cubicBezTo>
                      <a:pt x="94" y="9"/>
                      <a:pt x="94" y="9"/>
                      <a:pt x="94" y="9"/>
                    </a:cubicBezTo>
                    <a:cubicBezTo>
                      <a:pt x="94" y="9"/>
                      <a:pt x="94" y="11"/>
                      <a:pt x="94" y="11"/>
                    </a:cubicBezTo>
                    <a:cubicBezTo>
                      <a:pt x="93" y="13"/>
                      <a:pt x="93" y="13"/>
                      <a:pt x="93" y="13"/>
                    </a:cubicBezTo>
                    <a:cubicBezTo>
                      <a:pt x="91" y="14"/>
                      <a:pt x="91" y="14"/>
                      <a:pt x="91" y="14"/>
                    </a:cubicBezTo>
                    <a:cubicBezTo>
                      <a:pt x="89" y="15"/>
                      <a:pt x="89" y="15"/>
                      <a:pt x="89" y="15"/>
                    </a:cubicBezTo>
                    <a:cubicBezTo>
                      <a:pt x="88" y="16"/>
                      <a:pt x="88" y="16"/>
                      <a:pt x="88" y="16"/>
                    </a:cubicBezTo>
                    <a:cubicBezTo>
                      <a:pt x="86" y="16"/>
                      <a:pt x="86" y="16"/>
                      <a:pt x="86" y="16"/>
                    </a:cubicBezTo>
                    <a:cubicBezTo>
                      <a:pt x="84" y="17"/>
                      <a:pt x="84" y="17"/>
                      <a:pt x="84" y="17"/>
                    </a:cubicBezTo>
                    <a:cubicBezTo>
                      <a:pt x="83" y="19"/>
                      <a:pt x="83" y="19"/>
                      <a:pt x="83" y="19"/>
                    </a:cubicBezTo>
                    <a:cubicBezTo>
                      <a:pt x="83" y="19"/>
                      <a:pt x="81" y="19"/>
                      <a:pt x="81" y="19"/>
                    </a:cubicBezTo>
                    <a:cubicBezTo>
                      <a:pt x="81" y="19"/>
                      <a:pt x="78" y="20"/>
                      <a:pt x="78" y="20"/>
                    </a:cubicBezTo>
                    <a:cubicBezTo>
                      <a:pt x="78" y="22"/>
                      <a:pt x="78" y="22"/>
                      <a:pt x="78" y="22"/>
                    </a:cubicBezTo>
                    <a:cubicBezTo>
                      <a:pt x="78" y="22"/>
                      <a:pt x="77" y="23"/>
                      <a:pt x="77" y="23"/>
                    </a:cubicBezTo>
                    <a:cubicBezTo>
                      <a:pt x="77" y="23"/>
                      <a:pt x="77" y="26"/>
                      <a:pt x="77" y="26"/>
                    </a:cubicBezTo>
                    <a:cubicBezTo>
                      <a:pt x="77" y="26"/>
                      <a:pt x="79" y="27"/>
                      <a:pt x="79" y="27"/>
                    </a:cubicBezTo>
                    <a:cubicBezTo>
                      <a:pt x="80" y="28"/>
                      <a:pt x="80" y="28"/>
                      <a:pt x="80" y="28"/>
                    </a:cubicBezTo>
                    <a:cubicBezTo>
                      <a:pt x="81" y="29"/>
                      <a:pt x="81" y="29"/>
                      <a:pt x="81" y="29"/>
                    </a:cubicBezTo>
                    <a:cubicBezTo>
                      <a:pt x="81" y="29"/>
                      <a:pt x="82" y="30"/>
                      <a:pt x="82" y="30"/>
                    </a:cubicBezTo>
                    <a:cubicBezTo>
                      <a:pt x="81" y="30"/>
                      <a:pt x="81" y="33"/>
                      <a:pt x="81" y="33"/>
                    </a:cubicBezTo>
                    <a:cubicBezTo>
                      <a:pt x="82" y="36"/>
                      <a:pt x="82" y="36"/>
                      <a:pt x="82" y="36"/>
                    </a:cubicBezTo>
                    <a:cubicBezTo>
                      <a:pt x="81" y="37"/>
                      <a:pt x="81" y="37"/>
                      <a:pt x="81" y="37"/>
                    </a:cubicBezTo>
                    <a:cubicBezTo>
                      <a:pt x="82" y="39"/>
                      <a:pt x="82" y="39"/>
                      <a:pt x="82" y="39"/>
                    </a:cubicBezTo>
                    <a:cubicBezTo>
                      <a:pt x="82" y="39"/>
                      <a:pt x="83" y="39"/>
                      <a:pt x="82" y="40"/>
                    </a:cubicBezTo>
                    <a:cubicBezTo>
                      <a:pt x="81" y="40"/>
                      <a:pt x="80" y="41"/>
                      <a:pt x="80" y="41"/>
                    </a:cubicBezTo>
                    <a:cubicBezTo>
                      <a:pt x="80" y="41"/>
                      <a:pt x="78" y="41"/>
                      <a:pt x="78" y="41"/>
                    </a:cubicBezTo>
                    <a:cubicBezTo>
                      <a:pt x="78" y="41"/>
                      <a:pt x="76" y="41"/>
                      <a:pt x="76" y="41"/>
                    </a:cubicBezTo>
                    <a:cubicBezTo>
                      <a:pt x="75" y="43"/>
                      <a:pt x="75" y="43"/>
                      <a:pt x="75" y="43"/>
                    </a:cubicBezTo>
                    <a:cubicBezTo>
                      <a:pt x="73" y="42"/>
                      <a:pt x="73" y="42"/>
                      <a:pt x="73" y="42"/>
                    </a:cubicBezTo>
                    <a:cubicBezTo>
                      <a:pt x="73" y="44"/>
                      <a:pt x="73" y="44"/>
                      <a:pt x="73" y="44"/>
                    </a:cubicBezTo>
                    <a:cubicBezTo>
                      <a:pt x="70" y="45"/>
                      <a:pt x="70" y="45"/>
                      <a:pt x="70" y="45"/>
                    </a:cubicBezTo>
                    <a:cubicBezTo>
                      <a:pt x="68" y="46"/>
                      <a:pt x="68" y="46"/>
                      <a:pt x="68" y="46"/>
                    </a:cubicBezTo>
                    <a:cubicBezTo>
                      <a:pt x="67" y="48"/>
                      <a:pt x="67" y="48"/>
                      <a:pt x="67" y="48"/>
                    </a:cubicBezTo>
                    <a:cubicBezTo>
                      <a:pt x="68" y="49"/>
                      <a:pt x="68" y="49"/>
                      <a:pt x="68" y="49"/>
                    </a:cubicBezTo>
                    <a:cubicBezTo>
                      <a:pt x="68" y="49"/>
                      <a:pt x="69" y="50"/>
                      <a:pt x="69" y="49"/>
                    </a:cubicBezTo>
                    <a:cubicBezTo>
                      <a:pt x="69" y="49"/>
                      <a:pt x="69" y="48"/>
                      <a:pt x="69" y="48"/>
                    </a:cubicBezTo>
                    <a:cubicBezTo>
                      <a:pt x="70" y="49"/>
                      <a:pt x="71" y="50"/>
                      <a:pt x="71" y="50"/>
                    </a:cubicBezTo>
                    <a:cubicBezTo>
                      <a:pt x="72" y="52"/>
                      <a:pt x="72" y="52"/>
                      <a:pt x="72" y="52"/>
                    </a:cubicBezTo>
                    <a:cubicBezTo>
                      <a:pt x="72" y="52"/>
                      <a:pt x="70" y="52"/>
                      <a:pt x="70" y="52"/>
                    </a:cubicBezTo>
                    <a:cubicBezTo>
                      <a:pt x="70" y="52"/>
                      <a:pt x="69" y="53"/>
                      <a:pt x="69" y="53"/>
                    </a:cubicBezTo>
                    <a:cubicBezTo>
                      <a:pt x="68" y="54"/>
                      <a:pt x="68" y="54"/>
                      <a:pt x="68" y="54"/>
                    </a:cubicBezTo>
                    <a:cubicBezTo>
                      <a:pt x="68" y="55"/>
                      <a:pt x="68" y="55"/>
                      <a:pt x="68" y="56"/>
                    </a:cubicBezTo>
                    <a:cubicBezTo>
                      <a:pt x="68" y="56"/>
                      <a:pt x="68" y="57"/>
                      <a:pt x="68" y="57"/>
                    </a:cubicBezTo>
                    <a:cubicBezTo>
                      <a:pt x="69" y="57"/>
                      <a:pt x="70" y="59"/>
                      <a:pt x="70" y="59"/>
                    </a:cubicBezTo>
                    <a:cubicBezTo>
                      <a:pt x="70" y="59"/>
                      <a:pt x="71" y="60"/>
                      <a:pt x="71" y="60"/>
                    </a:cubicBezTo>
                    <a:cubicBezTo>
                      <a:pt x="71" y="60"/>
                      <a:pt x="71" y="61"/>
                      <a:pt x="71" y="61"/>
                    </a:cubicBezTo>
                    <a:cubicBezTo>
                      <a:pt x="71" y="61"/>
                      <a:pt x="70" y="62"/>
                      <a:pt x="69" y="62"/>
                    </a:cubicBezTo>
                    <a:cubicBezTo>
                      <a:pt x="69" y="62"/>
                      <a:pt x="67" y="62"/>
                      <a:pt x="67" y="62"/>
                    </a:cubicBezTo>
                    <a:cubicBezTo>
                      <a:pt x="67" y="62"/>
                      <a:pt x="66" y="64"/>
                      <a:pt x="66" y="64"/>
                    </a:cubicBezTo>
                    <a:cubicBezTo>
                      <a:pt x="66" y="64"/>
                      <a:pt x="65" y="64"/>
                      <a:pt x="64" y="64"/>
                    </a:cubicBezTo>
                    <a:cubicBezTo>
                      <a:pt x="64" y="64"/>
                      <a:pt x="66" y="65"/>
                      <a:pt x="64" y="64"/>
                    </a:cubicBezTo>
                    <a:cubicBezTo>
                      <a:pt x="61" y="63"/>
                      <a:pt x="61" y="62"/>
                      <a:pt x="61" y="62"/>
                    </a:cubicBezTo>
                    <a:cubicBezTo>
                      <a:pt x="61" y="62"/>
                      <a:pt x="60" y="61"/>
                      <a:pt x="60" y="61"/>
                    </a:cubicBezTo>
                    <a:cubicBezTo>
                      <a:pt x="59" y="61"/>
                      <a:pt x="58" y="61"/>
                      <a:pt x="58" y="61"/>
                    </a:cubicBezTo>
                    <a:cubicBezTo>
                      <a:pt x="56" y="61"/>
                      <a:pt x="56" y="61"/>
                      <a:pt x="56" y="61"/>
                    </a:cubicBezTo>
                    <a:cubicBezTo>
                      <a:pt x="55" y="60"/>
                      <a:pt x="55" y="60"/>
                      <a:pt x="55" y="60"/>
                    </a:cubicBezTo>
                    <a:cubicBezTo>
                      <a:pt x="54" y="62"/>
                      <a:pt x="54" y="62"/>
                      <a:pt x="54" y="62"/>
                    </a:cubicBezTo>
                    <a:cubicBezTo>
                      <a:pt x="54" y="62"/>
                      <a:pt x="54" y="63"/>
                      <a:pt x="53" y="63"/>
                    </a:cubicBezTo>
                    <a:cubicBezTo>
                      <a:pt x="52" y="64"/>
                      <a:pt x="53" y="64"/>
                      <a:pt x="52" y="64"/>
                    </a:cubicBezTo>
                    <a:cubicBezTo>
                      <a:pt x="50" y="64"/>
                      <a:pt x="49" y="62"/>
                      <a:pt x="49" y="62"/>
                    </a:cubicBezTo>
                    <a:cubicBezTo>
                      <a:pt x="49" y="62"/>
                      <a:pt x="47" y="61"/>
                      <a:pt x="47" y="61"/>
                    </a:cubicBezTo>
                    <a:cubicBezTo>
                      <a:pt x="46" y="60"/>
                      <a:pt x="46" y="60"/>
                      <a:pt x="46" y="60"/>
                    </a:cubicBezTo>
                    <a:cubicBezTo>
                      <a:pt x="45" y="60"/>
                      <a:pt x="45" y="61"/>
                      <a:pt x="45" y="59"/>
                    </a:cubicBezTo>
                    <a:cubicBezTo>
                      <a:pt x="45" y="58"/>
                      <a:pt x="45" y="58"/>
                      <a:pt x="45" y="58"/>
                    </a:cubicBezTo>
                    <a:cubicBezTo>
                      <a:pt x="44" y="57"/>
                      <a:pt x="44" y="58"/>
                      <a:pt x="43" y="57"/>
                    </a:cubicBezTo>
                    <a:cubicBezTo>
                      <a:pt x="43" y="56"/>
                      <a:pt x="42" y="55"/>
                      <a:pt x="42" y="55"/>
                    </a:cubicBezTo>
                    <a:cubicBezTo>
                      <a:pt x="41" y="53"/>
                      <a:pt x="41" y="53"/>
                      <a:pt x="41" y="53"/>
                    </a:cubicBezTo>
                    <a:cubicBezTo>
                      <a:pt x="41" y="53"/>
                      <a:pt x="41" y="53"/>
                      <a:pt x="41" y="54"/>
                    </a:cubicBezTo>
                    <a:cubicBezTo>
                      <a:pt x="40" y="55"/>
                      <a:pt x="39" y="55"/>
                      <a:pt x="39" y="55"/>
                    </a:cubicBezTo>
                    <a:cubicBezTo>
                      <a:pt x="39" y="56"/>
                      <a:pt x="38" y="57"/>
                      <a:pt x="38" y="57"/>
                    </a:cubicBezTo>
                    <a:cubicBezTo>
                      <a:pt x="38" y="57"/>
                      <a:pt x="37" y="58"/>
                      <a:pt x="37" y="59"/>
                    </a:cubicBezTo>
                    <a:cubicBezTo>
                      <a:pt x="38" y="59"/>
                      <a:pt x="38" y="59"/>
                      <a:pt x="38" y="60"/>
                    </a:cubicBezTo>
                    <a:cubicBezTo>
                      <a:pt x="38" y="60"/>
                      <a:pt x="37" y="61"/>
                      <a:pt x="37" y="61"/>
                    </a:cubicBezTo>
                    <a:cubicBezTo>
                      <a:pt x="36" y="62"/>
                      <a:pt x="36" y="62"/>
                      <a:pt x="35" y="62"/>
                    </a:cubicBezTo>
                    <a:cubicBezTo>
                      <a:pt x="35" y="63"/>
                      <a:pt x="33" y="64"/>
                      <a:pt x="33" y="64"/>
                    </a:cubicBezTo>
                    <a:cubicBezTo>
                      <a:pt x="31" y="64"/>
                      <a:pt x="31" y="64"/>
                      <a:pt x="31" y="64"/>
                    </a:cubicBezTo>
                    <a:cubicBezTo>
                      <a:pt x="28" y="63"/>
                      <a:pt x="28" y="63"/>
                      <a:pt x="28" y="63"/>
                    </a:cubicBezTo>
                    <a:cubicBezTo>
                      <a:pt x="26" y="65"/>
                      <a:pt x="26" y="65"/>
                      <a:pt x="26" y="65"/>
                    </a:cubicBezTo>
                    <a:cubicBezTo>
                      <a:pt x="26" y="65"/>
                      <a:pt x="25" y="65"/>
                      <a:pt x="25" y="65"/>
                    </a:cubicBezTo>
                    <a:cubicBezTo>
                      <a:pt x="24" y="65"/>
                      <a:pt x="23" y="65"/>
                      <a:pt x="23" y="65"/>
                    </a:cubicBezTo>
                    <a:cubicBezTo>
                      <a:pt x="23" y="65"/>
                      <a:pt x="22" y="64"/>
                      <a:pt x="21" y="64"/>
                    </a:cubicBezTo>
                    <a:cubicBezTo>
                      <a:pt x="21" y="64"/>
                      <a:pt x="20" y="64"/>
                      <a:pt x="20" y="64"/>
                    </a:cubicBezTo>
                    <a:cubicBezTo>
                      <a:pt x="19" y="64"/>
                      <a:pt x="18" y="64"/>
                      <a:pt x="18" y="64"/>
                    </a:cubicBezTo>
                    <a:cubicBezTo>
                      <a:pt x="18" y="65"/>
                      <a:pt x="18" y="65"/>
                      <a:pt x="18" y="65"/>
                    </a:cubicBezTo>
                    <a:cubicBezTo>
                      <a:pt x="18" y="65"/>
                      <a:pt x="19" y="65"/>
                      <a:pt x="19" y="65"/>
                    </a:cubicBezTo>
                    <a:cubicBezTo>
                      <a:pt x="19" y="66"/>
                      <a:pt x="19" y="67"/>
                      <a:pt x="19" y="67"/>
                    </a:cubicBezTo>
                    <a:cubicBezTo>
                      <a:pt x="19" y="67"/>
                      <a:pt x="18" y="67"/>
                      <a:pt x="18" y="67"/>
                    </a:cubicBezTo>
                    <a:cubicBezTo>
                      <a:pt x="18" y="68"/>
                      <a:pt x="16" y="68"/>
                      <a:pt x="16" y="68"/>
                    </a:cubicBezTo>
                    <a:cubicBezTo>
                      <a:pt x="16" y="68"/>
                      <a:pt x="16" y="69"/>
                      <a:pt x="16" y="69"/>
                    </a:cubicBezTo>
                    <a:cubicBezTo>
                      <a:pt x="16" y="69"/>
                      <a:pt x="16" y="69"/>
                      <a:pt x="15" y="69"/>
                    </a:cubicBezTo>
                    <a:cubicBezTo>
                      <a:pt x="14" y="69"/>
                      <a:pt x="14" y="69"/>
                      <a:pt x="13" y="69"/>
                    </a:cubicBezTo>
                    <a:cubicBezTo>
                      <a:pt x="13" y="68"/>
                      <a:pt x="12" y="68"/>
                      <a:pt x="11" y="68"/>
                    </a:cubicBezTo>
                    <a:cubicBezTo>
                      <a:pt x="11" y="68"/>
                      <a:pt x="8" y="67"/>
                      <a:pt x="8" y="67"/>
                    </a:cubicBezTo>
                    <a:cubicBezTo>
                      <a:pt x="8" y="67"/>
                      <a:pt x="7" y="68"/>
                      <a:pt x="7" y="68"/>
                    </a:cubicBezTo>
                    <a:cubicBezTo>
                      <a:pt x="6" y="68"/>
                      <a:pt x="5" y="68"/>
                      <a:pt x="4" y="67"/>
                    </a:cubicBezTo>
                    <a:cubicBezTo>
                      <a:pt x="4" y="67"/>
                      <a:pt x="3" y="67"/>
                      <a:pt x="3" y="67"/>
                    </a:cubicBezTo>
                    <a:cubicBezTo>
                      <a:pt x="3" y="67"/>
                      <a:pt x="3" y="67"/>
                      <a:pt x="3" y="67"/>
                    </a:cubicBezTo>
                    <a:cubicBezTo>
                      <a:pt x="3" y="67"/>
                      <a:pt x="3" y="67"/>
                      <a:pt x="3" y="67"/>
                    </a:cubicBezTo>
                    <a:cubicBezTo>
                      <a:pt x="3" y="67"/>
                      <a:pt x="3" y="67"/>
                      <a:pt x="3" y="67"/>
                    </a:cubicBezTo>
                    <a:cubicBezTo>
                      <a:pt x="3" y="67"/>
                      <a:pt x="3" y="67"/>
                      <a:pt x="3" y="67"/>
                    </a:cubicBezTo>
                    <a:cubicBezTo>
                      <a:pt x="3" y="67"/>
                      <a:pt x="3" y="67"/>
                      <a:pt x="3" y="67"/>
                    </a:cubicBezTo>
                    <a:cubicBezTo>
                      <a:pt x="3" y="67"/>
                      <a:pt x="3" y="67"/>
                      <a:pt x="3" y="67"/>
                    </a:cubicBezTo>
                    <a:cubicBezTo>
                      <a:pt x="3" y="67"/>
                      <a:pt x="3" y="67"/>
                      <a:pt x="3" y="67"/>
                    </a:cubicBezTo>
                    <a:cubicBezTo>
                      <a:pt x="3" y="67"/>
                      <a:pt x="3" y="67"/>
                      <a:pt x="3" y="67"/>
                    </a:cubicBezTo>
                    <a:cubicBezTo>
                      <a:pt x="3" y="67"/>
                      <a:pt x="3" y="67"/>
                      <a:pt x="3" y="67"/>
                    </a:cubicBezTo>
                    <a:cubicBezTo>
                      <a:pt x="3" y="67"/>
                      <a:pt x="3" y="67"/>
                      <a:pt x="3" y="67"/>
                    </a:cubicBezTo>
                    <a:cubicBezTo>
                      <a:pt x="3" y="67"/>
                      <a:pt x="3" y="67"/>
                      <a:pt x="3" y="67"/>
                    </a:cubicBezTo>
                    <a:cubicBezTo>
                      <a:pt x="3" y="67"/>
                      <a:pt x="3" y="67"/>
                      <a:pt x="3" y="67"/>
                    </a:cubicBezTo>
                    <a:cubicBezTo>
                      <a:pt x="3" y="67"/>
                      <a:pt x="3" y="67"/>
                      <a:pt x="3" y="67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2" y="71"/>
                      <a:pt x="2" y="71"/>
                      <a:pt x="2" y="71"/>
                    </a:cubicBezTo>
                    <a:cubicBezTo>
                      <a:pt x="1" y="72"/>
                      <a:pt x="1" y="72"/>
                      <a:pt x="1" y="72"/>
                    </a:cubicBezTo>
                    <a:cubicBezTo>
                      <a:pt x="1" y="72"/>
                      <a:pt x="2" y="73"/>
                      <a:pt x="2" y="73"/>
                    </a:cubicBezTo>
                    <a:cubicBezTo>
                      <a:pt x="2" y="74"/>
                      <a:pt x="3" y="74"/>
                      <a:pt x="3" y="75"/>
                    </a:cubicBezTo>
                    <a:cubicBezTo>
                      <a:pt x="3" y="76"/>
                      <a:pt x="3" y="77"/>
                      <a:pt x="3" y="77"/>
                    </a:cubicBezTo>
                    <a:cubicBezTo>
                      <a:pt x="4" y="77"/>
                      <a:pt x="4" y="77"/>
                      <a:pt x="4" y="77"/>
                    </a:cubicBezTo>
                    <a:cubicBezTo>
                      <a:pt x="5" y="79"/>
                      <a:pt x="5" y="79"/>
                      <a:pt x="5" y="79"/>
                    </a:cubicBezTo>
                    <a:cubicBezTo>
                      <a:pt x="5" y="80"/>
                      <a:pt x="5" y="80"/>
                      <a:pt x="5" y="80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5" y="82"/>
                      <a:pt x="6" y="83"/>
                      <a:pt x="6" y="84"/>
                    </a:cubicBezTo>
                    <a:cubicBezTo>
                      <a:pt x="6" y="84"/>
                      <a:pt x="6" y="85"/>
                      <a:pt x="6" y="86"/>
                    </a:cubicBezTo>
                    <a:cubicBezTo>
                      <a:pt x="6" y="86"/>
                      <a:pt x="8" y="88"/>
                      <a:pt x="8" y="88"/>
                    </a:cubicBezTo>
                    <a:cubicBezTo>
                      <a:pt x="8" y="90"/>
                      <a:pt x="8" y="90"/>
                      <a:pt x="8" y="90"/>
                    </a:cubicBezTo>
                    <a:cubicBezTo>
                      <a:pt x="8" y="90"/>
                      <a:pt x="9" y="91"/>
                      <a:pt x="10" y="92"/>
                    </a:cubicBezTo>
                    <a:cubicBezTo>
                      <a:pt x="10" y="92"/>
                      <a:pt x="11" y="93"/>
                      <a:pt x="11" y="93"/>
                    </a:cubicBezTo>
                    <a:cubicBezTo>
                      <a:pt x="12" y="95"/>
                      <a:pt x="12" y="95"/>
                      <a:pt x="12" y="95"/>
                    </a:cubicBezTo>
                    <a:cubicBezTo>
                      <a:pt x="13" y="97"/>
                      <a:pt x="13" y="97"/>
                      <a:pt x="13" y="97"/>
                    </a:cubicBezTo>
                    <a:cubicBezTo>
                      <a:pt x="14" y="98"/>
                      <a:pt x="14" y="98"/>
                      <a:pt x="14" y="98"/>
                    </a:cubicBezTo>
                    <a:cubicBezTo>
                      <a:pt x="15" y="100"/>
                      <a:pt x="15" y="100"/>
                      <a:pt x="15" y="100"/>
                    </a:cubicBezTo>
                    <a:cubicBezTo>
                      <a:pt x="16" y="101"/>
                      <a:pt x="16" y="101"/>
                      <a:pt x="16" y="101"/>
                    </a:cubicBezTo>
                    <a:cubicBezTo>
                      <a:pt x="17" y="102"/>
                      <a:pt x="17" y="102"/>
                      <a:pt x="17" y="102"/>
                    </a:cubicBezTo>
                    <a:cubicBezTo>
                      <a:pt x="17" y="102"/>
                      <a:pt x="17" y="103"/>
                      <a:pt x="18" y="103"/>
                    </a:cubicBezTo>
                    <a:cubicBezTo>
                      <a:pt x="19" y="103"/>
                      <a:pt x="20" y="103"/>
                      <a:pt x="20" y="103"/>
                    </a:cubicBezTo>
                    <a:cubicBezTo>
                      <a:pt x="21" y="103"/>
                      <a:pt x="21" y="104"/>
                      <a:pt x="22" y="101"/>
                    </a:cubicBezTo>
                    <a:cubicBezTo>
                      <a:pt x="22" y="99"/>
                      <a:pt x="22" y="98"/>
                      <a:pt x="22" y="98"/>
                    </a:cubicBezTo>
                    <a:cubicBezTo>
                      <a:pt x="22" y="98"/>
                      <a:pt x="23" y="98"/>
                      <a:pt x="23" y="97"/>
                    </a:cubicBezTo>
                    <a:cubicBezTo>
                      <a:pt x="24" y="97"/>
                      <a:pt x="25" y="97"/>
                      <a:pt x="25" y="96"/>
                    </a:cubicBezTo>
                    <a:cubicBezTo>
                      <a:pt x="25" y="94"/>
                      <a:pt x="23" y="93"/>
                      <a:pt x="23" y="93"/>
                    </a:cubicBezTo>
                    <a:cubicBezTo>
                      <a:pt x="23" y="93"/>
                      <a:pt x="25" y="92"/>
                      <a:pt x="26" y="93"/>
                    </a:cubicBezTo>
                    <a:cubicBezTo>
                      <a:pt x="26" y="94"/>
                      <a:pt x="26" y="95"/>
                      <a:pt x="27" y="94"/>
                    </a:cubicBezTo>
                    <a:cubicBezTo>
                      <a:pt x="28" y="92"/>
                      <a:pt x="28" y="92"/>
                      <a:pt x="28" y="92"/>
                    </a:cubicBezTo>
                    <a:cubicBezTo>
                      <a:pt x="27" y="91"/>
                      <a:pt x="27" y="90"/>
                      <a:pt x="27" y="89"/>
                    </a:cubicBezTo>
                    <a:cubicBezTo>
                      <a:pt x="27" y="89"/>
                      <a:pt x="28" y="88"/>
                      <a:pt x="28" y="87"/>
                    </a:cubicBezTo>
                    <a:cubicBezTo>
                      <a:pt x="29" y="86"/>
                      <a:pt x="29" y="85"/>
                      <a:pt x="29" y="84"/>
                    </a:cubicBezTo>
                    <a:cubicBezTo>
                      <a:pt x="29" y="82"/>
                      <a:pt x="29" y="83"/>
                      <a:pt x="30" y="81"/>
                    </a:cubicBezTo>
                    <a:cubicBezTo>
                      <a:pt x="30" y="80"/>
                      <a:pt x="30" y="81"/>
                      <a:pt x="30" y="77"/>
                    </a:cubicBezTo>
                    <a:cubicBezTo>
                      <a:pt x="31" y="74"/>
                      <a:pt x="31" y="73"/>
                      <a:pt x="32" y="73"/>
                    </a:cubicBezTo>
                    <a:cubicBezTo>
                      <a:pt x="32" y="73"/>
                      <a:pt x="40" y="76"/>
                      <a:pt x="40" y="76"/>
                    </a:cubicBezTo>
                    <a:cubicBezTo>
                      <a:pt x="40" y="76"/>
                      <a:pt x="41" y="78"/>
                      <a:pt x="41" y="78"/>
                    </a:cubicBezTo>
                    <a:cubicBezTo>
                      <a:pt x="41" y="79"/>
                      <a:pt x="41" y="80"/>
                      <a:pt x="41" y="80"/>
                    </a:cubicBezTo>
                    <a:cubicBezTo>
                      <a:pt x="41" y="81"/>
                      <a:pt x="40" y="83"/>
                      <a:pt x="40" y="83"/>
                    </a:cubicBezTo>
                    <a:cubicBezTo>
                      <a:pt x="40" y="84"/>
                      <a:pt x="40" y="84"/>
                      <a:pt x="40" y="84"/>
                    </a:cubicBezTo>
                    <a:cubicBezTo>
                      <a:pt x="40" y="84"/>
                      <a:pt x="38" y="84"/>
                      <a:pt x="38" y="86"/>
                    </a:cubicBezTo>
                    <a:cubicBezTo>
                      <a:pt x="37" y="87"/>
                      <a:pt x="37" y="87"/>
                      <a:pt x="38" y="88"/>
                    </a:cubicBezTo>
                    <a:cubicBezTo>
                      <a:pt x="39" y="89"/>
                      <a:pt x="40" y="90"/>
                      <a:pt x="40" y="90"/>
                    </a:cubicBezTo>
                    <a:cubicBezTo>
                      <a:pt x="41" y="90"/>
                      <a:pt x="42" y="89"/>
                      <a:pt x="43" y="89"/>
                    </a:cubicBezTo>
                    <a:cubicBezTo>
                      <a:pt x="43" y="89"/>
                      <a:pt x="44" y="89"/>
                      <a:pt x="44" y="89"/>
                    </a:cubicBezTo>
                    <a:cubicBezTo>
                      <a:pt x="44" y="90"/>
                      <a:pt x="44" y="91"/>
                      <a:pt x="45" y="92"/>
                    </a:cubicBezTo>
                    <a:cubicBezTo>
                      <a:pt x="46" y="92"/>
                      <a:pt x="47" y="93"/>
                      <a:pt x="47" y="93"/>
                    </a:cubicBezTo>
                    <a:cubicBezTo>
                      <a:pt x="48" y="93"/>
                      <a:pt x="49" y="93"/>
                      <a:pt x="49" y="93"/>
                    </a:cubicBezTo>
                    <a:cubicBezTo>
                      <a:pt x="49" y="93"/>
                      <a:pt x="50" y="92"/>
                      <a:pt x="51" y="92"/>
                    </a:cubicBezTo>
                    <a:cubicBezTo>
                      <a:pt x="51" y="92"/>
                      <a:pt x="54" y="95"/>
                      <a:pt x="52" y="91"/>
                    </a:cubicBezTo>
                    <a:cubicBezTo>
                      <a:pt x="49" y="88"/>
                      <a:pt x="49" y="88"/>
                      <a:pt x="49" y="87"/>
                    </a:cubicBezTo>
                    <a:cubicBezTo>
                      <a:pt x="48" y="87"/>
                      <a:pt x="47" y="86"/>
                      <a:pt x="47" y="86"/>
                    </a:cubicBezTo>
                    <a:cubicBezTo>
                      <a:pt x="46" y="86"/>
                      <a:pt x="46" y="86"/>
                      <a:pt x="46" y="86"/>
                    </a:cubicBezTo>
                    <a:cubicBezTo>
                      <a:pt x="46" y="86"/>
                      <a:pt x="46" y="85"/>
                      <a:pt x="46" y="84"/>
                    </a:cubicBezTo>
                    <a:cubicBezTo>
                      <a:pt x="47" y="83"/>
                      <a:pt x="47" y="83"/>
                      <a:pt x="48" y="83"/>
                    </a:cubicBezTo>
                    <a:cubicBezTo>
                      <a:pt x="49" y="83"/>
                      <a:pt x="49" y="82"/>
                      <a:pt x="51" y="84"/>
                    </a:cubicBezTo>
                    <a:cubicBezTo>
                      <a:pt x="52" y="85"/>
                      <a:pt x="52" y="85"/>
                      <a:pt x="52" y="86"/>
                    </a:cubicBezTo>
                    <a:cubicBezTo>
                      <a:pt x="53" y="88"/>
                      <a:pt x="54" y="89"/>
                      <a:pt x="55" y="90"/>
                    </a:cubicBezTo>
                    <a:cubicBezTo>
                      <a:pt x="55" y="90"/>
                      <a:pt x="56" y="90"/>
                      <a:pt x="56" y="92"/>
                    </a:cubicBezTo>
                    <a:cubicBezTo>
                      <a:pt x="56" y="94"/>
                      <a:pt x="56" y="96"/>
                      <a:pt x="56" y="97"/>
                    </a:cubicBezTo>
                    <a:cubicBezTo>
                      <a:pt x="56" y="97"/>
                      <a:pt x="56" y="101"/>
                      <a:pt x="56" y="101"/>
                    </a:cubicBezTo>
                    <a:cubicBezTo>
                      <a:pt x="56" y="101"/>
                      <a:pt x="56" y="103"/>
                      <a:pt x="56" y="104"/>
                    </a:cubicBezTo>
                    <a:cubicBezTo>
                      <a:pt x="56" y="105"/>
                      <a:pt x="61" y="112"/>
                      <a:pt x="61" y="112"/>
                    </a:cubicBezTo>
                    <a:cubicBezTo>
                      <a:pt x="61" y="112"/>
                      <a:pt x="63" y="115"/>
                      <a:pt x="64" y="115"/>
                    </a:cubicBezTo>
                    <a:cubicBezTo>
                      <a:pt x="64" y="115"/>
                      <a:pt x="65" y="118"/>
                      <a:pt x="66" y="119"/>
                    </a:cubicBezTo>
                    <a:cubicBezTo>
                      <a:pt x="68" y="119"/>
                      <a:pt x="72" y="121"/>
                      <a:pt x="72" y="121"/>
                    </a:cubicBezTo>
                    <a:cubicBezTo>
                      <a:pt x="79" y="125"/>
                      <a:pt x="79" y="125"/>
                      <a:pt x="79" y="125"/>
                    </a:cubicBezTo>
                    <a:cubicBezTo>
                      <a:pt x="79" y="125"/>
                      <a:pt x="81" y="128"/>
                      <a:pt x="82" y="128"/>
                    </a:cubicBezTo>
                    <a:cubicBezTo>
                      <a:pt x="82" y="128"/>
                      <a:pt x="87" y="128"/>
                      <a:pt x="83" y="128"/>
                    </a:cubicBezTo>
                    <a:cubicBezTo>
                      <a:pt x="80" y="128"/>
                      <a:pt x="76" y="126"/>
                      <a:pt x="76" y="126"/>
                    </a:cubicBezTo>
                    <a:cubicBezTo>
                      <a:pt x="76" y="126"/>
                      <a:pt x="75" y="124"/>
                      <a:pt x="75" y="124"/>
                    </a:cubicBezTo>
                    <a:cubicBezTo>
                      <a:pt x="74" y="124"/>
                      <a:pt x="70" y="123"/>
                      <a:pt x="69" y="122"/>
                    </a:cubicBezTo>
                    <a:cubicBezTo>
                      <a:pt x="69" y="122"/>
                      <a:pt x="68" y="121"/>
                      <a:pt x="67" y="120"/>
                    </a:cubicBezTo>
                    <a:cubicBezTo>
                      <a:pt x="66" y="118"/>
                      <a:pt x="64" y="117"/>
                      <a:pt x="64" y="117"/>
                    </a:cubicBezTo>
                    <a:cubicBezTo>
                      <a:pt x="64" y="117"/>
                      <a:pt x="63" y="116"/>
                      <a:pt x="62" y="114"/>
                    </a:cubicBezTo>
                    <a:cubicBezTo>
                      <a:pt x="61" y="113"/>
                      <a:pt x="61" y="113"/>
                      <a:pt x="61" y="112"/>
                    </a:cubicBezTo>
                    <a:cubicBezTo>
                      <a:pt x="60" y="112"/>
                      <a:pt x="61" y="112"/>
                      <a:pt x="59" y="111"/>
                    </a:cubicBezTo>
                    <a:cubicBezTo>
                      <a:pt x="57" y="110"/>
                      <a:pt x="56" y="109"/>
                      <a:pt x="56" y="109"/>
                    </a:cubicBezTo>
                    <a:cubicBezTo>
                      <a:pt x="55" y="109"/>
                      <a:pt x="53" y="108"/>
                      <a:pt x="53" y="108"/>
                    </a:cubicBezTo>
                    <a:cubicBezTo>
                      <a:pt x="53" y="108"/>
                      <a:pt x="51" y="106"/>
                      <a:pt x="51" y="106"/>
                    </a:cubicBezTo>
                    <a:cubicBezTo>
                      <a:pt x="51" y="106"/>
                      <a:pt x="50" y="108"/>
                      <a:pt x="52" y="109"/>
                    </a:cubicBezTo>
                    <a:cubicBezTo>
                      <a:pt x="53" y="109"/>
                      <a:pt x="55" y="111"/>
                      <a:pt x="55" y="111"/>
                    </a:cubicBezTo>
                    <a:cubicBezTo>
                      <a:pt x="55" y="111"/>
                      <a:pt x="57" y="112"/>
                      <a:pt x="57" y="112"/>
                    </a:cubicBezTo>
                    <a:cubicBezTo>
                      <a:pt x="57" y="112"/>
                      <a:pt x="57" y="114"/>
                      <a:pt x="57" y="114"/>
                    </a:cubicBezTo>
                    <a:cubicBezTo>
                      <a:pt x="57" y="114"/>
                      <a:pt x="54" y="113"/>
                      <a:pt x="57" y="114"/>
                    </a:cubicBezTo>
                    <a:cubicBezTo>
                      <a:pt x="59" y="115"/>
                      <a:pt x="61" y="115"/>
                      <a:pt x="61" y="115"/>
                    </a:cubicBezTo>
                    <a:cubicBezTo>
                      <a:pt x="61" y="115"/>
                      <a:pt x="59" y="116"/>
                      <a:pt x="58" y="116"/>
                    </a:cubicBezTo>
                    <a:cubicBezTo>
                      <a:pt x="58" y="117"/>
                      <a:pt x="60" y="120"/>
                      <a:pt x="60" y="119"/>
                    </a:cubicBezTo>
                    <a:cubicBezTo>
                      <a:pt x="61" y="119"/>
                      <a:pt x="62" y="120"/>
                      <a:pt x="63" y="120"/>
                    </a:cubicBezTo>
                    <a:cubicBezTo>
                      <a:pt x="63" y="120"/>
                      <a:pt x="65" y="120"/>
                      <a:pt x="65" y="121"/>
                    </a:cubicBezTo>
                    <a:cubicBezTo>
                      <a:pt x="66" y="121"/>
                      <a:pt x="66" y="121"/>
                      <a:pt x="66" y="122"/>
                    </a:cubicBezTo>
                    <a:cubicBezTo>
                      <a:pt x="65" y="122"/>
                      <a:pt x="66" y="124"/>
                      <a:pt x="66" y="124"/>
                    </a:cubicBezTo>
                    <a:cubicBezTo>
                      <a:pt x="68" y="125"/>
                      <a:pt x="68" y="125"/>
                      <a:pt x="68" y="125"/>
                    </a:cubicBezTo>
                    <a:cubicBezTo>
                      <a:pt x="68" y="125"/>
                      <a:pt x="65" y="125"/>
                      <a:pt x="65" y="124"/>
                    </a:cubicBezTo>
                    <a:cubicBezTo>
                      <a:pt x="64" y="124"/>
                      <a:pt x="64" y="123"/>
                      <a:pt x="63" y="124"/>
                    </a:cubicBezTo>
                    <a:cubicBezTo>
                      <a:pt x="62" y="125"/>
                      <a:pt x="62" y="125"/>
                      <a:pt x="62" y="126"/>
                    </a:cubicBezTo>
                    <a:cubicBezTo>
                      <a:pt x="63" y="127"/>
                      <a:pt x="64" y="128"/>
                      <a:pt x="65" y="127"/>
                    </a:cubicBezTo>
                    <a:cubicBezTo>
                      <a:pt x="65" y="127"/>
                      <a:pt x="65" y="127"/>
                      <a:pt x="66" y="126"/>
                    </a:cubicBezTo>
                    <a:cubicBezTo>
                      <a:pt x="66" y="126"/>
                      <a:pt x="66" y="126"/>
                      <a:pt x="67" y="126"/>
                    </a:cubicBezTo>
                    <a:cubicBezTo>
                      <a:pt x="67" y="126"/>
                      <a:pt x="68" y="126"/>
                      <a:pt x="68" y="126"/>
                    </a:cubicBezTo>
                    <a:cubicBezTo>
                      <a:pt x="69" y="125"/>
                      <a:pt x="69" y="125"/>
                      <a:pt x="69" y="125"/>
                    </a:cubicBezTo>
                    <a:cubicBezTo>
                      <a:pt x="69" y="125"/>
                      <a:pt x="69" y="125"/>
                      <a:pt x="69" y="126"/>
                    </a:cubicBezTo>
                    <a:cubicBezTo>
                      <a:pt x="69" y="126"/>
                      <a:pt x="70" y="126"/>
                      <a:pt x="69" y="127"/>
                    </a:cubicBezTo>
                    <a:cubicBezTo>
                      <a:pt x="69" y="128"/>
                      <a:pt x="68" y="128"/>
                      <a:pt x="68" y="128"/>
                    </a:cubicBezTo>
                    <a:cubicBezTo>
                      <a:pt x="68" y="129"/>
                      <a:pt x="67" y="128"/>
                      <a:pt x="68" y="130"/>
                    </a:cubicBezTo>
                    <a:cubicBezTo>
                      <a:pt x="68" y="131"/>
                      <a:pt x="68" y="132"/>
                      <a:pt x="68" y="132"/>
                    </a:cubicBezTo>
                    <a:cubicBezTo>
                      <a:pt x="68" y="132"/>
                      <a:pt x="69" y="132"/>
                      <a:pt x="69" y="132"/>
                    </a:cubicBezTo>
                    <a:cubicBezTo>
                      <a:pt x="70" y="133"/>
                      <a:pt x="70" y="134"/>
                      <a:pt x="70" y="135"/>
                    </a:cubicBezTo>
                    <a:cubicBezTo>
                      <a:pt x="71" y="135"/>
                      <a:pt x="73" y="138"/>
                      <a:pt x="73" y="138"/>
                    </a:cubicBezTo>
                    <a:cubicBezTo>
                      <a:pt x="73" y="138"/>
                      <a:pt x="76" y="140"/>
                      <a:pt x="76" y="140"/>
                    </a:cubicBezTo>
                    <a:cubicBezTo>
                      <a:pt x="76" y="140"/>
                      <a:pt x="77" y="141"/>
                      <a:pt x="77" y="141"/>
                    </a:cubicBezTo>
                    <a:cubicBezTo>
                      <a:pt x="77" y="141"/>
                      <a:pt x="77" y="142"/>
                      <a:pt x="76" y="141"/>
                    </a:cubicBezTo>
                    <a:cubicBezTo>
                      <a:pt x="75" y="140"/>
                      <a:pt x="73" y="139"/>
                      <a:pt x="73" y="139"/>
                    </a:cubicBezTo>
                    <a:cubicBezTo>
                      <a:pt x="73" y="141"/>
                      <a:pt x="73" y="141"/>
                      <a:pt x="73" y="141"/>
                    </a:cubicBezTo>
                    <a:cubicBezTo>
                      <a:pt x="73" y="141"/>
                      <a:pt x="74" y="142"/>
                      <a:pt x="75" y="142"/>
                    </a:cubicBezTo>
                    <a:cubicBezTo>
                      <a:pt x="75" y="143"/>
                      <a:pt x="75" y="143"/>
                      <a:pt x="76" y="144"/>
                    </a:cubicBezTo>
                    <a:cubicBezTo>
                      <a:pt x="77" y="144"/>
                      <a:pt x="78" y="144"/>
                      <a:pt x="79" y="144"/>
                    </a:cubicBezTo>
                    <a:cubicBezTo>
                      <a:pt x="79" y="145"/>
                      <a:pt x="79" y="143"/>
                      <a:pt x="79" y="143"/>
                    </a:cubicBezTo>
                    <a:cubicBezTo>
                      <a:pt x="79" y="143"/>
                      <a:pt x="80" y="143"/>
                      <a:pt x="80" y="143"/>
                    </a:cubicBezTo>
                    <a:cubicBezTo>
                      <a:pt x="80" y="144"/>
                      <a:pt x="81" y="145"/>
                      <a:pt x="80" y="146"/>
                    </a:cubicBezTo>
                    <a:cubicBezTo>
                      <a:pt x="80" y="146"/>
                      <a:pt x="80" y="147"/>
                      <a:pt x="79" y="146"/>
                    </a:cubicBezTo>
                    <a:cubicBezTo>
                      <a:pt x="78" y="146"/>
                      <a:pt x="77" y="145"/>
                      <a:pt x="76" y="145"/>
                    </a:cubicBezTo>
                    <a:cubicBezTo>
                      <a:pt x="76" y="145"/>
                      <a:pt x="75" y="144"/>
                      <a:pt x="74" y="145"/>
                    </a:cubicBezTo>
                    <a:cubicBezTo>
                      <a:pt x="74" y="145"/>
                      <a:pt x="72" y="144"/>
                      <a:pt x="72" y="145"/>
                    </a:cubicBezTo>
                    <a:cubicBezTo>
                      <a:pt x="72" y="146"/>
                      <a:pt x="72" y="147"/>
                      <a:pt x="72" y="147"/>
                    </a:cubicBezTo>
                    <a:cubicBezTo>
                      <a:pt x="72" y="147"/>
                      <a:pt x="71" y="143"/>
                      <a:pt x="70" y="143"/>
                    </a:cubicBezTo>
                    <a:cubicBezTo>
                      <a:pt x="69" y="143"/>
                      <a:pt x="67" y="142"/>
                      <a:pt x="67" y="142"/>
                    </a:cubicBezTo>
                    <a:cubicBezTo>
                      <a:pt x="66" y="140"/>
                      <a:pt x="66" y="140"/>
                      <a:pt x="66" y="140"/>
                    </a:cubicBezTo>
                    <a:cubicBezTo>
                      <a:pt x="66" y="140"/>
                      <a:pt x="67" y="140"/>
                      <a:pt x="67" y="140"/>
                    </a:cubicBezTo>
                    <a:cubicBezTo>
                      <a:pt x="68" y="141"/>
                      <a:pt x="67" y="141"/>
                      <a:pt x="68" y="141"/>
                    </a:cubicBezTo>
                    <a:cubicBezTo>
                      <a:pt x="69" y="141"/>
                      <a:pt x="67" y="139"/>
                      <a:pt x="69" y="139"/>
                    </a:cubicBezTo>
                    <a:cubicBezTo>
                      <a:pt x="71" y="139"/>
                      <a:pt x="71" y="139"/>
                      <a:pt x="71" y="139"/>
                    </a:cubicBezTo>
                    <a:cubicBezTo>
                      <a:pt x="71" y="138"/>
                      <a:pt x="73" y="138"/>
                      <a:pt x="71" y="137"/>
                    </a:cubicBezTo>
                    <a:cubicBezTo>
                      <a:pt x="69" y="136"/>
                      <a:pt x="69" y="136"/>
                      <a:pt x="69" y="136"/>
                    </a:cubicBezTo>
                    <a:cubicBezTo>
                      <a:pt x="68" y="136"/>
                      <a:pt x="68" y="136"/>
                      <a:pt x="68" y="135"/>
                    </a:cubicBezTo>
                    <a:cubicBezTo>
                      <a:pt x="67" y="134"/>
                      <a:pt x="67" y="133"/>
                      <a:pt x="66" y="133"/>
                    </a:cubicBezTo>
                    <a:cubicBezTo>
                      <a:pt x="66" y="133"/>
                      <a:pt x="63" y="133"/>
                      <a:pt x="63" y="133"/>
                    </a:cubicBezTo>
                    <a:cubicBezTo>
                      <a:pt x="63" y="133"/>
                      <a:pt x="62" y="132"/>
                      <a:pt x="61" y="132"/>
                    </a:cubicBezTo>
                    <a:cubicBezTo>
                      <a:pt x="60" y="132"/>
                      <a:pt x="58" y="130"/>
                      <a:pt x="58" y="130"/>
                    </a:cubicBezTo>
                    <a:cubicBezTo>
                      <a:pt x="57" y="129"/>
                      <a:pt x="54" y="128"/>
                      <a:pt x="54" y="128"/>
                    </a:cubicBezTo>
                    <a:cubicBezTo>
                      <a:pt x="54" y="128"/>
                      <a:pt x="53" y="127"/>
                      <a:pt x="52" y="127"/>
                    </a:cubicBezTo>
                    <a:cubicBezTo>
                      <a:pt x="51" y="127"/>
                      <a:pt x="51" y="127"/>
                      <a:pt x="50" y="127"/>
                    </a:cubicBezTo>
                    <a:cubicBezTo>
                      <a:pt x="49" y="126"/>
                      <a:pt x="48" y="125"/>
                      <a:pt x="48" y="125"/>
                    </a:cubicBezTo>
                    <a:cubicBezTo>
                      <a:pt x="47" y="124"/>
                      <a:pt x="46" y="124"/>
                      <a:pt x="46" y="124"/>
                    </a:cubicBezTo>
                    <a:cubicBezTo>
                      <a:pt x="47" y="125"/>
                      <a:pt x="46" y="125"/>
                      <a:pt x="48" y="126"/>
                    </a:cubicBezTo>
                    <a:cubicBezTo>
                      <a:pt x="49" y="127"/>
                      <a:pt x="50" y="127"/>
                      <a:pt x="50" y="127"/>
                    </a:cubicBezTo>
                    <a:cubicBezTo>
                      <a:pt x="50" y="127"/>
                      <a:pt x="51" y="128"/>
                      <a:pt x="51" y="128"/>
                    </a:cubicBezTo>
                    <a:cubicBezTo>
                      <a:pt x="51" y="129"/>
                      <a:pt x="52" y="128"/>
                      <a:pt x="53" y="128"/>
                    </a:cubicBezTo>
                    <a:cubicBezTo>
                      <a:pt x="53" y="129"/>
                      <a:pt x="54" y="129"/>
                      <a:pt x="54" y="130"/>
                    </a:cubicBezTo>
                    <a:cubicBezTo>
                      <a:pt x="54" y="130"/>
                      <a:pt x="57" y="130"/>
                      <a:pt x="57" y="131"/>
                    </a:cubicBezTo>
                    <a:cubicBezTo>
                      <a:pt x="57" y="132"/>
                      <a:pt x="58" y="133"/>
                      <a:pt x="57" y="133"/>
                    </a:cubicBezTo>
                    <a:cubicBezTo>
                      <a:pt x="57" y="133"/>
                      <a:pt x="56" y="134"/>
                      <a:pt x="56" y="134"/>
                    </a:cubicBezTo>
                    <a:cubicBezTo>
                      <a:pt x="57" y="134"/>
                      <a:pt x="58" y="135"/>
                      <a:pt x="59" y="135"/>
                    </a:cubicBezTo>
                    <a:cubicBezTo>
                      <a:pt x="60" y="135"/>
                      <a:pt x="59" y="135"/>
                      <a:pt x="61" y="136"/>
                    </a:cubicBezTo>
                    <a:cubicBezTo>
                      <a:pt x="63" y="136"/>
                      <a:pt x="63" y="138"/>
                      <a:pt x="63" y="138"/>
                    </a:cubicBezTo>
                    <a:cubicBezTo>
                      <a:pt x="63" y="139"/>
                      <a:pt x="65" y="140"/>
                      <a:pt x="65" y="140"/>
                    </a:cubicBezTo>
                    <a:cubicBezTo>
                      <a:pt x="65" y="140"/>
                      <a:pt x="64" y="140"/>
                      <a:pt x="65" y="141"/>
                    </a:cubicBezTo>
                    <a:cubicBezTo>
                      <a:pt x="65" y="141"/>
                      <a:pt x="64" y="141"/>
                      <a:pt x="65" y="142"/>
                    </a:cubicBezTo>
                    <a:cubicBezTo>
                      <a:pt x="66" y="142"/>
                      <a:pt x="67" y="142"/>
                      <a:pt x="67" y="142"/>
                    </a:cubicBezTo>
                    <a:cubicBezTo>
                      <a:pt x="67" y="143"/>
                      <a:pt x="67" y="143"/>
                      <a:pt x="67" y="144"/>
                    </a:cubicBezTo>
                    <a:cubicBezTo>
                      <a:pt x="67" y="144"/>
                      <a:pt x="65" y="146"/>
                      <a:pt x="68" y="146"/>
                    </a:cubicBezTo>
                    <a:cubicBezTo>
                      <a:pt x="70" y="146"/>
                      <a:pt x="70" y="146"/>
                      <a:pt x="70" y="146"/>
                    </a:cubicBezTo>
                    <a:cubicBezTo>
                      <a:pt x="71" y="147"/>
                      <a:pt x="71" y="147"/>
                      <a:pt x="71" y="147"/>
                    </a:cubicBezTo>
                    <a:cubicBezTo>
                      <a:pt x="71" y="147"/>
                      <a:pt x="70" y="148"/>
                      <a:pt x="71" y="149"/>
                    </a:cubicBezTo>
                    <a:cubicBezTo>
                      <a:pt x="71" y="150"/>
                      <a:pt x="75" y="150"/>
                      <a:pt x="75" y="150"/>
                    </a:cubicBezTo>
                    <a:cubicBezTo>
                      <a:pt x="75" y="149"/>
                      <a:pt x="75" y="149"/>
                      <a:pt x="75" y="149"/>
                    </a:cubicBezTo>
                    <a:cubicBezTo>
                      <a:pt x="75" y="149"/>
                      <a:pt x="77" y="150"/>
                      <a:pt x="76" y="150"/>
                    </a:cubicBezTo>
                    <a:cubicBezTo>
                      <a:pt x="76" y="151"/>
                      <a:pt x="75" y="151"/>
                      <a:pt x="75" y="151"/>
                    </a:cubicBezTo>
                    <a:cubicBezTo>
                      <a:pt x="75" y="151"/>
                      <a:pt x="75" y="153"/>
                      <a:pt x="76" y="153"/>
                    </a:cubicBezTo>
                    <a:cubicBezTo>
                      <a:pt x="77" y="153"/>
                      <a:pt x="78" y="154"/>
                      <a:pt x="78" y="154"/>
                    </a:cubicBezTo>
                    <a:cubicBezTo>
                      <a:pt x="78" y="154"/>
                      <a:pt x="79" y="154"/>
                      <a:pt x="79" y="155"/>
                    </a:cubicBezTo>
                    <a:cubicBezTo>
                      <a:pt x="80" y="155"/>
                      <a:pt x="80" y="156"/>
                      <a:pt x="80" y="156"/>
                    </a:cubicBezTo>
                    <a:cubicBezTo>
                      <a:pt x="81" y="156"/>
                      <a:pt x="82" y="156"/>
                      <a:pt x="82" y="157"/>
                    </a:cubicBezTo>
                    <a:cubicBezTo>
                      <a:pt x="83" y="157"/>
                      <a:pt x="84" y="158"/>
                      <a:pt x="84" y="157"/>
                    </a:cubicBezTo>
                    <a:cubicBezTo>
                      <a:pt x="84" y="156"/>
                      <a:pt x="85" y="156"/>
                      <a:pt x="84" y="155"/>
                    </a:cubicBezTo>
                    <a:cubicBezTo>
                      <a:pt x="83" y="154"/>
                      <a:pt x="82" y="154"/>
                      <a:pt x="81" y="154"/>
                    </a:cubicBezTo>
                    <a:cubicBezTo>
                      <a:pt x="81" y="154"/>
                      <a:pt x="80" y="154"/>
                      <a:pt x="80" y="153"/>
                    </a:cubicBezTo>
                    <a:cubicBezTo>
                      <a:pt x="79" y="153"/>
                      <a:pt x="79" y="153"/>
                      <a:pt x="79" y="152"/>
                    </a:cubicBezTo>
                    <a:cubicBezTo>
                      <a:pt x="79" y="151"/>
                      <a:pt x="78" y="150"/>
                      <a:pt x="78" y="150"/>
                    </a:cubicBezTo>
                    <a:cubicBezTo>
                      <a:pt x="78" y="150"/>
                      <a:pt x="78" y="148"/>
                      <a:pt x="78" y="148"/>
                    </a:cubicBezTo>
                    <a:cubicBezTo>
                      <a:pt x="77" y="148"/>
                      <a:pt x="77" y="148"/>
                      <a:pt x="76" y="148"/>
                    </a:cubicBezTo>
                    <a:cubicBezTo>
                      <a:pt x="76" y="148"/>
                      <a:pt x="75" y="147"/>
                      <a:pt x="75" y="147"/>
                    </a:cubicBezTo>
                    <a:cubicBezTo>
                      <a:pt x="74" y="147"/>
                      <a:pt x="73" y="147"/>
                      <a:pt x="73" y="147"/>
                    </a:cubicBezTo>
                    <a:cubicBezTo>
                      <a:pt x="73" y="146"/>
                      <a:pt x="74" y="146"/>
                      <a:pt x="74" y="146"/>
                    </a:cubicBezTo>
                    <a:cubicBezTo>
                      <a:pt x="74" y="146"/>
                      <a:pt x="75" y="146"/>
                      <a:pt x="76" y="146"/>
                    </a:cubicBezTo>
                    <a:cubicBezTo>
                      <a:pt x="77" y="147"/>
                      <a:pt x="77" y="146"/>
                      <a:pt x="78" y="147"/>
                    </a:cubicBezTo>
                    <a:cubicBezTo>
                      <a:pt x="79" y="147"/>
                      <a:pt x="78" y="148"/>
                      <a:pt x="79" y="148"/>
                    </a:cubicBezTo>
                    <a:cubicBezTo>
                      <a:pt x="81" y="148"/>
                      <a:pt x="81" y="147"/>
                      <a:pt x="81" y="147"/>
                    </a:cubicBezTo>
                    <a:cubicBezTo>
                      <a:pt x="83" y="146"/>
                      <a:pt x="83" y="146"/>
                      <a:pt x="83" y="146"/>
                    </a:cubicBezTo>
                    <a:cubicBezTo>
                      <a:pt x="83" y="146"/>
                      <a:pt x="83" y="146"/>
                      <a:pt x="84" y="147"/>
                    </a:cubicBezTo>
                    <a:cubicBezTo>
                      <a:pt x="85" y="147"/>
                      <a:pt x="83" y="148"/>
                      <a:pt x="85" y="148"/>
                    </a:cubicBezTo>
                    <a:cubicBezTo>
                      <a:pt x="87" y="148"/>
                      <a:pt x="88" y="148"/>
                      <a:pt x="88" y="148"/>
                    </a:cubicBezTo>
                    <a:cubicBezTo>
                      <a:pt x="88" y="149"/>
                      <a:pt x="88" y="150"/>
                      <a:pt x="88" y="150"/>
                    </a:cubicBezTo>
                    <a:cubicBezTo>
                      <a:pt x="88" y="150"/>
                      <a:pt x="88" y="151"/>
                      <a:pt x="88" y="151"/>
                    </a:cubicBezTo>
                    <a:cubicBezTo>
                      <a:pt x="89" y="151"/>
                      <a:pt x="91" y="151"/>
                      <a:pt x="91" y="151"/>
                    </a:cubicBezTo>
                    <a:cubicBezTo>
                      <a:pt x="91" y="151"/>
                      <a:pt x="92" y="151"/>
                      <a:pt x="92" y="152"/>
                    </a:cubicBezTo>
                    <a:cubicBezTo>
                      <a:pt x="93" y="153"/>
                      <a:pt x="90" y="154"/>
                      <a:pt x="90" y="154"/>
                    </a:cubicBezTo>
                    <a:cubicBezTo>
                      <a:pt x="90" y="154"/>
                      <a:pt x="89" y="153"/>
                      <a:pt x="89" y="154"/>
                    </a:cubicBezTo>
                    <a:cubicBezTo>
                      <a:pt x="89" y="155"/>
                      <a:pt x="88" y="155"/>
                      <a:pt x="89" y="156"/>
                    </a:cubicBezTo>
                    <a:cubicBezTo>
                      <a:pt x="90" y="156"/>
                      <a:pt x="89" y="156"/>
                      <a:pt x="89" y="156"/>
                    </a:cubicBezTo>
                    <a:cubicBezTo>
                      <a:pt x="88" y="156"/>
                      <a:pt x="87" y="155"/>
                      <a:pt x="88" y="157"/>
                    </a:cubicBezTo>
                    <a:cubicBezTo>
                      <a:pt x="88" y="158"/>
                      <a:pt x="89" y="159"/>
                      <a:pt x="89" y="159"/>
                    </a:cubicBezTo>
                    <a:cubicBezTo>
                      <a:pt x="90" y="159"/>
                      <a:pt x="92" y="159"/>
                      <a:pt x="92" y="159"/>
                    </a:cubicBezTo>
                    <a:cubicBezTo>
                      <a:pt x="93" y="159"/>
                      <a:pt x="94" y="159"/>
                      <a:pt x="93" y="159"/>
                    </a:cubicBezTo>
                    <a:cubicBezTo>
                      <a:pt x="92" y="158"/>
                      <a:pt x="91" y="158"/>
                      <a:pt x="91" y="158"/>
                    </a:cubicBezTo>
                    <a:cubicBezTo>
                      <a:pt x="91" y="158"/>
                      <a:pt x="91" y="158"/>
                      <a:pt x="91" y="157"/>
                    </a:cubicBezTo>
                    <a:cubicBezTo>
                      <a:pt x="91" y="157"/>
                      <a:pt x="92" y="157"/>
                      <a:pt x="92" y="157"/>
                    </a:cubicBezTo>
                    <a:cubicBezTo>
                      <a:pt x="92" y="156"/>
                      <a:pt x="93" y="155"/>
                      <a:pt x="93" y="155"/>
                    </a:cubicBezTo>
                    <a:cubicBezTo>
                      <a:pt x="93" y="155"/>
                      <a:pt x="94" y="153"/>
                      <a:pt x="95" y="154"/>
                    </a:cubicBezTo>
                    <a:cubicBezTo>
                      <a:pt x="95" y="155"/>
                      <a:pt x="95" y="155"/>
                      <a:pt x="96" y="155"/>
                    </a:cubicBezTo>
                    <a:cubicBezTo>
                      <a:pt x="96" y="155"/>
                      <a:pt x="99" y="152"/>
                      <a:pt x="99" y="152"/>
                    </a:cubicBezTo>
                    <a:cubicBezTo>
                      <a:pt x="99" y="152"/>
                      <a:pt x="100" y="152"/>
                      <a:pt x="99" y="153"/>
                    </a:cubicBezTo>
                    <a:cubicBezTo>
                      <a:pt x="99" y="154"/>
                      <a:pt x="98" y="155"/>
                      <a:pt x="99" y="156"/>
                    </a:cubicBezTo>
                    <a:cubicBezTo>
                      <a:pt x="99" y="157"/>
                      <a:pt x="99" y="157"/>
                      <a:pt x="99" y="157"/>
                    </a:cubicBezTo>
                    <a:cubicBezTo>
                      <a:pt x="100" y="158"/>
                      <a:pt x="99" y="158"/>
                      <a:pt x="100" y="159"/>
                    </a:cubicBezTo>
                    <a:cubicBezTo>
                      <a:pt x="100" y="160"/>
                      <a:pt x="100" y="159"/>
                      <a:pt x="100" y="160"/>
                    </a:cubicBezTo>
                    <a:cubicBezTo>
                      <a:pt x="101" y="161"/>
                      <a:pt x="102" y="163"/>
                      <a:pt x="102" y="163"/>
                    </a:cubicBezTo>
                    <a:cubicBezTo>
                      <a:pt x="102" y="163"/>
                      <a:pt x="101" y="164"/>
                      <a:pt x="102" y="164"/>
                    </a:cubicBezTo>
                    <a:cubicBezTo>
                      <a:pt x="103" y="165"/>
                      <a:pt x="105" y="165"/>
                      <a:pt x="105" y="165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5" y="165"/>
                      <a:pt x="106" y="166"/>
                      <a:pt x="107" y="165"/>
                    </a:cubicBezTo>
                    <a:cubicBezTo>
                      <a:pt x="107" y="164"/>
                      <a:pt x="108" y="164"/>
                      <a:pt x="108" y="164"/>
                    </a:cubicBezTo>
                    <a:cubicBezTo>
                      <a:pt x="109" y="164"/>
                      <a:pt x="108" y="164"/>
                      <a:pt x="110" y="164"/>
                    </a:cubicBezTo>
                    <a:cubicBezTo>
                      <a:pt x="112" y="164"/>
                      <a:pt x="112" y="165"/>
                      <a:pt x="113" y="164"/>
                    </a:cubicBezTo>
                    <a:cubicBezTo>
                      <a:pt x="114" y="163"/>
                      <a:pt x="113" y="163"/>
                      <a:pt x="115" y="163"/>
                    </a:cubicBezTo>
                    <a:cubicBezTo>
                      <a:pt x="117" y="163"/>
                      <a:pt x="119" y="162"/>
                      <a:pt x="119" y="162"/>
                    </a:cubicBezTo>
                    <a:cubicBezTo>
                      <a:pt x="119" y="162"/>
                      <a:pt x="122" y="162"/>
                      <a:pt x="122" y="162"/>
                    </a:cubicBezTo>
                    <a:cubicBezTo>
                      <a:pt x="124" y="163"/>
                      <a:pt x="124" y="163"/>
                      <a:pt x="124" y="163"/>
                    </a:cubicBezTo>
                    <a:cubicBezTo>
                      <a:pt x="124" y="163"/>
                      <a:pt x="125" y="164"/>
                      <a:pt x="126" y="164"/>
                    </a:cubicBezTo>
                    <a:cubicBezTo>
                      <a:pt x="126" y="164"/>
                      <a:pt x="127" y="164"/>
                      <a:pt x="128" y="164"/>
                    </a:cubicBezTo>
                    <a:cubicBezTo>
                      <a:pt x="128" y="164"/>
                      <a:pt x="132" y="165"/>
                      <a:pt x="132" y="165"/>
                    </a:cubicBezTo>
                    <a:cubicBezTo>
                      <a:pt x="136" y="166"/>
                      <a:pt x="136" y="166"/>
                      <a:pt x="136" y="166"/>
                    </a:cubicBezTo>
                    <a:cubicBezTo>
                      <a:pt x="138" y="167"/>
                      <a:pt x="138" y="167"/>
                      <a:pt x="138" y="167"/>
                    </a:cubicBezTo>
                    <a:cubicBezTo>
                      <a:pt x="142" y="170"/>
                      <a:pt x="142" y="170"/>
                      <a:pt x="142" y="170"/>
                    </a:cubicBezTo>
                    <a:cubicBezTo>
                      <a:pt x="146" y="174"/>
                      <a:pt x="146" y="174"/>
                      <a:pt x="146" y="174"/>
                    </a:cubicBezTo>
                    <a:cubicBezTo>
                      <a:pt x="151" y="176"/>
                      <a:pt x="151" y="176"/>
                      <a:pt x="151" y="176"/>
                    </a:cubicBezTo>
                    <a:cubicBezTo>
                      <a:pt x="154" y="178"/>
                      <a:pt x="154" y="178"/>
                      <a:pt x="154" y="178"/>
                    </a:cubicBezTo>
                    <a:cubicBezTo>
                      <a:pt x="156" y="180"/>
                      <a:pt x="156" y="180"/>
                      <a:pt x="156" y="180"/>
                    </a:cubicBezTo>
                    <a:cubicBezTo>
                      <a:pt x="156" y="180"/>
                      <a:pt x="159" y="182"/>
                      <a:pt x="159" y="182"/>
                    </a:cubicBezTo>
                    <a:cubicBezTo>
                      <a:pt x="160" y="182"/>
                      <a:pt x="163" y="184"/>
                      <a:pt x="163" y="184"/>
                    </a:cubicBezTo>
                    <a:cubicBezTo>
                      <a:pt x="166" y="186"/>
                      <a:pt x="166" y="186"/>
                      <a:pt x="166" y="186"/>
                    </a:cubicBezTo>
                    <a:cubicBezTo>
                      <a:pt x="166" y="186"/>
                      <a:pt x="167" y="188"/>
                      <a:pt x="167" y="188"/>
                    </a:cubicBezTo>
                    <a:cubicBezTo>
                      <a:pt x="167" y="189"/>
                      <a:pt x="166" y="188"/>
                      <a:pt x="165" y="188"/>
                    </a:cubicBezTo>
                    <a:cubicBezTo>
                      <a:pt x="164" y="189"/>
                      <a:pt x="160" y="187"/>
                      <a:pt x="160" y="187"/>
                    </a:cubicBezTo>
                    <a:cubicBezTo>
                      <a:pt x="158" y="185"/>
                      <a:pt x="158" y="185"/>
                      <a:pt x="158" y="185"/>
                    </a:cubicBezTo>
                    <a:cubicBezTo>
                      <a:pt x="155" y="185"/>
                      <a:pt x="155" y="185"/>
                      <a:pt x="155" y="185"/>
                    </a:cubicBezTo>
                    <a:cubicBezTo>
                      <a:pt x="153" y="184"/>
                      <a:pt x="153" y="184"/>
                      <a:pt x="153" y="184"/>
                    </a:cubicBezTo>
                    <a:cubicBezTo>
                      <a:pt x="149" y="185"/>
                      <a:pt x="149" y="185"/>
                      <a:pt x="149" y="185"/>
                    </a:cubicBezTo>
                    <a:cubicBezTo>
                      <a:pt x="146" y="184"/>
                      <a:pt x="146" y="184"/>
                      <a:pt x="146" y="184"/>
                    </a:cubicBezTo>
                    <a:cubicBezTo>
                      <a:pt x="146" y="184"/>
                      <a:pt x="145" y="184"/>
                      <a:pt x="146" y="185"/>
                    </a:cubicBezTo>
                    <a:cubicBezTo>
                      <a:pt x="146" y="185"/>
                      <a:pt x="146" y="186"/>
                      <a:pt x="146" y="186"/>
                    </a:cubicBezTo>
                    <a:cubicBezTo>
                      <a:pt x="143" y="188"/>
                      <a:pt x="143" y="188"/>
                      <a:pt x="143" y="188"/>
                    </a:cubicBezTo>
                    <a:cubicBezTo>
                      <a:pt x="139" y="189"/>
                      <a:pt x="139" y="189"/>
                      <a:pt x="139" y="189"/>
                    </a:cubicBezTo>
                    <a:cubicBezTo>
                      <a:pt x="135" y="189"/>
                      <a:pt x="135" y="189"/>
                      <a:pt x="135" y="189"/>
                    </a:cubicBezTo>
                    <a:cubicBezTo>
                      <a:pt x="132" y="189"/>
                      <a:pt x="132" y="189"/>
                      <a:pt x="132" y="189"/>
                    </a:cubicBezTo>
                    <a:cubicBezTo>
                      <a:pt x="132" y="191"/>
                      <a:pt x="132" y="191"/>
                      <a:pt x="132" y="191"/>
                    </a:cubicBezTo>
                    <a:cubicBezTo>
                      <a:pt x="132" y="191"/>
                      <a:pt x="128" y="191"/>
                      <a:pt x="132" y="192"/>
                    </a:cubicBezTo>
                    <a:cubicBezTo>
                      <a:pt x="136" y="192"/>
                      <a:pt x="138" y="192"/>
                      <a:pt x="138" y="191"/>
                    </a:cubicBezTo>
                    <a:cubicBezTo>
                      <a:pt x="139" y="191"/>
                      <a:pt x="139" y="190"/>
                      <a:pt x="140" y="190"/>
                    </a:cubicBezTo>
                    <a:cubicBezTo>
                      <a:pt x="141" y="190"/>
                      <a:pt x="143" y="190"/>
                      <a:pt x="144" y="190"/>
                    </a:cubicBezTo>
                    <a:cubicBezTo>
                      <a:pt x="144" y="190"/>
                      <a:pt x="145" y="190"/>
                      <a:pt x="147" y="189"/>
                    </a:cubicBezTo>
                    <a:cubicBezTo>
                      <a:pt x="148" y="189"/>
                      <a:pt x="148" y="188"/>
                      <a:pt x="150" y="189"/>
                    </a:cubicBezTo>
                    <a:cubicBezTo>
                      <a:pt x="152" y="190"/>
                      <a:pt x="151" y="187"/>
                      <a:pt x="151" y="187"/>
                    </a:cubicBezTo>
                    <a:cubicBezTo>
                      <a:pt x="151" y="187"/>
                      <a:pt x="151" y="186"/>
                      <a:pt x="152" y="186"/>
                    </a:cubicBezTo>
                    <a:cubicBezTo>
                      <a:pt x="154" y="187"/>
                      <a:pt x="154" y="187"/>
                      <a:pt x="154" y="187"/>
                    </a:cubicBezTo>
                    <a:cubicBezTo>
                      <a:pt x="155" y="187"/>
                      <a:pt x="157" y="188"/>
                      <a:pt x="157" y="188"/>
                    </a:cubicBezTo>
                    <a:cubicBezTo>
                      <a:pt x="158" y="188"/>
                      <a:pt x="162" y="189"/>
                      <a:pt x="162" y="189"/>
                    </a:cubicBezTo>
                    <a:cubicBezTo>
                      <a:pt x="162" y="189"/>
                      <a:pt x="163" y="192"/>
                      <a:pt x="163" y="192"/>
                    </a:cubicBezTo>
                    <a:cubicBezTo>
                      <a:pt x="164" y="192"/>
                      <a:pt x="167" y="192"/>
                      <a:pt x="168" y="192"/>
                    </a:cubicBezTo>
                    <a:cubicBezTo>
                      <a:pt x="169" y="192"/>
                      <a:pt x="171" y="192"/>
                      <a:pt x="172" y="193"/>
                    </a:cubicBezTo>
                    <a:cubicBezTo>
                      <a:pt x="173" y="194"/>
                      <a:pt x="174" y="194"/>
                      <a:pt x="174" y="194"/>
                    </a:cubicBezTo>
                    <a:cubicBezTo>
                      <a:pt x="174" y="194"/>
                      <a:pt x="175" y="195"/>
                      <a:pt x="176" y="196"/>
                    </a:cubicBezTo>
                    <a:cubicBezTo>
                      <a:pt x="176" y="196"/>
                      <a:pt x="179" y="198"/>
                      <a:pt x="179" y="198"/>
                    </a:cubicBezTo>
                    <a:cubicBezTo>
                      <a:pt x="179" y="198"/>
                      <a:pt x="184" y="200"/>
                      <a:pt x="184" y="200"/>
                    </a:cubicBezTo>
                    <a:cubicBezTo>
                      <a:pt x="185" y="199"/>
                      <a:pt x="185" y="199"/>
                      <a:pt x="185" y="199"/>
                    </a:cubicBezTo>
                    <a:cubicBezTo>
                      <a:pt x="185" y="198"/>
                      <a:pt x="185" y="197"/>
                      <a:pt x="185" y="197"/>
                    </a:cubicBezTo>
                    <a:cubicBezTo>
                      <a:pt x="184" y="196"/>
                      <a:pt x="180" y="195"/>
                      <a:pt x="180" y="195"/>
                    </a:cubicBezTo>
                    <a:cubicBezTo>
                      <a:pt x="180" y="195"/>
                      <a:pt x="178" y="194"/>
                      <a:pt x="178" y="194"/>
                    </a:cubicBezTo>
                    <a:cubicBezTo>
                      <a:pt x="177" y="189"/>
                      <a:pt x="178" y="193"/>
                      <a:pt x="175" y="192"/>
                    </a:cubicBezTo>
                    <a:cubicBezTo>
                      <a:pt x="175" y="192"/>
                      <a:pt x="175" y="192"/>
                      <a:pt x="175" y="192"/>
                    </a:cubicBezTo>
                    <a:cubicBezTo>
                      <a:pt x="175" y="192"/>
                      <a:pt x="175" y="192"/>
                      <a:pt x="175" y="192"/>
                    </a:cubicBezTo>
                    <a:cubicBezTo>
                      <a:pt x="173" y="193"/>
                      <a:pt x="173" y="192"/>
                      <a:pt x="173" y="192"/>
                    </a:cubicBezTo>
                    <a:cubicBezTo>
                      <a:pt x="173" y="191"/>
                      <a:pt x="173" y="191"/>
                      <a:pt x="173" y="191"/>
                    </a:cubicBezTo>
                    <a:cubicBezTo>
                      <a:pt x="172" y="190"/>
                      <a:pt x="172" y="190"/>
                      <a:pt x="172" y="190"/>
                    </a:cubicBezTo>
                    <a:cubicBezTo>
                      <a:pt x="172" y="190"/>
                      <a:pt x="171" y="188"/>
                      <a:pt x="172" y="187"/>
                    </a:cubicBezTo>
                    <a:cubicBezTo>
                      <a:pt x="173" y="187"/>
                      <a:pt x="171" y="192"/>
                      <a:pt x="175" y="186"/>
                    </a:cubicBezTo>
                    <a:cubicBezTo>
                      <a:pt x="175" y="186"/>
                      <a:pt x="175" y="185"/>
                      <a:pt x="175" y="185"/>
                    </a:cubicBezTo>
                    <a:cubicBezTo>
                      <a:pt x="174" y="185"/>
                      <a:pt x="174" y="185"/>
                      <a:pt x="174" y="185"/>
                    </a:cubicBezTo>
                    <a:cubicBezTo>
                      <a:pt x="171" y="185"/>
                      <a:pt x="171" y="185"/>
                      <a:pt x="171" y="185"/>
                    </a:cubicBezTo>
                    <a:cubicBezTo>
                      <a:pt x="171" y="185"/>
                      <a:pt x="171" y="186"/>
                      <a:pt x="170" y="187"/>
                    </a:cubicBezTo>
                    <a:cubicBezTo>
                      <a:pt x="169" y="188"/>
                      <a:pt x="169" y="187"/>
                      <a:pt x="169" y="187"/>
                    </a:cubicBezTo>
                    <a:cubicBezTo>
                      <a:pt x="169" y="186"/>
                      <a:pt x="169" y="186"/>
                      <a:pt x="169" y="186"/>
                    </a:cubicBezTo>
                    <a:cubicBezTo>
                      <a:pt x="170" y="185"/>
                      <a:pt x="170" y="185"/>
                      <a:pt x="170" y="185"/>
                    </a:cubicBezTo>
                    <a:cubicBezTo>
                      <a:pt x="170" y="185"/>
                      <a:pt x="170" y="182"/>
                      <a:pt x="170" y="181"/>
                    </a:cubicBezTo>
                    <a:cubicBezTo>
                      <a:pt x="170" y="181"/>
                      <a:pt x="170" y="181"/>
                      <a:pt x="170" y="181"/>
                    </a:cubicBezTo>
                    <a:cubicBezTo>
                      <a:pt x="167" y="179"/>
                      <a:pt x="167" y="179"/>
                      <a:pt x="167" y="179"/>
                    </a:cubicBezTo>
                    <a:cubicBezTo>
                      <a:pt x="165" y="177"/>
                      <a:pt x="165" y="177"/>
                      <a:pt x="165" y="177"/>
                    </a:cubicBezTo>
                    <a:cubicBezTo>
                      <a:pt x="162" y="175"/>
                      <a:pt x="162" y="175"/>
                      <a:pt x="162" y="175"/>
                    </a:cubicBezTo>
                    <a:cubicBezTo>
                      <a:pt x="158" y="171"/>
                      <a:pt x="158" y="171"/>
                      <a:pt x="158" y="171"/>
                    </a:cubicBezTo>
                    <a:cubicBezTo>
                      <a:pt x="156" y="170"/>
                      <a:pt x="156" y="170"/>
                      <a:pt x="156" y="170"/>
                    </a:cubicBezTo>
                    <a:cubicBezTo>
                      <a:pt x="154" y="168"/>
                      <a:pt x="154" y="168"/>
                      <a:pt x="154" y="168"/>
                    </a:cubicBezTo>
                    <a:cubicBezTo>
                      <a:pt x="154" y="166"/>
                      <a:pt x="154" y="166"/>
                      <a:pt x="154" y="166"/>
                    </a:cubicBezTo>
                    <a:cubicBezTo>
                      <a:pt x="153" y="162"/>
                      <a:pt x="153" y="162"/>
                      <a:pt x="153" y="162"/>
                    </a:cubicBezTo>
                    <a:cubicBezTo>
                      <a:pt x="153" y="162"/>
                      <a:pt x="153" y="162"/>
                      <a:pt x="153" y="162"/>
                    </a:cubicBezTo>
                    <a:cubicBezTo>
                      <a:pt x="153" y="162"/>
                      <a:pt x="149" y="161"/>
                      <a:pt x="147" y="160"/>
                    </a:cubicBezTo>
                    <a:cubicBezTo>
                      <a:pt x="145" y="159"/>
                      <a:pt x="145" y="159"/>
                      <a:pt x="145" y="159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2" y="155"/>
                      <a:pt x="142" y="155"/>
                      <a:pt x="142" y="155"/>
                    </a:cubicBezTo>
                    <a:cubicBezTo>
                      <a:pt x="139" y="152"/>
                      <a:pt x="139" y="152"/>
                      <a:pt x="139" y="152"/>
                    </a:cubicBezTo>
                    <a:cubicBezTo>
                      <a:pt x="138" y="152"/>
                      <a:pt x="138" y="152"/>
                      <a:pt x="138" y="152"/>
                    </a:cubicBezTo>
                    <a:cubicBezTo>
                      <a:pt x="133" y="150"/>
                      <a:pt x="133" y="150"/>
                      <a:pt x="133" y="150"/>
                    </a:cubicBezTo>
                    <a:cubicBezTo>
                      <a:pt x="132" y="148"/>
                      <a:pt x="132" y="148"/>
                      <a:pt x="132" y="148"/>
                    </a:cubicBezTo>
                    <a:cubicBezTo>
                      <a:pt x="130" y="147"/>
                      <a:pt x="130" y="147"/>
                      <a:pt x="130" y="147"/>
                    </a:cubicBezTo>
                    <a:cubicBezTo>
                      <a:pt x="129" y="145"/>
                      <a:pt x="129" y="145"/>
                      <a:pt x="129" y="145"/>
                    </a:cubicBezTo>
                    <a:cubicBezTo>
                      <a:pt x="126" y="144"/>
                      <a:pt x="126" y="144"/>
                      <a:pt x="126" y="144"/>
                    </a:cubicBezTo>
                    <a:cubicBezTo>
                      <a:pt x="125" y="142"/>
                      <a:pt x="125" y="142"/>
                      <a:pt x="125" y="142"/>
                    </a:cubicBezTo>
                    <a:cubicBezTo>
                      <a:pt x="124" y="141"/>
                      <a:pt x="124" y="141"/>
                      <a:pt x="124" y="141"/>
                    </a:cubicBezTo>
                    <a:cubicBezTo>
                      <a:pt x="121" y="137"/>
                      <a:pt x="121" y="137"/>
                      <a:pt x="121" y="137"/>
                    </a:cubicBezTo>
                    <a:cubicBezTo>
                      <a:pt x="118" y="135"/>
                      <a:pt x="118" y="135"/>
                      <a:pt x="118" y="135"/>
                    </a:cubicBezTo>
                    <a:cubicBezTo>
                      <a:pt x="117" y="134"/>
                      <a:pt x="117" y="134"/>
                      <a:pt x="117" y="134"/>
                    </a:cubicBezTo>
                    <a:cubicBezTo>
                      <a:pt x="116" y="133"/>
                      <a:pt x="116" y="133"/>
                      <a:pt x="116" y="133"/>
                    </a:cubicBezTo>
                    <a:cubicBezTo>
                      <a:pt x="114" y="130"/>
                      <a:pt x="114" y="130"/>
                      <a:pt x="114" y="130"/>
                    </a:cubicBezTo>
                    <a:cubicBezTo>
                      <a:pt x="111" y="127"/>
                      <a:pt x="111" y="127"/>
                      <a:pt x="111" y="127"/>
                    </a:cubicBezTo>
                    <a:cubicBezTo>
                      <a:pt x="109" y="125"/>
                      <a:pt x="109" y="125"/>
                      <a:pt x="109" y="125"/>
                    </a:cubicBezTo>
                    <a:cubicBezTo>
                      <a:pt x="107" y="122"/>
                      <a:pt x="107" y="122"/>
                      <a:pt x="107" y="122"/>
                    </a:cubicBezTo>
                    <a:cubicBezTo>
                      <a:pt x="109" y="120"/>
                      <a:pt x="109" y="120"/>
                      <a:pt x="109" y="120"/>
                    </a:cubicBezTo>
                    <a:cubicBezTo>
                      <a:pt x="108" y="119"/>
                      <a:pt x="107" y="119"/>
                      <a:pt x="107" y="118"/>
                    </a:cubicBezTo>
                    <a:cubicBezTo>
                      <a:pt x="106" y="118"/>
                      <a:pt x="104" y="117"/>
                      <a:pt x="105" y="116"/>
                    </a:cubicBezTo>
                    <a:cubicBezTo>
                      <a:pt x="105" y="115"/>
                      <a:pt x="104" y="114"/>
                      <a:pt x="104" y="112"/>
                    </a:cubicBezTo>
                    <a:cubicBezTo>
                      <a:pt x="104" y="111"/>
                      <a:pt x="104" y="110"/>
                      <a:pt x="103" y="110"/>
                    </a:cubicBezTo>
                    <a:cubicBezTo>
                      <a:pt x="102" y="109"/>
                      <a:pt x="102" y="109"/>
                      <a:pt x="102" y="109"/>
                    </a:cubicBezTo>
                    <a:cubicBezTo>
                      <a:pt x="101" y="109"/>
                      <a:pt x="100" y="109"/>
                      <a:pt x="100" y="109"/>
                    </a:cubicBezTo>
                    <a:cubicBezTo>
                      <a:pt x="99" y="109"/>
                      <a:pt x="99" y="109"/>
                      <a:pt x="99" y="109"/>
                    </a:cubicBezTo>
                    <a:cubicBezTo>
                      <a:pt x="99" y="109"/>
                      <a:pt x="100" y="107"/>
                      <a:pt x="100" y="105"/>
                    </a:cubicBezTo>
                    <a:cubicBezTo>
                      <a:pt x="96" y="104"/>
                      <a:pt x="96" y="104"/>
                      <a:pt x="96" y="104"/>
                    </a:cubicBezTo>
                    <a:cubicBezTo>
                      <a:pt x="96" y="104"/>
                      <a:pt x="96" y="101"/>
                      <a:pt x="94" y="100"/>
                    </a:cubicBezTo>
                    <a:cubicBezTo>
                      <a:pt x="92" y="100"/>
                      <a:pt x="92" y="100"/>
                      <a:pt x="92" y="100"/>
                    </a:cubicBezTo>
                    <a:cubicBezTo>
                      <a:pt x="91" y="101"/>
                      <a:pt x="91" y="102"/>
                      <a:pt x="91" y="102"/>
                    </a:cubicBezTo>
                    <a:cubicBezTo>
                      <a:pt x="87" y="98"/>
                      <a:pt x="87" y="98"/>
                      <a:pt x="87" y="98"/>
                    </a:cubicBezTo>
                    <a:cubicBezTo>
                      <a:pt x="87" y="98"/>
                      <a:pt x="87" y="97"/>
                      <a:pt x="88" y="95"/>
                    </a:cubicBezTo>
                    <a:cubicBezTo>
                      <a:pt x="90" y="93"/>
                      <a:pt x="88" y="92"/>
                      <a:pt x="88" y="92"/>
                    </a:cubicBezTo>
                    <a:cubicBezTo>
                      <a:pt x="87" y="89"/>
                      <a:pt x="87" y="89"/>
                      <a:pt x="87" y="89"/>
                    </a:cubicBezTo>
                    <a:cubicBezTo>
                      <a:pt x="88" y="87"/>
                      <a:pt x="88" y="87"/>
                      <a:pt x="88" y="87"/>
                    </a:cubicBezTo>
                    <a:cubicBezTo>
                      <a:pt x="87" y="86"/>
                      <a:pt x="87" y="86"/>
                      <a:pt x="87" y="86"/>
                    </a:cubicBezTo>
                    <a:cubicBezTo>
                      <a:pt x="86" y="85"/>
                      <a:pt x="86" y="85"/>
                      <a:pt x="86" y="85"/>
                    </a:cubicBezTo>
                    <a:cubicBezTo>
                      <a:pt x="86" y="85"/>
                      <a:pt x="86" y="85"/>
                      <a:pt x="86" y="85"/>
                    </a:cubicBezTo>
                    <a:cubicBezTo>
                      <a:pt x="86" y="85"/>
                      <a:pt x="86" y="85"/>
                      <a:pt x="86" y="85"/>
                    </a:cubicBezTo>
                    <a:cubicBezTo>
                      <a:pt x="88" y="81"/>
                      <a:pt x="88" y="81"/>
                      <a:pt x="88" y="81"/>
                    </a:cubicBezTo>
                    <a:cubicBezTo>
                      <a:pt x="88" y="81"/>
                      <a:pt x="87" y="77"/>
                      <a:pt x="88" y="76"/>
                    </a:cubicBezTo>
                    <a:cubicBezTo>
                      <a:pt x="88" y="76"/>
                      <a:pt x="88" y="76"/>
                      <a:pt x="88" y="76"/>
                    </a:cubicBezTo>
                    <a:cubicBezTo>
                      <a:pt x="88" y="75"/>
                      <a:pt x="88" y="75"/>
                      <a:pt x="89" y="75"/>
                    </a:cubicBezTo>
                    <a:cubicBezTo>
                      <a:pt x="89" y="74"/>
                      <a:pt x="94" y="73"/>
                      <a:pt x="94" y="73"/>
                    </a:cubicBezTo>
                    <a:cubicBezTo>
                      <a:pt x="96" y="72"/>
                      <a:pt x="96" y="72"/>
                      <a:pt x="96" y="72"/>
                    </a:cubicBezTo>
                    <a:cubicBezTo>
                      <a:pt x="100" y="77"/>
                      <a:pt x="100" y="77"/>
                      <a:pt x="100" y="77"/>
                    </a:cubicBezTo>
                    <a:cubicBezTo>
                      <a:pt x="104" y="81"/>
                      <a:pt x="104" y="81"/>
                      <a:pt x="104" y="81"/>
                    </a:cubicBezTo>
                    <a:cubicBezTo>
                      <a:pt x="107" y="83"/>
                      <a:pt x="107" y="83"/>
                      <a:pt x="107" y="83"/>
                    </a:cubicBezTo>
                    <a:cubicBezTo>
                      <a:pt x="107" y="83"/>
                      <a:pt x="108" y="82"/>
                      <a:pt x="109" y="82"/>
                    </a:cubicBezTo>
                    <a:cubicBezTo>
                      <a:pt x="109" y="81"/>
                      <a:pt x="109" y="79"/>
                      <a:pt x="109" y="79"/>
                    </a:cubicBezTo>
                    <a:cubicBezTo>
                      <a:pt x="111" y="77"/>
                      <a:pt x="111" y="77"/>
                      <a:pt x="111" y="77"/>
                    </a:cubicBezTo>
                    <a:cubicBezTo>
                      <a:pt x="112" y="75"/>
                      <a:pt x="112" y="75"/>
                      <a:pt x="112" y="75"/>
                    </a:cubicBezTo>
                    <a:cubicBezTo>
                      <a:pt x="112" y="73"/>
                      <a:pt x="112" y="73"/>
                      <a:pt x="112" y="73"/>
                    </a:cubicBezTo>
                    <a:cubicBezTo>
                      <a:pt x="114" y="72"/>
                      <a:pt x="114" y="72"/>
                      <a:pt x="114" y="72"/>
                    </a:cubicBezTo>
                    <a:cubicBezTo>
                      <a:pt x="117" y="71"/>
                      <a:pt x="117" y="71"/>
                      <a:pt x="117" y="71"/>
                    </a:cubicBezTo>
                    <a:cubicBezTo>
                      <a:pt x="121" y="70"/>
                      <a:pt x="121" y="70"/>
                      <a:pt x="121" y="70"/>
                    </a:cubicBezTo>
                    <a:cubicBezTo>
                      <a:pt x="121" y="70"/>
                      <a:pt x="124" y="71"/>
                      <a:pt x="125" y="71"/>
                    </a:cubicBezTo>
                    <a:cubicBezTo>
                      <a:pt x="125" y="71"/>
                      <a:pt x="126" y="71"/>
                      <a:pt x="126" y="71"/>
                    </a:cubicBezTo>
                    <a:cubicBezTo>
                      <a:pt x="128" y="68"/>
                      <a:pt x="128" y="68"/>
                      <a:pt x="128" y="68"/>
                    </a:cubicBezTo>
                    <a:cubicBezTo>
                      <a:pt x="128" y="68"/>
                      <a:pt x="128" y="68"/>
                      <a:pt x="128" y="68"/>
                    </a:cubicBezTo>
                    <a:cubicBezTo>
                      <a:pt x="129" y="66"/>
                      <a:pt x="129" y="66"/>
                      <a:pt x="129" y="66"/>
                    </a:cubicBezTo>
                    <a:cubicBezTo>
                      <a:pt x="134" y="68"/>
                      <a:pt x="134" y="68"/>
                      <a:pt x="134" y="68"/>
                    </a:cubicBezTo>
                    <a:cubicBezTo>
                      <a:pt x="136" y="70"/>
                      <a:pt x="136" y="70"/>
                      <a:pt x="136" y="70"/>
                    </a:cubicBezTo>
                    <a:cubicBezTo>
                      <a:pt x="141" y="71"/>
                      <a:pt x="141" y="71"/>
                      <a:pt x="141" y="71"/>
                    </a:cubicBezTo>
                    <a:cubicBezTo>
                      <a:pt x="141" y="71"/>
                      <a:pt x="141" y="71"/>
                      <a:pt x="141" y="71"/>
                    </a:cubicBezTo>
                    <a:cubicBezTo>
                      <a:pt x="143" y="71"/>
                      <a:pt x="143" y="71"/>
                      <a:pt x="143" y="71"/>
                    </a:cubicBezTo>
                    <a:cubicBezTo>
                      <a:pt x="143" y="70"/>
                      <a:pt x="143" y="70"/>
                      <a:pt x="143" y="70"/>
                    </a:cubicBezTo>
                    <a:cubicBezTo>
                      <a:pt x="147" y="70"/>
                      <a:pt x="147" y="70"/>
                      <a:pt x="147" y="70"/>
                    </a:cubicBezTo>
                    <a:cubicBezTo>
                      <a:pt x="152" y="71"/>
                      <a:pt x="152" y="71"/>
                      <a:pt x="152" y="71"/>
                    </a:cubicBezTo>
                    <a:cubicBezTo>
                      <a:pt x="155" y="71"/>
                      <a:pt x="155" y="71"/>
                      <a:pt x="155" y="71"/>
                    </a:cubicBezTo>
                    <a:cubicBezTo>
                      <a:pt x="160" y="71"/>
                      <a:pt x="160" y="71"/>
                      <a:pt x="160" y="71"/>
                    </a:cubicBezTo>
                    <a:cubicBezTo>
                      <a:pt x="163" y="72"/>
                      <a:pt x="163" y="72"/>
                      <a:pt x="163" y="72"/>
                    </a:cubicBezTo>
                    <a:cubicBezTo>
                      <a:pt x="165" y="73"/>
                      <a:pt x="165" y="73"/>
                      <a:pt x="165" y="73"/>
                    </a:cubicBezTo>
                    <a:cubicBezTo>
                      <a:pt x="165" y="73"/>
                      <a:pt x="165" y="73"/>
                      <a:pt x="166" y="72"/>
                    </a:cubicBezTo>
                    <a:cubicBezTo>
                      <a:pt x="166" y="72"/>
                      <a:pt x="169" y="72"/>
                      <a:pt x="169" y="72"/>
                    </a:cubicBezTo>
                    <a:cubicBezTo>
                      <a:pt x="170" y="69"/>
                      <a:pt x="170" y="69"/>
                      <a:pt x="170" y="69"/>
                    </a:cubicBezTo>
                    <a:cubicBezTo>
                      <a:pt x="171" y="71"/>
                      <a:pt x="171" y="71"/>
                      <a:pt x="171" y="71"/>
                    </a:cubicBezTo>
                    <a:cubicBezTo>
                      <a:pt x="172" y="71"/>
                      <a:pt x="174" y="71"/>
                      <a:pt x="174" y="71"/>
                    </a:cubicBezTo>
                    <a:cubicBezTo>
                      <a:pt x="175" y="68"/>
                      <a:pt x="175" y="68"/>
                      <a:pt x="175" y="68"/>
                    </a:cubicBezTo>
                    <a:cubicBezTo>
                      <a:pt x="176" y="69"/>
                      <a:pt x="176" y="69"/>
                      <a:pt x="176" y="69"/>
                    </a:cubicBezTo>
                    <a:cubicBezTo>
                      <a:pt x="177" y="69"/>
                      <a:pt x="177" y="69"/>
                      <a:pt x="178" y="69"/>
                    </a:cubicBezTo>
                    <a:cubicBezTo>
                      <a:pt x="179" y="69"/>
                      <a:pt x="180" y="68"/>
                      <a:pt x="180" y="68"/>
                    </a:cubicBezTo>
                    <a:cubicBezTo>
                      <a:pt x="180" y="68"/>
                      <a:pt x="181" y="69"/>
                      <a:pt x="181" y="69"/>
                    </a:cubicBezTo>
                    <a:cubicBezTo>
                      <a:pt x="181" y="69"/>
                      <a:pt x="182" y="68"/>
                      <a:pt x="183" y="68"/>
                    </a:cubicBezTo>
                    <a:cubicBezTo>
                      <a:pt x="185" y="68"/>
                      <a:pt x="186" y="67"/>
                      <a:pt x="186" y="67"/>
                    </a:cubicBezTo>
                    <a:cubicBezTo>
                      <a:pt x="186" y="67"/>
                      <a:pt x="187" y="69"/>
                      <a:pt x="189" y="70"/>
                    </a:cubicBezTo>
                    <a:cubicBezTo>
                      <a:pt x="189" y="70"/>
                      <a:pt x="189" y="70"/>
                      <a:pt x="189" y="70"/>
                    </a:cubicBezTo>
                    <a:cubicBezTo>
                      <a:pt x="191" y="70"/>
                      <a:pt x="191" y="70"/>
                      <a:pt x="191" y="70"/>
                    </a:cubicBezTo>
                    <a:cubicBezTo>
                      <a:pt x="191" y="70"/>
                      <a:pt x="191" y="70"/>
                      <a:pt x="191" y="70"/>
                    </a:cubicBezTo>
                    <a:cubicBezTo>
                      <a:pt x="191" y="70"/>
                      <a:pt x="192" y="69"/>
                      <a:pt x="193" y="69"/>
                    </a:cubicBezTo>
                    <a:cubicBezTo>
                      <a:pt x="195" y="69"/>
                      <a:pt x="196" y="69"/>
                      <a:pt x="197" y="69"/>
                    </a:cubicBezTo>
                    <a:cubicBezTo>
                      <a:pt x="199" y="69"/>
                      <a:pt x="200" y="71"/>
                      <a:pt x="200" y="71"/>
                    </a:cubicBezTo>
                    <a:cubicBezTo>
                      <a:pt x="203" y="74"/>
                      <a:pt x="203" y="74"/>
                      <a:pt x="203" y="74"/>
                    </a:cubicBezTo>
                    <a:cubicBezTo>
                      <a:pt x="203" y="74"/>
                      <a:pt x="204" y="76"/>
                      <a:pt x="204" y="77"/>
                    </a:cubicBezTo>
                    <a:cubicBezTo>
                      <a:pt x="205" y="78"/>
                      <a:pt x="205" y="79"/>
                      <a:pt x="205" y="79"/>
                    </a:cubicBezTo>
                    <a:cubicBezTo>
                      <a:pt x="205" y="79"/>
                      <a:pt x="213" y="82"/>
                      <a:pt x="214" y="82"/>
                    </a:cubicBezTo>
                    <a:cubicBezTo>
                      <a:pt x="214" y="82"/>
                      <a:pt x="215" y="82"/>
                      <a:pt x="215" y="82"/>
                    </a:cubicBezTo>
                    <a:close/>
                    <a:moveTo>
                      <a:pt x="175" y="191"/>
                    </a:moveTo>
                    <a:cubicBezTo>
                      <a:pt x="175" y="191"/>
                      <a:pt x="175" y="191"/>
                      <a:pt x="175" y="191"/>
                    </a:cubicBezTo>
                    <a:cubicBezTo>
                      <a:pt x="176" y="191"/>
                      <a:pt x="176" y="190"/>
                      <a:pt x="176" y="190"/>
                    </a:cubicBezTo>
                    <a:cubicBezTo>
                      <a:pt x="179" y="190"/>
                      <a:pt x="179" y="190"/>
                      <a:pt x="179" y="190"/>
                    </a:cubicBezTo>
                    <a:cubicBezTo>
                      <a:pt x="179" y="190"/>
                      <a:pt x="179" y="190"/>
                      <a:pt x="179" y="190"/>
                    </a:cubicBezTo>
                    <a:cubicBezTo>
                      <a:pt x="182" y="191"/>
                      <a:pt x="182" y="191"/>
                      <a:pt x="182" y="191"/>
                    </a:cubicBezTo>
                    <a:cubicBezTo>
                      <a:pt x="184" y="193"/>
                      <a:pt x="184" y="193"/>
                      <a:pt x="184" y="193"/>
                    </a:cubicBezTo>
                    <a:cubicBezTo>
                      <a:pt x="185" y="195"/>
                      <a:pt x="185" y="195"/>
                      <a:pt x="185" y="195"/>
                    </a:cubicBezTo>
                    <a:cubicBezTo>
                      <a:pt x="187" y="197"/>
                      <a:pt x="187" y="197"/>
                      <a:pt x="187" y="197"/>
                    </a:cubicBezTo>
                    <a:cubicBezTo>
                      <a:pt x="192" y="200"/>
                      <a:pt x="192" y="200"/>
                      <a:pt x="192" y="200"/>
                    </a:cubicBezTo>
                    <a:cubicBezTo>
                      <a:pt x="198" y="203"/>
                      <a:pt x="198" y="203"/>
                      <a:pt x="198" y="203"/>
                    </a:cubicBezTo>
                    <a:cubicBezTo>
                      <a:pt x="198" y="203"/>
                      <a:pt x="202" y="205"/>
                      <a:pt x="203" y="205"/>
                    </a:cubicBezTo>
                    <a:cubicBezTo>
                      <a:pt x="203" y="205"/>
                      <a:pt x="203" y="206"/>
                      <a:pt x="204" y="206"/>
                    </a:cubicBezTo>
                    <a:cubicBezTo>
                      <a:pt x="204" y="207"/>
                      <a:pt x="206" y="210"/>
                      <a:pt x="206" y="210"/>
                    </a:cubicBezTo>
                    <a:cubicBezTo>
                      <a:pt x="207" y="211"/>
                      <a:pt x="204" y="209"/>
                      <a:pt x="204" y="209"/>
                    </a:cubicBezTo>
                    <a:cubicBezTo>
                      <a:pt x="204" y="209"/>
                      <a:pt x="203" y="207"/>
                      <a:pt x="202" y="206"/>
                    </a:cubicBezTo>
                    <a:cubicBezTo>
                      <a:pt x="200" y="206"/>
                      <a:pt x="198" y="206"/>
                      <a:pt x="197" y="205"/>
                    </a:cubicBezTo>
                    <a:cubicBezTo>
                      <a:pt x="196" y="204"/>
                      <a:pt x="196" y="203"/>
                      <a:pt x="196" y="203"/>
                    </a:cubicBezTo>
                    <a:cubicBezTo>
                      <a:pt x="195" y="203"/>
                      <a:pt x="195" y="201"/>
                      <a:pt x="192" y="201"/>
                    </a:cubicBezTo>
                    <a:cubicBezTo>
                      <a:pt x="189" y="200"/>
                      <a:pt x="189" y="201"/>
                      <a:pt x="188" y="199"/>
                    </a:cubicBezTo>
                    <a:cubicBezTo>
                      <a:pt x="187" y="196"/>
                      <a:pt x="187" y="198"/>
                      <a:pt x="186" y="196"/>
                    </a:cubicBezTo>
                    <a:cubicBezTo>
                      <a:pt x="184" y="195"/>
                      <a:pt x="185" y="196"/>
                      <a:pt x="181" y="195"/>
                    </a:cubicBezTo>
                    <a:cubicBezTo>
                      <a:pt x="178" y="193"/>
                      <a:pt x="180" y="194"/>
                      <a:pt x="180" y="193"/>
                    </a:cubicBezTo>
                    <a:cubicBezTo>
                      <a:pt x="179" y="191"/>
                      <a:pt x="180" y="192"/>
                      <a:pt x="178" y="192"/>
                    </a:cubicBezTo>
                    <a:cubicBezTo>
                      <a:pt x="177" y="191"/>
                      <a:pt x="178" y="191"/>
                      <a:pt x="177" y="191"/>
                    </a:cubicBezTo>
                    <a:cubicBezTo>
                      <a:pt x="177" y="191"/>
                      <a:pt x="176" y="192"/>
                      <a:pt x="175" y="192"/>
                    </a:cubicBezTo>
                    <a:cubicBezTo>
                      <a:pt x="175" y="191"/>
                      <a:pt x="175" y="191"/>
                      <a:pt x="175" y="191"/>
                    </a:cubicBezTo>
                    <a:close/>
                    <a:moveTo>
                      <a:pt x="169" y="198"/>
                    </a:moveTo>
                    <a:cubicBezTo>
                      <a:pt x="169" y="198"/>
                      <a:pt x="169" y="198"/>
                      <a:pt x="169" y="198"/>
                    </a:cubicBezTo>
                    <a:cubicBezTo>
                      <a:pt x="169" y="198"/>
                      <a:pt x="167" y="198"/>
                      <a:pt x="166" y="198"/>
                    </a:cubicBezTo>
                    <a:cubicBezTo>
                      <a:pt x="166" y="198"/>
                      <a:pt x="165" y="197"/>
                      <a:pt x="164" y="197"/>
                    </a:cubicBezTo>
                    <a:cubicBezTo>
                      <a:pt x="163" y="197"/>
                      <a:pt x="161" y="197"/>
                      <a:pt x="161" y="197"/>
                    </a:cubicBezTo>
                    <a:cubicBezTo>
                      <a:pt x="160" y="197"/>
                      <a:pt x="159" y="196"/>
                      <a:pt x="159" y="196"/>
                    </a:cubicBezTo>
                    <a:cubicBezTo>
                      <a:pt x="159" y="196"/>
                      <a:pt x="159" y="195"/>
                      <a:pt x="159" y="195"/>
                    </a:cubicBezTo>
                    <a:cubicBezTo>
                      <a:pt x="159" y="195"/>
                      <a:pt x="161" y="194"/>
                      <a:pt x="161" y="194"/>
                    </a:cubicBezTo>
                    <a:cubicBezTo>
                      <a:pt x="161" y="195"/>
                      <a:pt x="167" y="196"/>
                      <a:pt x="167" y="196"/>
                    </a:cubicBezTo>
                    <a:cubicBezTo>
                      <a:pt x="171" y="196"/>
                      <a:pt x="171" y="196"/>
                      <a:pt x="171" y="196"/>
                    </a:cubicBezTo>
                    <a:cubicBezTo>
                      <a:pt x="171" y="196"/>
                      <a:pt x="172" y="196"/>
                      <a:pt x="172" y="196"/>
                    </a:cubicBezTo>
                    <a:cubicBezTo>
                      <a:pt x="172" y="196"/>
                      <a:pt x="173" y="196"/>
                      <a:pt x="174" y="197"/>
                    </a:cubicBezTo>
                    <a:cubicBezTo>
                      <a:pt x="175" y="197"/>
                      <a:pt x="175" y="197"/>
                      <a:pt x="175" y="198"/>
                    </a:cubicBezTo>
                    <a:cubicBezTo>
                      <a:pt x="175" y="198"/>
                      <a:pt x="176" y="199"/>
                      <a:pt x="175" y="199"/>
                    </a:cubicBezTo>
                    <a:cubicBezTo>
                      <a:pt x="175" y="199"/>
                      <a:pt x="174" y="199"/>
                      <a:pt x="174" y="199"/>
                    </a:cubicBezTo>
                    <a:cubicBezTo>
                      <a:pt x="174" y="199"/>
                      <a:pt x="172" y="198"/>
                      <a:pt x="172" y="198"/>
                    </a:cubicBezTo>
                    <a:cubicBezTo>
                      <a:pt x="170" y="198"/>
                      <a:pt x="170" y="198"/>
                      <a:pt x="170" y="198"/>
                    </a:cubicBezTo>
                    <a:cubicBezTo>
                      <a:pt x="169" y="198"/>
                      <a:pt x="169" y="198"/>
                      <a:pt x="169" y="198"/>
                    </a:cubicBezTo>
                    <a:close/>
                    <a:moveTo>
                      <a:pt x="138" y="199"/>
                    </a:moveTo>
                    <a:cubicBezTo>
                      <a:pt x="138" y="199"/>
                      <a:pt x="138" y="199"/>
                      <a:pt x="138" y="199"/>
                    </a:cubicBezTo>
                    <a:cubicBezTo>
                      <a:pt x="138" y="199"/>
                      <a:pt x="142" y="198"/>
                      <a:pt x="142" y="198"/>
                    </a:cubicBezTo>
                    <a:cubicBezTo>
                      <a:pt x="144" y="199"/>
                      <a:pt x="144" y="199"/>
                      <a:pt x="144" y="199"/>
                    </a:cubicBezTo>
                    <a:cubicBezTo>
                      <a:pt x="144" y="199"/>
                      <a:pt x="144" y="200"/>
                      <a:pt x="143" y="200"/>
                    </a:cubicBezTo>
                    <a:cubicBezTo>
                      <a:pt x="143" y="200"/>
                      <a:pt x="141" y="202"/>
                      <a:pt x="141" y="202"/>
                    </a:cubicBezTo>
                    <a:cubicBezTo>
                      <a:pt x="138" y="200"/>
                      <a:pt x="138" y="200"/>
                      <a:pt x="138" y="200"/>
                    </a:cubicBezTo>
                    <a:cubicBezTo>
                      <a:pt x="138" y="199"/>
                      <a:pt x="138" y="199"/>
                      <a:pt x="138" y="199"/>
                    </a:cubicBezTo>
                    <a:close/>
                    <a:moveTo>
                      <a:pt x="107" y="194"/>
                    </a:moveTo>
                    <a:cubicBezTo>
                      <a:pt x="107" y="194"/>
                      <a:pt x="107" y="194"/>
                      <a:pt x="107" y="194"/>
                    </a:cubicBezTo>
                    <a:cubicBezTo>
                      <a:pt x="108" y="194"/>
                      <a:pt x="109" y="193"/>
                      <a:pt x="109" y="194"/>
                    </a:cubicBezTo>
                    <a:cubicBezTo>
                      <a:pt x="109" y="195"/>
                      <a:pt x="108" y="196"/>
                      <a:pt x="108" y="196"/>
                    </a:cubicBezTo>
                    <a:cubicBezTo>
                      <a:pt x="108" y="196"/>
                      <a:pt x="107" y="196"/>
                      <a:pt x="107" y="196"/>
                    </a:cubicBezTo>
                    <a:cubicBezTo>
                      <a:pt x="107" y="195"/>
                      <a:pt x="107" y="194"/>
                      <a:pt x="107" y="194"/>
                    </a:cubicBezTo>
                    <a:close/>
                    <a:moveTo>
                      <a:pt x="113" y="189"/>
                    </a:moveTo>
                    <a:cubicBezTo>
                      <a:pt x="113" y="189"/>
                      <a:pt x="113" y="189"/>
                      <a:pt x="113" y="189"/>
                    </a:cubicBezTo>
                    <a:cubicBezTo>
                      <a:pt x="113" y="189"/>
                      <a:pt x="115" y="188"/>
                      <a:pt x="115" y="188"/>
                    </a:cubicBezTo>
                    <a:cubicBezTo>
                      <a:pt x="116" y="189"/>
                      <a:pt x="117" y="189"/>
                      <a:pt x="116" y="190"/>
                    </a:cubicBezTo>
                    <a:cubicBezTo>
                      <a:pt x="116" y="190"/>
                      <a:pt x="116" y="190"/>
                      <a:pt x="115" y="191"/>
                    </a:cubicBezTo>
                    <a:cubicBezTo>
                      <a:pt x="114" y="192"/>
                      <a:pt x="112" y="193"/>
                      <a:pt x="112" y="193"/>
                    </a:cubicBezTo>
                    <a:cubicBezTo>
                      <a:pt x="112" y="193"/>
                      <a:pt x="112" y="193"/>
                      <a:pt x="111" y="193"/>
                    </a:cubicBezTo>
                    <a:cubicBezTo>
                      <a:pt x="109" y="192"/>
                      <a:pt x="108" y="191"/>
                      <a:pt x="108" y="191"/>
                    </a:cubicBezTo>
                    <a:cubicBezTo>
                      <a:pt x="108" y="191"/>
                      <a:pt x="107" y="190"/>
                      <a:pt x="109" y="190"/>
                    </a:cubicBezTo>
                    <a:cubicBezTo>
                      <a:pt x="110" y="189"/>
                      <a:pt x="111" y="189"/>
                      <a:pt x="111" y="189"/>
                    </a:cubicBezTo>
                    <a:cubicBezTo>
                      <a:pt x="112" y="189"/>
                      <a:pt x="113" y="189"/>
                      <a:pt x="113" y="189"/>
                    </a:cubicBezTo>
                    <a:close/>
                    <a:moveTo>
                      <a:pt x="124" y="178"/>
                    </a:moveTo>
                    <a:cubicBezTo>
                      <a:pt x="124" y="178"/>
                      <a:pt x="124" y="178"/>
                      <a:pt x="124" y="178"/>
                    </a:cubicBezTo>
                    <a:cubicBezTo>
                      <a:pt x="124" y="178"/>
                      <a:pt x="126" y="177"/>
                      <a:pt x="126" y="177"/>
                    </a:cubicBezTo>
                    <a:cubicBezTo>
                      <a:pt x="126" y="177"/>
                      <a:pt x="126" y="177"/>
                      <a:pt x="127" y="177"/>
                    </a:cubicBezTo>
                    <a:cubicBezTo>
                      <a:pt x="127" y="177"/>
                      <a:pt x="127" y="177"/>
                      <a:pt x="128" y="177"/>
                    </a:cubicBezTo>
                    <a:cubicBezTo>
                      <a:pt x="128" y="177"/>
                      <a:pt x="129" y="176"/>
                      <a:pt x="130" y="177"/>
                    </a:cubicBezTo>
                    <a:cubicBezTo>
                      <a:pt x="131" y="177"/>
                      <a:pt x="131" y="178"/>
                      <a:pt x="132" y="178"/>
                    </a:cubicBezTo>
                    <a:cubicBezTo>
                      <a:pt x="132" y="178"/>
                      <a:pt x="133" y="178"/>
                      <a:pt x="133" y="178"/>
                    </a:cubicBezTo>
                    <a:cubicBezTo>
                      <a:pt x="134" y="178"/>
                      <a:pt x="134" y="178"/>
                      <a:pt x="136" y="178"/>
                    </a:cubicBezTo>
                    <a:cubicBezTo>
                      <a:pt x="138" y="178"/>
                      <a:pt x="141" y="178"/>
                      <a:pt x="141" y="178"/>
                    </a:cubicBezTo>
                    <a:cubicBezTo>
                      <a:pt x="141" y="179"/>
                      <a:pt x="142" y="178"/>
                      <a:pt x="143" y="178"/>
                    </a:cubicBezTo>
                    <a:cubicBezTo>
                      <a:pt x="145" y="179"/>
                      <a:pt x="145" y="179"/>
                      <a:pt x="145" y="179"/>
                    </a:cubicBezTo>
                    <a:cubicBezTo>
                      <a:pt x="146" y="179"/>
                      <a:pt x="145" y="180"/>
                      <a:pt x="147" y="179"/>
                    </a:cubicBezTo>
                    <a:cubicBezTo>
                      <a:pt x="148" y="179"/>
                      <a:pt x="148" y="179"/>
                      <a:pt x="148" y="179"/>
                    </a:cubicBezTo>
                    <a:cubicBezTo>
                      <a:pt x="148" y="179"/>
                      <a:pt x="148" y="179"/>
                      <a:pt x="149" y="178"/>
                    </a:cubicBezTo>
                    <a:cubicBezTo>
                      <a:pt x="150" y="178"/>
                      <a:pt x="151" y="177"/>
                      <a:pt x="151" y="177"/>
                    </a:cubicBezTo>
                    <a:cubicBezTo>
                      <a:pt x="152" y="177"/>
                      <a:pt x="152" y="177"/>
                      <a:pt x="152" y="177"/>
                    </a:cubicBezTo>
                    <a:cubicBezTo>
                      <a:pt x="152" y="180"/>
                      <a:pt x="152" y="180"/>
                      <a:pt x="152" y="180"/>
                    </a:cubicBezTo>
                    <a:cubicBezTo>
                      <a:pt x="152" y="180"/>
                      <a:pt x="152" y="180"/>
                      <a:pt x="152" y="181"/>
                    </a:cubicBezTo>
                    <a:cubicBezTo>
                      <a:pt x="152" y="181"/>
                      <a:pt x="151" y="182"/>
                      <a:pt x="150" y="182"/>
                    </a:cubicBezTo>
                    <a:cubicBezTo>
                      <a:pt x="150" y="182"/>
                      <a:pt x="149" y="181"/>
                      <a:pt x="149" y="181"/>
                    </a:cubicBezTo>
                    <a:cubicBezTo>
                      <a:pt x="149" y="180"/>
                      <a:pt x="148" y="180"/>
                      <a:pt x="148" y="180"/>
                    </a:cubicBezTo>
                    <a:cubicBezTo>
                      <a:pt x="147" y="180"/>
                      <a:pt x="146" y="181"/>
                      <a:pt x="145" y="181"/>
                    </a:cubicBezTo>
                    <a:cubicBezTo>
                      <a:pt x="145" y="181"/>
                      <a:pt x="144" y="180"/>
                      <a:pt x="144" y="180"/>
                    </a:cubicBezTo>
                    <a:cubicBezTo>
                      <a:pt x="144" y="180"/>
                      <a:pt x="142" y="180"/>
                      <a:pt x="141" y="180"/>
                    </a:cubicBezTo>
                    <a:cubicBezTo>
                      <a:pt x="141" y="180"/>
                      <a:pt x="140" y="180"/>
                      <a:pt x="139" y="180"/>
                    </a:cubicBezTo>
                    <a:cubicBezTo>
                      <a:pt x="138" y="180"/>
                      <a:pt x="137" y="180"/>
                      <a:pt x="136" y="180"/>
                    </a:cubicBezTo>
                    <a:cubicBezTo>
                      <a:pt x="135" y="181"/>
                      <a:pt x="133" y="180"/>
                      <a:pt x="133" y="181"/>
                    </a:cubicBezTo>
                    <a:cubicBezTo>
                      <a:pt x="133" y="181"/>
                      <a:pt x="133" y="182"/>
                      <a:pt x="133" y="182"/>
                    </a:cubicBezTo>
                    <a:cubicBezTo>
                      <a:pt x="133" y="182"/>
                      <a:pt x="134" y="183"/>
                      <a:pt x="133" y="183"/>
                    </a:cubicBezTo>
                    <a:cubicBezTo>
                      <a:pt x="131" y="183"/>
                      <a:pt x="131" y="183"/>
                      <a:pt x="131" y="182"/>
                    </a:cubicBezTo>
                    <a:cubicBezTo>
                      <a:pt x="130" y="181"/>
                      <a:pt x="132" y="180"/>
                      <a:pt x="129" y="181"/>
                    </a:cubicBezTo>
                    <a:cubicBezTo>
                      <a:pt x="127" y="181"/>
                      <a:pt x="127" y="180"/>
                      <a:pt x="126" y="180"/>
                    </a:cubicBezTo>
                    <a:cubicBezTo>
                      <a:pt x="126" y="181"/>
                      <a:pt x="124" y="179"/>
                      <a:pt x="123" y="180"/>
                    </a:cubicBezTo>
                    <a:cubicBezTo>
                      <a:pt x="123" y="180"/>
                      <a:pt x="122" y="181"/>
                      <a:pt x="122" y="181"/>
                    </a:cubicBezTo>
                    <a:cubicBezTo>
                      <a:pt x="122" y="181"/>
                      <a:pt x="119" y="181"/>
                      <a:pt x="119" y="181"/>
                    </a:cubicBezTo>
                    <a:cubicBezTo>
                      <a:pt x="119" y="181"/>
                      <a:pt x="120" y="178"/>
                      <a:pt x="120" y="178"/>
                    </a:cubicBezTo>
                    <a:cubicBezTo>
                      <a:pt x="120" y="178"/>
                      <a:pt x="120" y="178"/>
                      <a:pt x="121" y="178"/>
                    </a:cubicBezTo>
                    <a:cubicBezTo>
                      <a:pt x="122" y="178"/>
                      <a:pt x="123" y="178"/>
                      <a:pt x="123" y="178"/>
                    </a:cubicBezTo>
                    <a:cubicBezTo>
                      <a:pt x="124" y="178"/>
                      <a:pt x="124" y="178"/>
                      <a:pt x="124" y="178"/>
                    </a:cubicBezTo>
                    <a:close/>
                    <a:moveTo>
                      <a:pt x="120" y="172"/>
                    </a:moveTo>
                    <a:cubicBezTo>
                      <a:pt x="120" y="172"/>
                      <a:pt x="120" y="172"/>
                      <a:pt x="120" y="172"/>
                    </a:cubicBezTo>
                    <a:cubicBezTo>
                      <a:pt x="120" y="172"/>
                      <a:pt x="116" y="170"/>
                      <a:pt x="116" y="170"/>
                    </a:cubicBezTo>
                    <a:cubicBezTo>
                      <a:pt x="115" y="170"/>
                      <a:pt x="114" y="170"/>
                      <a:pt x="113" y="170"/>
                    </a:cubicBezTo>
                    <a:cubicBezTo>
                      <a:pt x="113" y="170"/>
                      <a:pt x="111" y="169"/>
                      <a:pt x="112" y="168"/>
                    </a:cubicBezTo>
                    <a:cubicBezTo>
                      <a:pt x="112" y="168"/>
                      <a:pt x="113" y="167"/>
                      <a:pt x="114" y="168"/>
                    </a:cubicBezTo>
                    <a:cubicBezTo>
                      <a:pt x="115" y="169"/>
                      <a:pt x="116" y="169"/>
                      <a:pt x="116" y="170"/>
                    </a:cubicBezTo>
                    <a:cubicBezTo>
                      <a:pt x="117" y="170"/>
                      <a:pt x="119" y="171"/>
                      <a:pt x="119" y="171"/>
                    </a:cubicBezTo>
                    <a:cubicBezTo>
                      <a:pt x="120" y="171"/>
                      <a:pt x="120" y="172"/>
                      <a:pt x="120" y="171"/>
                    </a:cubicBezTo>
                    <a:cubicBezTo>
                      <a:pt x="121" y="171"/>
                      <a:pt x="121" y="169"/>
                      <a:pt x="121" y="169"/>
                    </a:cubicBezTo>
                    <a:cubicBezTo>
                      <a:pt x="121" y="168"/>
                      <a:pt x="120" y="168"/>
                      <a:pt x="120" y="168"/>
                    </a:cubicBezTo>
                    <a:cubicBezTo>
                      <a:pt x="121" y="168"/>
                      <a:pt x="123" y="167"/>
                      <a:pt x="123" y="167"/>
                    </a:cubicBezTo>
                    <a:cubicBezTo>
                      <a:pt x="124" y="168"/>
                      <a:pt x="125" y="168"/>
                      <a:pt x="126" y="168"/>
                    </a:cubicBezTo>
                    <a:cubicBezTo>
                      <a:pt x="126" y="168"/>
                      <a:pt x="125" y="168"/>
                      <a:pt x="129" y="168"/>
                    </a:cubicBezTo>
                    <a:cubicBezTo>
                      <a:pt x="132" y="168"/>
                      <a:pt x="131" y="168"/>
                      <a:pt x="133" y="168"/>
                    </a:cubicBezTo>
                    <a:cubicBezTo>
                      <a:pt x="134" y="168"/>
                      <a:pt x="136" y="168"/>
                      <a:pt x="136" y="168"/>
                    </a:cubicBezTo>
                    <a:cubicBezTo>
                      <a:pt x="136" y="169"/>
                      <a:pt x="138" y="170"/>
                      <a:pt x="138" y="170"/>
                    </a:cubicBezTo>
                    <a:cubicBezTo>
                      <a:pt x="138" y="171"/>
                      <a:pt x="139" y="171"/>
                      <a:pt x="138" y="172"/>
                    </a:cubicBezTo>
                    <a:cubicBezTo>
                      <a:pt x="136" y="173"/>
                      <a:pt x="136" y="173"/>
                      <a:pt x="134" y="173"/>
                    </a:cubicBezTo>
                    <a:cubicBezTo>
                      <a:pt x="133" y="173"/>
                      <a:pt x="134" y="173"/>
                      <a:pt x="132" y="174"/>
                    </a:cubicBezTo>
                    <a:cubicBezTo>
                      <a:pt x="129" y="174"/>
                      <a:pt x="127" y="174"/>
                      <a:pt x="127" y="174"/>
                    </a:cubicBezTo>
                    <a:cubicBezTo>
                      <a:pt x="127" y="174"/>
                      <a:pt x="128" y="174"/>
                      <a:pt x="125" y="174"/>
                    </a:cubicBezTo>
                    <a:cubicBezTo>
                      <a:pt x="123" y="173"/>
                      <a:pt x="122" y="174"/>
                      <a:pt x="121" y="173"/>
                    </a:cubicBezTo>
                    <a:cubicBezTo>
                      <a:pt x="121" y="173"/>
                      <a:pt x="120" y="172"/>
                      <a:pt x="120" y="172"/>
                    </a:cubicBezTo>
                    <a:close/>
                    <a:moveTo>
                      <a:pt x="50" y="94"/>
                    </a:moveTo>
                    <a:cubicBezTo>
                      <a:pt x="50" y="94"/>
                      <a:pt x="50" y="94"/>
                      <a:pt x="50" y="94"/>
                    </a:cubicBezTo>
                    <a:cubicBezTo>
                      <a:pt x="50" y="94"/>
                      <a:pt x="50" y="93"/>
                      <a:pt x="50" y="93"/>
                    </a:cubicBezTo>
                    <a:cubicBezTo>
                      <a:pt x="50" y="93"/>
                      <a:pt x="50" y="93"/>
                      <a:pt x="50" y="93"/>
                    </a:cubicBezTo>
                    <a:cubicBezTo>
                      <a:pt x="50" y="93"/>
                      <a:pt x="51" y="93"/>
                      <a:pt x="51" y="93"/>
                    </a:cubicBezTo>
                    <a:cubicBezTo>
                      <a:pt x="51" y="94"/>
                      <a:pt x="51" y="94"/>
                      <a:pt x="52" y="94"/>
                    </a:cubicBezTo>
                    <a:cubicBezTo>
                      <a:pt x="52" y="94"/>
                      <a:pt x="52" y="94"/>
                      <a:pt x="53" y="94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53" y="95"/>
                      <a:pt x="53" y="97"/>
                      <a:pt x="52" y="96"/>
                    </a:cubicBezTo>
                    <a:cubicBezTo>
                      <a:pt x="51" y="96"/>
                      <a:pt x="50" y="96"/>
                      <a:pt x="50" y="95"/>
                    </a:cubicBezTo>
                    <a:cubicBezTo>
                      <a:pt x="50" y="95"/>
                      <a:pt x="50" y="94"/>
                      <a:pt x="50" y="94"/>
                    </a:cubicBezTo>
                    <a:close/>
                    <a:moveTo>
                      <a:pt x="51" y="103"/>
                    </a:moveTo>
                    <a:cubicBezTo>
                      <a:pt x="51" y="103"/>
                      <a:pt x="51" y="103"/>
                      <a:pt x="51" y="103"/>
                    </a:cubicBezTo>
                    <a:cubicBezTo>
                      <a:pt x="51" y="103"/>
                      <a:pt x="50" y="103"/>
                      <a:pt x="50" y="103"/>
                    </a:cubicBezTo>
                    <a:cubicBezTo>
                      <a:pt x="50" y="103"/>
                      <a:pt x="48" y="102"/>
                      <a:pt x="47" y="102"/>
                    </a:cubicBezTo>
                    <a:cubicBezTo>
                      <a:pt x="47" y="101"/>
                      <a:pt x="47" y="101"/>
                      <a:pt x="48" y="101"/>
                    </a:cubicBezTo>
                    <a:cubicBezTo>
                      <a:pt x="48" y="100"/>
                      <a:pt x="48" y="99"/>
                      <a:pt x="48" y="99"/>
                    </a:cubicBezTo>
                    <a:cubicBezTo>
                      <a:pt x="48" y="99"/>
                      <a:pt x="49" y="98"/>
                      <a:pt x="49" y="98"/>
                    </a:cubicBezTo>
                    <a:cubicBezTo>
                      <a:pt x="50" y="98"/>
                      <a:pt x="50" y="98"/>
                      <a:pt x="50" y="98"/>
                    </a:cubicBezTo>
                    <a:cubicBezTo>
                      <a:pt x="50" y="98"/>
                      <a:pt x="50" y="97"/>
                      <a:pt x="50" y="97"/>
                    </a:cubicBezTo>
                    <a:cubicBezTo>
                      <a:pt x="50" y="96"/>
                      <a:pt x="51" y="96"/>
                      <a:pt x="51" y="96"/>
                    </a:cubicBezTo>
                    <a:cubicBezTo>
                      <a:pt x="51" y="96"/>
                      <a:pt x="53" y="98"/>
                      <a:pt x="53" y="99"/>
                    </a:cubicBezTo>
                    <a:cubicBezTo>
                      <a:pt x="53" y="99"/>
                      <a:pt x="50" y="99"/>
                      <a:pt x="50" y="99"/>
                    </a:cubicBezTo>
                    <a:cubicBezTo>
                      <a:pt x="50" y="99"/>
                      <a:pt x="50" y="99"/>
                      <a:pt x="51" y="101"/>
                    </a:cubicBezTo>
                    <a:cubicBezTo>
                      <a:pt x="52" y="102"/>
                      <a:pt x="52" y="101"/>
                      <a:pt x="52" y="101"/>
                    </a:cubicBezTo>
                    <a:cubicBezTo>
                      <a:pt x="52" y="102"/>
                      <a:pt x="52" y="102"/>
                      <a:pt x="54" y="102"/>
                    </a:cubicBezTo>
                    <a:cubicBezTo>
                      <a:pt x="55" y="103"/>
                      <a:pt x="54" y="103"/>
                      <a:pt x="55" y="104"/>
                    </a:cubicBezTo>
                    <a:cubicBezTo>
                      <a:pt x="55" y="104"/>
                      <a:pt x="54" y="105"/>
                      <a:pt x="54" y="105"/>
                    </a:cubicBezTo>
                    <a:cubicBezTo>
                      <a:pt x="53" y="106"/>
                      <a:pt x="53" y="105"/>
                      <a:pt x="53" y="105"/>
                    </a:cubicBezTo>
                    <a:cubicBezTo>
                      <a:pt x="53" y="105"/>
                      <a:pt x="52" y="103"/>
                      <a:pt x="51" y="103"/>
                    </a:cubicBezTo>
                    <a:close/>
                    <a:moveTo>
                      <a:pt x="55" y="117"/>
                    </a:moveTo>
                    <a:cubicBezTo>
                      <a:pt x="55" y="117"/>
                      <a:pt x="55" y="117"/>
                      <a:pt x="55" y="117"/>
                    </a:cubicBezTo>
                    <a:cubicBezTo>
                      <a:pt x="55" y="117"/>
                      <a:pt x="56" y="116"/>
                      <a:pt x="56" y="117"/>
                    </a:cubicBezTo>
                    <a:cubicBezTo>
                      <a:pt x="57" y="117"/>
                      <a:pt x="57" y="118"/>
                      <a:pt x="57" y="118"/>
                    </a:cubicBezTo>
                    <a:cubicBezTo>
                      <a:pt x="58" y="119"/>
                      <a:pt x="59" y="119"/>
                      <a:pt x="60" y="119"/>
                    </a:cubicBezTo>
                    <a:cubicBezTo>
                      <a:pt x="60" y="120"/>
                      <a:pt x="60" y="121"/>
                      <a:pt x="60" y="121"/>
                    </a:cubicBezTo>
                    <a:cubicBezTo>
                      <a:pt x="60" y="121"/>
                      <a:pt x="59" y="122"/>
                      <a:pt x="59" y="121"/>
                    </a:cubicBezTo>
                    <a:cubicBezTo>
                      <a:pt x="58" y="120"/>
                      <a:pt x="58" y="120"/>
                      <a:pt x="58" y="120"/>
                    </a:cubicBezTo>
                    <a:cubicBezTo>
                      <a:pt x="58" y="120"/>
                      <a:pt x="57" y="119"/>
                      <a:pt x="57" y="119"/>
                    </a:cubicBezTo>
                    <a:cubicBezTo>
                      <a:pt x="57" y="119"/>
                      <a:pt x="55" y="117"/>
                      <a:pt x="55" y="117"/>
                    </a:cubicBezTo>
                    <a:close/>
                    <a:moveTo>
                      <a:pt x="53" y="121"/>
                    </a:moveTo>
                    <a:cubicBezTo>
                      <a:pt x="53" y="121"/>
                      <a:pt x="53" y="121"/>
                      <a:pt x="53" y="121"/>
                    </a:cubicBezTo>
                    <a:cubicBezTo>
                      <a:pt x="53" y="121"/>
                      <a:pt x="53" y="120"/>
                      <a:pt x="53" y="120"/>
                    </a:cubicBezTo>
                    <a:cubicBezTo>
                      <a:pt x="53" y="120"/>
                      <a:pt x="54" y="120"/>
                      <a:pt x="54" y="121"/>
                    </a:cubicBezTo>
                    <a:cubicBezTo>
                      <a:pt x="54" y="121"/>
                      <a:pt x="55" y="122"/>
                      <a:pt x="55" y="122"/>
                    </a:cubicBezTo>
                    <a:cubicBezTo>
                      <a:pt x="55" y="123"/>
                      <a:pt x="54" y="123"/>
                      <a:pt x="54" y="123"/>
                    </a:cubicBezTo>
                    <a:cubicBezTo>
                      <a:pt x="54" y="124"/>
                      <a:pt x="55" y="124"/>
                      <a:pt x="54" y="124"/>
                    </a:cubicBezTo>
                    <a:cubicBezTo>
                      <a:pt x="53" y="124"/>
                      <a:pt x="53" y="124"/>
                      <a:pt x="53" y="124"/>
                    </a:cubicBezTo>
                    <a:cubicBezTo>
                      <a:pt x="53" y="124"/>
                      <a:pt x="53" y="123"/>
                      <a:pt x="53" y="123"/>
                    </a:cubicBezTo>
                    <a:cubicBezTo>
                      <a:pt x="53" y="122"/>
                      <a:pt x="53" y="121"/>
                      <a:pt x="53" y="121"/>
                    </a:cubicBezTo>
                    <a:close/>
                    <a:moveTo>
                      <a:pt x="49" y="121"/>
                    </a:moveTo>
                    <a:cubicBezTo>
                      <a:pt x="49" y="121"/>
                      <a:pt x="49" y="121"/>
                      <a:pt x="49" y="121"/>
                    </a:cubicBezTo>
                    <a:cubicBezTo>
                      <a:pt x="49" y="121"/>
                      <a:pt x="50" y="121"/>
                      <a:pt x="50" y="122"/>
                    </a:cubicBezTo>
                    <a:cubicBezTo>
                      <a:pt x="50" y="122"/>
                      <a:pt x="51" y="122"/>
                      <a:pt x="51" y="123"/>
                    </a:cubicBezTo>
                    <a:cubicBezTo>
                      <a:pt x="51" y="123"/>
                      <a:pt x="51" y="123"/>
                      <a:pt x="51" y="124"/>
                    </a:cubicBezTo>
                    <a:cubicBezTo>
                      <a:pt x="51" y="125"/>
                      <a:pt x="52" y="125"/>
                      <a:pt x="51" y="125"/>
                    </a:cubicBezTo>
                    <a:cubicBezTo>
                      <a:pt x="50" y="124"/>
                      <a:pt x="50" y="124"/>
                      <a:pt x="50" y="124"/>
                    </a:cubicBezTo>
                    <a:cubicBezTo>
                      <a:pt x="49" y="123"/>
                      <a:pt x="49" y="123"/>
                      <a:pt x="49" y="123"/>
                    </a:cubicBezTo>
                    <a:cubicBezTo>
                      <a:pt x="49" y="122"/>
                      <a:pt x="49" y="122"/>
                      <a:pt x="49" y="122"/>
                    </a:cubicBezTo>
                    <a:cubicBezTo>
                      <a:pt x="49" y="121"/>
                      <a:pt x="49" y="121"/>
                      <a:pt x="49" y="121"/>
                    </a:cubicBezTo>
                    <a:close/>
                    <a:moveTo>
                      <a:pt x="34" y="116"/>
                    </a:moveTo>
                    <a:cubicBezTo>
                      <a:pt x="34" y="116"/>
                      <a:pt x="34" y="116"/>
                      <a:pt x="34" y="116"/>
                    </a:cubicBezTo>
                    <a:cubicBezTo>
                      <a:pt x="34" y="116"/>
                      <a:pt x="35" y="116"/>
                      <a:pt x="35" y="116"/>
                    </a:cubicBezTo>
                    <a:cubicBezTo>
                      <a:pt x="36" y="117"/>
                      <a:pt x="35" y="117"/>
                      <a:pt x="36" y="118"/>
                    </a:cubicBezTo>
                    <a:cubicBezTo>
                      <a:pt x="36" y="118"/>
                      <a:pt x="35" y="119"/>
                      <a:pt x="35" y="119"/>
                    </a:cubicBezTo>
                    <a:cubicBezTo>
                      <a:pt x="34" y="118"/>
                      <a:pt x="34" y="118"/>
                      <a:pt x="34" y="118"/>
                    </a:cubicBezTo>
                    <a:cubicBezTo>
                      <a:pt x="34" y="116"/>
                      <a:pt x="34" y="116"/>
                      <a:pt x="34" y="116"/>
                    </a:cubicBezTo>
                    <a:close/>
                    <a:moveTo>
                      <a:pt x="34" y="112"/>
                    </a:moveTo>
                    <a:cubicBezTo>
                      <a:pt x="34" y="112"/>
                      <a:pt x="34" y="112"/>
                      <a:pt x="34" y="112"/>
                    </a:cubicBezTo>
                    <a:cubicBezTo>
                      <a:pt x="34" y="112"/>
                      <a:pt x="32" y="112"/>
                      <a:pt x="32" y="112"/>
                    </a:cubicBezTo>
                    <a:cubicBezTo>
                      <a:pt x="32" y="112"/>
                      <a:pt x="31" y="112"/>
                      <a:pt x="31" y="111"/>
                    </a:cubicBezTo>
                    <a:cubicBezTo>
                      <a:pt x="31" y="111"/>
                      <a:pt x="31" y="110"/>
                      <a:pt x="32" y="110"/>
                    </a:cubicBezTo>
                    <a:cubicBezTo>
                      <a:pt x="32" y="110"/>
                      <a:pt x="32" y="109"/>
                      <a:pt x="32" y="108"/>
                    </a:cubicBezTo>
                    <a:cubicBezTo>
                      <a:pt x="32" y="108"/>
                      <a:pt x="33" y="108"/>
                      <a:pt x="33" y="108"/>
                    </a:cubicBezTo>
                    <a:cubicBezTo>
                      <a:pt x="33" y="108"/>
                      <a:pt x="34" y="109"/>
                      <a:pt x="34" y="109"/>
                    </a:cubicBezTo>
                    <a:cubicBezTo>
                      <a:pt x="34" y="109"/>
                      <a:pt x="34" y="111"/>
                      <a:pt x="34" y="112"/>
                    </a:cubicBezTo>
                    <a:close/>
                    <a:moveTo>
                      <a:pt x="34" y="89"/>
                    </a:moveTo>
                    <a:cubicBezTo>
                      <a:pt x="34" y="89"/>
                      <a:pt x="34" y="89"/>
                      <a:pt x="34" y="89"/>
                    </a:cubicBezTo>
                    <a:cubicBezTo>
                      <a:pt x="34" y="89"/>
                      <a:pt x="36" y="89"/>
                      <a:pt x="36" y="89"/>
                    </a:cubicBezTo>
                    <a:cubicBezTo>
                      <a:pt x="36" y="89"/>
                      <a:pt x="36" y="90"/>
                      <a:pt x="36" y="91"/>
                    </a:cubicBezTo>
                    <a:cubicBezTo>
                      <a:pt x="37" y="91"/>
                      <a:pt x="37" y="92"/>
                      <a:pt x="37" y="92"/>
                    </a:cubicBezTo>
                    <a:cubicBezTo>
                      <a:pt x="38" y="92"/>
                      <a:pt x="38" y="92"/>
                      <a:pt x="38" y="92"/>
                    </a:cubicBezTo>
                    <a:cubicBezTo>
                      <a:pt x="38" y="92"/>
                      <a:pt x="39" y="91"/>
                      <a:pt x="39" y="92"/>
                    </a:cubicBezTo>
                    <a:cubicBezTo>
                      <a:pt x="40" y="92"/>
                      <a:pt x="41" y="91"/>
                      <a:pt x="41" y="91"/>
                    </a:cubicBezTo>
                    <a:cubicBezTo>
                      <a:pt x="41" y="91"/>
                      <a:pt x="42" y="92"/>
                      <a:pt x="42" y="92"/>
                    </a:cubicBezTo>
                    <a:cubicBezTo>
                      <a:pt x="42" y="93"/>
                      <a:pt x="41" y="94"/>
                      <a:pt x="41" y="94"/>
                    </a:cubicBezTo>
                    <a:cubicBezTo>
                      <a:pt x="40" y="94"/>
                      <a:pt x="39" y="93"/>
                      <a:pt x="39" y="93"/>
                    </a:cubicBezTo>
                    <a:cubicBezTo>
                      <a:pt x="39" y="93"/>
                      <a:pt x="38" y="92"/>
                      <a:pt x="38" y="93"/>
                    </a:cubicBezTo>
                    <a:cubicBezTo>
                      <a:pt x="38" y="93"/>
                      <a:pt x="38" y="94"/>
                      <a:pt x="38" y="95"/>
                    </a:cubicBezTo>
                    <a:cubicBezTo>
                      <a:pt x="39" y="95"/>
                      <a:pt x="39" y="95"/>
                      <a:pt x="39" y="96"/>
                    </a:cubicBezTo>
                    <a:cubicBezTo>
                      <a:pt x="38" y="96"/>
                      <a:pt x="38" y="97"/>
                      <a:pt x="38" y="97"/>
                    </a:cubicBezTo>
                    <a:cubicBezTo>
                      <a:pt x="38" y="98"/>
                      <a:pt x="39" y="99"/>
                      <a:pt x="39" y="99"/>
                    </a:cubicBezTo>
                    <a:cubicBezTo>
                      <a:pt x="39" y="99"/>
                      <a:pt x="39" y="99"/>
                      <a:pt x="39" y="100"/>
                    </a:cubicBezTo>
                    <a:cubicBezTo>
                      <a:pt x="39" y="100"/>
                      <a:pt x="40" y="101"/>
                      <a:pt x="40" y="101"/>
                    </a:cubicBezTo>
                    <a:cubicBezTo>
                      <a:pt x="40" y="102"/>
                      <a:pt x="40" y="103"/>
                      <a:pt x="40" y="103"/>
                    </a:cubicBezTo>
                    <a:cubicBezTo>
                      <a:pt x="41" y="104"/>
                      <a:pt x="41" y="104"/>
                      <a:pt x="41" y="104"/>
                    </a:cubicBezTo>
                    <a:cubicBezTo>
                      <a:pt x="40" y="106"/>
                      <a:pt x="40" y="106"/>
                      <a:pt x="40" y="106"/>
                    </a:cubicBezTo>
                    <a:cubicBezTo>
                      <a:pt x="40" y="106"/>
                      <a:pt x="41" y="107"/>
                      <a:pt x="41" y="107"/>
                    </a:cubicBezTo>
                    <a:cubicBezTo>
                      <a:pt x="41" y="108"/>
                      <a:pt x="43" y="109"/>
                      <a:pt x="43" y="110"/>
                    </a:cubicBezTo>
                    <a:cubicBezTo>
                      <a:pt x="43" y="110"/>
                      <a:pt x="43" y="112"/>
                      <a:pt x="42" y="112"/>
                    </a:cubicBezTo>
                    <a:cubicBezTo>
                      <a:pt x="42" y="112"/>
                      <a:pt x="41" y="113"/>
                      <a:pt x="41" y="112"/>
                    </a:cubicBezTo>
                    <a:cubicBezTo>
                      <a:pt x="40" y="111"/>
                      <a:pt x="39" y="109"/>
                      <a:pt x="39" y="109"/>
                    </a:cubicBezTo>
                    <a:cubicBezTo>
                      <a:pt x="39" y="109"/>
                      <a:pt x="39" y="109"/>
                      <a:pt x="39" y="109"/>
                    </a:cubicBezTo>
                    <a:cubicBezTo>
                      <a:pt x="39" y="110"/>
                      <a:pt x="38" y="111"/>
                      <a:pt x="38" y="111"/>
                    </a:cubicBezTo>
                    <a:cubicBezTo>
                      <a:pt x="38" y="112"/>
                      <a:pt x="40" y="113"/>
                      <a:pt x="40" y="113"/>
                    </a:cubicBezTo>
                    <a:cubicBezTo>
                      <a:pt x="40" y="113"/>
                      <a:pt x="39" y="111"/>
                      <a:pt x="40" y="113"/>
                    </a:cubicBezTo>
                    <a:cubicBezTo>
                      <a:pt x="41" y="115"/>
                      <a:pt x="42" y="116"/>
                      <a:pt x="42" y="116"/>
                    </a:cubicBezTo>
                    <a:cubicBezTo>
                      <a:pt x="42" y="116"/>
                      <a:pt x="43" y="117"/>
                      <a:pt x="44" y="117"/>
                    </a:cubicBezTo>
                    <a:cubicBezTo>
                      <a:pt x="44" y="118"/>
                      <a:pt x="44" y="118"/>
                      <a:pt x="45" y="119"/>
                    </a:cubicBezTo>
                    <a:cubicBezTo>
                      <a:pt x="45" y="119"/>
                      <a:pt x="46" y="120"/>
                      <a:pt x="45" y="120"/>
                    </a:cubicBezTo>
                    <a:cubicBezTo>
                      <a:pt x="44" y="121"/>
                      <a:pt x="45" y="121"/>
                      <a:pt x="44" y="121"/>
                    </a:cubicBezTo>
                    <a:cubicBezTo>
                      <a:pt x="44" y="120"/>
                      <a:pt x="43" y="120"/>
                      <a:pt x="43" y="119"/>
                    </a:cubicBezTo>
                    <a:cubicBezTo>
                      <a:pt x="43" y="118"/>
                      <a:pt x="42" y="117"/>
                      <a:pt x="42" y="116"/>
                    </a:cubicBezTo>
                    <a:cubicBezTo>
                      <a:pt x="41" y="116"/>
                      <a:pt x="40" y="115"/>
                      <a:pt x="40" y="115"/>
                    </a:cubicBezTo>
                    <a:cubicBezTo>
                      <a:pt x="39" y="115"/>
                      <a:pt x="39" y="114"/>
                      <a:pt x="39" y="114"/>
                    </a:cubicBezTo>
                    <a:cubicBezTo>
                      <a:pt x="39" y="114"/>
                      <a:pt x="38" y="114"/>
                      <a:pt x="38" y="114"/>
                    </a:cubicBezTo>
                    <a:cubicBezTo>
                      <a:pt x="38" y="114"/>
                      <a:pt x="36" y="114"/>
                      <a:pt x="36" y="114"/>
                    </a:cubicBezTo>
                    <a:cubicBezTo>
                      <a:pt x="36" y="113"/>
                      <a:pt x="36" y="113"/>
                      <a:pt x="37" y="112"/>
                    </a:cubicBezTo>
                    <a:cubicBezTo>
                      <a:pt x="37" y="112"/>
                      <a:pt x="38" y="112"/>
                      <a:pt x="38" y="112"/>
                    </a:cubicBezTo>
                    <a:cubicBezTo>
                      <a:pt x="38" y="112"/>
                      <a:pt x="37" y="111"/>
                      <a:pt x="37" y="111"/>
                    </a:cubicBezTo>
                    <a:cubicBezTo>
                      <a:pt x="37" y="111"/>
                      <a:pt x="37" y="110"/>
                      <a:pt x="37" y="110"/>
                    </a:cubicBezTo>
                    <a:cubicBezTo>
                      <a:pt x="36" y="110"/>
                      <a:pt x="36" y="111"/>
                      <a:pt x="36" y="110"/>
                    </a:cubicBezTo>
                    <a:cubicBezTo>
                      <a:pt x="36" y="109"/>
                      <a:pt x="36" y="109"/>
                      <a:pt x="36" y="108"/>
                    </a:cubicBezTo>
                    <a:cubicBezTo>
                      <a:pt x="36" y="108"/>
                      <a:pt x="36" y="106"/>
                      <a:pt x="36" y="106"/>
                    </a:cubicBezTo>
                    <a:cubicBezTo>
                      <a:pt x="37" y="107"/>
                      <a:pt x="37" y="107"/>
                      <a:pt x="37" y="107"/>
                    </a:cubicBezTo>
                    <a:cubicBezTo>
                      <a:pt x="38" y="105"/>
                      <a:pt x="38" y="105"/>
                      <a:pt x="38" y="105"/>
                    </a:cubicBezTo>
                    <a:cubicBezTo>
                      <a:pt x="38" y="105"/>
                      <a:pt x="38" y="105"/>
                      <a:pt x="37" y="105"/>
                    </a:cubicBezTo>
                    <a:cubicBezTo>
                      <a:pt x="36" y="105"/>
                      <a:pt x="36" y="103"/>
                      <a:pt x="36" y="103"/>
                    </a:cubicBezTo>
                    <a:cubicBezTo>
                      <a:pt x="36" y="103"/>
                      <a:pt x="36" y="102"/>
                      <a:pt x="36" y="102"/>
                    </a:cubicBezTo>
                    <a:cubicBezTo>
                      <a:pt x="36" y="102"/>
                      <a:pt x="35" y="102"/>
                      <a:pt x="35" y="101"/>
                    </a:cubicBezTo>
                    <a:cubicBezTo>
                      <a:pt x="34" y="100"/>
                      <a:pt x="34" y="99"/>
                      <a:pt x="34" y="99"/>
                    </a:cubicBezTo>
                    <a:cubicBezTo>
                      <a:pt x="34" y="99"/>
                      <a:pt x="35" y="99"/>
                      <a:pt x="34" y="98"/>
                    </a:cubicBezTo>
                    <a:cubicBezTo>
                      <a:pt x="34" y="97"/>
                      <a:pt x="34" y="97"/>
                      <a:pt x="33" y="97"/>
                    </a:cubicBezTo>
                    <a:cubicBezTo>
                      <a:pt x="33" y="96"/>
                      <a:pt x="33" y="95"/>
                      <a:pt x="34" y="95"/>
                    </a:cubicBezTo>
                    <a:cubicBezTo>
                      <a:pt x="34" y="95"/>
                      <a:pt x="34" y="95"/>
                      <a:pt x="35" y="95"/>
                    </a:cubicBezTo>
                    <a:cubicBezTo>
                      <a:pt x="35" y="96"/>
                      <a:pt x="36" y="96"/>
                      <a:pt x="36" y="96"/>
                    </a:cubicBezTo>
                    <a:cubicBezTo>
                      <a:pt x="36" y="95"/>
                      <a:pt x="37" y="94"/>
                      <a:pt x="36" y="94"/>
                    </a:cubicBezTo>
                    <a:cubicBezTo>
                      <a:pt x="36" y="93"/>
                      <a:pt x="35" y="92"/>
                      <a:pt x="35" y="92"/>
                    </a:cubicBezTo>
                    <a:cubicBezTo>
                      <a:pt x="34" y="91"/>
                      <a:pt x="34" y="91"/>
                      <a:pt x="34" y="91"/>
                    </a:cubicBezTo>
                    <a:cubicBezTo>
                      <a:pt x="34" y="91"/>
                      <a:pt x="34" y="91"/>
                      <a:pt x="34" y="90"/>
                    </a:cubicBezTo>
                    <a:cubicBezTo>
                      <a:pt x="34" y="90"/>
                      <a:pt x="34" y="89"/>
                      <a:pt x="34" y="89"/>
                    </a:cubicBezTo>
                    <a:close/>
                    <a:moveTo>
                      <a:pt x="33" y="89"/>
                    </a:moveTo>
                    <a:cubicBezTo>
                      <a:pt x="33" y="89"/>
                      <a:pt x="33" y="89"/>
                      <a:pt x="33" y="89"/>
                    </a:cubicBezTo>
                    <a:cubicBezTo>
                      <a:pt x="33" y="89"/>
                      <a:pt x="32" y="88"/>
                      <a:pt x="32" y="87"/>
                    </a:cubicBezTo>
                    <a:cubicBezTo>
                      <a:pt x="32" y="87"/>
                      <a:pt x="32" y="87"/>
                      <a:pt x="32" y="86"/>
                    </a:cubicBezTo>
                    <a:cubicBezTo>
                      <a:pt x="32" y="85"/>
                      <a:pt x="31" y="85"/>
                      <a:pt x="31" y="84"/>
                    </a:cubicBezTo>
                    <a:cubicBezTo>
                      <a:pt x="32" y="84"/>
                      <a:pt x="32" y="83"/>
                      <a:pt x="32" y="83"/>
                    </a:cubicBezTo>
                    <a:cubicBezTo>
                      <a:pt x="33" y="82"/>
                      <a:pt x="34" y="82"/>
                      <a:pt x="34" y="83"/>
                    </a:cubicBezTo>
                    <a:cubicBezTo>
                      <a:pt x="34" y="83"/>
                      <a:pt x="34" y="84"/>
                      <a:pt x="34" y="85"/>
                    </a:cubicBezTo>
                    <a:cubicBezTo>
                      <a:pt x="34" y="85"/>
                      <a:pt x="34" y="86"/>
                      <a:pt x="34" y="86"/>
                    </a:cubicBezTo>
                    <a:cubicBezTo>
                      <a:pt x="34" y="87"/>
                      <a:pt x="35" y="87"/>
                      <a:pt x="35" y="87"/>
                    </a:cubicBezTo>
                    <a:cubicBezTo>
                      <a:pt x="35" y="88"/>
                      <a:pt x="35" y="89"/>
                      <a:pt x="35" y="89"/>
                    </a:cubicBezTo>
                    <a:lnTo>
                      <a:pt x="33" y="8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48" name="Freeform 21">
                <a:extLst>
                  <a:ext uri="{FF2B5EF4-FFF2-40B4-BE49-F238E27FC236}">
                    <a16:creationId xmlns:a16="http://schemas.microsoft.com/office/drawing/2014/main" id="{7882BE02-9160-4CAC-4CD1-AD2313D5E5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25815" y="3204212"/>
                <a:ext cx="417058" cy="430332"/>
              </a:xfrm>
              <a:custGeom>
                <a:avLst/>
                <a:gdLst>
                  <a:gd name="T0" fmla="*/ 13 w 186"/>
                  <a:gd name="T1" fmla="*/ 14 h 198"/>
                  <a:gd name="T2" fmla="*/ 23 w 186"/>
                  <a:gd name="T3" fmla="*/ 6 h 198"/>
                  <a:gd name="T4" fmla="*/ 32 w 186"/>
                  <a:gd name="T5" fmla="*/ 3 h 198"/>
                  <a:gd name="T6" fmla="*/ 48 w 186"/>
                  <a:gd name="T7" fmla="*/ 1 h 198"/>
                  <a:gd name="T8" fmla="*/ 62 w 186"/>
                  <a:gd name="T9" fmla="*/ 9 h 198"/>
                  <a:gd name="T10" fmla="*/ 74 w 186"/>
                  <a:gd name="T11" fmla="*/ 20 h 198"/>
                  <a:gd name="T12" fmla="*/ 77 w 186"/>
                  <a:gd name="T13" fmla="*/ 32 h 198"/>
                  <a:gd name="T14" fmla="*/ 94 w 186"/>
                  <a:gd name="T15" fmla="*/ 40 h 198"/>
                  <a:gd name="T16" fmla="*/ 105 w 186"/>
                  <a:gd name="T17" fmla="*/ 44 h 198"/>
                  <a:gd name="T18" fmla="*/ 109 w 186"/>
                  <a:gd name="T19" fmla="*/ 54 h 198"/>
                  <a:gd name="T20" fmla="*/ 106 w 186"/>
                  <a:gd name="T21" fmla="*/ 63 h 198"/>
                  <a:gd name="T22" fmla="*/ 117 w 186"/>
                  <a:gd name="T23" fmla="*/ 69 h 198"/>
                  <a:gd name="T24" fmla="*/ 131 w 186"/>
                  <a:gd name="T25" fmla="*/ 70 h 198"/>
                  <a:gd name="T26" fmla="*/ 140 w 186"/>
                  <a:gd name="T27" fmla="*/ 68 h 198"/>
                  <a:gd name="T28" fmla="*/ 153 w 186"/>
                  <a:gd name="T29" fmla="*/ 65 h 198"/>
                  <a:gd name="T30" fmla="*/ 154 w 186"/>
                  <a:gd name="T31" fmla="*/ 67 h 198"/>
                  <a:gd name="T32" fmla="*/ 155 w 186"/>
                  <a:gd name="T33" fmla="*/ 77 h 198"/>
                  <a:gd name="T34" fmla="*/ 160 w 186"/>
                  <a:gd name="T35" fmla="*/ 84 h 198"/>
                  <a:gd name="T36" fmla="*/ 156 w 186"/>
                  <a:gd name="T37" fmla="*/ 96 h 198"/>
                  <a:gd name="T38" fmla="*/ 155 w 186"/>
                  <a:gd name="T39" fmla="*/ 112 h 198"/>
                  <a:gd name="T40" fmla="*/ 168 w 186"/>
                  <a:gd name="T41" fmla="*/ 126 h 198"/>
                  <a:gd name="T42" fmla="*/ 182 w 186"/>
                  <a:gd name="T43" fmla="*/ 136 h 198"/>
                  <a:gd name="T44" fmla="*/ 178 w 186"/>
                  <a:gd name="T45" fmla="*/ 151 h 198"/>
                  <a:gd name="T46" fmla="*/ 170 w 186"/>
                  <a:gd name="T47" fmla="*/ 159 h 198"/>
                  <a:gd name="T48" fmla="*/ 170 w 186"/>
                  <a:gd name="T49" fmla="*/ 175 h 198"/>
                  <a:gd name="T50" fmla="*/ 173 w 186"/>
                  <a:gd name="T51" fmla="*/ 185 h 198"/>
                  <a:gd name="T52" fmla="*/ 160 w 186"/>
                  <a:gd name="T53" fmla="*/ 190 h 198"/>
                  <a:gd name="T54" fmla="*/ 150 w 186"/>
                  <a:gd name="T55" fmla="*/ 193 h 198"/>
                  <a:gd name="T56" fmla="*/ 139 w 186"/>
                  <a:gd name="T57" fmla="*/ 197 h 198"/>
                  <a:gd name="T58" fmla="*/ 139 w 186"/>
                  <a:gd name="T59" fmla="*/ 186 h 198"/>
                  <a:gd name="T60" fmla="*/ 144 w 186"/>
                  <a:gd name="T61" fmla="*/ 175 h 198"/>
                  <a:gd name="T62" fmla="*/ 128 w 186"/>
                  <a:gd name="T63" fmla="*/ 172 h 198"/>
                  <a:gd name="T64" fmla="*/ 116 w 186"/>
                  <a:gd name="T65" fmla="*/ 160 h 198"/>
                  <a:gd name="T66" fmla="*/ 101 w 186"/>
                  <a:gd name="T67" fmla="*/ 151 h 198"/>
                  <a:gd name="T68" fmla="*/ 93 w 186"/>
                  <a:gd name="T69" fmla="*/ 157 h 198"/>
                  <a:gd name="T70" fmla="*/ 89 w 186"/>
                  <a:gd name="T71" fmla="*/ 173 h 198"/>
                  <a:gd name="T72" fmla="*/ 81 w 186"/>
                  <a:gd name="T73" fmla="*/ 172 h 198"/>
                  <a:gd name="T74" fmla="*/ 75 w 186"/>
                  <a:gd name="T75" fmla="*/ 168 h 198"/>
                  <a:gd name="T76" fmla="*/ 65 w 186"/>
                  <a:gd name="T77" fmla="*/ 162 h 198"/>
                  <a:gd name="T78" fmla="*/ 57 w 186"/>
                  <a:gd name="T79" fmla="*/ 164 h 198"/>
                  <a:gd name="T80" fmla="*/ 50 w 186"/>
                  <a:gd name="T81" fmla="*/ 161 h 198"/>
                  <a:gd name="T82" fmla="*/ 45 w 186"/>
                  <a:gd name="T83" fmla="*/ 157 h 198"/>
                  <a:gd name="T84" fmla="*/ 40 w 186"/>
                  <a:gd name="T85" fmla="*/ 152 h 198"/>
                  <a:gd name="T86" fmla="*/ 32 w 186"/>
                  <a:gd name="T87" fmla="*/ 148 h 198"/>
                  <a:gd name="T88" fmla="*/ 34 w 186"/>
                  <a:gd name="T89" fmla="*/ 144 h 198"/>
                  <a:gd name="T90" fmla="*/ 43 w 186"/>
                  <a:gd name="T91" fmla="*/ 140 h 198"/>
                  <a:gd name="T92" fmla="*/ 35 w 186"/>
                  <a:gd name="T93" fmla="*/ 127 h 198"/>
                  <a:gd name="T94" fmla="*/ 32 w 186"/>
                  <a:gd name="T95" fmla="*/ 120 h 198"/>
                  <a:gd name="T96" fmla="*/ 43 w 186"/>
                  <a:gd name="T97" fmla="*/ 118 h 198"/>
                  <a:gd name="T98" fmla="*/ 37 w 186"/>
                  <a:gd name="T99" fmla="*/ 111 h 198"/>
                  <a:gd name="T100" fmla="*/ 28 w 186"/>
                  <a:gd name="T101" fmla="*/ 106 h 198"/>
                  <a:gd name="T102" fmla="*/ 22 w 186"/>
                  <a:gd name="T103" fmla="*/ 98 h 198"/>
                  <a:gd name="T104" fmla="*/ 24 w 186"/>
                  <a:gd name="T105" fmla="*/ 87 h 198"/>
                  <a:gd name="T106" fmla="*/ 27 w 186"/>
                  <a:gd name="T107" fmla="*/ 73 h 198"/>
                  <a:gd name="T108" fmla="*/ 15 w 186"/>
                  <a:gd name="T109" fmla="*/ 74 h 198"/>
                  <a:gd name="T110" fmla="*/ 14 w 186"/>
                  <a:gd name="T111" fmla="*/ 63 h 198"/>
                  <a:gd name="T112" fmla="*/ 16 w 186"/>
                  <a:gd name="T113" fmla="*/ 57 h 198"/>
                  <a:gd name="T114" fmla="*/ 24 w 186"/>
                  <a:gd name="T115" fmla="*/ 53 h 198"/>
                  <a:gd name="T116" fmla="*/ 13 w 186"/>
                  <a:gd name="T117" fmla="*/ 51 h 198"/>
                  <a:gd name="T118" fmla="*/ 7 w 186"/>
                  <a:gd name="T119" fmla="*/ 43 h 198"/>
                  <a:gd name="T120" fmla="*/ 5 w 186"/>
                  <a:gd name="T121" fmla="*/ 40 h 198"/>
                  <a:gd name="T122" fmla="*/ 3 w 186"/>
                  <a:gd name="T123" fmla="*/ 31 h 198"/>
                  <a:gd name="T124" fmla="*/ 4 w 186"/>
                  <a:gd name="T125" fmla="*/ 2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6" h="198">
                    <a:moveTo>
                      <a:pt x="11" y="14"/>
                    </a:moveTo>
                    <a:cubicBezTo>
                      <a:pt x="11" y="14"/>
                      <a:pt x="11" y="14"/>
                      <a:pt x="11" y="14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2" y="14"/>
                      <a:pt x="12" y="14"/>
                      <a:pt x="13" y="14"/>
                    </a:cubicBezTo>
                    <a:cubicBezTo>
                      <a:pt x="15" y="14"/>
                      <a:pt x="16" y="14"/>
                      <a:pt x="16" y="14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9" y="10"/>
                      <a:pt x="22" y="6"/>
                      <a:pt x="23" y="6"/>
                    </a:cubicBezTo>
                    <a:cubicBezTo>
                      <a:pt x="25" y="6"/>
                      <a:pt x="23" y="4"/>
                      <a:pt x="23" y="4"/>
                    </a:cubicBezTo>
                    <a:cubicBezTo>
                      <a:pt x="23" y="4"/>
                      <a:pt x="28" y="2"/>
                      <a:pt x="30" y="2"/>
                    </a:cubicBezTo>
                    <a:cubicBezTo>
                      <a:pt x="30" y="2"/>
                      <a:pt x="30" y="2"/>
                      <a:pt x="31" y="2"/>
                    </a:cubicBezTo>
                    <a:cubicBezTo>
                      <a:pt x="32" y="2"/>
                      <a:pt x="32" y="3"/>
                      <a:pt x="32" y="3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6" y="1"/>
                      <a:pt x="42" y="0"/>
                      <a:pt x="43" y="0"/>
                    </a:cubicBezTo>
                    <a:cubicBezTo>
                      <a:pt x="44" y="0"/>
                      <a:pt x="46" y="1"/>
                      <a:pt x="46" y="1"/>
                    </a:cubicBezTo>
                    <a:cubicBezTo>
                      <a:pt x="48" y="1"/>
                      <a:pt x="48" y="1"/>
                      <a:pt x="48" y="1"/>
                    </a:cubicBezTo>
                    <a:cubicBezTo>
                      <a:pt x="48" y="1"/>
                      <a:pt x="49" y="2"/>
                      <a:pt x="50" y="2"/>
                    </a:cubicBezTo>
                    <a:cubicBezTo>
                      <a:pt x="52" y="3"/>
                      <a:pt x="53" y="6"/>
                      <a:pt x="54" y="6"/>
                    </a:cubicBezTo>
                    <a:cubicBezTo>
                      <a:pt x="56" y="7"/>
                      <a:pt x="58" y="7"/>
                      <a:pt x="59" y="7"/>
                    </a:cubicBezTo>
                    <a:cubicBezTo>
                      <a:pt x="60" y="8"/>
                      <a:pt x="62" y="9"/>
                      <a:pt x="62" y="9"/>
                    </a:cubicBezTo>
                    <a:cubicBezTo>
                      <a:pt x="62" y="9"/>
                      <a:pt x="67" y="14"/>
                      <a:pt x="68" y="14"/>
                    </a:cubicBezTo>
                    <a:cubicBezTo>
                      <a:pt x="69" y="14"/>
                      <a:pt x="69" y="14"/>
                      <a:pt x="70" y="16"/>
                    </a:cubicBezTo>
                    <a:cubicBezTo>
                      <a:pt x="71" y="17"/>
                      <a:pt x="74" y="16"/>
                      <a:pt x="74" y="16"/>
                    </a:cubicBezTo>
                    <a:cubicBezTo>
                      <a:pt x="74" y="16"/>
                      <a:pt x="75" y="19"/>
                      <a:pt x="74" y="20"/>
                    </a:cubicBezTo>
                    <a:cubicBezTo>
                      <a:pt x="74" y="21"/>
                      <a:pt x="74" y="24"/>
                      <a:pt x="74" y="24"/>
                    </a:cubicBezTo>
                    <a:cubicBezTo>
                      <a:pt x="74" y="24"/>
                      <a:pt x="74" y="25"/>
                      <a:pt x="74" y="26"/>
                    </a:cubicBezTo>
                    <a:cubicBezTo>
                      <a:pt x="75" y="28"/>
                      <a:pt x="76" y="28"/>
                      <a:pt x="76" y="30"/>
                    </a:cubicBezTo>
                    <a:cubicBezTo>
                      <a:pt x="77" y="31"/>
                      <a:pt x="76" y="31"/>
                      <a:pt x="77" y="32"/>
                    </a:cubicBezTo>
                    <a:cubicBezTo>
                      <a:pt x="78" y="33"/>
                      <a:pt x="79" y="35"/>
                      <a:pt x="80" y="35"/>
                    </a:cubicBezTo>
                    <a:cubicBezTo>
                      <a:pt x="81" y="35"/>
                      <a:pt x="82" y="35"/>
                      <a:pt x="85" y="36"/>
                    </a:cubicBezTo>
                    <a:cubicBezTo>
                      <a:pt x="88" y="38"/>
                      <a:pt x="89" y="38"/>
                      <a:pt x="90" y="39"/>
                    </a:cubicBezTo>
                    <a:cubicBezTo>
                      <a:pt x="92" y="40"/>
                      <a:pt x="91" y="39"/>
                      <a:pt x="94" y="40"/>
                    </a:cubicBezTo>
                    <a:cubicBezTo>
                      <a:pt x="98" y="41"/>
                      <a:pt x="97" y="40"/>
                      <a:pt x="98" y="41"/>
                    </a:cubicBezTo>
                    <a:cubicBezTo>
                      <a:pt x="99" y="41"/>
                      <a:pt x="98" y="40"/>
                      <a:pt x="100" y="41"/>
                    </a:cubicBezTo>
                    <a:cubicBezTo>
                      <a:pt x="103" y="41"/>
                      <a:pt x="105" y="42"/>
                      <a:pt x="105" y="42"/>
                    </a:cubicBezTo>
                    <a:cubicBezTo>
                      <a:pt x="105" y="44"/>
                      <a:pt x="105" y="44"/>
                      <a:pt x="105" y="44"/>
                    </a:cubicBezTo>
                    <a:cubicBezTo>
                      <a:pt x="103" y="48"/>
                      <a:pt x="103" y="48"/>
                      <a:pt x="103" y="48"/>
                    </a:cubicBezTo>
                    <a:cubicBezTo>
                      <a:pt x="103" y="51"/>
                      <a:pt x="103" y="51"/>
                      <a:pt x="103" y="51"/>
                    </a:cubicBezTo>
                    <a:cubicBezTo>
                      <a:pt x="103" y="51"/>
                      <a:pt x="101" y="51"/>
                      <a:pt x="103" y="52"/>
                    </a:cubicBezTo>
                    <a:cubicBezTo>
                      <a:pt x="105" y="53"/>
                      <a:pt x="109" y="54"/>
                      <a:pt x="109" y="54"/>
                    </a:cubicBezTo>
                    <a:cubicBezTo>
                      <a:pt x="112" y="56"/>
                      <a:pt x="112" y="56"/>
                      <a:pt x="112" y="56"/>
                    </a:cubicBezTo>
                    <a:cubicBezTo>
                      <a:pt x="112" y="56"/>
                      <a:pt x="110" y="59"/>
                      <a:pt x="109" y="60"/>
                    </a:cubicBezTo>
                    <a:cubicBezTo>
                      <a:pt x="108" y="60"/>
                      <a:pt x="105" y="60"/>
                      <a:pt x="105" y="60"/>
                    </a:cubicBezTo>
                    <a:cubicBezTo>
                      <a:pt x="105" y="60"/>
                      <a:pt x="104" y="63"/>
                      <a:pt x="106" y="63"/>
                    </a:cubicBezTo>
                    <a:cubicBezTo>
                      <a:pt x="107" y="64"/>
                      <a:pt x="109" y="64"/>
                      <a:pt x="110" y="64"/>
                    </a:cubicBezTo>
                    <a:cubicBezTo>
                      <a:pt x="111" y="64"/>
                      <a:pt x="113" y="65"/>
                      <a:pt x="113" y="65"/>
                    </a:cubicBezTo>
                    <a:cubicBezTo>
                      <a:pt x="113" y="65"/>
                      <a:pt x="114" y="65"/>
                      <a:pt x="115" y="66"/>
                    </a:cubicBezTo>
                    <a:cubicBezTo>
                      <a:pt x="115" y="68"/>
                      <a:pt x="116" y="69"/>
                      <a:pt x="117" y="69"/>
                    </a:cubicBezTo>
                    <a:cubicBezTo>
                      <a:pt x="118" y="69"/>
                      <a:pt x="120" y="69"/>
                      <a:pt x="121" y="69"/>
                    </a:cubicBezTo>
                    <a:cubicBezTo>
                      <a:pt x="122" y="69"/>
                      <a:pt x="122" y="68"/>
                      <a:pt x="123" y="68"/>
                    </a:cubicBezTo>
                    <a:cubicBezTo>
                      <a:pt x="124" y="69"/>
                      <a:pt x="130" y="68"/>
                      <a:pt x="130" y="68"/>
                    </a:cubicBezTo>
                    <a:cubicBezTo>
                      <a:pt x="130" y="68"/>
                      <a:pt x="130" y="68"/>
                      <a:pt x="131" y="70"/>
                    </a:cubicBezTo>
                    <a:cubicBezTo>
                      <a:pt x="133" y="73"/>
                      <a:pt x="136" y="74"/>
                      <a:pt x="136" y="74"/>
                    </a:cubicBezTo>
                    <a:cubicBezTo>
                      <a:pt x="136" y="74"/>
                      <a:pt x="137" y="75"/>
                      <a:pt x="137" y="74"/>
                    </a:cubicBezTo>
                    <a:cubicBezTo>
                      <a:pt x="137" y="73"/>
                      <a:pt x="138" y="72"/>
                      <a:pt x="138" y="72"/>
                    </a:cubicBezTo>
                    <a:cubicBezTo>
                      <a:pt x="138" y="72"/>
                      <a:pt x="140" y="69"/>
                      <a:pt x="140" y="68"/>
                    </a:cubicBezTo>
                    <a:cubicBezTo>
                      <a:pt x="141" y="67"/>
                      <a:pt x="142" y="64"/>
                      <a:pt x="143" y="64"/>
                    </a:cubicBezTo>
                    <a:cubicBezTo>
                      <a:pt x="144" y="63"/>
                      <a:pt x="147" y="61"/>
                      <a:pt x="147" y="61"/>
                    </a:cubicBezTo>
                    <a:cubicBezTo>
                      <a:pt x="147" y="61"/>
                      <a:pt x="147" y="60"/>
                      <a:pt x="149" y="61"/>
                    </a:cubicBezTo>
                    <a:cubicBezTo>
                      <a:pt x="150" y="63"/>
                      <a:pt x="153" y="65"/>
                      <a:pt x="153" y="65"/>
                    </a:cubicBezTo>
                    <a:cubicBezTo>
                      <a:pt x="158" y="65"/>
                      <a:pt x="158" y="65"/>
                      <a:pt x="158" y="65"/>
                    </a:cubicBezTo>
                    <a:cubicBezTo>
                      <a:pt x="158" y="65"/>
                      <a:pt x="161" y="66"/>
                      <a:pt x="161" y="67"/>
                    </a:cubicBezTo>
                    <a:cubicBezTo>
                      <a:pt x="161" y="68"/>
                      <a:pt x="160" y="68"/>
                      <a:pt x="158" y="69"/>
                    </a:cubicBezTo>
                    <a:cubicBezTo>
                      <a:pt x="157" y="69"/>
                      <a:pt x="154" y="66"/>
                      <a:pt x="154" y="67"/>
                    </a:cubicBezTo>
                    <a:cubicBezTo>
                      <a:pt x="153" y="68"/>
                      <a:pt x="153" y="70"/>
                      <a:pt x="153" y="70"/>
                    </a:cubicBezTo>
                    <a:cubicBezTo>
                      <a:pt x="149" y="72"/>
                      <a:pt x="149" y="72"/>
                      <a:pt x="149" y="72"/>
                    </a:cubicBezTo>
                    <a:cubicBezTo>
                      <a:pt x="150" y="74"/>
                      <a:pt x="150" y="74"/>
                      <a:pt x="150" y="74"/>
                    </a:cubicBezTo>
                    <a:cubicBezTo>
                      <a:pt x="150" y="74"/>
                      <a:pt x="155" y="76"/>
                      <a:pt x="155" y="77"/>
                    </a:cubicBezTo>
                    <a:cubicBezTo>
                      <a:pt x="155" y="78"/>
                      <a:pt x="155" y="80"/>
                      <a:pt x="155" y="80"/>
                    </a:cubicBezTo>
                    <a:cubicBezTo>
                      <a:pt x="158" y="81"/>
                      <a:pt x="158" y="81"/>
                      <a:pt x="158" y="81"/>
                    </a:cubicBezTo>
                    <a:cubicBezTo>
                      <a:pt x="160" y="80"/>
                      <a:pt x="160" y="80"/>
                      <a:pt x="160" y="80"/>
                    </a:cubicBezTo>
                    <a:cubicBezTo>
                      <a:pt x="160" y="84"/>
                      <a:pt x="160" y="84"/>
                      <a:pt x="160" y="84"/>
                    </a:cubicBezTo>
                    <a:cubicBezTo>
                      <a:pt x="160" y="88"/>
                      <a:pt x="160" y="88"/>
                      <a:pt x="160" y="88"/>
                    </a:cubicBezTo>
                    <a:cubicBezTo>
                      <a:pt x="160" y="91"/>
                      <a:pt x="160" y="91"/>
                      <a:pt x="160" y="91"/>
                    </a:cubicBezTo>
                    <a:cubicBezTo>
                      <a:pt x="160" y="91"/>
                      <a:pt x="161" y="94"/>
                      <a:pt x="160" y="94"/>
                    </a:cubicBezTo>
                    <a:cubicBezTo>
                      <a:pt x="159" y="94"/>
                      <a:pt x="156" y="96"/>
                      <a:pt x="156" y="96"/>
                    </a:cubicBezTo>
                    <a:cubicBezTo>
                      <a:pt x="154" y="99"/>
                      <a:pt x="154" y="99"/>
                      <a:pt x="154" y="99"/>
                    </a:cubicBezTo>
                    <a:cubicBezTo>
                      <a:pt x="154" y="99"/>
                      <a:pt x="154" y="103"/>
                      <a:pt x="154" y="104"/>
                    </a:cubicBezTo>
                    <a:cubicBezTo>
                      <a:pt x="155" y="106"/>
                      <a:pt x="154" y="109"/>
                      <a:pt x="154" y="109"/>
                    </a:cubicBezTo>
                    <a:cubicBezTo>
                      <a:pt x="154" y="109"/>
                      <a:pt x="154" y="111"/>
                      <a:pt x="155" y="112"/>
                    </a:cubicBezTo>
                    <a:cubicBezTo>
                      <a:pt x="156" y="113"/>
                      <a:pt x="157" y="115"/>
                      <a:pt x="157" y="115"/>
                    </a:cubicBezTo>
                    <a:cubicBezTo>
                      <a:pt x="157" y="115"/>
                      <a:pt x="158" y="116"/>
                      <a:pt x="159" y="118"/>
                    </a:cubicBezTo>
                    <a:cubicBezTo>
                      <a:pt x="160" y="120"/>
                      <a:pt x="164" y="125"/>
                      <a:pt x="164" y="125"/>
                    </a:cubicBezTo>
                    <a:cubicBezTo>
                      <a:pt x="164" y="125"/>
                      <a:pt x="167" y="126"/>
                      <a:pt x="168" y="126"/>
                    </a:cubicBezTo>
                    <a:cubicBezTo>
                      <a:pt x="168" y="126"/>
                      <a:pt x="172" y="128"/>
                      <a:pt x="172" y="128"/>
                    </a:cubicBezTo>
                    <a:cubicBezTo>
                      <a:pt x="172" y="128"/>
                      <a:pt x="174" y="128"/>
                      <a:pt x="174" y="129"/>
                    </a:cubicBezTo>
                    <a:cubicBezTo>
                      <a:pt x="174" y="129"/>
                      <a:pt x="178" y="135"/>
                      <a:pt x="178" y="135"/>
                    </a:cubicBezTo>
                    <a:cubicBezTo>
                      <a:pt x="182" y="136"/>
                      <a:pt x="182" y="136"/>
                      <a:pt x="182" y="136"/>
                    </a:cubicBezTo>
                    <a:cubicBezTo>
                      <a:pt x="186" y="136"/>
                      <a:pt x="186" y="136"/>
                      <a:pt x="186" y="136"/>
                    </a:cubicBezTo>
                    <a:cubicBezTo>
                      <a:pt x="186" y="136"/>
                      <a:pt x="185" y="141"/>
                      <a:pt x="184" y="142"/>
                    </a:cubicBezTo>
                    <a:cubicBezTo>
                      <a:pt x="183" y="143"/>
                      <a:pt x="180" y="147"/>
                      <a:pt x="180" y="147"/>
                    </a:cubicBezTo>
                    <a:cubicBezTo>
                      <a:pt x="180" y="147"/>
                      <a:pt x="178" y="149"/>
                      <a:pt x="178" y="151"/>
                    </a:cubicBezTo>
                    <a:cubicBezTo>
                      <a:pt x="179" y="152"/>
                      <a:pt x="179" y="155"/>
                      <a:pt x="179" y="155"/>
                    </a:cubicBezTo>
                    <a:cubicBezTo>
                      <a:pt x="179" y="155"/>
                      <a:pt x="177" y="157"/>
                      <a:pt x="176" y="157"/>
                    </a:cubicBezTo>
                    <a:cubicBezTo>
                      <a:pt x="175" y="157"/>
                      <a:pt x="173" y="157"/>
                      <a:pt x="172" y="158"/>
                    </a:cubicBezTo>
                    <a:cubicBezTo>
                      <a:pt x="171" y="158"/>
                      <a:pt x="170" y="159"/>
                      <a:pt x="170" y="159"/>
                    </a:cubicBezTo>
                    <a:cubicBezTo>
                      <a:pt x="169" y="160"/>
                      <a:pt x="167" y="162"/>
                      <a:pt x="167" y="162"/>
                    </a:cubicBezTo>
                    <a:cubicBezTo>
                      <a:pt x="169" y="165"/>
                      <a:pt x="169" y="165"/>
                      <a:pt x="169" y="165"/>
                    </a:cubicBezTo>
                    <a:cubicBezTo>
                      <a:pt x="170" y="170"/>
                      <a:pt x="170" y="170"/>
                      <a:pt x="170" y="170"/>
                    </a:cubicBezTo>
                    <a:cubicBezTo>
                      <a:pt x="170" y="175"/>
                      <a:pt x="170" y="175"/>
                      <a:pt x="170" y="175"/>
                    </a:cubicBezTo>
                    <a:cubicBezTo>
                      <a:pt x="170" y="175"/>
                      <a:pt x="173" y="176"/>
                      <a:pt x="173" y="177"/>
                    </a:cubicBezTo>
                    <a:cubicBezTo>
                      <a:pt x="174" y="177"/>
                      <a:pt x="175" y="180"/>
                      <a:pt x="175" y="180"/>
                    </a:cubicBezTo>
                    <a:cubicBezTo>
                      <a:pt x="174" y="182"/>
                      <a:pt x="174" y="182"/>
                      <a:pt x="174" y="182"/>
                    </a:cubicBezTo>
                    <a:cubicBezTo>
                      <a:pt x="173" y="185"/>
                      <a:pt x="173" y="185"/>
                      <a:pt x="173" y="185"/>
                    </a:cubicBezTo>
                    <a:cubicBezTo>
                      <a:pt x="173" y="185"/>
                      <a:pt x="172" y="187"/>
                      <a:pt x="171" y="188"/>
                    </a:cubicBezTo>
                    <a:cubicBezTo>
                      <a:pt x="169" y="188"/>
                      <a:pt x="166" y="188"/>
                      <a:pt x="166" y="188"/>
                    </a:cubicBezTo>
                    <a:cubicBezTo>
                      <a:pt x="166" y="188"/>
                      <a:pt x="166" y="187"/>
                      <a:pt x="164" y="188"/>
                    </a:cubicBezTo>
                    <a:cubicBezTo>
                      <a:pt x="162" y="188"/>
                      <a:pt x="160" y="190"/>
                      <a:pt x="160" y="190"/>
                    </a:cubicBezTo>
                    <a:cubicBezTo>
                      <a:pt x="160" y="190"/>
                      <a:pt x="160" y="190"/>
                      <a:pt x="159" y="191"/>
                    </a:cubicBezTo>
                    <a:cubicBezTo>
                      <a:pt x="157" y="191"/>
                      <a:pt x="156" y="191"/>
                      <a:pt x="155" y="191"/>
                    </a:cubicBezTo>
                    <a:cubicBezTo>
                      <a:pt x="154" y="191"/>
                      <a:pt x="152" y="190"/>
                      <a:pt x="152" y="190"/>
                    </a:cubicBezTo>
                    <a:cubicBezTo>
                      <a:pt x="150" y="193"/>
                      <a:pt x="150" y="193"/>
                      <a:pt x="150" y="193"/>
                    </a:cubicBezTo>
                    <a:cubicBezTo>
                      <a:pt x="150" y="193"/>
                      <a:pt x="148" y="194"/>
                      <a:pt x="147" y="194"/>
                    </a:cubicBezTo>
                    <a:cubicBezTo>
                      <a:pt x="147" y="194"/>
                      <a:pt x="144" y="198"/>
                      <a:pt x="144" y="198"/>
                    </a:cubicBezTo>
                    <a:cubicBezTo>
                      <a:pt x="144" y="198"/>
                      <a:pt x="144" y="198"/>
                      <a:pt x="143" y="198"/>
                    </a:cubicBezTo>
                    <a:cubicBezTo>
                      <a:pt x="141" y="198"/>
                      <a:pt x="139" y="197"/>
                      <a:pt x="139" y="197"/>
                    </a:cubicBezTo>
                    <a:cubicBezTo>
                      <a:pt x="136" y="194"/>
                      <a:pt x="136" y="194"/>
                      <a:pt x="136" y="194"/>
                    </a:cubicBezTo>
                    <a:cubicBezTo>
                      <a:pt x="136" y="194"/>
                      <a:pt x="137" y="194"/>
                      <a:pt x="139" y="192"/>
                    </a:cubicBezTo>
                    <a:cubicBezTo>
                      <a:pt x="140" y="191"/>
                      <a:pt x="140" y="191"/>
                      <a:pt x="140" y="190"/>
                    </a:cubicBezTo>
                    <a:cubicBezTo>
                      <a:pt x="139" y="188"/>
                      <a:pt x="138" y="186"/>
                      <a:pt x="139" y="186"/>
                    </a:cubicBezTo>
                    <a:cubicBezTo>
                      <a:pt x="140" y="185"/>
                      <a:pt x="141" y="186"/>
                      <a:pt x="142" y="184"/>
                    </a:cubicBezTo>
                    <a:cubicBezTo>
                      <a:pt x="142" y="183"/>
                      <a:pt x="142" y="182"/>
                      <a:pt x="142" y="180"/>
                    </a:cubicBezTo>
                    <a:cubicBezTo>
                      <a:pt x="142" y="179"/>
                      <a:pt x="142" y="177"/>
                      <a:pt x="143" y="177"/>
                    </a:cubicBezTo>
                    <a:cubicBezTo>
                      <a:pt x="144" y="176"/>
                      <a:pt x="144" y="175"/>
                      <a:pt x="144" y="175"/>
                    </a:cubicBezTo>
                    <a:cubicBezTo>
                      <a:pt x="139" y="174"/>
                      <a:pt x="139" y="174"/>
                      <a:pt x="139" y="174"/>
                    </a:cubicBezTo>
                    <a:cubicBezTo>
                      <a:pt x="136" y="175"/>
                      <a:pt x="136" y="175"/>
                      <a:pt x="136" y="175"/>
                    </a:cubicBezTo>
                    <a:cubicBezTo>
                      <a:pt x="136" y="175"/>
                      <a:pt x="136" y="173"/>
                      <a:pt x="134" y="173"/>
                    </a:cubicBezTo>
                    <a:cubicBezTo>
                      <a:pt x="132" y="172"/>
                      <a:pt x="128" y="172"/>
                      <a:pt x="128" y="172"/>
                    </a:cubicBezTo>
                    <a:cubicBezTo>
                      <a:pt x="127" y="168"/>
                      <a:pt x="127" y="168"/>
                      <a:pt x="127" y="168"/>
                    </a:cubicBezTo>
                    <a:cubicBezTo>
                      <a:pt x="119" y="166"/>
                      <a:pt x="119" y="166"/>
                      <a:pt x="119" y="166"/>
                    </a:cubicBezTo>
                    <a:cubicBezTo>
                      <a:pt x="119" y="166"/>
                      <a:pt x="118" y="162"/>
                      <a:pt x="117" y="161"/>
                    </a:cubicBezTo>
                    <a:cubicBezTo>
                      <a:pt x="116" y="160"/>
                      <a:pt x="116" y="160"/>
                      <a:pt x="116" y="160"/>
                    </a:cubicBezTo>
                    <a:cubicBezTo>
                      <a:pt x="111" y="156"/>
                      <a:pt x="111" y="156"/>
                      <a:pt x="111" y="156"/>
                    </a:cubicBezTo>
                    <a:cubicBezTo>
                      <a:pt x="108" y="156"/>
                      <a:pt x="108" y="156"/>
                      <a:pt x="108" y="156"/>
                    </a:cubicBezTo>
                    <a:cubicBezTo>
                      <a:pt x="108" y="156"/>
                      <a:pt x="107" y="156"/>
                      <a:pt x="105" y="155"/>
                    </a:cubicBezTo>
                    <a:cubicBezTo>
                      <a:pt x="102" y="154"/>
                      <a:pt x="101" y="151"/>
                      <a:pt x="101" y="151"/>
                    </a:cubicBezTo>
                    <a:cubicBezTo>
                      <a:pt x="101" y="151"/>
                      <a:pt x="101" y="149"/>
                      <a:pt x="99" y="150"/>
                    </a:cubicBezTo>
                    <a:cubicBezTo>
                      <a:pt x="97" y="152"/>
                      <a:pt x="95" y="152"/>
                      <a:pt x="94" y="153"/>
                    </a:cubicBezTo>
                    <a:cubicBezTo>
                      <a:pt x="94" y="153"/>
                      <a:pt x="93" y="153"/>
                      <a:pt x="92" y="154"/>
                    </a:cubicBezTo>
                    <a:cubicBezTo>
                      <a:pt x="92" y="155"/>
                      <a:pt x="91" y="155"/>
                      <a:pt x="93" y="157"/>
                    </a:cubicBezTo>
                    <a:cubicBezTo>
                      <a:pt x="94" y="158"/>
                      <a:pt x="95" y="159"/>
                      <a:pt x="95" y="159"/>
                    </a:cubicBezTo>
                    <a:cubicBezTo>
                      <a:pt x="94" y="164"/>
                      <a:pt x="94" y="164"/>
                      <a:pt x="94" y="164"/>
                    </a:cubicBezTo>
                    <a:cubicBezTo>
                      <a:pt x="88" y="170"/>
                      <a:pt x="88" y="170"/>
                      <a:pt x="88" y="170"/>
                    </a:cubicBezTo>
                    <a:cubicBezTo>
                      <a:pt x="89" y="173"/>
                      <a:pt x="89" y="173"/>
                      <a:pt x="89" y="173"/>
                    </a:cubicBezTo>
                    <a:cubicBezTo>
                      <a:pt x="89" y="173"/>
                      <a:pt x="91" y="173"/>
                      <a:pt x="88" y="174"/>
                    </a:cubicBezTo>
                    <a:cubicBezTo>
                      <a:pt x="86" y="175"/>
                      <a:pt x="86" y="176"/>
                      <a:pt x="85" y="176"/>
                    </a:cubicBezTo>
                    <a:cubicBezTo>
                      <a:pt x="85" y="175"/>
                      <a:pt x="84" y="174"/>
                      <a:pt x="82" y="173"/>
                    </a:cubicBezTo>
                    <a:cubicBezTo>
                      <a:pt x="81" y="172"/>
                      <a:pt x="81" y="172"/>
                      <a:pt x="81" y="172"/>
                    </a:cubicBezTo>
                    <a:cubicBezTo>
                      <a:pt x="81" y="172"/>
                      <a:pt x="81" y="172"/>
                      <a:pt x="80" y="171"/>
                    </a:cubicBezTo>
                    <a:cubicBezTo>
                      <a:pt x="80" y="171"/>
                      <a:pt x="80" y="171"/>
                      <a:pt x="80" y="171"/>
                    </a:cubicBezTo>
                    <a:cubicBezTo>
                      <a:pt x="80" y="171"/>
                      <a:pt x="80" y="170"/>
                      <a:pt x="78" y="170"/>
                    </a:cubicBezTo>
                    <a:cubicBezTo>
                      <a:pt x="77" y="170"/>
                      <a:pt x="75" y="168"/>
                      <a:pt x="75" y="168"/>
                    </a:cubicBezTo>
                    <a:cubicBezTo>
                      <a:pt x="72" y="168"/>
                      <a:pt x="72" y="168"/>
                      <a:pt x="72" y="168"/>
                    </a:cubicBezTo>
                    <a:cubicBezTo>
                      <a:pt x="72" y="168"/>
                      <a:pt x="69" y="165"/>
                      <a:pt x="69" y="165"/>
                    </a:cubicBezTo>
                    <a:cubicBezTo>
                      <a:pt x="68" y="165"/>
                      <a:pt x="65" y="164"/>
                      <a:pt x="65" y="164"/>
                    </a:cubicBezTo>
                    <a:cubicBezTo>
                      <a:pt x="65" y="162"/>
                      <a:pt x="65" y="162"/>
                      <a:pt x="65" y="162"/>
                    </a:cubicBezTo>
                    <a:cubicBezTo>
                      <a:pt x="65" y="162"/>
                      <a:pt x="64" y="162"/>
                      <a:pt x="64" y="162"/>
                    </a:cubicBezTo>
                    <a:cubicBezTo>
                      <a:pt x="63" y="162"/>
                      <a:pt x="62" y="163"/>
                      <a:pt x="62" y="163"/>
                    </a:cubicBezTo>
                    <a:cubicBezTo>
                      <a:pt x="59" y="164"/>
                      <a:pt x="59" y="164"/>
                      <a:pt x="59" y="164"/>
                    </a:cubicBezTo>
                    <a:cubicBezTo>
                      <a:pt x="59" y="164"/>
                      <a:pt x="57" y="164"/>
                      <a:pt x="57" y="164"/>
                    </a:cubicBezTo>
                    <a:cubicBezTo>
                      <a:pt x="56" y="163"/>
                      <a:pt x="55" y="161"/>
                      <a:pt x="55" y="161"/>
                    </a:cubicBezTo>
                    <a:cubicBezTo>
                      <a:pt x="55" y="161"/>
                      <a:pt x="55" y="161"/>
                      <a:pt x="54" y="161"/>
                    </a:cubicBezTo>
                    <a:cubicBezTo>
                      <a:pt x="53" y="162"/>
                      <a:pt x="55" y="163"/>
                      <a:pt x="53" y="162"/>
                    </a:cubicBezTo>
                    <a:cubicBezTo>
                      <a:pt x="50" y="161"/>
                      <a:pt x="50" y="161"/>
                      <a:pt x="50" y="161"/>
                    </a:cubicBezTo>
                    <a:cubicBezTo>
                      <a:pt x="48" y="159"/>
                      <a:pt x="48" y="159"/>
                      <a:pt x="48" y="159"/>
                    </a:cubicBezTo>
                    <a:cubicBezTo>
                      <a:pt x="47" y="159"/>
                      <a:pt x="47" y="159"/>
                      <a:pt x="47" y="159"/>
                    </a:cubicBezTo>
                    <a:cubicBezTo>
                      <a:pt x="46" y="159"/>
                      <a:pt x="46" y="159"/>
                      <a:pt x="46" y="159"/>
                    </a:cubicBezTo>
                    <a:cubicBezTo>
                      <a:pt x="46" y="159"/>
                      <a:pt x="45" y="157"/>
                      <a:pt x="45" y="157"/>
                    </a:cubicBezTo>
                    <a:cubicBezTo>
                      <a:pt x="45" y="157"/>
                      <a:pt x="45" y="155"/>
                      <a:pt x="45" y="155"/>
                    </a:cubicBezTo>
                    <a:cubicBezTo>
                      <a:pt x="44" y="155"/>
                      <a:pt x="41" y="154"/>
                      <a:pt x="41" y="154"/>
                    </a:cubicBezTo>
                    <a:cubicBezTo>
                      <a:pt x="40" y="152"/>
                      <a:pt x="40" y="152"/>
                      <a:pt x="40" y="152"/>
                    </a:cubicBezTo>
                    <a:cubicBezTo>
                      <a:pt x="40" y="152"/>
                      <a:pt x="40" y="152"/>
                      <a:pt x="40" y="152"/>
                    </a:cubicBezTo>
                    <a:cubicBezTo>
                      <a:pt x="39" y="152"/>
                      <a:pt x="37" y="151"/>
                      <a:pt x="37" y="151"/>
                    </a:cubicBezTo>
                    <a:cubicBezTo>
                      <a:pt x="36" y="150"/>
                      <a:pt x="36" y="150"/>
                      <a:pt x="36" y="150"/>
                    </a:cubicBezTo>
                    <a:cubicBezTo>
                      <a:pt x="33" y="150"/>
                      <a:pt x="33" y="150"/>
                      <a:pt x="33" y="150"/>
                    </a:cubicBezTo>
                    <a:cubicBezTo>
                      <a:pt x="32" y="148"/>
                      <a:pt x="32" y="148"/>
                      <a:pt x="32" y="148"/>
                    </a:cubicBezTo>
                    <a:cubicBezTo>
                      <a:pt x="32" y="148"/>
                      <a:pt x="31" y="147"/>
                      <a:pt x="31" y="147"/>
                    </a:cubicBezTo>
                    <a:cubicBezTo>
                      <a:pt x="32" y="147"/>
                      <a:pt x="32" y="145"/>
                      <a:pt x="32" y="145"/>
                    </a:cubicBezTo>
                    <a:cubicBezTo>
                      <a:pt x="31" y="145"/>
                      <a:pt x="31" y="145"/>
                      <a:pt x="31" y="145"/>
                    </a:cubicBezTo>
                    <a:cubicBezTo>
                      <a:pt x="32" y="144"/>
                      <a:pt x="34" y="144"/>
                      <a:pt x="34" y="144"/>
                    </a:cubicBezTo>
                    <a:cubicBezTo>
                      <a:pt x="36" y="141"/>
                      <a:pt x="36" y="141"/>
                      <a:pt x="36" y="141"/>
                    </a:cubicBezTo>
                    <a:cubicBezTo>
                      <a:pt x="36" y="141"/>
                      <a:pt x="36" y="141"/>
                      <a:pt x="37" y="141"/>
                    </a:cubicBezTo>
                    <a:cubicBezTo>
                      <a:pt x="39" y="142"/>
                      <a:pt x="40" y="142"/>
                      <a:pt x="41" y="142"/>
                    </a:cubicBezTo>
                    <a:cubicBezTo>
                      <a:pt x="42" y="142"/>
                      <a:pt x="43" y="144"/>
                      <a:pt x="43" y="140"/>
                    </a:cubicBezTo>
                    <a:cubicBezTo>
                      <a:pt x="43" y="137"/>
                      <a:pt x="43" y="136"/>
                      <a:pt x="43" y="136"/>
                    </a:cubicBezTo>
                    <a:cubicBezTo>
                      <a:pt x="38" y="132"/>
                      <a:pt x="38" y="132"/>
                      <a:pt x="38" y="132"/>
                    </a:cubicBezTo>
                    <a:cubicBezTo>
                      <a:pt x="38" y="132"/>
                      <a:pt x="38" y="131"/>
                      <a:pt x="37" y="129"/>
                    </a:cubicBezTo>
                    <a:cubicBezTo>
                      <a:pt x="36" y="128"/>
                      <a:pt x="35" y="127"/>
                      <a:pt x="35" y="127"/>
                    </a:cubicBezTo>
                    <a:cubicBezTo>
                      <a:pt x="34" y="127"/>
                      <a:pt x="32" y="125"/>
                      <a:pt x="32" y="125"/>
                    </a:cubicBezTo>
                    <a:cubicBezTo>
                      <a:pt x="31" y="124"/>
                      <a:pt x="30" y="123"/>
                      <a:pt x="30" y="123"/>
                    </a:cubicBezTo>
                    <a:cubicBezTo>
                      <a:pt x="30" y="123"/>
                      <a:pt x="30" y="121"/>
                      <a:pt x="30" y="120"/>
                    </a:cubicBezTo>
                    <a:cubicBezTo>
                      <a:pt x="31" y="120"/>
                      <a:pt x="31" y="120"/>
                      <a:pt x="32" y="120"/>
                    </a:cubicBezTo>
                    <a:cubicBezTo>
                      <a:pt x="33" y="121"/>
                      <a:pt x="34" y="121"/>
                      <a:pt x="35" y="121"/>
                    </a:cubicBezTo>
                    <a:cubicBezTo>
                      <a:pt x="36" y="121"/>
                      <a:pt x="37" y="121"/>
                      <a:pt x="38" y="121"/>
                    </a:cubicBezTo>
                    <a:cubicBezTo>
                      <a:pt x="38" y="121"/>
                      <a:pt x="41" y="120"/>
                      <a:pt x="41" y="120"/>
                    </a:cubicBezTo>
                    <a:cubicBezTo>
                      <a:pt x="42" y="120"/>
                      <a:pt x="42" y="118"/>
                      <a:pt x="43" y="118"/>
                    </a:cubicBezTo>
                    <a:cubicBezTo>
                      <a:pt x="43" y="118"/>
                      <a:pt x="44" y="117"/>
                      <a:pt x="43" y="116"/>
                    </a:cubicBezTo>
                    <a:cubicBezTo>
                      <a:pt x="43" y="116"/>
                      <a:pt x="41" y="115"/>
                      <a:pt x="41" y="115"/>
                    </a:cubicBezTo>
                    <a:cubicBezTo>
                      <a:pt x="40" y="115"/>
                      <a:pt x="39" y="114"/>
                      <a:pt x="39" y="113"/>
                    </a:cubicBezTo>
                    <a:cubicBezTo>
                      <a:pt x="38" y="113"/>
                      <a:pt x="37" y="112"/>
                      <a:pt x="37" y="111"/>
                    </a:cubicBezTo>
                    <a:cubicBezTo>
                      <a:pt x="36" y="111"/>
                      <a:pt x="36" y="112"/>
                      <a:pt x="35" y="112"/>
                    </a:cubicBezTo>
                    <a:cubicBezTo>
                      <a:pt x="34" y="111"/>
                      <a:pt x="33" y="110"/>
                      <a:pt x="32" y="109"/>
                    </a:cubicBezTo>
                    <a:cubicBezTo>
                      <a:pt x="32" y="108"/>
                      <a:pt x="32" y="108"/>
                      <a:pt x="31" y="107"/>
                    </a:cubicBezTo>
                    <a:cubicBezTo>
                      <a:pt x="30" y="107"/>
                      <a:pt x="29" y="106"/>
                      <a:pt x="28" y="106"/>
                    </a:cubicBezTo>
                    <a:cubicBezTo>
                      <a:pt x="27" y="106"/>
                      <a:pt x="27" y="107"/>
                      <a:pt x="25" y="106"/>
                    </a:cubicBezTo>
                    <a:cubicBezTo>
                      <a:pt x="23" y="106"/>
                      <a:pt x="21" y="105"/>
                      <a:pt x="21" y="104"/>
                    </a:cubicBezTo>
                    <a:cubicBezTo>
                      <a:pt x="22" y="103"/>
                      <a:pt x="21" y="103"/>
                      <a:pt x="22" y="102"/>
                    </a:cubicBezTo>
                    <a:cubicBezTo>
                      <a:pt x="22" y="101"/>
                      <a:pt x="22" y="99"/>
                      <a:pt x="22" y="98"/>
                    </a:cubicBezTo>
                    <a:cubicBezTo>
                      <a:pt x="22" y="97"/>
                      <a:pt x="21" y="98"/>
                      <a:pt x="21" y="95"/>
                    </a:cubicBezTo>
                    <a:cubicBezTo>
                      <a:pt x="20" y="92"/>
                      <a:pt x="22" y="93"/>
                      <a:pt x="22" y="93"/>
                    </a:cubicBezTo>
                    <a:cubicBezTo>
                      <a:pt x="22" y="93"/>
                      <a:pt x="23" y="91"/>
                      <a:pt x="23" y="90"/>
                    </a:cubicBezTo>
                    <a:cubicBezTo>
                      <a:pt x="23" y="90"/>
                      <a:pt x="24" y="87"/>
                      <a:pt x="24" y="87"/>
                    </a:cubicBezTo>
                    <a:cubicBezTo>
                      <a:pt x="27" y="83"/>
                      <a:pt x="27" y="83"/>
                      <a:pt x="27" y="83"/>
                    </a:cubicBezTo>
                    <a:cubicBezTo>
                      <a:pt x="27" y="80"/>
                      <a:pt x="27" y="80"/>
                      <a:pt x="27" y="80"/>
                    </a:cubicBezTo>
                    <a:cubicBezTo>
                      <a:pt x="27" y="76"/>
                      <a:pt x="27" y="76"/>
                      <a:pt x="27" y="76"/>
                    </a:cubicBezTo>
                    <a:cubicBezTo>
                      <a:pt x="27" y="73"/>
                      <a:pt x="27" y="73"/>
                      <a:pt x="27" y="73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18" y="71"/>
                      <a:pt x="18" y="71"/>
                      <a:pt x="18" y="71"/>
                    </a:cubicBezTo>
                    <a:cubicBezTo>
                      <a:pt x="18" y="71"/>
                      <a:pt x="18" y="73"/>
                      <a:pt x="17" y="73"/>
                    </a:cubicBezTo>
                    <a:cubicBezTo>
                      <a:pt x="17" y="73"/>
                      <a:pt x="16" y="74"/>
                      <a:pt x="15" y="74"/>
                    </a:cubicBezTo>
                    <a:cubicBezTo>
                      <a:pt x="14" y="73"/>
                      <a:pt x="14" y="73"/>
                      <a:pt x="14" y="73"/>
                    </a:cubicBezTo>
                    <a:cubicBezTo>
                      <a:pt x="16" y="71"/>
                      <a:pt x="16" y="71"/>
                      <a:pt x="16" y="71"/>
                    </a:cubicBezTo>
                    <a:cubicBezTo>
                      <a:pt x="16" y="67"/>
                      <a:pt x="16" y="67"/>
                      <a:pt x="16" y="67"/>
                    </a:cubicBezTo>
                    <a:cubicBezTo>
                      <a:pt x="16" y="67"/>
                      <a:pt x="15" y="65"/>
                      <a:pt x="14" y="63"/>
                    </a:cubicBezTo>
                    <a:cubicBezTo>
                      <a:pt x="13" y="62"/>
                      <a:pt x="12" y="61"/>
                      <a:pt x="12" y="61"/>
                    </a:cubicBezTo>
                    <a:cubicBezTo>
                      <a:pt x="15" y="59"/>
                      <a:pt x="15" y="59"/>
                      <a:pt x="15" y="59"/>
                    </a:cubicBezTo>
                    <a:cubicBezTo>
                      <a:pt x="16" y="58"/>
                      <a:pt x="16" y="58"/>
                      <a:pt x="16" y="58"/>
                    </a:cubicBezTo>
                    <a:cubicBezTo>
                      <a:pt x="16" y="57"/>
                      <a:pt x="16" y="57"/>
                      <a:pt x="16" y="57"/>
                    </a:cubicBezTo>
                    <a:cubicBezTo>
                      <a:pt x="16" y="57"/>
                      <a:pt x="18" y="59"/>
                      <a:pt x="20" y="59"/>
                    </a:cubicBezTo>
                    <a:cubicBezTo>
                      <a:pt x="21" y="59"/>
                      <a:pt x="20" y="59"/>
                      <a:pt x="22" y="58"/>
                    </a:cubicBezTo>
                    <a:cubicBezTo>
                      <a:pt x="24" y="58"/>
                      <a:pt x="27" y="55"/>
                      <a:pt x="27" y="55"/>
                    </a:cubicBezTo>
                    <a:cubicBezTo>
                      <a:pt x="27" y="55"/>
                      <a:pt x="25" y="53"/>
                      <a:pt x="24" y="53"/>
                    </a:cubicBezTo>
                    <a:cubicBezTo>
                      <a:pt x="23" y="54"/>
                      <a:pt x="24" y="54"/>
                      <a:pt x="21" y="54"/>
                    </a:cubicBezTo>
                    <a:cubicBezTo>
                      <a:pt x="18" y="53"/>
                      <a:pt x="17" y="52"/>
                      <a:pt x="17" y="52"/>
                    </a:cubicBezTo>
                    <a:cubicBezTo>
                      <a:pt x="17" y="52"/>
                      <a:pt x="16" y="52"/>
                      <a:pt x="15" y="52"/>
                    </a:cubicBezTo>
                    <a:cubicBezTo>
                      <a:pt x="14" y="52"/>
                      <a:pt x="14" y="52"/>
                      <a:pt x="13" y="51"/>
                    </a:cubicBezTo>
                    <a:cubicBezTo>
                      <a:pt x="11" y="49"/>
                      <a:pt x="9" y="47"/>
                      <a:pt x="9" y="47"/>
                    </a:cubicBezTo>
                    <a:cubicBezTo>
                      <a:pt x="9" y="47"/>
                      <a:pt x="7" y="48"/>
                      <a:pt x="7" y="47"/>
                    </a:cubicBezTo>
                    <a:cubicBezTo>
                      <a:pt x="7" y="46"/>
                      <a:pt x="8" y="45"/>
                      <a:pt x="8" y="45"/>
                    </a:cubicBezTo>
                    <a:cubicBezTo>
                      <a:pt x="7" y="43"/>
                      <a:pt x="7" y="43"/>
                      <a:pt x="7" y="43"/>
                    </a:cubicBezTo>
                    <a:cubicBezTo>
                      <a:pt x="7" y="43"/>
                      <a:pt x="9" y="43"/>
                      <a:pt x="10" y="42"/>
                    </a:cubicBezTo>
                    <a:cubicBezTo>
                      <a:pt x="11" y="42"/>
                      <a:pt x="11" y="39"/>
                      <a:pt x="10" y="39"/>
                    </a:cubicBezTo>
                    <a:cubicBezTo>
                      <a:pt x="9" y="39"/>
                      <a:pt x="8" y="38"/>
                      <a:pt x="7" y="39"/>
                    </a:cubicBezTo>
                    <a:cubicBezTo>
                      <a:pt x="6" y="39"/>
                      <a:pt x="5" y="40"/>
                      <a:pt x="5" y="40"/>
                    </a:cubicBezTo>
                    <a:cubicBezTo>
                      <a:pt x="4" y="40"/>
                      <a:pt x="2" y="39"/>
                      <a:pt x="2" y="38"/>
                    </a:cubicBezTo>
                    <a:cubicBezTo>
                      <a:pt x="2" y="37"/>
                      <a:pt x="1" y="37"/>
                      <a:pt x="3" y="36"/>
                    </a:cubicBezTo>
                    <a:cubicBezTo>
                      <a:pt x="4" y="36"/>
                      <a:pt x="5" y="34"/>
                      <a:pt x="5" y="34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9" y="15"/>
                      <a:pt x="9" y="15"/>
                      <a:pt x="9" y="15"/>
                    </a:cubicBezTo>
                    <a:cubicBezTo>
                      <a:pt x="9" y="15"/>
                      <a:pt x="10" y="15"/>
                      <a:pt x="11" y="14"/>
                    </a:cubicBez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49" name="Freeform 25">
                <a:extLst>
                  <a:ext uri="{FF2B5EF4-FFF2-40B4-BE49-F238E27FC236}">
                    <a16:creationId xmlns:a16="http://schemas.microsoft.com/office/drawing/2014/main" id="{FAF50603-43D6-337D-3BBF-256A05836E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32387" y="3073333"/>
                <a:ext cx="387885" cy="236631"/>
              </a:xfrm>
              <a:custGeom>
                <a:avLst/>
                <a:gdLst>
                  <a:gd name="T0" fmla="*/ 33 w 173"/>
                  <a:gd name="T1" fmla="*/ 82 h 109"/>
                  <a:gd name="T2" fmla="*/ 34 w 173"/>
                  <a:gd name="T3" fmla="*/ 96 h 109"/>
                  <a:gd name="T4" fmla="*/ 43 w 173"/>
                  <a:gd name="T5" fmla="*/ 106 h 109"/>
                  <a:gd name="T6" fmla="*/ 57 w 173"/>
                  <a:gd name="T7" fmla="*/ 101 h 109"/>
                  <a:gd name="T8" fmla="*/ 68 w 173"/>
                  <a:gd name="T9" fmla="*/ 103 h 109"/>
                  <a:gd name="T10" fmla="*/ 78 w 173"/>
                  <a:gd name="T11" fmla="*/ 97 h 109"/>
                  <a:gd name="T12" fmla="*/ 81 w 173"/>
                  <a:gd name="T13" fmla="*/ 85 h 109"/>
                  <a:gd name="T14" fmla="*/ 88 w 173"/>
                  <a:gd name="T15" fmla="*/ 77 h 109"/>
                  <a:gd name="T16" fmla="*/ 94 w 173"/>
                  <a:gd name="T17" fmla="*/ 85 h 109"/>
                  <a:gd name="T18" fmla="*/ 103 w 173"/>
                  <a:gd name="T19" fmla="*/ 92 h 109"/>
                  <a:gd name="T20" fmla="*/ 110 w 173"/>
                  <a:gd name="T21" fmla="*/ 96 h 109"/>
                  <a:gd name="T22" fmla="*/ 113 w 173"/>
                  <a:gd name="T23" fmla="*/ 108 h 109"/>
                  <a:gd name="T24" fmla="*/ 117 w 173"/>
                  <a:gd name="T25" fmla="*/ 101 h 109"/>
                  <a:gd name="T26" fmla="*/ 121 w 173"/>
                  <a:gd name="T27" fmla="*/ 89 h 109"/>
                  <a:gd name="T28" fmla="*/ 126 w 173"/>
                  <a:gd name="T29" fmla="*/ 80 h 109"/>
                  <a:gd name="T30" fmla="*/ 130 w 173"/>
                  <a:gd name="T31" fmla="*/ 72 h 109"/>
                  <a:gd name="T32" fmla="*/ 136 w 173"/>
                  <a:gd name="T33" fmla="*/ 81 h 109"/>
                  <a:gd name="T34" fmla="*/ 147 w 173"/>
                  <a:gd name="T35" fmla="*/ 78 h 109"/>
                  <a:gd name="T36" fmla="*/ 156 w 173"/>
                  <a:gd name="T37" fmla="*/ 84 h 109"/>
                  <a:gd name="T38" fmla="*/ 158 w 173"/>
                  <a:gd name="T39" fmla="*/ 79 h 109"/>
                  <a:gd name="T40" fmla="*/ 156 w 173"/>
                  <a:gd name="T41" fmla="*/ 71 h 109"/>
                  <a:gd name="T42" fmla="*/ 161 w 173"/>
                  <a:gd name="T43" fmla="*/ 64 h 109"/>
                  <a:gd name="T44" fmla="*/ 170 w 173"/>
                  <a:gd name="T45" fmla="*/ 67 h 109"/>
                  <a:gd name="T46" fmla="*/ 170 w 173"/>
                  <a:gd name="T47" fmla="*/ 58 h 109"/>
                  <a:gd name="T48" fmla="*/ 170 w 173"/>
                  <a:gd name="T49" fmla="*/ 45 h 109"/>
                  <a:gd name="T50" fmla="*/ 163 w 173"/>
                  <a:gd name="T51" fmla="*/ 46 h 109"/>
                  <a:gd name="T52" fmla="*/ 152 w 173"/>
                  <a:gd name="T53" fmla="*/ 48 h 109"/>
                  <a:gd name="T54" fmla="*/ 138 w 173"/>
                  <a:gd name="T55" fmla="*/ 40 h 109"/>
                  <a:gd name="T56" fmla="*/ 133 w 173"/>
                  <a:gd name="T57" fmla="*/ 40 h 109"/>
                  <a:gd name="T58" fmla="*/ 133 w 173"/>
                  <a:gd name="T59" fmla="*/ 35 h 109"/>
                  <a:gd name="T60" fmla="*/ 137 w 173"/>
                  <a:gd name="T61" fmla="*/ 24 h 109"/>
                  <a:gd name="T62" fmla="*/ 136 w 173"/>
                  <a:gd name="T63" fmla="*/ 15 h 109"/>
                  <a:gd name="T64" fmla="*/ 125 w 173"/>
                  <a:gd name="T65" fmla="*/ 8 h 109"/>
                  <a:gd name="T66" fmla="*/ 110 w 173"/>
                  <a:gd name="T67" fmla="*/ 7 h 109"/>
                  <a:gd name="T68" fmla="*/ 102 w 173"/>
                  <a:gd name="T69" fmla="*/ 6 h 109"/>
                  <a:gd name="T70" fmla="*/ 103 w 173"/>
                  <a:gd name="T71" fmla="*/ 1 h 109"/>
                  <a:gd name="T72" fmla="*/ 95 w 173"/>
                  <a:gd name="T73" fmla="*/ 2 h 109"/>
                  <a:gd name="T74" fmla="*/ 100 w 173"/>
                  <a:gd name="T75" fmla="*/ 8 h 109"/>
                  <a:gd name="T76" fmla="*/ 92 w 173"/>
                  <a:gd name="T77" fmla="*/ 12 h 109"/>
                  <a:gd name="T78" fmla="*/ 76 w 173"/>
                  <a:gd name="T79" fmla="*/ 13 h 109"/>
                  <a:gd name="T80" fmla="*/ 65 w 173"/>
                  <a:gd name="T81" fmla="*/ 13 h 109"/>
                  <a:gd name="T82" fmla="*/ 59 w 173"/>
                  <a:gd name="T83" fmla="*/ 14 h 109"/>
                  <a:gd name="T84" fmla="*/ 56 w 173"/>
                  <a:gd name="T85" fmla="*/ 20 h 109"/>
                  <a:gd name="T86" fmla="*/ 46 w 173"/>
                  <a:gd name="T87" fmla="*/ 16 h 109"/>
                  <a:gd name="T88" fmla="*/ 39 w 173"/>
                  <a:gd name="T89" fmla="*/ 20 h 109"/>
                  <a:gd name="T90" fmla="*/ 42 w 173"/>
                  <a:gd name="T91" fmla="*/ 23 h 109"/>
                  <a:gd name="T92" fmla="*/ 37 w 173"/>
                  <a:gd name="T93" fmla="*/ 33 h 109"/>
                  <a:gd name="T94" fmla="*/ 29 w 173"/>
                  <a:gd name="T95" fmla="*/ 41 h 109"/>
                  <a:gd name="T96" fmla="*/ 19 w 173"/>
                  <a:gd name="T97" fmla="*/ 47 h 109"/>
                  <a:gd name="T98" fmla="*/ 19 w 173"/>
                  <a:gd name="T99" fmla="*/ 56 h 109"/>
                  <a:gd name="T100" fmla="*/ 7 w 173"/>
                  <a:gd name="T101" fmla="*/ 67 h 109"/>
                  <a:gd name="T102" fmla="*/ 7 w 173"/>
                  <a:gd name="T103" fmla="*/ 77 h 109"/>
                  <a:gd name="T104" fmla="*/ 0 w 173"/>
                  <a:gd name="T105" fmla="*/ 87 h 109"/>
                  <a:gd name="T106" fmla="*/ 10 w 173"/>
                  <a:gd name="T107" fmla="*/ 87 h 109"/>
                  <a:gd name="T108" fmla="*/ 12 w 173"/>
                  <a:gd name="T109" fmla="*/ 77 h 109"/>
                  <a:gd name="T110" fmla="*/ 31 w 173"/>
                  <a:gd name="T111" fmla="*/ 75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3" h="109">
                    <a:moveTo>
                      <a:pt x="31" y="75"/>
                    </a:moveTo>
                    <a:cubicBezTo>
                      <a:pt x="33" y="76"/>
                      <a:pt x="33" y="76"/>
                      <a:pt x="33" y="76"/>
                    </a:cubicBezTo>
                    <a:cubicBezTo>
                      <a:pt x="33" y="78"/>
                      <a:pt x="33" y="78"/>
                      <a:pt x="33" y="78"/>
                    </a:cubicBezTo>
                    <a:cubicBezTo>
                      <a:pt x="33" y="78"/>
                      <a:pt x="33" y="77"/>
                      <a:pt x="32" y="79"/>
                    </a:cubicBezTo>
                    <a:cubicBezTo>
                      <a:pt x="31" y="80"/>
                      <a:pt x="31" y="80"/>
                      <a:pt x="31" y="80"/>
                    </a:cubicBezTo>
                    <a:cubicBezTo>
                      <a:pt x="32" y="80"/>
                      <a:pt x="33" y="81"/>
                      <a:pt x="33" y="81"/>
                    </a:cubicBezTo>
                    <a:cubicBezTo>
                      <a:pt x="33" y="81"/>
                      <a:pt x="34" y="81"/>
                      <a:pt x="33" y="82"/>
                    </a:cubicBezTo>
                    <a:cubicBezTo>
                      <a:pt x="33" y="84"/>
                      <a:pt x="33" y="85"/>
                      <a:pt x="33" y="85"/>
                    </a:cubicBezTo>
                    <a:cubicBezTo>
                      <a:pt x="33" y="85"/>
                      <a:pt x="33" y="86"/>
                      <a:pt x="33" y="87"/>
                    </a:cubicBezTo>
                    <a:cubicBezTo>
                      <a:pt x="32" y="87"/>
                      <a:pt x="31" y="90"/>
                      <a:pt x="31" y="90"/>
                    </a:cubicBezTo>
                    <a:cubicBezTo>
                      <a:pt x="31" y="90"/>
                      <a:pt x="31" y="90"/>
                      <a:pt x="31" y="91"/>
                    </a:cubicBezTo>
                    <a:cubicBezTo>
                      <a:pt x="32" y="91"/>
                      <a:pt x="35" y="91"/>
                      <a:pt x="35" y="91"/>
                    </a:cubicBezTo>
                    <a:cubicBezTo>
                      <a:pt x="35" y="91"/>
                      <a:pt x="35" y="93"/>
                      <a:pt x="35" y="94"/>
                    </a:cubicBezTo>
                    <a:cubicBezTo>
                      <a:pt x="34" y="94"/>
                      <a:pt x="33" y="96"/>
                      <a:pt x="34" y="96"/>
                    </a:cubicBezTo>
                    <a:cubicBezTo>
                      <a:pt x="35" y="96"/>
                      <a:pt x="36" y="97"/>
                      <a:pt x="36" y="97"/>
                    </a:cubicBezTo>
                    <a:cubicBezTo>
                      <a:pt x="36" y="97"/>
                      <a:pt x="37" y="98"/>
                      <a:pt x="37" y="98"/>
                    </a:cubicBezTo>
                    <a:cubicBezTo>
                      <a:pt x="38" y="98"/>
                      <a:pt x="39" y="99"/>
                      <a:pt x="39" y="99"/>
                    </a:cubicBezTo>
                    <a:cubicBezTo>
                      <a:pt x="39" y="99"/>
                      <a:pt x="41" y="101"/>
                      <a:pt x="41" y="101"/>
                    </a:cubicBezTo>
                    <a:cubicBezTo>
                      <a:pt x="41" y="102"/>
                      <a:pt x="40" y="103"/>
                      <a:pt x="40" y="103"/>
                    </a:cubicBezTo>
                    <a:cubicBezTo>
                      <a:pt x="40" y="103"/>
                      <a:pt x="42" y="105"/>
                      <a:pt x="42" y="105"/>
                    </a:cubicBezTo>
                    <a:cubicBezTo>
                      <a:pt x="42" y="105"/>
                      <a:pt x="42" y="106"/>
                      <a:pt x="43" y="106"/>
                    </a:cubicBezTo>
                    <a:cubicBezTo>
                      <a:pt x="44" y="106"/>
                      <a:pt x="45" y="105"/>
                      <a:pt x="45" y="105"/>
                    </a:cubicBezTo>
                    <a:cubicBezTo>
                      <a:pt x="45" y="105"/>
                      <a:pt x="47" y="104"/>
                      <a:pt x="47" y="104"/>
                    </a:cubicBezTo>
                    <a:cubicBezTo>
                      <a:pt x="47" y="104"/>
                      <a:pt x="48" y="103"/>
                      <a:pt x="49" y="103"/>
                    </a:cubicBezTo>
                    <a:cubicBezTo>
                      <a:pt x="50" y="103"/>
                      <a:pt x="51" y="104"/>
                      <a:pt x="52" y="104"/>
                    </a:cubicBezTo>
                    <a:cubicBezTo>
                      <a:pt x="53" y="104"/>
                      <a:pt x="56" y="104"/>
                      <a:pt x="56" y="104"/>
                    </a:cubicBezTo>
                    <a:cubicBezTo>
                      <a:pt x="56" y="102"/>
                      <a:pt x="56" y="102"/>
                      <a:pt x="56" y="102"/>
                    </a:cubicBezTo>
                    <a:cubicBezTo>
                      <a:pt x="56" y="102"/>
                      <a:pt x="56" y="101"/>
                      <a:pt x="57" y="101"/>
                    </a:cubicBezTo>
                    <a:cubicBezTo>
                      <a:pt x="58" y="101"/>
                      <a:pt x="59" y="101"/>
                      <a:pt x="59" y="101"/>
                    </a:cubicBezTo>
                    <a:cubicBezTo>
                      <a:pt x="59" y="101"/>
                      <a:pt x="58" y="100"/>
                      <a:pt x="59" y="100"/>
                    </a:cubicBezTo>
                    <a:cubicBezTo>
                      <a:pt x="59" y="100"/>
                      <a:pt x="61" y="100"/>
                      <a:pt x="62" y="101"/>
                    </a:cubicBezTo>
                    <a:cubicBezTo>
                      <a:pt x="62" y="101"/>
                      <a:pt x="64" y="100"/>
                      <a:pt x="64" y="101"/>
                    </a:cubicBezTo>
                    <a:cubicBezTo>
                      <a:pt x="64" y="101"/>
                      <a:pt x="65" y="102"/>
                      <a:pt x="65" y="102"/>
                    </a:cubicBezTo>
                    <a:cubicBezTo>
                      <a:pt x="65" y="102"/>
                      <a:pt x="66" y="104"/>
                      <a:pt x="66" y="103"/>
                    </a:cubicBezTo>
                    <a:cubicBezTo>
                      <a:pt x="67" y="103"/>
                      <a:pt x="67" y="103"/>
                      <a:pt x="68" y="103"/>
                    </a:cubicBezTo>
                    <a:cubicBezTo>
                      <a:pt x="68" y="104"/>
                      <a:pt x="70" y="104"/>
                      <a:pt x="71" y="104"/>
                    </a:cubicBezTo>
                    <a:cubicBezTo>
                      <a:pt x="71" y="103"/>
                      <a:pt x="71" y="103"/>
                      <a:pt x="71" y="103"/>
                    </a:cubicBezTo>
                    <a:cubicBezTo>
                      <a:pt x="71" y="102"/>
                      <a:pt x="70" y="101"/>
                      <a:pt x="72" y="101"/>
                    </a:cubicBezTo>
                    <a:cubicBezTo>
                      <a:pt x="73" y="101"/>
                      <a:pt x="73" y="100"/>
                      <a:pt x="74" y="100"/>
                    </a:cubicBezTo>
                    <a:cubicBezTo>
                      <a:pt x="75" y="100"/>
                      <a:pt x="76" y="100"/>
                      <a:pt x="76" y="100"/>
                    </a:cubicBezTo>
                    <a:cubicBezTo>
                      <a:pt x="76" y="100"/>
                      <a:pt x="76" y="100"/>
                      <a:pt x="77" y="99"/>
                    </a:cubicBezTo>
                    <a:cubicBezTo>
                      <a:pt x="78" y="98"/>
                      <a:pt x="78" y="97"/>
                      <a:pt x="78" y="97"/>
                    </a:cubicBezTo>
                    <a:cubicBezTo>
                      <a:pt x="78" y="96"/>
                      <a:pt x="78" y="95"/>
                      <a:pt x="78" y="95"/>
                    </a:cubicBezTo>
                    <a:cubicBezTo>
                      <a:pt x="79" y="94"/>
                      <a:pt x="79" y="94"/>
                      <a:pt x="79" y="94"/>
                    </a:cubicBezTo>
                    <a:cubicBezTo>
                      <a:pt x="80" y="93"/>
                      <a:pt x="80" y="93"/>
                      <a:pt x="80" y="93"/>
                    </a:cubicBezTo>
                    <a:cubicBezTo>
                      <a:pt x="80" y="93"/>
                      <a:pt x="80" y="93"/>
                      <a:pt x="81" y="91"/>
                    </a:cubicBezTo>
                    <a:cubicBezTo>
                      <a:pt x="81" y="90"/>
                      <a:pt x="81" y="90"/>
                      <a:pt x="81" y="90"/>
                    </a:cubicBezTo>
                    <a:cubicBezTo>
                      <a:pt x="82" y="88"/>
                      <a:pt x="82" y="88"/>
                      <a:pt x="82" y="88"/>
                    </a:cubicBezTo>
                    <a:cubicBezTo>
                      <a:pt x="81" y="85"/>
                      <a:pt x="81" y="85"/>
                      <a:pt x="81" y="85"/>
                    </a:cubicBezTo>
                    <a:cubicBezTo>
                      <a:pt x="80" y="84"/>
                      <a:pt x="80" y="84"/>
                      <a:pt x="80" y="84"/>
                    </a:cubicBezTo>
                    <a:cubicBezTo>
                      <a:pt x="81" y="83"/>
                      <a:pt x="81" y="83"/>
                      <a:pt x="81" y="83"/>
                    </a:cubicBezTo>
                    <a:cubicBezTo>
                      <a:pt x="81" y="83"/>
                      <a:pt x="82" y="82"/>
                      <a:pt x="83" y="82"/>
                    </a:cubicBezTo>
                    <a:cubicBezTo>
                      <a:pt x="84" y="82"/>
                      <a:pt x="84" y="82"/>
                      <a:pt x="84" y="81"/>
                    </a:cubicBezTo>
                    <a:cubicBezTo>
                      <a:pt x="85" y="81"/>
                      <a:pt x="87" y="79"/>
                      <a:pt x="87" y="79"/>
                    </a:cubicBezTo>
                    <a:cubicBezTo>
                      <a:pt x="87" y="79"/>
                      <a:pt x="87" y="79"/>
                      <a:pt x="88" y="79"/>
                    </a:cubicBezTo>
                    <a:cubicBezTo>
                      <a:pt x="88" y="78"/>
                      <a:pt x="88" y="77"/>
                      <a:pt x="88" y="77"/>
                    </a:cubicBezTo>
                    <a:cubicBezTo>
                      <a:pt x="88" y="77"/>
                      <a:pt x="88" y="76"/>
                      <a:pt x="89" y="76"/>
                    </a:cubicBezTo>
                    <a:cubicBezTo>
                      <a:pt x="90" y="75"/>
                      <a:pt x="94" y="74"/>
                      <a:pt x="94" y="74"/>
                    </a:cubicBezTo>
                    <a:cubicBezTo>
                      <a:pt x="94" y="74"/>
                      <a:pt x="93" y="76"/>
                      <a:pt x="93" y="77"/>
                    </a:cubicBezTo>
                    <a:cubicBezTo>
                      <a:pt x="93" y="78"/>
                      <a:pt x="94" y="80"/>
                      <a:pt x="94" y="80"/>
                    </a:cubicBezTo>
                    <a:cubicBezTo>
                      <a:pt x="94" y="80"/>
                      <a:pt x="93" y="82"/>
                      <a:pt x="93" y="82"/>
                    </a:cubicBezTo>
                    <a:cubicBezTo>
                      <a:pt x="93" y="83"/>
                      <a:pt x="93" y="84"/>
                      <a:pt x="93" y="84"/>
                    </a:cubicBezTo>
                    <a:cubicBezTo>
                      <a:pt x="94" y="85"/>
                      <a:pt x="94" y="85"/>
                      <a:pt x="94" y="85"/>
                    </a:cubicBezTo>
                    <a:cubicBezTo>
                      <a:pt x="94" y="85"/>
                      <a:pt x="94" y="86"/>
                      <a:pt x="94" y="86"/>
                    </a:cubicBezTo>
                    <a:cubicBezTo>
                      <a:pt x="95" y="86"/>
                      <a:pt x="96" y="88"/>
                      <a:pt x="96" y="88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8"/>
                      <a:pt x="98" y="89"/>
                      <a:pt x="98" y="90"/>
                    </a:cubicBezTo>
                    <a:cubicBezTo>
                      <a:pt x="98" y="90"/>
                      <a:pt x="99" y="91"/>
                      <a:pt x="100" y="92"/>
                    </a:cubicBezTo>
                    <a:cubicBezTo>
                      <a:pt x="100" y="92"/>
                      <a:pt x="101" y="92"/>
                      <a:pt x="101" y="92"/>
                    </a:cubicBezTo>
                    <a:cubicBezTo>
                      <a:pt x="102" y="92"/>
                      <a:pt x="103" y="92"/>
                      <a:pt x="103" y="92"/>
                    </a:cubicBezTo>
                    <a:cubicBezTo>
                      <a:pt x="103" y="93"/>
                      <a:pt x="105" y="93"/>
                      <a:pt x="106" y="93"/>
                    </a:cubicBezTo>
                    <a:cubicBezTo>
                      <a:pt x="106" y="94"/>
                      <a:pt x="108" y="93"/>
                      <a:pt x="108" y="93"/>
                    </a:cubicBezTo>
                    <a:cubicBezTo>
                      <a:pt x="109" y="94"/>
                      <a:pt x="109" y="94"/>
                      <a:pt x="109" y="94"/>
                    </a:cubicBezTo>
                    <a:cubicBezTo>
                      <a:pt x="110" y="94"/>
                      <a:pt x="110" y="94"/>
                      <a:pt x="110" y="94"/>
                    </a:cubicBezTo>
                    <a:cubicBezTo>
                      <a:pt x="110" y="94"/>
                      <a:pt x="111" y="94"/>
                      <a:pt x="111" y="95"/>
                    </a:cubicBezTo>
                    <a:cubicBezTo>
                      <a:pt x="110" y="96"/>
                      <a:pt x="110" y="96"/>
                      <a:pt x="110" y="96"/>
                    </a:cubicBezTo>
                    <a:cubicBezTo>
                      <a:pt x="110" y="96"/>
                      <a:pt x="110" y="96"/>
                      <a:pt x="110" y="96"/>
                    </a:cubicBezTo>
                    <a:cubicBezTo>
                      <a:pt x="109" y="97"/>
                      <a:pt x="108" y="99"/>
                      <a:pt x="108" y="99"/>
                    </a:cubicBezTo>
                    <a:cubicBezTo>
                      <a:pt x="111" y="101"/>
                      <a:pt x="111" y="101"/>
                      <a:pt x="111" y="101"/>
                    </a:cubicBezTo>
                    <a:cubicBezTo>
                      <a:pt x="111" y="101"/>
                      <a:pt x="112" y="101"/>
                      <a:pt x="112" y="102"/>
                    </a:cubicBezTo>
                    <a:cubicBezTo>
                      <a:pt x="113" y="103"/>
                      <a:pt x="113" y="104"/>
                      <a:pt x="113" y="104"/>
                    </a:cubicBezTo>
                    <a:cubicBezTo>
                      <a:pt x="113" y="104"/>
                      <a:pt x="113" y="104"/>
                      <a:pt x="113" y="104"/>
                    </a:cubicBezTo>
                    <a:cubicBezTo>
                      <a:pt x="113" y="105"/>
                      <a:pt x="113" y="107"/>
                      <a:pt x="113" y="107"/>
                    </a:cubicBezTo>
                    <a:cubicBezTo>
                      <a:pt x="113" y="107"/>
                      <a:pt x="111" y="108"/>
                      <a:pt x="113" y="108"/>
                    </a:cubicBezTo>
                    <a:cubicBezTo>
                      <a:pt x="115" y="108"/>
                      <a:pt x="115" y="108"/>
                      <a:pt x="115" y="108"/>
                    </a:cubicBezTo>
                    <a:cubicBezTo>
                      <a:pt x="116" y="108"/>
                      <a:pt x="117" y="109"/>
                      <a:pt x="117" y="109"/>
                    </a:cubicBezTo>
                    <a:cubicBezTo>
                      <a:pt x="118" y="108"/>
                      <a:pt x="118" y="108"/>
                      <a:pt x="118" y="108"/>
                    </a:cubicBezTo>
                    <a:cubicBezTo>
                      <a:pt x="118" y="108"/>
                      <a:pt x="117" y="106"/>
                      <a:pt x="119" y="105"/>
                    </a:cubicBezTo>
                    <a:cubicBezTo>
                      <a:pt x="120" y="104"/>
                      <a:pt x="120" y="104"/>
                      <a:pt x="120" y="104"/>
                    </a:cubicBezTo>
                    <a:cubicBezTo>
                      <a:pt x="120" y="104"/>
                      <a:pt x="117" y="103"/>
                      <a:pt x="117" y="102"/>
                    </a:cubicBezTo>
                    <a:cubicBezTo>
                      <a:pt x="117" y="102"/>
                      <a:pt x="116" y="102"/>
                      <a:pt x="117" y="101"/>
                    </a:cubicBezTo>
                    <a:cubicBezTo>
                      <a:pt x="117" y="100"/>
                      <a:pt x="116" y="100"/>
                      <a:pt x="117" y="99"/>
                    </a:cubicBezTo>
                    <a:cubicBezTo>
                      <a:pt x="117" y="99"/>
                      <a:pt x="118" y="99"/>
                      <a:pt x="118" y="98"/>
                    </a:cubicBezTo>
                    <a:cubicBezTo>
                      <a:pt x="118" y="98"/>
                      <a:pt x="117" y="96"/>
                      <a:pt x="117" y="96"/>
                    </a:cubicBezTo>
                    <a:cubicBezTo>
                      <a:pt x="119" y="95"/>
                      <a:pt x="119" y="95"/>
                      <a:pt x="119" y="95"/>
                    </a:cubicBezTo>
                    <a:cubicBezTo>
                      <a:pt x="119" y="95"/>
                      <a:pt x="119" y="94"/>
                      <a:pt x="119" y="94"/>
                    </a:cubicBezTo>
                    <a:cubicBezTo>
                      <a:pt x="119" y="93"/>
                      <a:pt x="119" y="91"/>
                      <a:pt x="119" y="91"/>
                    </a:cubicBezTo>
                    <a:cubicBezTo>
                      <a:pt x="120" y="91"/>
                      <a:pt x="121" y="89"/>
                      <a:pt x="121" y="89"/>
                    </a:cubicBezTo>
                    <a:cubicBezTo>
                      <a:pt x="121" y="89"/>
                      <a:pt x="123" y="89"/>
                      <a:pt x="123" y="89"/>
                    </a:cubicBezTo>
                    <a:cubicBezTo>
                      <a:pt x="123" y="88"/>
                      <a:pt x="124" y="87"/>
                      <a:pt x="124" y="87"/>
                    </a:cubicBezTo>
                    <a:cubicBezTo>
                      <a:pt x="124" y="87"/>
                      <a:pt x="124" y="87"/>
                      <a:pt x="125" y="86"/>
                    </a:cubicBezTo>
                    <a:cubicBezTo>
                      <a:pt x="125" y="85"/>
                      <a:pt x="125" y="84"/>
                      <a:pt x="125" y="84"/>
                    </a:cubicBezTo>
                    <a:cubicBezTo>
                      <a:pt x="125" y="83"/>
                      <a:pt x="126" y="82"/>
                      <a:pt x="126" y="82"/>
                    </a:cubicBezTo>
                    <a:cubicBezTo>
                      <a:pt x="126" y="81"/>
                      <a:pt x="126" y="81"/>
                      <a:pt x="126" y="81"/>
                    </a:cubicBezTo>
                    <a:cubicBezTo>
                      <a:pt x="126" y="81"/>
                      <a:pt x="126" y="80"/>
                      <a:pt x="126" y="80"/>
                    </a:cubicBezTo>
                    <a:cubicBezTo>
                      <a:pt x="126" y="79"/>
                      <a:pt x="126" y="78"/>
                      <a:pt x="126" y="78"/>
                    </a:cubicBezTo>
                    <a:cubicBezTo>
                      <a:pt x="126" y="76"/>
                      <a:pt x="126" y="76"/>
                      <a:pt x="126" y="76"/>
                    </a:cubicBezTo>
                    <a:cubicBezTo>
                      <a:pt x="125" y="74"/>
                      <a:pt x="125" y="74"/>
                      <a:pt x="125" y="74"/>
                    </a:cubicBezTo>
                    <a:cubicBezTo>
                      <a:pt x="125" y="73"/>
                      <a:pt x="125" y="73"/>
                      <a:pt x="125" y="73"/>
                    </a:cubicBezTo>
                    <a:cubicBezTo>
                      <a:pt x="127" y="71"/>
                      <a:pt x="127" y="71"/>
                      <a:pt x="127" y="71"/>
                    </a:cubicBezTo>
                    <a:cubicBezTo>
                      <a:pt x="127" y="71"/>
                      <a:pt x="128" y="70"/>
                      <a:pt x="128" y="71"/>
                    </a:cubicBezTo>
                    <a:cubicBezTo>
                      <a:pt x="129" y="71"/>
                      <a:pt x="130" y="72"/>
                      <a:pt x="130" y="72"/>
                    </a:cubicBezTo>
                    <a:cubicBezTo>
                      <a:pt x="131" y="72"/>
                      <a:pt x="131" y="72"/>
                      <a:pt x="131" y="72"/>
                    </a:cubicBezTo>
                    <a:cubicBezTo>
                      <a:pt x="133" y="71"/>
                      <a:pt x="133" y="71"/>
                      <a:pt x="133" y="71"/>
                    </a:cubicBezTo>
                    <a:cubicBezTo>
                      <a:pt x="133" y="71"/>
                      <a:pt x="134" y="71"/>
                      <a:pt x="134" y="72"/>
                    </a:cubicBezTo>
                    <a:cubicBezTo>
                      <a:pt x="133" y="72"/>
                      <a:pt x="132" y="73"/>
                      <a:pt x="133" y="74"/>
                    </a:cubicBezTo>
                    <a:cubicBezTo>
                      <a:pt x="133" y="74"/>
                      <a:pt x="134" y="75"/>
                      <a:pt x="134" y="76"/>
                    </a:cubicBezTo>
                    <a:cubicBezTo>
                      <a:pt x="134" y="77"/>
                      <a:pt x="134" y="77"/>
                      <a:pt x="134" y="79"/>
                    </a:cubicBezTo>
                    <a:cubicBezTo>
                      <a:pt x="134" y="80"/>
                      <a:pt x="136" y="80"/>
                      <a:pt x="136" y="81"/>
                    </a:cubicBezTo>
                    <a:cubicBezTo>
                      <a:pt x="137" y="81"/>
                      <a:pt x="135" y="82"/>
                      <a:pt x="138" y="82"/>
                    </a:cubicBezTo>
                    <a:cubicBezTo>
                      <a:pt x="140" y="82"/>
                      <a:pt x="142" y="83"/>
                      <a:pt x="142" y="82"/>
                    </a:cubicBezTo>
                    <a:cubicBezTo>
                      <a:pt x="143" y="82"/>
                      <a:pt x="143" y="82"/>
                      <a:pt x="143" y="81"/>
                    </a:cubicBezTo>
                    <a:cubicBezTo>
                      <a:pt x="142" y="80"/>
                      <a:pt x="143" y="79"/>
                      <a:pt x="143" y="79"/>
                    </a:cubicBezTo>
                    <a:cubicBezTo>
                      <a:pt x="143" y="79"/>
                      <a:pt x="144" y="79"/>
                      <a:pt x="144" y="79"/>
                    </a:cubicBezTo>
                    <a:cubicBezTo>
                      <a:pt x="145" y="79"/>
                      <a:pt x="145" y="80"/>
                      <a:pt x="146" y="79"/>
                    </a:cubicBezTo>
                    <a:cubicBezTo>
                      <a:pt x="146" y="79"/>
                      <a:pt x="147" y="78"/>
                      <a:pt x="147" y="78"/>
                    </a:cubicBezTo>
                    <a:cubicBezTo>
                      <a:pt x="149" y="78"/>
                      <a:pt x="149" y="78"/>
                      <a:pt x="149" y="78"/>
                    </a:cubicBezTo>
                    <a:cubicBezTo>
                      <a:pt x="149" y="78"/>
                      <a:pt x="148" y="77"/>
                      <a:pt x="150" y="77"/>
                    </a:cubicBezTo>
                    <a:cubicBezTo>
                      <a:pt x="151" y="77"/>
                      <a:pt x="153" y="77"/>
                      <a:pt x="153" y="77"/>
                    </a:cubicBezTo>
                    <a:cubicBezTo>
                      <a:pt x="153" y="77"/>
                      <a:pt x="153" y="78"/>
                      <a:pt x="153" y="79"/>
                    </a:cubicBezTo>
                    <a:cubicBezTo>
                      <a:pt x="154" y="80"/>
                      <a:pt x="154" y="80"/>
                      <a:pt x="154" y="80"/>
                    </a:cubicBezTo>
                    <a:cubicBezTo>
                      <a:pt x="154" y="80"/>
                      <a:pt x="153" y="80"/>
                      <a:pt x="154" y="82"/>
                    </a:cubicBezTo>
                    <a:cubicBezTo>
                      <a:pt x="155" y="83"/>
                      <a:pt x="156" y="83"/>
                      <a:pt x="156" y="84"/>
                    </a:cubicBezTo>
                    <a:cubicBezTo>
                      <a:pt x="157" y="84"/>
                      <a:pt x="156" y="86"/>
                      <a:pt x="156" y="86"/>
                    </a:cubicBezTo>
                    <a:cubicBezTo>
                      <a:pt x="156" y="86"/>
                      <a:pt x="158" y="86"/>
                      <a:pt x="158" y="86"/>
                    </a:cubicBezTo>
                    <a:cubicBezTo>
                      <a:pt x="158" y="85"/>
                      <a:pt x="158" y="85"/>
                      <a:pt x="159" y="85"/>
                    </a:cubicBezTo>
                    <a:cubicBezTo>
                      <a:pt x="159" y="85"/>
                      <a:pt x="159" y="85"/>
                      <a:pt x="159" y="85"/>
                    </a:cubicBezTo>
                    <a:cubicBezTo>
                      <a:pt x="159" y="85"/>
                      <a:pt x="160" y="84"/>
                      <a:pt x="160" y="83"/>
                    </a:cubicBezTo>
                    <a:cubicBezTo>
                      <a:pt x="160" y="83"/>
                      <a:pt x="160" y="80"/>
                      <a:pt x="159" y="80"/>
                    </a:cubicBezTo>
                    <a:cubicBezTo>
                      <a:pt x="159" y="80"/>
                      <a:pt x="158" y="80"/>
                      <a:pt x="158" y="79"/>
                    </a:cubicBezTo>
                    <a:cubicBezTo>
                      <a:pt x="157" y="78"/>
                      <a:pt x="157" y="78"/>
                      <a:pt x="158" y="78"/>
                    </a:cubicBezTo>
                    <a:cubicBezTo>
                      <a:pt x="158" y="78"/>
                      <a:pt x="159" y="77"/>
                      <a:pt x="159" y="77"/>
                    </a:cubicBezTo>
                    <a:cubicBezTo>
                      <a:pt x="159" y="77"/>
                      <a:pt x="160" y="76"/>
                      <a:pt x="159" y="76"/>
                    </a:cubicBezTo>
                    <a:cubicBezTo>
                      <a:pt x="159" y="75"/>
                      <a:pt x="158" y="74"/>
                      <a:pt x="158" y="74"/>
                    </a:cubicBezTo>
                    <a:cubicBezTo>
                      <a:pt x="158" y="74"/>
                      <a:pt x="157" y="75"/>
                      <a:pt x="156" y="74"/>
                    </a:cubicBezTo>
                    <a:cubicBezTo>
                      <a:pt x="156" y="74"/>
                      <a:pt x="156" y="74"/>
                      <a:pt x="156" y="73"/>
                    </a:cubicBezTo>
                    <a:cubicBezTo>
                      <a:pt x="156" y="73"/>
                      <a:pt x="156" y="71"/>
                      <a:pt x="156" y="71"/>
                    </a:cubicBezTo>
                    <a:cubicBezTo>
                      <a:pt x="155" y="71"/>
                      <a:pt x="155" y="71"/>
                      <a:pt x="155" y="71"/>
                    </a:cubicBezTo>
                    <a:cubicBezTo>
                      <a:pt x="156" y="69"/>
                      <a:pt x="156" y="69"/>
                      <a:pt x="156" y="69"/>
                    </a:cubicBezTo>
                    <a:cubicBezTo>
                      <a:pt x="156" y="68"/>
                      <a:pt x="156" y="68"/>
                      <a:pt x="156" y="68"/>
                    </a:cubicBezTo>
                    <a:cubicBezTo>
                      <a:pt x="156" y="68"/>
                      <a:pt x="156" y="67"/>
                      <a:pt x="157" y="67"/>
                    </a:cubicBezTo>
                    <a:cubicBezTo>
                      <a:pt x="157" y="66"/>
                      <a:pt x="157" y="66"/>
                      <a:pt x="157" y="65"/>
                    </a:cubicBezTo>
                    <a:cubicBezTo>
                      <a:pt x="158" y="65"/>
                      <a:pt x="158" y="64"/>
                      <a:pt x="158" y="64"/>
                    </a:cubicBezTo>
                    <a:cubicBezTo>
                      <a:pt x="159" y="64"/>
                      <a:pt x="160" y="64"/>
                      <a:pt x="161" y="64"/>
                    </a:cubicBezTo>
                    <a:cubicBezTo>
                      <a:pt x="161" y="64"/>
                      <a:pt x="161" y="63"/>
                      <a:pt x="162" y="63"/>
                    </a:cubicBezTo>
                    <a:cubicBezTo>
                      <a:pt x="162" y="63"/>
                      <a:pt x="163" y="64"/>
                      <a:pt x="163" y="64"/>
                    </a:cubicBezTo>
                    <a:cubicBezTo>
                      <a:pt x="163" y="64"/>
                      <a:pt x="163" y="64"/>
                      <a:pt x="163" y="65"/>
                    </a:cubicBezTo>
                    <a:cubicBezTo>
                      <a:pt x="163" y="65"/>
                      <a:pt x="166" y="67"/>
                      <a:pt x="166" y="67"/>
                    </a:cubicBezTo>
                    <a:cubicBezTo>
                      <a:pt x="166" y="67"/>
                      <a:pt x="166" y="67"/>
                      <a:pt x="167" y="67"/>
                    </a:cubicBezTo>
                    <a:cubicBezTo>
                      <a:pt x="167" y="67"/>
                      <a:pt x="166" y="67"/>
                      <a:pt x="167" y="67"/>
                    </a:cubicBezTo>
                    <a:cubicBezTo>
                      <a:pt x="167" y="68"/>
                      <a:pt x="170" y="67"/>
                      <a:pt x="170" y="67"/>
                    </a:cubicBezTo>
                    <a:cubicBezTo>
                      <a:pt x="171" y="67"/>
                      <a:pt x="171" y="67"/>
                      <a:pt x="171" y="67"/>
                    </a:cubicBezTo>
                    <a:cubicBezTo>
                      <a:pt x="171" y="67"/>
                      <a:pt x="171" y="67"/>
                      <a:pt x="171" y="66"/>
                    </a:cubicBezTo>
                    <a:cubicBezTo>
                      <a:pt x="172" y="66"/>
                      <a:pt x="172" y="65"/>
                      <a:pt x="172" y="64"/>
                    </a:cubicBezTo>
                    <a:cubicBezTo>
                      <a:pt x="172" y="64"/>
                      <a:pt x="173" y="64"/>
                      <a:pt x="172" y="63"/>
                    </a:cubicBezTo>
                    <a:cubicBezTo>
                      <a:pt x="170" y="62"/>
                      <a:pt x="169" y="62"/>
                      <a:pt x="169" y="62"/>
                    </a:cubicBezTo>
                    <a:cubicBezTo>
                      <a:pt x="169" y="62"/>
                      <a:pt x="167" y="60"/>
                      <a:pt x="168" y="60"/>
                    </a:cubicBezTo>
                    <a:cubicBezTo>
                      <a:pt x="169" y="59"/>
                      <a:pt x="170" y="58"/>
                      <a:pt x="170" y="58"/>
                    </a:cubicBezTo>
                    <a:cubicBezTo>
                      <a:pt x="169" y="56"/>
                      <a:pt x="169" y="56"/>
                      <a:pt x="169" y="56"/>
                    </a:cubicBezTo>
                    <a:cubicBezTo>
                      <a:pt x="170" y="55"/>
                      <a:pt x="170" y="55"/>
                      <a:pt x="170" y="55"/>
                    </a:cubicBezTo>
                    <a:cubicBezTo>
                      <a:pt x="169" y="53"/>
                      <a:pt x="169" y="53"/>
                      <a:pt x="169" y="53"/>
                    </a:cubicBezTo>
                    <a:cubicBezTo>
                      <a:pt x="169" y="53"/>
                      <a:pt x="170" y="52"/>
                      <a:pt x="170" y="52"/>
                    </a:cubicBezTo>
                    <a:cubicBezTo>
                      <a:pt x="170" y="51"/>
                      <a:pt x="171" y="48"/>
                      <a:pt x="171" y="48"/>
                    </a:cubicBezTo>
                    <a:cubicBezTo>
                      <a:pt x="171" y="48"/>
                      <a:pt x="171" y="47"/>
                      <a:pt x="171" y="46"/>
                    </a:cubicBezTo>
                    <a:cubicBezTo>
                      <a:pt x="171" y="46"/>
                      <a:pt x="170" y="45"/>
                      <a:pt x="170" y="45"/>
                    </a:cubicBezTo>
                    <a:cubicBezTo>
                      <a:pt x="169" y="44"/>
                      <a:pt x="169" y="44"/>
                      <a:pt x="169" y="44"/>
                    </a:cubicBezTo>
                    <a:cubicBezTo>
                      <a:pt x="169" y="44"/>
                      <a:pt x="168" y="42"/>
                      <a:pt x="168" y="42"/>
                    </a:cubicBezTo>
                    <a:cubicBezTo>
                      <a:pt x="167" y="43"/>
                      <a:pt x="166" y="43"/>
                      <a:pt x="166" y="43"/>
                    </a:cubicBezTo>
                    <a:cubicBezTo>
                      <a:pt x="166" y="43"/>
                      <a:pt x="166" y="45"/>
                      <a:pt x="166" y="45"/>
                    </a:cubicBezTo>
                    <a:cubicBezTo>
                      <a:pt x="165" y="46"/>
                      <a:pt x="164" y="46"/>
                      <a:pt x="164" y="46"/>
                    </a:cubicBezTo>
                    <a:cubicBezTo>
                      <a:pt x="164" y="46"/>
                      <a:pt x="164" y="46"/>
                      <a:pt x="164" y="46"/>
                    </a:cubicBezTo>
                    <a:cubicBezTo>
                      <a:pt x="163" y="46"/>
                      <a:pt x="163" y="46"/>
                      <a:pt x="163" y="46"/>
                    </a:cubicBezTo>
                    <a:cubicBezTo>
                      <a:pt x="162" y="48"/>
                      <a:pt x="162" y="48"/>
                      <a:pt x="162" y="48"/>
                    </a:cubicBezTo>
                    <a:cubicBezTo>
                      <a:pt x="161" y="49"/>
                      <a:pt x="161" y="49"/>
                      <a:pt x="161" y="49"/>
                    </a:cubicBezTo>
                    <a:cubicBezTo>
                      <a:pt x="161" y="49"/>
                      <a:pt x="159" y="50"/>
                      <a:pt x="158" y="50"/>
                    </a:cubicBezTo>
                    <a:cubicBezTo>
                      <a:pt x="158" y="50"/>
                      <a:pt x="156" y="50"/>
                      <a:pt x="156" y="50"/>
                    </a:cubicBezTo>
                    <a:cubicBezTo>
                      <a:pt x="155" y="49"/>
                      <a:pt x="155" y="49"/>
                      <a:pt x="155" y="49"/>
                    </a:cubicBezTo>
                    <a:cubicBezTo>
                      <a:pt x="152" y="48"/>
                      <a:pt x="152" y="48"/>
                      <a:pt x="152" y="48"/>
                    </a:cubicBezTo>
                    <a:cubicBezTo>
                      <a:pt x="152" y="48"/>
                      <a:pt x="152" y="48"/>
                      <a:pt x="152" y="48"/>
                    </a:cubicBezTo>
                    <a:cubicBezTo>
                      <a:pt x="150" y="47"/>
                      <a:pt x="150" y="47"/>
                      <a:pt x="150" y="47"/>
                    </a:cubicBezTo>
                    <a:cubicBezTo>
                      <a:pt x="149" y="46"/>
                      <a:pt x="149" y="46"/>
                      <a:pt x="149" y="46"/>
                    </a:cubicBezTo>
                    <a:cubicBezTo>
                      <a:pt x="149" y="44"/>
                      <a:pt x="149" y="44"/>
                      <a:pt x="149" y="44"/>
                    </a:cubicBezTo>
                    <a:cubicBezTo>
                      <a:pt x="147" y="42"/>
                      <a:pt x="147" y="42"/>
                      <a:pt x="147" y="42"/>
                    </a:cubicBezTo>
                    <a:cubicBezTo>
                      <a:pt x="143" y="41"/>
                      <a:pt x="143" y="41"/>
                      <a:pt x="143" y="41"/>
                    </a:cubicBezTo>
                    <a:cubicBezTo>
                      <a:pt x="140" y="40"/>
                      <a:pt x="140" y="40"/>
                      <a:pt x="140" y="40"/>
                    </a:cubicBezTo>
                    <a:cubicBezTo>
                      <a:pt x="138" y="40"/>
                      <a:pt x="138" y="40"/>
                      <a:pt x="138" y="40"/>
                    </a:cubicBezTo>
                    <a:cubicBezTo>
                      <a:pt x="138" y="40"/>
                      <a:pt x="134" y="40"/>
                      <a:pt x="134" y="40"/>
                    </a:cubicBezTo>
                    <a:cubicBezTo>
                      <a:pt x="134" y="40"/>
                      <a:pt x="133" y="40"/>
                      <a:pt x="133" y="40"/>
                    </a:cubicBezTo>
                    <a:cubicBezTo>
                      <a:pt x="133" y="40"/>
                      <a:pt x="133" y="40"/>
                      <a:pt x="133" y="40"/>
                    </a:cubicBezTo>
                    <a:cubicBezTo>
                      <a:pt x="133" y="40"/>
                      <a:pt x="133" y="40"/>
                      <a:pt x="133" y="40"/>
                    </a:cubicBezTo>
                    <a:cubicBezTo>
                      <a:pt x="133" y="40"/>
                      <a:pt x="133" y="40"/>
                      <a:pt x="133" y="40"/>
                    </a:cubicBezTo>
                    <a:cubicBezTo>
                      <a:pt x="133" y="40"/>
                      <a:pt x="133" y="40"/>
                      <a:pt x="133" y="40"/>
                    </a:cubicBezTo>
                    <a:cubicBezTo>
                      <a:pt x="133" y="40"/>
                      <a:pt x="133" y="40"/>
                      <a:pt x="133" y="40"/>
                    </a:cubicBezTo>
                    <a:cubicBezTo>
                      <a:pt x="132" y="40"/>
                      <a:pt x="132" y="40"/>
                      <a:pt x="132" y="40"/>
                    </a:cubicBezTo>
                    <a:cubicBezTo>
                      <a:pt x="133" y="38"/>
                      <a:pt x="133" y="38"/>
                      <a:pt x="133" y="38"/>
                    </a:cubicBezTo>
                    <a:cubicBezTo>
                      <a:pt x="134" y="38"/>
                      <a:pt x="134" y="38"/>
                      <a:pt x="134" y="38"/>
                    </a:cubicBezTo>
                    <a:cubicBezTo>
                      <a:pt x="134" y="37"/>
                      <a:pt x="134" y="37"/>
                      <a:pt x="134" y="37"/>
                    </a:cubicBezTo>
                    <a:cubicBezTo>
                      <a:pt x="134" y="37"/>
                      <a:pt x="133" y="36"/>
                      <a:pt x="133" y="36"/>
                    </a:cubicBezTo>
                    <a:cubicBezTo>
                      <a:pt x="133" y="36"/>
                      <a:pt x="133" y="35"/>
                      <a:pt x="133" y="35"/>
                    </a:cubicBezTo>
                    <a:cubicBezTo>
                      <a:pt x="133" y="35"/>
                      <a:pt x="133" y="35"/>
                      <a:pt x="133" y="35"/>
                    </a:cubicBezTo>
                    <a:cubicBezTo>
                      <a:pt x="133" y="35"/>
                      <a:pt x="133" y="34"/>
                      <a:pt x="133" y="34"/>
                    </a:cubicBezTo>
                    <a:cubicBezTo>
                      <a:pt x="133" y="34"/>
                      <a:pt x="133" y="34"/>
                      <a:pt x="133" y="34"/>
                    </a:cubicBezTo>
                    <a:cubicBezTo>
                      <a:pt x="133" y="33"/>
                      <a:pt x="133" y="33"/>
                      <a:pt x="133" y="33"/>
                    </a:cubicBezTo>
                    <a:cubicBezTo>
                      <a:pt x="134" y="30"/>
                      <a:pt x="134" y="30"/>
                      <a:pt x="134" y="30"/>
                    </a:cubicBezTo>
                    <a:cubicBezTo>
                      <a:pt x="136" y="28"/>
                      <a:pt x="136" y="28"/>
                      <a:pt x="136" y="28"/>
                    </a:cubicBezTo>
                    <a:cubicBezTo>
                      <a:pt x="136" y="28"/>
                      <a:pt x="136" y="26"/>
                      <a:pt x="137" y="26"/>
                    </a:cubicBezTo>
                    <a:cubicBezTo>
                      <a:pt x="137" y="25"/>
                      <a:pt x="137" y="24"/>
                      <a:pt x="137" y="24"/>
                    </a:cubicBezTo>
                    <a:cubicBezTo>
                      <a:pt x="139" y="23"/>
                      <a:pt x="139" y="23"/>
                      <a:pt x="139" y="23"/>
                    </a:cubicBezTo>
                    <a:cubicBezTo>
                      <a:pt x="139" y="23"/>
                      <a:pt x="140" y="22"/>
                      <a:pt x="140" y="22"/>
                    </a:cubicBezTo>
                    <a:cubicBezTo>
                      <a:pt x="140" y="21"/>
                      <a:pt x="139" y="20"/>
                      <a:pt x="139" y="20"/>
                    </a:cubicBezTo>
                    <a:cubicBezTo>
                      <a:pt x="139" y="19"/>
                      <a:pt x="140" y="18"/>
                      <a:pt x="140" y="18"/>
                    </a:cubicBezTo>
                    <a:cubicBezTo>
                      <a:pt x="139" y="18"/>
                      <a:pt x="139" y="17"/>
                      <a:pt x="138" y="17"/>
                    </a:cubicBezTo>
                    <a:cubicBezTo>
                      <a:pt x="138" y="17"/>
                      <a:pt x="137" y="17"/>
                      <a:pt x="137" y="16"/>
                    </a:cubicBezTo>
                    <a:cubicBezTo>
                      <a:pt x="137" y="16"/>
                      <a:pt x="136" y="15"/>
                      <a:pt x="136" y="15"/>
                    </a:cubicBezTo>
                    <a:cubicBezTo>
                      <a:pt x="136" y="15"/>
                      <a:pt x="136" y="13"/>
                      <a:pt x="135" y="13"/>
                    </a:cubicBezTo>
                    <a:cubicBezTo>
                      <a:pt x="135" y="13"/>
                      <a:pt x="134" y="13"/>
                      <a:pt x="133" y="12"/>
                    </a:cubicBezTo>
                    <a:cubicBezTo>
                      <a:pt x="132" y="12"/>
                      <a:pt x="131" y="11"/>
                      <a:pt x="131" y="11"/>
                    </a:cubicBezTo>
                    <a:cubicBezTo>
                      <a:pt x="130" y="11"/>
                      <a:pt x="128" y="9"/>
                      <a:pt x="128" y="9"/>
                    </a:cubicBezTo>
                    <a:cubicBezTo>
                      <a:pt x="128" y="9"/>
                      <a:pt x="128" y="9"/>
                      <a:pt x="127" y="9"/>
                    </a:cubicBezTo>
                    <a:cubicBezTo>
                      <a:pt x="127" y="9"/>
                      <a:pt x="126" y="8"/>
                      <a:pt x="126" y="8"/>
                    </a:cubicBezTo>
                    <a:cubicBezTo>
                      <a:pt x="125" y="8"/>
                      <a:pt x="125" y="8"/>
                      <a:pt x="125" y="8"/>
                    </a:cubicBezTo>
                    <a:cubicBezTo>
                      <a:pt x="125" y="8"/>
                      <a:pt x="125" y="8"/>
                      <a:pt x="125" y="8"/>
                    </a:cubicBezTo>
                    <a:cubicBezTo>
                      <a:pt x="124" y="8"/>
                      <a:pt x="124" y="8"/>
                      <a:pt x="123" y="7"/>
                    </a:cubicBezTo>
                    <a:cubicBezTo>
                      <a:pt x="121" y="7"/>
                      <a:pt x="122" y="7"/>
                      <a:pt x="120" y="7"/>
                    </a:cubicBezTo>
                    <a:cubicBezTo>
                      <a:pt x="119" y="7"/>
                      <a:pt x="118" y="7"/>
                      <a:pt x="118" y="7"/>
                    </a:cubicBezTo>
                    <a:cubicBezTo>
                      <a:pt x="118" y="7"/>
                      <a:pt x="117" y="6"/>
                      <a:pt x="115" y="6"/>
                    </a:cubicBezTo>
                    <a:cubicBezTo>
                      <a:pt x="114" y="7"/>
                      <a:pt x="112" y="8"/>
                      <a:pt x="111" y="8"/>
                    </a:cubicBezTo>
                    <a:cubicBezTo>
                      <a:pt x="111" y="8"/>
                      <a:pt x="110" y="7"/>
                      <a:pt x="110" y="7"/>
                    </a:cubicBezTo>
                    <a:cubicBezTo>
                      <a:pt x="110" y="7"/>
                      <a:pt x="110" y="6"/>
                      <a:pt x="110" y="6"/>
                    </a:cubicBezTo>
                    <a:cubicBezTo>
                      <a:pt x="110" y="6"/>
                      <a:pt x="109" y="5"/>
                      <a:pt x="108" y="4"/>
                    </a:cubicBezTo>
                    <a:cubicBezTo>
                      <a:pt x="108" y="4"/>
                      <a:pt x="107" y="4"/>
                      <a:pt x="107" y="4"/>
                    </a:cubicBezTo>
                    <a:cubicBezTo>
                      <a:pt x="107" y="4"/>
                      <a:pt x="107" y="4"/>
                      <a:pt x="107" y="5"/>
                    </a:cubicBezTo>
                    <a:cubicBezTo>
                      <a:pt x="107" y="6"/>
                      <a:pt x="109" y="6"/>
                      <a:pt x="107" y="6"/>
                    </a:cubicBezTo>
                    <a:cubicBezTo>
                      <a:pt x="106" y="5"/>
                      <a:pt x="105" y="5"/>
                      <a:pt x="105" y="5"/>
                    </a:cubicBezTo>
                    <a:cubicBezTo>
                      <a:pt x="102" y="6"/>
                      <a:pt x="102" y="6"/>
                      <a:pt x="102" y="6"/>
                    </a:cubicBezTo>
                    <a:cubicBezTo>
                      <a:pt x="103" y="5"/>
                      <a:pt x="103" y="5"/>
                      <a:pt x="103" y="5"/>
                    </a:cubicBezTo>
                    <a:cubicBezTo>
                      <a:pt x="103" y="5"/>
                      <a:pt x="104" y="5"/>
                      <a:pt x="104" y="5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3"/>
                      <a:pt x="104" y="3"/>
                    </a:cubicBezTo>
                    <a:cubicBezTo>
                      <a:pt x="105" y="3"/>
                      <a:pt x="106" y="2"/>
                      <a:pt x="105" y="2"/>
                    </a:cubicBezTo>
                    <a:cubicBezTo>
                      <a:pt x="104" y="2"/>
                      <a:pt x="103" y="2"/>
                      <a:pt x="103" y="2"/>
                    </a:cubicBezTo>
                    <a:cubicBezTo>
                      <a:pt x="103" y="1"/>
                      <a:pt x="103" y="1"/>
                      <a:pt x="103" y="1"/>
                    </a:cubicBezTo>
                    <a:cubicBezTo>
                      <a:pt x="103" y="1"/>
                      <a:pt x="102" y="0"/>
                      <a:pt x="102" y="0"/>
                    </a:cubicBezTo>
                    <a:cubicBezTo>
                      <a:pt x="102" y="1"/>
                      <a:pt x="102" y="2"/>
                      <a:pt x="102" y="2"/>
                    </a:cubicBezTo>
                    <a:cubicBezTo>
                      <a:pt x="101" y="2"/>
                      <a:pt x="101" y="2"/>
                      <a:pt x="101" y="1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0" y="0"/>
                      <a:pt x="99" y="0"/>
                      <a:pt x="99" y="0"/>
                    </a:cubicBezTo>
                    <a:cubicBezTo>
                      <a:pt x="99" y="0"/>
                      <a:pt x="100" y="1"/>
                      <a:pt x="98" y="1"/>
                    </a:cubicBezTo>
                    <a:cubicBezTo>
                      <a:pt x="97" y="1"/>
                      <a:pt x="96" y="2"/>
                      <a:pt x="95" y="2"/>
                    </a:cubicBezTo>
                    <a:cubicBezTo>
                      <a:pt x="94" y="3"/>
                      <a:pt x="94" y="4"/>
                      <a:pt x="94" y="4"/>
                    </a:cubicBezTo>
                    <a:cubicBezTo>
                      <a:pt x="94" y="5"/>
                      <a:pt x="92" y="5"/>
                      <a:pt x="92" y="6"/>
                    </a:cubicBezTo>
                    <a:cubicBezTo>
                      <a:pt x="93" y="6"/>
                      <a:pt x="92" y="6"/>
                      <a:pt x="94" y="7"/>
                    </a:cubicBezTo>
                    <a:cubicBezTo>
                      <a:pt x="95" y="7"/>
                      <a:pt x="95" y="7"/>
                      <a:pt x="96" y="7"/>
                    </a:cubicBezTo>
                    <a:cubicBezTo>
                      <a:pt x="97" y="8"/>
                      <a:pt x="98" y="7"/>
                      <a:pt x="98" y="7"/>
                    </a:cubicBezTo>
                    <a:cubicBezTo>
                      <a:pt x="98" y="7"/>
                      <a:pt x="98" y="7"/>
                      <a:pt x="99" y="8"/>
                    </a:cubicBezTo>
                    <a:cubicBezTo>
                      <a:pt x="99" y="8"/>
                      <a:pt x="100" y="7"/>
                      <a:pt x="100" y="8"/>
                    </a:cubicBezTo>
                    <a:cubicBezTo>
                      <a:pt x="100" y="9"/>
                      <a:pt x="101" y="10"/>
                      <a:pt x="100" y="10"/>
                    </a:cubicBezTo>
                    <a:cubicBezTo>
                      <a:pt x="99" y="10"/>
                      <a:pt x="98" y="11"/>
                      <a:pt x="98" y="10"/>
                    </a:cubicBezTo>
                    <a:cubicBezTo>
                      <a:pt x="98" y="10"/>
                      <a:pt x="98" y="9"/>
                      <a:pt x="97" y="9"/>
                    </a:cubicBezTo>
                    <a:cubicBezTo>
                      <a:pt x="97" y="9"/>
                      <a:pt x="96" y="9"/>
                      <a:pt x="96" y="9"/>
                    </a:cubicBezTo>
                    <a:cubicBezTo>
                      <a:pt x="95" y="11"/>
                      <a:pt x="95" y="11"/>
                      <a:pt x="95" y="11"/>
                    </a:cubicBezTo>
                    <a:cubicBezTo>
                      <a:pt x="95" y="11"/>
                      <a:pt x="95" y="12"/>
                      <a:pt x="94" y="12"/>
                    </a:cubicBezTo>
                    <a:cubicBezTo>
                      <a:pt x="93" y="12"/>
                      <a:pt x="94" y="12"/>
                      <a:pt x="92" y="12"/>
                    </a:cubicBezTo>
                    <a:cubicBezTo>
                      <a:pt x="90" y="12"/>
                      <a:pt x="90" y="11"/>
                      <a:pt x="89" y="11"/>
                    </a:cubicBezTo>
                    <a:cubicBezTo>
                      <a:pt x="89" y="11"/>
                      <a:pt x="89" y="11"/>
                      <a:pt x="88" y="11"/>
                    </a:cubicBezTo>
                    <a:cubicBezTo>
                      <a:pt x="88" y="11"/>
                      <a:pt x="86" y="9"/>
                      <a:pt x="85" y="11"/>
                    </a:cubicBezTo>
                    <a:cubicBezTo>
                      <a:pt x="84" y="12"/>
                      <a:pt x="83" y="13"/>
                      <a:pt x="83" y="13"/>
                    </a:cubicBezTo>
                    <a:cubicBezTo>
                      <a:pt x="80" y="13"/>
                      <a:pt x="80" y="13"/>
                      <a:pt x="80" y="13"/>
                    </a:cubicBezTo>
                    <a:cubicBezTo>
                      <a:pt x="80" y="13"/>
                      <a:pt x="79" y="13"/>
                      <a:pt x="78" y="13"/>
                    </a:cubicBezTo>
                    <a:cubicBezTo>
                      <a:pt x="77" y="13"/>
                      <a:pt x="76" y="13"/>
                      <a:pt x="76" y="13"/>
                    </a:cubicBezTo>
                    <a:cubicBezTo>
                      <a:pt x="75" y="14"/>
                      <a:pt x="74" y="11"/>
                      <a:pt x="74" y="11"/>
                    </a:cubicBezTo>
                    <a:cubicBezTo>
                      <a:pt x="74" y="11"/>
                      <a:pt x="75" y="9"/>
                      <a:pt x="72" y="11"/>
                    </a:cubicBezTo>
                    <a:cubicBezTo>
                      <a:pt x="69" y="13"/>
                      <a:pt x="68" y="13"/>
                      <a:pt x="68" y="13"/>
                    </a:cubicBezTo>
                    <a:cubicBezTo>
                      <a:pt x="67" y="13"/>
                      <a:pt x="66" y="14"/>
                      <a:pt x="66" y="14"/>
                    </a:cubicBezTo>
                    <a:cubicBezTo>
                      <a:pt x="65" y="13"/>
                      <a:pt x="65" y="13"/>
                      <a:pt x="65" y="13"/>
                    </a:cubicBezTo>
                    <a:cubicBezTo>
                      <a:pt x="65" y="13"/>
                      <a:pt x="65" y="13"/>
                      <a:pt x="65" y="13"/>
                    </a:cubicBezTo>
                    <a:cubicBezTo>
                      <a:pt x="65" y="13"/>
                      <a:pt x="65" y="13"/>
                      <a:pt x="65" y="13"/>
                    </a:cubicBezTo>
                    <a:cubicBezTo>
                      <a:pt x="66" y="13"/>
                      <a:pt x="66" y="12"/>
                      <a:pt x="66" y="12"/>
                    </a:cubicBezTo>
                    <a:cubicBezTo>
                      <a:pt x="65" y="11"/>
                      <a:pt x="65" y="11"/>
                      <a:pt x="65" y="11"/>
                    </a:cubicBezTo>
                    <a:cubicBezTo>
                      <a:pt x="62" y="12"/>
                      <a:pt x="62" y="12"/>
                      <a:pt x="62" y="12"/>
                    </a:cubicBezTo>
                    <a:cubicBezTo>
                      <a:pt x="62" y="12"/>
                      <a:pt x="63" y="12"/>
                      <a:pt x="62" y="12"/>
                    </a:cubicBezTo>
                    <a:cubicBezTo>
                      <a:pt x="62" y="12"/>
                      <a:pt x="60" y="12"/>
                      <a:pt x="60" y="12"/>
                    </a:cubicBezTo>
                    <a:cubicBezTo>
                      <a:pt x="60" y="14"/>
                      <a:pt x="60" y="14"/>
                      <a:pt x="60" y="14"/>
                    </a:cubicBezTo>
                    <a:cubicBezTo>
                      <a:pt x="60" y="14"/>
                      <a:pt x="59" y="14"/>
                      <a:pt x="59" y="14"/>
                    </a:cubicBezTo>
                    <a:cubicBezTo>
                      <a:pt x="59" y="14"/>
                      <a:pt x="59" y="15"/>
                      <a:pt x="59" y="15"/>
                    </a:cubicBezTo>
                    <a:cubicBezTo>
                      <a:pt x="59" y="15"/>
                      <a:pt x="59" y="16"/>
                      <a:pt x="59" y="16"/>
                    </a:cubicBezTo>
                    <a:cubicBezTo>
                      <a:pt x="59" y="16"/>
                      <a:pt x="58" y="16"/>
                      <a:pt x="58" y="16"/>
                    </a:cubicBezTo>
                    <a:cubicBezTo>
                      <a:pt x="58" y="16"/>
                      <a:pt x="57" y="16"/>
                      <a:pt x="57" y="16"/>
                    </a:cubicBezTo>
                    <a:cubicBezTo>
                      <a:pt x="57" y="16"/>
                      <a:pt x="56" y="18"/>
                      <a:pt x="56" y="18"/>
                    </a:cubicBezTo>
                    <a:cubicBezTo>
                      <a:pt x="56" y="18"/>
                      <a:pt x="56" y="19"/>
                      <a:pt x="56" y="19"/>
                    </a:cubicBezTo>
                    <a:cubicBezTo>
                      <a:pt x="56" y="19"/>
                      <a:pt x="56" y="19"/>
                      <a:pt x="56" y="20"/>
                    </a:cubicBezTo>
                    <a:cubicBezTo>
                      <a:pt x="55" y="20"/>
                      <a:pt x="54" y="20"/>
                      <a:pt x="54" y="20"/>
                    </a:cubicBezTo>
                    <a:cubicBezTo>
                      <a:pt x="54" y="20"/>
                      <a:pt x="53" y="20"/>
                      <a:pt x="52" y="20"/>
                    </a:cubicBezTo>
                    <a:cubicBezTo>
                      <a:pt x="52" y="20"/>
                      <a:pt x="51" y="20"/>
                      <a:pt x="51" y="20"/>
                    </a:cubicBezTo>
                    <a:cubicBezTo>
                      <a:pt x="50" y="20"/>
                      <a:pt x="50" y="21"/>
                      <a:pt x="50" y="21"/>
                    </a:cubicBezTo>
                    <a:cubicBezTo>
                      <a:pt x="50" y="21"/>
                      <a:pt x="48" y="20"/>
                      <a:pt x="48" y="20"/>
                    </a:cubicBezTo>
                    <a:cubicBezTo>
                      <a:pt x="47" y="20"/>
                      <a:pt x="47" y="19"/>
                      <a:pt x="47" y="18"/>
                    </a:cubicBezTo>
                    <a:cubicBezTo>
                      <a:pt x="47" y="18"/>
                      <a:pt x="46" y="16"/>
                      <a:pt x="46" y="16"/>
                    </a:cubicBezTo>
                    <a:cubicBezTo>
                      <a:pt x="45" y="17"/>
                      <a:pt x="45" y="17"/>
                      <a:pt x="45" y="17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0" y="16"/>
                      <a:pt x="40" y="16"/>
                      <a:pt x="40" y="16"/>
                    </a:cubicBezTo>
                    <a:cubicBezTo>
                      <a:pt x="40" y="18"/>
                      <a:pt x="40" y="18"/>
                      <a:pt x="40" y="18"/>
                    </a:cubicBezTo>
                    <a:cubicBezTo>
                      <a:pt x="40" y="18"/>
                      <a:pt x="41" y="19"/>
                      <a:pt x="41" y="19"/>
                    </a:cubicBezTo>
                    <a:cubicBezTo>
                      <a:pt x="41" y="19"/>
                      <a:pt x="40" y="19"/>
                      <a:pt x="40" y="19"/>
                    </a:cubicBezTo>
                    <a:cubicBezTo>
                      <a:pt x="39" y="20"/>
                      <a:pt x="39" y="20"/>
                      <a:pt x="39" y="20"/>
                    </a:cubicBezTo>
                    <a:cubicBezTo>
                      <a:pt x="38" y="20"/>
                      <a:pt x="38" y="20"/>
                      <a:pt x="38" y="20"/>
                    </a:cubicBezTo>
                    <a:cubicBezTo>
                      <a:pt x="38" y="20"/>
                      <a:pt x="37" y="22"/>
                      <a:pt x="37" y="22"/>
                    </a:cubicBezTo>
                    <a:cubicBezTo>
                      <a:pt x="37" y="23"/>
                      <a:pt x="36" y="23"/>
                      <a:pt x="36" y="23"/>
                    </a:cubicBezTo>
                    <a:cubicBezTo>
                      <a:pt x="36" y="23"/>
                      <a:pt x="35" y="23"/>
                      <a:pt x="36" y="24"/>
                    </a:cubicBezTo>
                    <a:cubicBezTo>
                      <a:pt x="37" y="24"/>
                      <a:pt x="38" y="24"/>
                      <a:pt x="38" y="24"/>
                    </a:cubicBezTo>
                    <a:cubicBezTo>
                      <a:pt x="39" y="24"/>
                      <a:pt x="40" y="24"/>
                      <a:pt x="40" y="24"/>
                    </a:cubicBezTo>
                    <a:cubicBezTo>
                      <a:pt x="40" y="24"/>
                      <a:pt x="42" y="23"/>
                      <a:pt x="42" y="23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2" y="26"/>
                      <a:pt x="42" y="26"/>
                      <a:pt x="42" y="26"/>
                    </a:cubicBezTo>
                    <a:cubicBezTo>
                      <a:pt x="41" y="26"/>
                      <a:pt x="41" y="26"/>
                      <a:pt x="41" y="26"/>
                    </a:cubicBezTo>
                    <a:cubicBezTo>
                      <a:pt x="41" y="26"/>
                      <a:pt x="41" y="27"/>
                      <a:pt x="41" y="27"/>
                    </a:cubicBezTo>
                    <a:cubicBezTo>
                      <a:pt x="40" y="28"/>
                      <a:pt x="39" y="28"/>
                      <a:pt x="39" y="28"/>
                    </a:cubicBezTo>
                    <a:cubicBezTo>
                      <a:pt x="38" y="29"/>
                      <a:pt x="38" y="29"/>
                      <a:pt x="38" y="30"/>
                    </a:cubicBezTo>
                    <a:cubicBezTo>
                      <a:pt x="38" y="31"/>
                      <a:pt x="37" y="33"/>
                      <a:pt x="37" y="33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2" y="36"/>
                      <a:pt x="32" y="36"/>
                      <a:pt x="32" y="36"/>
                    </a:cubicBezTo>
                    <a:cubicBezTo>
                      <a:pt x="31" y="37"/>
                      <a:pt x="31" y="37"/>
                      <a:pt x="31" y="37"/>
                    </a:cubicBezTo>
                    <a:cubicBezTo>
                      <a:pt x="31" y="38"/>
                      <a:pt x="31" y="38"/>
                      <a:pt x="31" y="38"/>
                    </a:cubicBezTo>
                    <a:cubicBezTo>
                      <a:pt x="29" y="39"/>
                      <a:pt x="29" y="39"/>
                      <a:pt x="29" y="39"/>
                    </a:cubicBezTo>
                    <a:cubicBezTo>
                      <a:pt x="29" y="41"/>
                      <a:pt x="29" y="41"/>
                      <a:pt x="29" y="41"/>
                    </a:cubicBezTo>
                    <a:cubicBezTo>
                      <a:pt x="28" y="42"/>
                      <a:pt x="28" y="42"/>
                      <a:pt x="28" y="42"/>
                    </a:cubicBezTo>
                    <a:cubicBezTo>
                      <a:pt x="27" y="42"/>
                      <a:pt x="27" y="42"/>
                      <a:pt x="27" y="42"/>
                    </a:cubicBezTo>
                    <a:cubicBezTo>
                      <a:pt x="26" y="44"/>
                      <a:pt x="26" y="44"/>
                      <a:pt x="26" y="44"/>
                    </a:cubicBezTo>
                    <a:cubicBezTo>
                      <a:pt x="26" y="44"/>
                      <a:pt x="25" y="45"/>
                      <a:pt x="25" y="45"/>
                    </a:cubicBezTo>
                    <a:cubicBezTo>
                      <a:pt x="24" y="45"/>
                      <a:pt x="23" y="46"/>
                      <a:pt x="23" y="46"/>
                    </a:cubicBezTo>
                    <a:cubicBezTo>
                      <a:pt x="21" y="46"/>
                      <a:pt x="21" y="46"/>
                      <a:pt x="21" y="46"/>
                    </a:cubicBezTo>
                    <a:cubicBezTo>
                      <a:pt x="21" y="46"/>
                      <a:pt x="20" y="46"/>
                      <a:pt x="19" y="47"/>
                    </a:cubicBezTo>
                    <a:cubicBezTo>
                      <a:pt x="19" y="48"/>
                      <a:pt x="19" y="48"/>
                      <a:pt x="19" y="48"/>
                    </a:cubicBezTo>
                    <a:cubicBezTo>
                      <a:pt x="19" y="49"/>
                      <a:pt x="20" y="50"/>
                      <a:pt x="20" y="50"/>
                    </a:cubicBezTo>
                    <a:cubicBezTo>
                      <a:pt x="20" y="52"/>
                      <a:pt x="20" y="52"/>
                      <a:pt x="20" y="52"/>
                    </a:cubicBezTo>
                    <a:cubicBezTo>
                      <a:pt x="20" y="52"/>
                      <a:pt x="19" y="52"/>
                      <a:pt x="19" y="53"/>
                    </a:cubicBezTo>
                    <a:cubicBezTo>
                      <a:pt x="19" y="53"/>
                      <a:pt x="19" y="54"/>
                      <a:pt x="19" y="54"/>
                    </a:cubicBezTo>
                    <a:cubicBezTo>
                      <a:pt x="19" y="54"/>
                      <a:pt x="19" y="55"/>
                      <a:pt x="19" y="55"/>
                    </a:cubicBezTo>
                    <a:cubicBezTo>
                      <a:pt x="19" y="55"/>
                      <a:pt x="19" y="56"/>
                      <a:pt x="19" y="56"/>
                    </a:cubicBezTo>
                    <a:cubicBezTo>
                      <a:pt x="19" y="56"/>
                      <a:pt x="19" y="57"/>
                      <a:pt x="18" y="58"/>
                    </a:cubicBezTo>
                    <a:cubicBezTo>
                      <a:pt x="18" y="58"/>
                      <a:pt x="17" y="59"/>
                      <a:pt x="17" y="59"/>
                    </a:cubicBezTo>
                    <a:cubicBezTo>
                      <a:pt x="17" y="59"/>
                      <a:pt x="15" y="59"/>
                      <a:pt x="15" y="59"/>
                    </a:cubicBezTo>
                    <a:cubicBezTo>
                      <a:pt x="15" y="60"/>
                      <a:pt x="13" y="60"/>
                      <a:pt x="13" y="60"/>
                    </a:cubicBezTo>
                    <a:cubicBezTo>
                      <a:pt x="11" y="62"/>
                      <a:pt x="11" y="62"/>
                      <a:pt x="11" y="62"/>
                    </a:cubicBezTo>
                    <a:cubicBezTo>
                      <a:pt x="7" y="66"/>
                      <a:pt x="7" y="66"/>
                      <a:pt x="7" y="66"/>
                    </a:cubicBezTo>
                    <a:cubicBezTo>
                      <a:pt x="7" y="66"/>
                      <a:pt x="7" y="67"/>
                      <a:pt x="7" y="67"/>
                    </a:cubicBezTo>
                    <a:cubicBezTo>
                      <a:pt x="7" y="67"/>
                      <a:pt x="7" y="69"/>
                      <a:pt x="7" y="69"/>
                    </a:cubicBezTo>
                    <a:cubicBezTo>
                      <a:pt x="7" y="70"/>
                      <a:pt x="6" y="71"/>
                      <a:pt x="6" y="71"/>
                    </a:cubicBezTo>
                    <a:cubicBezTo>
                      <a:pt x="5" y="72"/>
                      <a:pt x="5" y="72"/>
                      <a:pt x="5" y="72"/>
                    </a:cubicBezTo>
                    <a:cubicBezTo>
                      <a:pt x="5" y="74"/>
                      <a:pt x="5" y="74"/>
                      <a:pt x="5" y="74"/>
                    </a:cubicBezTo>
                    <a:cubicBezTo>
                      <a:pt x="5" y="75"/>
                      <a:pt x="5" y="75"/>
                      <a:pt x="5" y="75"/>
                    </a:cubicBezTo>
                    <a:cubicBezTo>
                      <a:pt x="6" y="76"/>
                      <a:pt x="6" y="76"/>
                      <a:pt x="6" y="76"/>
                    </a:cubicBezTo>
                    <a:cubicBezTo>
                      <a:pt x="7" y="77"/>
                      <a:pt x="7" y="77"/>
                      <a:pt x="7" y="77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6" y="84"/>
                      <a:pt x="6" y="84"/>
                      <a:pt x="6" y="84"/>
                    </a:cubicBezTo>
                    <a:cubicBezTo>
                      <a:pt x="4" y="84"/>
                      <a:pt x="4" y="84"/>
                      <a:pt x="4" y="84"/>
                    </a:cubicBezTo>
                    <a:cubicBezTo>
                      <a:pt x="4" y="84"/>
                      <a:pt x="3" y="85"/>
                      <a:pt x="2" y="85"/>
                    </a:cubicBezTo>
                    <a:cubicBezTo>
                      <a:pt x="2" y="85"/>
                      <a:pt x="1" y="86"/>
                      <a:pt x="1" y="86"/>
                    </a:cubicBezTo>
                    <a:cubicBezTo>
                      <a:pt x="0" y="87"/>
                      <a:pt x="0" y="87"/>
                      <a:pt x="0" y="87"/>
                    </a:cubicBezTo>
                    <a:cubicBezTo>
                      <a:pt x="1" y="88"/>
                      <a:pt x="1" y="88"/>
                      <a:pt x="1" y="88"/>
                    </a:cubicBezTo>
                    <a:cubicBezTo>
                      <a:pt x="1" y="90"/>
                      <a:pt x="1" y="90"/>
                      <a:pt x="1" y="90"/>
                    </a:cubicBezTo>
                    <a:cubicBezTo>
                      <a:pt x="2" y="90"/>
                      <a:pt x="2" y="90"/>
                      <a:pt x="2" y="90"/>
                    </a:cubicBezTo>
                    <a:cubicBezTo>
                      <a:pt x="4" y="89"/>
                      <a:pt x="4" y="89"/>
                      <a:pt x="4" y="89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9" y="89"/>
                      <a:pt x="9" y="89"/>
                      <a:pt x="9" y="89"/>
                    </a:cubicBezTo>
                    <a:cubicBezTo>
                      <a:pt x="9" y="89"/>
                      <a:pt x="9" y="88"/>
                      <a:pt x="10" y="87"/>
                    </a:cubicBezTo>
                    <a:cubicBezTo>
                      <a:pt x="11" y="86"/>
                      <a:pt x="12" y="86"/>
                      <a:pt x="12" y="86"/>
                    </a:cubicBezTo>
                    <a:cubicBezTo>
                      <a:pt x="13" y="84"/>
                      <a:pt x="13" y="84"/>
                      <a:pt x="13" y="84"/>
                    </a:cubicBezTo>
                    <a:cubicBezTo>
                      <a:pt x="12" y="84"/>
                      <a:pt x="12" y="84"/>
                      <a:pt x="12" y="84"/>
                    </a:cubicBezTo>
                    <a:cubicBezTo>
                      <a:pt x="12" y="82"/>
                      <a:pt x="12" y="82"/>
                      <a:pt x="12" y="82"/>
                    </a:cubicBezTo>
                    <a:cubicBezTo>
                      <a:pt x="10" y="81"/>
                      <a:pt x="10" y="81"/>
                      <a:pt x="10" y="81"/>
                    </a:cubicBezTo>
                    <a:cubicBezTo>
                      <a:pt x="10" y="81"/>
                      <a:pt x="10" y="80"/>
                      <a:pt x="10" y="80"/>
                    </a:cubicBezTo>
                    <a:cubicBezTo>
                      <a:pt x="11" y="79"/>
                      <a:pt x="12" y="77"/>
                      <a:pt x="12" y="77"/>
                    </a:cubicBezTo>
                    <a:cubicBezTo>
                      <a:pt x="15" y="76"/>
                      <a:pt x="15" y="76"/>
                      <a:pt x="15" y="76"/>
                    </a:cubicBezTo>
                    <a:cubicBezTo>
                      <a:pt x="18" y="75"/>
                      <a:pt x="18" y="75"/>
                      <a:pt x="18" y="75"/>
                    </a:cubicBezTo>
                    <a:cubicBezTo>
                      <a:pt x="19" y="74"/>
                      <a:pt x="19" y="74"/>
                      <a:pt x="19" y="74"/>
                    </a:cubicBezTo>
                    <a:cubicBezTo>
                      <a:pt x="21" y="73"/>
                      <a:pt x="21" y="73"/>
                      <a:pt x="21" y="73"/>
                    </a:cubicBezTo>
                    <a:cubicBezTo>
                      <a:pt x="21" y="73"/>
                      <a:pt x="24" y="73"/>
                      <a:pt x="24" y="73"/>
                    </a:cubicBezTo>
                    <a:cubicBezTo>
                      <a:pt x="24" y="73"/>
                      <a:pt x="28" y="73"/>
                      <a:pt x="28" y="73"/>
                    </a:cubicBezTo>
                    <a:lnTo>
                      <a:pt x="31" y="7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50" name="Freeform 51">
                <a:extLst>
                  <a:ext uri="{FF2B5EF4-FFF2-40B4-BE49-F238E27FC236}">
                    <a16:creationId xmlns:a16="http://schemas.microsoft.com/office/drawing/2014/main" id="{45A484D8-9B0F-9FAF-DFA5-F845DF6404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85838" y="1765584"/>
                <a:ext cx="486208" cy="291076"/>
              </a:xfrm>
              <a:custGeom>
                <a:avLst/>
                <a:gdLst>
                  <a:gd name="T0" fmla="*/ 31 w 217"/>
                  <a:gd name="T1" fmla="*/ 35 h 134"/>
                  <a:gd name="T2" fmla="*/ 42 w 217"/>
                  <a:gd name="T3" fmla="*/ 43 h 134"/>
                  <a:gd name="T4" fmla="*/ 55 w 217"/>
                  <a:gd name="T5" fmla="*/ 53 h 134"/>
                  <a:gd name="T6" fmla="*/ 66 w 217"/>
                  <a:gd name="T7" fmla="*/ 68 h 134"/>
                  <a:gd name="T8" fmla="*/ 83 w 217"/>
                  <a:gd name="T9" fmla="*/ 64 h 134"/>
                  <a:gd name="T10" fmla="*/ 87 w 217"/>
                  <a:gd name="T11" fmla="*/ 37 h 134"/>
                  <a:gd name="T12" fmla="*/ 83 w 217"/>
                  <a:gd name="T13" fmla="*/ 16 h 134"/>
                  <a:gd name="T14" fmla="*/ 99 w 217"/>
                  <a:gd name="T15" fmla="*/ 3 h 134"/>
                  <a:gd name="T16" fmla="*/ 112 w 217"/>
                  <a:gd name="T17" fmla="*/ 2 h 134"/>
                  <a:gd name="T18" fmla="*/ 125 w 217"/>
                  <a:gd name="T19" fmla="*/ 5 h 134"/>
                  <a:gd name="T20" fmla="*/ 142 w 217"/>
                  <a:gd name="T21" fmla="*/ 17 h 134"/>
                  <a:gd name="T22" fmla="*/ 152 w 217"/>
                  <a:gd name="T23" fmla="*/ 17 h 134"/>
                  <a:gd name="T24" fmla="*/ 159 w 217"/>
                  <a:gd name="T25" fmla="*/ 11 h 134"/>
                  <a:gd name="T26" fmla="*/ 177 w 217"/>
                  <a:gd name="T27" fmla="*/ 11 h 134"/>
                  <a:gd name="T28" fmla="*/ 184 w 217"/>
                  <a:gd name="T29" fmla="*/ 18 h 134"/>
                  <a:gd name="T30" fmla="*/ 192 w 217"/>
                  <a:gd name="T31" fmla="*/ 31 h 134"/>
                  <a:gd name="T32" fmla="*/ 192 w 217"/>
                  <a:gd name="T33" fmla="*/ 46 h 134"/>
                  <a:gd name="T34" fmla="*/ 198 w 217"/>
                  <a:gd name="T35" fmla="*/ 49 h 134"/>
                  <a:gd name="T36" fmla="*/ 206 w 217"/>
                  <a:gd name="T37" fmla="*/ 58 h 134"/>
                  <a:gd name="T38" fmla="*/ 212 w 217"/>
                  <a:gd name="T39" fmla="*/ 66 h 134"/>
                  <a:gd name="T40" fmla="*/ 216 w 217"/>
                  <a:gd name="T41" fmla="*/ 78 h 134"/>
                  <a:gd name="T42" fmla="*/ 211 w 217"/>
                  <a:gd name="T43" fmla="*/ 83 h 134"/>
                  <a:gd name="T44" fmla="*/ 207 w 217"/>
                  <a:gd name="T45" fmla="*/ 100 h 134"/>
                  <a:gd name="T46" fmla="*/ 192 w 217"/>
                  <a:gd name="T47" fmla="*/ 103 h 134"/>
                  <a:gd name="T48" fmla="*/ 185 w 217"/>
                  <a:gd name="T49" fmla="*/ 112 h 134"/>
                  <a:gd name="T50" fmla="*/ 177 w 217"/>
                  <a:gd name="T51" fmla="*/ 115 h 134"/>
                  <a:gd name="T52" fmla="*/ 165 w 217"/>
                  <a:gd name="T53" fmla="*/ 114 h 134"/>
                  <a:gd name="T54" fmla="*/ 157 w 217"/>
                  <a:gd name="T55" fmla="*/ 105 h 134"/>
                  <a:gd name="T56" fmla="*/ 146 w 217"/>
                  <a:gd name="T57" fmla="*/ 101 h 134"/>
                  <a:gd name="T58" fmla="*/ 139 w 217"/>
                  <a:gd name="T59" fmla="*/ 97 h 134"/>
                  <a:gd name="T60" fmla="*/ 124 w 217"/>
                  <a:gd name="T61" fmla="*/ 97 h 134"/>
                  <a:gd name="T62" fmla="*/ 117 w 217"/>
                  <a:gd name="T63" fmla="*/ 87 h 134"/>
                  <a:gd name="T64" fmla="*/ 108 w 217"/>
                  <a:gd name="T65" fmla="*/ 99 h 134"/>
                  <a:gd name="T66" fmla="*/ 94 w 217"/>
                  <a:gd name="T67" fmla="*/ 100 h 134"/>
                  <a:gd name="T68" fmla="*/ 80 w 217"/>
                  <a:gd name="T69" fmla="*/ 100 h 134"/>
                  <a:gd name="T70" fmla="*/ 67 w 217"/>
                  <a:gd name="T71" fmla="*/ 107 h 134"/>
                  <a:gd name="T72" fmla="*/ 55 w 217"/>
                  <a:gd name="T73" fmla="*/ 104 h 134"/>
                  <a:gd name="T74" fmla="*/ 34 w 217"/>
                  <a:gd name="T75" fmla="*/ 106 h 134"/>
                  <a:gd name="T76" fmla="*/ 21 w 217"/>
                  <a:gd name="T77" fmla="*/ 113 h 134"/>
                  <a:gd name="T78" fmla="*/ 14 w 217"/>
                  <a:gd name="T79" fmla="*/ 122 h 134"/>
                  <a:gd name="T80" fmla="*/ 9 w 217"/>
                  <a:gd name="T81" fmla="*/ 131 h 134"/>
                  <a:gd name="T82" fmla="*/ 5 w 217"/>
                  <a:gd name="T83" fmla="*/ 128 h 134"/>
                  <a:gd name="T84" fmla="*/ 3 w 217"/>
                  <a:gd name="T85" fmla="*/ 108 h 134"/>
                  <a:gd name="T86" fmla="*/ 7 w 217"/>
                  <a:gd name="T87" fmla="*/ 83 h 134"/>
                  <a:gd name="T88" fmla="*/ 8 w 217"/>
                  <a:gd name="T89" fmla="*/ 60 h 134"/>
                  <a:gd name="T90" fmla="*/ 19 w 217"/>
                  <a:gd name="T91" fmla="*/ 45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17" h="134">
                    <a:moveTo>
                      <a:pt x="19" y="45"/>
                    </a:moveTo>
                    <a:cubicBezTo>
                      <a:pt x="24" y="40"/>
                      <a:pt x="24" y="40"/>
                      <a:pt x="24" y="40"/>
                    </a:cubicBezTo>
                    <a:cubicBezTo>
                      <a:pt x="24" y="40"/>
                      <a:pt x="30" y="35"/>
                      <a:pt x="31" y="35"/>
                    </a:cubicBezTo>
                    <a:cubicBezTo>
                      <a:pt x="33" y="34"/>
                      <a:pt x="36" y="32"/>
                      <a:pt x="36" y="33"/>
                    </a:cubicBezTo>
                    <a:cubicBezTo>
                      <a:pt x="36" y="34"/>
                      <a:pt x="37" y="41"/>
                      <a:pt x="37" y="41"/>
                    </a:cubicBezTo>
                    <a:cubicBezTo>
                      <a:pt x="42" y="43"/>
                      <a:pt x="42" y="43"/>
                      <a:pt x="42" y="43"/>
                    </a:cubicBezTo>
                    <a:cubicBezTo>
                      <a:pt x="46" y="46"/>
                      <a:pt x="46" y="46"/>
                      <a:pt x="46" y="46"/>
                    </a:cubicBezTo>
                    <a:cubicBezTo>
                      <a:pt x="54" y="50"/>
                      <a:pt x="54" y="50"/>
                      <a:pt x="54" y="50"/>
                    </a:cubicBezTo>
                    <a:cubicBezTo>
                      <a:pt x="55" y="53"/>
                      <a:pt x="55" y="53"/>
                      <a:pt x="55" y="53"/>
                    </a:cubicBezTo>
                    <a:cubicBezTo>
                      <a:pt x="55" y="53"/>
                      <a:pt x="54" y="55"/>
                      <a:pt x="56" y="58"/>
                    </a:cubicBezTo>
                    <a:cubicBezTo>
                      <a:pt x="59" y="61"/>
                      <a:pt x="60" y="61"/>
                      <a:pt x="61" y="64"/>
                    </a:cubicBezTo>
                    <a:cubicBezTo>
                      <a:pt x="62" y="66"/>
                      <a:pt x="66" y="68"/>
                      <a:pt x="66" y="68"/>
                    </a:cubicBezTo>
                    <a:cubicBezTo>
                      <a:pt x="71" y="69"/>
                      <a:pt x="71" y="69"/>
                      <a:pt x="71" y="69"/>
                    </a:cubicBezTo>
                    <a:cubicBezTo>
                      <a:pt x="71" y="69"/>
                      <a:pt x="76" y="71"/>
                      <a:pt x="77" y="70"/>
                    </a:cubicBezTo>
                    <a:cubicBezTo>
                      <a:pt x="78" y="69"/>
                      <a:pt x="83" y="65"/>
                      <a:pt x="83" y="64"/>
                    </a:cubicBezTo>
                    <a:cubicBezTo>
                      <a:pt x="84" y="63"/>
                      <a:pt x="87" y="59"/>
                      <a:pt x="88" y="58"/>
                    </a:cubicBezTo>
                    <a:cubicBezTo>
                      <a:pt x="89" y="57"/>
                      <a:pt x="92" y="50"/>
                      <a:pt x="92" y="49"/>
                    </a:cubicBezTo>
                    <a:cubicBezTo>
                      <a:pt x="92" y="47"/>
                      <a:pt x="88" y="39"/>
                      <a:pt x="87" y="37"/>
                    </a:cubicBezTo>
                    <a:cubicBezTo>
                      <a:pt x="87" y="35"/>
                      <a:pt x="86" y="29"/>
                      <a:pt x="86" y="29"/>
                    </a:cubicBezTo>
                    <a:cubicBezTo>
                      <a:pt x="82" y="21"/>
                      <a:pt x="82" y="21"/>
                      <a:pt x="82" y="21"/>
                    </a:cubicBezTo>
                    <a:cubicBezTo>
                      <a:pt x="82" y="21"/>
                      <a:pt x="82" y="16"/>
                      <a:pt x="83" y="16"/>
                    </a:cubicBezTo>
                    <a:cubicBezTo>
                      <a:pt x="84" y="15"/>
                      <a:pt x="89" y="11"/>
                      <a:pt x="89" y="11"/>
                    </a:cubicBezTo>
                    <a:cubicBezTo>
                      <a:pt x="94" y="6"/>
                      <a:pt x="94" y="6"/>
                      <a:pt x="94" y="6"/>
                    </a:cubicBezTo>
                    <a:cubicBezTo>
                      <a:pt x="99" y="3"/>
                      <a:pt x="99" y="3"/>
                      <a:pt x="99" y="3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108" y="2"/>
                      <a:pt x="108" y="2"/>
                      <a:pt x="108" y="2"/>
                    </a:cubicBezTo>
                    <a:cubicBezTo>
                      <a:pt x="112" y="2"/>
                      <a:pt x="112" y="2"/>
                      <a:pt x="112" y="2"/>
                    </a:cubicBezTo>
                    <a:cubicBezTo>
                      <a:pt x="116" y="4"/>
                      <a:pt x="116" y="4"/>
                      <a:pt x="116" y="4"/>
                    </a:cubicBezTo>
                    <a:cubicBezTo>
                      <a:pt x="121" y="4"/>
                      <a:pt x="121" y="4"/>
                      <a:pt x="121" y="4"/>
                    </a:cubicBezTo>
                    <a:cubicBezTo>
                      <a:pt x="125" y="5"/>
                      <a:pt x="125" y="5"/>
                      <a:pt x="125" y="5"/>
                    </a:cubicBezTo>
                    <a:cubicBezTo>
                      <a:pt x="130" y="7"/>
                      <a:pt x="130" y="7"/>
                      <a:pt x="130" y="7"/>
                    </a:cubicBezTo>
                    <a:cubicBezTo>
                      <a:pt x="139" y="13"/>
                      <a:pt x="139" y="13"/>
                      <a:pt x="139" y="13"/>
                    </a:cubicBezTo>
                    <a:cubicBezTo>
                      <a:pt x="142" y="17"/>
                      <a:pt x="142" y="17"/>
                      <a:pt x="142" y="17"/>
                    </a:cubicBezTo>
                    <a:cubicBezTo>
                      <a:pt x="145" y="18"/>
                      <a:pt x="145" y="18"/>
                      <a:pt x="145" y="18"/>
                    </a:cubicBezTo>
                    <a:cubicBezTo>
                      <a:pt x="145" y="18"/>
                      <a:pt x="147" y="20"/>
                      <a:pt x="149" y="19"/>
                    </a:cubicBezTo>
                    <a:cubicBezTo>
                      <a:pt x="150" y="19"/>
                      <a:pt x="151" y="18"/>
                      <a:pt x="152" y="17"/>
                    </a:cubicBezTo>
                    <a:cubicBezTo>
                      <a:pt x="154" y="16"/>
                      <a:pt x="155" y="14"/>
                      <a:pt x="155" y="14"/>
                    </a:cubicBezTo>
                    <a:cubicBezTo>
                      <a:pt x="157" y="14"/>
                      <a:pt x="157" y="14"/>
                      <a:pt x="157" y="14"/>
                    </a:cubicBezTo>
                    <a:cubicBezTo>
                      <a:pt x="159" y="11"/>
                      <a:pt x="159" y="11"/>
                      <a:pt x="159" y="11"/>
                    </a:cubicBezTo>
                    <a:cubicBezTo>
                      <a:pt x="167" y="13"/>
                      <a:pt x="167" y="13"/>
                      <a:pt x="167" y="13"/>
                    </a:cubicBezTo>
                    <a:cubicBezTo>
                      <a:pt x="171" y="13"/>
                      <a:pt x="171" y="13"/>
                      <a:pt x="171" y="13"/>
                    </a:cubicBezTo>
                    <a:cubicBezTo>
                      <a:pt x="177" y="11"/>
                      <a:pt x="177" y="11"/>
                      <a:pt x="177" y="11"/>
                    </a:cubicBezTo>
                    <a:cubicBezTo>
                      <a:pt x="180" y="14"/>
                      <a:pt x="180" y="14"/>
                      <a:pt x="180" y="14"/>
                    </a:cubicBezTo>
                    <a:cubicBezTo>
                      <a:pt x="180" y="17"/>
                      <a:pt x="180" y="17"/>
                      <a:pt x="180" y="17"/>
                    </a:cubicBezTo>
                    <a:cubicBezTo>
                      <a:pt x="184" y="18"/>
                      <a:pt x="184" y="18"/>
                      <a:pt x="184" y="18"/>
                    </a:cubicBezTo>
                    <a:cubicBezTo>
                      <a:pt x="184" y="18"/>
                      <a:pt x="187" y="20"/>
                      <a:pt x="188" y="20"/>
                    </a:cubicBezTo>
                    <a:cubicBezTo>
                      <a:pt x="189" y="20"/>
                      <a:pt x="191" y="21"/>
                      <a:pt x="191" y="21"/>
                    </a:cubicBezTo>
                    <a:cubicBezTo>
                      <a:pt x="192" y="31"/>
                      <a:pt x="192" y="31"/>
                      <a:pt x="192" y="31"/>
                    </a:cubicBezTo>
                    <a:cubicBezTo>
                      <a:pt x="190" y="34"/>
                      <a:pt x="190" y="34"/>
                      <a:pt x="190" y="34"/>
                    </a:cubicBezTo>
                    <a:cubicBezTo>
                      <a:pt x="192" y="42"/>
                      <a:pt x="192" y="42"/>
                      <a:pt x="192" y="42"/>
                    </a:cubicBezTo>
                    <a:cubicBezTo>
                      <a:pt x="192" y="46"/>
                      <a:pt x="192" y="46"/>
                      <a:pt x="192" y="46"/>
                    </a:cubicBezTo>
                    <a:cubicBezTo>
                      <a:pt x="196" y="43"/>
                      <a:pt x="196" y="43"/>
                      <a:pt x="196" y="43"/>
                    </a:cubicBezTo>
                    <a:cubicBezTo>
                      <a:pt x="200" y="46"/>
                      <a:pt x="200" y="46"/>
                      <a:pt x="200" y="46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203" y="53"/>
                      <a:pt x="203" y="53"/>
                      <a:pt x="203" y="53"/>
                    </a:cubicBezTo>
                    <a:cubicBezTo>
                      <a:pt x="207" y="55"/>
                      <a:pt x="207" y="55"/>
                      <a:pt x="207" y="55"/>
                    </a:cubicBezTo>
                    <a:cubicBezTo>
                      <a:pt x="206" y="58"/>
                      <a:pt x="206" y="58"/>
                      <a:pt x="206" y="58"/>
                    </a:cubicBezTo>
                    <a:cubicBezTo>
                      <a:pt x="206" y="58"/>
                      <a:pt x="207" y="59"/>
                      <a:pt x="208" y="59"/>
                    </a:cubicBezTo>
                    <a:cubicBezTo>
                      <a:pt x="209" y="60"/>
                      <a:pt x="211" y="61"/>
                      <a:pt x="211" y="61"/>
                    </a:cubicBezTo>
                    <a:cubicBezTo>
                      <a:pt x="211" y="61"/>
                      <a:pt x="212" y="64"/>
                      <a:pt x="212" y="66"/>
                    </a:cubicBezTo>
                    <a:cubicBezTo>
                      <a:pt x="213" y="67"/>
                      <a:pt x="217" y="70"/>
                      <a:pt x="217" y="70"/>
                    </a:cubicBezTo>
                    <a:cubicBezTo>
                      <a:pt x="216" y="75"/>
                      <a:pt x="216" y="75"/>
                      <a:pt x="216" y="75"/>
                    </a:cubicBezTo>
                    <a:cubicBezTo>
                      <a:pt x="216" y="75"/>
                      <a:pt x="216" y="77"/>
                      <a:pt x="216" y="78"/>
                    </a:cubicBezTo>
                    <a:cubicBezTo>
                      <a:pt x="216" y="79"/>
                      <a:pt x="216" y="80"/>
                      <a:pt x="216" y="81"/>
                    </a:cubicBezTo>
                    <a:cubicBezTo>
                      <a:pt x="216" y="80"/>
                      <a:pt x="216" y="80"/>
                      <a:pt x="216" y="80"/>
                    </a:cubicBezTo>
                    <a:cubicBezTo>
                      <a:pt x="211" y="83"/>
                      <a:pt x="211" y="83"/>
                      <a:pt x="211" y="83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05" y="95"/>
                      <a:pt x="205" y="95"/>
                      <a:pt x="205" y="95"/>
                    </a:cubicBezTo>
                    <a:cubicBezTo>
                      <a:pt x="207" y="100"/>
                      <a:pt x="207" y="100"/>
                      <a:pt x="207" y="100"/>
                    </a:cubicBezTo>
                    <a:cubicBezTo>
                      <a:pt x="205" y="103"/>
                      <a:pt x="205" y="103"/>
                      <a:pt x="205" y="103"/>
                    </a:cubicBezTo>
                    <a:cubicBezTo>
                      <a:pt x="197" y="103"/>
                      <a:pt x="197" y="103"/>
                      <a:pt x="197" y="103"/>
                    </a:cubicBezTo>
                    <a:cubicBezTo>
                      <a:pt x="197" y="103"/>
                      <a:pt x="196" y="103"/>
                      <a:pt x="192" y="103"/>
                    </a:cubicBezTo>
                    <a:cubicBezTo>
                      <a:pt x="188" y="103"/>
                      <a:pt x="189" y="103"/>
                      <a:pt x="189" y="103"/>
                    </a:cubicBezTo>
                    <a:cubicBezTo>
                      <a:pt x="186" y="106"/>
                      <a:pt x="186" y="106"/>
                      <a:pt x="186" y="106"/>
                    </a:cubicBezTo>
                    <a:cubicBezTo>
                      <a:pt x="185" y="112"/>
                      <a:pt x="185" y="112"/>
                      <a:pt x="185" y="112"/>
                    </a:cubicBezTo>
                    <a:cubicBezTo>
                      <a:pt x="185" y="112"/>
                      <a:pt x="183" y="112"/>
                      <a:pt x="179" y="113"/>
                    </a:cubicBezTo>
                    <a:cubicBezTo>
                      <a:pt x="177" y="114"/>
                      <a:pt x="177" y="115"/>
                      <a:pt x="177" y="115"/>
                    </a:cubicBezTo>
                    <a:cubicBezTo>
                      <a:pt x="177" y="115"/>
                      <a:pt x="177" y="115"/>
                      <a:pt x="177" y="115"/>
                    </a:cubicBezTo>
                    <a:cubicBezTo>
                      <a:pt x="174" y="115"/>
                      <a:pt x="174" y="115"/>
                      <a:pt x="174" y="115"/>
                    </a:cubicBezTo>
                    <a:cubicBezTo>
                      <a:pt x="169" y="114"/>
                      <a:pt x="169" y="114"/>
                      <a:pt x="169" y="114"/>
                    </a:cubicBezTo>
                    <a:cubicBezTo>
                      <a:pt x="165" y="114"/>
                      <a:pt x="165" y="114"/>
                      <a:pt x="165" y="114"/>
                    </a:cubicBezTo>
                    <a:cubicBezTo>
                      <a:pt x="163" y="110"/>
                      <a:pt x="163" y="110"/>
                      <a:pt x="163" y="110"/>
                    </a:cubicBezTo>
                    <a:cubicBezTo>
                      <a:pt x="160" y="109"/>
                      <a:pt x="160" y="109"/>
                      <a:pt x="160" y="109"/>
                    </a:cubicBezTo>
                    <a:cubicBezTo>
                      <a:pt x="157" y="105"/>
                      <a:pt x="157" y="105"/>
                      <a:pt x="157" y="105"/>
                    </a:cubicBezTo>
                    <a:cubicBezTo>
                      <a:pt x="153" y="104"/>
                      <a:pt x="153" y="104"/>
                      <a:pt x="153" y="104"/>
                    </a:cubicBezTo>
                    <a:cubicBezTo>
                      <a:pt x="151" y="101"/>
                      <a:pt x="151" y="101"/>
                      <a:pt x="151" y="101"/>
                    </a:cubicBezTo>
                    <a:cubicBezTo>
                      <a:pt x="146" y="101"/>
                      <a:pt x="146" y="101"/>
                      <a:pt x="146" y="101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42" y="97"/>
                      <a:pt x="142" y="97"/>
                      <a:pt x="142" y="97"/>
                    </a:cubicBezTo>
                    <a:cubicBezTo>
                      <a:pt x="139" y="97"/>
                      <a:pt x="139" y="97"/>
                      <a:pt x="139" y="97"/>
                    </a:cubicBezTo>
                    <a:cubicBezTo>
                      <a:pt x="135" y="98"/>
                      <a:pt x="135" y="98"/>
                      <a:pt x="135" y="98"/>
                    </a:cubicBezTo>
                    <a:cubicBezTo>
                      <a:pt x="128" y="100"/>
                      <a:pt x="128" y="100"/>
                      <a:pt x="128" y="100"/>
                    </a:cubicBezTo>
                    <a:cubicBezTo>
                      <a:pt x="124" y="97"/>
                      <a:pt x="124" y="97"/>
                      <a:pt x="124" y="97"/>
                    </a:cubicBezTo>
                    <a:cubicBezTo>
                      <a:pt x="123" y="96"/>
                      <a:pt x="123" y="96"/>
                      <a:pt x="123" y="96"/>
                    </a:cubicBezTo>
                    <a:cubicBezTo>
                      <a:pt x="119" y="93"/>
                      <a:pt x="119" y="93"/>
                      <a:pt x="119" y="93"/>
                    </a:cubicBezTo>
                    <a:cubicBezTo>
                      <a:pt x="117" y="87"/>
                      <a:pt x="117" y="87"/>
                      <a:pt x="117" y="87"/>
                    </a:cubicBezTo>
                    <a:cubicBezTo>
                      <a:pt x="117" y="87"/>
                      <a:pt x="113" y="90"/>
                      <a:pt x="112" y="90"/>
                    </a:cubicBezTo>
                    <a:cubicBezTo>
                      <a:pt x="112" y="90"/>
                      <a:pt x="109" y="95"/>
                      <a:pt x="109" y="95"/>
                    </a:cubicBezTo>
                    <a:cubicBezTo>
                      <a:pt x="108" y="99"/>
                      <a:pt x="108" y="99"/>
                      <a:pt x="108" y="99"/>
                    </a:cubicBezTo>
                    <a:cubicBezTo>
                      <a:pt x="102" y="97"/>
                      <a:pt x="102" y="97"/>
                      <a:pt x="102" y="97"/>
                    </a:cubicBezTo>
                    <a:cubicBezTo>
                      <a:pt x="102" y="97"/>
                      <a:pt x="99" y="101"/>
                      <a:pt x="99" y="102"/>
                    </a:cubicBezTo>
                    <a:cubicBezTo>
                      <a:pt x="98" y="102"/>
                      <a:pt x="94" y="100"/>
                      <a:pt x="94" y="100"/>
                    </a:cubicBezTo>
                    <a:cubicBezTo>
                      <a:pt x="88" y="100"/>
                      <a:pt x="88" y="100"/>
                      <a:pt x="88" y="100"/>
                    </a:cubicBezTo>
                    <a:cubicBezTo>
                      <a:pt x="88" y="100"/>
                      <a:pt x="82" y="100"/>
                      <a:pt x="81" y="99"/>
                    </a:cubicBezTo>
                    <a:cubicBezTo>
                      <a:pt x="80" y="99"/>
                      <a:pt x="80" y="100"/>
                      <a:pt x="80" y="100"/>
                    </a:cubicBezTo>
                    <a:cubicBezTo>
                      <a:pt x="75" y="101"/>
                      <a:pt x="75" y="101"/>
                      <a:pt x="75" y="101"/>
                    </a:cubicBezTo>
                    <a:cubicBezTo>
                      <a:pt x="69" y="102"/>
                      <a:pt x="69" y="102"/>
                      <a:pt x="69" y="102"/>
                    </a:cubicBezTo>
                    <a:cubicBezTo>
                      <a:pt x="69" y="102"/>
                      <a:pt x="68" y="106"/>
                      <a:pt x="67" y="107"/>
                    </a:cubicBezTo>
                    <a:cubicBezTo>
                      <a:pt x="66" y="107"/>
                      <a:pt x="63" y="104"/>
                      <a:pt x="62" y="103"/>
                    </a:cubicBezTo>
                    <a:cubicBezTo>
                      <a:pt x="62" y="102"/>
                      <a:pt x="59" y="101"/>
                      <a:pt x="59" y="101"/>
                    </a:cubicBezTo>
                    <a:cubicBezTo>
                      <a:pt x="55" y="104"/>
                      <a:pt x="55" y="104"/>
                      <a:pt x="55" y="104"/>
                    </a:cubicBezTo>
                    <a:cubicBezTo>
                      <a:pt x="55" y="104"/>
                      <a:pt x="48" y="105"/>
                      <a:pt x="47" y="105"/>
                    </a:cubicBezTo>
                    <a:cubicBezTo>
                      <a:pt x="46" y="105"/>
                      <a:pt x="41" y="107"/>
                      <a:pt x="41" y="107"/>
                    </a:cubicBezTo>
                    <a:cubicBezTo>
                      <a:pt x="34" y="106"/>
                      <a:pt x="34" y="106"/>
                      <a:pt x="34" y="106"/>
                    </a:cubicBezTo>
                    <a:cubicBezTo>
                      <a:pt x="31" y="109"/>
                      <a:pt x="31" y="109"/>
                      <a:pt x="31" y="109"/>
                    </a:cubicBezTo>
                    <a:cubicBezTo>
                      <a:pt x="25" y="113"/>
                      <a:pt x="25" y="113"/>
                      <a:pt x="25" y="113"/>
                    </a:cubicBezTo>
                    <a:cubicBezTo>
                      <a:pt x="21" y="113"/>
                      <a:pt x="21" y="113"/>
                      <a:pt x="21" y="113"/>
                    </a:cubicBezTo>
                    <a:cubicBezTo>
                      <a:pt x="19" y="118"/>
                      <a:pt x="19" y="118"/>
                      <a:pt x="19" y="118"/>
                    </a:cubicBezTo>
                    <a:cubicBezTo>
                      <a:pt x="15" y="120"/>
                      <a:pt x="15" y="120"/>
                      <a:pt x="15" y="120"/>
                    </a:cubicBezTo>
                    <a:cubicBezTo>
                      <a:pt x="14" y="122"/>
                      <a:pt x="14" y="122"/>
                      <a:pt x="14" y="122"/>
                    </a:cubicBezTo>
                    <a:cubicBezTo>
                      <a:pt x="13" y="128"/>
                      <a:pt x="13" y="128"/>
                      <a:pt x="13" y="128"/>
                    </a:cubicBezTo>
                    <a:cubicBezTo>
                      <a:pt x="13" y="128"/>
                      <a:pt x="10" y="129"/>
                      <a:pt x="8" y="129"/>
                    </a:cubicBezTo>
                    <a:cubicBezTo>
                      <a:pt x="7" y="130"/>
                      <a:pt x="9" y="131"/>
                      <a:pt x="9" y="131"/>
                    </a:cubicBezTo>
                    <a:cubicBezTo>
                      <a:pt x="8" y="134"/>
                      <a:pt x="8" y="134"/>
                      <a:pt x="8" y="134"/>
                    </a:cubicBezTo>
                    <a:cubicBezTo>
                      <a:pt x="8" y="134"/>
                      <a:pt x="7" y="133"/>
                      <a:pt x="7" y="133"/>
                    </a:cubicBezTo>
                    <a:cubicBezTo>
                      <a:pt x="7" y="133"/>
                      <a:pt x="6" y="130"/>
                      <a:pt x="5" y="128"/>
                    </a:cubicBezTo>
                    <a:cubicBezTo>
                      <a:pt x="3" y="126"/>
                      <a:pt x="1" y="117"/>
                      <a:pt x="1" y="117"/>
                    </a:cubicBezTo>
                    <a:cubicBezTo>
                      <a:pt x="3" y="113"/>
                      <a:pt x="3" y="113"/>
                      <a:pt x="3" y="113"/>
                    </a:cubicBezTo>
                    <a:cubicBezTo>
                      <a:pt x="3" y="113"/>
                      <a:pt x="3" y="109"/>
                      <a:pt x="3" y="108"/>
                    </a:cubicBezTo>
                    <a:cubicBezTo>
                      <a:pt x="2" y="106"/>
                      <a:pt x="1" y="97"/>
                      <a:pt x="1" y="97"/>
                    </a:cubicBezTo>
                    <a:cubicBezTo>
                      <a:pt x="1" y="97"/>
                      <a:pt x="0" y="93"/>
                      <a:pt x="0" y="92"/>
                    </a:cubicBezTo>
                    <a:cubicBezTo>
                      <a:pt x="0" y="91"/>
                      <a:pt x="7" y="83"/>
                      <a:pt x="7" y="83"/>
                    </a:cubicBezTo>
                    <a:cubicBezTo>
                      <a:pt x="7" y="82"/>
                      <a:pt x="8" y="74"/>
                      <a:pt x="8" y="74"/>
                    </a:cubicBezTo>
                    <a:cubicBezTo>
                      <a:pt x="6" y="68"/>
                      <a:pt x="6" y="68"/>
                      <a:pt x="6" y="68"/>
                    </a:cubicBezTo>
                    <a:cubicBezTo>
                      <a:pt x="8" y="60"/>
                      <a:pt x="8" y="60"/>
                      <a:pt x="8" y="60"/>
                    </a:cubicBezTo>
                    <a:cubicBezTo>
                      <a:pt x="10" y="51"/>
                      <a:pt x="10" y="51"/>
                      <a:pt x="10" y="51"/>
                    </a:cubicBezTo>
                    <a:cubicBezTo>
                      <a:pt x="10" y="51"/>
                      <a:pt x="11" y="47"/>
                      <a:pt x="12" y="47"/>
                    </a:cubicBezTo>
                    <a:cubicBezTo>
                      <a:pt x="13" y="46"/>
                      <a:pt x="19" y="45"/>
                      <a:pt x="19" y="45"/>
                    </a:cubicBez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51" name="Freeform 61">
                <a:extLst>
                  <a:ext uri="{FF2B5EF4-FFF2-40B4-BE49-F238E27FC236}">
                    <a16:creationId xmlns:a16="http://schemas.microsoft.com/office/drawing/2014/main" id="{FA06B4F3-2933-0EDC-A8B3-33F9C320068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70826" y="3338233"/>
                <a:ext cx="353311" cy="302594"/>
              </a:xfrm>
              <a:custGeom>
                <a:avLst/>
                <a:gdLst>
                  <a:gd name="T0" fmla="*/ 132 w 158"/>
                  <a:gd name="T1" fmla="*/ 9 h 139"/>
                  <a:gd name="T2" fmla="*/ 138 w 158"/>
                  <a:gd name="T3" fmla="*/ 25 h 139"/>
                  <a:gd name="T4" fmla="*/ 135 w 158"/>
                  <a:gd name="T5" fmla="*/ 42 h 139"/>
                  <a:gd name="T6" fmla="*/ 151 w 158"/>
                  <a:gd name="T7" fmla="*/ 49 h 139"/>
                  <a:gd name="T8" fmla="*/ 152 w 158"/>
                  <a:gd name="T9" fmla="*/ 59 h 139"/>
                  <a:gd name="T10" fmla="*/ 149 w 158"/>
                  <a:gd name="T11" fmla="*/ 65 h 139"/>
                  <a:gd name="T12" fmla="*/ 151 w 158"/>
                  <a:gd name="T13" fmla="*/ 79 h 139"/>
                  <a:gd name="T14" fmla="*/ 141 w 158"/>
                  <a:gd name="T15" fmla="*/ 85 h 139"/>
                  <a:gd name="T16" fmla="*/ 135 w 158"/>
                  <a:gd name="T17" fmla="*/ 87 h 139"/>
                  <a:gd name="T18" fmla="*/ 140 w 158"/>
                  <a:gd name="T19" fmla="*/ 93 h 139"/>
                  <a:gd name="T20" fmla="*/ 138 w 158"/>
                  <a:gd name="T21" fmla="*/ 97 h 139"/>
                  <a:gd name="T22" fmla="*/ 129 w 158"/>
                  <a:gd name="T23" fmla="*/ 103 h 139"/>
                  <a:gd name="T24" fmla="*/ 121 w 158"/>
                  <a:gd name="T25" fmla="*/ 115 h 139"/>
                  <a:gd name="T26" fmla="*/ 125 w 158"/>
                  <a:gd name="T27" fmla="*/ 129 h 139"/>
                  <a:gd name="T28" fmla="*/ 126 w 158"/>
                  <a:gd name="T29" fmla="*/ 137 h 139"/>
                  <a:gd name="T30" fmla="*/ 118 w 158"/>
                  <a:gd name="T31" fmla="*/ 139 h 139"/>
                  <a:gd name="T32" fmla="*/ 114 w 158"/>
                  <a:gd name="T33" fmla="*/ 138 h 139"/>
                  <a:gd name="T34" fmla="*/ 113 w 158"/>
                  <a:gd name="T35" fmla="*/ 137 h 139"/>
                  <a:gd name="T36" fmla="*/ 113 w 158"/>
                  <a:gd name="T37" fmla="*/ 137 h 139"/>
                  <a:gd name="T38" fmla="*/ 113 w 158"/>
                  <a:gd name="T39" fmla="*/ 137 h 139"/>
                  <a:gd name="T40" fmla="*/ 112 w 158"/>
                  <a:gd name="T41" fmla="*/ 137 h 139"/>
                  <a:gd name="T42" fmla="*/ 99 w 158"/>
                  <a:gd name="T43" fmla="*/ 129 h 139"/>
                  <a:gd name="T44" fmla="*/ 87 w 158"/>
                  <a:gd name="T45" fmla="*/ 116 h 139"/>
                  <a:gd name="T46" fmla="*/ 68 w 158"/>
                  <a:gd name="T47" fmla="*/ 100 h 139"/>
                  <a:gd name="T48" fmla="*/ 56 w 158"/>
                  <a:gd name="T49" fmla="*/ 89 h 139"/>
                  <a:gd name="T50" fmla="*/ 43 w 158"/>
                  <a:gd name="T51" fmla="*/ 79 h 139"/>
                  <a:gd name="T52" fmla="*/ 31 w 158"/>
                  <a:gd name="T53" fmla="*/ 68 h 139"/>
                  <a:gd name="T54" fmla="*/ 23 w 158"/>
                  <a:gd name="T55" fmla="*/ 54 h 139"/>
                  <a:gd name="T56" fmla="*/ 14 w 158"/>
                  <a:gd name="T57" fmla="*/ 43 h 139"/>
                  <a:gd name="T58" fmla="*/ 5 w 158"/>
                  <a:gd name="T59" fmla="*/ 36 h 139"/>
                  <a:gd name="T60" fmla="*/ 1 w 158"/>
                  <a:gd name="T61" fmla="*/ 20 h 139"/>
                  <a:gd name="T62" fmla="*/ 2 w 158"/>
                  <a:gd name="T63" fmla="*/ 10 h 139"/>
                  <a:gd name="T64" fmla="*/ 8 w 158"/>
                  <a:gd name="T65" fmla="*/ 7 h 139"/>
                  <a:gd name="T66" fmla="*/ 23 w 158"/>
                  <a:gd name="T67" fmla="*/ 13 h 139"/>
                  <a:gd name="T68" fmla="*/ 35 w 158"/>
                  <a:gd name="T69" fmla="*/ 4 h 139"/>
                  <a:gd name="T70" fmla="*/ 48 w 158"/>
                  <a:gd name="T71" fmla="*/ 2 h 139"/>
                  <a:gd name="T72" fmla="*/ 61 w 158"/>
                  <a:gd name="T73" fmla="*/ 4 h 139"/>
                  <a:gd name="T74" fmla="*/ 80 w 158"/>
                  <a:gd name="T75" fmla="*/ 6 h 139"/>
                  <a:gd name="T76" fmla="*/ 90 w 158"/>
                  <a:gd name="T77" fmla="*/ 3 h 139"/>
                  <a:gd name="T78" fmla="*/ 97 w 158"/>
                  <a:gd name="T79" fmla="*/ 2 h 139"/>
                  <a:gd name="T80" fmla="*/ 98 w 158"/>
                  <a:gd name="T81" fmla="*/ 2 h 139"/>
                  <a:gd name="T82" fmla="*/ 98 w 158"/>
                  <a:gd name="T83" fmla="*/ 2 h 139"/>
                  <a:gd name="T84" fmla="*/ 99 w 158"/>
                  <a:gd name="T85" fmla="*/ 2 h 139"/>
                  <a:gd name="T86" fmla="*/ 99 w 158"/>
                  <a:gd name="T87" fmla="*/ 2 h 139"/>
                  <a:gd name="T88" fmla="*/ 99 w 158"/>
                  <a:gd name="T89" fmla="*/ 2 h 139"/>
                  <a:gd name="T90" fmla="*/ 100 w 158"/>
                  <a:gd name="T91" fmla="*/ 1 h 139"/>
                  <a:gd name="T92" fmla="*/ 100 w 158"/>
                  <a:gd name="T93" fmla="*/ 1 h 139"/>
                  <a:gd name="T94" fmla="*/ 100 w 158"/>
                  <a:gd name="T95" fmla="*/ 1 h 139"/>
                  <a:gd name="T96" fmla="*/ 100 w 158"/>
                  <a:gd name="T97" fmla="*/ 1 h 139"/>
                  <a:gd name="T98" fmla="*/ 100 w 158"/>
                  <a:gd name="T99" fmla="*/ 1 h 139"/>
                  <a:gd name="T100" fmla="*/ 103 w 158"/>
                  <a:gd name="T101" fmla="*/ 4 h 139"/>
                  <a:gd name="T102" fmla="*/ 117 w 158"/>
                  <a:gd name="T103" fmla="*/ 8 h 139"/>
                  <a:gd name="T104" fmla="*/ 130 w 158"/>
                  <a:gd name="T105" fmla="*/ 12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58" h="139">
                    <a:moveTo>
                      <a:pt x="145" y="83"/>
                    </a:moveTo>
                    <a:cubicBezTo>
                      <a:pt x="146" y="83"/>
                      <a:pt x="146" y="83"/>
                      <a:pt x="146" y="83"/>
                    </a:cubicBezTo>
                    <a:cubicBezTo>
                      <a:pt x="146" y="83"/>
                      <a:pt x="146" y="83"/>
                      <a:pt x="146" y="83"/>
                    </a:cubicBezTo>
                    <a:cubicBezTo>
                      <a:pt x="145" y="83"/>
                      <a:pt x="145" y="83"/>
                      <a:pt x="145" y="83"/>
                    </a:cubicBezTo>
                    <a:close/>
                    <a:moveTo>
                      <a:pt x="132" y="9"/>
                    </a:moveTo>
                    <a:cubicBezTo>
                      <a:pt x="132" y="9"/>
                      <a:pt x="132" y="9"/>
                      <a:pt x="132" y="9"/>
                    </a:cubicBezTo>
                    <a:cubicBezTo>
                      <a:pt x="138" y="10"/>
                      <a:pt x="138" y="10"/>
                      <a:pt x="138" y="10"/>
                    </a:cubicBezTo>
                    <a:cubicBezTo>
                      <a:pt x="141" y="11"/>
                      <a:pt x="141" y="11"/>
                      <a:pt x="141" y="11"/>
                    </a:cubicBezTo>
                    <a:cubicBezTo>
                      <a:pt x="141" y="14"/>
                      <a:pt x="141" y="14"/>
                      <a:pt x="141" y="14"/>
                    </a:cubicBezTo>
                    <a:cubicBezTo>
                      <a:pt x="141" y="18"/>
                      <a:pt x="141" y="18"/>
                      <a:pt x="141" y="18"/>
                    </a:cubicBezTo>
                    <a:cubicBezTo>
                      <a:pt x="141" y="21"/>
                      <a:pt x="141" y="21"/>
                      <a:pt x="141" y="21"/>
                    </a:cubicBezTo>
                    <a:cubicBezTo>
                      <a:pt x="138" y="25"/>
                      <a:pt x="138" y="25"/>
                      <a:pt x="138" y="25"/>
                    </a:cubicBezTo>
                    <a:cubicBezTo>
                      <a:pt x="138" y="25"/>
                      <a:pt x="137" y="28"/>
                      <a:pt x="137" y="28"/>
                    </a:cubicBezTo>
                    <a:cubicBezTo>
                      <a:pt x="137" y="29"/>
                      <a:pt x="136" y="31"/>
                      <a:pt x="136" y="31"/>
                    </a:cubicBezTo>
                    <a:cubicBezTo>
                      <a:pt x="136" y="31"/>
                      <a:pt x="134" y="30"/>
                      <a:pt x="135" y="33"/>
                    </a:cubicBezTo>
                    <a:cubicBezTo>
                      <a:pt x="135" y="36"/>
                      <a:pt x="136" y="35"/>
                      <a:pt x="136" y="36"/>
                    </a:cubicBezTo>
                    <a:cubicBezTo>
                      <a:pt x="136" y="37"/>
                      <a:pt x="136" y="39"/>
                      <a:pt x="136" y="40"/>
                    </a:cubicBezTo>
                    <a:cubicBezTo>
                      <a:pt x="135" y="41"/>
                      <a:pt x="136" y="41"/>
                      <a:pt x="135" y="42"/>
                    </a:cubicBezTo>
                    <a:cubicBezTo>
                      <a:pt x="135" y="43"/>
                      <a:pt x="137" y="44"/>
                      <a:pt x="139" y="44"/>
                    </a:cubicBezTo>
                    <a:cubicBezTo>
                      <a:pt x="141" y="45"/>
                      <a:pt x="141" y="44"/>
                      <a:pt x="142" y="44"/>
                    </a:cubicBezTo>
                    <a:cubicBezTo>
                      <a:pt x="143" y="44"/>
                      <a:pt x="144" y="45"/>
                      <a:pt x="145" y="45"/>
                    </a:cubicBezTo>
                    <a:cubicBezTo>
                      <a:pt x="146" y="46"/>
                      <a:pt x="146" y="46"/>
                      <a:pt x="146" y="47"/>
                    </a:cubicBezTo>
                    <a:cubicBezTo>
                      <a:pt x="147" y="48"/>
                      <a:pt x="148" y="49"/>
                      <a:pt x="149" y="50"/>
                    </a:cubicBezTo>
                    <a:cubicBezTo>
                      <a:pt x="150" y="50"/>
                      <a:pt x="150" y="49"/>
                      <a:pt x="151" y="49"/>
                    </a:cubicBezTo>
                    <a:cubicBezTo>
                      <a:pt x="151" y="50"/>
                      <a:pt x="152" y="51"/>
                      <a:pt x="153" y="51"/>
                    </a:cubicBezTo>
                    <a:cubicBezTo>
                      <a:pt x="153" y="52"/>
                      <a:pt x="154" y="53"/>
                      <a:pt x="155" y="53"/>
                    </a:cubicBezTo>
                    <a:cubicBezTo>
                      <a:pt x="155" y="53"/>
                      <a:pt x="157" y="54"/>
                      <a:pt x="157" y="54"/>
                    </a:cubicBezTo>
                    <a:cubicBezTo>
                      <a:pt x="158" y="55"/>
                      <a:pt x="157" y="56"/>
                      <a:pt x="157" y="56"/>
                    </a:cubicBezTo>
                    <a:cubicBezTo>
                      <a:pt x="156" y="56"/>
                      <a:pt x="156" y="58"/>
                      <a:pt x="155" y="58"/>
                    </a:cubicBezTo>
                    <a:cubicBezTo>
                      <a:pt x="155" y="58"/>
                      <a:pt x="152" y="59"/>
                      <a:pt x="152" y="59"/>
                    </a:cubicBezTo>
                    <a:cubicBezTo>
                      <a:pt x="151" y="59"/>
                      <a:pt x="150" y="59"/>
                      <a:pt x="149" y="59"/>
                    </a:cubicBezTo>
                    <a:cubicBezTo>
                      <a:pt x="148" y="59"/>
                      <a:pt x="147" y="59"/>
                      <a:pt x="146" y="58"/>
                    </a:cubicBezTo>
                    <a:cubicBezTo>
                      <a:pt x="145" y="58"/>
                      <a:pt x="145" y="58"/>
                      <a:pt x="144" y="58"/>
                    </a:cubicBezTo>
                    <a:cubicBezTo>
                      <a:pt x="144" y="59"/>
                      <a:pt x="144" y="61"/>
                      <a:pt x="144" y="61"/>
                    </a:cubicBezTo>
                    <a:cubicBezTo>
                      <a:pt x="144" y="61"/>
                      <a:pt x="145" y="62"/>
                      <a:pt x="146" y="63"/>
                    </a:cubicBezTo>
                    <a:cubicBezTo>
                      <a:pt x="146" y="63"/>
                      <a:pt x="148" y="65"/>
                      <a:pt x="149" y="65"/>
                    </a:cubicBezTo>
                    <a:cubicBezTo>
                      <a:pt x="149" y="65"/>
                      <a:pt x="150" y="66"/>
                      <a:pt x="151" y="67"/>
                    </a:cubicBezTo>
                    <a:cubicBezTo>
                      <a:pt x="152" y="69"/>
                      <a:pt x="152" y="70"/>
                      <a:pt x="152" y="70"/>
                    </a:cubicBezTo>
                    <a:cubicBezTo>
                      <a:pt x="157" y="74"/>
                      <a:pt x="157" y="74"/>
                      <a:pt x="157" y="74"/>
                    </a:cubicBezTo>
                    <a:cubicBezTo>
                      <a:pt x="157" y="74"/>
                      <a:pt x="157" y="75"/>
                      <a:pt x="157" y="78"/>
                    </a:cubicBezTo>
                    <a:cubicBezTo>
                      <a:pt x="157" y="82"/>
                      <a:pt x="156" y="80"/>
                      <a:pt x="155" y="80"/>
                    </a:cubicBezTo>
                    <a:cubicBezTo>
                      <a:pt x="154" y="80"/>
                      <a:pt x="153" y="80"/>
                      <a:pt x="151" y="79"/>
                    </a:cubicBezTo>
                    <a:cubicBezTo>
                      <a:pt x="150" y="79"/>
                      <a:pt x="150" y="79"/>
                      <a:pt x="150" y="79"/>
                    </a:cubicBezTo>
                    <a:cubicBezTo>
                      <a:pt x="148" y="82"/>
                      <a:pt x="148" y="82"/>
                      <a:pt x="148" y="82"/>
                    </a:cubicBezTo>
                    <a:cubicBezTo>
                      <a:pt x="148" y="82"/>
                      <a:pt x="146" y="82"/>
                      <a:pt x="145" y="83"/>
                    </a:cubicBezTo>
                    <a:cubicBezTo>
                      <a:pt x="144" y="83"/>
                      <a:pt x="144" y="83"/>
                      <a:pt x="144" y="83"/>
                    </a:cubicBezTo>
                    <a:cubicBezTo>
                      <a:pt x="144" y="83"/>
                      <a:pt x="142" y="84"/>
                      <a:pt x="142" y="84"/>
                    </a:cubicBezTo>
                    <a:cubicBezTo>
                      <a:pt x="142" y="84"/>
                      <a:pt x="141" y="85"/>
                      <a:pt x="141" y="85"/>
                    </a:cubicBezTo>
                    <a:cubicBezTo>
                      <a:pt x="140" y="85"/>
                      <a:pt x="140" y="85"/>
                      <a:pt x="140" y="85"/>
                    </a:cubicBezTo>
                    <a:cubicBezTo>
                      <a:pt x="139" y="84"/>
                      <a:pt x="139" y="84"/>
                      <a:pt x="139" y="84"/>
                    </a:cubicBezTo>
                    <a:cubicBezTo>
                      <a:pt x="138" y="83"/>
                      <a:pt x="138" y="83"/>
                      <a:pt x="138" y="83"/>
                    </a:cubicBezTo>
                    <a:cubicBezTo>
                      <a:pt x="136" y="85"/>
                      <a:pt x="136" y="85"/>
                      <a:pt x="136" y="85"/>
                    </a:cubicBezTo>
                    <a:cubicBezTo>
                      <a:pt x="135" y="86"/>
                      <a:pt x="135" y="86"/>
                      <a:pt x="135" y="86"/>
                    </a:cubicBezTo>
                    <a:cubicBezTo>
                      <a:pt x="135" y="86"/>
                      <a:pt x="135" y="87"/>
                      <a:pt x="135" y="87"/>
                    </a:cubicBezTo>
                    <a:cubicBezTo>
                      <a:pt x="135" y="87"/>
                      <a:pt x="137" y="87"/>
                      <a:pt x="137" y="87"/>
                    </a:cubicBezTo>
                    <a:cubicBezTo>
                      <a:pt x="137" y="89"/>
                      <a:pt x="137" y="89"/>
                      <a:pt x="137" y="89"/>
                    </a:cubicBezTo>
                    <a:cubicBezTo>
                      <a:pt x="137" y="89"/>
                      <a:pt x="137" y="89"/>
                      <a:pt x="138" y="89"/>
                    </a:cubicBezTo>
                    <a:cubicBezTo>
                      <a:pt x="138" y="89"/>
                      <a:pt x="139" y="90"/>
                      <a:pt x="139" y="90"/>
                    </a:cubicBezTo>
                    <a:cubicBezTo>
                      <a:pt x="140" y="91"/>
                      <a:pt x="140" y="91"/>
                      <a:pt x="140" y="91"/>
                    </a:cubicBezTo>
                    <a:cubicBezTo>
                      <a:pt x="140" y="93"/>
                      <a:pt x="140" y="93"/>
                      <a:pt x="140" y="93"/>
                    </a:cubicBezTo>
                    <a:cubicBezTo>
                      <a:pt x="142" y="94"/>
                      <a:pt x="142" y="94"/>
                      <a:pt x="142" y="94"/>
                    </a:cubicBezTo>
                    <a:cubicBezTo>
                      <a:pt x="142" y="96"/>
                      <a:pt x="142" y="96"/>
                      <a:pt x="142" y="96"/>
                    </a:cubicBezTo>
                    <a:cubicBezTo>
                      <a:pt x="141" y="97"/>
                      <a:pt x="141" y="97"/>
                      <a:pt x="141" y="97"/>
                    </a:cubicBezTo>
                    <a:cubicBezTo>
                      <a:pt x="140" y="98"/>
                      <a:pt x="140" y="98"/>
                      <a:pt x="140" y="98"/>
                    </a:cubicBezTo>
                    <a:cubicBezTo>
                      <a:pt x="138" y="98"/>
                      <a:pt x="138" y="98"/>
                      <a:pt x="138" y="98"/>
                    </a:cubicBezTo>
                    <a:cubicBezTo>
                      <a:pt x="138" y="97"/>
                      <a:pt x="138" y="97"/>
                      <a:pt x="138" y="97"/>
                    </a:cubicBezTo>
                    <a:cubicBezTo>
                      <a:pt x="137" y="95"/>
                      <a:pt x="137" y="95"/>
                      <a:pt x="137" y="95"/>
                    </a:cubicBezTo>
                    <a:cubicBezTo>
                      <a:pt x="136" y="94"/>
                      <a:pt x="136" y="94"/>
                      <a:pt x="136" y="94"/>
                    </a:cubicBezTo>
                    <a:cubicBezTo>
                      <a:pt x="133" y="95"/>
                      <a:pt x="133" y="95"/>
                      <a:pt x="133" y="95"/>
                    </a:cubicBezTo>
                    <a:cubicBezTo>
                      <a:pt x="133" y="97"/>
                      <a:pt x="133" y="97"/>
                      <a:pt x="133" y="97"/>
                    </a:cubicBezTo>
                    <a:cubicBezTo>
                      <a:pt x="128" y="101"/>
                      <a:pt x="128" y="101"/>
                      <a:pt x="128" y="101"/>
                    </a:cubicBezTo>
                    <a:cubicBezTo>
                      <a:pt x="129" y="103"/>
                      <a:pt x="129" y="103"/>
                      <a:pt x="129" y="103"/>
                    </a:cubicBezTo>
                    <a:cubicBezTo>
                      <a:pt x="127" y="105"/>
                      <a:pt x="127" y="105"/>
                      <a:pt x="127" y="105"/>
                    </a:cubicBezTo>
                    <a:cubicBezTo>
                      <a:pt x="127" y="108"/>
                      <a:pt x="127" y="108"/>
                      <a:pt x="127" y="108"/>
                    </a:cubicBezTo>
                    <a:cubicBezTo>
                      <a:pt x="128" y="111"/>
                      <a:pt x="128" y="111"/>
                      <a:pt x="128" y="111"/>
                    </a:cubicBezTo>
                    <a:cubicBezTo>
                      <a:pt x="128" y="113"/>
                      <a:pt x="128" y="113"/>
                      <a:pt x="128" y="113"/>
                    </a:cubicBezTo>
                    <a:cubicBezTo>
                      <a:pt x="124" y="114"/>
                      <a:pt x="124" y="114"/>
                      <a:pt x="124" y="114"/>
                    </a:cubicBezTo>
                    <a:cubicBezTo>
                      <a:pt x="121" y="115"/>
                      <a:pt x="121" y="115"/>
                      <a:pt x="121" y="115"/>
                    </a:cubicBezTo>
                    <a:cubicBezTo>
                      <a:pt x="121" y="118"/>
                      <a:pt x="121" y="118"/>
                      <a:pt x="121" y="118"/>
                    </a:cubicBezTo>
                    <a:cubicBezTo>
                      <a:pt x="121" y="119"/>
                      <a:pt x="121" y="119"/>
                      <a:pt x="121" y="119"/>
                    </a:cubicBezTo>
                    <a:cubicBezTo>
                      <a:pt x="124" y="123"/>
                      <a:pt x="124" y="123"/>
                      <a:pt x="124" y="123"/>
                    </a:cubicBezTo>
                    <a:cubicBezTo>
                      <a:pt x="123" y="124"/>
                      <a:pt x="123" y="124"/>
                      <a:pt x="123" y="124"/>
                    </a:cubicBezTo>
                    <a:cubicBezTo>
                      <a:pt x="122" y="125"/>
                      <a:pt x="122" y="125"/>
                      <a:pt x="122" y="125"/>
                    </a:cubicBezTo>
                    <a:cubicBezTo>
                      <a:pt x="125" y="129"/>
                      <a:pt x="125" y="129"/>
                      <a:pt x="125" y="129"/>
                    </a:cubicBezTo>
                    <a:cubicBezTo>
                      <a:pt x="126" y="130"/>
                      <a:pt x="126" y="130"/>
                      <a:pt x="126" y="130"/>
                    </a:cubicBezTo>
                    <a:cubicBezTo>
                      <a:pt x="128" y="130"/>
                      <a:pt x="128" y="130"/>
                      <a:pt x="128" y="130"/>
                    </a:cubicBezTo>
                    <a:cubicBezTo>
                      <a:pt x="128" y="132"/>
                      <a:pt x="128" y="132"/>
                      <a:pt x="128" y="132"/>
                    </a:cubicBezTo>
                    <a:cubicBezTo>
                      <a:pt x="128" y="133"/>
                      <a:pt x="128" y="133"/>
                      <a:pt x="128" y="133"/>
                    </a:cubicBezTo>
                    <a:cubicBezTo>
                      <a:pt x="128" y="135"/>
                      <a:pt x="128" y="135"/>
                      <a:pt x="128" y="135"/>
                    </a:cubicBezTo>
                    <a:cubicBezTo>
                      <a:pt x="126" y="137"/>
                      <a:pt x="126" y="137"/>
                      <a:pt x="126" y="137"/>
                    </a:cubicBezTo>
                    <a:cubicBezTo>
                      <a:pt x="127" y="139"/>
                      <a:pt x="127" y="139"/>
                      <a:pt x="127" y="139"/>
                    </a:cubicBezTo>
                    <a:cubicBezTo>
                      <a:pt x="125" y="138"/>
                      <a:pt x="125" y="138"/>
                      <a:pt x="125" y="138"/>
                    </a:cubicBezTo>
                    <a:cubicBezTo>
                      <a:pt x="124" y="139"/>
                      <a:pt x="124" y="139"/>
                      <a:pt x="124" y="139"/>
                    </a:cubicBezTo>
                    <a:cubicBezTo>
                      <a:pt x="124" y="139"/>
                      <a:pt x="124" y="139"/>
                      <a:pt x="124" y="139"/>
                    </a:cubicBezTo>
                    <a:cubicBezTo>
                      <a:pt x="121" y="138"/>
                      <a:pt x="121" y="138"/>
                      <a:pt x="121" y="138"/>
                    </a:cubicBezTo>
                    <a:cubicBezTo>
                      <a:pt x="121" y="138"/>
                      <a:pt x="119" y="139"/>
                      <a:pt x="118" y="139"/>
                    </a:cubicBezTo>
                    <a:cubicBezTo>
                      <a:pt x="118" y="139"/>
                      <a:pt x="117" y="139"/>
                      <a:pt x="117" y="139"/>
                    </a:cubicBezTo>
                    <a:cubicBezTo>
                      <a:pt x="117" y="139"/>
                      <a:pt x="115" y="138"/>
                      <a:pt x="114" y="138"/>
                    </a:cubicBezTo>
                    <a:cubicBezTo>
                      <a:pt x="114" y="138"/>
                      <a:pt x="114" y="138"/>
                      <a:pt x="114" y="138"/>
                    </a:cubicBezTo>
                    <a:cubicBezTo>
                      <a:pt x="114" y="138"/>
                      <a:pt x="114" y="138"/>
                      <a:pt x="114" y="138"/>
                    </a:cubicBezTo>
                    <a:cubicBezTo>
                      <a:pt x="114" y="138"/>
                      <a:pt x="114" y="138"/>
                      <a:pt x="114" y="138"/>
                    </a:cubicBezTo>
                    <a:cubicBezTo>
                      <a:pt x="114" y="138"/>
                      <a:pt x="114" y="138"/>
                      <a:pt x="114" y="138"/>
                    </a:cubicBezTo>
                    <a:cubicBezTo>
                      <a:pt x="114" y="138"/>
                      <a:pt x="114" y="138"/>
                      <a:pt x="114" y="138"/>
                    </a:cubicBezTo>
                    <a:cubicBezTo>
                      <a:pt x="114" y="137"/>
                      <a:pt x="114" y="137"/>
                      <a:pt x="114" y="137"/>
                    </a:cubicBezTo>
                    <a:cubicBezTo>
                      <a:pt x="114" y="137"/>
                      <a:pt x="114" y="137"/>
                      <a:pt x="114" y="137"/>
                    </a:cubicBezTo>
                    <a:cubicBezTo>
                      <a:pt x="114" y="137"/>
                      <a:pt x="114" y="137"/>
                      <a:pt x="114" y="137"/>
                    </a:cubicBezTo>
                    <a:cubicBezTo>
                      <a:pt x="114" y="137"/>
                      <a:pt x="114" y="137"/>
                      <a:pt x="114" y="137"/>
                    </a:cubicBezTo>
                    <a:cubicBezTo>
                      <a:pt x="113" y="137"/>
                      <a:pt x="113" y="137"/>
                      <a:pt x="113" y="137"/>
                    </a:cubicBezTo>
                    <a:cubicBezTo>
                      <a:pt x="113" y="137"/>
                      <a:pt x="113" y="137"/>
                      <a:pt x="113" y="137"/>
                    </a:cubicBezTo>
                    <a:cubicBezTo>
                      <a:pt x="113" y="137"/>
                      <a:pt x="113" y="137"/>
                      <a:pt x="113" y="137"/>
                    </a:cubicBezTo>
                    <a:cubicBezTo>
                      <a:pt x="113" y="137"/>
                      <a:pt x="113" y="137"/>
                      <a:pt x="113" y="137"/>
                    </a:cubicBezTo>
                    <a:cubicBezTo>
                      <a:pt x="113" y="137"/>
                      <a:pt x="113" y="137"/>
                      <a:pt x="113" y="137"/>
                    </a:cubicBezTo>
                    <a:cubicBezTo>
                      <a:pt x="113" y="137"/>
                      <a:pt x="113" y="137"/>
                      <a:pt x="113" y="137"/>
                    </a:cubicBezTo>
                    <a:cubicBezTo>
                      <a:pt x="113" y="137"/>
                      <a:pt x="113" y="137"/>
                      <a:pt x="113" y="137"/>
                    </a:cubicBezTo>
                    <a:cubicBezTo>
                      <a:pt x="113" y="137"/>
                      <a:pt x="113" y="137"/>
                      <a:pt x="113" y="137"/>
                    </a:cubicBezTo>
                    <a:cubicBezTo>
                      <a:pt x="113" y="137"/>
                      <a:pt x="113" y="137"/>
                      <a:pt x="113" y="137"/>
                    </a:cubicBezTo>
                    <a:cubicBezTo>
                      <a:pt x="113" y="137"/>
                      <a:pt x="113" y="137"/>
                      <a:pt x="113" y="137"/>
                    </a:cubicBezTo>
                    <a:cubicBezTo>
                      <a:pt x="113" y="137"/>
                      <a:pt x="113" y="137"/>
                      <a:pt x="113" y="137"/>
                    </a:cubicBezTo>
                    <a:cubicBezTo>
                      <a:pt x="113" y="137"/>
                      <a:pt x="113" y="137"/>
                      <a:pt x="113" y="137"/>
                    </a:cubicBezTo>
                    <a:cubicBezTo>
                      <a:pt x="113" y="137"/>
                      <a:pt x="113" y="137"/>
                      <a:pt x="113" y="137"/>
                    </a:cubicBezTo>
                    <a:cubicBezTo>
                      <a:pt x="112" y="137"/>
                      <a:pt x="112" y="137"/>
                      <a:pt x="112" y="137"/>
                    </a:cubicBezTo>
                    <a:cubicBezTo>
                      <a:pt x="112" y="137"/>
                      <a:pt x="112" y="137"/>
                      <a:pt x="112" y="137"/>
                    </a:cubicBezTo>
                    <a:cubicBezTo>
                      <a:pt x="112" y="137"/>
                      <a:pt x="112" y="137"/>
                      <a:pt x="112" y="137"/>
                    </a:cubicBezTo>
                    <a:cubicBezTo>
                      <a:pt x="112" y="137"/>
                      <a:pt x="112" y="137"/>
                      <a:pt x="112" y="137"/>
                    </a:cubicBezTo>
                    <a:cubicBezTo>
                      <a:pt x="112" y="137"/>
                      <a:pt x="112" y="137"/>
                      <a:pt x="112" y="137"/>
                    </a:cubicBezTo>
                    <a:cubicBezTo>
                      <a:pt x="112" y="137"/>
                      <a:pt x="112" y="137"/>
                      <a:pt x="112" y="137"/>
                    </a:cubicBezTo>
                    <a:cubicBezTo>
                      <a:pt x="112" y="137"/>
                      <a:pt x="112" y="137"/>
                      <a:pt x="112" y="137"/>
                    </a:cubicBezTo>
                    <a:cubicBezTo>
                      <a:pt x="112" y="137"/>
                      <a:pt x="112" y="137"/>
                      <a:pt x="112" y="137"/>
                    </a:cubicBezTo>
                    <a:cubicBezTo>
                      <a:pt x="112" y="137"/>
                      <a:pt x="112" y="137"/>
                      <a:pt x="112" y="137"/>
                    </a:cubicBezTo>
                    <a:cubicBezTo>
                      <a:pt x="106" y="134"/>
                      <a:pt x="106" y="134"/>
                      <a:pt x="106" y="134"/>
                    </a:cubicBezTo>
                    <a:cubicBezTo>
                      <a:pt x="101" y="131"/>
                      <a:pt x="101" y="131"/>
                      <a:pt x="101" y="131"/>
                    </a:cubicBezTo>
                    <a:cubicBezTo>
                      <a:pt x="99" y="129"/>
                      <a:pt x="99" y="129"/>
                      <a:pt x="99" y="129"/>
                    </a:cubicBezTo>
                    <a:cubicBezTo>
                      <a:pt x="98" y="125"/>
                      <a:pt x="98" y="125"/>
                      <a:pt x="98" y="125"/>
                    </a:cubicBezTo>
                    <a:cubicBezTo>
                      <a:pt x="93" y="124"/>
                      <a:pt x="93" y="124"/>
                      <a:pt x="93" y="124"/>
                    </a:cubicBezTo>
                    <a:cubicBezTo>
                      <a:pt x="93" y="121"/>
                      <a:pt x="87" y="126"/>
                      <a:pt x="89" y="120"/>
                    </a:cubicBezTo>
                    <a:cubicBezTo>
                      <a:pt x="89" y="120"/>
                      <a:pt x="89" y="119"/>
                      <a:pt x="89" y="119"/>
                    </a:cubicBezTo>
                    <a:cubicBezTo>
                      <a:pt x="89" y="119"/>
                      <a:pt x="89" y="119"/>
                      <a:pt x="89" y="119"/>
                    </a:cubicBezTo>
                    <a:cubicBezTo>
                      <a:pt x="89" y="118"/>
                      <a:pt x="87" y="116"/>
                      <a:pt x="87" y="116"/>
                    </a:cubicBezTo>
                    <a:cubicBezTo>
                      <a:pt x="81" y="113"/>
                      <a:pt x="80" y="110"/>
                      <a:pt x="77" y="109"/>
                    </a:cubicBezTo>
                    <a:cubicBezTo>
                      <a:pt x="76" y="109"/>
                      <a:pt x="76" y="109"/>
                      <a:pt x="76" y="109"/>
                    </a:cubicBezTo>
                    <a:cubicBezTo>
                      <a:pt x="72" y="105"/>
                      <a:pt x="72" y="105"/>
                      <a:pt x="72" y="105"/>
                    </a:cubicBezTo>
                    <a:cubicBezTo>
                      <a:pt x="70" y="104"/>
                      <a:pt x="70" y="104"/>
                      <a:pt x="70" y="104"/>
                    </a:cubicBezTo>
                    <a:cubicBezTo>
                      <a:pt x="68" y="102"/>
                      <a:pt x="68" y="102"/>
                      <a:pt x="68" y="102"/>
                    </a:cubicBezTo>
                    <a:cubicBezTo>
                      <a:pt x="68" y="100"/>
                      <a:pt x="68" y="100"/>
                      <a:pt x="68" y="100"/>
                    </a:cubicBezTo>
                    <a:cubicBezTo>
                      <a:pt x="67" y="96"/>
                      <a:pt x="67" y="96"/>
                      <a:pt x="67" y="96"/>
                    </a:cubicBezTo>
                    <a:cubicBezTo>
                      <a:pt x="67" y="96"/>
                      <a:pt x="67" y="96"/>
                      <a:pt x="67" y="96"/>
                    </a:cubicBezTo>
                    <a:cubicBezTo>
                      <a:pt x="67" y="96"/>
                      <a:pt x="63" y="95"/>
                      <a:pt x="61" y="94"/>
                    </a:cubicBezTo>
                    <a:cubicBezTo>
                      <a:pt x="59" y="93"/>
                      <a:pt x="59" y="93"/>
                      <a:pt x="59" y="93"/>
                    </a:cubicBezTo>
                    <a:cubicBezTo>
                      <a:pt x="57" y="90"/>
                      <a:pt x="57" y="90"/>
                      <a:pt x="57" y="90"/>
                    </a:cubicBezTo>
                    <a:cubicBezTo>
                      <a:pt x="56" y="89"/>
                      <a:pt x="56" y="89"/>
                      <a:pt x="56" y="89"/>
                    </a:cubicBezTo>
                    <a:cubicBezTo>
                      <a:pt x="53" y="86"/>
                      <a:pt x="53" y="86"/>
                      <a:pt x="53" y="86"/>
                    </a:cubicBezTo>
                    <a:cubicBezTo>
                      <a:pt x="52" y="86"/>
                      <a:pt x="52" y="86"/>
                      <a:pt x="52" y="86"/>
                    </a:cubicBezTo>
                    <a:cubicBezTo>
                      <a:pt x="47" y="84"/>
                      <a:pt x="47" y="84"/>
                      <a:pt x="47" y="84"/>
                    </a:cubicBezTo>
                    <a:cubicBezTo>
                      <a:pt x="46" y="82"/>
                      <a:pt x="46" y="82"/>
                      <a:pt x="46" y="82"/>
                    </a:cubicBezTo>
                    <a:cubicBezTo>
                      <a:pt x="44" y="81"/>
                      <a:pt x="44" y="81"/>
                      <a:pt x="44" y="81"/>
                    </a:cubicBezTo>
                    <a:cubicBezTo>
                      <a:pt x="43" y="79"/>
                      <a:pt x="43" y="79"/>
                      <a:pt x="43" y="79"/>
                    </a:cubicBezTo>
                    <a:cubicBezTo>
                      <a:pt x="40" y="78"/>
                      <a:pt x="40" y="78"/>
                      <a:pt x="40" y="78"/>
                    </a:cubicBezTo>
                    <a:cubicBezTo>
                      <a:pt x="39" y="76"/>
                      <a:pt x="39" y="76"/>
                      <a:pt x="39" y="76"/>
                    </a:cubicBezTo>
                    <a:cubicBezTo>
                      <a:pt x="38" y="75"/>
                      <a:pt x="38" y="75"/>
                      <a:pt x="38" y="75"/>
                    </a:cubicBezTo>
                    <a:cubicBezTo>
                      <a:pt x="35" y="71"/>
                      <a:pt x="35" y="71"/>
                      <a:pt x="35" y="71"/>
                    </a:cubicBezTo>
                    <a:cubicBezTo>
                      <a:pt x="32" y="69"/>
                      <a:pt x="32" y="69"/>
                      <a:pt x="32" y="69"/>
                    </a:cubicBezTo>
                    <a:cubicBezTo>
                      <a:pt x="31" y="68"/>
                      <a:pt x="31" y="68"/>
                      <a:pt x="31" y="68"/>
                    </a:cubicBezTo>
                    <a:cubicBezTo>
                      <a:pt x="30" y="67"/>
                      <a:pt x="30" y="67"/>
                      <a:pt x="30" y="67"/>
                    </a:cubicBezTo>
                    <a:cubicBezTo>
                      <a:pt x="28" y="64"/>
                      <a:pt x="28" y="64"/>
                      <a:pt x="28" y="64"/>
                    </a:cubicBezTo>
                    <a:cubicBezTo>
                      <a:pt x="25" y="61"/>
                      <a:pt x="25" y="61"/>
                      <a:pt x="25" y="61"/>
                    </a:cubicBezTo>
                    <a:cubicBezTo>
                      <a:pt x="23" y="59"/>
                      <a:pt x="23" y="59"/>
                      <a:pt x="23" y="59"/>
                    </a:cubicBezTo>
                    <a:cubicBezTo>
                      <a:pt x="21" y="56"/>
                      <a:pt x="21" y="56"/>
                      <a:pt x="21" y="56"/>
                    </a:cubicBezTo>
                    <a:cubicBezTo>
                      <a:pt x="23" y="54"/>
                      <a:pt x="23" y="54"/>
                      <a:pt x="23" y="54"/>
                    </a:cubicBezTo>
                    <a:cubicBezTo>
                      <a:pt x="22" y="53"/>
                      <a:pt x="21" y="53"/>
                      <a:pt x="21" y="52"/>
                    </a:cubicBezTo>
                    <a:cubicBezTo>
                      <a:pt x="20" y="52"/>
                      <a:pt x="18" y="51"/>
                      <a:pt x="19" y="50"/>
                    </a:cubicBezTo>
                    <a:cubicBezTo>
                      <a:pt x="19" y="49"/>
                      <a:pt x="18" y="48"/>
                      <a:pt x="18" y="46"/>
                    </a:cubicBezTo>
                    <a:cubicBezTo>
                      <a:pt x="18" y="45"/>
                      <a:pt x="18" y="44"/>
                      <a:pt x="17" y="44"/>
                    </a:cubicBezTo>
                    <a:cubicBezTo>
                      <a:pt x="16" y="43"/>
                      <a:pt x="16" y="43"/>
                      <a:pt x="16" y="43"/>
                    </a:cubicBezTo>
                    <a:cubicBezTo>
                      <a:pt x="15" y="43"/>
                      <a:pt x="14" y="43"/>
                      <a:pt x="14" y="43"/>
                    </a:cubicBezTo>
                    <a:cubicBezTo>
                      <a:pt x="13" y="43"/>
                      <a:pt x="13" y="43"/>
                      <a:pt x="13" y="43"/>
                    </a:cubicBezTo>
                    <a:cubicBezTo>
                      <a:pt x="13" y="43"/>
                      <a:pt x="14" y="41"/>
                      <a:pt x="14" y="39"/>
                    </a:cubicBezTo>
                    <a:cubicBezTo>
                      <a:pt x="10" y="38"/>
                      <a:pt x="10" y="38"/>
                      <a:pt x="10" y="38"/>
                    </a:cubicBezTo>
                    <a:cubicBezTo>
                      <a:pt x="10" y="38"/>
                      <a:pt x="10" y="35"/>
                      <a:pt x="8" y="34"/>
                    </a:cubicBezTo>
                    <a:cubicBezTo>
                      <a:pt x="6" y="34"/>
                      <a:pt x="6" y="34"/>
                      <a:pt x="6" y="34"/>
                    </a:cubicBezTo>
                    <a:cubicBezTo>
                      <a:pt x="5" y="35"/>
                      <a:pt x="5" y="36"/>
                      <a:pt x="5" y="36"/>
                    </a:cubicBezTo>
                    <a:cubicBezTo>
                      <a:pt x="1" y="32"/>
                      <a:pt x="1" y="32"/>
                      <a:pt x="1" y="32"/>
                    </a:cubicBezTo>
                    <a:cubicBezTo>
                      <a:pt x="1" y="32"/>
                      <a:pt x="1" y="31"/>
                      <a:pt x="2" y="29"/>
                    </a:cubicBezTo>
                    <a:cubicBezTo>
                      <a:pt x="4" y="27"/>
                      <a:pt x="2" y="26"/>
                      <a:pt x="2" y="26"/>
                    </a:cubicBezTo>
                    <a:cubicBezTo>
                      <a:pt x="1" y="23"/>
                      <a:pt x="1" y="23"/>
                      <a:pt x="1" y="23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2" y="15"/>
                      <a:pt x="1" y="13"/>
                      <a:pt x="1" y="11"/>
                    </a:cubicBezTo>
                    <a:cubicBezTo>
                      <a:pt x="1" y="11"/>
                      <a:pt x="2" y="10"/>
                      <a:pt x="2" y="10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3" y="8"/>
                      <a:pt x="8" y="7"/>
                      <a:pt x="8" y="7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1" y="17"/>
                      <a:pt x="21" y="17"/>
                      <a:pt x="21" y="17"/>
                    </a:cubicBezTo>
                    <a:cubicBezTo>
                      <a:pt x="21" y="17"/>
                      <a:pt x="22" y="16"/>
                      <a:pt x="23" y="16"/>
                    </a:cubicBezTo>
                    <a:cubicBezTo>
                      <a:pt x="23" y="15"/>
                      <a:pt x="23" y="13"/>
                      <a:pt x="23" y="13"/>
                    </a:cubicBezTo>
                    <a:cubicBezTo>
                      <a:pt x="25" y="11"/>
                      <a:pt x="25" y="11"/>
                      <a:pt x="25" y="11"/>
                    </a:cubicBezTo>
                    <a:cubicBezTo>
                      <a:pt x="26" y="9"/>
                      <a:pt x="26" y="9"/>
                      <a:pt x="26" y="9"/>
                    </a:cubicBezTo>
                    <a:cubicBezTo>
                      <a:pt x="26" y="7"/>
                      <a:pt x="26" y="7"/>
                      <a:pt x="26" y="7"/>
                    </a:cubicBezTo>
                    <a:cubicBezTo>
                      <a:pt x="28" y="6"/>
                      <a:pt x="28" y="6"/>
                      <a:pt x="28" y="6"/>
                    </a:cubicBezTo>
                    <a:cubicBezTo>
                      <a:pt x="31" y="5"/>
                      <a:pt x="31" y="5"/>
                      <a:pt x="31" y="5"/>
                    </a:cubicBezTo>
                    <a:cubicBezTo>
                      <a:pt x="35" y="4"/>
                      <a:pt x="35" y="4"/>
                      <a:pt x="35" y="4"/>
                    </a:cubicBezTo>
                    <a:cubicBezTo>
                      <a:pt x="35" y="4"/>
                      <a:pt x="38" y="5"/>
                      <a:pt x="39" y="5"/>
                    </a:cubicBezTo>
                    <a:cubicBezTo>
                      <a:pt x="39" y="5"/>
                      <a:pt x="40" y="5"/>
                      <a:pt x="40" y="5"/>
                    </a:cubicBezTo>
                    <a:cubicBezTo>
                      <a:pt x="42" y="2"/>
                      <a:pt x="42" y="2"/>
                      <a:pt x="42" y="2"/>
                    </a:cubicBezTo>
                    <a:cubicBezTo>
                      <a:pt x="42" y="2"/>
                      <a:pt x="42" y="2"/>
                      <a:pt x="42" y="2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8" y="2"/>
                      <a:pt x="48" y="2"/>
                      <a:pt x="48" y="2"/>
                    </a:cubicBezTo>
                    <a:cubicBezTo>
                      <a:pt x="50" y="4"/>
                      <a:pt x="50" y="4"/>
                      <a:pt x="50" y="4"/>
                    </a:cubicBezTo>
                    <a:cubicBezTo>
                      <a:pt x="55" y="5"/>
                      <a:pt x="55" y="5"/>
                      <a:pt x="55" y="5"/>
                    </a:cubicBezTo>
                    <a:cubicBezTo>
                      <a:pt x="55" y="5"/>
                      <a:pt x="55" y="5"/>
                      <a:pt x="55" y="5"/>
                    </a:cubicBezTo>
                    <a:cubicBezTo>
                      <a:pt x="57" y="5"/>
                      <a:pt x="57" y="5"/>
                      <a:pt x="57" y="5"/>
                    </a:cubicBezTo>
                    <a:cubicBezTo>
                      <a:pt x="57" y="4"/>
                      <a:pt x="57" y="4"/>
                      <a:pt x="57" y="4"/>
                    </a:cubicBezTo>
                    <a:cubicBezTo>
                      <a:pt x="61" y="4"/>
                      <a:pt x="61" y="4"/>
                      <a:pt x="61" y="4"/>
                    </a:cubicBezTo>
                    <a:cubicBezTo>
                      <a:pt x="66" y="5"/>
                      <a:pt x="66" y="5"/>
                      <a:pt x="66" y="5"/>
                    </a:cubicBezTo>
                    <a:cubicBezTo>
                      <a:pt x="69" y="5"/>
                      <a:pt x="69" y="5"/>
                      <a:pt x="69" y="5"/>
                    </a:cubicBezTo>
                    <a:cubicBezTo>
                      <a:pt x="74" y="5"/>
                      <a:pt x="74" y="5"/>
                      <a:pt x="74" y="5"/>
                    </a:cubicBezTo>
                    <a:cubicBezTo>
                      <a:pt x="77" y="6"/>
                      <a:pt x="77" y="6"/>
                      <a:pt x="77" y="6"/>
                    </a:cubicBezTo>
                    <a:cubicBezTo>
                      <a:pt x="79" y="7"/>
                      <a:pt x="79" y="7"/>
                      <a:pt x="79" y="7"/>
                    </a:cubicBezTo>
                    <a:cubicBezTo>
                      <a:pt x="79" y="7"/>
                      <a:pt x="79" y="7"/>
                      <a:pt x="80" y="6"/>
                    </a:cubicBezTo>
                    <a:cubicBezTo>
                      <a:pt x="80" y="6"/>
                      <a:pt x="83" y="6"/>
                      <a:pt x="83" y="6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85" y="5"/>
                      <a:pt x="85" y="5"/>
                      <a:pt x="85" y="5"/>
                    </a:cubicBezTo>
                    <a:cubicBezTo>
                      <a:pt x="86" y="5"/>
                      <a:pt x="88" y="5"/>
                      <a:pt x="88" y="5"/>
                    </a:cubicBezTo>
                    <a:cubicBezTo>
                      <a:pt x="89" y="2"/>
                      <a:pt x="89" y="2"/>
                      <a:pt x="89" y="2"/>
                    </a:cubicBezTo>
                    <a:cubicBezTo>
                      <a:pt x="90" y="3"/>
                      <a:pt x="90" y="3"/>
                      <a:pt x="90" y="3"/>
                    </a:cubicBezTo>
                    <a:cubicBezTo>
                      <a:pt x="91" y="3"/>
                      <a:pt x="91" y="3"/>
                      <a:pt x="92" y="3"/>
                    </a:cubicBezTo>
                    <a:cubicBezTo>
                      <a:pt x="93" y="3"/>
                      <a:pt x="94" y="2"/>
                      <a:pt x="94" y="2"/>
                    </a:cubicBezTo>
                    <a:cubicBezTo>
                      <a:pt x="94" y="2"/>
                      <a:pt x="95" y="3"/>
                      <a:pt x="95" y="3"/>
                    </a:cubicBezTo>
                    <a:cubicBezTo>
                      <a:pt x="95" y="3"/>
                      <a:pt x="96" y="2"/>
                      <a:pt x="97" y="2"/>
                    </a:cubicBezTo>
                    <a:cubicBezTo>
                      <a:pt x="97" y="2"/>
                      <a:pt x="97" y="2"/>
                      <a:pt x="97" y="2"/>
                    </a:cubicBezTo>
                    <a:cubicBezTo>
                      <a:pt x="97" y="2"/>
                      <a:pt x="97" y="2"/>
                      <a:pt x="97" y="2"/>
                    </a:cubicBezTo>
                    <a:cubicBezTo>
                      <a:pt x="98" y="2"/>
                      <a:pt x="98" y="2"/>
                      <a:pt x="98" y="2"/>
                    </a:cubicBezTo>
                    <a:cubicBezTo>
                      <a:pt x="98" y="2"/>
                      <a:pt x="98" y="2"/>
                      <a:pt x="98" y="2"/>
                    </a:cubicBezTo>
                    <a:cubicBezTo>
                      <a:pt x="98" y="2"/>
                      <a:pt x="98" y="2"/>
                      <a:pt x="98" y="2"/>
                    </a:cubicBezTo>
                    <a:cubicBezTo>
                      <a:pt x="98" y="2"/>
                      <a:pt x="98" y="2"/>
                      <a:pt x="98" y="2"/>
                    </a:cubicBezTo>
                    <a:cubicBezTo>
                      <a:pt x="98" y="2"/>
                      <a:pt x="98" y="2"/>
                      <a:pt x="98" y="2"/>
                    </a:cubicBezTo>
                    <a:cubicBezTo>
                      <a:pt x="98" y="2"/>
                      <a:pt x="98" y="2"/>
                      <a:pt x="98" y="2"/>
                    </a:cubicBezTo>
                    <a:cubicBezTo>
                      <a:pt x="98" y="2"/>
                      <a:pt x="98" y="2"/>
                      <a:pt x="98" y="2"/>
                    </a:cubicBezTo>
                    <a:cubicBezTo>
                      <a:pt x="98" y="2"/>
                      <a:pt x="98" y="2"/>
                      <a:pt x="98" y="2"/>
                    </a:cubicBezTo>
                    <a:cubicBezTo>
                      <a:pt x="98" y="2"/>
                      <a:pt x="98" y="2"/>
                      <a:pt x="98" y="2"/>
                    </a:cubicBezTo>
                    <a:cubicBezTo>
                      <a:pt x="98" y="2"/>
                      <a:pt x="98" y="2"/>
                      <a:pt x="98" y="2"/>
                    </a:cubicBezTo>
                    <a:cubicBezTo>
                      <a:pt x="98" y="2"/>
                      <a:pt x="98" y="2"/>
                      <a:pt x="98" y="2"/>
                    </a:cubicBezTo>
                    <a:cubicBezTo>
                      <a:pt x="98" y="2"/>
                      <a:pt x="98" y="2"/>
                      <a:pt x="98" y="2"/>
                    </a:cubicBezTo>
                    <a:cubicBezTo>
                      <a:pt x="98" y="2"/>
                      <a:pt x="98" y="2"/>
                      <a:pt x="98" y="2"/>
                    </a:cubicBezTo>
                    <a:cubicBezTo>
                      <a:pt x="98" y="2"/>
                      <a:pt x="98" y="2"/>
                      <a:pt x="98" y="2"/>
                    </a:cubicBezTo>
                    <a:cubicBezTo>
                      <a:pt x="99" y="2"/>
                      <a:pt x="99" y="2"/>
                      <a:pt x="99" y="2"/>
                    </a:cubicBezTo>
                    <a:cubicBezTo>
                      <a:pt x="99" y="2"/>
                      <a:pt x="99" y="2"/>
                      <a:pt x="99" y="2"/>
                    </a:cubicBezTo>
                    <a:cubicBezTo>
                      <a:pt x="99" y="2"/>
                      <a:pt x="99" y="2"/>
                      <a:pt x="99" y="2"/>
                    </a:cubicBezTo>
                    <a:cubicBezTo>
                      <a:pt x="99" y="2"/>
                      <a:pt x="99" y="2"/>
                      <a:pt x="99" y="2"/>
                    </a:cubicBezTo>
                    <a:cubicBezTo>
                      <a:pt x="99" y="2"/>
                      <a:pt x="99" y="2"/>
                      <a:pt x="99" y="2"/>
                    </a:cubicBezTo>
                    <a:cubicBezTo>
                      <a:pt x="99" y="2"/>
                      <a:pt x="99" y="2"/>
                      <a:pt x="99" y="2"/>
                    </a:cubicBezTo>
                    <a:cubicBezTo>
                      <a:pt x="99" y="2"/>
                      <a:pt x="99" y="2"/>
                      <a:pt x="99" y="2"/>
                    </a:cubicBezTo>
                    <a:cubicBezTo>
                      <a:pt x="99" y="2"/>
                      <a:pt x="99" y="2"/>
                      <a:pt x="99" y="2"/>
                    </a:cubicBezTo>
                    <a:cubicBezTo>
                      <a:pt x="99" y="2"/>
                      <a:pt x="99" y="2"/>
                      <a:pt x="99" y="2"/>
                    </a:cubicBezTo>
                    <a:cubicBezTo>
                      <a:pt x="99" y="2"/>
                      <a:pt x="99" y="2"/>
                      <a:pt x="99" y="2"/>
                    </a:cubicBezTo>
                    <a:cubicBezTo>
                      <a:pt x="99" y="2"/>
                      <a:pt x="99" y="2"/>
                      <a:pt x="99" y="2"/>
                    </a:cubicBezTo>
                    <a:cubicBezTo>
                      <a:pt x="99" y="2"/>
                      <a:pt x="99" y="2"/>
                      <a:pt x="99" y="2"/>
                    </a:cubicBezTo>
                    <a:cubicBezTo>
                      <a:pt x="99" y="2"/>
                      <a:pt x="99" y="2"/>
                      <a:pt x="99" y="2"/>
                    </a:cubicBezTo>
                    <a:cubicBezTo>
                      <a:pt x="99" y="2"/>
                      <a:pt x="99" y="2"/>
                      <a:pt x="99" y="2"/>
                    </a:cubicBezTo>
                    <a:cubicBezTo>
                      <a:pt x="99" y="2"/>
                      <a:pt x="99" y="2"/>
                      <a:pt x="99" y="2"/>
                    </a:cubicBezTo>
                    <a:cubicBezTo>
                      <a:pt x="99" y="2"/>
                      <a:pt x="99" y="2"/>
                      <a:pt x="99" y="2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99" y="1"/>
                      <a:pt x="99" y="1"/>
                      <a:pt x="99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0" y="1"/>
                      <a:pt x="100" y="1"/>
                    </a:cubicBezTo>
                    <a:cubicBezTo>
                      <a:pt x="100" y="1"/>
                      <a:pt x="101" y="3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5" y="4"/>
                      <a:pt x="105" y="4"/>
                      <a:pt x="105" y="4"/>
                    </a:cubicBezTo>
                    <a:cubicBezTo>
                      <a:pt x="105" y="4"/>
                      <a:pt x="105" y="4"/>
                      <a:pt x="105" y="4"/>
                    </a:cubicBezTo>
                    <a:cubicBezTo>
                      <a:pt x="105" y="4"/>
                      <a:pt x="106" y="3"/>
                      <a:pt x="107" y="3"/>
                    </a:cubicBezTo>
                    <a:cubicBezTo>
                      <a:pt x="109" y="3"/>
                      <a:pt x="110" y="3"/>
                      <a:pt x="111" y="3"/>
                    </a:cubicBezTo>
                    <a:cubicBezTo>
                      <a:pt x="113" y="3"/>
                      <a:pt x="114" y="5"/>
                      <a:pt x="114" y="5"/>
                    </a:cubicBezTo>
                    <a:cubicBezTo>
                      <a:pt x="117" y="8"/>
                      <a:pt x="117" y="8"/>
                      <a:pt x="117" y="8"/>
                    </a:cubicBezTo>
                    <a:cubicBezTo>
                      <a:pt x="117" y="8"/>
                      <a:pt x="118" y="10"/>
                      <a:pt x="118" y="11"/>
                    </a:cubicBezTo>
                    <a:cubicBezTo>
                      <a:pt x="119" y="12"/>
                      <a:pt x="119" y="13"/>
                      <a:pt x="119" y="13"/>
                    </a:cubicBezTo>
                    <a:cubicBezTo>
                      <a:pt x="119" y="13"/>
                      <a:pt x="119" y="13"/>
                      <a:pt x="119" y="13"/>
                    </a:cubicBezTo>
                    <a:cubicBezTo>
                      <a:pt x="120" y="13"/>
                      <a:pt x="127" y="16"/>
                      <a:pt x="128" y="16"/>
                    </a:cubicBezTo>
                    <a:cubicBezTo>
                      <a:pt x="128" y="16"/>
                      <a:pt x="129" y="16"/>
                      <a:pt x="129" y="16"/>
                    </a:cubicBezTo>
                    <a:cubicBezTo>
                      <a:pt x="129" y="14"/>
                      <a:pt x="128" y="13"/>
                      <a:pt x="130" y="12"/>
                    </a:cubicBezTo>
                    <a:cubicBezTo>
                      <a:pt x="131" y="12"/>
                      <a:pt x="132" y="14"/>
                      <a:pt x="132" y="12"/>
                    </a:cubicBezTo>
                    <a:cubicBezTo>
                      <a:pt x="132" y="10"/>
                      <a:pt x="133" y="11"/>
                      <a:pt x="132" y="9"/>
                    </a:cubicBez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52" name="Freeform 63">
                <a:extLst>
                  <a:ext uri="{FF2B5EF4-FFF2-40B4-BE49-F238E27FC236}">
                    <a16:creationId xmlns:a16="http://schemas.microsoft.com/office/drawing/2014/main" id="{EB7D11EF-55F4-7438-CB48-D85AC74A23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24710" y="1911123"/>
                <a:ext cx="316575" cy="363321"/>
              </a:xfrm>
              <a:custGeom>
                <a:avLst/>
                <a:gdLst>
                  <a:gd name="T0" fmla="*/ 71 w 141"/>
                  <a:gd name="T1" fmla="*/ 5 h 167"/>
                  <a:gd name="T2" fmla="*/ 67 w 141"/>
                  <a:gd name="T3" fmla="*/ 47 h 167"/>
                  <a:gd name="T4" fmla="*/ 87 w 141"/>
                  <a:gd name="T5" fmla="*/ 73 h 167"/>
                  <a:gd name="T6" fmla="*/ 76 w 141"/>
                  <a:gd name="T7" fmla="*/ 89 h 167"/>
                  <a:gd name="T8" fmla="*/ 66 w 141"/>
                  <a:gd name="T9" fmla="*/ 95 h 167"/>
                  <a:gd name="T10" fmla="*/ 60 w 141"/>
                  <a:gd name="T11" fmla="*/ 106 h 167"/>
                  <a:gd name="T12" fmla="*/ 51 w 141"/>
                  <a:gd name="T13" fmla="*/ 115 h 167"/>
                  <a:gd name="T14" fmla="*/ 47 w 141"/>
                  <a:gd name="T15" fmla="*/ 129 h 167"/>
                  <a:gd name="T16" fmla="*/ 44 w 141"/>
                  <a:gd name="T17" fmla="*/ 146 h 167"/>
                  <a:gd name="T18" fmla="*/ 36 w 141"/>
                  <a:gd name="T19" fmla="*/ 157 h 167"/>
                  <a:gd name="T20" fmla="*/ 17 w 141"/>
                  <a:gd name="T21" fmla="*/ 140 h 167"/>
                  <a:gd name="T22" fmla="*/ 4 w 141"/>
                  <a:gd name="T23" fmla="*/ 120 h 167"/>
                  <a:gd name="T24" fmla="*/ 8 w 141"/>
                  <a:gd name="T25" fmla="*/ 95 h 167"/>
                  <a:gd name="T26" fmla="*/ 6 w 141"/>
                  <a:gd name="T27" fmla="*/ 60 h 167"/>
                  <a:gd name="T28" fmla="*/ 18 w 141"/>
                  <a:gd name="T29" fmla="*/ 62 h 167"/>
                  <a:gd name="T30" fmla="*/ 24 w 141"/>
                  <a:gd name="T31" fmla="*/ 44 h 167"/>
                  <a:gd name="T32" fmla="*/ 25 w 141"/>
                  <a:gd name="T33" fmla="*/ 54 h 167"/>
                  <a:gd name="T34" fmla="*/ 33 w 141"/>
                  <a:gd name="T35" fmla="*/ 60 h 167"/>
                  <a:gd name="T36" fmla="*/ 36 w 141"/>
                  <a:gd name="T37" fmla="*/ 56 h 167"/>
                  <a:gd name="T38" fmla="*/ 47 w 141"/>
                  <a:gd name="T39" fmla="*/ 40 h 167"/>
                  <a:gd name="T40" fmla="*/ 34 w 141"/>
                  <a:gd name="T41" fmla="*/ 40 h 167"/>
                  <a:gd name="T42" fmla="*/ 18 w 141"/>
                  <a:gd name="T43" fmla="*/ 46 h 167"/>
                  <a:gd name="T44" fmla="*/ 17 w 141"/>
                  <a:gd name="T45" fmla="*/ 59 h 167"/>
                  <a:gd name="T46" fmla="*/ 5 w 141"/>
                  <a:gd name="T47" fmla="*/ 51 h 167"/>
                  <a:gd name="T48" fmla="*/ 24 w 141"/>
                  <a:gd name="T49" fmla="*/ 33 h 167"/>
                  <a:gd name="T50" fmla="*/ 11 w 141"/>
                  <a:gd name="T51" fmla="*/ 144 h 167"/>
                  <a:gd name="T52" fmla="*/ 68 w 141"/>
                  <a:gd name="T53" fmla="*/ 112 h 167"/>
                  <a:gd name="T54" fmla="*/ 68 w 141"/>
                  <a:gd name="T55" fmla="*/ 112 h 167"/>
                  <a:gd name="T56" fmla="*/ 107 w 141"/>
                  <a:gd name="T57" fmla="*/ 153 h 167"/>
                  <a:gd name="T58" fmla="*/ 105 w 141"/>
                  <a:gd name="T59" fmla="*/ 151 h 167"/>
                  <a:gd name="T60" fmla="*/ 128 w 141"/>
                  <a:gd name="T61" fmla="*/ 143 h 167"/>
                  <a:gd name="T62" fmla="*/ 124 w 141"/>
                  <a:gd name="T63" fmla="*/ 138 h 167"/>
                  <a:gd name="T64" fmla="*/ 132 w 141"/>
                  <a:gd name="T65" fmla="*/ 124 h 167"/>
                  <a:gd name="T66" fmla="*/ 139 w 141"/>
                  <a:gd name="T67" fmla="*/ 110 h 167"/>
                  <a:gd name="T68" fmla="*/ 133 w 141"/>
                  <a:gd name="T69" fmla="*/ 87 h 167"/>
                  <a:gd name="T70" fmla="*/ 119 w 141"/>
                  <a:gd name="T71" fmla="*/ 97 h 167"/>
                  <a:gd name="T72" fmla="*/ 111 w 141"/>
                  <a:gd name="T73" fmla="*/ 108 h 167"/>
                  <a:gd name="T74" fmla="*/ 113 w 141"/>
                  <a:gd name="T75" fmla="*/ 95 h 167"/>
                  <a:gd name="T76" fmla="*/ 105 w 141"/>
                  <a:gd name="T77" fmla="*/ 99 h 167"/>
                  <a:gd name="T78" fmla="*/ 88 w 141"/>
                  <a:gd name="T79" fmla="*/ 108 h 167"/>
                  <a:gd name="T80" fmla="*/ 96 w 141"/>
                  <a:gd name="T81" fmla="*/ 127 h 167"/>
                  <a:gd name="T82" fmla="*/ 112 w 141"/>
                  <a:gd name="T83" fmla="*/ 136 h 167"/>
                  <a:gd name="T84" fmla="*/ 125 w 141"/>
                  <a:gd name="T85" fmla="*/ 147 h 167"/>
                  <a:gd name="T86" fmla="*/ 132 w 141"/>
                  <a:gd name="T87" fmla="*/ 149 h 167"/>
                  <a:gd name="T88" fmla="*/ 128 w 141"/>
                  <a:gd name="T89" fmla="*/ 147 h 167"/>
                  <a:gd name="T90" fmla="*/ 111 w 141"/>
                  <a:gd name="T91" fmla="*/ 154 h 167"/>
                  <a:gd name="T92" fmla="*/ 93 w 141"/>
                  <a:gd name="T93" fmla="*/ 154 h 167"/>
                  <a:gd name="T94" fmla="*/ 106 w 141"/>
                  <a:gd name="T95" fmla="*/ 167 h 167"/>
                  <a:gd name="T96" fmla="*/ 77 w 141"/>
                  <a:gd name="T97" fmla="*/ 121 h 167"/>
                  <a:gd name="T98" fmla="*/ 52 w 141"/>
                  <a:gd name="T99" fmla="*/ 119 h 167"/>
                  <a:gd name="T100" fmla="*/ 61 w 141"/>
                  <a:gd name="T101" fmla="*/ 139 h 167"/>
                  <a:gd name="T102" fmla="*/ 83 w 141"/>
                  <a:gd name="T103" fmla="*/ 143 h 167"/>
                  <a:gd name="T104" fmla="*/ 84 w 141"/>
                  <a:gd name="T105" fmla="*/ 120 h 167"/>
                  <a:gd name="T106" fmla="*/ 74 w 141"/>
                  <a:gd name="T107" fmla="*/ 115 h 167"/>
                  <a:gd name="T108" fmla="*/ 78 w 141"/>
                  <a:gd name="T109" fmla="*/ 99 h 167"/>
                  <a:gd name="T110" fmla="*/ 75 w 141"/>
                  <a:gd name="T111" fmla="*/ 107 h 167"/>
                  <a:gd name="T112" fmla="*/ 89 w 141"/>
                  <a:gd name="T113" fmla="*/ 142 h 167"/>
                  <a:gd name="T114" fmla="*/ 80 w 141"/>
                  <a:gd name="T115" fmla="*/ 157 h 167"/>
                  <a:gd name="T116" fmla="*/ 66 w 141"/>
                  <a:gd name="T117" fmla="*/ 150 h 167"/>
                  <a:gd name="T118" fmla="*/ 67 w 141"/>
                  <a:gd name="T119" fmla="*/ 150 h 167"/>
                  <a:gd name="T120" fmla="*/ 61 w 141"/>
                  <a:gd name="T121" fmla="*/ 155 h 167"/>
                  <a:gd name="T122" fmla="*/ 83 w 141"/>
                  <a:gd name="T123" fmla="*/ 25 h 167"/>
                  <a:gd name="T124" fmla="*/ 85 w 141"/>
                  <a:gd name="T125" fmla="*/ 23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1" h="167">
                    <a:moveTo>
                      <a:pt x="38" y="33"/>
                    </a:moveTo>
                    <a:cubicBezTo>
                      <a:pt x="44" y="30"/>
                      <a:pt x="44" y="30"/>
                      <a:pt x="44" y="30"/>
                    </a:cubicBezTo>
                    <a:cubicBezTo>
                      <a:pt x="47" y="24"/>
                      <a:pt x="47" y="24"/>
                      <a:pt x="47" y="24"/>
                    </a:cubicBezTo>
                    <a:cubicBezTo>
                      <a:pt x="51" y="17"/>
                      <a:pt x="51" y="17"/>
                      <a:pt x="51" y="17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5" y="9"/>
                      <a:pt x="55" y="9"/>
                      <a:pt x="55" y="9"/>
                    </a:cubicBezTo>
                    <a:cubicBezTo>
                      <a:pt x="61" y="7"/>
                      <a:pt x="61" y="7"/>
                      <a:pt x="61" y="7"/>
                    </a:cubicBezTo>
                    <a:cubicBezTo>
                      <a:pt x="61" y="7"/>
                      <a:pt x="65" y="6"/>
                      <a:pt x="66" y="6"/>
                    </a:cubicBezTo>
                    <a:cubicBezTo>
                      <a:pt x="67" y="5"/>
                      <a:pt x="73" y="0"/>
                      <a:pt x="73" y="0"/>
                    </a:cubicBezTo>
                    <a:cubicBezTo>
                      <a:pt x="74" y="0"/>
                      <a:pt x="74" y="0"/>
                      <a:pt x="74" y="0"/>
                    </a:cubicBezTo>
                    <a:cubicBezTo>
                      <a:pt x="71" y="5"/>
                      <a:pt x="71" y="5"/>
                      <a:pt x="71" y="5"/>
                    </a:cubicBezTo>
                    <a:cubicBezTo>
                      <a:pt x="71" y="8"/>
                      <a:pt x="71" y="8"/>
                      <a:pt x="71" y="8"/>
                    </a:cubicBezTo>
                    <a:cubicBezTo>
                      <a:pt x="71" y="10"/>
                      <a:pt x="71" y="10"/>
                      <a:pt x="71" y="10"/>
                    </a:cubicBezTo>
                    <a:cubicBezTo>
                      <a:pt x="72" y="14"/>
                      <a:pt x="72" y="14"/>
                      <a:pt x="72" y="14"/>
                    </a:cubicBezTo>
                    <a:cubicBezTo>
                      <a:pt x="73" y="15"/>
                      <a:pt x="73" y="15"/>
                      <a:pt x="73" y="15"/>
                    </a:cubicBezTo>
                    <a:cubicBezTo>
                      <a:pt x="73" y="19"/>
                      <a:pt x="73" y="19"/>
                      <a:pt x="73" y="19"/>
                    </a:cubicBezTo>
                    <a:cubicBezTo>
                      <a:pt x="73" y="23"/>
                      <a:pt x="73" y="23"/>
                      <a:pt x="73" y="23"/>
                    </a:cubicBezTo>
                    <a:cubicBezTo>
                      <a:pt x="73" y="23"/>
                      <a:pt x="76" y="25"/>
                      <a:pt x="75" y="26"/>
                    </a:cubicBezTo>
                    <a:cubicBezTo>
                      <a:pt x="73" y="27"/>
                      <a:pt x="71" y="30"/>
                      <a:pt x="71" y="30"/>
                    </a:cubicBezTo>
                    <a:cubicBezTo>
                      <a:pt x="70" y="36"/>
                      <a:pt x="70" y="36"/>
                      <a:pt x="70" y="36"/>
                    </a:cubicBezTo>
                    <a:cubicBezTo>
                      <a:pt x="66" y="41"/>
                      <a:pt x="66" y="41"/>
                      <a:pt x="66" y="41"/>
                    </a:cubicBezTo>
                    <a:cubicBezTo>
                      <a:pt x="67" y="47"/>
                      <a:pt x="67" y="47"/>
                      <a:pt x="67" y="47"/>
                    </a:cubicBezTo>
                    <a:cubicBezTo>
                      <a:pt x="68" y="52"/>
                      <a:pt x="68" y="52"/>
                      <a:pt x="68" y="52"/>
                    </a:cubicBezTo>
                    <a:cubicBezTo>
                      <a:pt x="67" y="56"/>
                      <a:pt x="67" y="56"/>
                      <a:pt x="67" y="56"/>
                    </a:cubicBezTo>
                    <a:cubicBezTo>
                      <a:pt x="70" y="59"/>
                      <a:pt x="70" y="59"/>
                      <a:pt x="70" y="59"/>
                    </a:cubicBezTo>
                    <a:cubicBezTo>
                      <a:pt x="69" y="61"/>
                      <a:pt x="69" y="61"/>
                      <a:pt x="69" y="61"/>
                    </a:cubicBezTo>
                    <a:cubicBezTo>
                      <a:pt x="70" y="64"/>
                      <a:pt x="70" y="64"/>
                      <a:pt x="70" y="64"/>
                    </a:cubicBezTo>
                    <a:cubicBezTo>
                      <a:pt x="73" y="66"/>
                      <a:pt x="73" y="66"/>
                      <a:pt x="73" y="66"/>
                    </a:cubicBezTo>
                    <a:cubicBezTo>
                      <a:pt x="73" y="66"/>
                      <a:pt x="75" y="66"/>
                      <a:pt x="76" y="66"/>
                    </a:cubicBezTo>
                    <a:cubicBezTo>
                      <a:pt x="77" y="66"/>
                      <a:pt x="80" y="65"/>
                      <a:pt x="81" y="65"/>
                    </a:cubicBezTo>
                    <a:cubicBezTo>
                      <a:pt x="82" y="65"/>
                      <a:pt x="84" y="66"/>
                      <a:pt x="84" y="66"/>
                    </a:cubicBezTo>
                    <a:cubicBezTo>
                      <a:pt x="87" y="70"/>
                      <a:pt x="87" y="70"/>
                      <a:pt x="87" y="70"/>
                    </a:cubicBezTo>
                    <a:cubicBezTo>
                      <a:pt x="87" y="73"/>
                      <a:pt x="87" y="73"/>
                      <a:pt x="87" y="73"/>
                    </a:cubicBezTo>
                    <a:cubicBezTo>
                      <a:pt x="87" y="73"/>
                      <a:pt x="86" y="75"/>
                      <a:pt x="86" y="76"/>
                    </a:cubicBezTo>
                    <a:cubicBezTo>
                      <a:pt x="85" y="77"/>
                      <a:pt x="84" y="79"/>
                      <a:pt x="84" y="79"/>
                    </a:cubicBezTo>
                    <a:cubicBezTo>
                      <a:pt x="82" y="81"/>
                      <a:pt x="82" y="81"/>
                      <a:pt x="82" y="81"/>
                    </a:cubicBezTo>
                    <a:cubicBezTo>
                      <a:pt x="81" y="84"/>
                      <a:pt x="81" y="84"/>
                      <a:pt x="81" y="84"/>
                    </a:cubicBezTo>
                    <a:cubicBezTo>
                      <a:pt x="80" y="86"/>
                      <a:pt x="80" y="86"/>
                      <a:pt x="80" y="86"/>
                    </a:cubicBezTo>
                    <a:cubicBezTo>
                      <a:pt x="80" y="86"/>
                      <a:pt x="80" y="86"/>
                      <a:pt x="80" y="86"/>
                    </a:cubicBezTo>
                    <a:cubicBezTo>
                      <a:pt x="78" y="84"/>
                      <a:pt x="78" y="84"/>
                      <a:pt x="78" y="84"/>
                    </a:cubicBezTo>
                    <a:cubicBezTo>
                      <a:pt x="78" y="84"/>
                      <a:pt x="78" y="81"/>
                      <a:pt x="77" y="82"/>
                    </a:cubicBezTo>
                    <a:cubicBezTo>
                      <a:pt x="76" y="82"/>
                      <a:pt x="75" y="84"/>
                      <a:pt x="75" y="84"/>
                    </a:cubicBezTo>
                    <a:cubicBezTo>
                      <a:pt x="76" y="86"/>
                      <a:pt x="76" y="86"/>
                      <a:pt x="76" y="86"/>
                    </a:cubicBezTo>
                    <a:cubicBezTo>
                      <a:pt x="76" y="86"/>
                      <a:pt x="77" y="89"/>
                      <a:pt x="76" y="89"/>
                    </a:cubicBezTo>
                    <a:cubicBezTo>
                      <a:pt x="75" y="89"/>
                      <a:pt x="74" y="89"/>
                      <a:pt x="74" y="89"/>
                    </a:cubicBezTo>
                    <a:cubicBezTo>
                      <a:pt x="73" y="85"/>
                      <a:pt x="73" y="85"/>
                      <a:pt x="73" y="85"/>
                    </a:cubicBezTo>
                    <a:cubicBezTo>
                      <a:pt x="70" y="84"/>
                      <a:pt x="70" y="84"/>
                      <a:pt x="70" y="84"/>
                    </a:cubicBezTo>
                    <a:cubicBezTo>
                      <a:pt x="72" y="80"/>
                      <a:pt x="72" y="80"/>
                      <a:pt x="72" y="80"/>
                    </a:cubicBezTo>
                    <a:cubicBezTo>
                      <a:pt x="70" y="79"/>
                      <a:pt x="70" y="79"/>
                      <a:pt x="70" y="79"/>
                    </a:cubicBezTo>
                    <a:cubicBezTo>
                      <a:pt x="70" y="79"/>
                      <a:pt x="69" y="79"/>
                      <a:pt x="68" y="80"/>
                    </a:cubicBezTo>
                    <a:cubicBezTo>
                      <a:pt x="68" y="81"/>
                      <a:pt x="67" y="85"/>
                      <a:pt x="67" y="85"/>
                    </a:cubicBezTo>
                    <a:cubicBezTo>
                      <a:pt x="66" y="89"/>
                      <a:pt x="66" y="89"/>
                      <a:pt x="66" y="89"/>
                    </a:cubicBezTo>
                    <a:cubicBezTo>
                      <a:pt x="66" y="89"/>
                      <a:pt x="67" y="90"/>
                      <a:pt x="67" y="91"/>
                    </a:cubicBezTo>
                    <a:cubicBezTo>
                      <a:pt x="67" y="92"/>
                      <a:pt x="66" y="93"/>
                      <a:pt x="66" y="93"/>
                    </a:cubicBezTo>
                    <a:cubicBezTo>
                      <a:pt x="66" y="93"/>
                      <a:pt x="66" y="94"/>
                      <a:pt x="66" y="95"/>
                    </a:cubicBezTo>
                    <a:cubicBezTo>
                      <a:pt x="66" y="95"/>
                      <a:pt x="67" y="97"/>
                      <a:pt x="67" y="98"/>
                    </a:cubicBezTo>
                    <a:cubicBezTo>
                      <a:pt x="67" y="98"/>
                      <a:pt x="67" y="99"/>
                      <a:pt x="66" y="99"/>
                    </a:cubicBezTo>
                    <a:cubicBezTo>
                      <a:pt x="66" y="100"/>
                      <a:pt x="66" y="100"/>
                      <a:pt x="66" y="101"/>
                    </a:cubicBezTo>
                    <a:cubicBezTo>
                      <a:pt x="65" y="101"/>
                      <a:pt x="64" y="102"/>
                      <a:pt x="64" y="102"/>
                    </a:cubicBezTo>
                    <a:cubicBezTo>
                      <a:pt x="64" y="102"/>
                      <a:pt x="62" y="103"/>
                      <a:pt x="62" y="103"/>
                    </a:cubicBezTo>
                    <a:cubicBezTo>
                      <a:pt x="62" y="103"/>
                      <a:pt x="61" y="102"/>
                      <a:pt x="60" y="102"/>
                    </a:cubicBezTo>
                    <a:cubicBezTo>
                      <a:pt x="59" y="102"/>
                      <a:pt x="59" y="101"/>
                      <a:pt x="58" y="102"/>
                    </a:cubicBezTo>
                    <a:cubicBezTo>
                      <a:pt x="57" y="103"/>
                      <a:pt x="57" y="103"/>
                      <a:pt x="57" y="103"/>
                    </a:cubicBezTo>
                    <a:cubicBezTo>
                      <a:pt x="58" y="104"/>
                      <a:pt x="58" y="104"/>
                      <a:pt x="58" y="104"/>
                    </a:cubicBezTo>
                    <a:cubicBezTo>
                      <a:pt x="60" y="104"/>
                      <a:pt x="60" y="104"/>
                      <a:pt x="60" y="104"/>
                    </a:cubicBezTo>
                    <a:cubicBezTo>
                      <a:pt x="60" y="106"/>
                      <a:pt x="60" y="106"/>
                      <a:pt x="60" y="106"/>
                    </a:cubicBezTo>
                    <a:cubicBezTo>
                      <a:pt x="60" y="106"/>
                      <a:pt x="61" y="106"/>
                      <a:pt x="61" y="107"/>
                    </a:cubicBezTo>
                    <a:cubicBezTo>
                      <a:pt x="60" y="108"/>
                      <a:pt x="59" y="109"/>
                      <a:pt x="59" y="109"/>
                    </a:cubicBezTo>
                    <a:cubicBezTo>
                      <a:pt x="57" y="111"/>
                      <a:pt x="57" y="111"/>
                      <a:pt x="57" y="111"/>
                    </a:cubicBezTo>
                    <a:cubicBezTo>
                      <a:pt x="55" y="112"/>
                      <a:pt x="55" y="112"/>
                      <a:pt x="55" y="112"/>
                    </a:cubicBezTo>
                    <a:cubicBezTo>
                      <a:pt x="55" y="112"/>
                      <a:pt x="53" y="111"/>
                      <a:pt x="53" y="112"/>
                    </a:cubicBezTo>
                    <a:cubicBezTo>
                      <a:pt x="52" y="112"/>
                      <a:pt x="51" y="112"/>
                      <a:pt x="51" y="112"/>
                    </a:cubicBezTo>
                    <a:cubicBezTo>
                      <a:pt x="51" y="113"/>
                      <a:pt x="53" y="115"/>
                      <a:pt x="53" y="115"/>
                    </a:cubicBezTo>
                    <a:cubicBezTo>
                      <a:pt x="49" y="111"/>
                      <a:pt x="49" y="111"/>
                      <a:pt x="49" y="111"/>
                    </a:cubicBezTo>
                    <a:cubicBezTo>
                      <a:pt x="47" y="111"/>
                      <a:pt x="47" y="111"/>
                      <a:pt x="47" y="111"/>
                    </a:cubicBezTo>
                    <a:cubicBezTo>
                      <a:pt x="50" y="113"/>
                      <a:pt x="50" y="113"/>
                      <a:pt x="50" y="113"/>
                    </a:cubicBezTo>
                    <a:cubicBezTo>
                      <a:pt x="51" y="115"/>
                      <a:pt x="51" y="115"/>
                      <a:pt x="51" y="115"/>
                    </a:cubicBezTo>
                    <a:cubicBezTo>
                      <a:pt x="53" y="116"/>
                      <a:pt x="53" y="116"/>
                      <a:pt x="53" y="116"/>
                    </a:cubicBezTo>
                    <a:cubicBezTo>
                      <a:pt x="52" y="117"/>
                      <a:pt x="52" y="117"/>
                      <a:pt x="52" y="117"/>
                    </a:cubicBezTo>
                    <a:cubicBezTo>
                      <a:pt x="51" y="118"/>
                      <a:pt x="51" y="118"/>
                      <a:pt x="51" y="118"/>
                    </a:cubicBezTo>
                    <a:cubicBezTo>
                      <a:pt x="49" y="120"/>
                      <a:pt x="49" y="120"/>
                      <a:pt x="49" y="120"/>
                    </a:cubicBezTo>
                    <a:cubicBezTo>
                      <a:pt x="49" y="120"/>
                      <a:pt x="48" y="121"/>
                      <a:pt x="47" y="121"/>
                    </a:cubicBezTo>
                    <a:cubicBezTo>
                      <a:pt x="47" y="121"/>
                      <a:pt x="44" y="121"/>
                      <a:pt x="44" y="121"/>
                    </a:cubicBezTo>
                    <a:cubicBezTo>
                      <a:pt x="45" y="122"/>
                      <a:pt x="45" y="122"/>
                      <a:pt x="45" y="122"/>
                    </a:cubicBezTo>
                    <a:cubicBezTo>
                      <a:pt x="47" y="123"/>
                      <a:pt x="47" y="123"/>
                      <a:pt x="47" y="123"/>
                    </a:cubicBezTo>
                    <a:cubicBezTo>
                      <a:pt x="47" y="123"/>
                      <a:pt x="48" y="122"/>
                      <a:pt x="48" y="123"/>
                    </a:cubicBezTo>
                    <a:cubicBezTo>
                      <a:pt x="47" y="123"/>
                      <a:pt x="47" y="123"/>
                      <a:pt x="47" y="124"/>
                    </a:cubicBezTo>
                    <a:cubicBezTo>
                      <a:pt x="47" y="126"/>
                      <a:pt x="47" y="129"/>
                      <a:pt x="47" y="129"/>
                    </a:cubicBezTo>
                    <a:cubicBezTo>
                      <a:pt x="49" y="132"/>
                      <a:pt x="49" y="132"/>
                      <a:pt x="49" y="132"/>
                    </a:cubicBezTo>
                    <a:cubicBezTo>
                      <a:pt x="50" y="133"/>
                      <a:pt x="50" y="133"/>
                      <a:pt x="50" y="133"/>
                    </a:cubicBezTo>
                    <a:cubicBezTo>
                      <a:pt x="50" y="133"/>
                      <a:pt x="50" y="133"/>
                      <a:pt x="50" y="134"/>
                    </a:cubicBezTo>
                    <a:cubicBezTo>
                      <a:pt x="50" y="134"/>
                      <a:pt x="50" y="135"/>
                      <a:pt x="50" y="135"/>
                    </a:cubicBezTo>
                    <a:cubicBezTo>
                      <a:pt x="50" y="137"/>
                      <a:pt x="50" y="137"/>
                      <a:pt x="50" y="137"/>
                    </a:cubicBezTo>
                    <a:cubicBezTo>
                      <a:pt x="50" y="137"/>
                      <a:pt x="49" y="138"/>
                      <a:pt x="48" y="138"/>
                    </a:cubicBezTo>
                    <a:cubicBezTo>
                      <a:pt x="48" y="138"/>
                      <a:pt x="44" y="139"/>
                      <a:pt x="44" y="139"/>
                    </a:cubicBezTo>
                    <a:cubicBezTo>
                      <a:pt x="43" y="141"/>
                      <a:pt x="43" y="141"/>
                      <a:pt x="43" y="141"/>
                    </a:cubicBezTo>
                    <a:cubicBezTo>
                      <a:pt x="45" y="142"/>
                      <a:pt x="45" y="142"/>
                      <a:pt x="45" y="142"/>
                    </a:cubicBezTo>
                    <a:cubicBezTo>
                      <a:pt x="45" y="142"/>
                      <a:pt x="45" y="144"/>
                      <a:pt x="45" y="144"/>
                    </a:cubicBezTo>
                    <a:cubicBezTo>
                      <a:pt x="45" y="145"/>
                      <a:pt x="44" y="146"/>
                      <a:pt x="44" y="146"/>
                    </a:cubicBezTo>
                    <a:cubicBezTo>
                      <a:pt x="46" y="146"/>
                      <a:pt x="46" y="146"/>
                      <a:pt x="46" y="146"/>
                    </a:cubicBezTo>
                    <a:cubicBezTo>
                      <a:pt x="49" y="147"/>
                      <a:pt x="49" y="147"/>
                      <a:pt x="49" y="147"/>
                    </a:cubicBezTo>
                    <a:cubicBezTo>
                      <a:pt x="53" y="152"/>
                      <a:pt x="53" y="152"/>
                      <a:pt x="53" y="152"/>
                    </a:cubicBezTo>
                    <a:cubicBezTo>
                      <a:pt x="52" y="156"/>
                      <a:pt x="52" y="156"/>
                      <a:pt x="52" y="156"/>
                    </a:cubicBezTo>
                    <a:cubicBezTo>
                      <a:pt x="50" y="158"/>
                      <a:pt x="50" y="158"/>
                      <a:pt x="50" y="158"/>
                    </a:cubicBezTo>
                    <a:cubicBezTo>
                      <a:pt x="48" y="154"/>
                      <a:pt x="48" y="154"/>
                      <a:pt x="48" y="154"/>
                    </a:cubicBezTo>
                    <a:cubicBezTo>
                      <a:pt x="48" y="154"/>
                      <a:pt x="47" y="154"/>
                      <a:pt x="47" y="155"/>
                    </a:cubicBezTo>
                    <a:cubicBezTo>
                      <a:pt x="46" y="155"/>
                      <a:pt x="43" y="157"/>
                      <a:pt x="43" y="157"/>
                    </a:cubicBezTo>
                    <a:cubicBezTo>
                      <a:pt x="43" y="157"/>
                      <a:pt x="41" y="158"/>
                      <a:pt x="40" y="158"/>
                    </a:cubicBezTo>
                    <a:cubicBezTo>
                      <a:pt x="40" y="158"/>
                      <a:pt x="39" y="158"/>
                      <a:pt x="39" y="158"/>
                    </a:cubicBezTo>
                    <a:cubicBezTo>
                      <a:pt x="36" y="157"/>
                      <a:pt x="36" y="157"/>
                      <a:pt x="36" y="157"/>
                    </a:cubicBezTo>
                    <a:cubicBezTo>
                      <a:pt x="32" y="155"/>
                      <a:pt x="32" y="155"/>
                      <a:pt x="32" y="155"/>
                    </a:cubicBezTo>
                    <a:cubicBezTo>
                      <a:pt x="32" y="155"/>
                      <a:pt x="30" y="154"/>
                      <a:pt x="29" y="154"/>
                    </a:cubicBezTo>
                    <a:cubicBezTo>
                      <a:pt x="28" y="154"/>
                      <a:pt x="23" y="152"/>
                      <a:pt x="23" y="152"/>
                    </a:cubicBezTo>
                    <a:cubicBezTo>
                      <a:pt x="21" y="153"/>
                      <a:pt x="21" y="153"/>
                      <a:pt x="21" y="153"/>
                    </a:cubicBezTo>
                    <a:cubicBezTo>
                      <a:pt x="18" y="153"/>
                      <a:pt x="18" y="153"/>
                      <a:pt x="18" y="153"/>
                    </a:cubicBezTo>
                    <a:cubicBezTo>
                      <a:pt x="16" y="152"/>
                      <a:pt x="16" y="152"/>
                      <a:pt x="16" y="152"/>
                    </a:cubicBezTo>
                    <a:cubicBezTo>
                      <a:pt x="14" y="149"/>
                      <a:pt x="14" y="149"/>
                      <a:pt x="14" y="149"/>
                    </a:cubicBezTo>
                    <a:cubicBezTo>
                      <a:pt x="14" y="149"/>
                      <a:pt x="13" y="147"/>
                      <a:pt x="13" y="147"/>
                    </a:cubicBezTo>
                    <a:cubicBezTo>
                      <a:pt x="13" y="147"/>
                      <a:pt x="16" y="145"/>
                      <a:pt x="16" y="145"/>
                    </a:cubicBezTo>
                    <a:cubicBezTo>
                      <a:pt x="17" y="145"/>
                      <a:pt x="17" y="144"/>
                      <a:pt x="17" y="144"/>
                    </a:cubicBezTo>
                    <a:cubicBezTo>
                      <a:pt x="17" y="140"/>
                      <a:pt x="17" y="140"/>
                      <a:pt x="17" y="140"/>
                    </a:cubicBezTo>
                    <a:cubicBezTo>
                      <a:pt x="17" y="140"/>
                      <a:pt x="17" y="138"/>
                      <a:pt x="17" y="138"/>
                    </a:cubicBezTo>
                    <a:cubicBezTo>
                      <a:pt x="17" y="137"/>
                      <a:pt x="18" y="136"/>
                      <a:pt x="18" y="136"/>
                    </a:cubicBezTo>
                    <a:cubicBezTo>
                      <a:pt x="18" y="136"/>
                      <a:pt x="18" y="133"/>
                      <a:pt x="17" y="132"/>
                    </a:cubicBezTo>
                    <a:cubicBezTo>
                      <a:pt x="17" y="130"/>
                      <a:pt x="17" y="128"/>
                      <a:pt x="17" y="128"/>
                    </a:cubicBezTo>
                    <a:cubicBezTo>
                      <a:pt x="15" y="125"/>
                      <a:pt x="15" y="125"/>
                      <a:pt x="15" y="125"/>
                    </a:cubicBezTo>
                    <a:cubicBezTo>
                      <a:pt x="15" y="125"/>
                      <a:pt x="14" y="125"/>
                      <a:pt x="12" y="124"/>
                    </a:cubicBezTo>
                    <a:cubicBezTo>
                      <a:pt x="10" y="123"/>
                      <a:pt x="7" y="122"/>
                      <a:pt x="7" y="122"/>
                    </a:cubicBezTo>
                    <a:cubicBezTo>
                      <a:pt x="7" y="119"/>
                      <a:pt x="7" y="119"/>
                      <a:pt x="7" y="119"/>
                    </a:cubicBezTo>
                    <a:cubicBezTo>
                      <a:pt x="6" y="118"/>
                      <a:pt x="6" y="118"/>
                      <a:pt x="6" y="118"/>
                    </a:cubicBezTo>
                    <a:cubicBezTo>
                      <a:pt x="6" y="118"/>
                      <a:pt x="4" y="118"/>
                      <a:pt x="4" y="119"/>
                    </a:cubicBezTo>
                    <a:cubicBezTo>
                      <a:pt x="4" y="119"/>
                      <a:pt x="4" y="120"/>
                      <a:pt x="4" y="120"/>
                    </a:cubicBezTo>
                    <a:cubicBezTo>
                      <a:pt x="2" y="119"/>
                      <a:pt x="2" y="119"/>
                      <a:pt x="2" y="119"/>
                    </a:cubicBezTo>
                    <a:cubicBezTo>
                      <a:pt x="2" y="119"/>
                      <a:pt x="0" y="116"/>
                      <a:pt x="0" y="115"/>
                    </a:cubicBezTo>
                    <a:cubicBezTo>
                      <a:pt x="1" y="115"/>
                      <a:pt x="2" y="114"/>
                      <a:pt x="2" y="113"/>
                    </a:cubicBezTo>
                    <a:cubicBezTo>
                      <a:pt x="3" y="112"/>
                      <a:pt x="4" y="110"/>
                      <a:pt x="4" y="109"/>
                    </a:cubicBezTo>
                    <a:cubicBezTo>
                      <a:pt x="4" y="109"/>
                      <a:pt x="4" y="105"/>
                      <a:pt x="4" y="105"/>
                    </a:cubicBezTo>
                    <a:cubicBezTo>
                      <a:pt x="4" y="105"/>
                      <a:pt x="3" y="104"/>
                      <a:pt x="4" y="104"/>
                    </a:cubicBezTo>
                    <a:cubicBezTo>
                      <a:pt x="5" y="104"/>
                      <a:pt x="4" y="104"/>
                      <a:pt x="5" y="104"/>
                    </a:cubicBezTo>
                    <a:cubicBezTo>
                      <a:pt x="6" y="103"/>
                      <a:pt x="9" y="101"/>
                      <a:pt x="9" y="101"/>
                    </a:cubicBezTo>
                    <a:cubicBezTo>
                      <a:pt x="9" y="99"/>
                      <a:pt x="9" y="99"/>
                      <a:pt x="9" y="99"/>
                    </a:cubicBezTo>
                    <a:cubicBezTo>
                      <a:pt x="9" y="99"/>
                      <a:pt x="8" y="97"/>
                      <a:pt x="8" y="96"/>
                    </a:cubicBezTo>
                    <a:cubicBezTo>
                      <a:pt x="8" y="96"/>
                      <a:pt x="8" y="96"/>
                      <a:pt x="8" y="95"/>
                    </a:cubicBezTo>
                    <a:cubicBezTo>
                      <a:pt x="8" y="93"/>
                      <a:pt x="4" y="89"/>
                      <a:pt x="4" y="89"/>
                    </a:cubicBezTo>
                    <a:cubicBezTo>
                      <a:pt x="2" y="89"/>
                      <a:pt x="2" y="89"/>
                      <a:pt x="2" y="89"/>
                    </a:cubicBezTo>
                    <a:cubicBezTo>
                      <a:pt x="2" y="89"/>
                      <a:pt x="2" y="88"/>
                      <a:pt x="2" y="87"/>
                    </a:cubicBezTo>
                    <a:cubicBezTo>
                      <a:pt x="2" y="87"/>
                      <a:pt x="2" y="84"/>
                      <a:pt x="2" y="84"/>
                    </a:cubicBezTo>
                    <a:cubicBezTo>
                      <a:pt x="3" y="80"/>
                      <a:pt x="3" y="80"/>
                      <a:pt x="3" y="80"/>
                    </a:cubicBezTo>
                    <a:cubicBezTo>
                      <a:pt x="2" y="73"/>
                      <a:pt x="2" y="73"/>
                      <a:pt x="2" y="73"/>
                    </a:cubicBezTo>
                    <a:cubicBezTo>
                      <a:pt x="2" y="68"/>
                      <a:pt x="2" y="68"/>
                      <a:pt x="2" y="68"/>
                    </a:cubicBezTo>
                    <a:cubicBezTo>
                      <a:pt x="2" y="68"/>
                      <a:pt x="2" y="64"/>
                      <a:pt x="2" y="63"/>
                    </a:cubicBezTo>
                    <a:cubicBezTo>
                      <a:pt x="2" y="63"/>
                      <a:pt x="4" y="59"/>
                      <a:pt x="4" y="59"/>
                    </a:cubicBezTo>
                    <a:cubicBezTo>
                      <a:pt x="5" y="57"/>
                      <a:pt x="5" y="57"/>
                      <a:pt x="5" y="57"/>
                    </a:cubicBezTo>
                    <a:cubicBezTo>
                      <a:pt x="6" y="60"/>
                      <a:pt x="6" y="60"/>
                      <a:pt x="6" y="60"/>
                    </a:cubicBezTo>
                    <a:cubicBezTo>
                      <a:pt x="6" y="60"/>
                      <a:pt x="5" y="61"/>
                      <a:pt x="6" y="62"/>
                    </a:cubicBezTo>
                    <a:cubicBezTo>
                      <a:pt x="7" y="62"/>
                      <a:pt x="8" y="62"/>
                      <a:pt x="9" y="62"/>
                    </a:cubicBezTo>
                    <a:cubicBezTo>
                      <a:pt x="9" y="62"/>
                      <a:pt x="10" y="63"/>
                      <a:pt x="10" y="63"/>
                    </a:cubicBezTo>
                    <a:cubicBezTo>
                      <a:pt x="13" y="65"/>
                      <a:pt x="13" y="65"/>
                      <a:pt x="13" y="65"/>
                    </a:cubicBezTo>
                    <a:cubicBezTo>
                      <a:pt x="15" y="67"/>
                      <a:pt x="15" y="67"/>
                      <a:pt x="15" y="67"/>
                    </a:cubicBezTo>
                    <a:cubicBezTo>
                      <a:pt x="17" y="68"/>
                      <a:pt x="17" y="68"/>
                      <a:pt x="17" y="68"/>
                    </a:cubicBezTo>
                    <a:cubicBezTo>
                      <a:pt x="19" y="68"/>
                      <a:pt x="19" y="68"/>
                      <a:pt x="19" y="68"/>
                    </a:cubicBezTo>
                    <a:cubicBezTo>
                      <a:pt x="20" y="67"/>
                      <a:pt x="20" y="67"/>
                      <a:pt x="20" y="67"/>
                    </a:cubicBezTo>
                    <a:cubicBezTo>
                      <a:pt x="20" y="67"/>
                      <a:pt x="20" y="66"/>
                      <a:pt x="20" y="66"/>
                    </a:cubicBezTo>
                    <a:cubicBezTo>
                      <a:pt x="20" y="66"/>
                      <a:pt x="19" y="64"/>
                      <a:pt x="19" y="64"/>
                    </a:cubicBezTo>
                    <a:cubicBezTo>
                      <a:pt x="19" y="63"/>
                      <a:pt x="18" y="62"/>
                      <a:pt x="18" y="62"/>
                    </a:cubicBezTo>
                    <a:cubicBezTo>
                      <a:pt x="21" y="60"/>
                      <a:pt x="21" y="60"/>
                      <a:pt x="21" y="60"/>
                    </a:cubicBezTo>
                    <a:cubicBezTo>
                      <a:pt x="22" y="58"/>
                      <a:pt x="22" y="58"/>
                      <a:pt x="22" y="58"/>
                    </a:cubicBezTo>
                    <a:cubicBezTo>
                      <a:pt x="22" y="58"/>
                      <a:pt x="22" y="57"/>
                      <a:pt x="21" y="57"/>
                    </a:cubicBezTo>
                    <a:cubicBezTo>
                      <a:pt x="20" y="57"/>
                      <a:pt x="18" y="57"/>
                      <a:pt x="18" y="57"/>
                    </a:cubicBezTo>
                    <a:cubicBezTo>
                      <a:pt x="18" y="57"/>
                      <a:pt x="17" y="56"/>
                      <a:pt x="17" y="56"/>
                    </a:cubicBezTo>
                    <a:cubicBezTo>
                      <a:pt x="17" y="56"/>
                      <a:pt x="16" y="54"/>
                      <a:pt x="16" y="54"/>
                    </a:cubicBezTo>
                    <a:cubicBezTo>
                      <a:pt x="16" y="54"/>
                      <a:pt x="16" y="52"/>
                      <a:pt x="17" y="52"/>
                    </a:cubicBezTo>
                    <a:cubicBezTo>
                      <a:pt x="17" y="51"/>
                      <a:pt x="18" y="48"/>
                      <a:pt x="18" y="48"/>
                    </a:cubicBezTo>
                    <a:cubicBezTo>
                      <a:pt x="18" y="48"/>
                      <a:pt x="17" y="46"/>
                      <a:pt x="19" y="46"/>
                    </a:cubicBezTo>
                    <a:cubicBezTo>
                      <a:pt x="21" y="46"/>
                      <a:pt x="22" y="46"/>
                      <a:pt x="22" y="46"/>
                    </a:cubicBezTo>
                    <a:cubicBezTo>
                      <a:pt x="22" y="46"/>
                      <a:pt x="23" y="44"/>
                      <a:pt x="24" y="44"/>
                    </a:cubicBezTo>
                    <a:cubicBezTo>
                      <a:pt x="24" y="44"/>
                      <a:pt x="25" y="43"/>
                      <a:pt x="25" y="44"/>
                    </a:cubicBezTo>
                    <a:cubicBezTo>
                      <a:pt x="26" y="44"/>
                      <a:pt x="25" y="47"/>
                      <a:pt x="25" y="47"/>
                    </a:cubicBezTo>
                    <a:cubicBezTo>
                      <a:pt x="23" y="49"/>
                      <a:pt x="23" y="49"/>
                      <a:pt x="23" y="49"/>
                    </a:cubicBezTo>
                    <a:cubicBezTo>
                      <a:pt x="23" y="49"/>
                      <a:pt x="24" y="50"/>
                      <a:pt x="24" y="51"/>
                    </a:cubicBezTo>
                    <a:cubicBezTo>
                      <a:pt x="24" y="52"/>
                      <a:pt x="24" y="53"/>
                      <a:pt x="24" y="53"/>
                    </a:cubicBezTo>
                    <a:cubicBezTo>
                      <a:pt x="22" y="56"/>
                      <a:pt x="22" y="56"/>
                      <a:pt x="22" y="56"/>
                    </a:cubicBezTo>
                    <a:cubicBezTo>
                      <a:pt x="22" y="56"/>
                      <a:pt x="23" y="56"/>
                      <a:pt x="23" y="56"/>
                    </a:cubicBezTo>
                    <a:cubicBezTo>
                      <a:pt x="23" y="57"/>
                      <a:pt x="23" y="58"/>
                      <a:pt x="23" y="58"/>
                    </a:cubicBezTo>
                    <a:cubicBezTo>
                      <a:pt x="26" y="57"/>
                      <a:pt x="26" y="57"/>
                      <a:pt x="26" y="57"/>
                    </a:cubicBezTo>
                    <a:cubicBezTo>
                      <a:pt x="26" y="57"/>
                      <a:pt x="25" y="56"/>
                      <a:pt x="25" y="56"/>
                    </a:cubicBezTo>
                    <a:cubicBezTo>
                      <a:pt x="25" y="56"/>
                      <a:pt x="24" y="55"/>
                      <a:pt x="25" y="54"/>
                    </a:cubicBezTo>
                    <a:cubicBezTo>
                      <a:pt x="26" y="53"/>
                      <a:pt x="26" y="52"/>
                      <a:pt x="27" y="52"/>
                    </a:cubicBezTo>
                    <a:cubicBezTo>
                      <a:pt x="27" y="51"/>
                      <a:pt x="27" y="51"/>
                      <a:pt x="29" y="51"/>
                    </a:cubicBezTo>
                    <a:cubicBezTo>
                      <a:pt x="30" y="51"/>
                      <a:pt x="32" y="53"/>
                      <a:pt x="32" y="53"/>
                    </a:cubicBezTo>
                    <a:cubicBezTo>
                      <a:pt x="32" y="53"/>
                      <a:pt x="33" y="54"/>
                      <a:pt x="32" y="54"/>
                    </a:cubicBezTo>
                    <a:cubicBezTo>
                      <a:pt x="32" y="55"/>
                      <a:pt x="31" y="56"/>
                      <a:pt x="31" y="56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3" y="59"/>
                      <a:pt x="32" y="59"/>
                      <a:pt x="31" y="60"/>
                    </a:cubicBezTo>
                    <a:cubicBezTo>
                      <a:pt x="31" y="60"/>
                      <a:pt x="31" y="61"/>
                      <a:pt x="31" y="61"/>
                    </a:cubicBezTo>
                    <a:cubicBezTo>
                      <a:pt x="31" y="62"/>
                      <a:pt x="28" y="63"/>
                      <a:pt x="31" y="63"/>
                    </a:cubicBezTo>
                    <a:cubicBezTo>
                      <a:pt x="33" y="63"/>
                      <a:pt x="33" y="63"/>
                      <a:pt x="33" y="62"/>
                    </a:cubicBezTo>
                    <a:cubicBezTo>
                      <a:pt x="33" y="62"/>
                      <a:pt x="33" y="60"/>
                      <a:pt x="33" y="60"/>
                    </a:cubicBezTo>
                    <a:cubicBezTo>
                      <a:pt x="33" y="60"/>
                      <a:pt x="34" y="60"/>
                      <a:pt x="34" y="60"/>
                    </a:cubicBezTo>
                    <a:cubicBezTo>
                      <a:pt x="35" y="60"/>
                      <a:pt x="36" y="60"/>
                      <a:pt x="36" y="60"/>
                    </a:cubicBezTo>
                    <a:cubicBezTo>
                      <a:pt x="37" y="61"/>
                      <a:pt x="37" y="61"/>
                      <a:pt x="37" y="61"/>
                    </a:cubicBezTo>
                    <a:cubicBezTo>
                      <a:pt x="37" y="61"/>
                      <a:pt x="37" y="62"/>
                      <a:pt x="37" y="63"/>
                    </a:cubicBezTo>
                    <a:cubicBezTo>
                      <a:pt x="37" y="63"/>
                      <a:pt x="37" y="64"/>
                      <a:pt x="37" y="64"/>
                    </a:cubicBezTo>
                    <a:cubicBezTo>
                      <a:pt x="37" y="64"/>
                      <a:pt x="39" y="66"/>
                      <a:pt x="39" y="65"/>
                    </a:cubicBezTo>
                    <a:cubicBezTo>
                      <a:pt x="39" y="64"/>
                      <a:pt x="40" y="65"/>
                      <a:pt x="39" y="63"/>
                    </a:cubicBezTo>
                    <a:cubicBezTo>
                      <a:pt x="38" y="62"/>
                      <a:pt x="38" y="60"/>
                      <a:pt x="38" y="60"/>
                    </a:cubicBezTo>
                    <a:cubicBezTo>
                      <a:pt x="38" y="60"/>
                      <a:pt x="38" y="60"/>
                      <a:pt x="38" y="59"/>
                    </a:cubicBezTo>
                    <a:cubicBezTo>
                      <a:pt x="38" y="59"/>
                      <a:pt x="38" y="58"/>
                      <a:pt x="38" y="58"/>
                    </a:cubicBezTo>
                    <a:cubicBezTo>
                      <a:pt x="37" y="57"/>
                      <a:pt x="36" y="57"/>
                      <a:pt x="36" y="56"/>
                    </a:cubicBezTo>
                    <a:cubicBezTo>
                      <a:pt x="36" y="56"/>
                      <a:pt x="33" y="53"/>
                      <a:pt x="33" y="53"/>
                    </a:cubicBezTo>
                    <a:cubicBezTo>
                      <a:pt x="33" y="53"/>
                      <a:pt x="33" y="52"/>
                      <a:pt x="33" y="51"/>
                    </a:cubicBezTo>
                    <a:cubicBezTo>
                      <a:pt x="33" y="49"/>
                      <a:pt x="33" y="48"/>
                      <a:pt x="33" y="47"/>
                    </a:cubicBezTo>
                    <a:cubicBezTo>
                      <a:pt x="33" y="47"/>
                      <a:pt x="34" y="45"/>
                      <a:pt x="34" y="45"/>
                    </a:cubicBezTo>
                    <a:cubicBezTo>
                      <a:pt x="34" y="45"/>
                      <a:pt x="34" y="43"/>
                      <a:pt x="35" y="42"/>
                    </a:cubicBezTo>
                    <a:cubicBezTo>
                      <a:pt x="36" y="42"/>
                      <a:pt x="35" y="41"/>
                      <a:pt x="36" y="41"/>
                    </a:cubicBezTo>
                    <a:cubicBezTo>
                      <a:pt x="38" y="40"/>
                      <a:pt x="37" y="40"/>
                      <a:pt x="39" y="40"/>
                    </a:cubicBezTo>
                    <a:cubicBezTo>
                      <a:pt x="40" y="40"/>
                      <a:pt x="42" y="41"/>
                      <a:pt x="43" y="41"/>
                    </a:cubicBezTo>
                    <a:cubicBezTo>
                      <a:pt x="43" y="41"/>
                      <a:pt x="46" y="42"/>
                      <a:pt x="46" y="42"/>
                    </a:cubicBezTo>
                    <a:cubicBezTo>
                      <a:pt x="46" y="42"/>
                      <a:pt x="46" y="41"/>
                      <a:pt x="46" y="41"/>
                    </a:cubicBezTo>
                    <a:cubicBezTo>
                      <a:pt x="47" y="41"/>
                      <a:pt x="47" y="39"/>
                      <a:pt x="47" y="40"/>
                    </a:cubicBezTo>
                    <a:cubicBezTo>
                      <a:pt x="48" y="40"/>
                      <a:pt x="48" y="41"/>
                      <a:pt x="49" y="40"/>
                    </a:cubicBezTo>
                    <a:cubicBezTo>
                      <a:pt x="50" y="39"/>
                      <a:pt x="50" y="38"/>
                      <a:pt x="50" y="38"/>
                    </a:cubicBezTo>
                    <a:cubicBezTo>
                      <a:pt x="50" y="38"/>
                      <a:pt x="51" y="38"/>
                      <a:pt x="52" y="37"/>
                    </a:cubicBezTo>
                    <a:cubicBezTo>
                      <a:pt x="52" y="37"/>
                      <a:pt x="51" y="36"/>
                      <a:pt x="50" y="36"/>
                    </a:cubicBezTo>
                    <a:cubicBezTo>
                      <a:pt x="50" y="36"/>
                      <a:pt x="48" y="36"/>
                      <a:pt x="47" y="37"/>
                    </a:cubicBezTo>
                    <a:cubicBezTo>
                      <a:pt x="46" y="37"/>
                      <a:pt x="47" y="37"/>
                      <a:pt x="45" y="37"/>
                    </a:cubicBezTo>
                    <a:cubicBezTo>
                      <a:pt x="44" y="38"/>
                      <a:pt x="44" y="38"/>
                      <a:pt x="42" y="38"/>
                    </a:cubicBezTo>
                    <a:cubicBezTo>
                      <a:pt x="40" y="38"/>
                      <a:pt x="40" y="38"/>
                      <a:pt x="39" y="39"/>
                    </a:cubicBezTo>
                    <a:cubicBezTo>
                      <a:pt x="38" y="40"/>
                      <a:pt x="37" y="40"/>
                      <a:pt x="37" y="40"/>
                    </a:cubicBezTo>
                    <a:cubicBezTo>
                      <a:pt x="36" y="40"/>
                      <a:pt x="36" y="40"/>
                      <a:pt x="36" y="40"/>
                    </a:cubicBezTo>
                    <a:cubicBezTo>
                      <a:pt x="36" y="40"/>
                      <a:pt x="35" y="40"/>
                      <a:pt x="34" y="40"/>
                    </a:cubicBezTo>
                    <a:cubicBezTo>
                      <a:pt x="34" y="40"/>
                      <a:pt x="33" y="39"/>
                      <a:pt x="33" y="39"/>
                    </a:cubicBezTo>
                    <a:cubicBezTo>
                      <a:pt x="33" y="39"/>
                      <a:pt x="33" y="39"/>
                      <a:pt x="32" y="39"/>
                    </a:cubicBezTo>
                    <a:cubicBezTo>
                      <a:pt x="31" y="39"/>
                      <a:pt x="30" y="40"/>
                      <a:pt x="30" y="40"/>
                    </a:cubicBezTo>
                    <a:cubicBezTo>
                      <a:pt x="28" y="40"/>
                      <a:pt x="28" y="40"/>
                      <a:pt x="28" y="40"/>
                    </a:cubicBezTo>
                    <a:cubicBezTo>
                      <a:pt x="28" y="40"/>
                      <a:pt x="27" y="40"/>
                      <a:pt x="26" y="40"/>
                    </a:cubicBezTo>
                    <a:cubicBezTo>
                      <a:pt x="26" y="41"/>
                      <a:pt x="24" y="41"/>
                      <a:pt x="24" y="41"/>
                    </a:cubicBezTo>
                    <a:cubicBezTo>
                      <a:pt x="24" y="41"/>
                      <a:pt x="24" y="41"/>
                      <a:pt x="23" y="41"/>
                    </a:cubicBezTo>
                    <a:cubicBezTo>
                      <a:pt x="23" y="42"/>
                      <a:pt x="24" y="42"/>
                      <a:pt x="23" y="43"/>
                    </a:cubicBezTo>
                    <a:cubicBezTo>
                      <a:pt x="22" y="43"/>
                      <a:pt x="20" y="43"/>
                      <a:pt x="20" y="43"/>
                    </a:cubicBezTo>
                    <a:cubicBezTo>
                      <a:pt x="19" y="44"/>
                      <a:pt x="19" y="44"/>
                      <a:pt x="19" y="44"/>
                    </a:cubicBezTo>
                    <a:cubicBezTo>
                      <a:pt x="18" y="46"/>
                      <a:pt x="18" y="46"/>
                      <a:pt x="18" y="46"/>
                    </a:cubicBezTo>
                    <a:cubicBezTo>
                      <a:pt x="17" y="46"/>
                      <a:pt x="17" y="46"/>
                      <a:pt x="17" y="46"/>
                    </a:cubicBezTo>
                    <a:cubicBezTo>
                      <a:pt x="16" y="49"/>
                      <a:pt x="16" y="49"/>
                      <a:pt x="16" y="49"/>
                    </a:cubicBezTo>
                    <a:cubicBezTo>
                      <a:pt x="16" y="50"/>
                      <a:pt x="16" y="50"/>
                      <a:pt x="16" y="50"/>
                    </a:cubicBezTo>
                    <a:cubicBezTo>
                      <a:pt x="14" y="52"/>
                      <a:pt x="14" y="52"/>
                      <a:pt x="14" y="52"/>
                    </a:cubicBezTo>
                    <a:cubicBezTo>
                      <a:pt x="13" y="53"/>
                      <a:pt x="13" y="53"/>
                      <a:pt x="13" y="53"/>
                    </a:cubicBezTo>
                    <a:cubicBezTo>
                      <a:pt x="13" y="53"/>
                      <a:pt x="13" y="53"/>
                      <a:pt x="14" y="54"/>
                    </a:cubicBezTo>
                    <a:cubicBezTo>
                      <a:pt x="14" y="54"/>
                      <a:pt x="14" y="55"/>
                      <a:pt x="14" y="55"/>
                    </a:cubicBezTo>
                    <a:cubicBezTo>
                      <a:pt x="13" y="56"/>
                      <a:pt x="13" y="56"/>
                      <a:pt x="13" y="56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6" y="57"/>
                      <a:pt x="16" y="57"/>
                      <a:pt x="16" y="57"/>
                    </a:cubicBezTo>
                    <a:cubicBezTo>
                      <a:pt x="17" y="59"/>
                      <a:pt x="17" y="59"/>
                      <a:pt x="17" y="59"/>
                    </a:cubicBezTo>
                    <a:cubicBezTo>
                      <a:pt x="16" y="61"/>
                      <a:pt x="16" y="61"/>
                      <a:pt x="16" y="61"/>
                    </a:cubicBezTo>
                    <a:cubicBezTo>
                      <a:pt x="16" y="61"/>
                      <a:pt x="15" y="62"/>
                      <a:pt x="14" y="62"/>
                    </a:cubicBezTo>
                    <a:cubicBezTo>
                      <a:pt x="14" y="62"/>
                      <a:pt x="13" y="61"/>
                      <a:pt x="13" y="61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2" y="58"/>
                      <a:pt x="12" y="58"/>
                      <a:pt x="12" y="58"/>
                    </a:cubicBezTo>
                    <a:cubicBezTo>
                      <a:pt x="12" y="57"/>
                      <a:pt x="12" y="57"/>
                      <a:pt x="12" y="57"/>
                    </a:cubicBezTo>
                    <a:cubicBezTo>
                      <a:pt x="9" y="58"/>
                      <a:pt x="9" y="58"/>
                      <a:pt x="9" y="58"/>
                    </a:cubicBezTo>
                    <a:cubicBezTo>
                      <a:pt x="9" y="57"/>
                      <a:pt x="9" y="57"/>
                      <a:pt x="9" y="57"/>
                    </a:cubicBezTo>
                    <a:cubicBezTo>
                      <a:pt x="9" y="57"/>
                      <a:pt x="8" y="56"/>
                      <a:pt x="8" y="56"/>
                    </a:cubicBezTo>
                    <a:cubicBezTo>
                      <a:pt x="8" y="55"/>
                      <a:pt x="7" y="54"/>
                      <a:pt x="7" y="54"/>
                    </a:cubicBezTo>
                    <a:cubicBezTo>
                      <a:pt x="5" y="51"/>
                      <a:pt x="5" y="51"/>
                      <a:pt x="5" y="51"/>
                    </a:cubicBezTo>
                    <a:cubicBezTo>
                      <a:pt x="5" y="51"/>
                      <a:pt x="5" y="51"/>
                      <a:pt x="6" y="51"/>
                    </a:cubicBezTo>
                    <a:cubicBezTo>
                      <a:pt x="6" y="50"/>
                      <a:pt x="6" y="50"/>
                      <a:pt x="7" y="49"/>
                    </a:cubicBezTo>
                    <a:cubicBezTo>
                      <a:pt x="7" y="48"/>
                      <a:pt x="9" y="46"/>
                      <a:pt x="9" y="46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12" y="41"/>
                      <a:pt x="12" y="41"/>
                      <a:pt x="12" y="41"/>
                    </a:cubicBezTo>
                    <a:cubicBezTo>
                      <a:pt x="13" y="39"/>
                      <a:pt x="13" y="39"/>
                      <a:pt x="13" y="39"/>
                    </a:cubicBezTo>
                    <a:cubicBezTo>
                      <a:pt x="15" y="36"/>
                      <a:pt x="15" y="36"/>
                      <a:pt x="15" y="36"/>
                    </a:cubicBezTo>
                    <a:cubicBezTo>
                      <a:pt x="17" y="34"/>
                      <a:pt x="17" y="34"/>
                      <a:pt x="17" y="34"/>
                    </a:cubicBezTo>
                    <a:cubicBezTo>
                      <a:pt x="20" y="34"/>
                      <a:pt x="20" y="34"/>
                      <a:pt x="20" y="34"/>
                    </a:cubicBezTo>
                    <a:cubicBezTo>
                      <a:pt x="20" y="34"/>
                      <a:pt x="22" y="35"/>
                      <a:pt x="22" y="35"/>
                    </a:cubicBezTo>
                    <a:cubicBezTo>
                      <a:pt x="23" y="34"/>
                      <a:pt x="24" y="33"/>
                      <a:pt x="24" y="33"/>
                    </a:cubicBezTo>
                    <a:cubicBezTo>
                      <a:pt x="28" y="32"/>
                      <a:pt x="28" y="32"/>
                      <a:pt x="28" y="32"/>
                    </a:cubicBezTo>
                    <a:cubicBezTo>
                      <a:pt x="29" y="32"/>
                      <a:pt x="29" y="32"/>
                      <a:pt x="29" y="32"/>
                    </a:cubicBezTo>
                    <a:cubicBezTo>
                      <a:pt x="32" y="33"/>
                      <a:pt x="32" y="33"/>
                      <a:pt x="32" y="33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38" y="33"/>
                      <a:pt x="38" y="33"/>
                      <a:pt x="38" y="33"/>
                    </a:cubicBezTo>
                    <a:close/>
                    <a:moveTo>
                      <a:pt x="16" y="139"/>
                    </a:moveTo>
                    <a:cubicBezTo>
                      <a:pt x="16" y="139"/>
                      <a:pt x="16" y="139"/>
                      <a:pt x="16" y="139"/>
                    </a:cubicBezTo>
                    <a:cubicBezTo>
                      <a:pt x="16" y="139"/>
                      <a:pt x="14" y="138"/>
                      <a:pt x="14" y="138"/>
                    </a:cubicBezTo>
                    <a:cubicBezTo>
                      <a:pt x="14" y="139"/>
                      <a:pt x="13" y="140"/>
                      <a:pt x="13" y="140"/>
                    </a:cubicBezTo>
                    <a:cubicBezTo>
                      <a:pt x="12" y="143"/>
                      <a:pt x="12" y="143"/>
                      <a:pt x="12" y="143"/>
                    </a:cubicBezTo>
                    <a:cubicBezTo>
                      <a:pt x="11" y="144"/>
                      <a:pt x="11" y="144"/>
                      <a:pt x="11" y="144"/>
                    </a:cubicBezTo>
                    <a:cubicBezTo>
                      <a:pt x="11" y="146"/>
                      <a:pt x="11" y="146"/>
                      <a:pt x="11" y="146"/>
                    </a:cubicBezTo>
                    <a:cubicBezTo>
                      <a:pt x="8" y="147"/>
                      <a:pt x="8" y="147"/>
                      <a:pt x="8" y="147"/>
                    </a:cubicBezTo>
                    <a:cubicBezTo>
                      <a:pt x="8" y="147"/>
                      <a:pt x="8" y="148"/>
                      <a:pt x="9" y="148"/>
                    </a:cubicBezTo>
                    <a:cubicBezTo>
                      <a:pt x="10" y="148"/>
                      <a:pt x="11" y="148"/>
                      <a:pt x="11" y="148"/>
                    </a:cubicBezTo>
                    <a:cubicBezTo>
                      <a:pt x="11" y="147"/>
                      <a:pt x="12" y="146"/>
                      <a:pt x="12" y="146"/>
                    </a:cubicBezTo>
                    <a:cubicBezTo>
                      <a:pt x="12" y="146"/>
                      <a:pt x="13" y="145"/>
                      <a:pt x="13" y="145"/>
                    </a:cubicBezTo>
                    <a:cubicBezTo>
                      <a:pt x="14" y="145"/>
                      <a:pt x="16" y="145"/>
                      <a:pt x="16" y="144"/>
                    </a:cubicBezTo>
                    <a:cubicBezTo>
                      <a:pt x="16" y="143"/>
                      <a:pt x="16" y="142"/>
                      <a:pt x="16" y="142"/>
                    </a:cubicBezTo>
                    <a:cubicBezTo>
                      <a:pt x="16" y="141"/>
                      <a:pt x="16" y="141"/>
                      <a:pt x="16" y="141"/>
                    </a:cubicBezTo>
                    <a:cubicBezTo>
                      <a:pt x="16" y="139"/>
                      <a:pt x="16" y="139"/>
                      <a:pt x="16" y="139"/>
                    </a:cubicBezTo>
                    <a:close/>
                    <a:moveTo>
                      <a:pt x="68" y="112"/>
                    </a:moveTo>
                    <a:cubicBezTo>
                      <a:pt x="68" y="112"/>
                      <a:pt x="68" y="112"/>
                      <a:pt x="68" y="112"/>
                    </a:cubicBezTo>
                    <a:cubicBezTo>
                      <a:pt x="68" y="112"/>
                      <a:pt x="68" y="112"/>
                      <a:pt x="68" y="112"/>
                    </a:cubicBezTo>
                    <a:cubicBezTo>
                      <a:pt x="68" y="112"/>
                      <a:pt x="69" y="111"/>
                      <a:pt x="69" y="111"/>
                    </a:cubicBezTo>
                    <a:cubicBezTo>
                      <a:pt x="69" y="110"/>
                      <a:pt x="68" y="109"/>
                      <a:pt x="68" y="109"/>
                    </a:cubicBezTo>
                    <a:cubicBezTo>
                      <a:pt x="68" y="108"/>
                      <a:pt x="69" y="108"/>
                      <a:pt x="69" y="108"/>
                    </a:cubicBezTo>
                    <a:cubicBezTo>
                      <a:pt x="69" y="108"/>
                      <a:pt x="69" y="107"/>
                      <a:pt x="69" y="107"/>
                    </a:cubicBezTo>
                    <a:cubicBezTo>
                      <a:pt x="69" y="107"/>
                      <a:pt x="68" y="107"/>
                      <a:pt x="68" y="107"/>
                    </a:cubicBezTo>
                    <a:cubicBezTo>
                      <a:pt x="67" y="107"/>
                      <a:pt x="67" y="108"/>
                      <a:pt x="67" y="108"/>
                    </a:cubicBezTo>
                    <a:cubicBezTo>
                      <a:pt x="67" y="108"/>
                      <a:pt x="67" y="109"/>
                      <a:pt x="67" y="109"/>
                    </a:cubicBezTo>
                    <a:cubicBezTo>
                      <a:pt x="67" y="109"/>
                      <a:pt x="67" y="110"/>
                      <a:pt x="67" y="110"/>
                    </a:cubicBezTo>
                    <a:cubicBezTo>
                      <a:pt x="67" y="110"/>
                      <a:pt x="68" y="112"/>
                      <a:pt x="68" y="112"/>
                    </a:cubicBezTo>
                    <a:close/>
                    <a:moveTo>
                      <a:pt x="95" y="139"/>
                    </a:moveTo>
                    <a:cubicBezTo>
                      <a:pt x="95" y="139"/>
                      <a:pt x="95" y="139"/>
                      <a:pt x="95" y="139"/>
                    </a:cubicBezTo>
                    <a:cubicBezTo>
                      <a:pt x="96" y="138"/>
                      <a:pt x="96" y="138"/>
                      <a:pt x="96" y="138"/>
                    </a:cubicBezTo>
                    <a:cubicBezTo>
                      <a:pt x="97" y="139"/>
                      <a:pt x="97" y="139"/>
                      <a:pt x="97" y="139"/>
                    </a:cubicBezTo>
                    <a:cubicBezTo>
                      <a:pt x="97" y="139"/>
                      <a:pt x="96" y="140"/>
                      <a:pt x="96" y="140"/>
                    </a:cubicBezTo>
                    <a:cubicBezTo>
                      <a:pt x="96" y="140"/>
                      <a:pt x="95" y="139"/>
                      <a:pt x="95" y="139"/>
                    </a:cubicBezTo>
                    <a:cubicBezTo>
                      <a:pt x="95" y="139"/>
                      <a:pt x="95" y="139"/>
                      <a:pt x="95" y="139"/>
                    </a:cubicBezTo>
                    <a:close/>
                    <a:moveTo>
                      <a:pt x="106" y="152"/>
                    </a:moveTo>
                    <a:cubicBezTo>
                      <a:pt x="106" y="152"/>
                      <a:pt x="106" y="152"/>
                      <a:pt x="106" y="152"/>
                    </a:cubicBezTo>
                    <a:cubicBezTo>
                      <a:pt x="107" y="152"/>
                      <a:pt x="107" y="152"/>
                      <a:pt x="107" y="152"/>
                    </a:cubicBezTo>
                    <a:cubicBezTo>
                      <a:pt x="107" y="153"/>
                      <a:pt x="107" y="153"/>
                      <a:pt x="107" y="153"/>
                    </a:cubicBezTo>
                    <a:cubicBezTo>
                      <a:pt x="106" y="154"/>
                      <a:pt x="106" y="154"/>
                      <a:pt x="106" y="154"/>
                    </a:cubicBezTo>
                    <a:cubicBezTo>
                      <a:pt x="106" y="153"/>
                      <a:pt x="106" y="153"/>
                      <a:pt x="106" y="153"/>
                    </a:cubicBezTo>
                    <a:cubicBezTo>
                      <a:pt x="106" y="152"/>
                      <a:pt x="106" y="152"/>
                      <a:pt x="106" y="152"/>
                    </a:cubicBezTo>
                    <a:close/>
                    <a:moveTo>
                      <a:pt x="103" y="150"/>
                    </a:moveTo>
                    <a:cubicBezTo>
                      <a:pt x="103" y="150"/>
                      <a:pt x="103" y="150"/>
                      <a:pt x="103" y="150"/>
                    </a:cubicBezTo>
                    <a:cubicBezTo>
                      <a:pt x="102" y="149"/>
                      <a:pt x="102" y="149"/>
                      <a:pt x="102" y="149"/>
                    </a:cubicBezTo>
                    <a:cubicBezTo>
                      <a:pt x="104" y="149"/>
                      <a:pt x="104" y="149"/>
                      <a:pt x="104" y="149"/>
                    </a:cubicBezTo>
                    <a:cubicBezTo>
                      <a:pt x="104" y="149"/>
                      <a:pt x="104" y="149"/>
                      <a:pt x="105" y="149"/>
                    </a:cubicBezTo>
                    <a:cubicBezTo>
                      <a:pt x="105" y="149"/>
                      <a:pt x="106" y="150"/>
                      <a:pt x="106" y="150"/>
                    </a:cubicBezTo>
                    <a:cubicBezTo>
                      <a:pt x="106" y="150"/>
                      <a:pt x="106" y="150"/>
                      <a:pt x="106" y="150"/>
                    </a:cubicBezTo>
                    <a:cubicBezTo>
                      <a:pt x="105" y="150"/>
                      <a:pt x="105" y="151"/>
                      <a:pt x="105" y="151"/>
                    </a:cubicBezTo>
                    <a:cubicBezTo>
                      <a:pt x="104" y="151"/>
                      <a:pt x="103" y="150"/>
                      <a:pt x="103" y="150"/>
                    </a:cubicBezTo>
                    <a:close/>
                    <a:moveTo>
                      <a:pt x="108" y="150"/>
                    </a:moveTo>
                    <a:cubicBezTo>
                      <a:pt x="108" y="150"/>
                      <a:pt x="108" y="150"/>
                      <a:pt x="108" y="150"/>
                    </a:cubicBezTo>
                    <a:cubicBezTo>
                      <a:pt x="107" y="148"/>
                      <a:pt x="107" y="148"/>
                      <a:pt x="107" y="148"/>
                    </a:cubicBezTo>
                    <a:cubicBezTo>
                      <a:pt x="108" y="147"/>
                      <a:pt x="108" y="147"/>
                      <a:pt x="108" y="147"/>
                    </a:cubicBezTo>
                    <a:cubicBezTo>
                      <a:pt x="108" y="147"/>
                      <a:pt x="109" y="148"/>
                      <a:pt x="109" y="148"/>
                    </a:cubicBezTo>
                    <a:cubicBezTo>
                      <a:pt x="109" y="148"/>
                      <a:pt x="108" y="149"/>
                      <a:pt x="108" y="149"/>
                    </a:cubicBezTo>
                    <a:cubicBezTo>
                      <a:pt x="108" y="150"/>
                      <a:pt x="108" y="150"/>
                      <a:pt x="108" y="150"/>
                    </a:cubicBezTo>
                    <a:close/>
                    <a:moveTo>
                      <a:pt x="129" y="144"/>
                    </a:moveTo>
                    <a:cubicBezTo>
                      <a:pt x="129" y="144"/>
                      <a:pt x="129" y="144"/>
                      <a:pt x="129" y="144"/>
                    </a:cubicBezTo>
                    <a:cubicBezTo>
                      <a:pt x="128" y="143"/>
                      <a:pt x="128" y="143"/>
                      <a:pt x="128" y="143"/>
                    </a:cubicBezTo>
                    <a:cubicBezTo>
                      <a:pt x="128" y="143"/>
                      <a:pt x="129" y="142"/>
                      <a:pt x="129" y="142"/>
                    </a:cubicBezTo>
                    <a:cubicBezTo>
                      <a:pt x="130" y="142"/>
                      <a:pt x="131" y="142"/>
                      <a:pt x="131" y="142"/>
                    </a:cubicBezTo>
                    <a:cubicBezTo>
                      <a:pt x="129" y="144"/>
                      <a:pt x="129" y="144"/>
                      <a:pt x="129" y="144"/>
                    </a:cubicBezTo>
                    <a:close/>
                    <a:moveTo>
                      <a:pt x="127" y="145"/>
                    </a:move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7" y="142"/>
                      <a:pt x="127" y="142"/>
                      <a:pt x="127" y="142"/>
                    </a:cubicBezTo>
                    <a:cubicBezTo>
                      <a:pt x="128" y="141"/>
                      <a:pt x="128" y="141"/>
                      <a:pt x="128" y="141"/>
                    </a:cubicBezTo>
                    <a:cubicBezTo>
                      <a:pt x="127" y="140"/>
                      <a:pt x="127" y="140"/>
                      <a:pt x="127" y="140"/>
                    </a:cubicBezTo>
                    <a:cubicBezTo>
                      <a:pt x="126" y="140"/>
                      <a:pt x="126" y="140"/>
                      <a:pt x="126" y="140"/>
                    </a:cubicBezTo>
                    <a:cubicBezTo>
                      <a:pt x="126" y="140"/>
                      <a:pt x="125" y="138"/>
                      <a:pt x="125" y="138"/>
                    </a:cubicBezTo>
                    <a:cubicBezTo>
                      <a:pt x="125" y="138"/>
                      <a:pt x="124" y="138"/>
                      <a:pt x="124" y="138"/>
                    </a:cubicBezTo>
                    <a:cubicBezTo>
                      <a:pt x="124" y="138"/>
                      <a:pt x="123" y="138"/>
                      <a:pt x="123" y="138"/>
                    </a:cubicBezTo>
                    <a:cubicBezTo>
                      <a:pt x="123" y="138"/>
                      <a:pt x="124" y="137"/>
                      <a:pt x="124" y="137"/>
                    </a:cubicBezTo>
                    <a:cubicBezTo>
                      <a:pt x="124" y="137"/>
                      <a:pt x="124" y="137"/>
                      <a:pt x="125" y="137"/>
                    </a:cubicBezTo>
                    <a:cubicBezTo>
                      <a:pt x="126" y="136"/>
                      <a:pt x="126" y="136"/>
                      <a:pt x="126" y="136"/>
                    </a:cubicBezTo>
                    <a:cubicBezTo>
                      <a:pt x="126" y="136"/>
                      <a:pt x="128" y="133"/>
                      <a:pt x="130" y="133"/>
                    </a:cubicBezTo>
                    <a:cubicBezTo>
                      <a:pt x="131" y="133"/>
                      <a:pt x="133" y="133"/>
                      <a:pt x="133" y="133"/>
                    </a:cubicBezTo>
                    <a:cubicBezTo>
                      <a:pt x="135" y="131"/>
                      <a:pt x="135" y="131"/>
                      <a:pt x="135" y="131"/>
                    </a:cubicBezTo>
                    <a:cubicBezTo>
                      <a:pt x="135" y="131"/>
                      <a:pt x="135" y="130"/>
                      <a:pt x="135" y="130"/>
                    </a:cubicBezTo>
                    <a:cubicBezTo>
                      <a:pt x="136" y="130"/>
                      <a:pt x="135" y="128"/>
                      <a:pt x="135" y="128"/>
                    </a:cubicBezTo>
                    <a:cubicBezTo>
                      <a:pt x="135" y="126"/>
                      <a:pt x="135" y="126"/>
                      <a:pt x="135" y="126"/>
                    </a:cubicBezTo>
                    <a:cubicBezTo>
                      <a:pt x="135" y="126"/>
                      <a:pt x="132" y="124"/>
                      <a:pt x="132" y="124"/>
                    </a:cubicBezTo>
                    <a:cubicBezTo>
                      <a:pt x="132" y="124"/>
                      <a:pt x="128" y="122"/>
                      <a:pt x="128" y="122"/>
                    </a:cubicBezTo>
                    <a:cubicBezTo>
                      <a:pt x="128" y="122"/>
                      <a:pt x="128" y="120"/>
                      <a:pt x="127" y="120"/>
                    </a:cubicBezTo>
                    <a:cubicBezTo>
                      <a:pt x="127" y="120"/>
                      <a:pt x="128" y="118"/>
                      <a:pt x="128" y="118"/>
                    </a:cubicBezTo>
                    <a:cubicBezTo>
                      <a:pt x="128" y="118"/>
                      <a:pt x="130" y="115"/>
                      <a:pt x="132" y="114"/>
                    </a:cubicBezTo>
                    <a:cubicBezTo>
                      <a:pt x="133" y="113"/>
                      <a:pt x="134" y="113"/>
                      <a:pt x="134" y="113"/>
                    </a:cubicBezTo>
                    <a:cubicBezTo>
                      <a:pt x="135" y="113"/>
                      <a:pt x="136" y="114"/>
                      <a:pt x="137" y="115"/>
                    </a:cubicBezTo>
                    <a:cubicBezTo>
                      <a:pt x="137" y="115"/>
                      <a:pt x="138" y="115"/>
                      <a:pt x="139" y="115"/>
                    </a:cubicBezTo>
                    <a:cubicBezTo>
                      <a:pt x="140" y="115"/>
                      <a:pt x="141" y="115"/>
                      <a:pt x="141" y="115"/>
                    </a:cubicBezTo>
                    <a:cubicBezTo>
                      <a:pt x="141" y="115"/>
                      <a:pt x="141" y="113"/>
                      <a:pt x="141" y="112"/>
                    </a:cubicBezTo>
                    <a:cubicBezTo>
                      <a:pt x="141" y="111"/>
                      <a:pt x="141" y="112"/>
                      <a:pt x="140" y="111"/>
                    </a:cubicBezTo>
                    <a:cubicBezTo>
                      <a:pt x="140" y="111"/>
                      <a:pt x="139" y="110"/>
                      <a:pt x="139" y="110"/>
                    </a:cubicBezTo>
                    <a:cubicBezTo>
                      <a:pt x="139" y="110"/>
                      <a:pt x="139" y="109"/>
                      <a:pt x="139" y="109"/>
                    </a:cubicBezTo>
                    <a:cubicBezTo>
                      <a:pt x="139" y="109"/>
                      <a:pt x="139" y="108"/>
                      <a:pt x="139" y="107"/>
                    </a:cubicBezTo>
                    <a:cubicBezTo>
                      <a:pt x="139" y="107"/>
                      <a:pt x="139" y="104"/>
                      <a:pt x="139" y="104"/>
                    </a:cubicBezTo>
                    <a:cubicBezTo>
                      <a:pt x="139" y="103"/>
                      <a:pt x="138" y="101"/>
                      <a:pt x="138" y="101"/>
                    </a:cubicBezTo>
                    <a:cubicBezTo>
                      <a:pt x="138" y="100"/>
                      <a:pt x="137" y="99"/>
                      <a:pt x="137" y="99"/>
                    </a:cubicBezTo>
                    <a:cubicBezTo>
                      <a:pt x="136" y="97"/>
                      <a:pt x="136" y="97"/>
                      <a:pt x="136" y="97"/>
                    </a:cubicBezTo>
                    <a:cubicBezTo>
                      <a:pt x="136" y="97"/>
                      <a:pt x="136" y="97"/>
                      <a:pt x="136" y="96"/>
                    </a:cubicBezTo>
                    <a:cubicBezTo>
                      <a:pt x="136" y="94"/>
                      <a:pt x="137" y="92"/>
                      <a:pt x="137" y="92"/>
                    </a:cubicBezTo>
                    <a:cubicBezTo>
                      <a:pt x="138" y="91"/>
                      <a:pt x="138" y="89"/>
                      <a:pt x="138" y="89"/>
                    </a:cubicBezTo>
                    <a:cubicBezTo>
                      <a:pt x="137" y="88"/>
                      <a:pt x="137" y="88"/>
                      <a:pt x="137" y="88"/>
                    </a:cubicBezTo>
                    <a:cubicBezTo>
                      <a:pt x="137" y="88"/>
                      <a:pt x="133" y="87"/>
                      <a:pt x="133" y="87"/>
                    </a:cubicBezTo>
                    <a:cubicBezTo>
                      <a:pt x="133" y="87"/>
                      <a:pt x="132" y="86"/>
                      <a:pt x="132" y="86"/>
                    </a:cubicBezTo>
                    <a:cubicBezTo>
                      <a:pt x="132" y="85"/>
                      <a:pt x="131" y="85"/>
                      <a:pt x="131" y="85"/>
                    </a:cubicBezTo>
                    <a:cubicBezTo>
                      <a:pt x="131" y="85"/>
                      <a:pt x="127" y="86"/>
                      <a:pt x="127" y="86"/>
                    </a:cubicBezTo>
                    <a:cubicBezTo>
                      <a:pt x="127" y="86"/>
                      <a:pt x="125" y="87"/>
                      <a:pt x="124" y="88"/>
                    </a:cubicBezTo>
                    <a:cubicBezTo>
                      <a:pt x="122" y="88"/>
                      <a:pt x="122" y="88"/>
                      <a:pt x="121" y="89"/>
                    </a:cubicBezTo>
                    <a:cubicBezTo>
                      <a:pt x="119" y="90"/>
                      <a:pt x="119" y="91"/>
                      <a:pt x="118" y="92"/>
                    </a:cubicBezTo>
                    <a:cubicBezTo>
                      <a:pt x="117" y="92"/>
                      <a:pt x="116" y="94"/>
                      <a:pt x="116" y="94"/>
                    </a:cubicBezTo>
                    <a:cubicBezTo>
                      <a:pt x="115" y="95"/>
                      <a:pt x="115" y="95"/>
                      <a:pt x="116" y="96"/>
                    </a:cubicBezTo>
                    <a:cubicBezTo>
                      <a:pt x="116" y="97"/>
                      <a:pt x="117" y="96"/>
                      <a:pt x="117" y="96"/>
                    </a:cubicBezTo>
                    <a:cubicBezTo>
                      <a:pt x="117" y="96"/>
                      <a:pt x="118" y="96"/>
                      <a:pt x="119" y="96"/>
                    </a:cubicBezTo>
                    <a:cubicBezTo>
                      <a:pt x="120" y="96"/>
                      <a:pt x="120" y="97"/>
                      <a:pt x="119" y="97"/>
                    </a:cubicBezTo>
                    <a:cubicBezTo>
                      <a:pt x="119" y="97"/>
                      <a:pt x="119" y="98"/>
                      <a:pt x="119" y="98"/>
                    </a:cubicBezTo>
                    <a:cubicBezTo>
                      <a:pt x="119" y="98"/>
                      <a:pt x="119" y="98"/>
                      <a:pt x="118" y="99"/>
                    </a:cubicBezTo>
                    <a:cubicBezTo>
                      <a:pt x="118" y="99"/>
                      <a:pt x="118" y="100"/>
                      <a:pt x="118" y="101"/>
                    </a:cubicBezTo>
                    <a:cubicBezTo>
                      <a:pt x="118" y="102"/>
                      <a:pt x="117" y="102"/>
                      <a:pt x="117" y="102"/>
                    </a:cubicBezTo>
                    <a:cubicBezTo>
                      <a:pt x="116" y="103"/>
                      <a:pt x="116" y="103"/>
                      <a:pt x="115" y="104"/>
                    </a:cubicBezTo>
                    <a:cubicBezTo>
                      <a:pt x="114" y="104"/>
                      <a:pt x="114" y="105"/>
                      <a:pt x="114" y="105"/>
                    </a:cubicBezTo>
                    <a:cubicBezTo>
                      <a:pt x="114" y="106"/>
                      <a:pt x="114" y="106"/>
                      <a:pt x="115" y="107"/>
                    </a:cubicBezTo>
                    <a:cubicBezTo>
                      <a:pt x="115" y="108"/>
                      <a:pt x="115" y="108"/>
                      <a:pt x="115" y="108"/>
                    </a:cubicBezTo>
                    <a:cubicBezTo>
                      <a:pt x="115" y="109"/>
                      <a:pt x="114" y="110"/>
                      <a:pt x="114" y="109"/>
                    </a:cubicBezTo>
                    <a:cubicBezTo>
                      <a:pt x="114" y="109"/>
                      <a:pt x="114" y="108"/>
                      <a:pt x="114" y="108"/>
                    </a:cubicBezTo>
                    <a:cubicBezTo>
                      <a:pt x="111" y="108"/>
                      <a:pt x="111" y="108"/>
                      <a:pt x="111" y="108"/>
                    </a:cubicBezTo>
                    <a:cubicBezTo>
                      <a:pt x="111" y="108"/>
                      <a:pt x="111" y="108"/>
                      <a:pt x="110" y="108"/>
                    </a:cubicBezTo>
                    <a:cubicBezTo>
                      <a:pt x="110" y="108"/>
                      <a:pt x="112" y="106"/>
                      <a:pt x="112" y="106"/>
                    </a:cubicBezTo>
                    <a:cubicBezTo>
                      <a:pt x="113" y="105"/>
                      <a:pt x="113" y="105"/>
                      <a:pt x="113" y="105"/>
                    </a:cubicBezTo>
                    <a:cubicBezTo>
                      <a:pt x="113" y="104"/>
                      <a:pt x="113" y="104"/>
                      <a:pt x="113" y="104"/>
                    </a:cubicBezTo>
                    <a:cubicBezTo>
                      <a:pt x="110" y="104"/>
                      <a:pt x="110" y="104"/>
                      <a:pt x="110" y="104"/>
                    </a:cubicBezTo>
                    <a:cubicBezTo>
                      <a:pt x="109" y="104"/>
                      <a:pt x="109" y="104"/>
                      <a:pt x="109" y="104"/>
                    </a:cubicBezTo>
                    <a:cubicBezTo>
                      <a:pt x="110" y="103"/>
                      <a:pt x="110" y="103"/>
                      <a:pt x="110" y="103"/>
                    </a:cubicBezTo>
                    <a:cubicBezTo>
                      <a:pt x="110" y="101"/>
                      <a:pt x="110" y="101"/>
                      <a:pt x="110" y="101"/>
                    </a:cubicBezTo>
                    <a:cubicBezTo>
                      <a:pt x="111" y="99"/>
                      <a:pt x="111" y="99"/>
                      <a:pt x="111" y="99"/>
                    </a:cubicBezTo>
                    <a:cubicBezTo>
                      <a:pt x="111" y="99"/>
                      <a:pt x="111" y="97"/>
                      <a:pt x="112" y="97"/>
                    </a:cubicBezTo>
                    <a:cubicBezTo>
                      <a:pt x="112" y="97"/>
                      <a:pt x="113" y="96"/>
                      <a:pt x="113" y="95"/>
                    </a:cubicBezTo>
                    <a:cubicBezTo>
                      <a:pt x="114" y="95"/>
                      <a:pt x="113" y="94"/>
                      <a:pt x="113" y="94"/>
                    </a:cubicBezTo>
                    <a:cubicBezTo>
                      <a:pt x="111" y="94"/>
                      <a:pt x="111" y="94"/>
                      <a:pt x="111" y="94"/>
                    </a:cubicBezTo>
                    <a:cubicBezTo>
                      <a:pt x="109" y="95"/>
                      <a:pt x="109" y="95"/>
                      <a:pt x="109" y="95"/>
                    </a:cubicBezTo>
                    <a:cubicBezTo>
                      <a:pt x="109" y="95"/>
                      <a:pt x="106" y="96"/>
                      <a:pt x="105" y="96"/>
                    </a:cubicBezTo>
                    <a:cubicBezTo>
                      <a:pt x="104" y="96"/>
                      <a:pt x="105" y="96"/>
                      <a:pt x="104" y="96"/>
                    </a:cubicBezTo>
                    <a:cubicBezTo>
                      <a:pt x="104" y="95"/>
                      <a:pt x="103" y="95"/>
                      <a:pt x="103" y="95"/>
                    </a:cubicBezTo>
                    <a:cubicBezTo>
                      <a:pt x="103" y="95"/>
                      <a:pt x="101" y="95"/>
                      <a:pt x="101" y="95"/>
                    </a:cubicBezTo>
                    <a:cubicBezTo>
                      <a:pt x="100" y="95"/>
                      <a:pt x="100" y="96"/>
                      <a:pt x="100" y="96"/>
                    </a:cubicBezTo>
                    <a:cubicBezTo>
                      <a:pt x="100" y="96"/>
                      <a:pt x="103" y="97"/>
                      <a:pt x="104" y="98"/>
                    </a:cubicBezTo>
                    <a:cubicBezTo>
                      <a:pt x="104" y="98"/>
                      <a:pt x="105" y="98"/>
                      <a:pt x="105" y="98"/>
                    </a:cubicBezTo>
                    <a:cubicBezTo>
                      <a:pt x="105" y="99"/>
                      <a:pt x="105" y="99"/>
                      <a:pt x="105" y="99"/>
                    </a:cubicBezTo>
                    <a:cubicBezTo>
                      <a:pt x="105" y="99"/>
                      <a:pt x="104" y="101"/>
                      <a:pt x="103" y="101"/>
                    </a:cubicBezTo>
                    <a:cubicBezTo>
                      <a:pt x="103" y="102"/>
                      <a:pt x="102" y="102"/>
                      <a:pt x="102" y="102"/>
                    </a:cubicBezTo>
                    <a:cubicBezTo>
                      <a:pt x="100" y="103"/>
                      <a:pt x="100" y="103"/>
                      <a:pt x="100" y="103"/>
                    </a:cubicBezTo>
                    <a:cubicBezTo>
                      <a:pt x="100" y="103"/>
                      <a:pt x="101" y="105"/>
                      <a:pt x="101" y="105"/>
                    </a:cubicBezTo>
                    <a:cubicBezTo>
                      <a:pt x="101" y="105"/>
                      <a:pt x="101" y="107"/>
                      <a:pt x="101" y="107"/>
                    </a:cubicBezTo>
                    <a:cubicBezTo>
                      <a:pt x="99" y="106"/>
                      <a:pt x="99" y="106"/>
                      <a:pt x="99" y="106"/>
                    </a:cubicBezTo>
                    <a:cubicBezTo>
                      <a:pt x="96" y="108"/>
                      <a:pt x="96" y="108"/>
                      <a:pt x="96" y="108"/>
                    </a:cubicBezTo>
                    <a:cubicBezTo>
                      <a:pt x="96" y="108"/>
                      <a:pt x="95" y="108"/>
                      <a:pt x="95" y="108"/>
                    </a:cubicBezTo>
                    <a:cubicBezTo>
                      <a:pt x="94" y="108"/>
                      <a:pt x="94" y="107"/>
                      <a:pt x="94" y="107"/>
                    </a:cubicBezTo>
                    <a:cubicBezTo>
                      <a:pt x="93" y="109"/>
                      <a:pt x="93" y="109"/>
                      <a:pt x="93" y="109"/>
                    </a:cubicBezTo>
                    <a:cubicBezTo>
                      <a:pt x="93" y="109"/>
                      <a:pt x="89" y="108"/>
                      <a:pt x="88" y="108"/>
                    </a:cubicBezTo>
                    <a:cubicBezTo>
                      <a:pt x="88" y="108"/>
                      <a:pt x="88" y="110"/>
                      <a:pt x="88" y="110"/>
                    </a:cubicBezTo>
                    <a:cubicBezTo>
                      <a:pt x="90" y="111"/>
                      <a:pt x="90" y="111"/>
                      <a:pt x="90" y="111"/>
                    </a:cubicBezTo>
                    <a:cubicBezTo>
                      <a:pt x="88" y="112"/>
                      <a:pt x="88" y="112"/>
                      <a:pt x="88" y="112"/>
                    </a:cubicBezTo>
                    <a:cubicBezTo>
                      <a:pt x="92" y="114"/>
                      <a:pt x="92" y="114"/>
                      <a:pt x="92" y="114"/>
                    </a:cubicBezTo>
                    <a:cubicBezTo>
                      <a:pt x="93" y="115"/>
                      <a:pt x="93" y="115"/>
                      <a:pt x="93" y="115"/>
                    </a:cubicBezTo>
                    <a:cubicBezTo>
                      <a:pt x="94" y="118"/>
                      <a:pt x="94" y="118"/>
                      <a:pt x="94" y="118"/>
                    </a:cubicBezTo>
                    <a:cubicBezTo>
                      <a:pt x="93" y="119"/>
                      <a:pt x="93" y="119"/>
                      <a:pt x="93" y="119"/>
                    </a:cubicBezTo>
                    <a:cubicBezTo>
                      <a:pt x="95" y="121"/>
                      <a:pt x="95" y="121"/>
                      <a:pt x="95" y="121"/>
                    </a:cubicBezTo>
                    <a:cubicBezTo>
                      <a:pt x="95" y="121"/>
                      <a:pt x="95" y="122"/>
                      <a:pt x="96" y="123"/>
                    </a:cubicBezTo>
                    <a:cubicBezTo>
                      <a:pt x="96" y="123"/>
                      <a:pt x="96" y="125"/>
                      <a:pt x="96" y="125"/>
                    </a:cubicBezTo>
                    <a:cubicBezTo>
                      <a:pt x="96" y="127"/>
                      <a:pt x="96" y="127"/>
                      <a:pt x="96" y="127"/>
                    </a:cubicBezTo>
                    <a:cubicBezTo>
                      <a:pt x="96" y="128"/>
                      <a:pt x="96" y="128"/>
                      <a:pt x="96" y="128"/>
                    </a:cubicBezTo>
                    <a:cubicBezTo>
                      <a:pt x="96" y="128"/>
                      <a:pt x="94" y="129"/>
                      <a:pt x="94" y="130"/>
                    </a:cubicBezTo>
                    <a:cubicBezTo>
                      <a:pt x="94" y="130"/>
                      <a:pt x="95" y="130"/>
                      <a:pt x="95" y="130"/>
                    </a:cubicBezTo>
                    <a:cubicBezTo>
                      <a:pt x="97" y="132"/>
                      <a:pt x="97" y="132"/>
                      <a:pt x="97" y="132"/>
                    </a:cubicBezTo>
                    <a:cubicBezTo>
                      <a:pt x="98" y="134"/>
                      <a:pt x="98" y="134"/>
                      <a:pt x="98" y="134"/>
                    </a:cubicBezTo>
                    <a:cubicBezTo>
                      <a:pt x="98" y="134"/>
                      <a:pt x="97" y="135"/>
                      <a:pt x="97" y="136"/>
                    </a:cubicBezTo>
                    <a:cubicBezTo>
                      <a:pt x="97" y="136"/>
                      <a:pt x="99" y="137"/>
                      <a:pt x="99" y="137"/>
                    </a:cubicBezTo>
                    <a:cubicBezTo>
                      <a:pt x="103" y="137"/>
                      <a:pt x="103" y="137"/>
                      <a:pt x="103" y="137"/>
                    </a:cubicBezTo>
                    <a:cubicBezTo>
                      <a:pt x="105" y="137"/>
                      <a:pt x="105" y="137"/>
                      <a:pt x="105" y="137"/>
                    </a:cubicBezTo>
                    <a:cubicBezTo>
                      <a:pt x="105" y="137"/>
                      <a:pt x="108" y="137"/>
                      <a:pt x="109" y="137"/>
                    </a:cubicBezTo>
                    <a:cubicBezTo>
                      <a:pt x="109" y="137"/>
                      <a:pt x="112" y="136"/>
                      <a:pt x="112" y="136"/>
                    </a:cubicBezTo>
                    <a:cubicBezTo>
                      <a:pt x="112" y="136"/>
                      <a:pt x="114" y="138"/>
                      <a:pt x="115" y="138"/>
                    </a:cubicBezTo>
                    <a:cubicBezTo>
                      <a:pt x="116" y="139"/>
                      <a:pt x="115" y="140"/>
                      <a:pt x="115" y="140"/>
                    </a:cubicBezTo>
                    <a:cubicBezTo>
                      <a:pt x="115" y="141"/>
                      <a:pt x="114" y="141"/>
                      <a:pt x="114" y="141"/>
                    </a:cubicBezTo>
                    <a:cubicBezTo>
                      <a:pt x="114" y="141"/>
                      <a:pt x="115" y="144"/>
                      <a:pt x="115" y="144"/>
                    </a:cubicBezTo>
                    <a:cubicBezTo>
                      <a:pt x="116" y="145"/>
                      <a:pt x="116" y="144"/>
                      <a:pt x="116" y="144"/>
                    </a:cubicBezTo>
                    <a:cubicBezTo>
                      <a:pt x="116" y="144"/>
                      <a:pt x="117" y="145"/>
                      <a:pt x="118" y="146"/>
                    </a:cubicBezTo>
                    <a:cubicBezTo>
                      <a:pt x="118" y="147"/>
                      <a:pt x="119" y="147"/>
                      <a:pt x="119" y="147"/>
                    </a:cubicBezTo>
                    <a:cubicBezTo>
                      <a:pt x="120" y="147"/>
                      <a:pt x="120" y="147"/>
                      <a:pt x="120" y="147"/>
                    </a:cubicBezTo>
                    <a:cubicBezTo>
                      <a:pt x="120" y="147"/>
                      <a:pt x="121" y="147"/>
                      <a:pt x="121" y="148"/>
                    </a:cubicBezTo>
                    <a:cubicBezTo>
                      <a:pt x="122" y="148"/>
                      <a:pt x="123" y="148"/>
                      <a:pt x="124" y="148"/>
                    </a:cubicBezTo>
                    <a:cubicBezTo>
                      <a:pt x="124" y="148"/>
                      <a:pt x="125" y="148"/>
                      <a:pt x="125" y="147"/>
                    </a:cubicBezTo>
                    <a:cubicBezTo>
                      <a:pt x="125" y="147"/>
                      <a:pt x="126" y="147"/>
                      <a:pt x="127" y="147"/>
                    </a:cubicBezTo>
                    <a:cubicBezTo>
                      <a:pt x="127" y="146"/>
                      <a:pt x="127" y="145"/>
                      <a:pt x="127" y="145"/>
                    </a:cubicBezTo>
                    <a:cubicBezTo>
                      <a:pt x="127" y="145"/>
                      <a:pt x="127" y="145"/>
                      <a:pt x="127" y="145"/>
                    </a:cubicBezTo>
                    <a:close/>
                    <a:moveTo>
                      <a:pt x="127" y="150"/>
                    </a:moveTo>
                    <a:cubicBezTo>
                      <a:pt x="127" y="150"/>
                      <a:pt x="127" y="150"/>
                      <a:pt x="127" y="150"/>
                    </a:cubicBezTo>
                    <a:cubicBezTo>
                      <a:pt x="126" y="151"/>
                      <a:pt x="126" y="151"/>
                      <a:pt x="126" y="151"/>
                    </a:cubicBezTo>
                    <a:cubicBezTo>
                      <a:pt x="127" y="151"/>
                      <a:pt x="127" y="151"/>
                      <a:pt x="127" y="151"/>
                    </a:cubicBezTo>
                    <a:cubicBezTo>
                      <a:pt x="127" y="151"/>
                      <a:pt x="129" y="152"/>
                      <a:pt x="129" y="152"/>
                    </a:cubicBezTo>
                    <a:cubicBezTo>
                      <a:pt x="130" y="152"/>
                      <a:pt x="130" y="152"/>
                      <a:pt x="130" y="152"/>
                    </a:cubicBezTo>
                    <a:cubicBezTo>
                      <a:pt x="131" y="151"/>
                      <a:pt x="131" y="151"/>
                      <a:pt x="131" y="151"/>
                    </a:cubicBezTo>
                    <a:cubicBezTo>
                      <a:pt x="132" y="149"/>
                      <a:pt x="132" y="149"/>
                      <a:pt x="132" y="149"/>
                    </a:cubicBezTo>
                    <a:cubicBezTo>
                      <a:pt x="135" y="148"/>
                      <a:pt x="135" y="148"/>
                      <a:pt x="135" y="148"/>
                    </a:cubicBezTo>
                    <a:cubicBezTo>
                      <a:pt x="135" y="148"/>
                      <a:pt x="138" y="148"/>
                      <a:pt x="138" y="148"/>
                    </a:cubicBezTo>
                    <a:cubicBezTo>
                      <a:pt x="138" y="148"/>
                      <a:pt x="139" y="147"/>
                      <a:pt x="139" y="147"/>
                    </a:cubicBezTo>
                    <a:cubicBezTo>
                      <a:pt x="139" y="146"/>
                      <a:pt x="139" y="146"/>
                      <a:pt x="139" y="146"/>
                    </a:cubicBezTo>
                    <a:cubicBezTo>
                      <a:pt x="137" y="144"/>
                      <a:pt x="137" y="144"/>
                      <a:pt x="137" y="144"/>
                    </a:cubicBezTo>
                    <a:cubicBezTo>
                      <a:pt x="135" y="144"/>
                      <a:pt x="135" y="144"/>
                      <a:pt x="135" y="144"/>
                    </a:cubicBezTo>
                    <a:cubicBezTo>
                      <a:pt x="135" y="144"/>
                      <a:pt x="133" y="144"/>
                      <a:pt x="132" y="144"/>
                    </a:cubicBezTo>
                    <a:cubicBezTo>
                      <a:pt x="132" y="144"/>
                      <a:pt x="131" y="144"/>
                      <a:pt x="131" y="144"/>
                    </a:cubicBezTo>
                    <a:cubicBezTo>
                      <a:pt x="131" y="144"/>
                      <a:pt x="131" y="145"/>
                      <a:pt x="131" y="146"/>
                    </a:cubicBezTo>
                    <a:cubicBezTo>
                      <a:pt x="130" y="147"/>
                      <a:pt x="130" y="147"/>
                      <a:pt x="129" y="147"/>
                    </a:cubicBezTo>
                    <a:cubicBezTo>
                      <a:pt x="129" y="147"/>
                      <a:pt x="128" y="147"/>
                      <a:pt x="128" y="147"/>
                    </a:cubicBezTo>
                    <a:cubicBezTo>
                      <a:pt x="127" y="150"/>
                      <a:pt x="127" y="150"/>
                      <a:pt x="127" y="150"/>
                    </a:cubicBezTo>
                    <a:close/>
                    <a:moveTo>
                      <a:pt x="116" y="162"/>
                    </a:moveTo>
                    <a:cubicBezTo>
                      <a:pt x="116" y="162"/>
                      <a:pt x="116" y="162"/>
                      <a:pt x="116" y="162"/>
                    </a:cubicBezTo>
                    <a:cubicBezTo>
                      <a:pt x="117" y="162"/>
                      <a:pt x="117" y="162"/>
                      <a:pt x="117" y="162"/>
                    </a:cubicBezTo>
                    <a:cubicBezTo>
                      <a:pt x="118" y="161"/>
                      <a:pt x="118" y="161"/>
                      <a:pt x="118" y="161"/>
                    </a:cubicBezTo>
                    <a:cubicBezTo>
                      <a:pt x="117" y="159"/>
                      <a:pt x="117" y="159"/>
                      <a:pt x="117" y="159"/>
                    </a:cubicBezTo>
                    <a:cubicBezTo>
                      <a:pt x="116" y="158"/>
                      <a:pt x="116" y="158"/>
                      <a:pt x="116" y="158"/>
                    </a:cubicBezTo>
                    <a:cubicBezTo>
                      <a:pt x="115" y="155"/>
                      <a:pt x="115" y="155"/>
                      <a:pt x="115" y="155"/>
                    </a:cubicBezTo>
                    <a:cubicBezTo>
                      <a:pt x="113" y="153"/>
                      <a:pt x="113" y="153"/>
                      <a:pt x="113" y="153"/>
                    </a:cubicBezTo>
                    <a:cubicBezTo>
                      <a:pt x="112" y="152"/>
                      <a:pt x="112" y="152"/>
                      <a:pt x="112" y="152"/>
                    </a:cubicBezTo>
                    <a:cubicBezTo>
                      <a:pt x="111" y="154"/>
                      <a:pt x="111" y="154"/>
                      <a:pt x="111" y="154"/>
                    </a:cubicBezTo>
                    <a:cubicBezTo>
                      <a:pt x="110" y="155"/>
                      <a:pt x="110" y="155"/>
                      <a:pt x="110" y="155"/>
                    </a:cubicBezTo>
                    <a:cubicBezTo>
                      <a:pt x="109" y="156"/>
                      <a:pt x="109" y="156"/>
                      <a:pt x="109" y="156"/>
                    </a:cubicBezTo>
                    <a:cubicBezTo>
                      <a:pt x="109" y="156"/>
                      <a:pt x="106" y="155"/>
                      <a:pt x="105" y="154"/>
                    </a:cubicBezTo>
                    <a:cubicBezTo>
                      <a:pt x="103" y="153"/>
                      <a:pt x="103" y="153"/>
                      <a:pt x="103" y="153"/>
                    </a:cubicBezTo>
                    <a:cubicBezTo>
                      <a:pt x="103" y="153"/>
                      <a:pt x="102" y="153"/>
                      <a:pt x="101" y="152"/>
                    </a:cubicBezTo>
                    <a:cubicBezTo>
                      <a:pt x="101" y="152"/>
                      <a:pt x="100" y="151"/>
                      <a:pt x="100" y="151"/>
                    </a:cubicBezTo>
                    <a:cubicBezTo>
                      <a:pt x="100" y="151"/>
                      <a:pt x="100" y="150"/>
                      <a:pt x="99" y="150"/>
                    </a:cubicBezTo>
                    <a:cubicBezTo>
                      <a:pt x="99" y="149"/>
                      <a:pt x="98" y="150"/>
                      <a:pt x="97" y="150"/>
                    </a:cubicBezTo>
                    <a:cubicBezTo>
                      <a:pt x="95" y="150"/>
                      <a:pt x="95" y="150"/>
                      <a:pt x="94" y="150"/>
                    </a:cubicBezTo>
                    <a:cubicBezTo>
                      <a:pt x="94" y="151"/>
                      <a:pt x="93" y="151"/>
                      <a:pt x="93" y="151"/>
                    </a:cubicBezTo>
                    <a:cubicBezTo>
                      <a:pt x="92" y="152"/>
                      <a:pt x="93" y="154"/>
                      <a:pt x="93" y="154"/>
                    </a:cubicBezTo>
                    <a:cubicBezTo>
                      <a:pt x="93" y="155"/>
                      <a:pt x="93" y="155"/>
                      <a:pt x="93" y="155"/>
                    </a:cubicBezTo>
                    <a:cubicBezTo>
                      <a:pt x="94" y="157"/>
                      <a:pt x="94" y="157"/>
                      <a:pt x="94" y="157"/>
                    </a:cubicBezTo>
                    <a:cubicBezTo>
                      <a:pt x="92" y="157"/>
                      <a:pt x="92" y="157"/>
                      <a:pt x="92" y="157"/>
                    </a:cubicBezTo>
                    <a:cubicBezTo>
                      <a:pt x="91" y="157"/>
                      <a:pt x="91" y="157"/>
                      <a:pt x="91" y="157"/>
                    </a:cubicBezTo>
                    <a:cubicBezTo>
                      <a:pt x="92" y="159"/>
                      <a:pt x="92" y="159"/>
                      <a:pt x="92" y="159"/>
                    </a:cubicBezTo>
                    <a:cubicBezTo>
                      <a:pt x="92" y="159"/>
                      <a:pt x="92" y="160"/>
                      <a:pt x="93" y="161"/>
                    </a:cubicBezTo>
                    <a:cubicBezTo>
                      <a:pt x="93" y="161"/>
                      <a:pt x="94" y="162"/>
                      <a:pt x="94" y="162"/>
                    </a:cubicBezTo>
                    <a:cubicBezTo>
                      <a:pt x="94" y="162"/>
                      <a:pt x="99" y="163"/>
                      <a:pt x="99" y="163"/>
                    </a:cubicBezTo>
                    <a:cubicBezTo>
                      <a:pt x="100" y="163"/>
                      <a:pt x="100" y="163"/>
                      <a:pt x="100" y="163"/>
                    </a:cubicBezTo>
                    <a:cubicBezTo>
                      <a:pt x="100" y="163"/>
                      <a:pt x="102" y="164"/>
                      <a:pt x="104" y="165"/>
                    </a:cubicBezTo>
                    <a:cubicBezTo>
                      <a:pt x="105" y="166"/>
                      <a:pt x="106" y="167"/>
                      <a:pt x="106" y="167"/>
                    </a:cubicBezTo>
                    <a:cubicBezTo>
                      <a:pt x="106" y="167"/>
                      <a:pt x="108" y="167"/>
                      <a:pt x="108" y="167"/>
                    </a:cubicBezTo>
                    <a:cubicBezTo>
                      <a:pt x="109" y="166"/>
                      <a:pt x="109" y="166"/>
                      <a:pt x="109" y="166"/>
                    </a:cubicBezTo>
                    <a:cubicBezTo>
                      <a:pt x="112" y="165"/>
                      <a:pt x="112" y="165"/>
                      <a:pt x="112" y="165"/>
                    </a:cubicBezTo>
                    <a:cubicBezTo>
                      <a:pt x="114" y="165"/>
                      <a:pt x="114" y="165"/>
                      <a:pt x="114" y="165"/>
                    </a:cubicBezTo>
                    <a:cubicBezTo>
                      <a:pt x="117" y="166"/>
                      <a:pt x="117" y="166"/>
                      <a:pt x="117" y="166"/>
                    </a:cubicBezTo>
                    <a:cubicBezTo>
                      <a:pt x="118" y="166"/>
                      <a:pt x="118" y="166"/>
                      <a:pt x="118" y="166"/>
                    </a:cubicBezTo>
                    <a:cubicBezTo>
                      <a:pt x="118" y="164"/>
                      <a:pt x="118" y="164"/>
                      <a:pt x="118" y="164"/>
                    </a:cubicBezTo>
                    <a:cubicBezTo>
                      <a:pt x="118" y="163"/>
                      <a:pt x="118" y="163"/>
                      <a:pt x="118" y="163"/>
                    </a:cubicBezTo>
                    <a:cubicBezTo>
                      <a:pt x="116" y="162"/>
                      <a:pt x="116" y="162"/>
                      <a:pt x="116" y="162"/>
                    </a:cubicBezTo>
                    <a:close/>
                    <a:moveTo>
                      <a:pt x="77" y="121"/>
                    </a:moveTo>
                    <a:cubicBezTo>
                      <a:pt x="77" y="121"/>
                      <a:pt x="77" y="121"/>
                      <a:pt x="77" y="121"/>
                    </a:cubicBezTo>
                    <a:cubicBezTo>
                      <a:pt x="75" y="120"/>
                      <a:pt x="75" y="120"/>
                      <a:pt x="75" y="120"/>
                    </a:cubicBezTo>
                    <a:cubicBezTo>
                      <a:pt x="73" y="117"/>
                      <a:pt x="73" y="117"/>
                      <a:pt x="73" y="117"/>
                    </a:cubicBezTo>
                    <a:cubicBezTo>
                      <a:pt x="70" y="116"/>
                      <a:pt x="70" y="116"/>
                      <a:pt x="70" y="116"/>
                    </a:cubicBezTo>
                    <a:cubicBezTo>
                      <a:pt x="70" y="116"/>
                      <a:pt x="69" y="113"/>
                      <a:pt x="69" y="113"/>
                    </a:cubicBezTo>
                    <a:cubicBezTo>
                      <a:pt x="68" y="112"/>
                      <a:pt x="68" y="113"/>
                      <a:pt x="68" y="113"/>
                    </a:cubicBezTo>
                    <a:cubicBezTo>
                      <a:pt x="68" y="113"/>
                      <a:pt x="68" y="115"/>
                      <a:pt x="67" y="116"/>
                    </a:cubicBezTo>
                    <a:cubicBezTo>
                      <a:pt x="66" y="116"/>
                      <a:pt x="65" y="116"/>
                      <a:pt x="65" y="116"/>
                    </a:cubicBezTo>
                    <a:cubicBezTo>
                      <a:pt x="63" y="118"/>
                      <a:pt x="63" y="118"/>
                      <a:pt x="63" y="118"/>
                    </a:cubicBezTo>
                    <a:cubicBezTo>
                      <a:pt x="63" y="118"/>
                      <a:pt x="60" y="119"/>
                      <a:pt x="59" y="119"/>
                    </a:cubicBezTo>
                    <a:cubicBezTo>
                      <a:pt x="59" y="119"/>
                      <a:pt x="58" y="120"/>
                      <a:pt x="58" y="120"/>
                    </a:cubicBezTo>
                    <a:cubicBezTo>
                      <a:pt x="52" y="119"/>
                      <a:pt x="52" y="119"/>
                      <a:pt x="52" y="119"/>
                    </a:cubicBezTo>
                    <a:cubicBezTo>
                      <a:pt x="50" y="121"/>
                      <a:pt x="50" y="121"/>
                      <a:pt x="50" y="121"/>
                    </a:cubicBezTo>
                    <a:cubicBezTo>
                      <a:pt x="50" y="122"/>
                      <a:pt x="50" y="122"/>
                      <a:pt x="50" y="122"/>
                    </a:cubicBezTo>
                    <a:cubicBezTo>
                      <a:pt x="51" y="124"/>
                      <a:pt x="51" y="124"/>
                      <a:pt x="51" y="124"/>
                    </a:cubicBezTo>
                    <a:cubicBezTo>
                      <a:pt x="52" y="125"/>
                      <a:pt x="52" y="125"/>
                      <a:pt x="52" y="125"/>
                    </a:cubicBezTo>
                    <a:cubicBezTo>
                      <a:pt x="53" y="125"/>
                      <a:pt x="53" y="125"/>
                      <a:pt x="53" y="125"/>
                    </a:cubicBezTo>
                    <a:cubicBezTo>
                      <a:pt x="53" y="127"/>
                      <a:pt x="53" y="127"/>
                      <a:pt x="53" y="127"/>
                    </a:cubicBezTo>
                    <a:cubicBezTo>
                      <a:pt x="54" y="129"/>
                      <a:pt x="54" y="129"/>
                      <a:pt x="54" y="129"/>
                    </a:cubicBezTo>
                    <a:cubicBezTo>
                      <a:pt x="54" y="129"/>
                      <a:pt x="55" y="130"/>
                      <a:pt x="56" y="132"/>
                    </a:cubicBezTo>
                    <a:cubicBezTo>
                      <a:pt x="57" y="134"/>
                      <a:pt x="56" y="135"/>
                      <a:pt x="56" y="135"/>
                    </a:cubicBezTo>
                    <a:cubicBezTo>
                      <a:pt x="59" y="138"/>
                      <a:pt x="59" y="138"/>
                      <a:pt x="59" y="138"/>
                    </a:cubicBezTo>
                    <a:cubicBezTo>
                      <a:pt x="61" y="139"/>
                      <a:pt x="61" y="139"/>
                      <a:pt x="61" y="139"/>
                    </a:cubicBezTo>
                    <a:cubicBezTo>
                      <a:pt x="61" y="139"/>
                      <a:pt x="62" y="140"/>
                      <a:pt x="63" y="140"/>
                    </a:cubicBezTo>
                    <a:cubicBezTo>
                      <a:pt x="63" y="140"/>
                      <a:pt x="63" y="141"/>
                      <a:pt x="63" y="141"/>
                    </a:cubicBezTo>
                    <a:cubicBezTo>
                      <a:pt x="63" y="143"/>
                      <a:pt x="63" y="143"/>
                      <a:pt x="63" y="143"/>
                    </a:cubicBezTo>
                    <a:cubicBezTo>
                      <a:pt x="64" y="145"/>
                      <a:pt x="64" y="145"/>
                      <a:pt x="64" y="145"/>
                    </a:cubicBezTo>
                    <a:cubicBezTo>
                      <a:pt x="65" y="144"/>
                      <a:pt x="65" y="144"/>
                      <a:pt x="65" y="144"/>
                    </a:cubicBezTo>
                    <a:cubicBezTo>
                      <a:pt x="66" y="143"/>
                      <a:pt x="66" y="143"/>
                      <a:pt x="66" y="143"/>
                    </a:cubicBezTo>
                    <a:cubicBezTo>
                      <a:pt x="71" y="145"/>
                      <a:pt x="71" y="145"/>
                      <a:pt x="71" y="145"/>
                    </a:cubicBezTo>
                    <a:cubicBezTo>
                      <a:pt x="71" y="145"/>
                      <a:pt x="75" y="147"/>
                      <a:pt x="76" y="147"/>
                    </a:cubicBezTo>
                    <a:cubicBezTo>
                      <a:pt x="76" y="147"/>
                      <a:pt x="78" y="145"/>
                      <a:pt x="78" y="145"/>
                    </a:cubicBezTo>
                    <a:cubicBezTo>
                      <a:pt x="79" y="144"/>
                      <a:pt x="82" y="144"/>
                      <a:pt x="82" y="144"/>
                    </a:cubicBezTo>
                    <a:cubicBezTo>
                      <a:pt x="83" y="144"/>
                      <a:pt x="83" y="143"/>
                      <a:pt x="83" y="143"/>
                    </a:cubicBezTo>
                    <a:cubicBezTo>
                      <a:pt x="83" y="142"/>
                      <a:pt x="84" y="141"/>
                      <a:pt x="84" y="140"/>
                    </a:cubicBezTo>
                    <a:cubicBezTo>
                      <a:pt x="84" y="139"/>
                      <a:pt x="85" y="138"/>
                      <a:pt x="85" y="138"/>
                    </a:cubicBezTo>
                    <a:cubicBezTo>
                      <a:pt x="85" y="136"/>
                      <a:pt x="85" y="136"/>
                      <a:pt x="85" y="136"/>
                    </a:cubicBezTo>
                    <a:cubicBezTo>
                      <a:pt x="84" y="133"/>
                      <a:pt x="84" y="133"/>
                      <a:pt x="84" y="133"/>
                    </a:cubicBezTo>
                    <a:cubicBezTo>
                      <a:pt x="85" y="129"/>
                      <a:pt x="85" y="129"/>
                      <a:pt x="85" y="129"/>
                    </a:cubicBezTo>
                    <a:cubicBezTo>
                      <a:pt x="83" y="127"/>
                      <a:pt x="83" y="127"/>
                      <a:pt x="83" y="127"/>
                    </a:cubicBezTo>
                    <a:cubicBezTo>
                      <a:pt x="82" y="126"/>
                      <a:pt x="82" y="126"/>
                      <a:pt x="82" y="126"/>
                    </a:cubicBezTo>
                    <a:cubicBezTo>
                      <a:pt x="82" y="125"/>
                      <a:pt x="82" y="125"/>
                      <a:pt x="82" y="125"/>
                    </a:cubicBezTo>
                    <a:cubicBezTo>
                      <a:pt x="82" y="124"/>
                      <a:pt x="82" y="124"/>
                      <a:pt x="82" y="124"/>
                    </a:cubicBezTo>
                    <a:cubicBezTo>
                      <a:pt x="84" y="123"/>
                      <a:pt x="84" y="123"/>
                      <a:pt x="84" y="123"/>
                    </a:cubicBezTo>
                    <a:cubicBezTo>
                      <a:pt x="84" y="120"/>
                      <a:pt x="84" y="120"/>
                      <a:pt x="84" y="120"/>
                    </a:cubicBezTo>
                    <a:cubicBezTo>
                      <a:pt x="87" y="118"/>
                      <a:pt x="87" y="118"/>
                      <a:pt x="87" y="118"/>
                    </a:cubicBezTo>
                    <a:cubicBezTo>
                      <a:pt x="88" y="115"/>
                      <a:pt x="88" y="115"/>
                      <a:pt x="88" y="115"/>
                    </a:cubicBezTo>
                    <a:cubicBezTo>
                      <a:pt x="88" y="115"/>
                      <a:pt x="84" y="114"/>
                      <a:pt x="83" y="114"/>
                    </a:cubicBezTo>
                    <a:cubicBezTo>
                      <a:pt x="81" y="114"/>
                      <a:pt x="82" y="114"/>
                      <a:pt x="82" y="113"/>
                    </a:cubicBezTo>
                    <a:cubicBezTo>
                      <a:pt x="82" y="113"/>
                      <a:pt x="81" y="112"/>
                      <a:pt x="81" y="112"/>
                    </a:cubicBezTo>
                    <a:cubicBezTo>
                      <a:pt x="81" y="112"/>
                      <a:pt x="79" y="113"/>
                      <a:pt x="79" y="113"/>
                    </a:cubicBezTo>
                    <a:cubicBezTo>
                      <a:pt x="78" y="113"/>
                      <a:pt x="78" y="111"/>
                      <a:pt x="78" y="111"/>
                    </a:cubicBezTo>
                    <a:cubicBezTo>
                      <a:pt x="78" y="111"/>
                      <a:pt x="76" y="112"/>
                      <a:pt x="76" y="112"/>
                    </a:cubicBezTo>
                    <a:cubicBezTo>
                      <a:pt x="75" y="112"/>
                      <a:pt x="73" y="112"/>
                      <a:pt x="73" y="112"/>
                    </a:cubicBezTo>
                    <a:cubicBezTo>
                      <a:pt x="73" y="112"/>
                      <a:pt x="73" y="113"/>
                      <a:pt x="73" y="113"/>
                    </a:cubicBezTo>
                    <a:cubicBezTo>
                      <a:pt x="72" y="114"/>
                      <a:pt x="73" y="115"/>
                      <a:pt x="74" y="115"/>
                    </a:cubicBezTo>
                    <a:cubicBezTo>
                      <a:pt x="74" y="116"/>
                      <a:pt x="75" y="118"/>
                      <a:pt x="75" y="118"/>
                    </a:cubicBezTo>
                    <a:cubicBezTo>
                      <a:pt x="76" y="120"/>
                      <a:pt x="76" y="120"/>
                      <a:pt x="76" y="120"/>
                    </a:cubicBezTo>
                    <a:cubicBezTo>
                      <a:pt x="77" y="121"/>
                      <a:pt x="77" y="121"/>
                      <a:pt x="77" y="121"/>
                    </a:cubicBezTo>
                    <a:close/>
                    <a:moveTo>
                      <a:pt x="75" y="107"/>
                    </a:moveTo>
                    <a:cubicBezTo>
                      <a:pt x="75" y="107"/>
                      <a:pt x="75" y="107"/>
                      <a:pt x="75" y="107"/>
                    </a:cubicBezTo>
                    <a:cubicBezTo>
                      <a:pt x="77" y="107"/>
                      <a:pt x="77" y="107"/>
                      <a:pt x="77" y="107"/>
                    </a:cubicBezTo>
                    <a:cubicBezTo>
                      <a:pt x="78" y="105"/>
                      <a:pt x="78" y="105"/>
                      <a:pt x="78" y="105"/>
                    </a:cubicBezTo>
                    <a:cubicBezTo>
                      <a:pt x="78" y="105"/>
                      <a:pt x="79" y="104"/>
                      <a:pt x="79" y="103"/>
                    </a:cubicBezTo>
                    <a:cubicBezTo>
                      <a:pt x="79" y="103"/>
                      <a:pt x="79" y="102"/>
                      <a:pt x="79" y="102"/>
                    </a:cubicBezTo>
                    <a:cubicBezTo>
                      <a:pt x="79" y="100"/>
                      <a:pt x="79" y="100"/>
                      <a:pt x="79" y="100"/>
                    </a:cubicBezTo>
                    <a:cubicBezTo>
                      <a:pt x="78" y="99"/>
                      <a:pt x="78" y="99"/>
                      <a:pt x="78" y="99"/>
                    </a:cubicBezTo>
                    <a:cubicBezTo>
                      <a:pt x="77" y="97"/>
                      <a:pt x="77" y="97"/>
                      <a:pt x="77" y="97"/>
                    </a:cubicBezTo>
                    <a:cubicBezTo>
                      <a:pt x="76" y="94"/>
                      <a:pt x="76" y="94"/>
                      <a:pt x="76" y="94"/>
                    </a:cubicBezTo>
                    <a:cubicBezTo>
                      <a:pt x="74" y="94"/>
                      <a:pt x="74" y="94"/>
                      <a:pt x="74" y="94"/>
                    </a:cubicBezTo>
                    <a:cubicBezTo>
                      <a:pt x="74" y="94"/>
                      <a:pt x="74" y="96"/>
                      <a:pt x="74" y="96"/>
                    </a:cubicBezTo>
                    <a:cubicBezTo>
                      <a:pt x="74" y="97"/>
                      <a:pt x="75" y="98"/>
                      <a:pt x="75" y="98"/>
                    </a:cubicBezTo>
                    <a:cubicBezTo>
                      <a:pt x="76" y="99"/>
                      <a:pt x="76" y="99"/>
                      <a:pt x="76" y="99"/>
                    </a:cubicBezTo>
                    <a:cubicBezTo>
                      <a:pt x="76" y="100"/>
                      <a:pt x="76" y="100"/>
                      <a:pt x="76" y="100"/>
                    </a:cubicBezTo>
                    <a:cubicBezTo>
                      <a:pt x="75" y="101"/>
                      <a:pt x="75" y="101"/>
                      <a:pt x="75" y="101"/>
                    </a:cubicBezTo>
                    <a:cubicBezTo>
                      <a:pt x="74" y="103"/>
                      <a:pt x="74" y="103"/>
                      <a:pt x="74" y="103"/>
                    </a:cubicBezTo>
                    <a:cubicBezTo>
                      <a:pt x="75" y="105"/>
                      <a:pt x="75" y="105"/>
                      <a:pt x="75" y="105"/>
                    </a:cubicBezTo>
                    <a:cubicBezTo>
                      <a:pt x="75" y="107"/>
                      <a:pt x="75" y="107"/>
                      <a:pt x="75" y="107"/>
                    </a:cubicBezTo>
                    <a:close/>
                    <a:moveTo>
                      <a:pt x="80" y="157"/>
                    </a:moveTo>
                    <a:cubicBezTo>
                      <a:pt x="80" y="157"/>
                      <a:pt x="80" y="157"/>
                      <a:pt x="80" y="157"/>
                    </a:cubicBezTo>
                    <a:cubicBezTo>
                      <a:pt x="81" y="160"/>
                      <a:pt x="81" y="160"/>
                      <a:pt x="81" y="160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2" y="162"/>
                      <a:pt x="84" y="163"/>
                      <a:pt x="84" y="162"/>
                    </a:cubicBezTo>
                    <a:cubicBezTo>
                      <a:pt x="84" y="161"/>
                      <a:pt x="83" y="160"/>
                      <a:pt x="84" y="159"/>
                    </a:cubicBezTo>
                    <a:cubicBezTo>
                      <a:pt x="84" y="158"/>
                      <a:pt x="85" y="156"/>
                      <a:pt x="85" y="155"/>
                    </a:cubicBezTo>
                    <a:cubicBezTo>
                      <a:pt x="85" y="154"/>
                      <a:pt x="86" y="153"/>
                      <a:pt x="86" y="152"/>
                    </a:cubicBezTo>
                    <a:cubicBezTo>
                      <a:pt x="87" y="151"/>
                      <a:pt x="88" y="149"/>
                      <a:pt x="88" y="148"/>
                    </a:cubicBezTo>
                    <a:cubicBezTo>
                      <a:pt x="88" y="148"/>
                      <a:pt x="89" y="146"/>
                      <a:pt x="89" y="145"/>
                    </a:cubicBezTo>
                    <a:cubicBezTo>
                      <a:pt x="89" y="145"/>
                      <a:pt x="89" y="142"/>
                      <a:pt x="89" y="142"/>
                    </a:cubicBezTo>
                    <a:cubicBezTo>
                      <a:pt x="89" y="142"/>
                      <a:pt x="88" y="139"/>
                      <a:pt x="88" y="139"/>
                    </a:cubicBezTo>
                    <a:cubicBezTo>
                      <a:pt x="87" y="141"/>
                      <a:pt x="87" y="141"/>
                      <a:pt x="87" y="141"/>
                    </a:cubicBezTo>
                    <a:cubicBezTo>
                      <a:pt x="87" y="143"/>
                      <a:pt x="87" y="143"/>
                      <a:pt x="87" y="143"/>
                    </a:cubicBezTo>
                    <a:cubicBezTo>
                      <a:pt x="85" y="147"/>
                      <a:pt x="85" y="147"/>
                      <a:pt x="85" y="147"/>
                    </a:cubicBezTo>
                    <a:cubicBezTo>
                      <a:pt x="84" y="149"/>
                      <a:pt x="84" y="149"/>
                      <a:pt x="84" y="149"/>
                    </a:cubicBezTo>
                    <a:cubicBezTo>
                      <a:pt x="82" y="151"/>
                      <a:pt x="82" y="151"/>
                      <a:pt x="82" y="151"/>
                    </a:cubicBezTo>
                    <a:cubicBezTo>
                      <a:pt x="82" y="152"/>
                      <a:pt x="82" y="152"/>
                      <a:pt x="82" y="152"/>
                    </a:cubicBezTo>
                    <a:cubicBezTo>
                      <a:pt x="82" y="154"/>
                      <a:pt x="82" y="154"/>
                      <a:pt x="82" y="154"/>
                    </a:cubicBezTo>
                    <a:cubicBezTo>
                      <a:pt x="81" y="155"/>
                      <a:pt x="81" y="155"/>
                      <a:pt x="81" y="155"/>
                    </a:cubicBezTo>
                    <a:cubicBezTo>
                      <a:pt x="81" y="156"/>
                      <a:pt x="81" y="156"/>
                      <a:pt x="81" y="156"/>
                    </a:cubicBezTo>
                    <a:cubicBezTo>
                      <a:pt x="80" y="157"/>
                      <a:pt x="80" y="157"/>
                      <a:pt x="80" y="157"/>
                    </a:cubicBezTo>
                    <a:close/>
                    <a:moveTo>
                      <a:pt x="75" y="148"/>
                    </a:moveTo>
                    <a:cubicBezTo>
                      <a:pt x="75" y="148"/>
                      <a:pt x="75" y="148"/>
                      <a:pt x="75" y="148"/>
                    </a:cubicBezTo>
                    <a:cubicBezTo>
                      <a:pt x="76" y="149"/>
                      <a:pt x="76" y="149"/>
                      <a:pt x="76" y="149"/>
                    </a:cubicBezTo>
                    <a:cubicBezTo>
                      <a:pt x="76" y="149"/>
                      <a:pt x="77" y="152"/>
                      <a:pt x="78" y="152"/>
                    </a:cubicBezTo>
                    <a:cubicBezTo>
                      <a:pt x="78" y="152"/>
                      <a:pt x="81" y="149"/>
                      <a:pt x="81" y="149"/>
                    </a:cubicBezTo>
                    <a:cubicBezTo>
                      <a:pt x="81" y="147"/>
                      <a:pt x="81" y="147"/>
                      <a:pt x="81" y="147"/>
                    </a:cubicBezTo>
                    <a:cubicBezTo>
                      <a:pt x="82" y="145"/>
                      <a:pt x="82" y="145"/>
                      <a:pt x="82" y="145"/>
                    </a:cubicBezTo>
                    <a:cubicBezTo>
                      <a:pt x="79" y="146"/>
                      <a:pt x="79" y="146"/>
                      <a:pt x="79" y="146"/>
                    </a:cubicBezTo>
                    <a:cubicBezTo>
                      <a:pt x="77" y="148"/>
                      <a:pt x="77" y="148"/>
                      <a:pt x="77" y="148"/>
                    </a:cubicBezTo>
                    <a:cubicBezTo>
                      <a:pt x="75" y="148"/>
                      <a:pt x="75" y="148"/>
                      <a:pt x="75" y="148"/>
                    </a:cubicBezTo>
                    <a:close/>
                    <a:moveTo>
                      <a:pt x="66" y="150"/>
                    </a:moveTo>
                    <a:cubicBezTo>
                      <a:pt x="66" y="150"/>
                      <a:pt x="66" y="150"/>
                      <a:pt x="66" y="150"/>
                    </a:cubicBezTo>
                    <a:cubicBezTo>
                      <a:pt x="66" y="150"/>
                      <a:pt x="67" y="153"/>
                      <a:pt x="67" y="153"/>
                    </a:cubicBezTo>
                    <a:cubicBezTo>
                      <a:pt x="68" y="153"/>
                      <a:pt x="69" y="154"/>
                      <a:pt x="69" y="154"/>
                    </a:cubicBezTo>
                    <a:cubicBezTo>
                      <a:pt x="71" y="156"/>
                      <a:pt x="71" y="156"/>
                      <a:pt x="71" y="156"/>
                    </a:cubicBezTo>
                    <a:cubicBezTo>
                      <a:pt x="71" y="156"/>
                      <a:pt x="71" y="157"/>
                      <a:pt x="72" y="157"/>
                    </a:cubicBezTo>
                    <a:cubicBezTo>
                      <a:pt x="72" y="157"/>
                      <a:pt x="74" y="156"/>
                      <a:pt x="74" y="156"/>
                    </a:cubicBezTo>
                    <a:cubicBezTo>
                      <a:pt x="75" y="154"/>
                      <a:pt x="75" y="154"/>
                      <a:pt x="75" y="154"/>
                    </a:cubicBezTo>
                    <a:cubicBezTo>
                      <a:pt x="75" y="154"/>
                      <a:pt x="73" y="154"/>
                      <a:pt x="73" y="154"/>
                    </a:cubicBezTo>
                    <a:cubicBezTo>
                      <a:pt x="72" y="154"/>
                      <a:pt x="71" y="152"/>
                      <a:pt x="71" y="152"/>
                    </a:cubicBezTo>
                    <a:cubicBezTo>
                      <a:pt x="71" y="152"/>
                      <a:pt x="70" y="152"/>
                      <a:pt x="70" y="152"/>
                    </a:cubicBezTo>
                    <a:cubicBezTo>
                      <a:pt x="69" y="152"/>
                      <a:pt x="67" y="150"/>
                      <a:pt x="67" y="150"/>
                    </a:cubicBezTo>
                    <a:cubicBezTo>
                      <a:pt x="66" y="150"/>
                      <a:pt x="66" y="150"/>
                      <a:pt x="66" y="150"/>
                    </a:cubicBezTo>
                    <a:close/>
                    <a:moveTo>
                      <a:pt x="50" y="147"/>
                    </a:moveTo>
                    <a:cubicBezTo>
                      <a:pt x="50" y="147"/>
                      <a:pt x="50" y="147"/>
                      <a:pt x="50" y="147"/>
                    </a:cubicBezTo>
                    <a:cubicBezTo>
                      <a:pt x="52" y="148"/>
                      <a:pt x="52" y="148"/>
                      <a:pt x="52" y="148"/>
                    </a:cubicBezTo>
                    <a:cubicBezTo>
                      <a:pt x="53" y="149"/>
                      <a:pt x="53" y="149"/>
                      <a:pt x="53" y="149"/>
                    </a:cubicBezTo>
                    <a:cubicBezTo>
                      <a:pt x="55" y="150"/>
                      <a:pt x="55" y="150"/>
                      <a:pt x="55" y="150"/>
                    </a:cubicBezTo>
                    <a:cubicBezTo>
                      <a:pt x="53" y="152"/>
                      <a:pt x="53" y="152"/>
                      <a:pt x="53" y="152"/>
                    </a:cubicBezTo>
                    <a:cubicBezTo>
                      <a:pt x="53" y="152"/>
                      <a:pt x="54" y="154"/>
                      <a:pt x="55" y="153"/>
                    </a:cubicBezTo>
                    <a:cubicBezTo>
                      <a:pt x="56" y="153"/>
                      <a:pt x="56" y="153"/>
                      <a:pt x="56" y="153"/>
                    </a:cubicBezTo>
                    <a:cubicBezTo>
                      <a:pt x="56" y="153"/>
                      <a:pt x="58" y="154"/>
                      <a:pt x="58" y="154"/>
                    </a:cubicBezTo>
                    <a:cubicBezTo>
                      <a:pt x="59" y="155"/>
                      <a:pt x="60" y="155"/>
                      <a:pt x="61" y="155"/>
                    </a:cubicBezTo>
                    <a:cubicBezTo>
                      <a:pt x="62" y="155"/>
                      <a:pt x="62" y="154"/>
                      <a:pt x="62" y="154"/>
                    </a:cubicBezTo>
                    <a:cubicBezTo>
                      <a:pt x="62" y="153"/>
                      <a:pt x="62" y="152"/>
                      <a:pt x="62" y="152"/>
                    </a:cubicBezTo>
                    <a:cubicBezTo>
                      <a:pt x="61" y="150"/>
                      <a:pt x="61" y="150"/>
                      <a:pt x="61" y="150"/>
                    </a:cubicBezTo>
                    <a:cubicBezTo>
                      <a:pt x="60" y="148"/>
                      <a:pt x="60" y="148"/>
                      <a:pt x="60" y="148"/>
                    </a:cubicBezTo>
                    <a:cubicBezTo>
                      <a:pt x="56" y="147"/>
                      <a:pt x="56" y="147"/>
                      <a:pt x="56" y="147"/>
                    </a:cubicBezTo>
                    <a:cubicBezTo>
                      <a:pt x="54" y="145"/>
                      <a:pt x="54" y="145"/>
                      <a:pt x="54" y="145"/>
                    </a:cubicBezTo>
                    <a:cubicBezTo>
                      <a:pt x="51" y="144"/>
                      <a:pt x="51" y="144"/>
                      <a:pt x="51" y="144"/>
                    </a:cubicBezTo>
                    <a:cubicBezTo>
                      <a:pt x="50" y="144"/>
                      <a:pt x="50" y="144"/>
                      <a:pt x="50" y="144"/>
                    </a:cubicBezTo>
                    <a:cubicBezTo>
                      <a:pt x="50" y="147"/>
                      <a:pt x="50" y="147"/>
                      <a:pt x="50" y="147"/>
                    </a:cubicBezTo>
                    <a:close/>
                    <a:moveTo>
                      <a:pt x="83" y="25"/>
                    </a:moveTo>
                    <a:cubicBezTo>
                      <a:pt x="83" y="25"/>
                      <a:pt x="83" y="25"/>
                      <a:pt x="83" y="25"/>
                    </a:cubicBezTo>
                    <a:cubicBezTo>
                      <a:pt x="83" y="26"/>
                      <a:pt x="83" y="26"/>
                      <a:pt x="83" y="26"/>
                    </a:cubicBezTo>
                    <a:cubicBezTo>
                      <a:pt x="83" y="26"/>
                      <a:pt x="84" y="26"/>
                      <a:pt x="84" y="26"/>
                    </a:cubicBezTo>
                    <a:cubicBezTo>
                      <a:pt x="84" y="26"/>
                      <a:pt x="85" y="26"/>
                      <a:pt x="85" y="26"/>
                    </a:cubicBezTo>
                    <a:cubicBezTo>
                      <a:pt x="85" y="26"/>
                      <a:pt x="87" y="27"/>
                      <a:pt x="87" y="27"/>
                    </a:cubicBezTo>
                    <a:cubicBezTo>
                      <a:pt x="87" y="28"/>
                      <a:pt x="88" y="27"/>
                      <a:pt x="88" y="27"/>
                    </a:cubicBezTo>
                    <a:cubicBezTo>
                      <a:pt x="89" y="27"/>
                      <a:pt x="89" y="26"/>
                      <a:pt x="89" y="25"/>
                    </a:cubicBezTo>
                    <a:cubicBezTo>
                      <a:pt x="89" y="25"/>
                      <a:pt x="90" y="24"/>
                      <a:pt x="90" y="24"/>
                    </a:cubicBezTo>
                    <a:cubicBezTo>
                      <a:pt x="90" y="24"/>
                      <a:pt x="93" y="22"/>
                      <a:pt x="93" y="22"/>
                    </a:cubicBezTo>
                    <a:cubicBezTo>
                      <a:pt x="93" y="21"/>
                      <a:pt x="91" y="21"/>
                      <a:pt x="91" y="21"/>
                    </a:cubicBezTo>
                    <a:cubicBezTo>
                      <a:pt x="91" y="21"/>
                      <a:pt x="88" y="22"/>
                      <a:pt x="88" y="22"/>
                    </a:cubicBezTo>
                    <a:cubicBezTo>
                      <a:pt x="88" y="22"/>
                      <a:pt x="85" y="23"/>
                      <a:pt x="85" y="23"/>
                    </a:cubicBezTo>
                    <a:lnTo>
                      <a:pt x="83" y="2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53" name="Freeform 144">
                <a:extLst>
                  <a:ext uri="{FF2B5EF4-FFF2-40B4-BE49-F238E27FC236}">
                    <a16:creationId xmlns:a16="http://schemas.microsoft.com/office/drawing/2014/main" id="{490C3DF7-822F-57D1-2B5A-FF97C9FC3C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71399" y="2378101"/>
                <a:ext cx="304690" cy="345522"/>
              </a:xfrm>
              <a:custGeom>
                <a:avLst/>
                <a:gdLst>
                  <a:gd name="T0" fmla="*/ 75 w 136"/>
                  <a:gd name="T1" fmla="*/ 25 h 159"/>
                  <a:gd name="T2" fmla="*/ 117 w 136"/>
                  <a:gd name="T3" fmla="*/ 17 h 159"/>
                  <a:gd name="T4" fmla="*/ 125 w 136"/>
                  <a:gd name="T5" fmla="*/ 49 h 159"/>
                  <a:gd name="T6" fmla="*/ 112 w 136"/>
                  <a:gd name="T7" fmla="*/ 67 h 159"/>
                  <a:gd name="T8" fmla="*/ 121 w 136"/>
                  <a:gd name="T9" fmla="*/ 84 h 159"/>
                  <a:gd name="T10" fmla="*/ 114 w 136"/>
                  <a:gd name="T11" fmla="*/ 97 h 159"/>
                  <a:gd name="T12" fmla="*/ 96 w 136"/>
                  <a:gd name="T13" fmla="*/ 100 h 159"/>
                  <a:gd name="T14" fmla="*/ 90 w 136"/>
                  <a:gd name="T15" fmla="*/ 108 h 159"/>
                  <a:gd name="T16" fmla="*/ 92 w 136"/>
                  <a:gd name="T17" fmla="*/ 130 h 159"/>
                  <a:gd name="T18" fmla="*/ 85 w 136"/>
                  <a:gd name="T19" fmla="*/ 141 h 159"/>
                  <a:gd name="T20" fmla="*/ 88 w 136"/>
                  <a:gd name="T21" fmla="*/ 149 h 159"/>
                  <a:gd name="T22" fmla="*/ 85 w 136"/>
                  <a:gd name="T23" fmla="*/ 159 h 159"/>
                  <a:gd name="T24" fmla="*/ 76 w 136"/>
                  <a:gd name="T25" fmla="*/ 148 h 159"/>
                  <a:gd name="T26" fmla="*/ 69 w 136"/>
                  <a:gd name="T27" fmla="*/ 128 h 159"/>
                  <a:gd name="T28" fmla="*/ 56 w 136"/>
                  <a:gd name="T29" fmla="*/ 121 h 159"/>
                  <a:gd name="T30" fmla="*/ 42 w 136"/>
                  <a:gd name="T31" fmla="*/ 119 h 159"/>
                  <a:gd name="T32" fmla="*/ 27 w 136"/>
                  <a:gd name="T33" fmla="*/ 121 h 159"/>
                  <a:gd name="T34" fmla="*/ 13 w 136"/>
                  <a:gd name="T35" fmla="*/ 121 h 159"/>
                  <a:gd name="T36" fmla="*/ 6 w 136"/>
                  <a:gd name="T37" fmla="*/ 112 h 159"/>
                  <a:gd name="T38" fmla="*/ 22 w 136"/>
                  <a:gd name="T39" fmla="*/ 114 h 159"/>
                  <a:gd name="T40" fmla="*/ 27 w 136"/>
                  <a:gd name="T41" fmla="*/ 116 h 159"/>
                  <a:gd name="T42" fmla="*/ 9 w 136"/>
                  <a:gd name="T43" fmla="*/ 111 h 159"/>
                  <a:gd name="T44" fmla="*/ 15 w 136"/>
                  <a:gd name="T45" fmla="*/ 103 h 159"/>
                  <a:gd name="T46" fmla="*/ 25 w 136"/>
                  <a:gd name="T47" fmla="*/ 111 h 159"/>
                  <a:gd name="T48" fmla="*/ 22 w 136"/>
                  <a:gd name="T49" fmla="*/ 105 h 159"/>
                  <a:gd name="T50" fmla="*/ 20 w 136"/>
                  <a:gd name="T51" fmla="*/ 102 h 159"/>
                  <a:gd name="T52" fmla="*/ 20 w 136"/>
                  <a:gd name="T53" fmla="*/ 96 h 159"/>
                  <a:gd name="T54" fmla="*/ 32 w 136"/>
                  <a:gd name="T55" fmla="*/ 104 h 159"/>
                  <a:gd name="T56" fmla="*/ 48 w 136"/>
                  <a:gd name="T57" fmla="*/ 100 h 159"/>
                  <a:gd name="T58" fmla="*/ 30 w 136"/>
                  <a:gd name="T59" fmla="*/ 95 h 159"/>
                  <a:gd name="T60" fmla="*/ 37 w 136"/>
                  <a:gd name="T61" fmla="*/ 73 h 159"/>
                  <a:gd name="T62" fmla="*/ 58 w 136"/>
                  <a:gd name="T63" fmla="*/ 37 h 159"/>
                  <a:gd name="T64" fmla="*/ 67 w 136"/>
                  <a:gd name="T65" fmla="*/ 52 h 159"/>
                  <a:gd name="T66" fmla="*/ 61 w 136"/>
                  <a:gd name="T67" fmla="*/ 64 h 159"/>
                  <a:gd name="T68" fmla="*/ 67 w 136"/>
                  <a:gd name="T69" fmla="*/ 74 h 159"/>
                  <a:gd name="T70" fmla="*/ 66 w 136"/>
                  <a:gd name="T71" fmla="*/ 66 h 159"/>
                  <a:gd name="T72" fmla="*/ 85 w 136"/>
                  <a:gd name="T73" fmla="*/ 65 h 159"/>
                  <a:gd name="T74" fmla="*/ 77 w 136"/>
                  <a:gd name="T75" fmla="*/ 51 h 159"/>
                  <a:gd name="T76" fmla="*/ 71 w 136"/>
                  <a:gd name="T77" fmla="*/ 41 h 159"/>
                  <a:gd name="T78" fmla="*/ 134 w 136"/>
                  <a:gd name="T79" fmla="*/ 0 h 159"/>
                  <a:gd name="T80" fmla="*/ 118 w 136"/>
                  <a:gd name="T81" fmla="*/ 6 h 159"/>
                  <a:gd name="T82" fmla="*/ 111 w 136"/>
                  <a:gd name="T83" fmla="*/ 8 h 159"/>
                  <a:gd name="T84" fmla="*/ 112 w 136"/>
                  <a:gd name="T85" fmla="*/ 9 h 159"/>
                  <a:gd name="T86" fmla="*/ 96 w 136"/>
                  <a:gd name="T87" fmla="*/ 12 h 159"/>
                  <a:gd name="T88" fmla="*/ 98 w 136"/>
                  <a:gd name="T89" fmla="*/ 13 h 159"/>
                  <a:gd name="T90" fmla="*/ 93 w 136"/>
                  <a:gd name="T91" fmla="*/ 13 h 159"/>
                  <a:gd name="T92" fmla="*/ 91 w 136"/>
                  <a:gd name="T93" fmla="*/ 13 h 159"/>
                  <a:gd name="T94" fmla="*/ 81 w 136"/>
                  <a:gd name="T95" fmla="*/ 14 h 159"/>
                  <a:gd name="T96" fmla="*/ 78 w 136"/>
                  <a:gd name="T97" fmla="*/ 14 h 159"/>
                  <a:gd name="T98" fmla="*/ 56 w 136"/>
                  <a:gd name="T99" fmla="*/ 22 h 159"/>
                  <a:gd name="T100" fmla="*/ 60 w 136"/>
                  <a:gd name="T101" fmla="*/ 18 h 159"/>
                  <a:gd name="T102" fmla="*/ 54 w 136"/>
                  <a:gd name="T103" fmla="*/ 25 h 159"/>
                  <a:gd name="T104" fmla="*/ 22 w 136"/>
                  <a:gd name="T105" fmla="*/ 94 h 159"/>
                  <a:gd name="T106" fmla="*/ 29 w 136"/>
                  <a:gd name="T107" fmla="*/ 101 h 159"/>
                  <a:gd name="T108" fmla="*/ 30 w 136"/>
                  <a:gd name="T109" fmla="*/ 97 h 159"/>
                  <a:gd name="T110" fmla="*/ 20 w 136"/>
                  <a:gd name="T111" fmla="*/ 94 h 159"/>
                  <a:gd name="T112" fmla="*/ 76 w 136"/>
                  <a:gd name="T113" fmla="*/ 74 h 159"/>
                  <a:gd name="T114" fmla="*/ 74 w 136"/>
                  <a:gd name="T115" fmla="*/ 72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6" h="159">
                    <a:moveTo>
                      <a:pt x="72" y="35"/>
                    </a:moveTo>
                    <a:cubicBezTo>
                      <a:pt x="71" y="33"/>
                      <a:pt x="71" y="33"/>
                      <a:pt x="71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6" y="35"/>
                      <a:pt x="66" y="35"/>
                      <a:pt x="66" y="35"/>
                    </a:cubicBezTo>
                    <a:cubicBezTo>
                      <a:pt x="66" y="33"/>
                      <a:pt x="66" y="33"/>
                      <a:pt x="66" y="33"/>
                    </a:cubicBezTo>
                    <a:cubicBezTo>
                      <a:pt x="70" y="31"/>
                      <a:pt x="70" y="31"/>
                      <a:pt x="70" y="31"/>
                    </a:cubicBezTo>
                    <a:cubicBezTo>
                      <a:pt x="72" y="30"/>
                      <a:pt x="72" y="30"/>
                      <a:pt x="72" y="30"/>
                    </a:cubicBezTo>
                    <a:cubicBezTo>
                      <a:pt x="73" y="28"/>
                      <a:pt x="73" y="28"/>
                      <a:pt x="73" y="28"/>
                    </a:cubicBezTo>
                    <a:cubicBezTo>
                      <a:pt x="75" y="25"/>
                      <a:pt x="75" y="25"/>
                      <a:pt x="75" y="25"/>
                    </a:cubicBezTo>
                    <a:cubicBezTo>
                      <a:pt x="75" y="25"/>
                      <a:pt x="77" y="23"/>
                      <a:pt x="78" y="22"/>
                    </a:cubicBezTo>
                    <a:cubicBezTo>
                      <a:pt x="79" y="22"/>
                      <a:pt x="83" y="20"/>
                      <a:pt x="83" y="20"/>
                    </a:cubicBezTo>
                    <a:cubicBezTo>
                      <a:pt x="83" y="20"/>
                      <a:pt x="87" y="18"/>
                      <a:pt x="88" y="18"/>
                    </a:cubicBezTo>
                    <a:cubicBezTo>
                      <a:pt x="89" y="18"/>
                      <a:pt x="96" y="17"/>
                      <a:pt x="96" y="17"/>
                    </a:cubicBezTo>
                    <a:cubicBezTo>
                      <a:pt x="103" y="19"/>
                      <a:pt x="103" y="19"/>
                      <a:pt x="103" y="19"/>
                    </a:cubicBezTo>
                    <a:cubicBezTo>
                      <a:pt x="103" y="19"/>
                      <a:pt x="105" y="17"/>
                      <a:pt x="107" y="17"/>
                    </a:cubicBezTo>
                    <a:cubicBezTo>
                      <a:pt x="107" y="17"/>
                      <a:pt x="109" y="18"/>
                      <a:pt x="110" y="18"/>
                    </a:cubicBezTo>
                    <a:cubicBezTo>
                      <a:pt x="111" y="18"/>
                      <a:pt x="113" y="17"/>
                      <a:pt x="113" y="17"/>
                    </a:cubicBezTo>
                    <a:cubicBezTo>
                      <a:pt x="117" y="17"/>
                      <a:pt x="117" y="17"/>
                      <a:pt x="117" y="17"/>
                    </a:cubicBezTo>
                    <a:cubicBezTo>
                      <a:pt x="120" y="21"/>
                      <a:pt x="120" y="21"/>
                      <a:pt x="120" y="21"/>
                    </a:cubicBezTo>
                    <a:cubicBezTo>
                      <a:pt x="121" y="25"/>
                      <a:pt x="121" y="25"/>
                      <a:pt x="121" y="25"/>
                    </a:cubicBezTo>
                    <a:cubicBezTo>
                      <a:pt x="126" y="26"/>
                      <a:pt x="126" y="26"/>
                      <a:pt x="126" y="26"/>
                    </a:cubicBezTo>
                    <a:cubicBezTo>
                      <a:pt x="126" y="26"/>
                      <a:pt x="125" y="28"/>
                      <a:pt x="125" y="29"/>
                    </a:cubicBezTo>
                    <a:cubicBezTo>
                      <a:pt x="126" y="29"/>
                      <a:pt x="129" y="30"/>
                      <a:pt x="129" y="30"/>
                    </a:cubicBezTo>
                    <a:cubicBezTo>
                      <a:pt x="129" y="31"/>
                      <a:pt x="129" y="31"/>
                      <a:pt x="129" y="31"/>
                    </a:cubicBezTo>
                    <a:cubicBezTo>
                      <a:pt x="129" y="31"/>
                      <a:pt x="129" y="35"/>
                      <a:pt x="129" y="36"/>
                    </a:cubicBezTo>
                    <a:cubicBezTo>
                      <a:pt x="129" y="37"/>
                      <a:pt x="129" y="43"/>
                      <a:pt x="129" y="43"/>
                    </a:cubicBezTo>
                    <a:cubicBezTo>
                      <a:pt x="129" y="43"/>
                      <a:pt x="126" y="49"/>
                      <a:pt x="125" y="49"/>
                    </a:cubicBezTo>
                    <a:cubicBezTo>
                      <a:pt x="124" y="50"/>
                      <a:pt x="125" y="54"/>
                      <a:pt x="125" y="54"/>
                    </a:cubicBezTo>
                    <a:cubicBezTo>
                      <a:pt x="124" y="59"/>
                      <a:pt x="124" y="59"/>
                      <a:pt x="124" y="59"/>
                    </a:cubicBezTo>
                    <a:cubicBezTo>
                      <a:pt x="124" y="59"/>
                      <a:pt x="124" y="63"/>
                      <a:pt x="123" y="62"/>
                    </a:cubicBezTo>
                    <a:cubicBezTo>
                      <a:pt x="122" y="62"/>
                      <a:pt x="117" y="60"/>
                      <a:pt x="117" y="60"/>
                    </a:cubicBezTo>
                    <a:cubicBezTo>
                      <a:pt x="113" y="61"/>
                      <a:pt x="113" y="61"/>
                      <a:pt x="113" y="61"/>
                    </a:cubicBezTo>
                    <a:cubicBezTo>
                      <a:pt x="113" y="64"/>
                      <a:pt x="113" y="64"/>
                      <a:pt x="113" y="64"/>
                    </a:cubicBezTo>
                    <a:cubicBezTo>
                      <a:pt x="115" y="65"/>
                      <a:pt x="115" y="65"/>
                      <a:pt x="115" y="65"/>
                    </a:cubicBezTo>
                    <a:cubicBezTo>
                      <a:pt x="112" y="65"/>
                      <a:pt x="112" y="65"/>
                      <a:pt x="112" y="65"/>
                    </a:cubicBezTo>
                    <a:cubicBezTo>
                      <a:pt x="112" y="67"/>
                      <a:pt x="112" y="67"/>
                      <a:pt x="112" y="67"/>
                    </a:cubicBezTo>
                    <a:cubicBezTo>
                      <a:pt x="112" y="67"/>
                      <a:pt x="113" y="69"/>
                      <a:pt x="114" y="70"/>
                    </a:cubicBezTo>
                    <a:cubicBezTo>
                      <a:pt x="114" y="71"/>
                      <a:pt x="117" y="71"/>
                      <a:pt x="117" y="71"/>
                    </a:cubicBezTo>
                    <a:cubicBezTo>
                      <a:pt x="119" y="73"/>
                      <a:pt x="119" y="73"/>
                      <a:pt x="119" y="73"/>
                    </a:cubicBezTo>
                    <a:cubicBezTo>
                      <a:pt x="122" y="72"/>
                      <a:pt x="122" y="72"/>
                      <a:pt x="122" y="72"/>
                    </a:cubicBezTo>
                    <a:cubicBezTo>
                      <a:pt x="124" y="76"/>
                      <a:pt x="124" y="76"/>
                      <a:pt x="124" y="76"/>
                    </a:cubicBezTo>
                    <a:cubicBezTo>
                      <a:pt x="123" y="78"/>
                      <a:pt x="123" y="78"/>
                      <a:pt x="123" y="78"/>
                    </a:cubicBezTo>
                    <a:cubicBezTo>
                      <a:pt x="123" y="78"/>
                      <a:pt x="123" y="80"/>
                      <a:pt x="123" y="81"/>
                    </a:cubicBezTo>
                    <a:cubicBezTo>
                      <a:pt x="123" y="82"/>
                      <a:pt x="124" y="83"/>
                      <a:pt x="123" y="83"/>
                    </a:cubicBezTo>
                    <a:cubicBezTo>
                      <a:pt x="123" y="83"/>
                      <a:pt x="121" y="84"/>
                      <a:pt x="121" y="84"/>
                    </a:cubicBezTo>
                    <a:cubicBezTo>
                      <a:pt x="120" y="86"/>
                      <a:pt x="120" y="86"/>
                      <a:pt x="120" y="86"/>
                    </a:cubicBezTo>
                    <a:cubicBezTo>
                      <a:pt x="120" y="86"/>
                      <a:pt x="118" y="87"/>
                      <a:pt x="117" y="87"/>
                    </a:cubicBezTo>
                    <a:cubicBezTo>
                      <a:pt x="116" y="88"/>
                      <a:pt x="116" y="88"/>
                      <a:pt x="116" y="89"/>
                    </a:cubicBezTo>
                    <a:cubicBezTo>
                      <a:pt x="116" y="89"/>
                      <a:pt x="112" y="88"/>
                      <a:pt x="112" y="88"/>
                    </a:cubicBezTo>
                    <a:cubicBezTo>
                      <a:pt x="112" y="91"/>
                      <a:pt x="112" y="91"/>
                      <a:pt x="112" y="91"/>
                    </a:cubicBezTo>
                    <a:cubicBezTo>
                      <a:pt x="110" y="91"/>
                      <a:pt x="110" y="91"/>
                      <a:pt x="110" y="91"/>
                    </a:cubicBezTo>
                    <a:cubicBezTo>
                      <a:pt x="112" y="94"/>
                      <a:pt x="112" y="94"/>
                      <a:pt x="112" y="94"/>
                    </a:cubicBezTo>
                    <a:cubicBezTo>
                      <a:pt x="115" y="96"/>
                      <a:pt x="115" y="96"/>
                      <a:pt x="115" y="96"/>
                    </a:cubicBezTo>
                    <a:cubicBezTo>
                      <a:pt x="114" y="97"/>
                      <a:pt x="114" y="97"/>
                      <a:pt x="114" y="97"/>
                    </a:cubicBezTo>
                    <a:cubicBezTo>
                      <a:pt x="112" y="98"/>
                      <a:pt x="112" y="98"/>
                      <a:pt x="112" y="98"/>
                    </a:cubicBezTo>
                    <a:cubicBezTo>
                      <a:pt x="111" y="100"/>
                      <a:pt x="111" y="100"/>
                      <a:pt x="111" y="100"/>
                    </a:cubicBezTo>
                    <a:cubicBezTo>
                      <a:pt x="108" y="100"/>
                      <a:pt x="108" y="100"/>
                      <a:pt x="108" y="100"/>
                    </a:cubicBezTo>
                    <a:cubicBezTo>
                      <a:pt x="105" y="101"/>
                      <a:pt x="105" y="101"/>
                      <a:pt x="105" y="101"/>
                    </a:cubicBezTo>
                    <a:cubicBezTo>
                      <a:pt x="104" y="101"/>
                      <a:pt x="104" y="101"/>
                      <a:pt x="104" y="101"/>
                    </a:cubicBezTo>
                    <a:cubicBezTo>
                      <a:pt x="101" y="101"/>
                      <a:pt x="101" y="101"/>
                      <a:pt x="101" y="101"/>
                    </a:cubicBezTo>
                    <a:cubicBezTo>
                      <a:pt x="100" y="103"/>
                      <a:pt x="100" y="103"/>
                      <a:pt x="100" y="103"/>
                    </a:cubicBezTo>
                    <a:cubicBezTo>
                      <a:pt x="99" y="101"/>
                      <a:pt x="99" y="101"/>
                      <a:pt x="99" y="101"/>
                    </a:cubicBezTo>
                    <a:cubicBezTo>
                      <a:pt x="96" y="100"/>
                      <a:pt x="96" y="100"/>
                      <a:pt x="96" y="100"/>
                    </a:cubicBezTo>
                    <a:cubicBezTo>
                      <a:pt x="94" y="98"/>
                      <a:pt x="94" y="98"/>
                      <a:pt x="94" y="98"/>
                    </a:cubicBezTo>
                    <a:cubicBezTo>
                      <a:pt x="91" y="99"/>
                      <a:pt x="91" y="99"/>
                      <a:pt x="91" y="99"/>
                    </a:cubicBezTo>
                    <a:cubicBezTo>
                      <a:pt x="94" y="101"/>
                      <a:pt x="94" y="101"/>
                      <a:pt x="94" y="101"/>
                    </a:cubicBezTo>
                    <a:cubicBezTo>
                      <a:pt x="92" y="101"/>
                      <a:pt x="92" y="101"/>
                      <a:pt x="92" y="101"/>
                    </a:cubicBezTo>
                    <a:cubicBezTo>
                      <a:pt x="87" y="100"/>
                      <a:pt x="87" y="100"/>
                      <a:pt x="87" y="100"/>
                    </a:cubicBezTo>
                    <a:cubicBezTo>
                      <a:pt x="87" y="103"/>
                      <a:pt x="87" y="103"/>
                      <a:pt x="87" y="103"/>
                    </a:cubicBezTo>
                    <a:cubicBezTo>
                      <a:pt x="87" y="105"/>
                      <a:pt x="87" y="105"/>
                      <a:pt x="87" y="105"/>
                    </a:cubicBezTo>
                    <a:cubicBezTo>
                      <a:pt x="87" y="105"/>
                      <a:pt x="86" y="106"/>
                      <a:pt x="87" y="106"/>
                    </a:cubicBezTo>
                    <a:cubicBezTo>
                      <a:pt x="88" y="106"/>
                      <a:pt x="90" y="108"/>
                      <a:pt x="90" y="108"/>
                    </a:cubicBezTo>
                    <a:cubicBezTo>
                      <a:pt x="90" y="110"/>
                      <a:pt x="90" y="110"/>
                      <a:pt x="90" y="110"/>
                    </a:cubicBezTo>
                    <a:cubicBezTo>
                      <a:pt x="91" y="112"/>
                      <a:pt x="91" y="112"/>
                      <a:pt x="91" y="112"/>
                    </a:cubicBezTo>
                    <a:cubicBezTo>
                      <a:pt x="91" y="113"/>
                      <a:pt x="91" y="113"/>
                      <a:pt x="91" y="113"/>
                    </a:cubicBezTo>
                    <a:cubicBezTo>
                      <a:pt x="93" y="116"/>
                      <a:pt x="93" y="116"/>
                      <a:pt x="93" y="116"/>
                    </a:cubicBezTo>
                    <a:cubicBezTo>
                      <a:pt x="93" y="119"/>
                      <a:pt x="93" y="119"/>
                      <a:pt x="93" y="119"/>
                    </a:cubicBezTo>
                    <a:cubicBezTo>
                      <a:pt x="95" y="122"/>
                      <a:pt x="95" y="122"/>
                      <a:pt x="95" y="122"/>
                    </a:cubicBezTo>
                    <a:cubicBezTo>
                      <a:pt x="94" y="125"/>
                      <a:pt x="94" y="125"/>
                      <a:pt x="94" y="125"/>
                    </a:cubicBezTo>
                    <a:cubicBezTo>
                      <a:pt x="94" y="125"/>
                      <a:pt x="95" y="127"/>
                      <a:pt x="94" y="128"/>
                    </a:cubicBezTo>
                    <a:cubicBezTo>
                      <a:pt x="94" y="128"/>
                      <a:pt x="92" y="130"/>
                      <a:pt x="92" y="130"/>
                    </a:cubicBezTo>
                    <a:cubicBezTo>
                      <a:pt x="91" y="132"/>
                      <a:pt x="91" y="132"/>
                      <a:pt x="91" y="13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9" y="135"/>
                      <a:pt x="89" y="135"/>
                      <a:pt x="89" y="135"/>
                    </a:cubicBezTo>
                    <a:cubicBezTo>
                      <a:pt x="89" y="135"/>
                      <a:pt x="89" y="138"/>
                      <a:pt x="90" y="138"/>
                    </a:cubicBezTo>
                    <a:cubicBezTo>
                      <a:pt x="90" y="138"/>
                      <a:pt x="92" y="136"/>
                      <a:pt x="92" y="136"/>
                    </a:cubicBezTo>
                    <a:cubicBezTo>
                      <a:pt x="92" y="136"/>
                      <a:pt x="94" y="138"/>
                      <a:pt x="93" y="139"/>
                    </a:cubicBezTo>
                    <a:cubicBezTo>
                      <a:pt x="93" y="139"/>
                      <a:pt x="89" y="139"/>
                      <a:pt x="89" y="139"/>
                    </a:cubicBezTo>
                    <a:cubicBezTo>
                      <a:pt x="87" y="139"/>
                      <a:pt x="87" y="139"/>
                      <a:pt x="87" y="139"/>
                    </a:cubicBezTo>
                    <a:cubicBezTo>
                      <a:pt x="87" y="139"/>
                      <a:pt x="86" y="141"/>
                      <a:pt x="85" y="141"/>
                    </a:cubicBezTo>
                    <a:cubicBezTo>
                      <a:pt x="85" y="142"/>
                      <a:pt x="85" y="143"/>
                      <a:pt x="85" y="143"/>
                    </a:cubicBezTo>
                    <a:cubicBezTo>
                      <a:pt x="83" y="141"/>
                      <a:pt x="83" y="141"/>
                      <a:pt x="83" y="141"/>
                    </a:cubicBezTo>
                    <a:cubicBezTo>
                      <a:pt x="82" y="142"/>
                      <a:pt x="82" y="142"/>
                      <a:pt x="82" y="142"/>
                    </a:cubicBezTo>
                    <a:cubicBezTo>
                      <a:pt x="83" y="144"/>
                      <a:pt x="83" y="144"/>
                      <a:pt x="83" y="144"/>
                    </a:cubicBezTo>
                    <a:cubicBezTo>
                      <a:pt x="83" y="146"/>
                      <a:pt x="83" y="146"/>
                      <a:pt x="83" y="146"/>
                    </a:cubicBezTo>
                    <a:cubicBezTo>
                      <a:pt x="83" y="146"/>
                      <a:pt x="85" y="146"/>
                      <a:pt x="85" y="146"/>
                    </a:cubicBezTo>
                    <a:cubicBezTo>
                      <a:pt x="85" y="146"/>
                      <a:pt x="87" y="147"/>
                      <a:pt x="87" y="147"/>
                    </a:cubicBezTo>
                    <a:cubicBezTo>
                      <a:pt x="87" y="147"/>
                      <a:pt x="86" y="148"/>
                      <a:pt x="87" y="148"/>
                    </a:cubicBezTo>
                    <a:cubicBezTo>
                      <a:pt x="87" y="149"/>
                      <a:pt x="87" y="149"/>
                      <a:pt x="88" y="149"/>
                    </a:cubicBezTo>
                    <a:cubicBezTo>
                      <a:pt x="89" y="150"/>
                      <a:pt x="89" y="150"/>
                      <a:pt x="89" y="150"/>
                    </a:cubicBezTo>
                    <a:cubicBezTo>
                      <a:pt x="89" y="150"/>
                      <a:pt x="89" y="152"/>
                      <a:pt x="89" y="153"/>
                    </a:cubicBezTo>
                    <a:cubicBezTo>
                      <a:pt x="88" y="153"/>
                      <a:pt x="88" y="154"/>
                      <a:pt x="88" y="154"/>
                    </a:cubicBezTo>
                    <a:cubicBezTo>
                      <a:pt x="87" y="154"/>
                      <a:pt x="87" y="154"/>
                      <a:pt x="87" y="154"/>
                    </a:cubicBezTo>
                    <a:cubicBezTo>
                      <a:pt x="86" y="155"/>
                      <a:pt x="86" y="156"/>
                      <a:pt x="86" y="156"/>
                    </a:cubicBezTo>
                    <a:cubicBezTo>
                      <a:pt x="86" y="156"/>
                      <a:pt x="85" y="156"/>
                      <a:pt x="85" y="156"/>
                    </a:cubicBezTo>
                    <a:cubicBezTo>
                      <a:pt x="85" y="157"/>
                      <a:pt x="86" y="158"/>
                      <a:pt x="86" y="159"/>
                    </a:cubicBezTo>
                    <a:cubicBezTo>
                      <a:pt x="86" y="159"/>
                      <a:pt x="86" y="159"/>
                      <a:pt x="85" y="159"/>
                    </a:cubicBezTo>
                    <a:cubicBezTo>
                      <a:pt x="85" y="159"/>
                      <a:pt x="85" y="159"/>
                      <a:pt x="85" y="159"/>
                    </a:cubicBezTo>
                    <a:cubicBezTo>
                      <a:pt x="85" y="159"/>
                      <a:pt x="83" y="157"/>
                      <a:pt x="83" y="157"/>
                    </a:cubicBezTo>
                    <a:cubicBezTo>
                      <a:pt x="82" y="157"/>
                      <a:pt x="81" y="158"/>
                      <a:pt x="79" y="158"/>
                    </a:cubicBezTo>
                    <a:cubicBezTo>
                      <a:pt x="78" y="157"/>
                      <a:pt x="78" y="157"/>
                      <a:pt x="78" y="157"/>
                    </a:cubicBezTo>
                    <a:cubicBezTo>
                      <a:pt x="74" y="158"/>
                      <a:pt x="74" y="158"/>
                      <a:pt x="74" y="158"/>
                    </a:cubicBezTo>
                    <a:cubicBezTo>
                      <a:pt x="74" y="156"/>
                      <a:pt x="74" y="156"/>
                      <a:pt x="74" y="156"/>
                    </a:cubicBezTo>
                    <a:cubicBezTo>
                      <a:pt x="73" y="154"/>
                      <a:pt x="73" y="154"/>
                      <a:pt x="73" y="154"/>
                    </a:cubicBezTo>
                    <a:cubicBezTo>
                      <a:pt x="73" y="154"/>
                      <a:pt x="73" y="152"/>
                      <a:pt x="73" y="151"/>
                    </a:cubicBezTo>
                    <a:cubicBezTo>
                      <a:pt x="73" y="151"/>
                      <a:pt x="74" y="150"/>
                      <a:pt x="74" y="150"/>
                    </a:cubicBezTo>
                    <a:cubicBezTo>
                      <a:pt x="75" y="150"/>
                      <a:pt x="76" y="148"/>
                      <a:pt x="76" y="148"/>
                    </a:cubicBezTo>
                    <a:cubicBezTo>
                      <a:pt x="76" y="148"/>
                      <a:pt x="77" y="146"/>
                      <a:pt x="78" y="145"/>
                    </a:cubicBezTo>
                    <a:cubicBezTo>
                      <a:pt x="78" y="145"/>
                      <a:pt x="79" y="142"/>
                      <a:pt x="79" y="142"/>
                    </a:cubicBezTo>
                    <a:cubicBezTo>
                      <a:pt x="79" y="141"/>
                      <a:pt x="80" y="140"/>
                      <a:pt x="80" y="140"/>
                    </a:cubicBezTo>
                    <a:cubicBezTo>
                      <a:pt x="80" y="140"/>
                      <a:pt x="82" y="138"/>
                      <a:pt x="82" y="137"/>
                    </a:cubicBezTo>
                    <a:cubicBezTo>
                      <a:pt x="82" y="136"/>
                      <a:pt x="81" y="136"/>
                      <a:pt x="80" y="136"/>
                    </a:cubicBezTo>
                    <a:cubicBezTo>
                      <a:pt x="80" y="136"/>
                      <a:pt x="77" y="135"/>
                      <a:pt x="76" y="134"/>
                    </a:cubicBezTo>
                    <a:cubicBezTo>
                      <a:pt x="75" y="134"/>
                      <a:pt x="73" y="133"/>
                      <a:pt x="71" y="133"/>
                    </a:cubicBezTo>
                    <a:cubicBezTo>
                      <a:pt x="69" y="132"/>
                      <a:pt x="70" y="132"/>
                      <a:pt x="71" y="130"/>
                    </a:cubicBezTo>
                    <a:cubicBezTo>
                      <a:pt x="71" y="129"/>
                      <a:pt x="69" y="129"/>
                      <a:pt x="69" y="128"/>
                    </a:cubicBezTo>
                    <a:cubicBezTo>
                      <a:pt x="69" y="128"/>
                      <a:pt x="68" y="129"/>
                      <a:pt x="67" y="130"/>
                    </a:cubicBezTo>
                    <a:cubicBezTo>
                      <a:pt x="66" y="130"/>
                      <a:pt x="65" y="129"/>
                      <a:pt x="64" y="129"/>
                    </a:cubicBezTo>
                    <a:cubicBezTo>
                      <a:pt x="64" y="129"/>
                      <a:pt x="61" y="129"/>
                      <a:pt x="61" y="129"/>
                    </a:cubicBezTo>
                    <a:cubicBezTo>
                      <a:pt x="61" y="129"/>
                      <a:pt x="61" y="128"/>
                      <a:pt x="61" y="127"/>
                    </a:cubicBezTo>
                    <a:cubicBezTo>
                      <a:pt x="61" y="126"/>
                      <a:pt x="60" y="126"/>
                      <a:pt x="60" y="126"/>
                    </a:cubicBezTo>
                    <a:cubicBezTo>
                      <a:pt x="60" y="126"/>
                      <a:pt x="58" y="126"/>
                      <a:pt x="58" y="125"/>
                    </a:cubicBezTo>
                    <a:cubicBezTo>
                      <a:pt x="57" y="125"/>
                      <a:pt x="58" y="125"/>
                      <a:pt x="58" y="124"/>
                    </a:cubicBezTo>
                    <a:cubicBezTo>
                      <a:pt x="58" y="123"/>
                      <a:pt x="58" y="124"/>
                      <a:pt x="57" y="124"/>
                    </a:cubicBezTo>
                    <a:cubicBezTo>
                      <a:pt x="56" y="124"/>
                      <a:pt x="56" y="121"/>
                      <a:pt x="56" y="121"/>
                    </a:cubicBezTo>
                    <a:cubicBezTo>
                      <a:pt x="56" y="121"/>
                      <a:pt x="55" y="119"/>
                      <a:pt x="55" y="118"/>
                    </a:cubicBezTo>
                    <a:cubicBezTo>
                      <a:pt x="54" y="116"/>
                      <a:pt x="54" y="118"/>
                      <a:pt x="54" y="118"/>
                    </a:cubicBezTo>
                    <a:cubicBezTo>
                      <a:pt x="52" y="121"/>
                      <a:pt x="52" y="121"/>
                      <a:pt x="52" y="121"/>
                    </a:cubicBezTo>
                    <a:cubicBezTo>
                      <a:pt x="52" y="121"/>
                      <a:pt x="51" y="121"/>
                      <a:pt x="48" y="120"/>
                    </a:cubicBezTo>
                    <a:cubicBezTo>
                      <a:pt x="46" y="119"/>
                      <a:pt x="47" y="119"/>
                      <a:pt x="47" y="119"/>
                    </a:cubicBezTo>
                    <a:cubicBezTo>
                      <a:pt x="49" y="117"/>
                      <a:pt x="49" y="117"/>
                      <a:pt x="49" y="117"/>
                    </a:cubicBezTo>
                    <a:cubicBezTo>
                      <a:pt x="49" y="117"/>
                      <a:pt x="47" y="116"/>
                      <a:pt x="46" y="116"/>
                    </a:cubicBezTo>
                    <a:cubicBezTo>
                      <a:pt x="45" y="115"/>
                      <a:pt x="45" y="115"/>
                      <a:pt x="44" y="117"/>
                    </a:cubicBezTo>
                    <a:cubicBezTo>
                      <a:pt x="43" y="118"/>
                      <a:pt x="43" y="118"/>
                      <a:pt x="42" y="119"/>
                    </a:cubicBezTo>
                    <a:cubicBezTo>
                      <a:pt x="41" y="120"/>
                      <a:pt x="41" y="120"/>
                      <a:pt x="39" y="120"/>
                    </a:cubicBezTo>
                    <a:cubicBezTo>
                      <a:pt x="38" y="120"/>
                      <a:pt x="38" y="119"/>
                      <a:pt x="37" y="119"/>
                    </a:cubicBezTo>
                    <a:cubicBezTo>
                      <a:pt x="37" y="118"/>
                      <a:pt x="37" y="118"/>
                      <a:pt x="36" y="117"/>
                    </a:cubicBezTo>
                    <a:cubicBezTo>
                      <a:pt x="36" y="116"/>
                      <a:pt x="35" y="116"/>
                      <a:pt x="35" y="116"/>
                    </a:cubicBezTo>
                    <a:cubicBezTo>
                      <a:pt x="35" y="116"/>
                      <a:pt x="33" y="117"/>
                      <a:pt x="33" y="118"/>
                    </a:cubicBezTo>
                    <a:cubicBezTo>
                      <a:pt x="32" y="118"/>
                      <a:pt x="33" y="119"/>
                      <a:pt x="33" y="120"/>
                    </a:cubicBezTo>
                    <a:cubicBezTo>
                      <a:pt x="34" y="121"/>
                      <a:pt x="33" y="122"/>
                      <a:pt x="33" y="122"/>
                    </a:cubicBezTo>
                    <a:cubicBezTo>
                      <a:pt x="33" y="122"/>
                      <a:pt x="31" y="122"/>
                      <a:pt x="30" y="122"/>
                    </a:cubicBezTo>
                    <a:cubicBezTo>
                      <a:pt x="29" y="122"/>
                      <a:pt x="28" y="122"/>
                      <a:pt x="27" y="121"/>
                    </a:cubicBezTo>
                    <a:cubicBezTo>
                      <a:pt x="25" y="120"/>
                      <a:pt x="26" y="122"/>
                      <a:pt x="26" y="123"/>
                    </a:cubicBezTo>
                    <a:cubicBezTo>
                      <a:pt x="26" y="123"/>
                      <a:pt x="24" y="125"/>
                      <a:pt x="24" y="125"/>
                    </a:cubicBezTo>
                    <a:cubicBezTo>
                      <a:pt x="24" y="125"/>
                      <a:pt x="24" y="125"/>
                      <a:pt x="24" y="125"/>
                    </a:cubicBezTo>
                    <a:cubicBezTo>
                      <a:pt x="22" y="125"/>
                      <a:pt x="20" y="124"/>
                      <a:pt x="20" y="124"/>
                    </a:cubicBezTo>
                    <a:cubicBezTo>
                      <a:pt x="19" y="125"/>
                      <a:pt x="19" y="125"/>
                      <a:pt x="19" y="125"/>
                    </a:cubicBezTo>
                    <a:cubicBezTo>
                      <a:pt x="16" y="124"/>
                      <a:pt x="16" y="124"/>
                      <a:pt x="16" y="124"/>
                    </a:cubicBezTo>
                    <a:cubicBezTo>
                      <a:pt x="15" y="124"/>
                      <a:pt x="15" y="124"/>
                      <a:pt x="15" y="124"/>
                    </a:cubicBezTo>
                    <a:cubicBezTo>
                      <a:pt x="14" y="121"/>
                      <a:pt x="14" y="121"/>
                      <a:pt x="14" y="121"/>
                    </a:cubicBezTo>
                    <a:cubicBezTo>
                      <a:pt x="13" y="121"/>
                      <a:pt x="13" y="121"/>
                      <a:pt x="13" y="121"/>
                    </a:cubicBezTo>
                    <a:cubicBezTo>
                      <a:pt x="9" y="119"/>
                      <a:pt x="9" y="119"/>
                      <a:pt x="9" y="119"/>
                    </a:cubicBezTo>
                    <a:cubicBezTo>
                      <a:pt x="8" y="118"/>
                      <a:pt x="8" y="118"/>
                      <a:pt x="8" y="118"/>
                    </a:cubicBezTo>
                    <a:cubicBezTo>
                      <a:pt x="6" y="119"/>
                      <a:pt x="6" y="119"/>
                      <a:pt x="6" y="119"/>
                    </a:cubicBezTo>
                    <a:cubicBezTo>
                      <a:pt x="5" y="120"/>
                      <a:pt x="5" y="120"/>
                      <a:pt x="5" y="120"/>
                    </a:cubicBezTo>
                    <a:cubicBezTo>
                      <a:pt x="5" y="120"/>
                      <a:pt x="3" y="121"/>
                      <a:pt x="2" y="121"/>
                    </a:cubicBezTo>
                    <a:cubicBezTo>
                      <a:pt x="2" y="120"/>
                      <a:pt x="0" y="116"/>
                      <a:pt x="0" y="116"/>
                    </a:cubicBezTo>
                    <a:cubicBezTo>
                      <a:pt x="1" y="113"/>
                      <a:pt x="1" y="113"/>
                      <a:pt x="1" y="113"/>
                    </a:cubicBezTo>
                    <a:cubicBezTo>
                      <a:pt x="1" y="113"/>
                      <a:pt x="4" y="112"/>
                      <a:pt x="4" y="112"/>
                    </a:cubicBezTo>
                    <a:cubicBezTo>
                      <a:pt x="4" y="112"/>
                      <a:pt x="6" y="112"/>
                      <a:pt x="6" y="112"/>
                    </a:cubicBezTo>
                    <a:cubicBezTo>
                      <a:pt x="6" y="112"/>
                      <a:pt x="7" y="112"/>
                      <a:pt x="7" y="113"/>
                    </a:cubicBezTo>
                    <a:cubicBezTo>
                      <a:pt x="8" y="113"/>
                      <a:pt x="10" y="115"/>
                      <a:pt x="11" y="115"/>
                    </a:cubicBezTo>
                    <a:cubicBezTo>
                      <a:pt x="11" y="115"/>
                      <a:pt x="13" y="116"/>
                      <a:pt x="13" y="116"/>
                    </a:cubicBezTo>
                    <a:cubicBezTo>
                      <a:pt x="14" y="116"/>
                      <a:pt x="16" y="117"/>
                      <a:pt x="16" y="117"/>
                    </a:cubicBezTo>
                    <a:cubicBezTo>
                      <a:pt x="16" y="117"/>
                      <a:pt x="18" y="117"/>
                      <a:pt x="18" y="117"/>
                    </a:cubicBezTo>
                    <a:cubicBezTo>
                      <a:pt x="18" y="117"/>
                      <a:pt x="20" y="116"/>
                      <a:pt x="20" y="116"/>
                    </a:cubicBezTo>
                    <a:cubicBezTo>
                      <a:pt x="20" y="116"/>
                      <a:pt x="20" y="116"/>
                      <a:pt x="20" y="116"/>
                    </a:cubicBezTo>
                    <a:cubicBezTo>
                      <a:pt x="21" y="115"/>
                      <a:pt x="21" y="114"/>
                      <a:pt x="21" y="114"/>
                    </a:cubicBezTo>
                    <a:cubicBezTo>
                      <a:pt x="21" y="114"/>
                      <a:pt x="22" y="114"/>
                      <a:pt x="22" y="114"/>
                    </a:cubicBezTo>
                    <a:cubicBezTo>
                      <a:pt x="22" y="115"/>
                      <a:pt x="23" y="116"/>
                      <a:pt x="23" y="116"/>
                    </a:cubicBezTo>
                    <a:cubicBezTo>
                      <a:pt x="23" y="116"/>
                      <a:pt x="24" y="117"/>
                      <a:pt x="24" y="117"/>
                    </a:cubicBezTo>
                    <a:cubicBezTo>
                      <a:pt x="25" y="118"/>
                      <a:pt x="26" y="118"/>
                      <a:pt x="26" y="118"/>
                    </a:cubicBezTo>
                    <a:cubicBezTo>
                      <a:pt x="26" y="118"/>
                      <a:pt x="27" y="117"/>
                      <a:pt x="27" y="117"/>
                    </a:cubicBezTo>
                    <a:cubicBezTo>
                      <a:pt x="27" y="117"/>
                      <a:pt x="28" y="118"/>
                      <a:pt x="28" y="117"/>
                    </a:cubicBezTo>
                    <a:cubicBezTo>
                      <a:pt x="28" y="117"/>
                      <a:pt x="29" y="117"/>
                      <a:pt x="29" y="117"/>
                    </a:cubicBezTo>
                    <a:cubicBezTo>
                      <a:pt x="29" y="117"/>
                      <a:pt x="30" y="116"/>
                      <a:pt x="29" y="116"/>
                    </a:cubicBezTo>
                    <a:cubicBezTo>
                      <a:pt x="29" y="116"/>
                      <a:pt x="29" y="115"/>
                      <a:pt x="29" y="116"/>
                    </a:cubicBezTo>
                    <a:cubicBezTo>
                      <a:pt x="28" y="116"/>
                      <a:pt x="28" y="116"/>
                      <a:pt x="27" y="116"/>
                    </a:cubicBezTo>
                    <a:cubicBezTo>
                      <a:pt x="26" y="116"/>
                      <a:pt x="24" y="115"/>
                      <a:pt x="24" y="115"/>
                    </a:cubicBezTo>
                    <a:cubicBezTo>
                      <a:pt x="24" y="114"/>
                      <a:pt x="23" y="114"/>
                      <a:pt x="23" y="113"/>
                    </a:cubicBezTo>
                    <a:cubicBezTo>
                      <a:pt x="22" y="113"/>
                      <a:pt x="22" y="112"/>
                      <a:pt x="21" y="112"/>
                    </a:cubicBezTo>
                    <a:cubicBezTo>
                      <a:pt x="20" y="112"/>
                      <a:pt x="20" y="112"/>
                      <a:pt x="20" y="112"/>
                    </a:cubicBezTo>
                    <a:cubicBezTo>
                      <a:pt x="20" y="112"/>
                      <a:pt x="19" y="113"/>
                      <a:pt x="19" y="114"/>
                    </a:cubicBezTo>
                    <a:cubicBezTo>
                      <a:pt x="19" y="114"/>
                      <a:pt x="20" y="115"/>
                      <a:pt x="18" y="114"/>
                    </a:cubicBezTo>
                    <a:cubicBezTo>
                      <a:pt x="16" y="114"/>
                      <a:pt x="14" y="114"/>
                      <a:pt x="14" y="114"/>
                    </a:cubicBezTo>
                    <a:cubicBezTo>
                      <a:pt x="11" y="111"/>
                      <a:pt x="11" y="111"/>
                      <a:pt x="11" y="111"/>
                    </a:cubicBezTo>
                    <a:cubicBezTo>
                      <a:pt x="11" y="111"/>
                      <a:pt x="10" y="111"/>
                      <a:pt x="9" y="111"/>
                    </a:cubicBezTo>
                    <a:cubicBezTo>
                      <a:pt x="9" y="111"/>
                      <a:pt x="7" y="110"/>
                      <a:pt x="7" y="109"/>
                    </a:cubicBezTo>
                    <a:cubicBezTo>
                      <a:pt x="7" y="109"/>
                      <a:pt x="6" y="108"/>
                      <a:pt x="6" y="107"/>
                    </a:cubicBezTo>
                    <a:cubicBezTo>
                      <a:pt x="6" y="107"/>
                      <a:pt x="5" y="107"/>
                      <a:pt x="5" y="106"/>
                    </a:cubicBezTo>
                    <a:cubicBezTo>
                      <a:pt x="5" y="106"/>
                      <a:pt x="4" y="105"/>
                      <a:pt x="4" y="105"/>
                    </a:cubicBezTo>
                    <a:cubicBezTo>
                      <a:pt x="4" y="105"/>
                      <a:pt x="4" y="104"/>
                      <a:pt x="5" y="103"/>
                    </a:cubicBezTo>
                    <a:cubicBezTo>
                      <a:pt x="7" y="103"/>
                      <a:pt x="7" y="103"/>
                      <a:pt x="8" y="103"/>
                    </a:cubicBezTo>
                    <a:cubicBezTo>
                      <a:pt x="9" y="103"/>
                      <a:pt x="8" y="103"/>
                      <a:pt x="10" y="103"/>
                    </a:cubicBezTo>
                    <a:cubicBezTo>
                      <a:pt x="12" y="103"/>
                      <a:pt x="11" y="103"/>
                      <a:pt x="12" y="103"/>
                    </a:cubicBezTo>
                    <a:cubicBezTo>
                      <a:pt x="13" y="103"/>
                      <a:pt x="15" y="103"/>
                      <a:pt x="15" y="103"/>
                    </a:cubicBezTo>
                    <a:cubicBezTo>
                      <a:pt x="15" y="103"/>
                      <a:pt x="13" y="102"/>
                      <a:pt x="16" y="103"/>
                    </a:cubicBezTo>
                    <a:cubicBezTo>
                      <a:pt x="16" y="103"/>
                      <a:pt x="20" y="104"/>
                      <a:pt x="19" y="106"/>
                    </a:cubicBezTo>
                    <a:cubicBezTo>
                      <a:pt x="19" y="106"/>
                      <a:pt x="18" y="107"/>
                      <a:pt x="18" y="107"/>
                    </a:cubicBezTo>
                    <a:cubicBezTo>
                      <a:pt x="18" y="107"/>
                      <a:pt x="20" y="108"/>
                      <a:pt x="20" y="108"/>
                    </a:cubicBezTo>
                    <a:cubicBezTo>
                      <a:pt x="20" y="108"/>
                      <a:pt x="21" y="107"/>
                      <a:pt x="21" y="107"/>
                    </a:cubicBezTo>
                    <a:cubicBezTo>
                      <a:pt x="22" y="108"/>
                      <a:pt x="22" y="108"/>
                      <a:pt x="22" y="108"/>
                    </a:cubicBezTo>
                    <a:cubicBezTo>
                      <a:pt x="24" y="110"/>
                      <a:pt x="24" y="110"/>
                      <a:pt x="24" y="110"/>
                    </a:cubicBezTo>
                    <a:cubicBezTo>
                      <a:pt x="24" y="110"/>
                      <a:pt x="26" y="110"/>
                      <a:pt x="26" y="110"/>
                    </a:cubicBezTo>
                    <a:cubicBezTo>
                      <a:pt x="25" y="111"/>
                      <a:pt x="24" y="109"/>
                      <a:pt x="25" y="111"/>
                    </a:cubicBezTo>
                    <a:cubicBezTo>
                      <a:pt x="26" y="113"/>
                      <a:pt x="27" y="114"/>
                      <a:pt x="27" y="114"/>
                    </a:cubicBezTo>
                    <a:cubicBezTo>
                      <a:pt x="28" y="114"/>
                      <a:pt x="28" y="114"/>
                      <a:pt x="28" y="114"/>
                    </a:cubicBezTo>
                    <a:cubicBezTo>
                      <a:pt x="28" y="114"/>
                      <a:pt x="28" y="113"/>
                      <a:pt x="29" y="113"/>
                    </a:cubicBezTo>
                    <a:cubicBezTo>
                      <a:pt x="29" y="114"/>
                      <a:pt x="31" y="114"/>
                      <a:pt x="32" y="114"/>
                    </a:cubicBezTo>
                    <a:cubicBezTo>
                      <a:pt x="32" y="114"/>
                      <a:pt x="32" y="113"/>
                      <a:pt x="31" y="111"/>
                    </a:cubicBezTo>
                    <a:cubicBezTo>
                      <a:pt x="30" y="110"/>
                      <a:pt x="29" y="109"/>
                      <a:pt x="29" y="109"/>
                    </a:cubicBezTo>
                    <a:cubicBezTo>
                      <a:pt x="28" y="109"/>
                      <a:pt x="29" y="110"/>
                      <a:pt x="27" y="109"/>
                    </a:cubicBezTo>
                    <a:cubicBezTo>
                      <a:pt x="25" y="108"/>
                      <a:pt x="25" y="109"/>
                      <a:pt x="24" y="108"/>
                    </a:cubicBezTo>
                    <a:cubicBezTo>
                      <a:pt x="23" y="106"/>
                      <a:pt x="22" y="106"/>
                      <a:pt x="22" y="105"/>
                    </a:cubicBezTo>
                    <a:cubicBezTo>
                      <a:pt x="22" y="105"/>
                      <a:pt x="23" y="105"/>
                      <a:pt x="24" y="104"/>
                    </a:cubicBezTo>
                    <a:cubicBezTo>
                      <a:pt x="25" y="104"/>
                      <a:pt x="23" y="103"/>
                      <a:pt x="25" y="104"/>
                    </a:cubicBezTo>
                    <a:cubicBezTo>
                      <a:pt x="28" y="105"/>
                      <a:pt x="28" y="105"/>
                      <a:pt x="29" y="105"/>
                    </a:cubicBezTo>
                    <a:cubicBezTo>
                      <a:pt x="29" y="105"/>
                      <a:pt x="31" y="105"/>
                      <a:pt x="29" y="104"/>
                    </a:cubicBezTo>
                    <a:cubicBezTo>
                      <a:pt x="27" y="104"/>
                      <a:pt x="26" y="103"/>
                      <a:pt x="26" y="103"/>
                    </a:cubicBezTo>
                    <a:cubicBezTo>
                      <a:pt x="24" y="103"/>
                      <a:pt x="24" y="103"/>
                      <a:pt x="24" y="103"/>
                    </a:cubicBezTo>
                    <a:cubicBezTo>
                      <a:pt x="24" y="103"/>
                      <a:pt x="24" y="103"/>
                      <a:pt x="23" y="103"/>
                    </a:cubicBezTo>
                    <a:cubicBezTo>
                      <a:pt x="22" y="103"/>
                      <a:pt x="22" y="104"/>
                      <a:pt x="22" y="103"/>
                    </a:cubicBezTo>
                    <a:cubicBezTo>
                      <a:pt x="21" y="103"/>
                      <a:pt x="20" y="103"/>
                      <a:pt x="20" y="102"/>
                    </a:cubicBezTo>
                    <a:cubicBezTo>
                      <a:pt x="19" y="102"/>
                      <a:pt x="18" y="101"/>
                      <a:pt x="18" y="101"/>
                    </a:cubicBezTo>
                    <a:cubicBezTo>
                      <a:pt x="18" y="100"/>
                      <a:pt x="17" y="99"/>
                      <a:pt x="17" y="99"/>
                    </a:cubicBezTo>
                    <a:cubicBezTo>
                      <a:pt x="17" y="99"/>
                      <a:pt x="17" y="99"/>
                      <a:pt x="17" y="99"/>
                    </a:cubicBezTo>
                    <a:cubicBezTo>
                      <a:pt x="16" y="99"/>
                      <a:pt x="15" y="99"/>
                      <a:pt x="14" y="99"/>
                    </a:cubicBezTo>
                    <a:cubicBezTo>
                      <a:pt x="14" y="99"/>
                      <a:pt x="13" y="99"/>
                      <a:pt x="13" y="99"/>
                    </a:cubicBezTo>
                    <a:cubicBezTo>
                      <a:pt x="13" y="98"/>
                      <a:pt x="13" y="98"/>
                      <a:pt x="13" y="97"/>
                    </a:cubicBezTo>
                    <a:cubicBezTo>
                      <a:pt x="13" y="97"/>
                      <a:pt x="13" y="96"/>
                      <a:pt x="14" y="96"/>
                    </a:cubicBezTo>
                    <a:cubicBezTo>
                      <a:pt x="15" y="96"/>
                      <a:pt x="16" y="96"/>
                      <a:pt x="17" y="96"/>
                    </a:cubicBezTo>
                    <a:cubicBezTo>
                      <a:pt x="18" y="96"/>
                      <a:pt x="19" y="96"/>
                      <a:pt x="20" y="96"/>
                    </a:cubicBezTo>
                    <a:cubicBezTo>
                      <a:pt x="20" y="96"/>
                      <a:pt x="21" y="97"/>
                      <a:pt x="21" y="97"/>
                    </a:cubicBezTo>
                    <a:cubicBezTo>
                      <a:pt x="22" y="98"/>
                      <a:pt x="23" y="98"/>
                      <a:pt x="23" y="98"/>
                    </a:cubicBezTo>
                    <a:cubicBezTo>
                      <a:pt x="23" y="99"/>
                      <a:pt x="23" y="99"/>
                      <a:pt x="24" y="99"/>
                    </a:cubicBezTo>
                    <a:cubicBezTo>
                      <a:pt x="24" y="100"/>
                      <a:pt x="25" y="100"/>
                      <a:pt x="25" y="100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26" y="102"/>
                      <a:pt x="26" y="102"/>
                      <a:pt x="26" y="102"/>
                    </a:cubicBezTo>
                    <a:cubicBezTo>
                      <a:pt x="28" y="103"/>
                      <a:pt x="28" y="103"/>
                      <a:pt x="28" y="103"/>
                    </a:cubicBezTo>
                    <a:cubicBezTo>
                      <a:pt x="28" y="103"/>
                      <a:pt x="31" y="104"/>
                      <a:pt x="31" y="104"/>
                    </a:cubicBezTo>
                    <a:cubicBezTo>
                      <a:pt x="31" y="104"/>
                      <a:pt x="31" y="104"/>
                      <a:pt x="32" y="104"/>
                    </a:cubicBezTo>
                    <a:cubicBezTo>
                      <a:pt x="33" y="104"/>
                      <a:pt x="33" y="103"/>
                      <a:pt x="33" y="103"/>
                    </a:cubicBezTo>
                    <a:cubicBezTo>
                      <a:pt x="33" y="103"/>
                      <a:pt x="34" y="103"/>
                      <a:pt x="34" y="103"/>
                    </a:cubicBezTo>
                    <a:cubicBezTo>
                      <a:pt x="34" y="103"/>
                      <a:pt x="37" y="101"/>
                      <a:pt x="37" y="101"/>
                    </a:cubicBezTo>
                    <a:cubicBezTo>
                      <a:pt x="37" y="102"/>
                      <a:pt x="38" y="102"/>
                      <a:pt x="39" y="102"/>
                    </a:cubicBezTo>
                    <a:cubicBezTo>
                      <a:pt x="39" y="102"/>
                      <a:pt x="42" y="104"/>
                      <a:pt x="42" y="104"/>
                    </a:cubicBezTo>
                    <a:cubicBezTo>
                      <a:pt x="42" y="103"/>
                      <a:pt x="42" y="102"/>
                      <a:pt x="42" y="102"/>
                    </a:cubicBezTo>
                    <a:cubicBezTo>
                      <a:pt x="42" y="102"/>
                      <a:pt x="43" y="101"/>
                      <a:pt x="43" y="101"/>
                    </a:cubicBezTo>
                    <a:cubicBezTo>
                      <a:pt x="47" y="101"/>
                      <a:pt x="47" y="101"/>
                      <a:pt x="47" y="101"/>
                    </a:cubicBezTo>
                    <a:cubicBezTo>
                      <a:pt x="47" y="101"/>
                      <a:pt x="48" y="100"/>
                      <a:pt x="48" y="100"/>
                    </a:cubicBezTo>
                    <a:cubicBezTo>
                      <a:pt x="47" y="100"/>
                      <a:pt x="46" y="100"/>
                      <a:pt x="46" y="100"/>
                    </a:cubicBezTo>
                    <a:cubicBezTo>
                      <a:pt x="44" y="101"/>
                      <a:pt x="44" y="101"/>
                      <a:pt x="44" y="101"/>
                    </a:cubicBezTo>
                    <a:cubicBezTo>
                      <a:pt x="42" y="101"/>
                      <a:pt x="42" y="101"/>
                      <a:pt x="42" y="101"/>
                    </a:cubicBezTo>
                    <a:cubicBezTo>
                      <a:pt x="42" y="101"/>
                      <a:pt x="41" y="102"/>
                      <a:pt x="41" y="102"/>
                    </a:cubicBezTo>
                    <a:cubicBezTo>
                      <a:pt x="40" y="102"/>
                      <a:pt x="39" y="101"/>
                      <a:pt x="39" y="101"/>
                    </a:cubicBezTo>
                    <a:cubicBezTo>
                      <a:pt x="38" y="100"/>
                      <a:pt x="36" y="99"/>
                      <a:pt x="36" y="99"/>
                    </a:cubicBezTo>
                    <a:cubicBezTo>
                      <a:pt x="35" y="99"/>
                      <a:pt x="36" y="99"/>
                      <a:pt x="34" y="98"/>
                    </a:cubicBezTo>
                    <a:cubicBezTo>
                      <a:pt x="32" y="97"/>
                      <a:pt x="31" y="96"/>
                      <a:pt x="31" y="96"/>
                    </a:cubicBezTo>
                    <a:cubicBezTo>
                      <a:pt x="30" y="95"/>
                      <a:pt x="30" y="95"/>
                      <a:pt x="30" y="95"/>
                    </a:cubicBezTo>
                    <a:cubicBezTo>
                      <a:pt x="30" y="95"/>
                      <a:pt x="30" y="94"/>
                      <a:pt x="29" y="94"/>
                    </a:cubicBezTo>
                    <a:cubicBezTo>
                      <a:pt x="28" y="93"/>
                      <a:pt x="25" y="92"/>
                      <a:pt x="25" y="92"/>
                    </a:cubicBezTo>
                    <a:cubicBezTo>
                      <a:pt x="25" y="92"/>
                      <a:pt x="25" y="91"/>
                      <a:pt x="25" y="91"/>
                    </a:cubicBezTo>
                    <a:cubicBezTo>
                      <a:pt x="25" y="91"/>
                      <a:pt x="25" y="88"/>
                      <a:pt x="25" y="88"/>
                    </a:cubicBezTo>
                    <a:cubicBezTo>
                      <a:pt x="25" y="87"/>
                      <a:pt x="24" y="85"/>
                      <a:pt x="24" y="85"/>
                    </a:cubicBezTo>
                    <a:cubicBezTo>
                      <a:pt x="24" y="85"/>
                      <a:pt x="26" y="84"/>
                      <a:pt x="26" y="84"/>
                    </a:cubicBezTo>
                    <a:cubicBezTo>
                      <a:pt x="27" y="84"/>
                      <a:pt x="28" y="85"/>
                      <a:pt x="28" y="85"/>
                    </a:cubicBezTo>
                    <a:cubicBezTo>
                      <a:pt x="29" y="84"/>
                      <a:pt x="29" y="84"/>
                      <a:pt x="29" y="84"/>
                    </a:cubicBezTo>
                    <a:cubicBezTo>
                      <a:pt x="37" y="73"/>
                      <a:pt x="37" y="73"/>
                      <a:pt x="37" y="7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7" y="48"/>
                      <a:pt x="47" y="48"/>
                      <a:pt x="47" y="48"/>
                    </a:cubicBezTo>
                    <a:cubicBezTo>
                      <a:pt x="49" y="41"/>
                      <a:pt x="49" y="41"/>
                      <a:pt x="49" y="41"/>
                    </a:cubicBezTo>
                    <a:cubicBezTo>
                      <a:pt x="51" y="35"/>
                      <a:pt x="51" y="35"/>
                      <a:pt x="51" y="35"/>
                    </a:cubicBezTo>
                    <a:cubicBezTo>
                      <a:pt x="51" y="35"/>
                      <a:pt x="51" y="34"/>
                      <a:pt x="52" y="35"/>
                    </a:cubicBezTo>
                    <a:cubicBezTo>
                      <a:pt x="52" y="35"/>
                      <a:pt x="53" y="37"/>
                      <a:pt x="53" y="37"/>
                    </a:cubicBezTo>
                    <a:cubicBezTo>
                      <a:pt x="54" y="38"/>
                      <a:pt x="54" y="38"/>
                      <a:pt x="54" y="38"/>
                    </a:cubicBezTo>
                    <a:cubicBezTo>
                      <a:pt x="55" y="38"/>
                      <a:pt x="55" y="38"/>
                      <a:pt x="55" y="38"/>
                    </a:cubicBezTo>
                    <a:cubicBezTo>
                      <a:pt x="55" y="38"/>
                      <a:pt x="57" y="37"/>
                      <a:pt x="58" y="37"/>
                    </a:cubicBezTo>
                    <a:cubicBezTo>
                      <a:pt x="58" y="37"/>
                      <a:pt x="62" y="39"/>
                      <a:pt x="62" y="39"/>
                    </a:cubicBezTo>
                    <a:cubicBezTo>
                      <a:pt x="62" y="39"/>
                      <a:pt x="62" y="41"/>
                      <a:pt x="62" y="42"/>
                    </a:cubicBezTo>
                    <a:cubicBezTo>
                      <a:pt x="62" y="42"/>
                      <a:pt x="64" y="44"/>
                      <a:pt x="63" y="45"/>
                    </a:cubicBezTo>
                    <a:cubicBezTo>
                      <a:pt x="63" y="45"/>
                      <a:pt x="62" y="47"/>
                      <a:pt x="62" y="47"/>
                    </a:cubicBezTo>
                    <a:cubicBezTo>
                      <a:pt x="62" y="47"/>
                      <a:pt x="63" y="48"/>
                      <a:pt x="63" y="48"/>
                    </a:cubicBezTo>
                    <a:cubicBezTo>
                      <a:pt x="64" y="48"/>
                      <a:pt x="64" y="48"/>
                      <a:pt x="65" y="48"/>
                    </a:cubicBezTo>
                    <a:cubicBezTo>
                      <a:pt x="66" y="48"/>
                      <a:pt x="67" y="49"/>
                      <a:pt x="67" y="49"/>
                    </a:cubicBezTo>
                    <a:cubicBezTo>
                      <a:pt x="67" y="49"/>
                      <a:pt x="67" y="50"/>
                      <a:pt x="67" y="50"/>
                    </a:cubicBezTo>
                    <a:cubicBezTo>
                      <a:pt x="67" y="50"/>
                      <a:pt x="67" y="52"/>
                      <a:pt x="67" y="52"/>
                    </a:cubicBezTo>
                    <a:cubicBezTo>
                      <a:pt x="67" y="53"/>
                      <a:pt x="65" y="53"/>
                      <a:pt x="65" y="53"/>
                    </a:cubicBezTo>
                    <a:cubicBezTo>
                      <a:pt x="65" y="53"/>
                      <a:pt x="65" y="54"/>
                      <a:pt x="65" y="54"/>
                    </a:cubicBezTo>
                    <a:cubicBezTo>
                      <a:pt x="64" y="55"/>
                      <a:pt x="63" y="56"/>
                      <a:pt x="62" y="56"/>
                    </a:cubicBezTo>
                    <a:cubicBezTo>
                      <a:pt x="62" y="56"/>
                      <a:pt x="60" y="54"/>
                      <a:pt x="60" y="54"/>
                    </a:cubicBezTo>
                    <a:cubicBezTo>
                      <a:pt x="60" y="54"/>
                      <a:pt x="59" y="55"/>
                      <a:pt x="59" y="55"/>
                    </a:cubicBezTo>
                    <a:cubicBezTo>
                      <a:pt x="60" y="57"/>
                      <a:pt x="60" y="57"/>
                      <a:pt x="60" y="57"/>
                    </a:cubicBezTo>
                    <a:cubicBezTo>
                      <a:pt x="61" y="60"/>
                      <a:pt x="61" y="60"/>
                      <a:pt x="61" y="60"/>
                    </a:cubicBezTo>
                    <a:cubicBezTo>
                      <a:pt x="60" y="61"/>
                      <a:pt x="60" y="61"/>
                      <a:pt x="60" y="61"/>
                    </a:cubicBezTo>
                    <a:cubicBezTo>
                      <a:pt x="61" y="64"/>
                      <a:pt x="61" y="64"/>
                      <a:pt x="61" y="64"/>
                    </a:cubicBezTo>
                    <a:cubicBezTo>
                      <a:pt x="61" y="66"/>
                      <a:pt x="61" y="66"/>
                      <a:pt x="61" y="66"/>
                    </a:cubicBezTo>
                    <a:cubicBezTo>
                      <a:pt x="59" y="67"/>
                      <a:pt x="59" y="67"/>
                      <a:pt x="59" y="67"/>
                    </a:cubicBezTo>
                    <a:cubicBezTo>
                      <a:pt x="59" y="67"/>
                      <a:pt x="58" y="68"/>
                      <a:pt x="57" y="68"/>
                    </a:cubicBezTo>
                    <a:cubicBezTo>
                      <a:pt x="57" y="68"/>
                      <a:pt x="56" y="67"/>
                      <a:pt x="56" y="68"/>
                    </a:cubicBezTo>
                    <a:cubicBezTo>
                      <a:pt x="57" y="69"/>
                      <a:pt x="57" y="70"/>
                      <a:pt x="58" y="70"/>
                    </a:cubicBezTo>
                    <a:cubicBezTo>
                      <a:pt x="59" y="70"/>
                      <a:pt x="61" y="70"/>
                      <a:pt x="61" y="70"/>
                    </a:cubicBezTo>
                    <a:cubicBezTo>
                      <a:pt x="63" y="73"/>
                      <a:pt x="63" y="73"/>
                      <a:pt x="63" y="73"/>
                    </a:cubicBezTo>
                    <a:cubicBezTo>
                      <a:pt x="63" y="73"/>
                      <a:pt x="64" y="73"/>
                      <a:pt x="65" y="73"/>
                    </a:cubicBezTo>
                    <a:cubicBezTo>
                      <a:pt x="65" y="73"/>
                      <a:pt x="67" y="74"/>
                      <a:pt x="67" y="74"/>
                    </a:cubicBezTo>
                    <a:cubicBezTo>
                      <a:pt x="67" y="74"/>
                      <a:pt x="67" y="74"/>
                      <a:pt x="68" y="75"/>
                    </a:cubicBezTo>
                    <a:cubicBezTo>
                      <a:pt x="69" y="75"/>
                      <a:pt x="71" y="76"/>
                      <a:pt x="71" y="76"/>
                    </a:cubicBezTo>
                    <a:cubicBezTo>
                      <a:pt x="71" y="76"/>
                      <a:pt x="71" y="75"/>
                      <a:pt x="70" y="75"/>
                    </a:cubicBezTo>
                    <a:cubicBezTo>
                      <a:pt x="70" y="75"/>
                      <a:pt x="69" y="72"/>
                      <a:pt x="67" y="72"/>
                    </a:cubicBezTo>
                    <a:cubicBezTo>
                      <a:pt x="66" y="71"/>
                      <a:pt x="65" y="71"/>
                      <a:pt x="64" y="71"/>
                    </a:cubicBezTo>
                    <a:cubicBezTo>
                      <a:pt x="63" y="71"/>
                      <a:pt x="61" y="70"/>
                      <a:pt x="61" y="70"/>
                    </a:cubicBezTo>
                    <a:cubicBezTo>
                      <a:pt x="61" y="69"/>
                      <a:pt x="60" y="68"/>
                      <a:pt x="61" y="68"/>
                    </a:cubicBezTo>
                    <a:cubicBezTo>
                      <a:pt x="61" y="67"/>
                      <a:pt x="61" y="66"/>
                      <a:pt x="63" y="66"/>
                    </a:cubicBezTo>
                    <a:cubicBezTo>
                      <a:pt x="64" y="66"/>
                      <a:pt x="65" y="67"/>
                      <a:pt x="66" y="66"/>
                    </a:cubicBezTo>
                    <a:cubicBezTo>
                      <a:pt x="67" y="66"/>
                      <a:pt x="69" y="63"/>
                      <a:pt x="69" y="63"/>
                    </a:cubicBezTo>
                    <a:cubicBezTo>
                      <a:pt x="71" y="61"/>
                      <a:pt x="71" y="61"/>
                      <a:pt x="71" y="61"/>
                    </a:cubicBezTo>
                    <a:cubicBezTo>
                      <a:pt x="74" y="60"/>
                      <a:pt x="74" y="60"/>
                      <a:pt x="74" y="60"/>
                    </a:cubicBezTo>
                    <a:cubicBezTo>
                      <a:pt x="74" y="60"/>
                      <a:pt x="78" y="58"/>
                      <a:pt x="78" y="58"/>
                    </a:cubicBezTo>
                    <a:cubicBezTo>
                      <a:pt x="78" y="58"/>
                      <a:pt x="79" y="58"/>
                      <a:pt x="80" y="59"/>
                    </a:cubicBezTo>
                    <a:cubicBezTo>
                      <a:pt x="81" y="60"/>
                      <a:pt x="81" y="60"/>
                      <a:pt x="81" y="60"/>
                    </a:cubicBezTo>
                    <a:cubicBezTo>
                      <a:pt x="82" y="60"/>
                      <a:pt x="84" y="61"/>
                      <a:pt x="84" y="61"/>
                    </a:cubicBezTo>
                    <a:cubicBezTo>
                      <a:pt x="84" y="61"/>
                      <a:pt x="84" y="61"/>
                      <a:pt x="85" y="62"/>
                    </a:cubicBezTo>
                    <a:cubicBezTo>
                      <a:pt x="85" y="62"/>
                      <a:pt x="86" y="63"/>
                      <a:pt x="85" y="65"/>
                    </a:cubicBezTo>
                    <a:cubicBezTo>
                      <a:pt x="85" y="66"/>
                      <a:pt x="85" y="67"/>
                      <a:pt x="85" y="67"/>
                    </a:cubicBezTo>
                    <a:cubicBezTo>
                      <a:pt x="85" y="67"/>
                      <a:pt x="86" y="66"/>
                      <a:pt x="86" y="65"/>
                    </a:cubicBezTo>
                    <a:cubicBezTo>
                      <a:pt x="86" y="63"/>
                      <a:pt x="86" y="62"/>
                      <a:pt x="86" y="61"/>
                    </a:cubicBezTo>
                    <a:cubicBezTo>
                      <a:pt x="86" y="60"/>
                      <a:pt x="85" y="59"/>
                      <a:pt x="85" y="59"/>
                    </a:cubicBezTo>
                    <a:cubicBezTo>
                      <a:pt x="85" y="59"/>
                      <a:pt x="83" y="60"/>
                      <a:pt x="81" y="59"/>
                    </a:cubicBezTo>
                    <a:cubicBezTo>
                      <a:pt x="80" y="58"/>
                      <a:pt x="80" y="57"/>
                      <a:pt x="79" y="57"/>
                    </a:cubicBezTo>
                    <a:cubicBezTo>
                      <a:pt x="79" y="57"/>
                      <a:pt x="78" y="56"/>
                      <a:pt x="77" y="56"/>
                    </a:cubicBezTo>
                    <a:cubicBezTo>
                      <a:pt x="77" y="56"/>
                      <a:pt x="77" y="55"/>
                      <a:pt x="77" y="54"/>
                    </a:cubicBezTo>
                    <a:cubicBezTo>
                      <a:pt x="77" y="53"/>
                      <a:pt x="77" y="52"/>
                      <a:pt x="77" y="51"/>
                    </a:cubicBezTo>
                    <a:cubicBezTo>
                      <a:pt x="77" y="51"/>
                      <a:pt x="76" y="50"/>
                      <a:pt x="77" y="49"/>
                    </a:cubicBezTo>
                    <a:cubicBezTo>
                      <a:pt x="78" y="48"/>
                      <a:pt x="78" y="48"/>
                      <a:pt x="79" y="48"/>
                    </a:cubicBezTo>
                    <a:cubicBezTo>
                      <a:pt x="79" y="47"/>
                      <a:pt x="81" y="46"/>
                      <a:pt x="80" y="46"/>
                    </a:cubicBezTo>
                    <a:cubicBezTo>
                      <a:pt x="80" y="45"/>
                      <a:pt x="79" y="45"/>
                      <a:pt x="78" y="45"/>
                    </a:cubicBezTo>
                    <a:cubicBezTo>
                      <a:pt x="77" y="45"/>
                      <a:pt x="78" y="46"/>
                      <a:pt x="77" y="46"/>
                    </a:cubicBezTo>
                    <a:cubicBezTo>
                      <a:pt x="75" y="46"/>
                      <a:pt x="75" y="45"/>
                      <a:pt x="74" y="44"/>
                    </a:cubicBezTo>
                    <a:cubicBezTo>
                      <a:pt x="74" y="43"/>
                      <a:pt x="74" y="43"/>
                      <a:pt x="73" y="44"/>
                    </a:cubicBezTo>
                    <a:cubicBezTo>
                      <a:pt x="72" y="44"/>
                      <a:pt x="71" y="43"/>
                      <a:pt x="71" y="43"/>
                    </a:cubicBezTo>
                    <a:cubicBezTo>
                      <a:pt x="71" y="43"/>
                      <a:pt x="70" y="42"/>
                      <a:pt x="71" y="41"/>
                    </a:cubicBezTo>
                    <a:cubicBezTo>
                      <a:pt x="71" y="41"/>
                      <a:pt x="72" y="39"/>
                      <a:pt x="72" y="39"/>
                    </a:cubicBezTo>
                    <a:cubicBezTo>
                      <a:pt x="72" y="39"/>
                      <a:pt x="72" y="36"/>
                      <a:pt x="72" y="36"/>
                    </a:cubicBezTo>
                    <a:cubicBezTo>
                      <a:pt x="72" y="35"/>
                      <a:pt x="72" y="35"/>
                      <a:pt x="72" y="35"/>
                    </a:cubicBezTo>
                    <a:close/>
                    <a:moveTo>
                      <a:pt x="127" y="1"/>
                    </a:moveTo>
                    <a:cubicBezTo>
                      <a:pt x="127" y="1"/>
                      <a:pt x="127" y="1"/>
                      <a:pt x="127" y="1"/>
                    </a:cubicBezTo>
                    <a:cubicBezTo>
                      <a:pt x="127" y="1"/>
                      <a:pt x="127" y="0"/>
                      <a:pt x="128" y="0"/>
                    </a:cubicBezTo>
                    <a:cubicBezTo>
                      <a:pt x="129" y="0"/>
                      <a:pt x="129" y="0"/>
                      <a:pt x="130" y="0"/>
                    </a:cubicBezTo>
                    <a:cubicBezTo>
                      <a:pt x="130" y="0"/>
                      <a:pt x="132" y="0"/>
                      <a:pt x="132" y="0"/>
                    </a:cubicBezTo>
                    <a:cubicBezTo>
                      <a:pt x="132" y="0"/>
                      <a:pt x="133" y="0"/>
                      <a:pt x="134" y="0"/>
                    </a:cubicBezTo>
                    <a:cubicBezTo>
                      <a:pt x="134" y="0"/>
                      <a:pt x="135" y="0"/>
                      <a:pt x="135" y="0"/>
                    </a:cubicBezTo>
                    <a:cubicBezTo>
                      <a:pt x="136" y="0"/>
                      <a:pt x="135" y="1"/>
                      <a:pt x="135" y="1"/>
                    </a:cubicBezTo>
                    <a:cubicBezTo>
                      <a:pt x="133" y="1"/>
                      <a:pt x="133" y="1"/>
                      <a:pt x="133" y="1"/>
                    </a:cubicBezTo>
                    <a:cubicBezTo>
                      <a:pt x="133" y="1"/>
                      <a:pt x="132" y="1"/>
                      <a:pt x="131" y="1"/>
                    </a:cubicBezTo>
                    <a:cubicBezTo>
                      <a:pt x="131" y="2"/>
                      <a:pt x="130" y="2"/>
                      <a:pt x="130" y="2"/>
                    </a:cubicBezTo>
                    <a:cubicBezTo>
                      <a:pt x="130" y="2"/>
                      <a:pt x="129" y="2"/>
                      <a:pt x="129" y="2"/>
                    </a:cubicBezTo>
                    <a:cubicBezTo>
                      <a:pt x="128" y="2"/>
                      <a:pt x="128" y="1"/>
                      <a:pt x="128" y="2"/>
                    </a:cubicBezTo>
                    <a:cubicBezTo>
                      <a:pt x="127" y="2"/>
                      <a:pt x="127" y="1"/>
                      <a:pt x="127" y="1"/>
                    </a:cubicBezTo>
                    <a:close/>
                    <a:moveTo>
                      <a:pt x="118" y="6"/>
                    </a:moveTo>
                    <a:cubicBezTo>
                      <a:pt x="118" y="6"/>
                      <a:pt x="118" y="6"/>
                      <a:pt x="118" y="6"/>
                    </a:cubicBezTo>
                    <a:cubicBezTo>
                      <a:pt x="118" y="6"/>
                      <a:pt x="118" y="5"/>
                      <a:pt x="119" y="5"/>
                    </a:cubicBezTo>
                    <a:cubicBezTo>
                      <a:pt x="119" y="5"/>
                      <a:pt x="119" y="4"/>
                      <a:pt x="120" y="5"/>
                    </a:cubicBezTo>
                    <a:cubicBezTo>
                      <a:pt x="120" y="5"/>
                      <a:pt x="120" y="7"/>
                      <a:pt x="120" y="7"/>
                    </a:cubicBezTo>
                    <a:cubicBezTo>
                      <a:pt x="119" y="7"/>
                      <a:pt x="119" y="7"/>
                      <a:pt x="118" y="7"/>
                    </a:cubicBezTo>
                    <a:cubicBezTo>
                      <a:pt x="118" y="7"/>
                      <a:pt x="118" y="6"/>
                      <a:pt x="118" y="6"/>
                    </a:cubicBezTo>
                    <a:close/>
                    <a:moveTo>
                      <a:pt x="112" y="9"/>
                    </a:moveTo>
                    <a:cubicBezTo>
                      <a:pt x="112" y="9"/>
                      <a:pt x="112" y="9"/>
                      <a:pt x="112" y="9"/>
                    </a:cubicBezTo>
                    <a:cubicBezTo>
                      <a:pt x="112" y="9"/>
                      <a:pt x="111" y="8"/>
                      <a:pt x="111" y="8"/>
                    </a:cubicBezTo>
                    <a:cubicBezTo>
                      <a:pt x="111" y="8"/>
                      <a:pt x="111" y="7"/>
                      <a:pt x="112" y="7"/>
                    </a:cubicBezTo>
                    <a:cubicBezTo>
                      <a:pt x="112" y="7"/>
                      <a:pt x="113" y="7"/>
                      <a:pt x="113" y="7"/>
                    </a:cubicBezTo>
                    <a:cubicBezTo>
                      <a:pt x="114" y="7"/>
                      <a:pt x="114" y="7"/>
                      <a:pt x="114" y="7"/>
                    </a:cubicBezTo>
                    <a:cubicBezTo>
                      <a:pt x="114" y="7"/>
                      <a:pt x="115" y="6"/>
                      <a:pt x="115" y="6"/>
                    </a:cubicBezTo>
                    <a:cubicBezTo>
                      <a:pt x="115" y="6"/>
                      <a:pt x="116" y="8"/>
                      <a:pt x="116" y="8"/>
                    </a:cubicBezTo>
                    <a:cubicBezTo>
                      <a:pt x="116" y="8"/>
                      <a:pt x="116" y="8"/>
                      <a:pt x="115" y="8"/>
                    </a:cubicBezTo>
                    <a:cubicBezTo>
                      <a:pt x="115" y="8"/>
                      <a:pt x="114" y="9"/>
                      <a:pt x="114" y="9"/>
                    </a:cubicBezTo>
                    <a:cubicBezTo>
                      <a:pt x="113" y="10"/>
                      <a:pt x="113" y="10"/>
                      <a:pt x="113" y="10"/>
                    </a:cubicBezTo>
                    <a:cubicBezTo>
                      <a:pt x="112" y="9"/>
                      <a:pt x="112" y="9"/>
                      <a:pt x="112" y="9"/>
                    </a:cubicBezTo>
                    <a:close/>
                    <a:moveTo>
                      <a:pt x="108" y="12"/>
                    </a:moveTo>
                    <a:cubicBezTo>
                      <a:pt x="108" y="12"/>
                      <a:pt x="108" y="12"/>
                      <a:pt x="108" y="12"/>
                    </a:cubicBezTo>
                    <a:cubicBezTo>
                      <a:pt x="108" y="11"/>
                      <a:pt x="107" y="11"/>
                      <a:pt x="107" y="11"/>
                    </a:cubicBezTo>
                    <a:cubicBezTo>
                      <a:pt x="107" y="11"/>
                      <a:pt x="106" y="10"/>
                      <a:pt x="106" y="10"/>
                    </a:cubicBezTo>
                    <a:cubicBezTo>
                      <a:pt x="106" y="10"/>
                      <a:pt x="106" y="9"/>
                      <a:pt x="107" y="9"/>
                    </a:cubicBezTo>
                    <a:cubicBezTo>
                      <a:pt x="107" y="9"/>
                      <a:pt x="107" y="9"/>
                      <a:pt x="107" y="10"/>
                    </a:cubicBezTo>
                    <a:cubicBezTo>
                      <a:pt x="108" y="10"/>
                      <a:pt x="108" y="11"/>
                      <a:pt x="108" y="11"/>
                    </a:cubicBezTo>
                    <a:cubicBezTo>
                      <a:pt x="108" y="12"/>
                      <a:pt x="108" y="12"/>
                      <a:pt x="108" y="12"/>
                    </a:cubicBezTo>
                    <a:close/>
                    <a:moveTo>
                      <a:pt x="96" y="12"/>
                    </a:moveTo>
                    <a:cubicBezTo>
                      <a:pt x="96" y="12"/>
                      <a:pt x="96" y="12"/>
                      <a:pt x="96" y="12"/>
                    </a:cubicBezTo>
                    <a:cubicBezTo>
                      <a:pt x="96" y="12"/>
                      <a:pt x="96" y="12"/>
                      <a:pt x="97" y="12"/>
                    </a:cubicBezTo>
                    <a:cubicBezTo>
                      <a:pt x="98" y="11"/>
                      <a:pt x="98" y="10"/>
                      <a:pt x="99" y="11"/>
                    </a:cubicBezTo>
                    <a:cubicBezTo>
                      <a:pt x="100" y="11"/>
                      <a:pt x="102" y="12"/>
                      <a:pt x="102" y="12"/>
                    </a:cubicBezTo>
                    <a:cubicBezTo>
                      <a:pt x="102" y="12"/>
                      <a:pt x="102" y="11"/>
                      <a:pt x="102" y="11"/>
                    </a:cubicBezTo>
                    <a:cubicBezTo>
                      <a:pt x="103" y="11"/>
                      <a:pt x="103" y="12"/>
                      <a:pt x="103" y="12"/>
                    </a:cubicBezTo>
                    <a:cubicBezTo>
                      <a:pt x="103" y="12"/>
                      <a:pt x="102" y="12"/>
                      <a:pt x="102" y="12"/>
                    </a:cubicBezTo>
                    <a:cubicBezTo>
                      <a:pt x="101" y="13"/>
                      <a:pt x="101" y="13"/>
                      <a:pt x="100" y="13"/>
                    </a:cubicBezTo>
                    <a:cubicBezTo>
                      <a:pt x="99" y="13"/>
                      <a:pt x="99" y="12"/>
                      <a:pt x="98" y="13"/>
                    </a:cubicBezTo>
                    <a:cubicBezTo>
                      <a:pt x="98" y="13"/>
                      <a:pt x="98" y="14"/>
                      <a:pt x="97" y="14"/>
                    </a:cubicBezTo>
                    <a:cubicBezTo>
                      <a:pt x="97" y="14"/>
                      <a:pt x="96" y="14"/>
                      <a:pt x="96" y="14"/>
                    </a:cubicBezTo>
                    <a:cubicBezTo>
                      <a:pt x="96" y="13"/>
                      <a:pt x="96" y="12"/>
                      <a:pt x="96" y="12"/>
                    </a:cubicBezTo>
                    <a:close/>
                    <a:moveTo>
                      <a:pt x="93" y="13"/>
                    </a:moveTo>
                    <a:cubicBezTo>
                      <a:pt x="93" y="13"/>
                      <a:pt x="93" y="13"/>
                      <a:pt x="93" y="13"/>
                    </a:cubicBezTo>
                    <a:cubicBezTo>
                      <a:pt x="93" y="13"/>
                      <a:pt x="93" y="12"/>
                      <a:pt x="94" y="13"/>
                    </a:cubicBezTo>
                    <a:cubicBezTo>
                      <a:pt x="94" y="13"/>
                      <a:pt x="94" y="12"/>
                      <a:pt x="94" y="13"/>
                    </a:cubicBezTo>
                    <a:cubicBezTo>
                      <a:pt x="95" y="14"/>
                      <a:pt x="95" y="15"/>
                      <a:pt x="94" y="15"/>
                    </a:cubicBezTo>
                    <a:cubicBezTo>
                      <a:pt x="93" y="14"/>
                      <a:pt x="93" y="13"/>
                      <a:pt x="93" y="13"/>
                    </a:cubicBezTo>
                    <a:close/>
                    <a:moveTo>
                      <a:pt x="81" y="13"/>
                    </a:moveTo>
                    <a:cubicBezTo>
                      <a:pt x="81" y="13"/>
                      <a:pt x="81" y="13"/>
                      <a:pt x="81" y="13"/>
                    </a:cubicBezTo>
                    <a:cubicBezTo>
                      <a:pt x="81" y="13"/>
                      <a:pt x="81" y="12"/>
                      <a:pt x="82" y="12"/>
                    </a:cubicBezTo>
                    <a:cubicBezTo>
                      <a:pt x="82" y="12"/>
                      <a:pt x="82" y="12"/>
                      <a:pt x="83" y="12"/>
                    </a:cubicBezTo>
                    <a:cubicBezTo>
                      <a:pt x="83" y="13"/>
                      <a:pt x="84" y="13"/>
                      <a:pt x="84" y="13"/>
                    </a:cubicBezTo>
                    <a:cubicBezTo>
                      <a:pt x="85" y="13"/>
                      <a:pt x="85" y="13"/>
                      <a:pt x="85" y="13"/>
                    </a:cubicBezTo>
                    <a:cubicBezTo>
                      <a:pt x="86" y="13"/>
                      <a:pt x="86" y="12"/>
                      <a:pt x="87" y="13"/>
                    </a:cubicBezTo>
                    <a:cubicBezTo>
                      <a:pt x="88" y="13"/>
                      <a:pt x="88" y="13"/>
                      <a:pt x="89" y="13"/>
                    </a:cubicBezTo>
                    <a:cubicBezTo>
                      <a:pt x="89" y="13"/>
                      <a:pt x="91" y="13"/>
                      <a:pt x="91" y="13"/>
                    </a:cubicBezTo>
                    <a:cubicBezTo>
                      <a:pt x="91" y="13"/>
                      <a:pt x="91" y="14"/>
                      <a:pt x="91" y="14"/>
                    </a:cubicBezTo>
                    <a:cubicBezTo>
                      <a:pt x="90" y="14"/>
                      <a:pt x="90" y="14"/>
                      <a:pt x="89" y="14"/>
                    </a:cubicBezTo>
                    <a:cubicBezTo>
                      <a:pt x="89" y="14"/>
                      <a:pt x="90" y="14"/>
                      <a:pt x="88" y="14"/>
                    </a:cubicBezTo>
                    <a:cubicBezTo>
                      <a:pt x="87" y="14"/>
                      <a:pt x="87" y="14"/>
                      <a:pt x="86" y="14"/>
                    </a:cubicBezTo>
                    <a:cubicBezTo>
                      <a:pt x="86" y="14"/>
                      <a:pt x="86" y="14"/>
                      <a:pt x="85" y="14"/>
                    </a:cubicBezTo>
                    <a:cubicBezTo>
                      <a:pt x="85" y="14"/>
                      <a:pt x="85" y="14"/>
                      <a:pt x="85" y="14"/>
                    </a:cubicBezTo>
                    <a:cubicBezTo>
                      <a:pt x="84" y="14"/>
                      <a:pt x="87" y="13"/>
                      <a:pt x="84" y="14"/>
                    </a:cubicBezTo>
                    <a:cubicBezTo>
                      <a:pt x="81" y="15"/>
                      <a:pt x="81" y="15"/>
                      <a:pt x="81" y="15"/>
                    </a:cubicBezTo>
                    <a:cubicBezTo>
                      <a:pt x="81" y="15"/>
                      <a:pt x="81" y="14"/>
                      <a:pt x="81" y="14"/>
                    </a:cubicBezTo>
                    <a:cubicBezTo>
                      <a:pt x="81" y="14"/>
                      <a:pt x="81" y="13"/>
                      <a:pt x="81" y="13"/>
                    </a:cubicBezTo>
                    <a:close/>
                    <a:moveTo>
                      <a:pt x="68" y="16"/>
                    </a:moveTo>
                    <a:cubicBezTo>
                      <a:pt x="68" y="16"/>
                      <a:pt x="68" y="16"/>
                      <a:pt x="68" y="16"/>
                    </a:cubicBezTo>
                    <a:cubicBezTo>
                      <a:pt x="69" y="16"/>
                      <a:pt x="69" y="16"/>
                      <a:pt x="69" y="16"/>
                    </a:cubicBezTo>
                    <a:cubicBezTo>
                      <a:pt x="69" y="16"/>
                      <a:pt x="71" y="16"/>
                      <a:pt x="71" y="15"/>
                    </a:cubicBezTo>
                    <a:cubicBezTo>
                      <a:pt x="72" y="15"/>
                      <a:pt x="72" y="15"/>
                      <a:pt x="72" y="15"/>
                    </a:cubicBezTo>
                    <a:cubicBezTo>
                      <a:pt x="72" y="15"/>
                      <a:pt x="74" y="14"/>
                      <a:pt x="74" y="14"/>
                    </a:cubicBezTo>
                    <a:cubicBezTo>
                      <a:pt x="75" y="14"/>
                      <a:pt x="76" y="13"/>
                      <a:pt x="76" y="13"/>
                    </a:cubicBezTo>
                    <a:cubicBezTo>
                      <a:pt x="76" y="13"/>
                      <a:pt x="78" y="14"/>
                      <a:pt x="78" y="14"/>
                    </a:cubicBezTo>
                    <a:cubicBezTo>
                      <a:pt x="79" y="14"/>
                      <a:pt x="79" y="13"/>
                      <a:pt x="79" y="13"/>
                    </a:cubicBezTo>
                    <a:cubicBezTo>
                      <a:pt x="77" y="12"/>
                      <a:pt x="77" y="12"/>
                      <a:pt x="77" y="12"/>
                    </a:cubicBezTo>
                    <a:cubicBezTo>
                      <a:pt x="73" y="13"/>
                      <a:pt x="73" y="13"/>
                      <a:pt x="73" y="13"/>
                    </a:cubicBezTo>
                    <a:cubicBezTo>
                      <a:pt x="73" y="13"/>
                      <a:pt x="70" y="14"/>
                      <a:pt x="69" y="14"/>
                    </a:cubicBezTo>
                    <a:cubicBezTo>
                      <a:pt x="68" y="13"/>
                      <a:pt x="67" y="14"/>
                      <a:pt x="67" y="14"/>
                    </a:cubicBezTo>
                    <a:cubicBezTo>
                      <a:pt x="66" y="15"/>
                      <a:pt x="66" y="15"/>
                      <a:pt x="66" y="15"/>
                    </a:cubicBezTo>
                    <a:cubicBezTo>
                      <a:pt x="66" y="15"/>
                      <a:pt x="67" y="16"/>
                      <a:pt x="67" y="16"/>
                    </a:cubicBezTo>
                    <a:cubicBezTo>
                      <a:pt x="67" y="17"/>
                      <a:pt x="68" y="16"/>
                      <a:pt x="68" y="16"/>
                    </a:cubicBezTo>
                    <a:close/>
                    <a:moveTo>
                      <a:pt x="56" y="22"/>
                    </a:moveTo>
                    <a:cubicBezTo>
                      <a:pt x="56" y="22"/>
                      <a:pt x="56" y="22"/>
                      <a:pt x="56" y="22"/>
                    </a:cubicBezTo>
                    <a:cubicBezTo>
                      <a:pt x="56" y="22"/>
                      <a:pt x="56" y="22"/>
                      <a:pt x="56" y="22"/>
                    </a:cubicBezTo>
                    <a:cubicBezTo>
                      <a:pt x="57" y="23"/>
                      <a:pt x="57" y="23"/>
                      <a:pt x="57" y="23"/>
                    </a:cubicBezTo>
                    <a:cubicBezTo>
                      <a:pt x="57" y="23"/>
                      <a:pt x="58" y="22"/>
                      <a:pt x="58" y="22"/>
                    </a:cubicBezTo>
                    <a:cubicBezTo>
                      <a:pt x="58" y="21"/>
                      <a:pt x="59" y="21"/>
                      <a:pt x="59" y="21"/>
                    </a:cubicBezTo>
                    <a:cubicBezTo>
                      <a:pt x="59" y="21"/>
                      <a:pt x="60" y="20"/>
                      <a:pt x="61" y="20"/>
                    </a:cubicBezTo>
                    <a:cubicBezTo>
                      <a:pt x="61" y="20"/>
                      <a:pt x="63" y="19"/>
                      <a:pt x="63" y="19"/>
                    </a:cubicBezTo>
                    <a:cubicBezTo>
                      <a:pt x="63" y="18"/>
                      <a:pt x="63" y="18"/>
                      <a:pt x="63" y="18"/>
                    </a:cubicBezTo>
                    <a:cubicBezTo>
                      <a:pt x="63" y="18"/>
                      <a:pt x="60" y="18"/>
                      <a:pt x="60" y="18"/>
                    </a:cubicBezTo>
                    <a:cubicBezTo>
                      <a:pt x="60" y="18"/>
                      <a:pt x="58" y="20"/>
                      <a:pt x="58" y="20"/>
                    </a:cubicBezTo>
                    <a:cubicBezTo>
                      <a:pt x="58" y="20"/>
                      <a:pt x="56" y="22"/>
                      <a:pt x="56" y="22"/>
                    </a:cubicBezTo>
                    <a:close/>
                    <a:moveTo>
                      <a:pt x="55" y="32"/>
                    </a:moveTo>
                    <a:cubicBezTo>
                      <a:pt x="55" y="32"/>
                      <a:pt x="55" y="32"/>
                      <a:pt x="55" y="32"/>
                    </a:cubicBezTo>
                    <a:cubicBezTo>
                      <a:pt x="55" y="32"/>
                      <a:pt x="57" y="30"/>
                      <a:pt x="57" y="29"/>
                    </a:cubicBezTo>
                    <a:cubicBezTo>
                      <a:pt x="57" y="29"/>
                      <a:pt x="57" y="27"/>
                      <a:pt x="57" y="27"/>
                    </a:cubicBezTo>
                    <a:cubicBezTo>
                      <a:pt x="57" y="25"/>
                      <a:pt x="57" y="25"/>
                      <a:pt x="57" y="25"/>
                    </a:cubicBezTo>
                    <a:cubicBezTo>
                      <a:pt x="55" y="23"/>
                      <a:pt x="55" y="23"/>
                      <a:pt x="55" y="23"/>
                    </a:cubicBezTo>
                    <a:cubicBezTo>
                      <a:pt x="55" y="23"/>
                      <a:pt x="54" y="25"/>
                      <a:pt x="54" y="25"/>
                    </a:cubicBezTo>
                    <a:cubicBezTo>
                      <a:pt x="54" y="26"/>
                      <a:pt x="53" y="26"/>
                      <a:pt x="52" y="27"/>
                    </a:cubicBezTo>
                    <a:cubicBezTo>
                      <a:pt x="51" y="28"/>
                      <a:pt x="51" y="29"/>
                      <a:pt x="51" y="30"/>
                    </a:cubicBezTo>
                    <a:cubicBezTo>
                      <a:pt x="51" y="30"/>
                      <a:pt x="50" y="31"/>
                      <a:pt x="50" y="32"/>
                    </a:cubicBezTo>
                    <a:cubicBezTo>
                      <a:pt x="50" y="33"/>
                      <a:pt x="51" y="33"/>
                      <a:pt x="52" y="33"/>
                    </a:cubicBezTo>
                    <a:cubicBezTo>
                      <a:pt x="53" y="33"/>
                      <a:pt x="52" y="33"/>
                      <a:pt x="52" y="33"/>
                    </a:cubicBezTo>
                    <a:cubicBezTo>
                      <a:pt x="55" y="32"/>
                      <a:pt x="55" y="32"/>
                      <a:pt x="55" y="32"/>
                    </a:cubicBezTo>
                    <a:close/>
                    <a:moveTo>
                      <a:pt x="21" y="94"/>
                    </a:moveTo>
                    <a:cubicBezTo>
                      <a:pt x="21" y="94"/>
                      <a:pt x="21" y="94"/>
                      <a:pt x="21" y="94"/>
                    </a:cubicBezTo>
                    <a:cubicBezTo>
                      <a:pt x="21" y="94"/>
                      <a:pt x="21" y="94"/>
                      <a:pt x="22" y="94"/>
                    </a:cubicBezTo>
                    <a:cubicBezTo>
                      <a:pt x="22" y="94"/>
                      <a:pt x="22" y="93"/>
                      <a:pt x="22" y="93"/>
                    </a:cubicBezTo>
                    <a:cubicBezTo>
                      <a:pt x="23" y="93"/>
                      <a:pt x="23" y="94"/>
                      <a:pt x="23" y="94"/>
                    </a:cubicBezTo>
                    <a:cubicBezTo>
                      <a:pt x="24" y="94"/>
                      <a:pt x="24" y="95"/>
                      <a:pt x="24" y="95"/>
                    </a:cubicBezTo>
                    <a:cubicBezTo>
                      <a:pt x="25" y="97"/>
                      <a:pt x="25" y="97"/>
                      <a:pt x="25" y="97"/>
                    </a:cubicBezTo>
                    <a:cubicBezTo>
                      <a:pt x="25" y="97"/>
                      <a:pt x="25" y="98"/>
                      <a:pt x="25" y="98"/>
                    </a:cubicBezTo>
                    <a:cubicBezTo>
                      <a:pt x="25" y="99"/>
                      <a:pt x="25" y="99"/>
                      <a:pt x="25" y="99"/>
                    </a:cubicBezTo>
                    <a:cubicBezTo>
                      <a:pt x="25" y="99"/>
                      <a:pt x="26" y="99"/>
                      <a:pt x="27" y="99"/>
                    </a:cubicBezTo>
                    <a:cubicBezTo>
                      <a:pt x="27" y="99"/>
                      <a:pt x="27" y="100"/>
                      <a:pt x="28" y="100"/>
                    </a:cubicBezTo>
                    <a:cubicBezTo>
                      <a:pt x="29" y="101"/>
                      <a:pt x="29" y="101"/>
                      <a:pt x="29" y="101"/>
                    </a:cubicBezTo>
                    <a:cubicBezTo>
                      <a:pt x="30" y="102"/>
                      <a:pt x="30" y="102"/>
                      <a:pt x="31" y="103"/>
                    </a:cubicBezTo>
                    <a:cubicBezTo>
                      <a:pt x="32" y="103"/>
                      <a:pt x="32" y="103"/>
                      <a:pt x="33" y="103"/>
                    </a:cubicBezTo>
                    <a:cubicBezTo>
                      <a:pt x="33" y="102"/>
                      <a:pt x="33" y="102"/>
                      <a:pt x="34" y="102"/>
                    </a:cubicBezTo>
                    <a:cubicBezTo>
                      <a:pt x="34" y="102"/>
                      <a:pt x="34" y="102"/>
                      <a:pt x="35" y="102"/>
                    </a:cubicBezTo>
                    <a:cubicBezTo>
                      <a:pt x="35" y="101"/>
                      <a:pt x="34" y="101"/>
                      <a:pt x="34" y="101"/>
                    </a:cubicBezTo>
                    <a:cubicBezTo>
                      <a:pt x="34" y="101"/>
                      <a:pt x="33" y="100"/>
                      <a:pt x="32" y="99"/>
                    </a:cubicBezTo>
                    <a:cubicBezTo>
                      <a:pt x="32" y="99"/>
                      <a:pt x="32" y="99"/>
                      <a:pt x="32" y="98"/>
                    </a:cubicBezTo>
                    <a:cubicBezTo>
                      <a:pt x="32" y="98"/>
                      <a:pt x="32" y="98"/>
                      <a:pt x="31" y="97"/>
                    </a:cubicBezTo>
                    <a:cubicBezTo>
                      <a:pt x="30" y="97"/>
                      <a:pt x="30" y="97"/>
                      <a:pt x="30" y="97"/>
                    </a:cubicBezTo>
                    <a:cubicBezTo>
                      <a:pt x="29" y="96"/>
                      <a:pt x="29" y="95"/>
                      <a:pt x="29" y="95"/>
                    </a:cubicBezTo>
                    <a:cubicBezTo>
                      <a:pt x="29" y="95"/>
                      <a:pt x="27" y="95"/>
                      <a:pt x="27" y="94"/>
                    </a:cubicBezTo>
                    <a:cubicBezTo>
                      <a:pt x="27" y="94"/>
                      <a:pt x="26" y="94"/>
                      <a:pt x="26" y="94"/>
                    </a:cubicBezTo>
                    <a:cubicBezTo>
                      <a:pt x="26" y="94"/>
                      <a:pt x="24" y="93"/>
                      <a:pt x="24" y="92"/>
                    </a:cubicBezTo>
                    <a:cubicBezTo>
                      <a:pt x="24" y="92"/>
                      <a:pt x="24" y="91"/>
                      <a:pt x="24" y="91"/>
                    </a:cubicBezTo>
                    <a:cubicBezTo>
                      <a:pt x="24" y="91"/>
                      <a:pt x="23" y="91"/>
                      <a:pt x="22" y="91"/>
                    </a:cubicBezTo>
                    <a:cubicBezTo>
                      <a:pt x="21" y="92"/>
                      <a:pt x="20" y="92"/>
                      <a:pt x="20" y="92"/>
                    </a:cubicBezTo>
                    <a:cubicBezTo>
                      <a:pt x="19" y="92"/>
                      <a:pt x="19" y="93"/>
                      <a:pt x="19" y="93"/>
                    </a:cubicBezTo>
                    <a:cubicBezTo>
                      <a:pt x="19" y="93"/>
                      <a:pt x="19" y="94"/>
                      <a:pt x="20" y="94"/>
                    </a:cubicBezTo>
                    <a:cubicBezTo>
                      <a:pt x="20" y="95"/>
                      <a:pt x="21" y="94"/>
                      <a:pt x="21" y="94"/>
                    </a:cubicBezTo>
                    <a:close/>
                    <a:moveTo>
                      <a:pt x="71" y="75"/>
                    </a:moveTo>
                    <a:cubicBezTo>
                      <a:pt x="71" y="75"/>
                      <a:pt x="71" y="75"/>
                      <a:pt x="71" y="75"/>
                    </a:cubicBezTo>
                    <a:cubicBezTo>
                      <a:pt x="71" y="76"/>
                      <a:pt x="71" y="76"/>
                      <a:pt x="71" y="76"/>
                    </a:cubicBezTo>
                    <a:cubicBezTo>
                      <a:pt x="71" y="76"/>
                      <a:pt x="71" y="76"/>
                      <a:pt x="72" y="76"/>
                    </a:cubicBezTo>
                    <a:cubicBezTo>
                      <a:pt x="72" y="75"/>
                      <a:pt x="72" y="76"/>
                      <a:pt x="73" y="76"/>
                    </a:cubicBezTo>
                    <a:cubicBezTo>
                      <a:pt x="73" y="76"/>
                      <a:pt x="73" y="76"/>
                      <a:pt x="73" y="76"/>
                    </a:cubicBezTo>
                    <a:cubicBezTo>
                      <a:pt x="74" y="76"/>
                      <a:pt x="75" y="74"/>
                      <a:pt x="75" y="74"/>
                    </a:cubicBezTo>
                    <a:cubicBezTo>
                      <a:pt x="75" y="74"/>
                      <a:pt x="75" y="74"/>
                      <a:pt x="76" y="74"/>
                    </a:cubicBezTo>
                    <a:cubicBezTo>
                      <a:pt x="76" y="74"/>
                      <a:pt x="77" y="74"/>
                      <a:pt x="77" y="73"/>
                    </a:cubicBezTo>
                    <a:cubicBezTo>
                      <a:pt x="77" y="73"/>
                      <a:pt x="77" y="73"/>
                      <a:pt x="78" y="73"/>
                    </a:cubicBezTo>
                    <a:cubicBezTo>
                      <a:pt x="78" y="72"/>
                      <a:pt x="78" y="72"/>
                      <a:pt x="78" y="72"/>
                    </a:cubicBezTo>
                    <a:cubicBezTo>
                      <a:pt x="79" y="71"/>
                      <a:pt x="80" y="71"/>
                      <a:pt x="80" y="71"/>
                    </a:cubicBezTo>
                    <a:cubicBezTo>
                      <a:pt x="81" y="70"/>
                      <a:pt x="81" y="70"/>
                      <a:pt x="81" y="69"/>
                    </a:cubicBezTo>
                    <a:cubicBezTo>
                      <a:pt x="81" y="69"/>
                      <a:pt x="80" y="69"/>
                      <a:pt x="80" y="70"/>
                    </a:cubicBezTo>
                    <a:cubicBezTo>
                      <a:pt x="79" y="70"/>
                      <a:pt x="78" y="70"/>
                      <a:pt x="78" y="70"/>
                    </a:cubicBezTo>
                    <a:cubicBezTo>
                      <a:pt x="78" y="71"/>
                      <a:pt x="77" y="71"/>
                      <a:pt x="77" y="71"/>
                    </a:cubicBezTo>
                    <a:cubicBezTo>
                      <a:pt x="76" y="71"/>
                      <a:pt x="75" y="72"/>
                      <a:pt x="74" y="72"/>
                    </a:cubicBezTo>
                    <a:cubicBezTo>
                      <a:pt x="74" y="72"/>
                      <a:pt x="74" y="73"/>
                      <a:pt x="73" y="74"/>
                    </a:cubicBezTo>
                    <a:cubicBezTo>
                      <a:pt x="73" y="74"/>
                      <a:pt x="73" y="74"/>
                      <a:pt x="73" y="75"/>
                    </a:cubicBezTo>
                    <a:cubicBezTo>
                      <a:pt x="72" y="75"/>
                      <a:pt x="71" y="75"/>
                      <a:pt x="71" y="75"/>
                    </a:cubicBezTo>
                    <a:close/>
                  </a:path>
                </a:pathLst>
              </a:custGeom>
              <a:solidFill>
                <a:srgbClr val="EB6E62"/>
              </a:solidFill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54" name="Freeform 219">
                <a:extLst>
                  <a:ext uri="{FF2B5EF4-FFF2-40B4-BE49-F238E27FC236}">
                    <a16:creationId xmlns:a16="http://schemas.microsoft.com/office/drawing/2014/main" id="{049C4630-D84A-6FFB-F6AB-6EB5FD80A0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85952" y="2903713"/>
                <a:ext cx="538070" cy="369604"/>
              </a:xfrm>
              <a:custGeom>
                <a:avLst/>
                <a:gdLst>
                  <a:gd name="T0" fmla="*/ 28 w 240"/>
                  <a:gd name="T1" fmla="*/ 61 h 170"/>
                  <a:gd name="T2" fmla="*/ 31 w 240"/>
                  <a:gd name="T3" fmla="*/ 54 h 170"/>
                  <a:gd name="T4" fmla="*/ 44 w 240"/>
                  <a:gd name="T5" fmla="*/ 55 h 170"/>
                  <a:gd name="T6" fmla="*/ 64 w 240"/>
                  <a:gd name="T7" fmla="*/ 59 h 170"/>
                  <a:gd name="T8" fmla="*/ 96 w 240"/>
                  <a:gd name="T9" fmla="*/ 52 h 170"/>
                  <a:gd name="T10" fmla="*/ 95 w 240"/>
                  <a:gd name="T11" fmla="*/ 41 h 170"/>
                  <a:gd name="T12" fmla="*/ 115 w 240"/>
                  <a:gd name="T13" fmla="*/ 36 h 170"/>
                  <a:gd name="T14" fmla="*/ 127 w 240"/>
                  <a:gd name="T15" fmla="*/ 30 h 170"/>
                  <a:gd name="T16" fmla="*/ 139 w 240"/>
                  <a:gd name="T17" fmla="*/ 24 h 170"/>
                  <a:gd name="T18" fmla="*/ 148 w 240"/>
                  <a:gd name="T19" fmla="*/ 9 h 170"/>
                  <a:gd name="T20" fmla="*/ 168 w 240"/>
                  <a:gd name="T21" fmla="*/ 5 h 170"/>
                  <a:gd name="T22" fmla="*/ 186 w 240"/>
                  <a:gd name="T23" fmla="*/ 1 h 170"/>
                  <a:gd name="T24" fmla="*/ 207 w 240"/>
                  <a:gd name="T25" fmla="*/ 6 h 170"/>
                  <a:gd name="T26" fmla="*/ 218 w 240"/>
                  <a:gd name="T27" fmla="*/ 11 h 170"/>
                  <a:gd name="T28" fmla="*/ 229 w 240"/>
                  <a:gd name="T29" fmla="*/ 17 h 170"/>
                  <a:gd name="T30" fmla="*/ 238 w 240"/>
                  <a:gd name="T31" fmla="*/ 23 h 170"/>
                  <a:gd name="T32" fmla="*/ 234 w 240"/>
                  <a:gd name="T33" fmla="*/ 33 h 170"/>
                  <a:gd name="T34" fmla="*/ 224 w 240"/>
                  <a:gd name="T35" fmla="*/ 39 h 170"/>
                  <a:gd name="T36" fmla="*/ 217 w 240"/>
                  <a:gd name="T37" fmla="*/ 48 h 170"/>
                  <a:gd name="T38" fmla="*/ 213 w 240"/>
                  <a:gd name="T39" fmla="*/ 62 h 170"/>
                  <a:gd name="T40" fmla="*/ 206 w 240"/>
                  <a:gd name="T41" fmla="*/ 75 h 170"/>
                  <a:gd name="T42" fmla="*/ 201 w 240"/>
                  <a:gd name="T43" fmla="*/ 90 h 170"/>
                  <a:gd name="T44" fmla="*/ 199 w 240"/>
                  <a:gd name="T45" fmla="*/ 106 h 170"/>
                  <a:gd name="T46" fmla="*/ 196 w 240"/>
                  <a:gd name="T47" fmla="*/ 117 h 170"/>
                  <a:gd name="T48" fmla="*/ 192 w 240"/>
                  <a:gd name="T49" fmla="*/ 126 h 170"/>
                  <a:gd name="T50" fmla="*/ 177 w 240"/>
                  <a:gd name="T51" fmla="*/ 135 h 170"/>
                  <a:gd name="T52" fmla="*/ 168 w 240"/>
                  <a:gd name="T53" fmla="*/ 139 h 170"/>
                  <a:gd name="T54" fmla="*/ 153 w 240"/>
                  <a:gd name="T55" fmla="*/ 139 h 170"/>
                  <a:gd name="T56" fmla="*/ 139 w 240"/>
                  <a:gd name="T57" fmla="*/ 141 h 170"/>
                  <a:gd name="T58" fmla="*/ 130 w 240"/>
                  <a:gd name="T59" fmla="*/ 144 h 170"/>
                  <a:gd name="T60" fmla="*/ 123 w 240"/>
                  <a:gd name="T61" fmla="*/ 152 h 170"/>
                  <a:gd name="T62" fmla="*/ 115 w 240"/>
                  <a:gd name="T63" fmla="*/ 152 h 170"/>
                  <a:gd name="T64" fmla="*/ 105 w 240"/>
                  <a:gd name="T65" fmla="*/ 159 h 170"/>
                  <a:gd name="T66" fmla="*/ 94 w 240"/>
                  <a:gd name="T67" fmla="*/ 167 h 170"/>
                  <a:gd name="T68" fmla="*/ 80 w 240"/>
                  <a:gd name="T69" fmla="*/ 170 h 170"/>
                  <a:gd name="T70" fmla="*/ 64 w 240"/>
                  <a:gd name="T71" fmla="*/ 168 h 170"/>
                  <a:gd name="T72" fmla="*/ 55 w 240"/>
                  <a:gd name="T73" fmla="*/ 162 h 170"/>
                  <a:gd name="T74" fmla="*/ 42 w 240"/>
                  <a:gd name="T75" fmla="*/ 152 h 170"/>
                  <a:gd name="T76" fmla="*/ 26 w 240"/>
                  <a:gd name="T77" fmla="*/ 143 h 170"/>
                  <a:gd name="T78" fmla="*/ 16 w 240"/>
                  <a:gd name="T79" fmla="*/ 135 h 170"/>
                  <a:gd name="T80" fmla="*/ 7 w 240"/>
                  <a:gd name="T81" fmla="*/ 121 h 170"/>
                  <a:gd name="T82" fmla="*/ 0 w 240"/>
                  <a:gd name="T83" fmla="*/ 117 h 170"/>
                  <a:gd name="T84" fmla="*/ 3 w 240"/>
                  <a:gd name="T85" fmla="*/ 109 h 170"/>
                  <a:gd name="T86" fmla="*/ 8 w 240"/>
                  <a:gd name="T87" fmla="*/ 97 h 170"/>
                  <a:gd name="T88" fmla="*/ 7 w 240"/>
                  <a:gd name="T89" fmla="*/ 88 h 170"/>
                  <a:gd name="T90" fmla="*/ 12 w 240"/>
                  <a:gd name="T91" fmla="*/ 74 h 170"/>
                  <a:gd name="T92" fmla="*/ 8 w 240"/>
                  <a:gd name="T93" fmla="*/ 69 h 170"/>
                  <a:gd name="T94" fmla="*/ 20 w 240"/>
                  <a:gd name="T95" fmla="*/ 70 h 170"/>
                  <a:gd name="T96" fmla="*/ 27 w 240"/>
                  <a:gd name="T97" fmla="*/ 64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40" h="170">
                    <a:moveTo>
                      <a:pt x="28" y="61"/>
                    </a:moveTo>
                    <a:cubicBezTo>
                      <a:pt x="28" y="61"/>
                      <a:pt x="28" y="61"/>
                      <a:pt x="28" y="61"/>
                    </a:cubicBezTo>
                    <a:cubicBezTo>
                      <a:pt x="28" y="61"/>
                      <a:pt x="28" y="61"/>
                      <a:pt x="28" y="61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28" y="58"/>
                      <a:pt x="28" y="58"/>
                      <a:pt x="28" y="58"/>
                    </a:cubicBezTo>
                    <a:cubicBezTo>
                      <a:pt x="31" y="54"/>
                      <a:pt x="31" y="54"/>
                      <a:pt x="31" y="54"/>
                    </a:cubicBezTo>
                    <a:cubicBezTo>
                      <a:pt x="31" y="49"/>
                      <a:pt x="31" y="49"/>
                      <a:pt x="31" y="49"/>
                    </a:cubicBezTo>
                    <a:cubicBezTo>
                      <a:pt x="39" y="50"/>
                      <a:pt x="39" y="50"/>
                      <a:pt x="39" y="50"/>
                    </a:cubicBezTo>
                    <a:cubicBezTo>
                      <a:pt x="44" y="55"/>
                      <a:pt x="44" y="55"/>
                      <a:pt x="44" y="55"/>
                    </a:cubicBezTo>
                    <a:cubicBezTo>
                      <a:pt x="51" y="59"/>
                      <a:pt x="51" y="59"/>
                      <a:pt x="51" y="59"/>
                    </a:cubicBezTo>
                    <a:cubicBezTo>
                      <a:pt x="55" y="61"/>
                      <a:pt x="55" y="61"/>
                      <a:pt x="55" y="61"/>
                    </a:cubicBezTo>
                    <a:cubicBezTo>
                      <a:pt x="64" y="59"/>
                      <a:pt x="64" y="59"/>
                      <a:pt x="64" y="59"/>
                    </a:cubicBezTo>
                    <a:cubicBezTo>
                      <a:pt x="81" y="58"/>
                      <a:pt x="81" y="58"/>
                      <a:pt x="81" y="58"/>
                    </a:cubicBezTo>
                    <a:cubicBezTo>
                      <a:pt x="81" y="58"/>
                      <a:pt x="90" y="57"/>
                      <a:pt x="91" y="56"/>
                    </a:cubicBezTo>
                    <a:cubicBezTo>
                      <a:pt x="92" y="55"/>
                      <a:pt x="98" y="54"/>
                      <a:pt x="96" y="52"/>
                    </a:cubicBezTo>
                    <a:cubicBezTo>
                      <a:pt x="94" y="51"/>
                      <a:pt x="90" y="48"/>
                      <a:pt x="90" y="48"/>
                    </a:cubicBezTo>
                    <a:cubicBezTo>
                      <a:pt x="90" y="46"/>
                      <a:pt x="90" y="46"/>
                      <a:pt x="90" y="46"/>
                    </a:cubicBezTo>
                    <a:cubicBezTo>
                      <a:pt x="95" y="41"/>
                      <a:pt x="95" y="41"/>
                      <a:pt x="95" y="41"/>
                    </a:cubicBezTo>
                    <a:cubicBezTo>
                      <a:pt x="104" y="38"/>
                      <a:pt x="104" y="38"/>
                      <a:pt x="104" y="38"/>
                    </a:cubicBezTo>
                    <a:cubicBezTo>
                      <a:pt x="111" y="37"/>
                      <a:pt x="111" y="37"/>
                      <a:pt x="111" y="37"/>
                    </a:cubicBezTo>
                    <a:cubicBezTo>
                      <a:pt x="115" y="36"/>
                      <a:pt x="115" y="36"/>
                      <a:pt x="115" y="36"/>
                    </a:cubicBezTo>
                    <a:cubicBezTo>
                      <a:pt x="117" y="30"/>
                      <a:pt x="117" y="30"/>
                      <a:pt x="117" y="30"/>
                    </a:cubicBezTo>
                    <a:cubicBezTo>
                      <a:pt x="123" y="29"/>
                      <a:pt x="123" y="29"/>
                      <a:pt x="123" y="29"/>
                    </a:cubicBezTo>
                    <a:cubicBezTo>
                      <a:pt x="127" y="30"/>
                      <a:pt x="127" y="30"/>
                      <a:pt x="127" y="30"/>
                    </a:cubicBezTo>
                    <a:cubicBezTo>
                      <a:pt x="133" y="30"/>
                      <a:pt x="133" y="30"/>
                      <a:pt x="133" y="30"/>
                    </a:cubicBezTo>
                    <a:cubicBezTo>
                      <a:pt x="136" y="26"/>
                      <a:pt x="136" y="26"/>
                      <a:pt x="136" y="26"/>
                    </a:cubicBezTo>
                    <a:cubicBezTo>
                      <a:pt x="139" y="24"/>
                      <a:pt x="139" y="24"/>
                      <a:pt x="139" y="24"/>
                    </a:cubicBezTo>
                    <a:cubicBezTo>
                      <a:pt x="143" y="22"/>
                      <a:pt x="143" y="22"/>
                      <a:pt x="143" y="22"/>
                    </a:cubicBezTo>
                    <a:cubicBezTo>
                      <a:pt x="146" y="16"/>
                      <a:pt x="146" y="16"/>
                      <a:pt x="146" y="16"/>
                    </a:cubicBezTo>
                    <a:cubicBezTo>
                      <a:pt x="148" y="9"/>
                      <a:pt x="148" y="9"/>
                      <a:pt x="148" y="9"/>
                    </a:cubicBezTo>
                    <a:cubicBezTo>
                      <a:pt x="149" y="6"/>
                      <a:pt x="149" y="6"/>
                      <a:pt x="149" y="6"/>
                    </a:cubicBezTo>
                    <a:cubicBezTo>
                      <a:pt x="163" y="2"/>
                      <a:pt x="163" y="2"/>
                      <a:pt x="163" y="2"/>
                    </a:cubicBezTo>
                    <a:cubicBezTo>
                      <a:pt x="168" y="5"/>
                      <a:pt x="168" y="5"/>
                      <a:pt x="168" y="5"/>
                    </a:cubicBezTo>
                    <a:cubicBezTo>
                      <a:pt x="175" y="4"/>
                      <a:pt x="175" y="4"/>
                      <a:pt x="175" y="4"/>
                    </a:cubicBezTo>
                    <a:cubicBezTo>
                      <a:pt x="180" y="0"/>
                      <a:pt x="180" y="0"/>
                      <a:pt x="180" y="0"/>
                    </a:cubicBezTo>
                    <a:cubicBezTo>
                      <a:pt x="186" y="1"/>
                      <a:pt x="186" y="1"/>
                      <a:pt x="186" y="1"/>
                    </a:cubicBezTo>
                    <a:cubicBezTo>
                      <a:pt x="194" y="9"/>
                      <a:pt x="194" y="9"/>
                      <a:pt x="194" y="9"/>
                    </a:cubicBezTo>
                    <a:cubicBezTo>
                      <a:pt x="202" y="9"/>
                      <a:pt x="202" y="9"/>
                      <a:pt x="202" y="9"/>
                    </a:cubicBezTo>
                    <a:cubicBezTo>
                      <a:pt x="207" y="6"/>
                      <a:pt x="207" y="6"/>
                      <a:pt x="207" y="6"/>
                    </a:cubicBezTo>
                    <a:cubicBezTo>
                      <a:pt x="212" y="4"/>
                      <a:pt x="212" y="4"/>
                      <a:pt x="212" y="4"/>
                    </a:cubicBezTo>
                    <a:cubicBezTo>
                      <a:pt x="215" y="7"/>
                      <a:pt x="215" y="7"/>
                      <a:pt x="215" y="7"/>
                    </a:cubicBezTo>
                    <a:cubicBezTo>
                      <a:pt x="218" y="11"/>
                      <a:pt x="218" y="11"/>
                      <a:pt x="218" y="11"/>
                    </a:cubicBezTo>
                    <a:cubicBezTo>
                      <a:pt x="223" y="10"/>
                      <a:pt x="223" y="10"/>
                      <a:pt x="223" y="10"/>
                    </a:cubicBezTo>
                    <a:cubicBezTo>
                      <a:pt x="226" y="14"/>
                      <a:pt x="226" y="14"/>
                      <a:pt x="226" y="14"/>
                    </a:cubicBezTo>
                    <a:cubicBezTo>
                      <a:pt x="229" y="17"/>
                      <a:pt x="229" y="17"/>
                      <a:pt x="229" y="17"/>
                    </a:cubicBezTo>
                    <a:cubicBezTo>
                      <a:pt x="234" y="16"/>
                      <a:pt x="234" y="16"/>
                      <a:pt x="234" y="16"/>
                    </a:cubicBezTo>
                    <a:cubicBezTo>
                      <a:pt x="239" y="19"/>
                      <a:pt x="239" y="19"/>
                      <a:pt x="239" y="19"/>
                    </a:cubicBezTo>
                    <a:cubicBezTo>
                      <a:pt x="238" y="23"/>
                      <a:pt x="238" y="23"/>
                      <a:pt x="238" y="23"/>
                    </a:cubicBezTo>
                    <a:cubicBezTo>
                      <a:pt x="240" y="28"/>
                      <a:pt x="240" y="28"/>
                      <a:pt x="240" y="28"/>
                    </a:cubicBezTo>
                    <a:cubicBezTo>
                      <a:pt x="237" y="31"/>
                      <a:pt x="237" y="31"/>
                      <a:pt x="237" y="31"/>
                    </a:cubicBezTo>
                    <a:cubicBezTo>
                      <a:pt x="237" y="31"/>
                      <a:pt x="236" y="33"/>
                      <a:pt x="234" y="33"/>
                    </a:cubicBezTo>
                    <a:cubicBezTo>
                      <a:pt x="233" y="34"/>
                      <a:pt x="231" y="35"/>
                      <a:pt x="231" y="35"/>
                    </a:cubicBezTo>
                    <a:cubicBezTo>
                      <a:pt x="228" y="38"/>
                      <a:pt x="228" y="38"/>
                      <a:pt x="228" y="38"/>
                    </a:cubicBezTo>
                    <a:cubicBezTo>
                      <a:pt x="224" y="39"/>
                      <a:pt x="224" y="39"/>
                      <a:pt x="224" y="39"/>
                    </a:cubicBezTo>
                    <a:cubicBezTo>
                      <a:pt x="221" y="40"/>
                      <a:pt x="221" y="40"/>
                      <a:pt x="221" y="40"/>
                    </a:cubicBezTo>
                    <a:cubicBezTo>
                      <a:pt x="219" y="42"/>
                      <a:pt x="219" y="42"/>
                      <a:pt x="219" y="42"/>
                    </a:cubicBezTo>
                    <a:cubicBezTo>
                      <a:pt x="217" y="48"/>
                      <a:pt x="217" y="48"/>
                      <a:pt x="217" y="48"/>
                    </a:cubicBezTo>
                    <a:cubicBezTo>
                      <a:pt x="214" y="51"/>
                      <a:pt x="214" y="51"/>
                      <a:pt x="214" y="51"/>
                    </a:cubicBezTo>
                    <a:cubicBezTo>
                      <a:pt x="213" y="56"/>
                      <a:pt x="213" y="56"/>
                      <a:pt x="213" y="56"/>
                    </a:cubicBezTo>
                    <a:cubicBezTo>
                      <a:pt x="213" y="56"/>
                      <a:pt x="215" y="61"/>
                      <a:pt x="213" y="62"/>
                    </a:cubicBezTo>
                    <a:cubicBezTo>
                      <a:pt x="212" y="62"/>
                      <a:pt x="211" y="63"/>
                      <a:pt x="211" y="63"/>
                    </a:cubicBezTo>
                    <a:cubicBezTo>
                      <a:pt x="210" y="71"/>
                      <a:pt x="210" y="71"/>
                      <a:pt x="210" y="71"/>
                    </a:cubicBezTo>
                    <a:cubicBezTo>
                      <a:pt x="206" y="75"/>
                      <a:pt x="206" y="75"/>
                      <a:pt x="206" y="75"/>
                    </a:cubicBezTo>
                    <a:cubicBezTo>
                      <a:pt x="205" y="83"/>
                      <a:pt x="205" y="83"/>
                      <a:pt x="205" y="83"/>
                    </a:cubicBezTo>
                    <a:cubicBezTo>
                      <a:pt x="205" y="83"/>
                      <a:pt x="207" y="87"/>
                      <a:pt x="204" y="87"/>
                    </a:cubicBezTo>
                    <a:cubicBezTo>
                      <a:pt x="202" y="88"/>
                      <a:pt x="201" y="90"/>
                      <a:pt x="201" y="90"/>
                    </a:cubicBezTo>
                    <a:cubicBezTo>
                      <a:pt x="201" y="97"/>
                      <a:pt x="201" y="97"/>
                      <a:pt x="201" y="97"/>
                    </a:cubicBezTo>
                    <a:cubicBezTo>
                      <a:pt x="198" y="102"/>
                      <a:pt x="198" y="102"/>
                      <a:pt x="198" y="102"/>
                    </a:cubicBezTo>
                    <a:cubicBezTo>
                      <a:pt x="199" y="106"/>
                      <a:pt x="199" y="106"/>
                      <a:pt x="199" y="106"/>
                    </a:cubicBezTo>
                    <a:cubicBezTo>
                      <a:pt x="197" y="109"/>
                      <a:pt x="197" y="109"/>
                      <a:pt x="197" y="109"/>
                    </a:cubicBezTo>
                    <a:cubicBezTo>
                      <a:pt x="198" y="114"/>
                      <a:pt x="198" y="114"/>
                      <a:pt x="198" y="114"/>
                    </a:cubicBezTo>
                    <a:cubicBezTo>
                      <a:pt x="196" y="117"/>
                      <a:pt x="196" y="117"/>
                      <a:pt x="196" y="117"/>
                    </a:cubicBezTo>
                    <a:cubicBezTo>
                      <a:pt x="195" y="118"/>
                      <a:pt x="195" y="118"/>
                      <a:pt x="195" y="118"/>
                    </a:cubicBezTo>
                    <a:cubicBezTo>
                      <a:pt x="194" y="121"/>
                      <a:pt x="194" y="121"/>
                      <a:pt x="194" y="121"/>
                    </a:cubicBezTo>
                    <a:cubicBezTo>
                      <a:pt x="192" y="126"/>
                      <a:pt x="192" y="126"/>
                      <a:pt x="192" y="126"/>
                    </a:cubicBezTo>
                    <a:cubicBezTo>
                      <a:pt x="184" y="133"/>
                      <a:pt x="184" y="133"/>
                      <a:pt x="184" y="133"/>
                    </a:cubicBezTo>
                    <a:cubicBezTo>
                      <a:pt x="180" y="132"/>
                      <a:pt x="180" y="132"/>
                      <a:pt x="180" y="132"/>
                    </a:cubicBezTo>
                    <a:cubicBezTo>
                      <a:pt x="177" y="135"/>
                      <a:pt x="177" y="135"/>
                      <a:pt x="177" y="135"/>
                    </a:cubicBezTo>
                    <a:cubicBezTo>
                      <a:pt x="177" y="135"/>
                      <a:pt x="178" y="135"/>
                      <a:pt x="176" y="137"/>
                    </a:cubicBezTo>
                    <a:cubicBezTo>
                      <a:pt x="174" y="138"/>
                      <a:pt x="170" y="139"/>
                      <a:pt x="170" y="139"/>
                    </a:cubicBezTo>
                    <a:cubicBezTo>
                      <a:pt x="168" y="139"/>
                      <a:pt x="168" y="139"/>
                      <a:pt x="168" y="139"/>
                    </a:cubicBezTo>
                    <a:cubicBezTo>
                      <a:pt x="161" y="139"/>
                      <a:pt x="161" y="139"/>
                      <a:pt x="161" y="139"/>
                    </a:cubicBezTo>
                    <a:cubicBezTo>
                      <a:pt x="161" y="139"/>
                      <a:pt x="160" y="138"/>
                      <a:pt x="159" y="139"/>
                    </a:cubicBezTo>
                    <a:cubicBezTo>
                      <a:pt x="158" y="139"/>
                      <a:pt x="153" y="139"/>
                      <a:pt x="153" y="139"/>
                    </a:cubicBezTo>
                    <a:cubicBezTo>
                      <a:pt x="153" y="139"/>
                      <a:pt x="151" y="138"/>
                      <a:pt x="150" y="138"/>
                    </a:cubicBezTo>
                    <a:cubicBezTo>
                      <a:pt x="149" y="138"/>
                      <a:pt x="143" y="139"/>
                      <a:pt x="143" y="139"/>
                    </a:cubicBezTo>
                    <a:cubicBezTo>
                      <a:pt x="139" y="141"/>
                      <a:pt x="139" y="141"/>
                      <a:pt x="139" y="141"/>
                    </a:cubicBezTo>
                    <a:cubicBezTo>
                      <a:pt x="139" y="141"/>
                      <a:pt x="138" y="139"/>
                      <a:pt x="137" y="140"/>
                    </a:cubicBezTo>
                    <a:cubicBezTo>
                      <a:pt x="135" y="140"/>
                      <a:pt x="130" y="142"/>
                      <a:pt x="130" y="142"/>
                    </a:cubicBezTo>
                    <a:cubicBezTo>
                      <a:pt x="130" y="142"/>
                      <a:pt x="132" y="144"/>
                      <a:pt x="130" y="144"/>
                    </a:cubicBezTo>
                    <a:cubicBezTo>
                      <a:pt x="129" y="144"/>
                      <a:pt x="126" y="148"/>
                      <a:pt x="126" y="148"/>
                    </a:cubicBezTo>
                    <a:cubicBezTo>
                      <a:pt x="124" y="149"/>
                      <a:pt x="124" y="149"/>
                      <a:pt x="124" y="149"/>
                    </a:cubicBezTo>
                    <a:cubicBezTo>
                      <a:pt x="123" y="152"/>
                      <a:pt x="123" y="152"/>
                      <a:pt x="123" y="152"/>
                    </a:cubicBezTo>
                    <a:cubicBezTo>
                      <a:pt x="123" y="152"/>
                      <a:pt x="122" y="152"/>
                      <a:pt x="120" y="152"/>
                    </a:cubicBezTo>
                    <a:cubicBezTo>
                      <a:pt x="119" y="152"/>
                      <a:pt x="116" y="153"/>
                      <a:pt x="116" y="153"/>
                    </a:cubicBezTo>
                    <a:cubicBezTo>
                      <a:pt x="115" y="152"/>
                      <a:pt x="115" y="152"/>
                      <a:pt x="115" y="152"/>
                    </a:cubicBezTo>
                    <a:cubicBezTo>
                      <a:pt x="111" y="158"/>
                      <a:pt x="111" y="158"/>
                      <a:pt x="111" y="158"/>
                    </a:cubicBezTo>
                    <a:cubicBezTo>
                      <a:pt x="107" y="160"/>
                      <a:pt x="107" y="160"/>
                      <a:pt x="107" y="160"/>
                    </a:cubicBezTo>
                    <a:cubicBezTo>
                      <a:pt x="105" y="159"/>
                      <a:pt x="105" y="159"/>
                      <a:pt x="105" y="159"/>
                    </a:cubicBezTo>
                    <a:cubicBezTo>
                      <a:pt x="103" y="164"/>
                      <a:pt x="103" y="164"/>
                      <a:pt x="103" y="164"/>
                    </a:cubicBezTo>
                    <a:cubicBezTo>
                      <a:pt x="103" y="164"/>
                      <a:pt x="100" y="165"/>
                      <a:pt x="100" y="166"/>
                    </a:cubicBezTo>
                    <a:cubicBezTo>
                      <a:pt x="99" y="167"/>
                      <a:pt x="94" y="167"/>
                      <a:pt x="94" y="167"/>
                    </a:cubicBezTo>
                    <a:cubicBezTo>
                      <a:pt x="90" y="167"/>
                      <a:pt x="90" y="167"/>
                      <a:pt x="90" y="167"/>
                    </a:cubicBezTo>
                    <a:cubicBezTo>
                      <a:pt x="83" y="169"/>
                      <a:pt x="83" y="169"/>
                      <a:pt x="83" y="169"/>
                    </a:cubicBezTo>
                    <a:cubicBezTo>
                      <a:pt x="83" y="169"/>
                      <a:pt x="81" y="170"/>
                      <a:pt x="80" y="170"/>
                    </a:cubicBezTo>
                    <a:cubicBezTo>
                      <a:pt x="79" y="170"/>
                      <a:pt x="74" y="169"/>
                      <a:pt x="74" y="169"/>
                    </a:cubicBezTo>
                    <a:cubicBezTo>
                      <a:pt x="71" y="170"/>
                      <a:pt x="71" y="170"/>
                      <a:pt x="71" y="170"/>
                    </a:cubicBezTo>
                    <a:cubicBezTo>
                      <a:pt x="64" y="168"/>
                      <a:pt x="64" y="168"/>
                      <a:pt x="64" y="168"/>
                    </a:cubicBezTo>
                    <a:cubicBezTo>
                      <a:pt x="62" y="165"/>
                      <a:pt x="62" y="165"/>
                      <a:pt x="62" y="165"/>
                    </a:cubicBezTo>
                    <a:cubicBezTo>
                      <a:pt x="56" y="164"/>
                      <a:pt x="56" y="164"/>
                      <a:pt x="56" y="164"/>
                    </a:cubicBezTo>
                    <a:cubicBezTo>
                      <a:pt x="55" y="162"/>
                      <a:pt x="55" y="162"/>
                      <a:pt x="55" y="162"/>
                    </a:cubicBezTo>
                    <a:cubicBezTo>
                      <a:pt x="51" y="162"/>
                      <a:pt x="51" y="162"/>
                      <a:pt x="51" y="162"/>
                    </a:cubicBezTo>
                    <a:cubicBezTo>
                      <a:pt x="47" y="158"/>
                      <a:pt x="47" y="158"/>
                      <a:pt x="47" y="158"/>
                    </a:cubicBezTo>
                    <a:cubicBezTo>
                      <a:pt x="42" y="152"/>
                      <a:pt x="42" y="152"/>
                      <a:pt x="42" y="152"/>
                    </a:cubicBezTo>
                    <a:cubicBezTo>
                      <a:pt x="32" y="149"/>
                      <a:pt x="32" y="149"/>
                      <a:pt x="32" y="149"/>
                    </a:cubicBezTo>
                    <a:cubicBezTo>
                      <a:pt x="29" y="145"/>
                      <a:pt x="29" y="145"/>
                      <a:pt x="29" y="145"/>
                    </a:cubicBezTo>
                    <a:cubicBezTo>
                      <a:pt x="26" y="143"/>
                      <a:pt x="26" y="143"/>
                      <a:pt x="26" y="143"/>
                    </a:cubicBezTo>
                    <a:cubicBezTo>
                      <a:pt x="22" y="140"/>
                      <a:pt x="22" y="140"/>
                      <a:pt x="22" y="140"/>
                    </a:cubicBezTo>
                    <a:cubicBezTo>
                      <a:pt x="18" y="137"/>
                      <a:pt x="18" y="137"/>
                      <a:pt x="18" y="137"/>
                    </a:cubicBezTo>
                    <a:cubicBezTo>
                      <a:pt x="16" y="135"/>
                      <a:pt x="16" y="135"/>
                      <a:pt x="16" y="135"/>
                    </a:cubicBezTo>
                    <a:cubicBezTo>
                      <a:pt x="10" y="127"/>
                      <a:pt x="10" y="127"/>
                      <a:pt x="10" y="127"/>
                    </a:cubicBezTo>
                    <a:cubicBezTo>
                      <a:pt x="10" y="125"/>
                      <a:pt x="10" y="125"/>
                      <a:pt x="10" y="125"/>
                    </a:cubicBezTo>
                    <a:cubicBezTo>
                      <a:pt x="7" y="121"/>
                      <a:pt x="7" y="121"/>
                      <a:pt x="7" y="121"/>
                    </a:cubicBezTo>
                    <a:cubicBezTo>
                      <a:pt x="6" y="117"/>
                      <a:pt x="6" y="117"/>
                      <a:pt x="6" y="117"/>
                    </a:cubicBezTo>
                    <a:cubicBezTo>
                      <a:pt x="4" y="115"/>
                      <a:pt x="4" y="115"/>
                      <a:pt x="4" y="115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0" y="117"/>
                      <a:pt x="0" y="117"/>
                      <a:pt x="0" y="117"/>
                    </a:cubicBezTo>
                    <a:cubicBezTo>
                      <a:pt x="0" y="116"/>
                      <a:pt x="0" y="116"/>
                      <a:pt x="0" y="116"/>
                    </a:cubicBezTo>
                    <a:cubicBezTo>
                      <a:pt x="3" y="109"/>
                      <a:pt x="3" y="109"/>
                      <a:pt x="3" y="109"/>
                    </a:cubicBezTo>
                    <a:cubicBezTo>
                      <a:pt x="6" y="108"/>
                      <a:pt x="6" y="108"/>
                      <a:pt x="6" y="108"/>
                    </a:cubicBezTo>
                    <a:cubicBezTo>
                      <a:pt x="9" y="103"/>
                      <a:pt x="9" y="103"/>
                      <a:pt x="9" y="103"/>
                    </a:cubicBezTo>
                    <a:cubicBezTo>
                      <a:pt x="8" y="97"/>
                      <a:pt x="8" y="97"/>
                      <a:pt x="8" y="97"/>
                    </a:cubicBezTo>
                    <a:cubicBezTo>
                      <a:pt x="8" y="95"/>
                      <a:pt x="8" y="95"/>
                      <a:pt x="8" y="95"/>
                    </a:cubicBezTo>
                    <a:cubicBezTo>
                      <a:pt x="5" y="89"/>
                      <a:pt x="5" y="89"/>
                      <a:pt x="5" y="89"/>
                    </a:cubicBezTo>
                    <a:cubicBezTo>
                      <a:pt x="5" y="89"/>
                      <a:pt x="6" y="88"/>
                      <a:pt x="7" y="88"/>
                    </a:cubicBezTo>
                    <a:cubicBezTo>
                      <a:pt x="8" y="88"/>
                      <a:pt x="11" y="86"/>
                      <a:pt x="11" y="86"/>
                    </a:cubicBezTo>
                    <a:cubicBezTo>
                      <a:pt x="17" y="82"/>
                      <a:pt x="17" y="82"/>
                      <a:pt x="17" y="82"/>
                    </a:cubicBezTo>
                    <a:cubicBezTo>
                      <a:pt x="12" y="74"/>
                      <a:pt x="12" y="74"/>
                      <a:pt x="12" y="74"/>
                    </a:cubicBezTo>
                    <a:cubicBezTo>
                      <a:pt x="10" y="74"/>
                      <a:pt x="10" y="74"/>
                      <a:pt x="10" y="74"/>
                    </a:cubicBezTo>
                    <a:cubicBezTo>
                      <a:pt x="4" y="72"/>
                      <a:pt x="4" y="72"/>
                      <a:pt x="4" y="72"/>
                    </a:cubicBezTo>
                    <a:cubicBezTo>
                      <a:pt x="8" y="69"/>
                      <a:pt x="8" y="69"/>
                      <a:pt x="8" y="69"/>
                    </a:cubicBezTo>
                    <a:cubicBezTo>
                      <a:pt x="10" y="67"/>
                      <a:pt x="10" y="67"/>
                      <a:pt x="10" y="67"/>
                    </a:cubicBezTo>
                    <a:cubicBezTo>
                      <a:pt x="18" y="70"/>
                      <a:pt x="18" y="70"/>
                      <a:pt x="18" y="70"/>
                    </a:cubicBezTo>
                    <a:cubicBezTo>
                      <a:pt x="18" y="70"/>
                      <a:pt x="21" y="71"/>
                      <a:pt x="20" y="70"/>
                    </a:cubicBezTo>
                    <a:cubicBezTo>
                      <a:pt x="20" y="67"/>
                      <a:pt x="21" y="69"/>
                      <a:pt x="21" y="69"/>
                    </a:cubicBezTo>
                    <a:cubicBezTo>
                      <a:pt x="22" y="71"/>
                      <a:pt x="25" y="69"/>
                      <a:pt x="27" y="69"/>
                    </a:cubicBezTo>
                    <a:cubicBezTo>
                      <a:pt x="30" y="68"/>
                      <a:pt x="28" y="66"/>
                      <a:pt x="27" y="64"/>
                    </a:cubicBezTo>
                    <a:cubicBezTo>
                      <a:pt x="27" y="63"/>
                      <a:pt x="27" y="62"/>
                      <a:pt x="28" y="61"/>
                    </a:cubicBez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55" name="Freeform 7">
                <a:extLst>
                  <a:ext uri="{FF2B5EF4-FFF2-40B4-BE49-F238E27FC236}">
                    <a16:creationId xmlns:a16="http://schemas.microsoft.com/office/drawing/2014/main" id="{8CD86362-8D46-3D37-03CB-8D6C58E844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19218" y="1937298"/>
                <a:ext cx="645036" cy="586340"/>
              </a:xfrm>
              <a:custGeom>
                <a:avLst/>
                <a:gdLst>
                  <a:gd name="T0" fmla="*/ 83 w 288"/>
                  <a:gd name="T1" fmla="*/ 55 h 270"/>
                  <a:gd name="T2" fmla="*/ 75 w 288"/>
                  <a:gd name="T3" fmla="*/ 45 h 270"/>
                  <a:gd name="T4" fmla="*/ 82 w 288"/>
                  <a:gd name="T5" fmla="*/ 27 h 270"/>
                  <a:gd name="T6" fmla="*/ 101 w 288"/>
                  <a:gd name="T7" fmla="*/ 24 h 270"/>
                  <a:gd name="T8" fmla="*/ 107 w 288"/>
                  <a:gd name="T9" fmla="*/ 4 h 270"/>
                  <a:gd name="T10" fmla="*/ 121 w 288"/>
                  <a:gd name="T11" fmla="*/ 2 h 270"/>
                  <a:gd name="T12" fmla="*/ 136 w 288"/>
                  <a:gd name="T13" fmla="*/ 5 h 270"/>
                  <a:gd name="T14" fmla="*/ 153 w 288"/>
                  <a:gd name="T15" fmla="*/ 7 h 270"/>
                  <a:gd name="T16" fmla="*/ 166 w 288"/>
                  <a:gd name="T17" fmla="*/ 4 h 270"/>
                  <a:gd name="T18" fmla="*/ 189 w 288"/>
                  <a:gd name="T19" fmla="*/ 5 h 270"/>
                  <a:gd name="T20" fmla="*/ 200 w 288"/>
                  <a:gd name="T21" fmla="*/ 6 h 270"/>
                  <a:gd name="T22" fmla="*/ 202 w 288"/>
                  <a:gd name="T23" fmla="*/ 24 h 270"/>
                  <a:gd name="T24" fmla="*/ 210 w 288"/>
                  <a:gd name="T25" fmla="*/ 39 h 270"/>
                  <a:gd name="T26" fmla="*/ 222 w 288"/>
                  <a:gd name="T27" fmla="*/ 53 h 270"/>
                  <a:gd name="T28" fmla="*/ 228 w 288"/>
                  <a:gd name="T29" fmla="*/ 65 h 270"/>
                  <a:gd name="T30" fmla="*/ 251 w 288"/>
                  <a:gd name="T31" fmla="*/ 80 h 270"/>
                  <a:gd name="T32" fmla="*/ 263 w 288"/>
                  <a:gd name="T33" fmla="*/ 85 h 270"/>
                  <a:gd name="T34" fmla="*/ 275 w 288"/>
                  <a:gd name="T35" fmla="*/ 92 h 270"/>
                  <a:gd name="T36" fmla="*/ 288 w 288"/>
                  <a:gd name="T37" fmla="*/ 104 h 270"/>
                  <a:gd name="T38" fmla="*/ 274 w 288"/>
                  <a:gd name="T39" fmla="*/ 121 h 270"/>
                  <a:gd name="T40" fmla="*/ 252 w 288"/>
                  <a:gd name="T41" fmla="*/ 124 h 270"/>
                  <a:gd name="T42" fmla="*/ 259 w 288"/>
                  <a:gd name="T43" fmla="*/ 138 h 270"/>
                  <a:gd name="T44" fmla="*/ 264 w 288"/>
                  <a:gd name="T45" fmla="*/ 151 h 270"/>
                  <a:gd name="T46" fmla="*/ 271 w 288"/>
                  <a:gd name="T47" fmla="*/ 164 h 270"/>
                  <a:gd name="T48" fmla="*/ 276 w 288"/>
                  <a:gd name="T49" fmla="*/ 170 h 270"/>
                  <a:gd name="T50" fmla="*/ 269 w 288"/>
                  <a:gd name="T51" fmla="*/ 182 h 270"/>
                  <a:gd name="T52" fmla="*/ 249 w 288"/>
                  <a:gd name="T53" fmla="*/ 211 h 270"/>
                  <a:gd name="T54" fmla="*/ 260 w 288"/>
                  <a:gd name="T55" fmla="*/ 230 h 270"/>
                  <a:gd name="T56" fmla="*/ 240 w 288"/>
                  <a:gd name="T57" fmla="*/ 225 h 270"/>
                  <a:gd name="T58" fmla="*/ 222 w 288"/>
                  <a:gd name="T59" fmla="*/ 234 h 270"/>
                  <a:gd name="T60" fmla="*/ 207 w 288"/>
                  <a:gd name="T61" fmla="*/ 228 h 270"/>
                  <a:gd name="T62" fmla="*/ 188 w 288"/>
                  <a:gd name="T63" fmla="*/ 235 h 270"/>
                  <a:gd name="T64" fmla="*/ 171 w 288"/>
                  <a:gd name="T65" fmla="*/ 242 h 270"/>
                  <a:gd name="T66" fmla="*/ 154 w 288"/>
                  <a:gd name="T67" fmla="*/ 242 h 270"/>
                  <a:gd name="T68" fmla="*/ 129 w 288"/>
                  <a:gd name="T69" fmla="*/ 240 h 270"/>
                  <a:gd name="T70" fmla="*/ 87 w 288"/>
                  <a:gd name="T71" fmla="*/ 242 h 270"/>
                  <a:gd name="T72" fmla="*/ 56 w 288"/>
                  <a:gd name="T73" fmla="*/ 249 h 270"/>
                  <a:gd name="T74" fmla="*/ 51 w 288"/>
                  <a:gd name="T75" fmla="*/ 253 h 270"/>
                  <a:gd name="T76" fmla="*/ 44 w 288"/>
                  <a:gd name="T77" fmla="*/ 266 h 270"/>
                  <a:gd name="T78" fmla="*/ 27 w 288"/>
                  <a:gd name="T79" fmla="*/ 270 h 270"/>
                  <a:gd name="T80" fmla="*/ 25 w 288"/>
                  <a:gd name="T81" fmla="*/ 249 h 270"/>
                  <a:gd name="T82" fmla="*/ 8 w 288"/>
                  <a:gd name="T83" fmla="*/ 237 h 270"/>
                  <a:gd name="T84" fmla="*/ 21 w 288"/>
                  <a:gd name="T85" fmla="*/ 216 h 270"/>
                  <a:gd name="T86" fmla="*/ 22 w 288"/>
                  <a:gd name="T87" fmla="*/ 194 h 270"/>
                  <a:gd name="T88" fmla="*/ 13 w 288"/>
                  <a:gd name="T89" fmla="*/ 175 h 270"/>
                  <a:gd name="T90" fmla="*/ 9 w 288"/>
                  <a:gd name="T91" fmla="*/ 145 h 270"/>
                  <a:gd name="T92" fmla="*/ 36 w 288"/>
                  <a:gd name="T93" fmla="*/ 136 h 270"/>
                  <a:gd name="T94" fmla="*/ 47 w 288"/>
                  <a:gd name="T95" fmla="*/ 127 h 270"/>
                  <a:gd name="T96" fmla="*/ 59 w 288"/>
                  <a:gd name="T97" fmla="*/ 116 h 270"/>
                  <a:gd name="T98" fmla="*/ 67 w 288"/>
                  <a:gd name="T99" fmla="*/ 115 h 270"/>
                  <a:gd name="T100" fmla="*/ 61 w 288"/>
                  <a:gd name="T101" fmla="*/ 103 h 270"/>
                  <a:gd name="T102" fmla="*/ 60 w 288"/>
                  <a:gd name="T103" fmla="*/ 82 h 270"/>
                  <a:gd name="T104" fmla="*/ 73 w 288"/>
                  <a:gd name="T105" fmla="*/ 65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88" h="270">
                    <a:moveTo>
                      <a:pt x="81" y="66"/>
                    </a:moveTo>
                    <a:cubicBezTo>
                      <a:pt x="80" y="61"/>
                      <a:pt x="80" y="61"/>
                      <a:pt x="80" y="61"/>
                    </a:cubicBezTo>
                    <a:cubicBezTo>
                      <a:pt x="84" y="59"/>
                      <a:pt x="84" y="59"/>
                      <a:pt x="84" y="59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76" y="56"/>
                      <a:pt x="76" y="56"/>
                      <a:pt x="76" y="56"/>
                    </a:cubicBezTo>
                    <a:cubicBezTo>
                      <a:pt x="73" y="55"/>
                      <a:pt x="73" y="55"/>
                      <a:pt x="73" y="55"/>
                    </a:cubicBezTo>
                    <a:cubicBezTo>
                      <a:pt x="73" y="50"/>
                      <a:pt x="73" y="50"/>
                      <a:pt x="73" y="50"/>
                    </a:cubicBezTo>
                    <a:cubicBezTo>
                      <a:pt x="75" y="45"/>
                      <a:pt x="75" y="45"/>
                      <a:pt x="75" y="45"/>
                    </a:cubicBezTo>
                    <a:cubicBezTo>
                      <a:pt x="74" y="36"/>
                      <a:pt x="74" y="36"/>
                      <a:pt x="74" y="36"/>
                    </a:cubicBezTo>
                    <a:cubicBezTo>
                      <a:pt x="74" y="36"/>
                      <a:pt x="72" y="36"/>
                      <a:pt x="75" y="34"/>
                    </a:cubicBezTo>
                    <a:cubicBezTo>
                      <a:pt x="79" y="33"/>
                      <a:pt x="81" y="33"/>
                      <a:pt x="81" y="33"/>
                    </a:cubicBezTo>
                    <a:cubicBezTo>
                      <a:pt x="82" y="27"/>
                      <a:pt x="82" y="27"/>
                      <a:pt x="82" y="27"/>
                    </a:cubicBezTo>
                    <a:cubicBezTo>
                      <a:pt x="85" y="24"/>
                      <a:pt x="85" y="24"/>
                      <a:pt x="85" y="24"/>
                    </a:cubicBezTo>
                    <a:cubicBezTo>
                      <a:pt x="85" y="24"/>
                      <a:pt x="84" y="24"/>
                      <a:pt x="88" y="24"/>
                    </a:cubicBezTo>
                    <a:cubicBezTo>
                      <a:pt x="92" y="24"/>
                      <a:pt x="93" y="24"/>
                      <a:pt x="93" y="24"/>
                    </a:cubicBezTo>
                    <a:cubicBezTo>
                      <a:pt x="101" y="24"/>
                      <a:pt x="101" y="24"/>
                      <a:pt x="101" y="24"/>
                    </a:cubicBezTo>
                    <a:cubicBezTo>
                      <a:pt x="103" y="21"/>
                      <a:pt x="103" y="21"/>
                      <a:pt x="103" y="21"/>
                    </a:cubicBezTo>
                    <a:cubicBezTo>
                      <a:pt x="101" y="16"/>
                      <a:pt x="101" y="16"/>
                      <a:pt x="101" y="16"/>
                    </a:cubicBezTo>
                    <a:cubicBezTo>
                      <a:pt x="106" y="11"/>
                      <a:pt x="106" y="11"/>
                      <a:pt x="106" y="11"/>
                    </a:cubicBezTo>
                    <a:cubicBezTo>
                      <a:pt x="107" y="4"/>
                      <a:pt x="107" y="4"/>
                      <a:pt x="107" y="4"/>
                    </a:cubicBezTo>
                    <a:cubicBezTo>
                      <a:pt x="112" y="1"/>
                      <a:pt x="112" y="1"/>
                      <a:pt x="112" y="1"/>
                    </a:cubicBezTo>
                    <a:cubicBezTo>
                      <a:pt x="112" y="1"/>
                      <a:pt x="115" y="4"/>
                      <a:pt x="116" y="4"/>
                    </a:cubicBezTo>
                    <a:cubicBezTo>
                      <a:pt x="117" y="4"/>
                      <a:pt x="118" y="5"/>
                      <a:pt x="119" y="4"/>
                    </a:cubicBezTo>
                    <a:cubicBezTo>
                      <a:pt x="120" y="4"/>
                      <a:pt x="121" y="2"/>
                      <a:pt x="121" y="2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29" y="1"/>
                      <a:pt x="129" y="1"/>
                      <a:pt x="129" y="1"/>
                    </a:cubicBezTo>
                    <a:cubicBezTo>
                      <a:pt x="131" y="5"/>
                      <a:pt x="131" y="5"/>
                      <a:pt x="131" y="5"/>
                    </a:cubicBezTo>
                    <a:cubicBezTo>
                      <a:pt x="136" y="5"/>
                      <a:pt x="136" y="5"/>
                      <a:pt x="136" y="5"/>
                    </a:cubicBezTo>
                    <a:cubicBezTo>
                      <a:pt x="137" y="3"/>
                      <a:pt x="137" y="3"/>
                      <a:pt x="137" y="3"/>
                    </a:cubicBezTo>
                    <a:cubicBezTo>
                      <a:pt x="144" y="1"/>
                      <a:pt x="144" y="1"/>
                      <a:pt x="144" y="1"/>
                    </a:cubicBezTo>
                    <a:cubicBezTo>
                      <a:pt x="152" y="1"/>
                      <a:pt x="152" y="1"/>
                      <a:pt x="152" y="1"/>
                    </a:cubicBezTo>
                    <a:cubicBezTo>
                      <a:pt x="153" y="7"/>
                      <a:pt x="153" y="7"/>
                      <a:pt x="153" y="7"/>
                    </a:cubicBezTo>
                    <a:cubicBezTo>
                      <a:pt x="153" y="10"/>
                      <a:pt x="153" y="10"/>
                      <a:pt x="153" y="10"/>
                    </a:cubicBezTo>
                    <a:cubicBezTo>
                      <a:pt x="153" y="10"/>
                      <a:pt x="155" y="13"/>
                      <a:pt x="157" y="12"/>
                    </a:cubicBezTo>
                    <a:cubicBezTo>
                      <a:pt x="158" y="12"/>
                      <a:pt x="162" y="11"/>
                      <a:pt x="163" y="9"/>
                    </a:cubicBezTo>
                    <a:cubicBezTo>
                      <a:pt x="163" y="7"/>
                      <a:pt x="164" y="5"/>
                      <a:pt x="166" y="4"/>
                    </a:cubicBezTo>
                    <a:cubicBezTo>
                      <a:pt x="168" y="4"/>
                      <a:pt x="167" y="3"/>
                      <a:pt x="170" y="2"/>
                    </a:cubicBezTo>
                    <a:cubicBezTo>
                      <a:pt x="174" y="1"/>
                      <a:pt x="177" y="0"/>
                      <a:pt x="177" y="0"/>
                    </a:cubicBezTo>
                    <a:cubicBezTo>
                      <a:pt x="186" y="2"/>
                      <a:pt x="186" y="2"/>
                      <a:pt x="186" y="2"/>
                    </a:cubicBezTo>
                    <a:cubicBezTo>
                      <a:pt x="189" y="5"/>
                      <a:pt x="189" y="5"/>
                      <a:pt x="189" y="5"/>
                    </a:cubicBezTo>
                    <a:cubicBezTo>
                      <a:pt x="192" y="7"/>
                      <a:pt x="192" y="7"/>
                      <a:pt x="192" y="7"/>
                    </a:cubicBezTo>
                    <a:cubicBezTo>
                      <a:pt x="195" y="6"/>
                      <a:pt x="195" y="6"/>
                      <a:pt x="195" y="6"/>
                    </a:cubicBezTo>
                    <a:cubicBezTo>
                      <a:pt x="196" y="8"/>
                      <a:pt x="196" y="8"/>
                      <a:pt x="196" y="8"/>
                    </a:cubicBezTo>
                    <a:cubicBezTo>
                      <a:pt x="200" y="6"/>
                      <a:pt x="200" y="6"/>
                      <a:pt x="200" y="6"/>
                    </a:cubicBezTo>
                    <a:cubicBezTo>
                      <a:pt x="202" y="10"/>
                      <a:pt x="202" y="10"/>
                      <a:pt x="202" y="10"/>
                    </a:cubicBezTo>
                    <a:cubicBezTo>
                      <a:pt x="202" y="18"/>
                      <a:pt x="202" y="18"/>
                      <a:pt x="202" y="18"/>
                    </a:cubicBezTo>
                    <a:cubicBezTo>
                      <a:pt x="202" y="21"/>
                      <a:pt x="202" y="21"/>
                      <a:pt x="202" y="21"/>
                    </a:cubicBezTo>
                    <a:cubicBezTo>
                      <a:pt x="202" y="24"/>
                      <a:pt x="202" y="24"/>
                      <a:pt x="202" y="24"/>
                    </a:cubicBezTo>
                    <a:cubicBezTo>
                      <a:pt x="208" y="28"/>
                      <a:pt x="208" y="28"/>
                      <a:pt x="208" y="28"/>
                    </a:cubicBezTo>
                    <a:cubicBezTo>
                      <a:pt x="211" y="31"/>
                      <a:pt x="211" y="31"/>
                      <a:pt x="211" y="31"/>
                    </a:cubicBezTo>
                    <a:cubicBezTo>
                      <a:pt x="210" y="36"/>
                      <a:pt x="210" y="36"/>
                      <a:pt x="210" y="36"/>
                    </a:cubicBezTo>
                    <a:cubicBezTo>
                      <a:pt x="210" y="39"/>
                      <a:pt x="210" y="39"/>
                      <a:pt x="210" y="39"/>
                    </a:cubicBezTo>
                    <a:cubicBezTo>
                      <a:pt x="207" y="47"/>
                      <a:pt x="207" y="47"/>
                      <a:pt x="207" y="47"/>
                    </a:cubicBezTo>
                    <a:cubicBezTo>
                      <a:pt x="214" y="49"/>
                      <a:pt x="214" y="49"/>
                      <a:pt x="214" y="49"/>
                    </a:cubicBezTo>
                    <a:cubicBezTo>
                      <a:pt x="218" y="53"/>
                      <a:pt x="218" y="53"/>
                      <a:pt x="218" y="53"/>
                    </a:cubicBezTo>
                    <a:cubicBezTo>
                      <a:pt x="222" y="53"/>
                      <a:pt x="222" y="53"/>
                      <a:pt x="222" y="53"/>
                    </a:cubicBezTo>
                    <a:cubicBezTo>
                      <a:pt x="222" y="58"/>
                      <a:pt x="222" y="58"/>
                      <a:pt x="222" y="58"/>
                    </a:cubicBezTo>
                    <a:cubicBezTo>
                      <a:pt x="222" y="58"/>
                      <a:pt x="220" y="61"/>
                      <a:pt x="223" y="61"/>
                    </a:cubicBezTo>
                    <a:cubicBezTo>
                      <a:pt x="226" y="62"/>
                      <a:pt x="227" y="62"/>
                      <a:pt x="227" y="62"/>
                    </a:cubicBezTo>
                    <a:cubicBezTo>
                      <a:pt x="228" y="65"/>
                      <a:pt x="228" y="65"/>
                      <a:pt x="228" y="65"/>
                    </a:cubicBezTo>
                    <a:cubicBezTo>
                      <a:pt x="233" y="72"/>
                      <a:pt x="233" y="72"/>
                      <a:pt x="233" y="72"/>
                    </a:cubicBezTo>
                    <a:cubicBezTo>
                      <a:pt x="244" y="74"/>
                      <a:pt x="244" y="74"/>
                      <a:pt x="244" y="74"/>
                    </a:cubicBezTo>
                    <a:cubicBezTo>
                      <a:pt x="249" y="76"/>
                      <a:pt x="249" y="76"/>
                      <a:pt x="249" y="76"/>
                    </a:cubicBezTo>
                    <a:cubicBezTo>
                      <a:pt x="251" y="80"/>
                      <a:pt x="251" y="80"/>
                      <a:pt x="251" y="80"/>
                    </a:cubicBezTo>
                    <a:cubicBezTo>
                      <a:pt x="252" y="89"/>
                      <a:pt x="252" y="89"/>
                      <a:pt x="252" y="89"/>
                    </a:cubicBezTo>
                    <a:cubicBezTo>
                      <a:pt x="257" y="89"/>
                      <a:pt x="257" y="89"/>
                      <a:pt x="257" y="89"/>
                    </a:cubicBezTo>
                    <a:cubicBezTo>
                      <a:pt x="260" y="86"/>
                      <a:pt x="260" y="86"/>
                      <a:pt x="260" y="86"/>
                    </a:cubicBezTo>
                    <a:cubicBezTo>
                      <a:pt x="263" y="85"/>
                      <a:pt x="263" y="85"/>
                      <a:pt x="263" y="85"/>
                    </a:cubicBezTo>
                    <a:cubicBezTo>
                      <a:pt x="267" y="86"/>
                      <a:pt x="267" y="86"/>
                      <a:pt x="267" y="86"/>
                    </a:cubicBezTo>
                    <a:cubicBezTo>
                      <a:pt x="272" y="87"/>
                      <a:pt x="272" y="87"/>
                      <a:pt x="272" y="87"/>
                    </a:cubicBezTo>
                    <a:cubicBezTo>
                      <a:pt x="277" y="87"/>
                      <a:pt x="277" y="87"/>
                      <a:pt x="277" y="87"/>
                    </a:cubicBezTo>
                    <a:cubicBezTo>
                      <a:pt x="275" y="92"/>
                      <a:pt x="275" y="92"/>
                      <a:pt x="275" y="92"/>
                    </a:cubicBezTo>
                    <a:cubicBezTo>
                      <a:pt x="279" y="95"/>
                      <a:pt x="279" y="95"/>
                      <a:pt x="279" y="95"/>
                    </a:cubicBezTo>
                    <a:cubicBezTo>
                      <a:pt x="283" y="96"/>
                      <a:pt x="283" y="96"/>
                      <a:pt x="283" y="96"/>
                    </a:cubicBezTo>
                    <a:cubicBezTo>
                      <a:pt x="288" y="98"/>
                      <a:pt x="288" y="98"/>
                      <a:pt x="288" y="98"/>
                    </a:cubicBezTo>
                    <a:cubicBezTo>
                      <a:pt x="288" y="104"/>
                      <a:pt x="288" y="104"/>
                      <a:pt x="288" y="104"/>
                    </a:cubicBezTo>
                    <a:cubicBezTo>
                      <a:pt x="286" y="107"/>
                      <a:pt x="286" y="107"/>
                      <a:pt x="286" y="107"/>
                    </a:cubicBezTo>
                    <a:cubicBezTo>
                      <a:pt x="282" y="108"/>
                      <a:pt x="282" y="108"/>
                      <a:pt x="282" y="108"/>
                    </a:cubicBezTo>
                    <a:cubicBezTo>
                      <a:pt x="282" y="108"/>
                      <a:pt x="284" y="113"/>
                      <a:pt x="282" y="114"/>
                    </a:cubicBezTo>
                    <a:cubicBezTo>
                      <a:pt x="281" y="115"/>
                      <a:pt x="274" y="121"/>
                      <a:pt x="274" y="121"/>
                    </a:cubicBezTo>
                    <a:cubicBezTo>
                      <a:pt x="267" y="123"/>
                      <a:pt x="267" y="123"/>
                      <a:pt x="267" y="123"/>
                    </a:cubicBezTo>
                    <a:cubicBezTo>
                      <a:pt x="261" y="121"/>
                      <a:pt x="261" y="121"/>
                      <a:pt x="261" y="121"/>
                    </a:cubicBezTo>
                    <a:cubicBezTo>
                      <a:pt x="261" y="121"/>
                      <a:pt x="260" y="120"/>
                      <a:pt x="256" y="121"/>
                    </a:cubicBezTo>
                    <a:cubicBezTo>
                      <a:pt x="252" y="123"/>
                      <a:pt x="252" y="124"/>
                      <a:pt x="252" y="124"/>
                    </a:cubicBezTo>
                    <a:cubicBezTo>
                      <a:pt x="250" y="131"/>
                      <a:pt x="250" y="131"/>
                      <a:pt x="250" y="131"/>
                    </a:cubicBezTo>
                    <a:cubicBezTo>
                      <a:pt x="250" y="134"/>
                      <a:pt x="250" y="134"/>
                      <a:pt x="250" y="134"/>
                    </a:cubicBezTo>
                    <a:cubicBezTo>
                      <a:pt x="254" y="137"/>
                      <a:pt x="254" y="137"/>
                      <a:pt x="254" y="137"/>
                    </a:cubicBezTo>
                    <a:cubicBezTo>
                      <a:pt x="259" y="138"/>
                      <a:pt x="259" y="138"/>
                      <a:pt x="259" y="138"/>
                    </a:cubicBezTo>
                    <a:cubicBezTo>
                      <a:pt x="262" y="142"/>
                      <a:pt x="262" y="142"/>
                      <a:pt x="262" y="142"/>
                    </a:cubicBezTo>
                    <a:cubicBezTo>
                      <a:pt x="264" y="145"/>
                      <a:pt x="264" y="145"/>
                      <a:pt x="264" y="145"/>
                    </a:cubicBezTo>
                    <a:cubicBezTo>
                      <a:pt x="262" y="149"/>
                      <a:pt x="262" y="149"/>
                      <a:pt x="262" y="149"/>
                    </a:cubicBezTo>
                    <a:cubicBezTo>
                      <a:pt x="264" y="151"/>
                      <a:pt x="264" y="151"/>
                      <a:pt x="264" y="151"/>
                    </a:cubicBezTo>
                    <a:cubicBezTo>
                      <a:pt x="268" y="153"/>
                      <a:pt x="268" y="153"/>
                      <a:pt x="268" y="153"/>
                    </a:cubicBezTo>
                    <a:cubicBezTo>
                      <a:pt x="266" y="155"/>
                      <a:pt x="266" y="155"/>
                      <a:pt x="266" y="155"/>
                    </a:cubicBezTo>
                    <a:cubicBezTo>
                      <a:pt x="269" y="161"/>
                      <a:pt x="269" y="161"/>
                      <a:pt x="269" y="161"/>
                    </a:cubicBezTo>
                    <a:cubicBezTo>
                      <a:pt x="271" y="164"/>
                      <a:pt x="271" y="164"/>
                      <a:pt x="271" y="164"/>
                    </a:cubicBezTo>
                    <a:cubicBezTo>
                      <a:pt x="269" y="166"/>
                      <a:pt x="269" y="166"/>
                      <a:pt x="269" y="166"/>
                    </a:cubicBezTo>
                    <a:cubicBezTo>
                      <a:pt x="272" y="167"/>
                      <a:pt x="272" y="167"/>
                      <a:pt x="272" y="167"/>
                    </a:cubicBezTo>
                    <a:cubicBezTo>
                      <a:pt x="276" y="167"/>
                      <a:pt x="276" y="167"/>
                      <a:pt x="276" y="167"/>
                    </a:cubicBezTo>
                    <a:cubicBezTo>
                      <a:pt x="276" y="170"/>
                      <a:pt x="276" y="170"/>
                      <a:pt x="276" y="170"/>
                    </a:cubicBezTo>
                    <a:cubicBezTo>
                      <a:pt x="283" y="174"/>
                      <a:pt x="283" y="174"/>
                      <a:pt x="283" y="174"/>
                    </a:cubicBezTo>
                    <a:cubicBezTo>
                      <a:pt x="281" y="174"/>
                      <a:pt x="281" y="174"/>
                      <a:pt x="281" y="174"/>
                    </a:cubicBezTo>
                    <a:cubicBezTo>
                      <a:pt x="273" y="176"/>
                      <a:pt x="273" y="176"/>
                      <a:pt x="273" y="176"/>
                    </a:cubicBezTo>
                    <a:cubicBezTo>
                      <a:pt x="269" y="182"/>
                      <a:pt x="269" y="182"/>
                      <a:pt x="269" y="182"/>
                    </a:cubicBezTo>
                    <a:cubicBezTo>
                      <a:pt x="257" y="182"/>
                      <a:pt x="257" y="182"/>
                      <a:pt x="257" y="182"/>
                    </a:cubicBezTo>
                    <a:cubicBezTo>
                      <a:pt x="255" y="194"/>
                      <a:pt x="255" y="194"/>
                      <a:pt x="255" y="194"/>
                    </a:cubicBezTo>
                    <a:cubicBezTo>
                      <a:pt x="252" y="202"/>
                      <a:pt x="252" y="202"/>
                      <a:pt x="252" y="202"/>
                    </a:cubicBezTo>
                    <a:cubicBezTo>
                      <a:pt x="249" y="211"/>
                      <a:pt x="249" y="211"/>
                      <a:pt x="249" y="211"/>
                    </a:cubicBezTo>
                    <a:cubicBezTo>
                      <a:pt x="251" y="216"/>
                      <a:pt x="251" y="216"/>
                      <a:pt x="251" y="216"/>
                    </a:cubicBezTo>
                    <a:cubicBezTo>
                      <a:pt x="254" y="223"/>
                      <a:pt x="254" y="223"/>
                      <a:pt x="254" y="223"/>
                    </a:cubicBezTo>
                    <a:cubicBezTo>
                      <a:pt x="260" y="230"/>
                      <a:pt x="260" y="230"/>
                      <a:pt x="260" y="230"/>
                    </a:cubicBezTo>
                    <a:cubicBezTo>
                      <a:pt x="260" y="230"/>
                      <a:pt x="260" y="230"/>
                      <a:pt x="260" y="230"/>
                    </a:cubicBezTo>
                    <a:cubicBezTo>
                      <a:pt x="254" y="232"/>
                      <a:pt x="254" y="232"/>
                      <a:pt x="254" y="232"/>
                    </a:cubicBezTo>
                    <a:cubicBezTo>
                      <a:pt x="250" y="233"/>
                      <a:pt x="250" y="233"/>
                      <a:pt x="250" y="233"/>
                    </a:cubicBezTo>
                    <a:cubicBezTo>
                      <a:pt x="246" y="227"/>
                      <a:pt x="246" y="227"/>
                      <a:pt x="246" y="227"/>
                    </a:cubicBezTo>
                    <a:cubicBezTo>
                      <a:pt x="240" y="225"/>
                      <a:pt x="240" y="225"/>
                      <a:pt x="240" y="225"/>
                    </a:cubicBezTo>
                    <a:cubicBezTo>
                      <a:pt x="233" y="228"/>
                      <a:pt x="233" y="228"/>
                      <a:pt x="233" y="228"/>
                    </a:cubicBezTo>
                    <a:cubicBezTo>
                      <a:pt x="226" y="230"/>
                      <a:pt x="226" y="230"/>
                      <a:pt x="226" y="230"/>
                    </a:cubicBezTo>
                    <a:cubicBezTo>
                      <a:pt x="224" y="230"/>
                      <a:pt x="224" y="230"/>
                      <a:pt x="224" y="230"/>
                    </a:cubicBezTo>
                    <a:cubicBezTo>
                      <a:pt x="222" y="234"/>
                      <a:pt x="222" y="234"/>
                      <a:pt x="222" y="234"/>
                    </a:cubicBezTo>
                    <a:cubicBezTo>
                      <a:pt x="216" y="237"/>
                      <a:pt x="216" y="237"/>
                      <a:pt x="216" y="237"/>
                    </a:cubicBezTo>
                    <a:cubicBezTo>
                      <a:pt x="216" y="237"/>
                      <a:pt x="214" y="235"/>
                      <a:pt x="213" y="234"/>
                    </a:cubicBezTo>
                    <a:cubicBezTo>
                      <a:pt x="212" y="233"/>
                      <a:pt x="209" y="231"/>
                      <a:pt x="209" y="231"/>
                    </a:cubicBezTo>
                    <a:cubicBezTo>
                      <a:pt x="209" y="231"/>
                      <a:pt x="208" y="229"/>
                      <a:pt x="207" y="228"/>
                    </a:cubicBezTo>
                    <a:cubicBezTo>
                      <a:pt x="206" y="228"/>
                      <a:pt x="200" y="232"/>
                      <a:pt x="200" y="232"/>
                    </a:cubicBezTo>
                    <a:cubicBezTo>
                      <a:pt x="200" y="232"/>
                      <a:pt x="195" y="235"/>
                      <a:pt x="195" y="236"/>
                    </a:cubicBezTo>
                    <a:cubicBezTo>
                      <a:pt x="196" y="236"/>
                      <a:pt x="195" y="241"/>
                      <a:pt x="195" y="241"/>
                    </a:cubicBezTo>
                    <a:cubicBezTo>
                      <a:pt x="188" y="235"/>
                      <a:pt x="188" y="235"/>
                      <a:pt x="188" y="235"/>
                    </a:cubicBezTo>
                    <a:cubicBezTo>
                      <a:pt x="183" y="239"/>
                      <a:pt x="183" y="239"/>
                      <a:pt x="183" y="239"/>
                    </a:cubicBezTo>
                    <a:cubicBezTo>
                      <a:pt x="179" y="236"/>
                      <a:pt x="179" y="236"/>
                      <a:pt x="179" y="236"/>
                    </a:cubicBezTo>
                    <a:cubicBezTo>
                      <a:pt x="177" y="235"/>
                      <a:pt x="177" y="235"/>
                      <a:pt x="177" y="235"/>
                    </a:cubicBezTo>
                    <a:cubicBezTo>
                      <a:pt x="171" y="242"/>
                      <a:pt x="171" y="242"/>
                      <a:pt x="171" y="242"/>
                    </a:cubicBezTo>
                    <a:cubicBezTo>
                      <a:pt x="167" y="240"/>
                      <a:pt x="167" y="240"/>
                      <a:pt x="167" y="240"/>
                    </a:cubicBezTo>
                    <a:cubicBezTo>
                      <a:pt x="165" y="247"/>
                      <a:pt x="165" y="247"/>
                      <a:pt x="165" y="247"/>
                    </a:cubicBezTo>
                    <a:cubicBezTo>
                      <a:pt x="160" y="243"/>
                      <a:pt x="160" y="243"/>
                      <a:pt x="160" y="243"/>
                    </a:cubicBezTo>
                    <a:cubicBezTo>
                      <a:pt x="160" y="243"/>
                      <a:pt x="155" y="242"/>
                      <a:pt x="154" y="242"/>
                    </a:cubicBezTo>
                    <a:cubicBezTo>
                      <a:pt x="153" y="242"/>
                      <a:pt x="150" y="246"/>
                      <a:pt x="150" y="246"/>
                    </a:cubicBezTo>
                    <a:cubicBezTo>
                      <a:pt x="145" y="242"/>
                      <a:pt x="145" y="242"/>
                      <a:pt x="145" y="242"/>
                    </a:cubicBezTo>
                    <a:cubicBezTo>
                      <a:pt x="141" y="239"/>
                      <a:pt x="141" y="239"/>
                      <a:pt x="141" y="239"/>
                    </a:cubicBezTo>
                    <a:cubicBezTo>
                      <a:pt x="141" y="239"/>
                      <a:pt x="130" y="240"/>
                      <a:pt x="129" y="240"/>
                    </a:cubicBezTo>
                    <a:cubicBezTo>
                      <a:pt x="128" y="240"/>
                      <a:pt x="121" y="239"/>
                      <a:pt x="121" y="239"/>
                    </a:cubicBezTo>
                    <a:cubicBezTo>
                      <a:pt x="112" y="241"/>
                      <a:pt x="112" y="241"/>
                      <a:pt x="112" y="241"/>
                    </a:cubicBezTo>
                    <a:cubicBezTo>
                      <a:pt x="99" y="241"/>
                      <a:pt x="99" y="241"/>
                      <a:pt x="99" y="241"/>
                    </a:cubicBezTo>
                    <a:cubicBezTo>
                      <a:pt x="87" y="242"/>
                      <a:pt x="87" y="242"/>
                      <a:pt x="87" y="242"/>
                    </a:cubicBezTo>
                    <a:cubicBezTo>
                      <a:pt x="78" y="242"/>
                      <a:pt x="78" y="242"/>
                      <a:pt x="78" y="242"/>
                    </a:cubicBezTo>
                    <a:cubicBezTo>
                      <a:pt x="71" y="247"/>
                      <a:pt x="71" y="247"/>
                      <a:pt x="71" y="247"/>
                    </a:cubicBezTo>
                    <a:cubicBezTo>
                      <a:pt x="64" y="248"/>
                      <a:pt x="64" y="248"/>
                      <a:pt x="64" y="248"/>
                    </a:cubicBezTo>
                    <a:cubicBezTo>
                      <a:pt x="56" y="249"/>
                      <a:pt x="56" y="249"/>
                      <a:pt x="56" y="249"/>
                    </a:cubicBezTo>
                    <a:cubicBezTo>
                      <a:pt x="55" y="249"/>
                      <a:pt x="55" y="249"/>
                      <a:pt x="55" y="249"/>
                    </a:cubicBezTo>
                    <a:cubicBezTo>
                      <a:pt x="54" y="250"/>
                      <a:pt x="54" y="250"/>
                      <a:pt x="54" y="250"/>
                    </a:cubicBezTo>
                    <a:cubicBezTo>
                      <a:pt x="51" y="252"/>
                      <a:pt x="51" y="252"/>
                      <a:pt x="51" y="252"/>
                    </a:cubicBezTo>
                    <a:cubicBezTo>
                      <a:pt x="51" y="253"/>
                      <a:pt x="51" y="253"/>
                      <a:pt x="51" y="253"/>
                    </a:cubicBezTo>
                    <a:cubicBezTo>
                      <a:pt x="49" y="255"/>
                      <a:pt x="49" y="255"/>
                      <a:pt x="49" y="255"/>
                    </a:cubicBezTo>
                    <a:cubicBezTo>
                      <a:pt x="48" y="260"/>
                      <a:pt x="48" y="260"/>
                      <a:pt x="48" y="260"/>
                    </a:cubicBezTo>
                    <a:cubicBezTo>
                      <a:pt x="47" y="262"/>
                      <a:pt x="45" y="264"/>
                      <a:pt x="44" y="266"/>
                    </a:cubicBezTo>
                    <a:cubicBezTo>
                      <a:pt x="44" y="266"/>
                      <a:pt x="44" y="266"/>
                      <a:pt x="44" y="266"/>
                    </a:cubicBezTo>
                    <a:cubicBezTo>
                      <a:pt x="44" y="266"/>
                      <a:pt x="41" y="265"/>
                      <a:pt x="41" y="267"/>
                    </a:cubicBezTo>
                    <a:cubicBezTo>
                      <a:pt x="41" y="268"/>
                      <a:pt x="41" y="268"/>
                      <a:pt x="41" y="268"/>
                    </a:cubicBezTo>
                    <a:cubicBezTo>
                      <a:pt x="38" y="269"/>
                      <a:pt x="33" y="267"/>
                      <a:pt x="33" y="267"/>
                    </a:cubicBezTo>
                    <a:cubicBezTo>
                      <a:pt x="27" y="270"/>
                      <a:pt x="27" y="270"/>
                      <a:pt x="27" y="270"/>
                    </a:cubicBezTo>
                    <a:cubicBezTo>
                      <a:pt x="27" y="270"/>
                      <a:pt x="27" y="270"/>
                      <a:pt x="27" y="270"/>
                    </a:cubicBezTo>
                    <a:cubicBezTo>
                      <a:pt x="27" y="269"/>
                      <a:pt x="25" y="265"/>
                      <a:pt x="25" y="265"/>
                    </a:cubicBezTo>
                    <a:cubicBezTo>
                      <a:pt x="25" y="265"/>
                      <a:pt x="26" y="258"/>
                      <a:pt x="26" y="258"/>
                    </a:cubicBezTo>
                    <a:cubicBezTo>
                      <a:pt x="26" y="257"/>
                      <a:pt x="25" y="249"/>
                      <a:pt x="25" y="249"/>
                    </a:cubicBezTo>
                    <a:cubicBezTo>
                      <a:pt x="25" y="245"/>
                      <a:pt x="25" y="245"/>
                      <a:pt x="25" y="245"/>
                    </a:cubicBezTo>
                    <a:cubicBezTo>
                      <a:pt x="19" y="241"/>
                      <a:pt x="19" y="241"/>
                      <a:pt x="19" y="241"/>
                    </a:cubicBezTo>
                    <a:cubicBezTo>
                      <a:pt x="19" y="241"/>
                      <a:pt x="12" y="240"/>
                      <a:pt x="10" y="240"/>
                    </a:cubicBezTo>
                    <a:cubicBezTo>
                      <a:pt x="9" y="240"/>
                      <a:pt x="8" y="237"/>
                      <a:pt x="8" y="237"/>
                    </a:cubicBezTo>
                    <a:cubicBezTo>
                      <a:pt x="9" y="234"/>
                      <a:pt x="9" y="234"/>
                      <a:pt x="9" y="234"/>
                    </a:cubicBezTo>
                    <a:cubicBezTo>
                      <a:pt x="12" y="225"/>
                      <a:pt x="12" y="225"/>
                      <a:pt x="12" y="225"/>
                    </a:cubicBezTo>
                    <a:cubicBezTo>
                      <a:pt x="17" y="218"/>
                      <a:pt x="17" y="218"/>
                      <a:pt x="17" y="218"/>
                    </a:cubicBezTo>
                    <a:cubicBezTo>
                      <a:pt x="21" y="216"/>
                      <a:pt x="21" y="216"/>
                      <a:pt x="21" y="216"/>
                    </a:cubicBezTo>
                    <a:cubicBezTo>
                      <a:pt x="21" y="216"/>
                      <a:pt x="25" y="210"/>
                      <a:pt x="26" y="209"/>
                    </a:cubicBezTo>
                    <a:cubicBezTo>
                      <a:pt x="27" y="209"/>
                      <a:pt x="26" y="204"/>
                      <a:pt x="25" y="204"/>
                    </a:cubicBezTo>
                    <a:cubicBezTo>
                      <a:pt x="25" y="203"/>
                      <a:pt x="25" y="200"/>
                      <a:pt x="25" y="199"/>
                    </a:cubicBezTo>
                    <a:cubicBezTo>
                      <a:pt x="25" y="197"/>
                      <a:pt x="22" y="194"/>
                      <a:pt x="22" y="194"/>
                    </a:cubicBezTo>
                    <a:cubicBezTo>
                      <a:pt x="21" y="186"/>
                      <a:pt x="21" y="186"/>
                      <a:pt x="21" y="186"/>
                    </a:cubicBezTo>
                    <a:cubicBezTo>
                      <a:pt x="19" y="184"/>
                      <a:pt x="19" y="184"/>
                      <a:pt x="19" y="184"/>
                    </a:cubicBezTo>
                    <a:cubicBezTo>
                      <a:pt x="19" y="183"/>
                      <a:pt x="19" y="183"/>
                      <a:pt x="19" y="183"/>
                    </a:cubicBezTo>
                    <a:cubicBezTo>
                      <a:pt x="13" y="175"/>
                      <a:pt x="13" y="175"/>
                      <a:pt x="13" y="175"/>
                    </a:cubicBezTo>
                    <a:cubicBezTo>
                      <a:pt x="8" y="164"/>
                      <a:pt x="8" y="164"/>
                      <a:pt x="8" y="164"/>
                    </a:cubicBezTo>
                    <a:cubicBezTo>
                      <a:pt x="8" y="164"/>
                      <a:pt x="2" y="154"/>
                      <a:pt x="1" y="150"/>
                    </a:cubicBezTo>
                    <a:cubicBezTo>
                      <a:pt x="0" y="147"/>
                      <a:pt x="0" y="147"/>
                      <a:pt x="0" y="147"/>
                    </a:cubicBezTo>
                    <a:cubicBezTo>
                      <a:pt x="9" y="145"/>
                      <a:pt x="9" y="145"/>
                      <a:pt x="9" y="145"/>
                    </a:cubicBezTo>
                    <a:cubicBezTo>
                      <a:pt x="19" y="141"/>
                      <a:pt x="19" y="141"/>
                      <a:pt x="19" y="141"/>
                    </a:cubicBezTo>
                    <a:cubicBezTo>
                      <a:pt x="25" y="142"/>
                      <a:pt x="25" y="142"/>
                      <a:pt x="25" y="142"/>
                    </a:cubicBezTo>
                    <a:cubicBezTo>
                      <a:pt x="32" y="141"/>
                      <a:pt x="32" y="141"/>
                      <a:pt x="32" y="141"/>
                    </a:cubicBezTo>
                    <a:cubicBezTo>
                      <a:pt x="36" y="136"/>
                      <a:pt x="36" y="136"/>
                      <a:pt x="36" y="136"/>
                    </a:cubicBezTo>
                    <a:cubicBezTo>
                      <a:pt x="41" y="136"/>
                      <a:pt x="41" y="136"/>
                      <a:pt x="41" y="136"/>
                    </a:cubicBezTo>
                    <a:cubicBezTo>
                      <a:pt x="39" y="129"/>
                      <a:pt x="39" y="129"/>
                      <a:pt x="39" y="129"/>
                    </a:cubicBezTo>
                    <a:cubicBezTo>
                      <a:pt x="39" y="129"/>
                      <a:pt x="40" y="126"/>
                      <a:pt x="41" y="127"/>
                    </a:cubicBezTo>
                    <a:cubicBezTo>
                      <a:pt x="43" y="127"/>
                      <a:pt x="47" y="127"/>
                      <a:pt x="47" y="127"/>
                    </a:cubicBezTo>
                    <a:cubicBezTo>
                      <a:pt x="49" y="123"/>
                      <a:pt x="49" y="123"/>
                      <a:pt x="49" y="123"/>
                    </a:cubicBezTo>
                    <a:cubicBezTo>
                      <a:pt x="49" y="121"/>
                      <a:pt x="49" y="121"/>
                      <a:pt x="49" y="121"/>
                    </a:cubicBezTo>
                    <a:cubicBezTo>
                      <a:pt x="56" y="119"/>
                      <a:pt x="56" y="119"/>
                      <a:pt x="56" y="119"/>
                    </a:cubicBezTo>
                    <a:cubicBezTo>
                      <a:pt x="59" y="116"/>
                      <a:pt x="59" y="116"/>
                      <a:pt x="59" y="116"/>
                    </a:cubicBezTo>
                    <a:cubicBezTo>
                      <a:pt x="61" y="118"/>
                      <a:pt x="61" y="118"/>
                      <a:pt x="61" y="118"/>
                    </a:cubicBezTo>
                    <a:cubicBezTo>
                      <a:pt x="60" y="122"/>
                      <a:pt x="60" y="122"/>
                      <a:pt x="60" y="122"/>
                    </a:cubicBezTo>
                    <a:cubicBezTo>
                      <a:pt x="65" y="121"/>
                      <a:pt x="65" y="121"/>
                      <a:pt x="65" y="121"/>
                    </a:cubicBezTo>
                    <a:cubicBezTo>
                      <a:pt x="67" y="115"/>
                      <a:pt x="67" y="115"/>
                      <a:pt x="67" y="115"/>
                    </a:cubicBezTo>
                    <a:cubicBezTo>
                      <a:pt x="65" y="114"/>
                      <a:pt x="65" y="114"/>
                      <a:pt x="65" y="114"/>
                    </a:cubicBezTo>
                    <a:cubicBezTo>
                      <a:pt x="60" y="112"/>
                      <a:pt x="60" y="112"/>
                      <a:pt x="60" y="112"/>
                    </a:cubicBezTo>
                    <a:cubicBezTo>
                      <a:pt x="60" y="112"/>
                      <a:pt x="58" y="113"/>
                      <a:pt x="58" y="111"/>
                    </a:cubicBezTo>
                    <a:cubicBezTo>
                      <a:pt x="59" y="108"/>
                      <a:pt x="61" y="103"/>
                      <a:pt x="61" y="103"/>
                    </a:cubicBezTo>
                    <a:cubicBezTo>
                      <a:pt x="60" y="97"/>
                      <a:pt x="60" y="97"/>
                      <a:pt x="60" y="97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60" y="86"/>
                      <a:pt x="60" y="86"/>
                      <a:pt x="60" y="86"/>
                    </a:cubicBezTo>
                    <a:cubicBezTo>
                      <a:pt x="60" y="82"/>
                      <a:pt x="60" y="82"/>
                      <a:pt x="60" y="82"/>
                    </a:cubicBezTo>
                    <a:cubicBezTo>
                      <a:pt x="62" y="78"/>
                      <a:pt x="62" y="78"/>
                      <a:pt x="62" y="78"/>
                    </a:cubicBezTo>
                    <a:cubicBezTo>
                      <a:pt x="70" y="75"/>
                      <a:pt x="70" y="75"/>
                      <a:pt x="70" y="75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3" y="65"/>
                      <a:pt x="73" y="65"/>
                      <a:pt x="73" y="65"/>
                    </a:cubicBezTo>
                    <a:lnTo>
                      <a:pt x="81" y="6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56" name="Freeform 17">
                <a:extLst>
                  <a:ext uri="{FF2B5EF4-FFF2-40B4-BE49-F238E27FC236}">
                    <a16:creationId xmlns:a16="http://schemas.microsoft.com/office/drawing/2014/main" id="{CDE91335-7ED4-AC39-C9D9-0041C464CE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97379" y="2810527"/>
                <a:ext cx="347909" cy="330863"/>
              </a:xfrm>
              <a:custGeom>
                <a:avLst/>
                <a:gdLst>
                  <a:gd name="T0" fmla="*/ 110 w 155"/>
                  <a:gd name="T1" fmla="*/ 145 h 152"/>
                  <a:gd name="T2" fmla="*/ 107 w 155"/>
                  <a:gd name="T3" fmla="*/ 137 h 152"/>
                  <a:gd name="T4" fmla="*/ 112 w 155"/>
                  <a:gd name="T5" fmla="*/ 127 h 152"/>
                  <a:gd name="T6" fmla="*/ 117 w 155"/>
                  <a:gd name="T7" fmla="*/ 116 h 152"/>
                  <a:gd name="T8" fmla="*/ 115 w 155"/>
                  <a:gd name="T9" fmla="*/ 104 h 152"/>
                  <a:gd name="T10" fmla="*/ 114 w 155"/>
                  <a:gd name="T11" fmla="*/ 88 h 152"/>
                  <a:gd name="T12" fmla="*/ 123 w 155"/>
                  <a:gd name="T13" fmla="*/ 92 h 152"/>
                  <a:gd name="T14" fmla="*/ 128 w 155"/>
                  <a:gd name="T15" fmla="*/ 90 h 152"/>
                  <a:gd name="T16" fmla="*/ 136 w 155"/>
                  <a:gd name="T17" fmla="*/ 90 h 152"/>
                  <a:gd name="T18" fmla="*/ 143 w 155"/>
                  <a:gd name="T19" fmla="*/ 86 h 152"/>
                  <a:gd name="T20" fmla="*/ 155 w 155"/>
                  <a:gd name="T21" fmla="*/ 83 h 152"/>
                  <a:gd name="T22" fmla="*/ 143 w 155"/>
                  <a:gd name="T23" fmla="*/ 77 h 152"/>
                  <a:gd name="T24" fmla="*/ 141 w 155"/>
                  <a:gd name="T25" fmla="*/ 63 h 152"/>
                  <a:gd name="T26" fmla="*/ 131 w 155"/>
                  <a:gd name="T27" fmla="*/ 62 h 152"/>
                  <a:gd name="T28" fmla="*/ 125 w 155"/>
                  <a:gd name="T29" fmla="*/ 54 h 152"/>
                  <a:gd name="T30" fmla="*/ 122 w 155"/>
                  <a:gd name="T31" fmla="*/ 48 h 152"/>
                  <a:gd name="T32" fmla="*/ 116 w 155"/>
                  <a:gd name="T33" fmla="*/ 44 h 152"/>
                  <a:gd name="T34" fmla="*/ 108 w 155"/>
                  <a:gd name="T35" fmla="*/ 38 h 152"/>
                  <a:gd name="T36" fmla="*/ 103 w 155"/>
                  <a:gd name="T37" fmla="*/ 32 h 152"/>
                  <a:gd name="T38" fmla="*/ 100 w 155"/>
                  <a:gd name="T39" fmla="*/ 21 h 152"/>
                  <a:gd name="T40" fmla="*/ 94 w 155"/>
                  <a:gd name="T41" fmla="*/ 12 h 152"/>
                  <a:gd name="T42" fmla="*/ 83 w 155"/>
                  <a:gd name="T43" fmla="*/ 12 h 152"/>
                  <a:gd name="T44" fmla="*/ 70 w 155"/>
                  <a:gd name="T45" fmla="*/ 11 h 152"/>
                  <a:gd name="T46" fmla="*/ 66 w 155"/>
                  <a:gd name="T47" fmla="*/ 9 h 152"/>
                  <a:gd name="T48" fmla="*/ 65 w 155"/>
                  <a:gd name="T49" fmla="*/ 9 h 152"/>
                  <a:gd name="T50" fmla="*/ 59 w 155"/>
                  <a:gd name="T51" fmla="*/ 10 h 152"/>
                  <a:gd name="T52" fmla="*/ 54 w 155"/>
                  <a:gd name="T53" fmla="*/ 7 h 152"/>
                  <a:gd name="T54" fmla="*/ 44 w 155"/>
                  <a:gd name="T55" fmla="*/ 3 h 152"/>
                  <a:gd name="T56" fmla="*/ 34 w 155"/>
                  <a:gd name="T57" fmla="*/ 2 h 152"/>
                  <a:gd name="T58" fmla="*/ 28 w 155"/>
                  <a:gd name="T59" fmla="*/ 7 h 152"/>
                  <a:gd name="T60" fmla="*/ 24 w 155"/>
                  <a:gd name="T61" fmla="*/ 10 h 152"/>
                  <a:gd name="T62" fmla="*/ 16 w 155"/>
                  <a:gd name="T63" fmla="*/ 12 h 152"/>
                  <a:gd name="T64" fmla="*/ 9 w 155"/>
                  <a:gd name="T65" fmla="*/ 14 h 152"/>
                  <a:gd name="T66" fmla="*/ 8 w 155"/>
                  <a:gd name="T67" fmla="*/ 19 h 152"/>
                  <a:gd name="T68" fmla="*/ 0 w 155"/>
                  <a:gd name="T69" fmla="*/ 22 h 152"/>
                  <a:gd name="T70" fmla="*/ 10 w 155"/>
                  <a:gd name="T71" fmla="*/ 22 h 152"/>
                  <a:gd name="T72" fmla="*/ 16 w 155"/>
                  <a:gd name="T73" fmla="*/ 24 h 152"/>
                  <a:gd name="T74" fmla="*/ 20 w 155"/>
                  <a:gd name="T75" fmla="*/ 27 h 152"/>
                  <a:gd name="T76" fmla="*/ 26 w 155"/>
                  <a:gd name="T77" fmla="*/ 33 h 152"/>
                  <a:gd name="T78" fmla="*/ 29 w 155"/>
                  <a:gd name="T79" fmla="*/ 37 h 152"/>
                  <a:gd name="T80" fmla="*/ 32 w 155"/>
                  <a:gd name="T81" fmla="*/ 42 h 152"/>
                  <a:gd name="T82" fmla="*/ 38 w 155"/>
                  <a:gd name="T83" fmla="*/ 49 h 152"/>
                  <a:gd name="T84" fmla="*/ 44 w 155"/>
                  <a:gd name="T85" fmla="*/ 54 h 152"/>
                  <a:gd name="T86" fmla="*/ 50 w 155"/>
                  <a:gd name="T87" fmla="*/ 61 h 152"/>
                  <a:gd name="T88" fmla="*/ 63 w 155"/>
                  <a:gd name="T89" fmla="*/ 71 h 152"/>
                  <a:gd name="T90" fmla="*/ 76 w 155"/>
                  <a:gd name="T91" fmla="*/ 82 h 152"/>
                  <a:gd name="T92" fmla="*/ 83 w 155"/>
                  <a:gd name="T93" fmla="*/ 94 h 152"/>
                  <a:gd name="T94" fmla="*/ 86 w 155"/>
                  <a:gd name="T95" fmla="*/ 104 h 152"/>
                  <a:gd name="T96" fmla="*/ 85 w 155"/>
                  <a:gd name="T97" fmla="*/ 112 h 152"/>
                  <a:gd name="T98" fmla="*/ 86 w 155"/>
                  <a:gd name="T99" fmla="*/ 122 h 152"/>
                  <a:gd name="T100" fmla="*/ 91 w 155"/>
                  <a:gd name="T101" fmla="*/ 135 h 152"/>
                  <a:gd name="T102" fmla="*/ 94 w 155"/>
                  <a:gd name="T103" fmla="*/ 144 h 152"/>
                  <a:gd name="T104" fmla="*/ 97 w 155"/>
                  <a:gd name="T105" fmla="*/ 150 h 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55" h="152">
                    <a:moveTo>
                      <a:pt x="99" y="152"/>
                    </a:moveTo>
                    <a:cubicBezTo>
                      <a:pt x="100" y="148"/>
                      <a:pt x="100" y="148"/>
                      <a:pt x="100" y="148"/>
                    </a:cubicBezTo>
                    <a:cubicBezTo>
                      <a:pt x="100" y="148"/>
                      <a:pt x="103" y="147"/>
                      <a:pt x="104" y="147"/>
                    </a:cubicBezTo>
                    <a:cubicBezTo>
                      <a:pt x="105" y="146"/>
                      <a:pt x="106" y="147"/>
                      <a:pt x="107" y="146"/>
                    </a:cubicBezTo>
                    <a:cubicBezTo>
                      <a:pt x="108" y="146"/>
                      <a:pt x="110" y="145"/>
                      <a:pt x="110" y="145"/>
                    </a:cubicBezTo>
                    <a:cubicBezTo>
                      <a:pt x="109" y="145"/>
                      <a:pt x="109" y="145"/>
                      <a:pt x="109" y="145"/>
                    </a:cubicBezTo>
                    <a:cubicBezTo>
                      <a:pt x="109" y="143"/>
                      <a:pt x="109" y="143"/>
                      <a:pt x="109" y="143"/>
                    </a:cubicBezTo>
                    <a:cubicBezTo>
                      <a:pt x="110" y="141"/>
                      <a:pt x="110" y="141"/>
                      <a:pt x="110" y="141"/>
                    </a:cubicBezTo>
                    <a:cubicBezTo>
                      <a:pt x="106" y="139"/>
                      <a:pt x="106" y="139"/>
                      <a:pt x="106" y="139"/>
                    </a:cubicBezTo>
                    <a:cubicBezTo>
                      <a:pt x="107" y="137"/>
                      <a:pt x="107" y="137"/>
                      <a:pt x="107" y="137"/>
                    </a:cubicBezTo>
                    <a:cubicBezTo>
                      <a:pt x="107" y="137"/>
                      <a:pt x="106" y="135"/>
                      <a:pt x="107" y="135"/>
                    </a:cubicBezTo>
                    <a:cubicBezTo>
                      <a:pt x="108" y="135"/>
                      <a:pt x="108" y="132"/>
                      <a:pt x="108" y="132"/>
                    </a:cubicBezTo>
                    <a:cubicBezTo>
                      <a:pt x="109" y="130"/>
                      <a:pt x="109" y="130"/>
                      <a:pt x="109" y="130"/>
                    </a:cubicBezTo>
                    <a:cubicBezTo>
                      <a:pt x="111" y="130"/>
                      <a:pt x="111" y="130"/>
                      <a:pt x="111" y="130"/>
                    </a:cubicBezTo>
                    <a:cubicBezTo>
                      <a:pt x="111" y="130"/>
                      <a:pt x="111" y="128"/>
                      <a:pt x="112" y="127"/>
                    </a:cubicBezTo>
                    <a:cubicBezTo>
                      <a:pt x="112" y="127"/>
                      <a:pt x="113" y="126"/>
                      <a:pt x="113" y="126"/>
                    </a:cubicBezTo>
                    <a:cubicBezTo>
                      <a:pt x="112" y="123"/>
                      <a:pt x="112" y="123"/>
                      <a:pt x="112" y="123"/>
                    </a:cubicBezTo>
                    <a:cubicBezTo>
                      <a:pt x="112" y="123"/>
                      <a:pt x="110" y="120"/>
                      <a:pt x="111" y="120"/>
                    </a:cubicBezTo>
                    <a:cubicBezTo>
                      <a:pt x="112" y="120"/>
                      <a:pt x="113" y="119"/>
                      <a:pt x="113" y="119"/>
                    </a:cubicBezTo>
                    <a:cubicBezTo>
                      <a:pt x="113" y="119"/>
                      <a:pt x="116" y="116"/>
                      <a:pt x="117" y="116"/>
                    </a:cubicBezTo>
                    <a:cubicBezTo>
                      <a:pt x="117" y="116"/>
                      <a:pt x="119" y="114"/>
                      <a:pt x="119" y="113"/>
                    </a:cubicBezTo>
                    <a:cubicBezTo>
                      <a:pt x="118" y="112"/>
                      <a:pt x="117" y="111"/>
                      <a:pt x="117" y="111"/>
                    </a:cubicBezTo>
                    <a:cubicBezTo>
                      <a:pt x="118" y="107"/>
                      <a:pt x="118" y="107"/>
                      <a:pt x="118" y="107"/>
                    </a:cubicBezTo>
                    <a:cubicBezTo>
                      <a:pt x="118" y="107"/>
                      <a:pt x="119" y="105"/>
                      <a:pt x="118" y="105"/>
                    </a:cubicBezTo>
                    <a:cubicBezTo>
                      <a:pt x="117" y="104"/>
                      <a:pt x="115" y="104"/>
                      <a:pt x="115" y="104"/>
                    </a:cubicBezTo>
                    <a:cubicBezTo>
                      <a:pt x="113" y="102"/>
                      <a:pt x="113" y="102"/>
                      <a:pt x="113" y="102"/>
                    </a:cubicBezTo>
                    <a:cubicBezTo>
                      <a:pt x="113" y="99"/>
                      <a:pt x="113" y="99"/>
                      <a:pt x="113" y="99"/>
                    </a:cubicBezTo>
                    <a:cubicBezTo>
                      <a:pt x="111" y="96"/>
                      <a:pt x="111" y="96"/>
                      <a:pt x="111" y="96"/>
                    </a:cubicBezTo>
                    <a:cubicBezTo>
                      <a:pt x="111" y="96"/>
                      <a:pt x="111" y="94"/>
                      <a:pt x="111" y="93"/>
                    </a:cubicBezTo>
                    <a:cubicBezTo>
                      <a:pt x="112" y="93"/>
                      <a:pt x="114" y="89"/>
                      <a:pt x="114" y="88"/>
                    </a:cubicBezTo>
                    <a:cubicBezTo>
                      <a:pt x="115" y="88"/>
                      <a:pt x="119" y="84"/>
                      <a:pt x="119" y="84"/>
                    </a:cubicBezTo>
                    <a:cubicBezTo>
                      <a:pt x="121" y="89"/>
                      <a:pt x="121" y="89"/>
                      <a:pt x="121" y="89"/>
                    </a:cubicBezTo>
                    <a:cubicBezTo>
                      <a:pt x="121" y="93"/>
                      <a:pt x="121" y="93"/>
                      <a:pt x="121" y="93"/>
                    </a:cubicBezTo>
                    <a:cubicBezTo>
                      <a:pt x="121" y="93"/>
                      <a:pt x="120" y="95"/>
                      <a:pt x="121" y="95"/>
                    </a:cubicBezTo>
                    <a:cubicBezTo>
                      <a:pt x="123" y="94"/>
                      <a:pt x="123" y="92"/>
                      <a:pt x="123" y="92"/>
                    </a:cubicBezTo>
                    <a:cubicBezTo>
                      <a:pt x="124" y="91"/>
                      <a:pt x="124" y="91"/>
                      <a:pt x="124" y="91"/>
                    </a:cubicBezTo>
                    <a:cubicBezTo>
                      <a:pt x="124" y="91"/>
                      <a:pt x="122" y="88"/>
                      <a:pt x="123" y="88"/>
                    </a:cubicBezTo>
                    <a:cubicBezTo>
                      <a:pt x="124" y="88"/>
                      <a:pt x="124" y="86"/>
                      <a:pt x="124" y="88"/>
                    </a:cubicBezTo>
                    <a:cubicBezTo>
                      <a:pt x="125" y="89"/>
                      <a:pt x="125" y="91"/>
                      <a:pt x="126" y="90"/>
                    </a:cubicBezTo>
                    <a:cubicBezTo>
                      <a:pt x="128" y="90"/>
                      <a:pt x="128" y="91"/>
                      <a:pt x="128" y="90"/>
                    </a:cubicBezTo>
                    <a:cubicBezTo>
                      <a:pt x="129" y="89"/>
                      <a:pt x="129" y="88"/>
                      <a:pt x="129" y="88"/>
                    </a:cubicBezTo>
                    <a:cubicBezTo>
                      <a:pt x="130" y="87"/>
                      <a:pt x="130" y="87"/>
                      <a:pt x="130" y="87"/>
                    </a:cubicBezTo>
                    <a:cubicBezTo>
                      <a:pt x="130" y="87"/>
                      <a:pt x="130" y="89"/>
                      <a:pt x="131" y="89"/>
                    </a:cubicBezTo>
                    <a:cubicBezTo>
                      <a:pt x="132" y="89"/>
                      <a:pt x="134" y="89"/>
                      <a:pt x="134" y="89"/>
                    </a:cubicBezTo>
                    <a:cubicBezTo>
                      <a:pt x="136" y="90"/>
                      <a:pt x="136" y="90"/>
                      <a:pt x="136" y="90"/>
                    </a:cubicBezTo>
                    <a:cubicBezTo>
                      <a:pt x="136" y="90"/>
                      <a:pt x="137" y="90"/>
                      <a:pt x="137" y="89"/>
                    </a:cubicBezTo>
                    <a:cubicBezTo>
                      <a:pt x="137" y="88"/>
                      <a:pt x="137" y="87"/>
                      <a:pt x="137" y="87"/>
                    </a:cubicBezTo>
                    <a:cubicBezTo>
                      <a:pt x="139" y="86"/>
                      <a:pt x="139" y="86"/>
                      <a:pt x="139" y="86"/>
                    </a:cubicBezTo>
                    <a:cubicBezTo>
                      <a:pt x="139" y="83"/>
                      <a:pt x="139" y="83"/>
                      <a:pt x="139" y="83"/>
                    </a:cubicBezTo>
                    <a:cubicBezTo>
                      <a:pt x="143" y="86"/>
                      <a:pt x="143" y="86"/>
                      <a:pt x="143" y="86"/>
                    </a:cubicBezTo>
                    <a:cubicBezTo>
                      <a:pt x="144" y="89"/>
                      <a:pt x="144" y="89"/>
                      <a:pt x="144" y="89"/>
                    </a:cubicBezTo>
                    <a:cubicBezTo>
                      <a:pt x="146" y="88"/>
                      <a:pt x="146" y="88"/>
                      <a:pt x="146" y="88"/>
                    </a:cubicBezTo>
                    <a:cubicBezTo>
                      <a:pt x="147" y="85"/>
                      <a:pt x="147" y="85"/>
                      <a:pt x="147" y="85"/>
                    </a:cubicBezTo>
                    <a:cubicBezTo>
                      <a:pt x="147" y="85"/>
                      <a:pt x="150" y="85"/>
                      <a:pt x="151" y="84"/>
                    </a:cubicBezTo>
                    <a:cubicBezTo>
                      <a:pt x="152" y="84"/>
                      <a:pt x="155" y="83"/>
                      <a:pt x="155" y="83"/>
                    </a:cubicBezTo>
                    <a:cubicBezTo>
                      <a:pt x="155" y="82"/>
                      <a:pt x="153" y="81"/>
                      <a:pt x="152" y="82"/>
                    </a:cubicBezTo>
                    <a:cubicBezTo>
                      <a:pt x="151" y="82"/>
                      <a:pt x="149" y="83"/>
                      <a:pt x="148" y="82"/>
                    </a:cubicBezTo>
                    <a:cubicBezTo>
                      <a:pt x="148" y="81"/>
                      <a:pt x="146" y="79"/>
                      <a:pt x="146" y="79"/>
                    </a:cubicBezTo>
                    <a:cubicBezTo>
                      <a:pt x="144" y="79"/>
                      <a:pt x="144" y="79"/>
                      <a:pt x="144" y="79"/>
                    </a:cubicBezTo>
                    <a:cubicBezTo>
                      <a:pt x="144" y="79"/>
                      <a:pt x="142" y="78"/>
                      <a:pt x="143" y="77"/>
                    </a:cubicBezTo>
                    <a:cubicBezTo>
                      <a:pt x="144" y="76"/>
                      <a:pt x="145" y="76"/>
                      <a:pt x="145" y="76"/>
                    </a:cubicBezTo>
                    <a:cubicBezTo>
                      <a:pt x="145" y="76"/>
                      <a:pt x="144" y="74"/>
                      <a:pt x="144" y="73"/>
                    </a:cubicBezTo>
                    <a:cubicBezTo>
                      <a:pt x="144" y="72"/>
                      <a:pt x="144" y="70"/>
                      <a:pt x="143" y="69"/>
                    </a:cubicBezTo>
                    <a:cubicBezTo>
                      <a:pt x="143" y="69"/>
                      <a:pt x="141" y="65"/>
                      <a:pt x="141" y="65"/>
                    </a:cubicBezTo>
                    <a:cubicBezTo>
                      <a:pt x="141" y="63"/>
                      <a:pt x="141" y="63"/>
                      <a:pt x="141" y="63"/>
                    </a:cubicBezTo>
                    <a:cubicBezTo>
                      <a:pt x="139" y="64"/>
                      <a:pt x="139" y="64"/>
                      <a:pt x="139" y="64"/>
                    </a:cubicBezTo>
                    <a:cubicBezTo>
                      <a:pt x="137" y="62"/>
                      <a:pt x="137" y="62"/>
                      <a:pt x="137" y="62"/>
                    </a:cubicBezTo>
                    <a:cubicBezTo>
                      <a:pt x="137" y="62"/>
                      <a:pt x="135" y="62"/>
                      <a:pt x="135" y="63"/>
                    </a:cubicBezTo>
                    <a:cubicBezTo>
                      <a:pt x="134" y="63"/>
                      <a:pt x="133" y="62"/>
                      <a:pt x="133" y="62"/>
                    </a:cubicBezTo>
                    <a:cubicBezTo>
                      <a:pt x="131" y="62"/>
                      <a:pt x="131" y="62"/>
                      <a:pt x="131" y="62"/>
                    </a:cubicBezTo>
                    <a:cubicBezTo>
                      <a:pt x="131" y="62"/>
                      <a:pt x="131" y="62"/>
                      <a:pt x="129" y="62"/>
                    </a:cubicBezTo>
                    <a:cubicBezTo>
                      <a:pt x="128" y="62"/>
                      <a:pt x="126" y="61"/>
                      <a:pt x="125" y="61"/>
                    </a:cubicBezTo>
                    <a:cubicBezTo>
                      <a:pt x="125" y="60"/>
                      <a:pt x="125" y="59"/>
                      <a:pt x="125" y="59"/>
                    </a:cubicBezTo>
                    <a:cubicBezTo>
                      <a:pt x="126" y="58"/>
                      <a:pt x="126" y="57"/>
                      <a:pt x="126" y="57"/>
                    </a:cubicBezTo>
                    <a:cubicBezTo>
                      <a:pt x="126" y="57"/>
                      <a:pt x="126" y="54"/>
                      <a:pt x="125" y="54"/>
                    </a:cubicBezTo>
                    <a:cubicBezTo>
                      <a:pt x="124" y="54"/>
                      <a:pt x="122" y="54"/>
                      <a:pt x="122" y="54"/>
                    </a:cubicBezTo>
                    <a:cubicBezTo>
                      <a:pt x="120" y="53"/>
                      <a:pt x="120" y="53"/>
                      <a:pt x="120" y="53"/>
                    </a:cubicBezTo>
                    <a:cubicBezTo>
                      <a:pt x="123" y="52"/>
                      <a:pt x="123" y="52"/>
                      <a:pt x="123" y="52"/>
                    </a:cubicBezTo>
                    <a:cubicBezTo>
                      <a:pt x="122" y="50"/>
                      <a:pt x="122" y="50"/>
                      <a:pt x="122" y="50"/>
                    </a:cubicBezTo>
                    <a:cubicBezTo>
                      <a:pt x="122" y="50"/>
                      <a:pt x="122" y="48"/>
                      <a:pt x="122" y="48"/>
                    </a:cubicBezTo>
                    <a:cubicBezTo>
                      <a:pt x="122" y="47"/>
                      <a:pt x="121" y="46"/>
                      <a:pt x="121" y="46"/>
                    </a:cubicBezTo>
                    <a:cubicBezTo>
                      <a:pt x="121" y="42"/>
                      <a:pt x="121" y="42"/>
                      <a:pt x="121" y="42"/>
                    </a:cubicBezTo>
                    <a:cubicBezTo>
                      <a:pt x="119" y="42"/>
                      <a:pt x="119" y="42"/>
                      <a:pt x="119" y="42"/>
                    </a:cubicBezTo>
                    <a:cubicBezTo>
                      <a:pt x="117" y="41"/>
                      <a:pt x="117" y="41"/>
                      <a:pt x="117" y="41"/>
                    </a:cubicBezTo>
                    <a:cubicBezTo>
                      <a:pt x="116" y="44"/>
                      <a:pt x="116" y="44"/>
                      <a:pt x="116" y="44"/>
                    </a:cubicBezTo>
                    <a:cubicBezTo>
                      <a:pt x="114" y="45"/>
                      <a:pt x="114" y="45"/>
                      <a:pt x="114" y="45"/>
                    </a:cubicBezTo>
                    <a:cubicBezTo>
                      <a:pt x="113" y="42"/>
                      <a:pt x="113" y="42"/>
                      <a:pt x="113" y="42"/>
                    </a:cubicBezTo>
                    <a:cubicBezTo>
                      <a:pt x="111" y="41"/>
                      <a:pt x="111" y="41"/>
                      <a:pt x="111" y="41"/>
                    </a:cubicBezTo>
                    <a:cubicBezTo>
                      <a:pt x="110" y="41"/>
                      <a:pt x="110" y="41"/>
                      <a:pt x="110" y="41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06" y="38"/>
                      <a:pt x="106" y="38"/>
                      <a:pt x="106" y="38"/>
                    </a:cubicBezTo>
                    <a:cubicBezTo>
                      <a:pt x="106" y="38"/>
                      <a:pt x="105" y="41"/>
                      <a:pt x="104" y="39"/>
                    </a:cubicBezTo>
                    <a:cubicBezTo>
                      <a:pt x="103" y="38"/>
                      <a:pt x="103" y="35"/>
                      <a:pt x="103" y="35"/>
                    </a:cubicBezTo>
                    <a:cubicBezTo>
                      <a:pt x="102" y="34"/>
                      <a:pt x="102" y="34"/>
                      <a:pt x="102" y="34"/>
                    </a:cubicBezTo>
                    <a:cubicBezTo>
                      <a:pt x="103" y="32"/>
                      <a:pt x="103" y="32"/>
                      <a:pt x="103" y="32"/>
                    </a:cubicBezTo>
                    <a:cubicBezTo>
                      <a:pt x="103" y="29"/>
                      <a:pt x="103" y="29"/>
                      <a:pt x="103" y="29"/>
                    </a:cubicBezTo>
                    <a:cubicBezTo>
                      <a:pt x="103" y="29"/>
                      <a:pt x="102" y="27"/>
                      <a:pt x="102" y="27"/>
                    </a:cubicBezTo>
                    <a:cubicBezTo>
                      <a:pt x="102" y="26"/>
                      <a:pt x="101" y="24"/>
                      <a:pt x="101" y="24"/>
                    </a:cubicBezTo>
                    <a:cubicBezTo>
                      <a:pt x="102" y="22"/>
                      <a:pt x="102" y="22"/>
                      <a:pt x="102" y="22"/>
                    </a:cubicBezTo>
                    <a:cubicBezTo>
                      <a:pt x="100" y="21"/>
                      <a:pt x="100" y="21"/>
                      <a:pt x="100" y="21"/>
                    </a:cubicBezTo>
                    <a:cubicBezTo>
                      <a:pt x="100" y="18"/>
                      <a:pt x="100" y="18"/>
                      <a:pt x="100" y="18"/>
                    </a:cubicBezTo>
                    <a:cubicBezTo>
                      <a:pt x="100" y="17"/>
                      <a:pt x="100" y="17"/>
                      <a:pt x="100" y="17"/>
                    </a:cubicBezTo>
                    <a:cubicBezTo>
                      <a:pt x="97" y="16"/>
                      <a:pt x="97" y="16"/>
                      <a:pt x="97" y="16"/>
                    </a:cubicBezTo>
                    <a:cubicBezTo>
                      <a:pt x="97" y="16"/>
                      <a:pt x="97" y="15"/>
                      <a:pt x="96" y="14"/>
                    </a:cubicBezTo>
                    <a:cubicBezTo>
                      <a:pt x="96" y="14"/>
                      <a:pt x="94" y="12"/>
                      <a:pt x="94" y="12"/>
                    </a:cubicBezTo>
                    <a:cubicBezTo>
                      <a:pt x="94" y="12"/>
                      <a:pt x="93" y="12"/>
                      <a:pt x="93" y="13"/>
                    </a:cubicBezTo>
                    <a:cubicBezTo>
                      <a:pt x="92" y="14"/>
                      <a:pt x="92" y="16"/>
                      <a:pt x="91" y="16"/>
                    </a:cubicBezTo>
                    <a:cubicBezTo>
                      <a:pt x="91" y="16"/>
                      <a:pt x="92" y="16"/>
                      <a:pt x="89" y="16"/>
                    </a:cubicBezTo>
                    <a:cubicBezTo>
                      <a:pt x="87" y="15"/>
                      <a:pt x="87" y="15"/>
                      <a:pt x="86" y="14"/>
                    </a:cubicBezTo>
                    <a:cubicBezTo>
                      <a:pt x="85" y="14"/>
                      <a:pt x="83" y="12"/>
                      <a:pt x="83" y="12"/>
                    </a:cubicBezTo>
                    <a:cubicBezTo>
                      <a:pt x="82" y="8"/>
                      <a:pt x="82" y="8"/>
                      <a:pt x="82" y="8"/>
                    </a:cubicBezTo>
                    <a:cubicBezTo>
                      <a:pt x="80" y="8"/>
                      <a:pt x="80" y="8"/>
                      <a:pt x="80" y="8"/>
                    </a:cubicBezTo>
                    <a:cubicBezTo>
                      <a:pt x="80" y="8"/>
                      <a:pt x="83" y="9"/>
                      <a:pt x="79" y="9"/>
                    </a:cubicBezTo>
                    <a:cubicBezTo>
                      <a:pt x="75" y="9"/>
                      <a:pt x="71" y="9"/>
                      <a:pt x="71" y="9"/>
                    </a:cubicBezTo>
                    <a:cubicBezTo>
                      <a:pt x="70" y="11"/>
                      <a:pt x="70" y="11"/>
                      <a:pt x="70" y="11"/>
                    </a:cubicBezTo>
                    <a:cubicBezTo>
                      <a:pt x="70" y="11"/>
                      <a:pt x="69" y="13"/>
                      <a:pt x="69" y="14"/>
                    </a:cubicBezTo>
                    <a:cubicBezTo>
                      <a:pt x="69" y="14"/>
                      <a:pt x="70" y="15"/>
                      <a:pt x="69" y="14"/>
                    </a:cubicBezTo>
                    <a:cubicBezTo>
                      <a:pt x="69" y="13"/>
                      <a:pt x="68" y="13"/>
                      <a:pt x="68" y="12"/>
                    </a:cubicBezTo>
                    <a:cubicBezTo>
                      <a:pt x="68" y="12"/>
                      <a:pt x="68" y="11"/>
                      <a:pt x="68" y="11"/>
                    </a:cubicBezTo>
                    <a:cubicBezTo>
                      <a:pt x="68" y="10"/>
                      <a:pt x="66" y="9"/>
                      <a:pt x="66" y="9"/>
                    </a:cubicBezTo>
                    <a:cubicBezTo>
                      <a:pt x="65" y="11"/>
                      <a:pt x="65" y="11"/>
                      <a:pt x="65" y="11"/>
                    </a:cubicBezTo>
                    <a:cubicBezTo>
                      <a:pt x="65" y="11"/>
                      <a:pt x="66" y="12"/>
                      <a:pt x="64" y="12"/>
                    </a:cubicBezTo>
                    <a:cubicBezTo>
                      <a:pt x="63" y="13"/>
                      <a:pt x="63" y="13"/>
                      <a:pt x="63" y="13"/>
                    </a:cubicBezTo>
                    <a:cubicBezTo>
                      <a:pt x="63" y="12"/>
                      <a:pt x="64" y="11"/>
                      <a:pt x="64" y="11"/>
                    </a:cubicBezTo>
                    <a:cubicBezTo>
                      <a:pt x="64" y="11"/>
                      <a:pt x="65" y="9"/>
                      <a:pt x="65" y="9"/>
                    </a:cubicBezTo>
                    <a:cubicBezTo>
                      <a:pt x="65" y="9"/>
                      <a:pt x="65" y="7"/>
                      <a:pt x="64" y="7"/>
                    </a:cubicBezTo>
                    <a:cubicBezTo>
                      <a:pt x="64" y="7"/>
                      <a:pt x="62" y="7"/>
                      <a:pt x="61" y="7"/>
                    </a:cubicBezTo>
                    <a:cubicBezTo>
                      <a:pt x="61" y="7"/>
                      <a:pt x="60" y="8"/>
                      <a:pt x="60" y="8"/>
                    </a:cubicBezTo>
                    <a:cubicBezTo>
                      <a:pt x="60" y="8"/>
                      <a:pt x="61" y="9"/>
                      <a:pt x="60" y="9"/>
                    </a:cubicBezTo>
                    <a:cubicBezTo>
                      <a:pt x="60" y="9"/>
                      <a:pt x="59" y="9"/>
                      <a:pt x="59" y="10"/>
                    </a:cubicBezTo>
                    <a:cubicBezTo>
                      <a:pt x="58" y="10"/>
                      <a:pt x="58" y="8"/>
                      <a:pt x="58" y="8"/>
                    </a:cubicBezTo>
                    <a:cubicBezTo>
                      <a:pt x="58" y="8"/>
                      <a:pt x="57" y="7"/>
                      <a:pt x="57" y="7"/>
                    </a:cubicBezTo>
                    <a:cubicBezTo>
                      <a:pt x="57" y="8"/>
                      <a:pt x="56" y="10"/>
                      <a:pt x="56" y="10"/>
                    </a:cubicBezTo>
                    <a:cubicBezTo>
                      <a:pt x="55" y="10"/>
                      <a:pt x="55" y="10"/>
                      <a:pt x="55" y="9"/>
                    </a:cubicBezTo>
                    <a:cubicBezTo>
                      <a:pt x="54" y="9"/>
                      <a:pt x="54" y="7"/>
                      <a:pt x="54" y="7"/>
                    </a:cubicBezTo>
                    <a:cubicBezTo>
                      <a:pt x="53" y="6"/>
                      <a:pt x="53" y="6"/>
                      <a:pt x="53" y="6"/>
                    </a:cubicBezTo>
                    <a:cubicBezTo>
                      <a:pt x="53" y="6"/>
                      <a:pt x="50" y="6"/>
                      <a:pt x="49" y="6"/>
                    </a:cubicBezTo>
                    <a:cubicBezTo>
                      <a:pt x="49" y="6"/>
                      <a:pt x="47" y="6"/>
                      <a:pt x="47" y="5"/>
                    </a:cubicBezTo>
                    <a:cubicBezTo>
                      <a:pt x="46" y="4"/>
                      <a:pt x="45" y="4"/>
                      <a:pt x="45" y="4"/>
                    </a:cubicBezTo>
                    <a:cubicBezTo>
                      <a:pt x="45" y="4"/>
                      <a:pt x="45" y="4"/>
                      <a:pt x="44" y="3"/>
                    </a:cubicBezTo>
                    <a:cubicBezTo>
                      <a:pt x="43" y="3"/>
                      <a:pt x="43" y="3"/>
                      <a:pt x="42" y="3"/>
                    </a:cubicBezTo>
                    <a:cubicBezTo>
                      <a:pt x="41" y="2"/>
                      <a:pt x="42" y="2"/>
                      <a:pt x="40" y="2"/>
                    </a:cubicBezTo>
                    <a:cubicBezTo>
                      <a:pt x="38" y="2"/>
                      <a:pt x="38" y="4"/>
                      <a:pt x="37" y="3"/>
                    </a:cubicBezTo>
                    <a:cubicBezTo>
                      <a:pt x="35" y="3"/>
                      <a:pt x="35" y="3"/>
                      <a:pt x="35" y="3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4" y="1"/>
                      <a:pt x="33" y="0"/>
                      <a:pt x="33" y="1"/>
                    </a:cubicBezTo>
                    <a:cubicBezTo>
                      <a:pt x="33" y="3"/>
                      <a:pt x="33" y="2"/>
                      <a:pt x="32" y="3"/>
                    </a:cubicBezTo>
                    <a:cubicBezTo>
                      <a:pt x="32" y="4"/>
                      <a:pt x="30" y="5"/>
                      <a:pt x="30" y="5"/>
                    </a:cubicBezTo>
                    <a:cubicBezTo>
                      <a:pt x="30" y="5"/>
                      <a:pt x="29" y="5"/>
                      <a:pt x="29" y="6"/>
                    </a:cubicBezTo>
                    <a:cubicBezTo>
                      <a:pt x="29" y="6"/>
                      <a:pt x="28" y="7"/>
                      <a:pt x="28" y="7"/>
                    </a:cubicBezTo>
                    <a:cubicBezTo>
                      <a:pt x="28" y="7"/>
                      <a:pt x="28" y="6"/>
                      <a:pt x="27" y="6"/>
                    </a:cubicBezTo>
                    <a:cubicBezTo>
                      <a:pt x="27" y="6"/>
                      <a:pt x="27" y="6"/>
                      <a:pt x="27" y="6"/>
                    </a:cubicBezTo>
                    <a:cubicBezTo>
                      <a:pt x="27" y="6"/>
                      <a:pt x="25" y="6"/>
                      <a:pt x="25" y="7"/>
                    </a:cubicBezTo>
                    <a:cubicBezTo>
                      <a:pt x="25" y="7"/>
                      <a:pt x="25" y="8"/>
                      <a:pt x="25" y="9"/>
                    </a:cubicBezTo>
                    <a:cubicBezTo>
                      <a:pt x="25" y="9"/>
                      <a:pt x="24" y="10"/>
                      <a:pt x="24" y="10"/>
                    </a:cubicBezTo>
                    <a:cubicBezTo>
                      <a:pt x="22" y="11"/>
                      <a:pt x="22" y="11"/>
                      <a:pt x="22" y="11"/>
                    </a:cubicBezTo>
                    <a:cubicBezTo>
                      <a:pt x="22" y="11"/>
                      <a:pt x="22" y="11"/>
                      <a:pt x="21" y="11"/>
                    </a:cubicBezTo>
                    <a:cubicBezTo>
                      <a:pt x="20" y="11"/>
                      <a:pt x="18" y="11"/>
                      <a:pt x="18" y="11"/>
                    </a:cubicBezTo>
                    <a:cubicBezTo>
                      <a:pt x="17" y="11"/>
                      <a:pt x="16" y="11"/>
                      <a:pt x="16" y="11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5" y="13"/>
                      <a:pt x="15" y="13"/>
                      <a:pt x="15" y="13"/>
                    </a:cubicBezTo>
                    <a:cubicBezTo>
                      <a:pt x="15" y="13"/>
                      <a:pt x="14" y="15"/>
                      <a:pt x="13" y="14"/>
                    </a:cubicBezTo>
                    <a:cubicBezTo>
                      <a:pt x="13" y="14"/>
                      <a:pt x="12" y="14"/>
                      <a:pt x="12" y="14"/>
                    </a:cubicBezTo>
                    <a:cubicBezTo>
                      <a:pt x="10" y="13"/>
                      <a:pt x="10" y="13"/>
                      <a:pt x="10" y="13"/>
                    </a:cubicBezTo>
                    <a:cubicBezTo>
                      <a:pt x="10" y="13"/>
                      <a:pt x="9" y="14"/>
                      <a:pt x="9" y="14"/>
                    </a:cubicBezTo>
                    <a:cubicBezTo>
                      <a:pt x="9" y="14"/>
                      <a:pt x="8" y="14"/>
                      <a:pt x="8" y="14"/>
                    </a:cubicBezTo>
                    <a:cubicBezTo>
                      <a:pt x="8" y="14"/>
                      <a:pt x="8" y="14"/>
                      <a:pt x="8" y="14"/>
                    </a:cubicBezTo>
                    <a:cubicBezTo>
                      <a:pt x="8" y="14"/>
                      <a:pt x="8" y="15"/>
                      <a:pt x="9" y="16"/>
                    </a:cubicBezTo>
                    <a:cubicBezTo>
                      <a:pt x="9" y="16"/>
                      <a:pt x="9" y="17"/>
                      <a:pt x="9" y="18"/>
                    </a:cubicBezTo>
                    <a:cubicBezTo>
                      <a:pt x="9" y="18"/>
                      <a:pt x="8" y="19"/>
                      <a:pt x="8" y="19"/>
                    </a:cubicBezTo>
                    <a:cubicBezTo>
                      <a:pt x="7" y="19"/>
                      <a:pt x="6" y="18"/>
                      <a:pt x="6" y="18"/>
                    </a:cubicBezTo>
                    <a:cubicBezTo>
                      <a:pt x="6" y="18"/>
                      <a:pt x="6" y="17"/>
                      <a:pt x="5" y="17"/>
                    </a:cubicBezTo>
                    <a:cubicBezTo>
                      <a:pt x="5" y="18"/>
                      <a:pt x="2" y="19"/>
                      <a:pt x="2" y="19"/>
                    </a:cubicBezTo>
                    <a:cubicBezTo>
                      <a:pt x="2" y="21"/>
                      <a:pt x="2" y="21"/>
                      <a:pt x="2" y="21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5" y="22"/>
                      <a:pt x="5" y="22"/>
                      <a:pt x="5" y="22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8" y="22"/>
                      <a:pt x="8" y="22"/>
                      <a:pt x="8" y="22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9" y="21"/>
                      <a:pt x="10" y="21"/>
                      <a:pt x="10" y="22"/>
                    </a:cubicBezTo>
                    <a:cubicBezTo>
                      <a:pt x="10" y="22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5" y="22"/>
                      <a:pt x="15" y="22"/>
                      <a:pt x="15" y="22"/>
                    </a:cubicBezTo>
                    <a:cubicBezTo>
                      <a:pt x="15" y="23"/>
                      <a:pt x="15" y="23"/>
                      <a:pt x="15" y="23"/>
                    </a:cubicBezTo>
                    <a:cubicBezTo>
                      <a:pt x="15" y="23"/>
                      <a:pt x="15" y="24"/>
                      <a:pt x="16" y="24"/>
                    </a:cubicBezTo>
                    <a:cubicBezTo>
                      <a:pt x="17" y="24"/>
                      <a:pt x="17" y="24"/>
                      <a:pt x="17" y="24"/>
                    </a:cubicBezTo>
                    <a:cubicBezTo>
                      <a:pt x="17" y="26"/>
                      <a:pt x="17" y="26"/>
                      <a:pt x="17" y="26"/>
                    </a:cubicBezTo>
                    <a:cubicBezTo>
                      <a:pt x="19" y="26"/>
                      <a:pt x="19" y="26"/>
                      <a:pt x="19" y="26"/>
                    </a:cubicBezTo>
                    <a:cubicBezTo>
                      <a:pt x="19" y="26"/>
                      <a:pt x="20" y="26"/>
                      <a:pt x="20" y="26"/>
                    </a:cubicBezTo>
                    <a:cubicBezTo>
                      <a:pt x="20" y="26"/>
                      <a:pt x="20" y="27"/>
                      <a:pt x="20" y="27"/>
                    </a:cubicBezTo>
                    <a:cubicBezTo>
                      <a:pt x="20" y="27"/>
                      <a:pt x="21" y="28"/>
                      <a:pt x="22" y="29"/>
                    </a:cubicBezTo>
                    <a:cubicBezTo>
                      <a:pt x="22" y="29"/>
                      <a:pt x="23" y="30"/>
                      <a:pt x="23" y="30"/>
                    </a:cubicBezTo>
                    <a:cubicBezTo>
                      <a:pt x="24" y="31"/>
                      <a:pt x="24" y="31"/>
                      <a:pt x="24" y="31"/>
                    </a:cubicBezTo>
                    <a:cubicBezTo>
                      <a:pt x="25" y="32"/>
                      <a:pt x="25" y="32"/>
                      <a:pt x="25" y="32"/>
                    </a:cubicBezTo>
                    <a:cubicBezTo>
                      <a:pt x="26" y="33"/>
                      <a:pt x="26" y="33"/>
                      <a:pt x="26" y="33"/>
                    </a:cubicBezTo>
                    <a:cubicBezTo>
                      <a:pt x="26" y="33"/>
                      <a:pt x="26" y="33"/>
                      <a:pt x="26" y="33"/>
                    </a:cubicBezTo>
                    <a:cubicBezTo>
                      <a:pt x="26" y="34"/>
                      <a:pt x="26" y="35"/>
                      <a:pt x="27" y="35"/>
                    </a:cubicBezTo>
                    <a:cubicBezTo>
                      <a:pt x="27" y="35"/>
                      <a:pt x="27" y="35"/>
                      <a:pt x="28" y="35"/>
                    </a:cubicBezTo>
                    <a:cubicBezTo>
                      <a:pt x="28" y="35"/>
                      <a:pt x="28" y="35"/>
                      <a:pt x="28" y="36"/>
                    </a:cubicBezTo>
                    <a:cubicBezTo>
                      <a:pt x="28" y="36"/>
                      <a:pt x="28" y="36"/>
                      <a:pt x="29" y="37"/>
                    </a:cubicBezTo>
                    <a:cubicBezTo>
                      <a:pt x="29" y="37"/>
                      <a:pt x="30" y="38"/>
                      <a:pt x="30" y="38"/>
                    </a:cubicBezTo>
                    <a:cubicBezTo>
                      <a:pt x="30" y="38"/>
                      <a:pt x="30" y="38"/>
                      <a:pt x="30" y="39"/>
                    </a:cubicBezTo>
                    <a:cubicBezTo>
                      <a:pt x="30" y="40"/>
                      <a:pt x="31" y="41"/>
                      <a:pt x="31" y="41"/>
                    </a:cubicBezTo>
                    <a:cubicBezTo>
                      <a:pt x="31" y="42"/>
                      <a:pt x="32" y="42"/>
                      <a:pt x="32" y="42"/>
                    </a:cubicBezTo>
                    <a:cubicBezTo>
                      <a:pt x="32" y="42"/>
                      <a:pt x="32" y="42"/>
                      <a:pt x="32" y="42"/>
                    </a:cubicBezTo>
                    <a:cubicBezTo>
                      <a:pt x="32" y="42"/>
                      <a:pt x="33" y="42"/>
                      <a:pt x="33" y="43"/>
                    </a:cubicBezTo>
                    <a:cubicBezTo>
                      <a:pt x="33" y="44"/>
                      <a:pt x="32" y="45"/>
                      <a:pt x="33" y="45"/>
                    </a:cubicBezTo>
                    <a:cubicBezTo>
                      <a:pt x="33" y="45"/>
                      <a:pt x="34" y="47"/>
                      <a:pt x="35" y="47"/>
                    </a:cubicBezTo>
                    <a:cubicBezTo>
                      <a:pt x="36" y="47"/>
                      <a:pt x="36" y="47"/>
                      <a:pt x="36" y="47"/>
                    </a:cubicBezTo>
                    <a:cubicBezTo>
                      <a:pt x="37" y="47"/>
                      <a:pt x="37" y="49"/>
                      <a:pt x="38" y="49"/>
                    </a:cubicBezTo>
                    <a:cubicBezTo>
                      <a:pt x="38" y="50"/>
                      <a:pt x="38" y="50"/>
                      <a:pt x="39" y="50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50"/>
                      <a:pt x="40" y="50"/>
                      <a:pt x="40" y="51"/>
                    </a:cubicBezTo>
                    <a:cubicBezTo>
                      <a:pt x="41" y="51"/>
                      <a:pt x="43" y="53"/>
                      <a:pt x="43" y="53"/>
                    </a:cubicBezTo>
                    <a:cubicBezTo>
                      <a:pt x="43" y="53"/>
                      <a:pt x="44" y="54"/>
                      <a:pt x="44" y="54"/>
                    </a:cubicBezTo>
                    <a:cubicBezTo>
                      <a:pt x="44" y="54"/>
                      <a:pt x="45" y="54"/>
                      <a:pt x="46" y="54"/>
                    </a:cubicBezTo>
                    <a:cubicBezTo>
                      <a:pt x="46" y="54"/>
                      <a:pt x="47" y="54"/>
                      <a:pt x="47" y="55"/>
                    </a:cubicBezTo>
                    <a:cubicBezTo>
                      <a:pt x="47" y="56"/>
                      <a:pt x="48" y="56"/>
                      <a:pt x="48" y="57"/>
                    </a:cubicBezTo>
                    <a:cubicBezTo>
                      <a:pt x="48" y="58"/>
                      <a:pt x="49" y="58"/>
                      <a:pt x="49" y="59"/>
                    </a:cubicBezTo>
                    <a:cubicBezTo>
                      <a:pt x="49" y="59"/>
                      <a:pt x="50" y="61"/>
                      <a:pt x="50" y="61"/>
                    </a:cubicBezTo>
                    <a:cubicBezTo>
                      <a:pt x="56" y="63"/>
                      <a:pt x="56" y="63"/>
                      <a:pt x="56" y="63"/>
                    </a:cubicBezTo>
                    <a:cubicBezTo>
                      <a:pt x="57" y="65"/>
                      <a:pt x="57" y="65"/>
                      <a:pt x="57" y="65"/>
                    </a:cubicBezTo>
                    <a:cubicBezTo>
                      <a:pt x="57" y="65"/>
                      <a:pt x="58" y="67"/>
                      <a:pt x="58" y="67"/>
                    </a:cubicBezTo>
                    <a:cubicBezTo>
                      <a:pt x="59" y="68"/>
                      <a:pt x="60" y="68"/>
                      <a:pt x="60" y="68"/>
                    </a:cubicBezTo>
                    <a:cubicBezTo>
                      <a:pt x="63" y="71"/>
                      <a:pt x="63" y="71"/>
                      <a:pt x="63" y="71"/>
                    </a:cubicBezTo>
                    <a:cubicBezTo>
                      <a:pt x="66" y="72"/>
                      <a:pt x="66" y="72"/>
                      <a:pt x="66" y="72"/>
                    </a:cubicBezTo>
                    <a:cubicBezTo>
                      <a:pt x="66" y="72"/>
                      <a:pt x="68" y="73"/>
                      <a:pt x="69" y="73"/>
                    </a:cubicBezTo>
                    <a:cubicBezTo>
                      <a:pt x="69" y="73"/>
                      <a:pt x="71" y="74"/>
                      <a:pt x="72" y="74"/>
                    </a:cubicBezTo>
                    <a:cubicBezTo>
                      <a:pt x="72" y="75"/>
                      <a:pt x="73" y="78"/>
                      <a:pt x="73" y="78"/>
                    </a:cubicBezTo>
                    <a:cubicBezTo>
                      <a:pt x="74" y="78"/>
                      <a:pt x="76" y="80"/>
                      <a:pt x="76" y="82"/>
                    </a:cubicBezTo>
                    <a:cubicBezTo>
                      <a:pt x="77" y="83"/>
                      <a:pt x="77" y="83"/>
                      <a:pt x="77" y="85"/>
                    </a:cubicBezTo>
                    <a:cubicBezTo>
                      <a:pt x="78" y="86"/>
                      <a:pt x="80" y="88"/>
                      <a:pt x="80" y="88"/>
                    </a:cubicBezTo>
                    <a:cubicBezTo>
                      <a:pt x="80" y="88"/>
                      <a:pt x="80" y="88"/>
                      <a:pt x="81" y="90"/>
                    </a:cubicBezTo>
                    <a:cubicBezTo>
                      <a:pt x="82" y="91"/>
                      <a:pt x="83" y="92"/>
                      <a:pt x="83" y="93"/>
                    </a:cubicBezTo>
                    <a:cubicBezTo>
                      <a:pt x="83" y="93"/>
                      <a:pt x="83" y="93"/>
                      <a:pt x="83" y="94"/>
                    </a:cubicBezTo>
                    <a:cubicBezTo>
                      <a:pt x="83" y="94"/>
                      <a:pt x="83" y="95"/>
                      <a:pt x="83" y="95"/>
                    </a:cubicBezTo>
                    <a:cubicBezTo>
                      <a:pt x="83" y="95"/>
                      <a:pt x="84" y="97"/>
                      <a:pt x="84" y="98"/>
                    </a:cubicBezTo>
                    <a:cubicBezTo>
                      <a:pt x="84" y="98"/>
                      <a:pt x="85" y="100"/>
                      <a:pt x="85" y="100"/>
                    </a:cubicBezTo>
                    <a:cubicBezTo>
                      <a:pt x="85" y="101"/>
                      <a:pt x="85" y="101"/>
                      <a:pt x="85" y="101"/>
                    </a:cubicBezTo>
                    <a:cubicBezTo>
                      <a:pt x="86" y="104"/>
                      <a:pt x="86" y="104"/>
                      <a:pt x="86" y="104"/>
                    </a:cubicBezTo>
                    <a:cubicBezTo>
                      <a:pt x="85" y="106"/>
                      <a:pt x="85" y="106"/>
                      <a:pt x="85" y="106"/>
                    </a:cubicBezTo>
                    <a:cubicBezTo>
                      <a:pt x="85" y="106"/>
                      <a:pt x="84" y="107"/>
                      <a:pt x="85" y="107"/>
                    </a:cubicBezTo>
                    <a:cubicBezTo>
                      <a:pt x="86" y="107"/>
                      <a:pt x="87" y="108"/>
                      <a:pt x="86" y="109"/>
                    </a:cubicBezTo>
                    <a:cubicBezTo>
                      <a:pt x="86" y="109"/>
                      <a:pt x="85" y="111"/>
                      <a:pt x="85" y="111"/>
                    </a:cubicBezTo>
                    <a:cubicBezTo>
                      <a:pt x="85" y="112"/>
                      <a:pt x="85" y="112"/>
                      <a:pt x="85" y="112"/>
                    </a:cubicBezTo>
                    <a:cubicBezTo>
                      <a:pt x="84" y="114"/>
                      <a:pt x="84" y="114"/>
                      <a:pt x="84" y="114"/>
                    </a:cubicBezTo>
                    <a:cubicBezTo>
                      <a:pt x="84" y="114"/>
                      <a:pt x="86" y="115"/>
                      <a:pt x="86" y="115"/>
                    </a:cubicBezTo>
                    <a:cubicBezTo>
                      <a:pt x="86" y="116"/>
                      <a:pt x="87" y="117"/>
                      <a:pt x="86" y="118"/>
                    </a:cubicBezTo>
                    <a:cubicBezTo>
                      <a:pt x="86" y="118"/>
                      <a:pt x="86" y="120"/>
                      <a:pt x="86" y="120"/>
                    </a:cubicBezTo>
                    <a:cubicBezTo>
                      <a:pt x="86" y="120"/>
                      <a:pt x="86" y="122"/>
                      <a:pt x="86" y="122"/>
                    </a:cubicBezTo>
                    <a:cubicBezTo>
                      <a:pt x="86" y="122"/>
                      <a:pt x="88" y="123"/>
                      <a:pt x="87" y="124"/>
                    </a:cubicBezTo>
                    <a:cubicBezTo>
                      <a:pt x="87" y="124"/>
                      <a:pt x="87" y="125"/>
                      <a:pt x="87" y="126"/>
                    </a:cubicBezTo>
                    <a:cubicBezTo>
                      <a:pt x="88" y="128"/>
                      <a:pt x="90" y="131"/>
                      <a:pt x="90" y="131"/>
                    </a:cubicBezTo>
                    <a:cubicBezTo>
                      <a:pt x="90" y="131"/>
                      <a:pt x="91" y="133"/>
                      <a:pt x="91" y="133"/>
                    </a:cubicBezTo>
                    <a:cubicBezTo>
                      <a:pt x="91" y="134"/>
                      <a:pt x="90" y="134"/>
                      <a:pt x="91" y="135"/>
                    </a:cubicBezTo>
                    <a:cubicBezTo>
                      <a:pt x="91" y="135"/>
                      <a:pt x="90" y="136"/>
                      <a:pt x="91" y="136"/>
                    </a:cubicBezTo>
                    <a:cubicBezTo>
                      <a:pt x="92" y="137"/>
                      <a:pt x="93" y="139"/>
                      <a:pt x="93" y="139"/>
                    </a:cubicBezTo>
                    <a:cubicBezTo>
                      <a:pt x="93" y="139"/>
                      <a:pt x="93" y="139"/>
                      <a:pt x="94" y="140"/>
                    </a:cubicBezTo>
                    <a:cubicBezTo>
                      <a:pt x="94" y="141"/>
                      <a:pt x="94" y="143"/>
                      <a:pt x="94" y="143"/>
                    </a:cubicBezTo>
                    <a:cubicBezTo>
                      <a:pt x="94" y="144"/>
                      <a:pt x="95" y="144"/>
                      <a:pt x="94" y="144"/>
                    </a:cubicBezTo>
                    <a:cubicBezTo>
                      <a:pt x="94" y="144"/>
                      <a:pt x="93" y="145"/>
                      <a:pt x="93" y="145"/>
                    </a:cubicBezTo>
                    <a:cubicBezTo>
                      <a:pt x="92" y="147"/>
                      <a:pt x="92" y="147"/>
                      <a:pt x="92" y="147"/>
                    </a:cubicBezTo>
                    <a:cubicBezTo>
                      <a:pt x="92" y="147"/>
                      <a:pt x="93" y="148"/>
                      <a:pt x="94" y="148"/>
                    </a:cubicBezTo>
                    <a:cubicBezTo>
                      <a:pt x="94" y="148"/>
                      <a:pt x="95" y="148"/>
                      <a:pt x="95" y="148"/>
                    </a:cubicBezTo>
                    <a:cubicBezTo>
                      <a:pt x="97" y="150"/>
                      <a:pt x="97" y="150"/>
                      <a:pt x="97" y="150"/>
                    </a:cubicBezTo>
                    <a:cubicBezTo>
                      <a:pt x="97" y="152"/>
                      <a:pt x="97" y="152"/>
                      <a:pt x="97" y="152"/>
                    </a:cubicBezTo>
                    <a:lnTo>
                      <a:pt x="99" y="1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57" name="Freeform 29">
                <a:extLst>
                  <a:ext uri="{FF2B5EF4-FFF2-40B4-BE49-F238E27FC236}">
                    <a16:creationId xmlns:a16="http://schemas.microsoft.com/office/drawing/2014/main" id="{63285C9B-D566-8575-32E2-435F788B7B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1169" y="2628342"/>
                <a:ext cx="289563" cy="236631"/>
              </a:xfrm>
              <a:custGeom>
                <a:avLst/>
                <a:gdLst>
                  <a:gd name="T0" fmla="*/ 27 w 129"/>
                  <a:gd name="T1" fmla="*/ 5 h 109"/>
                  <a:gd name="T2" fmla="*/ 33 w 129"/>
                  <a:gd name="T3" fmla="*/ 7 h 109"/>
                  <a:gd name="T4" fmla="*/ 40 w 129"/>
                  <a:gd name="T5" fmla="*/ 5 h 109"/>
                  <a:gd name="T6" fmla="*/ 57 w 129"/>
                  <a:gd name="T7" fmla="*/ 8 h 109"/>
                  <a:gd name="T8" fmla="*/ 64 w 129"/>
                  <a:gd name="T9" fmla="*/ 7 h 109"/>
                  <a:gd name="T10" fmla="*/ 66 w 129"/>
                  <a:gd name="T11" fmla="*/ 1 h 109"/>
                  <a:gd name="T12" fmla="*/ 70 w 129"/>
                  <a:gd name="T13" fmla="*/ 5 h 109"/>
                  <a:gd name="T14" fmla="*/ 77 w 129"/>
                  <a:gd name="T15" fmla="*/ 1 h 109"/>
                  <a:gd name="T16" fmla="*/ 79 w 129"/>
                  <a:gd name="T17" fmla="*/ 5 h 109"/>
                  <a:gd name="T18" fmla="*/ 86 w 129"/>
                  <a:gd name="T19" fmla="*/ 3 h 109"/>
                  <a:gd name="T20" fmla="*/ 89 w 129"/>
                  <a:gd name="T21" fmla="*/ 9 h 109"/>
                  <a:gd name="T22" fmla="*/ 92 w 129"/>
                  <a:gd name="T23" fmla="*/ 12 h 109"/>
                  <a:gd name="T24" fmla="*/ 98 w 129"/>
                  <a:gd name="T25" fmla="*/ 15 h 109"/>
                  <a:gd name="T26" fmla="*/ 102 w 129"/>
                  <a:gd name="T27" fmla="*/ 18 h 109"/>
                  <a:gd name="T28" fmla="*/ 113 w 129"/>
                  <a:gd name="T29" fmla="*/ 22 h 109"/>
                  <a:gd name="T30" fmla="*/ 109 w 129"/>
                  <a:gd name="T31" fmla="*/ 30 h 109"/>
                  <a:gd name="T32" fmla="*/ 104 w 129"/>
                  <a:gd name="T33" fmla="*/ 36 h 109"/>
                  <a:gd name="T34" fmla="*/ 105 w 129"/>
                  <a:gd name="T35" fmla="*/ 43 h 109"/>
                  <a:gd name="T36" fmla="*/ 114 w 129"/>
                  <a:gd name="T37" fmla="*/ 42 h 109"/>
                  <a:gd name="T38" fmla="*/ 120 w 129"/>
                  <a:gd name="T39" fmla="*/ 46 h 109"/>
                  <a:gd name="T40" fmla="*/ 124 w 129"/>
                  <a:gd name="T41" fmla="*/ 50 h 109"/>
                  <a:gd name="T42" fmla="*/ 124 w 129"/>
                  <a:gd name="T43" fmla="*/ 57 h 109"/>
                  <a:gd name="T44" fmla="*/ 129 w 129"/>
                  <a:gd name="T45" fmla="*/ 61 h 109"/>
                  <a:gd name="T46" fmla="*/ 127 w 129"/>
                  <a:gd name="T47" fmla="*/ 67 h 109"/>
                  <a:gd name="T48" fmla="*/ 123 w 129"/>
                  <a:gd name="T49" fmla="*/ 70 h 109"/>
                  <a:gd name="T50" fmla="*/ 120 w 129"/>
                  <a:gd name="T51" fmla="*/ 74 h 109"/>
                  <a:gd name="T52" fmla="*/ 117 w 129"/>
                  <a:gd name="T53" fmla="*/ 75 h 109"/>
                  <a:gd name="T54" fmla="*/ 112 w 129"/>
                  <a:gd name="T55" fmla="*/ 77 h 109"/>
                  <a:gd name="T56" fmla="*/ 109 w 129"/>
                  <a:gd name="T57" fmla="*/ 82 h 109"/>
                  <a:gd name="T58" fmla="*/ 105 w 129"/>
                  <a:gd name="T59" fmla="*/ 88 h 109"/>
                  <a:gd name="T60" fmla="*/ 106 w 129"/>
                  <a:gd name="T61" fmla="*/ 92 h 109"/>
                  <a:gd name="T62" fmla="*/ 107 w 129"/>
                  <a:gd name="T63" fmla="*/ 96 h 109"/>
                  <a:gd name="T64" fmla="*/ 110 w 129"/>
                  <a:gd name="T65" fmla="*/ 101 h 109"/>
                  <a:gd name="T66" fmla="*/ 107 w 129"/>
                  <a:gd name="T67" fmla="*/ 107 h 109"/>
                  <a:gd name="T68" fmla="*/ 103 w 129"/>
                  <a:gd name="T69" fmla="*/ 108 h 109"/>
                  <a:gd name="T70" fmla="*/ 96 w 129"/>
                  <a:gd name="T71" fmla="*/ 109 h 109"/>
                  <a:gd name="T72" fmla="*/ 93 w 129"/>
                  <a:gd name="T73" fmla="*/ 104 h 109"/>
                  <a:gd name="T74" fmla="*/ 90 w 129"/>
                  <a:gd name="T75" fmla="*/ 101 h 109"/>
                  <a:gd name="T76" fmla="*/ 85 w 129"/>
                  <a:gd name="T77" fmla="*/ 97 h 109"/>
                  <a:gd name="T78" fmla="*/ 79 w 129"/>
                  <a:gd name="T79" fmla="*/ 94 h 109"/>
                  <a:gd name="T80" fmla="*/ 74 w 129"/>
                  <a:gd name="T81" fmla="*/ 89 h 109"/>
                  <a:gd name="T82" fmla="*/ 74 w 129"/>
                  <a:gd name="T83" fmla="*/ 81 h 109"/>
                  <a:gd name="T84" fmla="*/ 74 w 129"/>
                  <a:gd name="T85" fmla="*/ 73 h 109"/>
                  <a:gd name="T86" fmla="*/ 69 w 129"/>
                  <a:gd name="T87" fmla="*/ 78 h 109"/>
                  <a:gd name="T88" fmla="*/ 63 w 129"/>
                  <a:gd name="T89" fmla="*/ 82 h 109"/>
                  <a:gd name="T90" fmla="*/ 55 w 129"/>
                  <a:gd name="T91" fmla="*/ 82 h 109"/>
                  <a:gd name="T92" fmla="*/ 51 w 129"/>
                  <a:gd name="T93" fmla="*/ 77 h 109"/>
                  <a:gd name="T94" fmla="*/ 52 w 129"/>
                  <a:gd name="T95" fmla="*/ 73 h 109"/>
                  <a:gd name="T96" fmla="*/ 53 w 129"/>
                  <a:gd name="T97" fmla="*/ 66 h 109"/>
                  <a:gd name="T98" fmla="*/ 49 w 129"/>
                  <a:gd name="T99" fmla="*/ 62 h 109"/>
                  <a:gd name="T100" fmla="*/ 42 w 129"/>
                  <a:gd name="T101" fmla="*/ 61 h 109"/>
                  <a:gd name="T102" fmla="*/ 35 w 129"/>
                  <a:gd name="T103" fmla="*/ 60 h 109"/>
                  <a:gd name="T104" fmla="*/ 33 w 129"/>
                  <a:gd name="T105" fmla="*/ 52 h 109"/>
                  <a:gd name="T106" fmla="*/ 27 w 129"/>
                  <a:gd name="T107" fmla="*/ 51 h 109"/>
                  <a:gd name="T108" fmla="*/ 23 w 129"/>
                  <a:gd name="T109" fmla="*/ 46 h 109"/>
                  <a:gd name="T110" fmla="*/ 19 w 129"/>
                  <a:gd name="T111" fmla="*/ 37 h 109"/>
                  <a:gd name="T112" fmla="*/ 11 w 129"/>
                  <a:gd name="T113" fmla="*/ 37 h 109"/>
                  <a:gd name="T114" fmla="*/ 6 w 129"/>
                  <a:gd name="T115" fmla="*/ 35 h 109"/>
                  <a:gd name="T116" fmla="*/ 2 w 129"/>
                  <a:gd name="T117" fmla="*/ 29 h 109"/>
                  <a:gd name="T118" fmla="*/ 0 w 129"/>
                  <a:gd name="T119" fmla="*/ 22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9" h="109">
                    <a:moveTo>
                      <a:pt x="1" y="18"/>
                    </a:moveTo>
                    <a:cubicBezTo>
                      <a:pt x="1" y="18"/>
                      <a:pt x="21" y="6"/>
                      <a:pt x="21" y="6"/>
                    </a:cubicBezTo>
                    <a:cubicBezTo>
                      <a:pt x="27" y="5"/>
                      <a:pt x="27" y="5"/>
                      <a:pt x="27" y="5"/>
                    </a:cubicBezTo>
                    <a:cubicBezTo>
                      <a:pt x="30" y="5"/>
                      <a:pt x="30" y="5"/>
                      <a:pt x="30" y="5"/>
                    </a:cubicBezTo>
                    <a:cubicBezTo>
                      <a:pt x="31" y="4"/>
                      <a:pt x="31" y="4"/>
                      <a:pt x="31" y="4"/>
                    </a:cubicBezTo>
                    <a:cubicBezTo>
                      <a:pt x="31" y="4"/>
                      <a:pt x="32" y="7"/>
                      <a:pt x="33" y="7"/>
                    </a:cubicBezTo>
                    <a:cubicBezTo>
                      <a:pt x="33" y="7"/>
                      <a:pt x="35" y="9"/>
                      <a:pt x="35" y="8"/>
                    </a:cubicBezTo>
                    <a:cubicBezTo>
                      <a:pt x="36" y="7"/>
                      <a:pt x="36" y="6"/>
                      <a:pt x="37" y="6"/>
                    </a:cubicBezTo>
                    <a:cubicBezTo>
                      <a:pt x="37" y="5"/>
                      <a:pt x="38" y="4"/>
                      <a:pt x="40" y="5"/>
                    </a:cubicBezTo>
                    <a:cubicBezTo>
                      <a:pt x="41" y="6"/>
                      <a:pt x="41" y="10"/>
                      <a:pt x="41" y="10"/>
                    </a:cubicBezTo>
                    <a:cubicBezTo>
                      <a:pt x="49" y="12"/>
                      <a:pt x="44" y="13"/>
                      <a:pt x="55" y="10"/>
                    </a:cubicBezTo>
                    <a:cubicBezTo>
                      <a:pt x="55" y="10"/>
                      <a:pt x="57" y="8"/>
                      <a:pt x="57" y="8"/>
                    </a:cubicBezTo>
                    <a:cubicBezTo>
                      <a:pt x="57" y="7"/>
                      <a:pt x="56" y="5"/>
                      <a:pt x="58" y="6"/>
                    </a:cubicBezTo>
                    <a:cubicBezTo>
                      <a:pt x="59" y="7"/>
                      <a:pt x="60" y="7"/>
                      <a:pt x="61" y="7"/>
                    </a:cubicBezTo>
                    <a:cubicBezTo>
                      <a:pt x="62" y="7"/>
                      <a:pt x="64" y="7"/>
                      <a:pt x="64" y="7"/>
                    </a:cubicBezTo>
                    <a:cubicBezTo>
                      <a:pt x="64" y="7"/>
                      <a:pt x="65" y="6"/>
                      <a:pt x="64" y="5"/>
                    </a:cubicBezTo>
                    <a:cubicBezTo>
                      <a:pt x="64" y="4"/>
                      <a:pt x="63" y="3"/>
                      <a:pt x="64" y="3"/>
                    </a:cubicBezTo>
                    <a:cubicBezTo>
                      <a:pt x="64" y="2"/>
                      <a:pt x="66" y="1"/>
                      <a:pt x="66" y="1"/>
                    </a:cubicBezTo>
                    <a:cubicBezTo>
                      <a:pt x="66" y="1"/>
                      <a:pt x="67" y="1"/>
                      <a:pt x="67" y="2"/>
                    </a:cubicBezTo>
                    <a:cubicBezTo>
                      <a:pt x="68" y="3"/>
                      <a:pt x="68" y="3"/>
                      <a:pt x="68" y="4"/>
                    </a:cubicBezTo>
                    <a:cubicBezTo>
                      <a:pt x="69" y="4"/>
                      <a:pt x="69" y="5"/>
                      <a:pt x="70" y="5"/>
                    </a:cubicBezTo>
                    <a:cubicBezTo>
                      <a:pt x="72" y="5"/>
                      <a:pt x="72" y="5"/>
                      <a:pt x="73" y="4"/>
                    </a:cubicBezTo>
                    <a:cubicBezTo>
                      <a:pt x="74" y="3"/>
                      <a:pt x="74" y="3"/>
                      <a:pt x="75" y="2"/>
                    </a:cubicBezTo>
                    <a:cubicBezTo>
                      <a:pt x="76" y="0"/>
                      <a:pt x="76" y="0"/>
                      <a:pt x="77" y="1"/>
                    </a:cubicBezTo>
                    <a:cubicBezTo>
                      <a:pt x="78" y="1"/>
                      <a:pt x="80" y="2"/>
                      <a:pt x="80" y="2"/>
                    </a:cubicBezTo>
                    <a:cubicBezTo>
                      <a:pt x="78" y="4"/>
                      <a:pt x="78" y="4"/>
                      <a:pt x="78" y="4"/>
                    </a:cubicBezTo>
                    <a:cubicBezTo>
                      <a:pt x="78" y="4"/>
                      <a:pt x="77" y="4"/>
                      <a:pt x="79" y="5"/>
                    </a:cubicBezTo>
                    <a:cubicBezTo>
                      <a:pt x="82" y="6"/>
                      <a:pt x="83" y="6"/>
                      <a:pt x="83" y="6"/>
                    </a:cubicBezTo>
                    <a:cubicBezTo>
                      <a:pt x="85" y="3"/>
                      <a:pt x="85" y="3"/>
                      <a:pt x="85" y="3"/>
                    </a:cubicBezTo>
                    <a:cubicBezTo>
                      <a:pt x="85" y="3"/>
                      <a:pt x="85" y="1"/>
                      <a:pt x="86" y="3"/>
                    </a:cubicBezTo>
                    <a:cubicBezTo>
                      <a:pt x="86" y="4"/>
                      <a:pt x="87" y="6"/>
                      <a:pt x="87" y="6"/>
                    </a:cubicBezTo>
                    <a:cubicBezTo>
                      <a:pt x="87" y="6"/>
                      <a:pt x="87" y="9"/>
                      <a:pt x="88" y="9"/>
                    </a:cubicBezTo>
                    <a:cubicBezTo>
                      <a:pt x="89" y="9"/>
                      <a:pt x="89" y="8"/>
                      <a:pt x="89" y="9"/>
                    </a:cubicBezTo>
                    <a:cubicBezTo>
                      <a:pt x="89" y="10"/>
                      <a:pt x="88" y="10"/>
                      <a:pt x="89" y="10"/>
                    </a:cubicBezTo>
                    <a:cubicBezTo>
                      <a:pt x="89" y="11"/>
                      <a:pt x="91" y="11"/>
                      <a:pt x="91" y="11"/>
                    </a:cubicBezTo>
                    <a:cubicBezTo>
                      <a:pt x="91" y="11"/>
                      <a:pt x="92" y="11"/>
                      <a:pt x="92" y="12"/>
                    </a:cubicBezTo>
                    <a:cubicBezTo>
                      <a:pt x="92" y="13"/>
                      <a:pt x="92" y="14"/>
                      <a:pt x="92" y="14"/>
                    </a:cubicBezTo>
                    <a:cubicBezTo>
                      <a:pt x="92" y="14"/>
                      <a:pt x="95" y="14"/>
                      <a:pt x="95" y="14"/>
                    </a:cubicBezTo>
                    <a:cubicBezTo>
                      <a:pt x="96" y="14"/>
                      <a:pt x="97" y="15"/>
                      <a:pt x="98" y="15"/>
                    </a:cubicBezTo>
                    <a:cubicBezTo>
                      <a:pt x="99" y="14"/>
                      <a:pt x="100" y="13"/>
                      <a:pt x="100" y="13"/>
                    </a:cubicBezTo>
                    <a:cubicBezTo>
                      <a:pt x="100" y="14"/>
                      <a:pt x="102" y="14"/>
                      <a:pt x="102" y="15"/>
                    </a:cubicBezTo>
                    <a:cubicBezTo>
                      <a:pt x="101" y="17"/>
                      <a:pt x="100" y="17"/>
                      <a:pt x="102" y="18"/>
                    </a:cubicBezTo>
                    <a:cubicBezTo>
                      <a:pt x="104" y="18"/>
                      <a:pt x="106" y="19"/>
                      <a:pt x="107" y="19"/>
                    </a:cubicBezTo>
                    <a:cubicBezTo>
                      <a:pt x="108" y="20"/>
                      <a:pt x="111" y="21"/>
                      <a:pt x="111" y="21"/>
                    </a:cubicBezTo>
                    <a:cubicBezTo>
                      <a:pt x="112" y="21"/>
                      <a:pt x="113" y="21"/>
                      <a:pt x="113" y="22"/>
                    </a:cubicBezTo>
                    <a:cubicBezTo>
                      <a:pt x="113" y="23"/>
                      <a:pt x="111" y="25"/>
                      <a:pt x="111" y="25"/>
                    </a:cubicBezTo>
                    <a:cubicBezTo>
                      <a:pt x="111" y="25"/>
                      <a:pt x="110" y="26"/>
                      <a:pt x="110" y="27"/>
                    </a:cubicBezTo>
                    <a:cubicBezTo>
                      <a:pt x="110" y="27"/>
                      <a:pt x="109" y="30"/>
                      <a:pt x="109" y="30"/>
                    </a:cubicBezTo>
                    <a:cubicBezTo>
                      <a:pt x="108" y="31"/>
                      <a:pt x="107" y="33"/>
                      <a:pt x="107" y="33"/>
                    </a:cubicBezTo>
                    <a:cubicBezTo>
                      <a:pt x="107" y="33"/>
                      <a:pt x="106" y="35"/>
                      <a:pt x="105" y="35"/>
                    </a:cubicBezTo>
                    <a:cubicBezTo>
                      <a:pt x="105" y="35"/>
                      <a:pt x="104" y="36"/>
                      <a:pt x="104" y="36"/>
                    </a:cubicBezTo>
                    <a:cubicBezTo>
                      <a:pt x="104" y="37"/>
                      <a:pt x="104" y="39"/>
                      <a:pt x="104" y="39"/>
                    </a:cubicBezTo>
                    <a:cubicBezTo>
                      <a:pt x="105" y="41"/>
                      <a:pt x="105" y="41"/>
                      <a:pt x="105" y="41"/>
                    </a:cubicBezTo>
                    <a:cubicBezTo>
                      <a:pt x="105" y="43"/>
                      <a:pt x="105" y="43"/>
                      <a:pt x="105" y="43"/>
                    </a:cubicBezTo>
                    <a:cubicBezTo>
                      <a:pt x="109" y="42"/>
                      <a:pt x="109" y="42"/>
                      <a:pt x="109" y="42"/>
                    </a:cubicBezTo>
                    <a:cubicBezTo>
                      <a:pt x="109" y="42"/>
                      <a:pt x="109" y="42"/>
                      <a:pt x="110" y="43"/>
                    </a:cubicBezTo>
                    <a:cubicBezTo>
                      <a:pt x="112" y="43"/>
                      <a:pt x="113" y="42"/>
                      <a:pt x="114" y="42"/>
                    </a:cubicBezTo>
                    <a:cubicBezTo>
                      <a:pt x="114" y="42"/>
                      <a:pt x="116" y="44"/>
                      <a:pt x="116" y="44"/>
                    </a:cubicBezTo>
                    <a:cubicBezTo>
                      <a:pt x="116" y="44"/>
                      <a:pt x="117" y="45"/>
                      <a:pt x="117" y="45"/>
                    </a:cubicBezTo>
                    <a:cubicBezTo>
                      <a:pt x="118" y="45"/>
                      <a:pt x="120" y="46"/>
                      <a:pt x="120" y="46"/>
                    </a:cubicBezTo>
                    <a:cubicBezTo>
                      <a:pt x="120" y="49"/>
                      <a:pt x="120" y="49"/>
                      <a:pt x="120" y="49"/>
                    </a:cubicBezTo>
                    <a:cubicBezTo>
                      <a:pt x="120" y="49"/>
                      <a:pt x="122" y="49"/>
                      <a:pt x="122" y="49"/>
                    </a:cubicBezTo>
                    <a:cubicBezTo>
                      <a:pt x="123" y="49"/>
                      <a:pt x="124" y="50"/>
                      <a:pt x="124" y="50"/>
                    </a:cubicBezTo>
                    <a:cubicBezTo>
                      <a:pt x="124" y="50"/>
                      <a:pt x="124" y="53"/>
                      <a:pt x="123" y="53"/>
                    </a:cubicBezTo>
                    <a:cubicBezTo>
                      <a:pt x="123" y="54"/>
                      <a:pt x="122" y="55"/>
                      <a:pt x="122" y="55"/>
                    </a:cubicBezTo>
                    <a:cubicBezTo>
                      <a:pt x="122" y="55"/>
                      <a:pt x="123" y="57"/>
                      <a:pt x="124" y="57"/>
                    </a:cubicBezTo>
                    <a:cubicBezTo>
                      <a:pt x="124" y="57"/>
                      <a:pt x="126" y="57"/>
                      <a:pt x="126" y="57"/>
                    </a:cubicBezTo>
                    <a:cubicBezTo>
                      <a:pt x="127" y="57"/>
                      <a:pt x="128" y="59"/>
                      <a:pt x="128" y="59"/>
                    </a:cubicBezTo>
                    <a:cubicBezTo>
                      <a:pt x="128" y="59"/>
                      <a:pt x="129" y="60"/>
                      <a:pt x="129" y="61"/>
                    </a:cubicBezTo>
                    <a:cubicBezTo>
                      <a:pt x="129" y="62"/>
                      <a:pt x="128" y="64"/>
                      <a:pt x="128" y="64"/>
                    </a:cubicBezTo>
                    <a:cubicBezTo>
                      <a:pt x="128" y="64"/>
                      <a:pt x="128" y="65"/>
                      <a:pt x="128" y="66"/>
                    </a:cubicBezTo>
                    <a:cubicBezTo>
                      <a:pt x="128" y="66"/>
                      <a:pt x="127" y="67"/>
                      <a:pt x="127" y="67"/>
                    </a:cubicBezTo>
                    <a:cubicBezTo>
                      <a:pt x="125" y="67"/>
                      <a:pt x="125" y="67"/>
                      <a:pt x="125" y="67"/>
                    </a:cubicBezTo>
                    <a:cubicBezTo>
                      <a:pt x="125" y="67"/>
                      <a:pt x="125" y="70"/>
                      <a:pt x="124" y="70"/>
                    </a:cubicBezTo>
                    <a:cubicBezTo>
                      <a:pt x="124" y="70"/>
                      <a:pt x="123" y="70"/>
                      <a:pt x="123" y="70"/>
                    </a:cubicBezTo>
                    <a:cubicBezTo>
                      <a:pt x="122" y="70"/>
                      <a:pt x="121" y="71"/>
                      <a:pt x="121" y="71"/>
                    </a:cubicBezTo>
                    <a:cubicBezTo>
                      <a:pt x="121" y="72"/>
                      <a:pt x="121" y="72"/>
                      <a:pt x="121" y="72"/>
                    </a:cubicBezTo>
                    <a:cubicBezTo>
                      <a:pt x="120" y="74"/>
                      <a:pt x="120" y="74"/>
                      <a:pt x="120" y="74"/>
                    </a:cubicBezTo>
                    <a:cubicBezTo>
                      <a:pt x="120" y="74"/>
                      <a:pt x="120" y="74"/>
                      <a:pt x="119" y="74"/>
                    </a:cubicBezTo>
                    <a:cubicBezTo>
                      <a:pt x="119" y="74"/>
                      <a:pt x="119" y="74"/>
                      <a:pt x="118" y="74"/>
                    </a:cubicBezTo>
                    <a:cubicBezTo>
                      <a:pt x="118" y="75"/>
                      <a:pt x="117" y="75"/>
                      <a:pt x="117" y="75"/>
                    </a:cubicBezTo>
                    <a:cubicBezTo>
                      <a:pt x="117" y="75"/>
                      <a:pt x="116" y="74"/>
                      <a:pt x="115" y="74"/>
                    </a:cubicBezTo>
                    <a:cubicBezTo>
                      <a:pt x="115" y="74"/>
                      <a:pt x="114" y="74"/>
                      <a:pt x="114" y="75"/>
                    </a:cubicBezTo>
                    <a:cubicBezTo>
                      <a:pt x="113" y="76"/>
                      <a:pt x="113" y="77"/>
                      <a:pt x="112" y="77"/>
                    </a:cubicBezTo>
                    <a:cubicBezTo>
                      <a:pt x="112" y="77"/>
                      <a:pt x="111" y="78"/>
                      <a:pt x="111" y="78"/>
                    </a:cubicBezTo>
                    <a:cubicBezTo>
                      <a:pt x="111" y="78"/>
                      <a:pt x="111" y="80"/>
                      <a:pt x="110" y="80"/>
                    </a:cubicBezTo>
                    <a:cubicBezTo>
                      <a:pt x="110" y="81"/>
                      <a:pt x="109" y="82"/>
                      <a:pt x="109" y="82"/>
                    </a:cubicBezTo>
                    <a:cubicBezTo>
                      <a:pt x="109" y="82"/>
                      <a:pt x="109" y="83"/>
                      <a:pt x="109" y="83"/>
                    </a:cubicBezTo>
                    <a:cubicBezTo>
                      <a:pt x="109" y="84"/>
                      <a:pt x="109" y="85"/>
                      <a:pt x="108" y="86"/>
                    </a:cubicBezTo>
                    <a:cubicBezTo>
                      <a:pt x="107" y="86"/>
                      <a:pt x="105" y="88"/>
                      <a:pt x="105" y="88"/>
                    </a:cubicBezTo>
                    <a:cubicBezTo>
                      <a:pt x="105" y="88"/>
                      <a:pt x="105" y="88"/>
                      <a:pt x="105" y="89"/>
                    </a:cubicBezTo>
                    <a:cubicBezTo>
                      <a:pt x="106" y="89"/>
                      <a:pt x="106" y="90"/>
                      <a:pt x="106" y="90"/>
                    </a:cubicBezTo>
                    <a:cubicBezTo>
                      <a:pt x="106" y="92"/>
                      <a:pt x="106" y="92"/>
                      <a:pt x="106" y="92"/>
                    </a:cubicBezTo>
                    <a:cubicBezTo>
                      <a:pt x="106" y="92"/>
                      <a:pt x="105" y="93"/>
                      <a:pt x="105" y="94"/>
                    </a:cubicBezTo>
                    <a:cubicBezTo>
                      <a:pt x="106" y="94"/>
                      <a:pt x="106" y="94"/>
                      <a:pt x="106" y="94"/>
                    </a:cubicBezTo>
                    <a:cubicBezTo>
                      <a:pt x="107" y="96"/>
                      <a:pt x="107" y="96"/>
                      <a:pt x="107" y="96"/>
                    </a:cubicBezTo>
                    <a:cubicBezTo>
                      <a:pt x="108" y="98"/>
                      <a:pt x="108" y="98"/>
                      <a:pt x="108" y="98"/>
                    </a:cubicBezTo>
                    <a:cubicBezTo>
                      <a:pt x="109" y="98"/>
                      <a:pt x="109" y="98"/>
                      <a:pt x="109" y="98"/>
                    </a:cubicBezTo>
                    <a:cubicBezTo>
                      <a:pt x="109" y="98"/>
                      <a:pt x="110" y="100"/>
                      <a:pt x="110" y="101"/>
                    </a:cubicBezTo>
                    <a:cubicBezTo>
                      <a:pt x="110" y="101"/>
                      <a:pt x="110" y="103"/>
                      <a:pt x="110" y="103"/>
                    </a:cubicBezTo>
                    <a:cubicBezTo>
                      <a:pt x="108" y="105"/>
                      <a:pt x="108" y="105"/>
                      <a:pt x="108" y="105"/>
                    </a:cubicBezTo>
                    <a:cubicBezTo>
                      <a:pt x="107" y="107"/>
                      <a:pt x="107" y="107"/>
                      <a:pt x="107" y="107"/>
                    </a:cubicBezTo>
                    <a:cubicBezTo>
                      <a:pt x="107" y="107"/>
                      <a:pt x="106" y="107"/>
                      <a:pt x="106" y="107"/>
                    </a:cubicBezTo>
                    <a:cubicBezTo>
                      <a:pt x="105" y="107"/>
                      <a:pt x="104" y="107"/>
                      <a:pt x="104" y="107"/>
                    </a:cubicBezTo>
                    <a:cubicBezTo>
                      <a:pt x="103" y="108"/>
                      <a:pt x="103" y="108"/>
                      <a:pt x="103" y="108"/>
                    </a:cubicBezTo>
                    <a:cubicBezTo>
                      <a:pt x="101" y="108"/>
                      <a:pt x="101" y="108"/>
                      <a:pt x="101" y="108"/>
                    </a:cubicBezTo>
                    <a:cubicBezTo>
                      <a:pt x="99" y="109"/>
                      <a:pt x="99" y="109"/>
                      <a:pt x="99" y="109"/>
                    </a:cubicBezTo>
                    <a:cubicBezTo>
                      <a:pt x="96" y="109"/>
                      <a:pt x="96" y="109"/>
                      <a:pt x="96" y="109"/>
                    </a:cubicBezTo>
                    <a:cubicBezTo>
                      <a:pt x="95" y="107"/>
                      <a:pt x="95" y="107"/>
                      <a:pt x="95" y="107"/>
                    </a:cubicBezTo>
                    <a:cubicBezTo>
                      <a:pt x="94" y="105"/>
                      <a:pt x="94" y="105"/>
                      <a:pt x="94" y="105"/>
                    </a:cubicBezTo>
                    <a:cubicBezTo>
                      <a:pt x="93" y="104"/>
                      <a:pt x="93" y="104"/>
                      <a:pt x="93" y="104"/>
                    </a:cubicBezTo>
                    <a:cubicBezTo>
                      <a:pt x="92" y="104"/>
                      <a:pt x="92" y="104"/>
                      <a:pt x="92" y="104"/>
                    </a:cubicBezTo>
                    <a:cubicBezTo>
                      <a:pt x="89" y="103"/>
                      <a:pt x="89" y="103"/>
                      <a:pt x="89" y="103"/>
                    </a:cubicBezTo>
                    <a:cubicBezTo>
                      <a:pt x="90" y="101"/>
                      <a:pt x="90" y="101"/>
                      <a:pt x="90" y="101"/>
                    </a:cubicBezTo>
                    <a:cubicBezTo>
                      <a:pt x="90" y="101"/>
                      <a:pt x="89" y="99"/>
                      <a:pt x="89" y="99"/>
                    </a:cubicBezTo>
                    <a:cubicBezTo>
                      <a:pt x="88" y="99"/>
                      <a:pt x="87" y="99"/>
                      <a:pt x="87" y="99"/>
                    </a:cubicBezTo>
                    <a:cubicBezTo>
                      <a:pt x="85" y="97"/>
                      <a:pt x="85" y="97"/>
                      <a:pt x="85" y="97"/>
                    </a:cubicBezTo>
                    <a:cubicBezTo>
                      <a:pt x="85" y="97"/>
                      <a:pt x="85" y="96"/>
                      <a:pt x="84" y="95"/>
                    </a:cubicBezTo>
                    <a:cubicBezTo>
                      <a:pt x="83" y="95"/>
                      <a:pt x="83" y="94"/>
                      <a:pt x="82" y="94"/>
                    </a:cubicBezTo>
                    <a:cubicBezTo>
                      <a:pt x="81" y="94"/>
                      <a:pt x="79" y="94"/>
                      <a:pt x="79" y="94"/>
                    </a:cubicBezTo>
                    <a:cubicBezTo>
                      <a:pt x="79" y="94"/>
                      <a:pt x="78" y="92"/>
                      <a:pt x="77" y="92"/>
                    </a:cubicBezTo>
                    <a:cubicBezTo>
                      <a:pt x="77" y="92"/>
                      <a:pt x="73" y="92"/>
                      <a:pt x="73" y="92"/>
                    </a:cubicBezTo>
                    <a:cubicBezTo>
                      <a:pt x="73" y="92"/>
                      <a:pt x="74" y="89"/>
                      <a:pt x="74" y="89"/>
                    </a:cubicBezTo>
                    <a:cubicBezTo>
                      <a:pt x="74" y="88"/>
                      <a:pt x="74" y="85"/>
                      <a:pt x="74" y="85"/>
                    </a:cubicBezTo>
                    <a:cubicBezTo>
                      <a:pt x="74" y="84"/>
                      <a:pt x="74" y="84"/>
                      <a:pt x="74" y="84"/>
                    </a:cubicBezTo>
                    <a:cubicBezTo>
                      <a:pt x="74" y="84"/>
                      <a:pt x="73" y="83"/>
                      <a:pt x="74" y="81"/>
                    </a:cubicBezTo>
                    <a:cubicBezTo>
                      <a:pt x="75" y="79"/>
                      <a:pt x="74" y="80"/>
                      <a:pt x="75" y="78"/>
                    </a:cubicBezTo>
                    <a:cubicBezTo>
                      <a:pt x="76" y="75"/>
                      <a:pt x="76" y="74"/>
                      <a:pt x="76" y="74"/>
                    </a:cubicBezTo>
                    <a:cubicBezTo>
                      <a:pt x="74" y="73"/>
                      <a:pt x="74" y="73"/>
                      <a:pt x="74" y="73"/>
                    </a:cubicBezTo>
                    <a:cubicBezTo>
                      <a:pt x="74" y="73"/>
                      <a:pt x="73" y="72"/>
                      <a:pt x="72" y="73"/>
                    </a:cubicBezTo>
                    <a:cubicBezTo>
                      <a:pt x="72" y="75"/>
                      <a:pt x="71" y="75"/>
                      <a:pt x="71" y="75"/>
                    </a:cubicBezTo>
                    <a:cubicBezTo>
                      <a:pt x="69" y="78"/>
                      <a:pt x="69" y="78"/>
                      <a:pt x="69" y="78"/>
                    </a:cubicBezTo>
                    <a:cubicBezTo>
                      <a:pt x="69" y="81"/>
                      <a:pt x="69" y="81"/>
                      <a:pt x="69" y="81"/>
                    </a:cubicBezTo>
                    <a:cubicBezTo>
                      <a:pt x="69" y="81"/>
                      <a:pt x="70" y="82"/>
                      <a:pt x="67" y="82"/>
                    </a:cubicBezTo>
                    <a:cubicBezTo>
                      <a:pt x="65" y="82"/>
                      <a:pt x="63" y="82"/>
                      <a:pt x="63" y="82"/>
                    </a:cubicBezTo>
                    <a:cubicBezTo>
                      <a:pt x="63" y="82"/>
                      <a:pt x="65" y="84"/>
                      <a:pt x="63" y="84"/>
                    </a:cubicBezTo>
                    <a:cubicBezTo>
                      <a:pt x="60" y="84"/>
                      <a:pt x="57" y="84"/>
                      <a:pt x="57" y="84"/>
                    </a:cubicBezTo>
                    <a:cubicBezTo>
                      <a:pt x="55" y="82"/>
                      <a:pt x="55" y="82"/>
                      <a:pt x="55" y="82"/>
                    </a:cubicBezTo>
                    <a:cubicBezTo>
                      <a:pt x="51" y="83"/>
                      <a:pt x="51" y="83"/>
                      <a:pt x="51" y="83"/>
                    </a:cubicBezTo>
                    <a:cubicBezTo>
                      <a:pt x="51" y="83"/>
                      <a:pt x="51" y="82"/>
                      <a:pt x="51" y="80"/>
                    </a:cubicBezTo>
                    <a:cubicBezTo>
                      <a:pt x="51" y="79"/>
                      <a:pt x="50" y="77"/>
                      <a:pt x="51" y="77"/>
                    </a:cubicBezTo>
                    <a:cubicBezTo>
                      <a:pt x="52" y="77"/>
                      <a:pt x="53" y="76"/>
                      <a:pt x="53" y="76"/>
                    </a:cubicBezTo>
                    <a:cubicBezTo>
                      <a:pt x="52" y="73"/>
                      <a:pt x="52" y="73"/>
                      <a:pt x="52" y="73"/>
                    </a:cubicBezTo>
                    <a:cubicBezTo>
                      <a:pt x="52" y="73"/>
                      <a:pt x="52" y="73"/>
                      <a:pt x="52" y="73"/>
                    </a:cubicBezTo>
                    <a:cubicBezTo>
                      <a:pt x="52" y="73"/>
                      <a:pt x="51" y="73"/>
                      <a:pt x="51" y="72"/>
                    </a:cubicBezTo>
                    <a:cubicBezTo>
                      <a:pt x="51" y="71"/>
                      <a:pt x="52" y="69"/>
                      <a:pt x="52" y="69"/>
                    </a:cubicBezTo>
                    <a:cubicBezTo>
                      <a:pt x="53" y="68"/>
                      <a:pt x="53" y="66"/>
                      <a:pt x="53" y="66"/>
                    </a:cubicBezTo>
                    <a:cubicBezTo>
                      <a:pt x="52" y="66"/>
                      <a:pt x="52" y="66"/>
                      <a:pt x="52" y="66"/>
                    </a:cubicBezTo>
                    <a:cubicBezTo>
                      <a:pt x="52" y="66"/>
                      <a:pt x="50" y="67"/>
                      <a:pt x="50" y="65"/>
                    </a:cubicBezTo>
                    <a:cubicBezTo>
                      <a:pt x="50" y="64"/>
                      <a:pt x="49" y="62"/>
                      <a:pt x="49" y="62"/>
                    </a:cubicBezTo>
                    <a:cubicBezTo>
                      <a:pt x="49" y="62"/>
                      <a:pt x="47" y="61"/>
                      <a:pt x="47" y="61"/>
                    </a:cubicBezTo>
                    <a:cubicBezTo>
                      <a:pt x="46" y="61"/>
                      <a:pt x="46" y="61"/>
                      <a:pt x="45" y="62"/>
                    </a:cubicBezTo>
                    <a:cubicBezTo>
                      <a:pt x="45" y="62"/>
                      <a:pt x="42" y="61"/>
                      <a:pt x="42" y="61"/>
                    </a:cubicBezTo>
                    <a:cubicBezTo>
                      <a:pt x="42" y="61"/>
                      <a:pt x="39" y="61"/>
                      <a:pt x="39" y="61"/>
                    </a:cubicBezTo>
                    <a:cubicBezTo>
                      <a:pt x="38" y="61"/>
                      <a:pt x="37" y="63"/>
                      <a:pt x="37" y="63"/>
                    </a:cubicBezTo>
                    <a:cubicBezTo>
                      <a:pt x="35" y="60"/>
                      <a:pt x="35" y="60"/>
                      <a:pt x="35" y="60"/>
                    </a:cubicBezTo>
                    <a:cubicBezTo>
                      <a:pt x="36" y="57"/>
                      <a:pt x="36" y="57"/>
                      <a:pt x="36" y="57"/>
                    </a:cubicBezTo>
                    <a:cubicBezTo>
                      <a:pt x="36" y="57"/>
                      <a:pt x="34" y="55"/>
                      <a:pt x="34" y="54"/>
                    </a:cubicBezTo>
                    <a:cubicBezTo>
                      <a:pt x="34" y="54"/>
                      <a:pt x="33" y="52"/>
                      <a:pt x="33" y="52"/>
                    </a:cubicBezTo>
                    <a:cubicBezTo>
                      <a:pt x="31" y="52"/>
                      <a:pt x="31" y="52"/>
                      <a:pt x="31" y="52"/>
                    </a:cubicBezTo>
                    <a:cubicBezTo>
                      <a:pt x="30" y="51"/>
                      <a:pt x="30" y="51"/>
                      <a:pt x="30" y="51"/>
                    </a:cubicBezTo>
                    <a:cubicBezTo>
                      <a:pt x="30" y="51"/>
                      <a:pt x="28" y="51"/>
                      <a:pt x="27" y="51"/>
                    </a:cubicBezTo>
                    <a:cubicBezTo>
                      <a:pt x="26" y="51"/>
                      <a:pt x="26" y="51"/>
                      <a:pt x="25" y="51"/>
                    </a:cubicBezTo>
                    <a:cubicBezTo>
                      <a:pt x="25" y="51"/>
                      <a:pt x="23" y="49"/>
                      <a:pt x="23" y="49"/>
                    </a:cubicBezTo>
                    <a:cubicBezTo>
                      <a:pt x="23" y="48"/>
                      <a:pt x="23" y="47"/>
                      <a:pt x="23" y="46"/>
                    </a:cubicBezTo>
                    <a:cubicBezTo>
                      <a:pt x="22" y="45"/>
                      <a:pt x="21" y="43"/>
                      <a:pt x="21" y="42"/>
                    </a:cubicBezTo>
                    <a:cubicBezTo>
                      <a:pt x="21" y="42"/>
                      <a:pt x="22" y="40"/>
                      <a:pt x="22" y="40"/>
                    </a:cubicBezTo>
                    <a:cubicBezTo>
                      <a:pt x="21" y="39"/>
                      <a:pt x="19" y="37"/>
                      <a:pt x="19" y="37"/>
                    </a:cubicBezTo>
                    <a:cubicBezTo>
                      <a:pt x="18" y="35"/>
                      <a:pt x="18" y="35"/>
                      <a:pt x="18" y="35"/>
                    </a:cubicBezTo>
                    <a:cubicBezTo>
                      <a:pt x="18" y="35"/>
                      <a:pt x="15" y="37"/>
                      <a:pt x="14" y="37"/>
                    </a:cubicBezTo>
                    <a:cubicBezTo>
                      <a:pt x="13" y="37"/>
                      <a:pt x="11" y="36"/>
                      <a:pt x="11" y="37"/>
                    </a:cubicBezTo>
                    <a:cubicBezTo>
                      <a:pt x="11" y="37"/>
                      <a:pt x="12" y="39"/>
                      <a:pt x="11" y="39"/>
                    </a:cubicBezTo>
                    <a:cubicBezTo>
                      <a:pt x="10" y="39"/>
                      <a:pt x="8" y="39"/>
                      <a:pt x="7" y="38"/>
                    </a:cubicBezTo>
                    <a:cubicBezTo>
                      <a:pt x="6" y="37"/>
                      <a:pt x="6" y="36"/>
                      <a:pt x="6" y="35"/>
                    </a:cubicBezTo>
                    <a:cubicBezTo>
                      <a:pt x="5" y="35"/>
                      <a:pt x="5" y="33"/>
                      <a:pt x="4" y="33"/>
                    </a:cubicBezTo>
                    <a:cubicBezTo>
                      <a:pt x="3" y="33"/>
                      <a:pt x="2" y="33"/>
                      <a:pt x="2" y="32"/>
                    </a:cubicBezTo>
                    <a:cubicBezTo>
                      <a:pt x="2" y="32"/>
                      <a:pt x="2" y="29"/>
                      <a:pt x="2" y="29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2" y="27"/>
                      <a:pt x="2" y="24"/>
                      <a:pt x="1" y="24"/>
                    </a:cubicBezTo>
                    <a:cubicBezTo>
                      <a:pt x="1" y="23"/>
                      <a:pt x="0" y="22"/>
                      <a:pt x="0" y="22"/>
                    </a:cubicBezTo>
                    <a:cubicBezTo>
                      <a:pt x="0" y="19"/>
                      <a:pt x="0" y="19"/>
                      <a:pt x="0" y="19"/>
                    </a:cubicBezTo>
                    <a:lnTo>
                      <a:pt x="1" y="1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58" name="Freeform 31">
                <a:extLst>
                  <a:ext uri="{FF2B5EF4-FFF2-40B4-BE49-F238E27FC236}">
                    <a16:creationId xmlns:a16="http://schemas.microsoft.com/office/drawing/2014/main" id="{CE68B803-694D-36CC-E25C-4C6B374CDA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29400" y="2680694"/>
                <a:ext cx="538070" cy="288982"/>
              </a:xfrm>
              <a:custGeom>
                <a:avLst/>
                <a:gdLst>
                  <a:gd name="T0" fmla="*/ 56 w 240"/>
                  <a:gd name="T1" fmla="*/ 20 h 133"/>
                  <a:gd name="T2" fmla="*/ 62 w 240"/>
                  <a:gd name="T3" fmla="*/ 12 h 133"/>
                  <a:gd name="T4" fmla="*/ 73 w 240"/>
                  <a:gd name="T5" fmla="*/ 5 h 133"/>
                  <a:gd name="T6" fmla="*/ 85 w 240"/>
                  <a:gd name="T7" fmla="*/ 3 h 133"/>
                  <a:gd name="T8" fmla="*/ 87 w 240"/>
                  <a:gd name="T9" fmla="*/ 11 h 133"/>
                  <a:gd name="T10" fmla="*/ 93 w 240"/>
                  <a:gd name="T11" fmla="*/ 10 h 133"/>
                  <a:gd name="T12" fmla="*/ 99 w 240"/>
                  <a:gd name="T13" fmla="*/ 6 h 133"/>
                  <a:gd name="T14" fmla="*/ 103 w 240"/>
                  <a:gd name="T15" fmla="*/ 3 h 133"/>
                  <a:gd name="T16" fmla="*/ 110 w 240"/>
                  <a:gd name="T17" fmla="*/ 10 h 133"/>
                  <a:gd name="T18" fmla="*/ 118 w 240"/>
                  <a:gd name="T19" fmla="*/ 12 h 133"/>
                  <a:gd name="T20" fmla="*/ 126 w 240"/>
                  <a:gd name="T21" fmla="*/ 15 h 133"/>
                  <a:gd name="T22" fmla="*/ 133 w 240"/>
                  <a:gd name="T23" fmla="*/ 17 h 133"/>
                  <a:gd name="T24" fmla="*/ 142 w 240"/>
                  <a:gd name="T25" fmla="*/ 18 h 133"/>
                  <a:gd name="T26" fmla="*/ 146 w 240"/>
                  <a:gd name="T27" fmla="*/ 25 h 133"/>
                  <a:gd name="T28" fmla="*/ 146 w 240"/>
                  <a:gd name="T29" fmla="*/ 31 h 133"/>
                  <a:gd name="T30" fmla="*/ 154 w 240"/>
                  <a:gd name="T31" fmla="*/ 38 h 133"/>
                  <a:gd name="T32" fmla="*/ 164 w 240"/>
                  <a:gd name="T33" fmla="*/ 44 h 133"/>
                  <a:gd name="T34" fmla="*/ 169 w 240"/>
                  <a:gd name="T35" fmla="*/ 31 h 133"/>
                  <a:gd name="T36" fmla="*/ 176 w 240"/>
                  <a:gd name="T37" fmla="*/ 28 h 133"/>
                  <a:gd name="T38" fmla="*/ 194 w 240"/>
                  <a:gd name="T39" fmla="*/ 29 h 133"/>
                  <a:gd name="T40" fmla="*/ 193 w 240"/>
                  <a:gd name="T41" fmla="*/ 39 h 133"/>
                  <a:gd name="T42" fmla="*/ 203 w 240"/>
                  <a:gd name="T43" fmla="*/ 46 h 133"/>
                  <a:gd name="T44" fmla="*/ 213 w 240"/>
                  <a:gd name="T45" fmla="*/ 45 h 133"/>
                  <a:gd name="T46" fmla="*/ 228 w 240"/>
                  <a:gd name="T47" fmla="*/ 54 h 133"/>
                  <a:gd name="T48" fmla="*/ 237 w 240"/>
                  <a:gd name="T49" fmla="*/ 60 h 133"/>
                  <a:gd name="T50" fmla="*/ 236 w 240"/>
                  <a:gd name="T51" fmla="*/ 68 h 133"/>
                  <a:gd name="T52" fmla="*/ 229 w 240"/>
                  <a:gd name="T53" fmla="*/ 70 h 133"/>
                  <a:gd name="T54" fmla="*/ 223 w 240"/>
                  <a:gd name="T55" fmla="*/ 78 h 133"/>
                  <a:gd name="T56" fmla="*/ 216 w 240"/>
                  <a:gd name="T57" fmla="*/ 85 h 133"/>
                  <a:gd name="T58" fmla="*/ 215 w 240"/>
                  <a:gd name="T59" fmla="*/ 97 h 133"/>
                  <a:gd name="T60" fmla="*/ 208 w 240"/>
                  <a:gd name="T61" fmla="*/ 104 h 133"/>
                  <a:gd name="T62" fmla="*/ 203 w 240"/>
                  <a:gd name="T63" fmla="*/ 109 h 133"/>
                  <a:gd name="T64" fmla="*/ 198 w 240"/>
                  <a:gd name="T65" fmla="*/ 111 h 133"/>
                  <a:gd name="T66" fmla="*/ 193 w 240"/>
                  <a:gd name="T67" fmla="*/ 111 h 133"/>
                  <a:gd name="T68" fmla="*/ 189 w 240"/>
                  <a:gd name="T69" fmla="*/ 110 h 133"/>
                  <a:gd name="T70" fmla="*/ 184 w 240"/>
                  <a:gd name="T71" fmla="*/ 111 h 133"/>
                  <a:gd name="T72" fmla="*/ 181 w 240"/>
                  <a:gd name="T73" fmla="*/ 115 h 133"/>
                  <a:gd name="T74" fmla="*/ 179 w 240"/>
                  <a:gd name="T75" fmla="*/ 121 h 133"/>
                  <a:gd name="T76" fmla="*/ 177 w 240"/>
                  <a:gd name="T77" fmla="*/ 123 h 133"/>
                  <a:gd name="T78" fmla="*/ 163 w 240"/>
                  <a:gd name="T79" fmla="*/ 115 h 133"/>
                  <a:gd name="T80" fmla="*/ 147 w 240"/>
                  <a:gd name="T81" fmla="*/ 118 h 133"/>
                  <a:gd name="T82" fmla="*/ 134 w 240"/>
                  <a:gd name="T83" fmla="*/ 112 h 133"/>
                  <a:gd name="T84" fmla="*/ 119 w 240"/>
                  <a:gd name="T85" fmla="*/ 110 h 133"/>
                  <a:gd name="T86" fmla="*/ 106 w 240"/>
                  <a:gd name="T87" fmla="*/ 108 h 133"/>
                  <a:gd name="T88" fmla="*/ 104 w 240"/>
                  <a:gd name="T89" fmla="*/ 121 h 133"/>
                  <a:gd name="T90" fmla="*/ 97 w 240"/>
                  <a:gd name="T91" fmla="*/ 131 h 133"/>
                  <a:gd name="T92" fmla="*/ 86 w 240"/>
                  <a:gd name="T93" fmla="*/ 131 h 133"/>
                  <a:gd name="T94" fmla="*/ 74 w 240"/>
                  <a:gd name="T95" fmla="*/ 131 h 133"/>
                  <a:gd name="T96" fmla="*/ 63 w 240"/>
                  <a:gd name="T97" fmla="*/ 122 h 133"/>
                  <a:gd name="T98" fmla="*/ 55 w 240"/>
                  <a:gd name="T99" fmla="*/ 114 h 133"/>
                  <a:gd name="T100" fmla="*/ 45 w 240"/>
                  <a:gd name="T101" fmla="*/ 107 h 133"/>
                  <a:gd name="T102" fmla="*/ 39 w 240"/>
                  <a:gd name="T103" fmla="*/ 100 h 133"/>
                  <a:gd name="T104" fmla="*/ 24 w 240"/>
                  <a:gd name="T105" fmla="*/ 93 h 133"/>
                  <a:gd name="T106" fmla="*/ 17 w 240"/>
                  <a:gd name="T107" fmla="*/ 79 h 133"/>
                  <a:gd name="T108" fmla="*/ 16 w 240"/>
                  <a:gd name="T109" fmla="*/ 66 h 133"/>
                  <a:gd name="T110" fmla="*/ 4 w 240"/>
                  <a:gd name="T111" fmla="*/ 55 h 133"/>
                  <a:gd name="T112" fmla="*/ 5 w 240"/>
                  <a:gd name="T113" fmla="*/ 44 h 133"/>
                  <a:gd name="T114" fmla="*/ 10 w 240"/>
                  <a:gd name="T115" fmla="*/ 45 h 133"/>
                  <a:gd name="T116" fmla="*/ 23 w 240"/>
                  <a:gd name="T117" fmla="*/ 38 h 133"/>
                  <a:gd name="T118" fmla="*/ 35 w 240"/>
                  <a:gd name="T119" fmla="*/ 32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40" h="133">
                    <a:moveTo>
                      <a:pt x="43" y="27"/>
                    </a:moveTo>
                    <a:cubicBezTo>
                      <a:pt x="44" y="27"/>
                      <a:pt x="50" y="22"/>
                      <a:pt x="50" y="22"/>
                    </a:cubicBezTo>
                    <a:cubicBezTo>
                      <a:pt x="56" y="20"/>
                      <a:pt x="56" y="20"/>
                      <a:pt x="56" y="20"/>
                    </a:cubicBezTo>
                    <a:cubicBezTo>
                      <a:pt x="58" y="18"/>
                      <a:pt x="58" y="18"/>
                      <a:pt x="58" y="18"/>
                    </a:cubicBezTo>
                    <a:cubicBezTo>
                      <a:pt x="60" y="14"/>
                      <a:pt x="60" y="14"/>
                      <a:pt x="60" y="14"/>
                    </a:cubicBezTo>
                    <a:cubicBezTo>
                      <a:pt x="60" y="14"/>
                      <a:pt x="59" y="12"/>
                      <a:pt x="62" y="12"/>
                    </a:cubicBezTo>
                    <a:cubicBezTo>
                      <a:pt x="65" y="12"/>
                      <a:pt x="74" y="10"/>
                      <a:pt x="74" y="10"/>
                    </a:cubicBezTo>
                    <a:cubicBezTo>
                      <a:pt x="75" y="8"/>
                      <a:pt x="75" y="8"/>
                      <a:pt x="75" y="8"/>
                    </a:cubicBezTo>
                    <a:cubicBezTo>
                      <a:pt x="73" y="5"/>
                      <a:pt x="73" y="5"/>
                      <a:pt x="73" y="5"/>
                    </a:cubicBezTo>
                    <a:cubicBezTo>
                      <a:pt x="73" y="5"/>
                      <a:pt x="73" y="1"/>
                      <a:pt x="73" y="1"/>
                    </a:cubicBezTo>
                    <a:cubicBezTo>
                      <a:pt x="74" y="0"/>
                      <a:pt x="78" y="0"/>
                      <a:pt x="80" y="0"/>
                    </a:cubicBezTo>
                    <a:cubicBezTo>
                      <a:pt x="82" y="1"/>
                      <a:pt x="84" y="2"/>
                      <a:pt x="85" y="3"/>
                    </a:cubicBezTo>
                    <a:cubicBezTo>
                      <a:pt x="85" y="4"/>
                      <a:pt x="85" y="3"/>
                      <a:pt x="85" y="5"/>
                    </a:cubicBezTo>
                    <a:cubicBezTo>
                      <a:pt x="85" y="7"/>
                      <a:pt x="85" y="9"/>
                      <a:pt x="85" y="9"/>
                    </a:cubicBezTo>
                    <a:cubicBezTo>
                      <a:pt x="85" y="9"/>
                      <a:pt x="86" y="10"/>
                      <a:pt x="87" y="11"/>
                    </a:cubicBezTo>
                    <a:cubicBezTo>
                      <a:pt x="89" y="11"/>
                      <a:pt x="91" y="13"/>
                      <a:pt x="91" y="12"/>
                    </a:cubicBezTo>
                    <a:cubicBezTo>
                      <a:pt x="91" y="12"/>
                      <a:pt x="92" y="11"/>
                      <a:pt x="93" y="10"/>
                    </a:cubicBezTo>
                    <a:cubicBezTo>
                      <a:pt x="93" y="10"/>
                      <a:pt x="93" y="10"/>
                      <a:pt x="93" y="10"/>
                    </a:cubicBezTo>
                    <a:cubicBezTo>
                      <a:pt x="93" y="12"/>
                      <a:pt x="94" y="11"/>
                      <a:pt x="95" y="11"/>
                    </a:cubicBezTo>
                    <a:cubicBezTo>
                      <a:pt x="96" y="11"/>
                      <a:pt x="100" y="9"/>
                      <a:pt x="100" y="9"/>
                    </a:cubicBezTo>
                    <a:cubicBezTo>
                      <a:pt x="100" y="9"/>
                      <a:pt x="99" y="6"/>
                      <a:pt x="99" y="6"/>
                    </a:cubicBezTo>
                    <a:cubicBezTo>
                      <a:pt x="99" y="5"/>
                      <a:pt x="99" y="4"/>
                      <a:pt x="99" y="3"/>
                    </a:cubicBezTo>
                    <a:cubicBezTo>
                      <a:pt x="100" y="2"/>
                      <a:pt x="100" y="2"/>
                      <a:pt x="100" y="2"/>
                    </a:cubicBezTo>
                    <a:cubicBezTo>
                      <a:pt x="101" y="2"/>
                      <a:pt x="103" y="3"/>
                      <a:pt x="103" y="3"/>
                    </a:cubicBezTo>
                    <a:cubicBezTo>
                      <a:pt x="103" y="3"/>
                      <a:pt x="105" y="4"/>
                      <a:pt x="106" y="4"/>
                    </a:cubicBezTo>
                    <a:cubicBezTo>
                      <a:pt x="108" y="4"/>
                      <a:pt x="107" y="6"/>
                      <a:pt x="107" y="6"/>
                    </a:cubicBezTo>
                    <a:cubicBezTo>
                      <a:pt x="107" y="6"/>
                      <a:pt x="108" y="9"/>
                      <a:pt x="110" y="10"/>
                    </a:cubicBezTo>
                    <a:cubicBezTo>
                      <a:pt x="112" y="11"/>
                      <a:pt x="112" y="12"/>
                      <a:pt x="112" y="13"/>
                    </a:cubicBezTo>
                    <a:cubicBezTo>
                      <a:pt x="113" y="13"/>
                      <a:pt x="115" y="13"/>
                      <a:pt x="115" y="13"/>
                    </a:cubicBezTo>
                    <a:cubicBezTo>
                      <a:pt x="118" y="12"/>
                      <a:pt x="118" y="12"/>
                      <a:pt x="118" y="12"/>
                    </a:cubicBezTo>
                    <a:cubicBezTo>
                      <a:pt x="118" y="12"/>
                      <a:pt x="120" y="13"/>
                      <a:pt x="121" y="15"/>
                    </a:cubicBezTo>
                    <a:cubicBezTo>
                      <a:pt x="121" y="16"/>
                      <a:pt x="124" y="16"/>
                      <a:pt x="125" y="15"/>
                    </a:cubicBezTo>
                    <a:cubicBezTo>
                      <a:pt x="126" y="15"/>
                      <a:pt x="126" y="15"/>
                      <a:pt x="126" y="15"/>
                    </a:cubicBezTo>
                    <a:cubicBezTo>
                      <a:pt x="127" y="16"/>
                      <a:pt x="127" y="16"/>
                      <a:pt x="127" y="16"/>
                    </a:cubicBezTo>
                    <a:cubicBezTo>
                      <a:pt x="127" y="16"/>
                      <a:pt x="129" y="20"/>
                      <a:pt x="132" y="17"/>
                    </a:cubicBezTo>
                    <a:cubicBezTo>
                      <a:pt x="135" y="14"/>
                      <a:pt x="133" y="17"/>
                      <a:pt x="133" y="17"/>
                    </a:cubicBezTo>
                    <a:cubicBezTo>
                      <a:pt x="133" y="17"/>
                      <a:pt x="135" y="20"/>
                      <a:pt x="136" y="20"/>
                    </a:cubicBezTo>
                    <a:cubicBezTo>
                      <a:pt x="138" y="20"/>
                      <a:pt x="138" y="20"/>
                      <a:pt x="138" y="20"/>
                    </a:cubicBezTo>
                    <a:cubicBezTo>
                      <a:pt x="142" y="18"/>
                      <a:pt x="142" y="18"/>
                      <a:pt x="142" y="18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7"/>
                      <a:pt x="148" y="17"/>
                      <a:pt x="147" y="22"/>
                    </a:cubicBezTo>
                    <a:cubicBezTo>
                      <a:pt x="147" y="26"/>
                      <a:pt x="146" y="25"/>
                      <a:pt x="146" y="25"/>
                    </a:cubicBezTo>
                    <a:cubicBezTo>
                      <a:pt x="144" y="28"/>
                      <a:pt x="144" y="28"/>
                      <a:pt x="144" y="28"/>
                    </a:cubicBezTo>
                    <a:cubicBezTo>
                      <a:pt x="144" y="31"/>
                      <a:pt x="144" y="31"/>
                      <a:pt x="144" y="31"/>
                    </a:cubicBezTo>
                    <a:cubicBezTo>
                      <a:pt x="144" y="31"/>
                      <a:pt x="145" y="31"/>
                      <a:pt x="146" y="31"/>
                    </a:cubicBezTo>
                    <a:cubicBezTo>
                      <a:pt x="147" y="31"/>
                      <a:pt x="148" y="35"/>
                      <a:pt x="148" y="35"/>
                    </a:cubicBezTo>
                    <a:cubicBezTo>
                      <a:pt x="151" y="36"/>
                      <a:pt x="151" y="36"/>
                      <a:pt x="151" y="36"/>
                    </a:cubicBezTo>
                    <a:cubicBezTo>
                      <a:pt x="151" y="36"/>
                      <a:pt x="152" y="37"/>
                      <a:pt x="154" y="38"/>
                    </a:cubicBezTo>
                    <a:cubicBezTo>
                      <a:pt x="155" y="39"/>
                      <a:pt x="156" y="41"/>
                      <a:pt x="156" y="41"/>
                    </a:cubicBezTo>
                    <a:cubicBezTo>
                      <a:pt x="156" y="41"/>
                      <a:pt x="157" y="45"/>
                      <a:pt x="158" y="46"/>
                    </a:cubicBezTo>
                    <a:cubicBezTo>
                      <a:pt x="158" y="48"/>
                      <a:pt x="164" y="44"/>
                      <a:pt x="164" y="44"/>
                    </a:cubicBezTo>
                    <a:cubicBezTo>
                      <a:pt x="165" y="39"/>
                      <a:pt x="165" y="39"/>
                      <a:pt x="165" y="39"/>
                    </a:cubicBezTo>
                    <a:cubicBezTo>
                      <a:pt x="171" y="37"/>
                      <a:pt x="171" y="37"/>
                      <a:pt x="171" y="37"/>
                    </a:cubicBezTo>
                    <a:cubicBezTo>
                      <a:pt x="169" y="31"/>
                      <a:pt x="169" y="31"/>
                      <a:pt x="169" y="31"/>
                    </a:cubicBezTo>
                    <a:cubicBezTo>
                      <a:pt x="167" y="27"/>
                      <a:pt x="167" y="27"/>
                      <a:pt x="167" y="27"/>
                    </a:cubicBezTo>
                    <a:cubicBezTo>
                      <a:pt x="167" y="27"/>
                      <a:pt x="171" y="28"/>
                      <a:pt x="172" y="27"/>
                    </a:cubicBezTo>
                    <a:cubicBezTo>
                      <a:pt x="173" y="27"/>
                      <a:pt x="176" y="28"/>
                      <a:pt x="176" y="28"/>
                    </a:cubicBezTo>
                    <a:cubicBezTo>
                      <a:pt x="187" y="33"/>
                      <a:pt x="187" y="33"/>
                      <a:pt x="187" y="33"/>
                    </a:cubicBezTo>
                    <a:cubicBezTo>
                      <a:pt x="187" y="33"/>
                      <a:pt x="190" y="32"/>
                      <a:pt x="192" y="32"/>
                    </a:cubicBezTo>
                    <a:cubicBezTo>
                      <a:pt x="194" y="31"/>
                      <a:pt x="194" y="29"/>
                      <a:pt x="194" y="29"/>
                    </a:cubicBezTo>
                    <a:cubicBezTo>
                      <a:pt x="194" y="29"/>
                      <a:pt x="195" y="30"/>
                      <a:pt x="197" y="32"/>
                    </a:cubicBezTo>
                    <a:cubicBezTo>
                      <a:pt x="198" y="35"/>
                      <a:pt x="196" y="34"/>
                      <a:pt x="196" y="35"/>
                    </a:cubicBezTo>
                    <a:cubicBezTo>
                      <a:pt x="195" y="36"/>
                      <a:pt x="193" y="39"/>
                      <a:pt x="193" y="39"/>
                    </a:cubicBezTo>
                    <a:cubicBezTo>
                      <a:pt x="193" y="39"/>
                      <a:pt x="194" y="41"/>
                      <a:pt x="196" y="41"/>
                    </a:cubicBezTo>
                    <a:cubicBezTo>
                      <a:pt x="197" y="41"/>
                      <a:pt x="196" y="42"/>
                      <a:pt x="198" y="44"/>
                    </a:cubicBezTo>
                    <a:cubicBezTo>
                      <a:pt x="199" y="45"/>
                      <a:pt x="203" y="46"/>
                      <a:pt x="203" y="46"/>
                    </a:cubicBezTo>
                    <a:cubicBezTo>
                      <a:pt x="206" y="46"/>
                      <a:pt x="206" y="46"/>
                      <a:pt x="206" y="46"/>
                    </a:cubicBezTo>
                    <a:cubicBezTo>
                      <a:pt x="209" y="43"/>
                      <a:pt x="209" y="43"/>
                      <a:pt x="209" y="43"/>
                    </a:cubicBezTo>
                    <a:cubicBezTo>
                      <a:pt x="209" y="43"/>
                      <a:pt x="212" y="44"/>
                      <a:pt x="213" y="45"/>
                    </a:cubicBezTo>
                    <a:cubicBezTo>
                      <a:pt x="214" y="46"/>
                      <a:pt x="219" y="48"/>
                      <a:pt x="219" y="48"/>
                    </a:cubicBezTo>
                    <a:cubicBezTo>
                      <a:pt x="227" y="46"/>
                      <a:pt x="227" y="46"/>
                      <a:pt x="227" y="46"/>
                    </a:cubicBezTo>
                    <a:cubicBezTo>
                      <a:pt x="228" y="54"/>
                      <a:pt x="228" y="54"/>
                      <a:pt x="228" y="54"/>
                    </a:cubicBezTo>
                    <a:cubicBezTo>
                      <a:pt x="228" y="54"/>
                      <a:pt x="230" y="54"/>
                      <a:pt x="232" y="57"/>
                    </a:cubicBezTo>
                    <a:cubicBezTo>
                      <a:pt x="234" y="59"/>
                      <a:pt x="233" y="57"/>
                      <a:pt x="233" y="57"/>
                    </a:cubicBezTo>
                    <a:cubicBezTo>
                      <a:pt x="233" y="57"/>
                      <a:pt x="237" y="59"/>
                      <a:pt x="237" y="60"/>
                    </a:cubicBezTo>
                    <a:cubicBezTo>
                      <a:pt x="237" y="62"/>
                      <a:pt x="238" y="64"/>
                      <a:pt x="238" y="64"/>
                    </a:cubicBezTo>
                    <a:cubicBezTo>
                      <a:pt x="240" y="68"/>
                      <a:pt x="240" y="68"/>
                      <a:pt x="240" y="68"/>
                    </a:cubicBezTo>
                    <a:cubicBezTo>
                      <a:pt x="239" y="68"/>
                      <a:pt x="237" y="68"/>
                      <a:pt x="236" y="68"/>
                    </a:cubicBezTo>
                    <a:cubicBezTo>
                      <a:pt x="236" y="68"/>
                      <a:pt x="235" y="69"/>
                      <a:pt x="234" y="69"/>
                    </a:cubicBezTo>
                    <a:cubicBezTo>
                      <a:pt x="233" y="69"/>
                      <a:pt x="232" y="69"/>
                      <a:pt x="232" y="69"/>
                    </a:cubicBezTo>
                    <a:cubicBezTo>
                      <a:pt x="229" y="70"/>
                      <a:pt x="229" y="70"/>
                      <a:pt x="229" y="70"/>
                    </a:cubicBezTo>
                    <a:cubicBezTo>
                      <a:pt x="227" y="72"/>
                      <a:pt x="227" y="72"/>
                      <a:pt x="227" y="72"/>
                    </a:cubicBezTo>
                    <a:cubicBezTo>
                      <a:pt x="225" y="74"/>
                      <a:pt x="225" y="74"/>
                      <a:pt x="225" y="74"/>
                    </a:cubicBezTo>
                    <a:cubicBezTo>
                      <a:pt x="223" y="78"/>
                      <a:pt x="223" y="78"/>
                      <a:pt x="223" y="78"/>
                    </a:cubicBezTo>
                    <a:cubicBezTo>
                      <a:pt x="223" y="80"/>
                      <a:pt x="223" y="80"/>
                      <a:pt x="223" y="80"/>
                    </a:cubicBezTo>
                    <a:cubicBezTo>
                      <a:pt x="220" y="83"/>
                      <a:pt x="220" y="83"/>
                      <a:pt x="220" y="83"/>
                    </a:cubicBezTo>
                    <a:cubicBezTo>
                      <a:pt x="220" y="83"/>
                      <a:pt x="217" y="85"/>
                      <a:pt x="216" y="85"/>
                    </a:cubicBezTo>
                    <a:cubicBezTo>
                      <a:pt x="215" y="85"/>
                      <a:pt x="215" y="89"/>
                      <a:pt x="215" y="89"/>
                    </a:cubicBezTo>
                    <a:cubicBezTo>
                      <a:pt x="216" y="92"/>
                      <a:pt x="216" y="92"/>
                      <a:pt x="216" y="92"/>
                    </a:cubicBezTo>
                    <a:cubicBezTo>
                      <a:pt x="215" y="97"/>
                      <a:pt x="215" y="97"/>
                      <a:pt x="215" y="97"/>
                    </a:cubicBezTo>
                    <a:cubicBezTo>
                      <a:pt x="210" y="99"/>
                      <a:pt x="210" y="99"/>
                      <a:pt x="210" y="99"/>
                    </a:cubicBezTo>
                    <a:cubicBezTo>
                      <a:pt x="209" y="102"/>
                      <a:pt x="209" y="102"/>
                      <a:pt x="209" y="102"/>
                    </a:cubicBezTo>
                    <a:cubicBezTo>
                      <a:pt x="208" y="104"/>
                      <a:pt x="208" y="104"/>
                      <a:pt x="208" y="104"/>
                    </a:cubicBezTo>
                    <a:cubicBezTo>
                      <a:pt x="208" y="104"/>
                      <a:pt x="206" y="105"/>
                      <a:pt x="206" y="105"/>
                    </a:cubicBezTo>
                    <a:cubicBezTo>
                      <a:pt x="205" y="104"/>
                      <a:pt x="205" y="107"/>
                      <a:pt x="205" y="107"/>
                    </a:cubicBezTo>
                    <a:cubicBezTo>
                      <a:pt x="203" y="109"/>
                      <a:pt x="203" y="109"/>
                      <a:pt x="203" y="109"/>
                    </a:cubicBezTo>
                    <a:cubicBezTo>
                      <a:pt x="202" y="109"/>
                      <a:pt x="202" y="109"/>
                      <a:pt x="202" y="109"/>
                    </a:cubicBezTo>
                    <a:cubicBezTo>
                      <a:pt x="200" y="110"/>
                      <a:pt x="200" y="110"/>
                      <a:pt x="200" y="110"/>
                    </a:cubicBezTo>
                    <a:cubicBezTo>
                      <a:pt x="200" y="110"/>
                      <a:pt x="199" y="111"/>
                      <a:pt x="198" y="111"/>
                    </a:cubicBezTo>
                    <a:cubicBezTo>
                      <a:pt x="198" y="112"/>
                      <a:pt x="197" y="111"/>
                      <a:pt x="197" y="111"/>
                    </a:cubicBezTo>
                    <a:cubicBezTo>
                      <a:pt x="197" y="111"/>
                      <a:pt x="195" y="110"/>
                      <a:pt x="194" y="110"/>
                    </a:cubicBezTo>
                    <a:cubicBezTo>
                      <a:pt x="194" y="110"/>
                      <a:pt x="194" y="111"/>
                      <a:pt x="193" y="111"/>
                    </a:cubicBezTo>
                    <a:cubicBezTo>
                      <a:pt x="193" y="111"/>
                      <a:pt x="193" y="111"/>
                      <a:pt x="192" y="112"/>
                    </a:cubicBezTo>
                    <a:cubicBezTo>
                      <a:pt x="192" y="112"/>
                      <a:pt x="191" y="111"/>
                      <a:pt x="190" y="111"/>
                    </a:cubicBezTo>
                    <a:cubicBezTo>
                      <a:pt x="189" y="111"/>
                      <a:pt x="189" y="110"/>
                      <a:pt x="189" y="110"/>
                    </a:cubicBezTo>
                    <a:cubicBezTo>
                      <a:pt x="188" y="110"/>
                      <a:pt x="187" y="110"/>
                      <a:pt x="187" y="110"/>
                    </a:cubicBezTo>
                    <a:cubicBezTo>
                      <a:pt x="186" y="110"/>
                      <a:pt x="185" y="110"/>
                      <a:pt x="185" y="110"/>
                    </a:cubicBezTo>
                    <a:cubicBezTo>
                      <a:pt x="185" y="110"/>
                      <a:pt x="184" y="111"/>
                      <a:pt x="184" y="111"/>
                    </a:cubicBezTo>
                    <a:cubicBezTo>
                      <a:pt x="182" y="112"/>
                      <a:pt x="182" y="112"/>
                      <a:pt x="182" y="112"/>
                    </a:cubicBezTo>
                    <a:cubicBezTo>
                      <a:pt x="182" y="112"/>
                      <a:pt x="182" y="113"/>
                      <a:pt x="182" y="114"/>
                    </a:cubicBezTo>
                    <a:cubicBezTo>
                      <a:pt x="182" y="114"/>
                      <a:pt x="182" y="115"/>
                      <a:pt x="181" y="115"/>
                    </a:cubicBezTo>
                    <a:cubicBezTo>
                      <a:pt x="181" y="115"/>
                      <a:pt x="180" y="117"/>
                      <a:pt x="180" y="117"/>
                    </a:cubicBezTo>
                    <a:cubicBezTo>
                      <a:pt x="180" y="117"/>
                      <a:pt x="180" y="120"/>
                      <a:pt x="179" y="120"/>
                    </a:cubicBezTo>
                    <a:cubicBezTo>
                      <a:pt x="179" y="120"/>
                      <a:pt x="179" y="121"/>
                      <a:pt x="179" y="121"/>
                    </a:cubicBezTo>
                    <a:cubicBezTo>
                      <a:pt x="179" y="123"/>
                      <a:pt x="179" y="123"/>
                      <a:pt x="179" y="123"/>
                    </a:cubicBezTo>
                    <a:cubicBezTo>
                      <a:pt x="179" y="124"/>
                      <a:pt x="179" y="124"/>
                      <a:pt x="179" y="124"/>
                    </a:cubicBezTo>
                    <a:cubicBezTo>
                      <a:pt x="177" y="123"/>
                      <a:pt x="177" y="123"/>
                      <a:pt x="177" y="123"/>
                    </a:cubicBezTo>
                    <a:cubicBezTo>
                      <a:pt x="175" y="117"/>
                      <a:pt x="175" y="117"/>
                      <a:pt x="175" y="117"/>
                    </a:cubicBezTo>
                    <a:cubicBezTo>
                      <a:pt x="175" y="117"/>
                      <a:pt x="172" y="118"/>
                      <a:pt x="169" y="118"/>
                    </a:cubicBezTo>
                    <a:cubicBezTo>
                      <a:pt x="166" y="117"/>
                      <a:pt x="164" y="115"/>
                      <a:pt x="163" y="115"/>
                    </a:cubicBezTo>
                    <a:cubicBezTo>
                      <a:pt x="163" y="114"/>
                      <a:pt x="159" y="115"/>
                      <a:pt x="159" y="115"/>
                    </a:cubicBezTo>
                    <a:cubicBezTo>
                      <a:pt x="158" y="119"/>
                      <a:pt x="158" y="119"/>
                      <a:pt x="158" y="119"/>
                    </a:cubicBezTo>
                    <a:cubicBezTo>
                      <a:pt x="147" y="118"/>
                      <a:pt x="147" y="118"/>
                      <a:pt x="147" y="118"/>
                    </a:cubicBezTo>
                    <a:cubicBezTo>
                      <a:pt x="143" y="116"/>
                      <a:pt x="143" y="116"/>
                      <a:pt x="143" y="116"/>
                    </a:cubicBezTo>
                    <a:cubicBezTo>
                      <a:pt x="136" y="113"/>
                      <a:pt x="136" y="113"/>
                      <a:pt x="136" y="113"/>
                    </a:cubicBezTo>
                    <a:cubicBezTo>
                      <a:pt x="134" y="112"/>
                      <a:pt x="134" y="112"/>
                      <a:pt x="134" y="112"/>
                    </a:cubicBezTo>
                    <a:cubicBezTo>
                      <a:pt x="134" y="112"/>
                      <a:pt x="130" y="112"/>
                      <a:pt x="129" y="112"/>
                    </a:cubicBezTo>
                    <a:cubicBezTo>
                      <a:pt x="128" y="112"/>
                      <a:pt x="124" y="111"/>
                      <a:pt x="124" y="111"/>
                    </a:cubicBezTo>
                    <a:cubicBezTo>
                      <a:pt x="124" y="111"/>
                      <a:pt x="120" y="110"/>
                      <a:pt x="119" y="110"/>
                    </a:cubicBezTo>
                    <a:cubicBezTo>
                      <a:pt x="118" y="110"/>
                      <a:pt x="116" y="110"/>
                      <a:pt x="116" y="110"/>
                    </a:cubicBezTo>
                    <a:cubicBezTo>
                      <a:pt x="111" y="109"/>
                      <a:pt x="111" y="109"/>
                      <a:pt x="111" y="109"/>
                    </a:cubicBezTo>
                    <a:cubicBezTo>
                      <a:pt x="111" y="109"/>
                      <a:pt x="108" y="107"/>
                      <a:pt x="106" y="108"/>
                    </a:cubicBezTo>
                    <a:cubicBezTo>
                      <a:pt x="105" y="108"/>
                      <a:pt x="106" y="111"/>
                      <a:pt x="106" y="111"/>
                    </a:cubicBezTo>
                    <a:cubicBezTo>
                      <a:pt x="106" y="111"/>
                      <a:pt x="105" y="116"/>
                      <a:pt x="106" y="117"/>
                    </a:cubicBezTo>
                    <a:cubicBezTo>
                      <a:pt x="106" y="119"/>
                      <a:pt x="104" y="121"/>
                      <a:pt x="104" y="121"/>
                    </a:cubicBezTo>
                    <a:cubicBezTo>
                      <a:pt x="101" y="122"/>
                      <a:pt x="101" y="122"/>
                      <a:pt x="101" y="122"/>
                    </a:cubicBezTo>
                    <a:cubicBezTo>
                      <a:pt x="101" y="122"/>
                      <a:pt x="99" y="125"/>
                      <a:pt x="98" y="125"/>
                    </a:cubicBezTo>
                    <a:cubicBezTo>
                      <a:pt x="97" y="125"/>
                      <a:pt x="97" y="131"/>
                      <a:pt x="97" y="131"/>
                    </a:cubicBezTo>
                    <a:cubicBezTo>
                      <a:pt x="93" y="132"/>
                      <a:pt x="93" y="132"/>
                      <a:pt x="93" y="132"/>
                    </a:cubicBezTo>
                    <a:cubicBezTo>
                      <a:pt x="89" y="129"/>
                      <a:pt x="89" y="129"/>
                      <a:pt x="89" y="129"/>
                    </a:cubicBezTo>
                    <a:cubicBezTo>
                      <a:pt x="86" y="131"/>
                      <a:pt x="86" y="131"/>
                      <a:pt x="86" y="131"/>
                    </a:cubicBezTo>
                    <a:cubicBezTo>
                      <a:pt x="85" y="133"/>
                      <a:pt x="85" y="133"/>
                      <a:pt x="85" y="133"/>
                    </a:cubicBezTo>
                    <a:cubicBezTo>
                      <a:pt x="85" y="133"/>
                      <a:pt x="80" y="132"/>
                      <a:pt x="80" y="132"/>
                    </a:cubicBezTo>
                    <a:cubicBezTo>
                      <a:pt x="79" y="132"/>
                      <a:pt x="74" y="131"/>
                      <a:pt x="74" y="131"/>
                    </a:cubicBezTo>
                    <a:cubicBezTo>
                      <a:pt x="74" y="131"/>
                      <a:pt x="71" y="128"/>
                      <a:pt x="70" y="127"/>
                    </a:cubicBezTo>
                    <a:cubicBezTo>
                      <a:pt x="69" y="126"/>
                      <a:pt x="65" y="124"/>
                      <a:pt x="64" y="123"/>
                    </a:cubicBezTo>
                    <a:cubicBezTo>
                      <a:pt x="63" y="123"/>
                      <a:pt x="63" y="122"/>
                      <a:pt x="63" y="122"/>
                    </a:cubicBezTo>
                    <a:cubicBezTo>
                      <a:pt x="61" y="120"/>
                      <a:pt x="62" y="120"/>
                      <a:pt x="60" y="119"/>
                    </a:cubicBezTo>
                    <a:cubicBezTo>
                      <a:pt x="58" y="118"/>
                      <a:pt x="56" y="118"/>
                      <a:pt x="56" y="117"/>
                    </a:cubicBezTo>
                    <a:cubicBezTo>
                      <a:pt x="56" y="116"/>
                      <a:pt x="57" y="114"/>
                      <a:pt x="55" y="114"/>
                    </a:cubicBezTo>
                    <a:cubicBezTo>
                      <a:pt x="52" y="115"/>
                      <a:pt x="51" y="116"/>
                      <a:pt x="50" y="115"/>
                    </a:cubicBezTo>
                    <a:cubicBezTo>
                      <a:pt x="48" y="113"/>
                      <a:pt x="48" y="113"/>
                      <a:pt x="47" y="111"/>
                    </a:cubicBezTo>
                    <a:cubicBezTo>
                      <a:pt x="47" y="109"/>
                      <a:pt x="47" y="107"/>
                      <a:pt x="45" y="107"/>
                    </a:cubicBezTo>
                    <a:cubicBezTo>
                      <a:pt x="43" y="107"/>
                      <a:pt x="42" y="106"/>
                      <a:pt x="42" y="106"/>
                    </a:cubicBezTo>
                    <a:cubicBezTo>
                      <a:pt x="42" y="106"/>
                      <a:pt x="41" y="107"/>
                      <a:pt x="40" y="105"/>
                    </a:cubicBezTo>
                    <a:cubicBezTo>
                      <a:pt x="39" y="102"/>
                      <a:pt x="42" y="104"/>
                      <a:pt x="39" y="100"/>
                    </a:cubicBezTo>
                    <a:cubicBezTo>
                      <a:pt x="35" y="97"/>
                      <a:pt x="36" y="98"/>
                      <a:pt x="34" y="96"/>
                    </a:cubicBezTo>
                    <a:cubicBezTo>
                      <a:pt x="32" y="94"/>
                      <a:pt x="26" y="96"/>
                      <a:pt x="26" y="96"/>
                    </a:cubicBezTo>
                    <a:cubicBezTo>
                      <a:pt x="26" y="96"/>
                      <a:pt x="26" y="95"/>
                      <a:pt x="24" y="93"/>
                    </a:cubicBezTo>
                    <a:cubicBezTo>
                      <a:pt x="22" y="91"/>
                      <a:pt x="23" y="92"/>
                      <a:pt x="21" y="90"/>
                    </a:cubicBezTo>
                    <a:cubicBezTo>
                      <a:pt x="19" y="87"/>
                      <a:pt x="19" y="88"/>
                      <a:pt x="19" y="85"/>
                    </a:cubicBezTo>
                    <a:cubicBezTo>
                      <a:pt x="18" y="82"/>
                      <a:pt x="19" y="81"/>
                      <a:pt x="17" y="79"/>
                    </a:cubicBezTo>
                    <a:cubicBezTo>
                      <a:pt x="15" y="77"/>
                      <a:pt x="14" y="75"/>
                      <a:pt x="14" y="75"/>
                    </a:cubicBezTo>
                    <a:cubicBezTo>
                      <a:pt x="14" y="75"/>
                      <a:pt x="12" y="73"/>
                      <a:pt x="14" y="70"/>
                    </a:cubicBezTo>
                    <a:cubicBezTo>
                      <a:pt x="16" y="68"/>
                      <a:pt x="16" y="68"/>
                      <a:pt x="16" y="66"/>
                    </a:cubicBezTo>
                    <a:cubicBezTo>
                      <a:pt x="16" y="65"/>
                      <a:pt x="17" y="63"/>
                      <a:pt x="14" y="61"/>
                    </a:cubicBezTo>
                    <a:cubicBezTo>
                      <a:pt x="11" y="59"/>
                      <a:pt x="11" y="59"/>
                      <a:pt x="8" y="57"/>
                    </a:cubicBezTo>
                    <a:cubicBezTo>
                      <a:pt x="6" y="56"/>
                      <a:pt x="5" y="56"/>
                      <a:pt x="4" y="55"/>
                    </a:cubicBezTo>
                    <a:cubicBezTo>
                      <a:pt x="3" y="54"/>
                      <a:pt x="1" y="47"/>
                      <a:pt x="1" y="47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7" y="51"/>
                      <a:pt x="7" y="51"/>
                      <a:pt x="7" y="51"/>
                    </a:cubicBezTo>
                    <a:cubicBezTo>
                      <a:pt x="10" y="45"/>
                      <a:pt x="10" y="45"/>
                      <a:pt x="10" y="45"/>
                    </a:cubicBezTo>
                    <a:cubicBezTo>
                      <a:pt x="14" y="40"/>
                      <a:pt x="14" y="40"/>
                      <a:pt x="14" y="40"/>
                    </a:cubicBezTo>
                    <a:cubicBezTo>
                      <a:pt x="14" y="40"/>
                      <a:pt x="14" y="40"/>
                      <a:pt x="17" y="40"/>
                    </a:cubicBezTo>
                    <a:cubicBezTo>
                      <a:pt x="19" y="40"/>
                      <a:pt x="22" y="38"/>
                      <a:pt x="23" y="38"/>
                    </a:cubicBezTo>
                    <a:cubicBezTo>
                      <a:pt x="25" y="38"/>
                      <a:pt x="28" y="39"/>
                      <a:pt x="29" y="39"/>
                    </a:cubicBezTo>
                    <a:cubicBezTo>
                      <a:pt x="31" y="38"/>
                      <a:pt x="32" y="38"/>
                      <a:pt x="32" y="36"/>
                    </a:cubicBezTo>
                    <a:cubicBezTo>
                      <a:pt x="33" y="35"/>
                      <a:pt x="31" y="33"/>
                      <a:pt x="35" y="32"/>
                    </a:cubicBezTo>
                    <a:cubicBezTo>
                      <a:pt x="38" y="30"/>
                      <a:pt x="39" y="30"/>
                      <a:pt x="39" y="30"/>
                    </a:cubicBezTo>
                    <a:lnTo>
                      <a:pt x="43" y="27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59" name="Freeform 41">
                <a:extLst>
                  <a:ext uri="{FF2B5EF4-FFF2-40B4-BE49-F238E27FC236}">
                    <a16:creationId xmlns:a16="http://schemas.microsoft.com/office/drawing/2014/main" id="{FC358D68-E286-6312-DC64-7958E01582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0964" y="1955098"/>
                <a:ext cx="406254" cy="303640"/>
              </a:xfrm>
              <a:custGeom>
                <a:avLst/>
                <a:gdLst>
                  <a:gd name="T0" fmla="*/ 24 w 181"/>
                  <a:gd name="T1" fmla="*/ 22 h 140"/>
                  <a:gd name="T2" fmla="*/ 34 w 181"/>
                  <a:gd name="T3" fmla="*/ 20 h 140"/>
                  <a:gd name="T4" fmla="*/ 48 w 181"/>
                  <a:gd name="T5" fmla="*/ 17 h 140"/>
                  <a:gd name="T6" fmla="*/ 55 w 181"/>
                  <a:gd name="T7" fmla="*/ 16 h 140"/>
                  <a:gd name="T8" fmla="*/ 62 w 181"/>
                  <a:gd name="T9" fmla="*/ 15 h 140"/>
                  <a:gd name="T10" fmla="*/ 73 w 181"/>
                  <a:gd name="T11" fmla="*/ 13 h 140"/>
                  <a:gd name="T12" fmla="*/ 81 w 181"/>
                  <a:gd name="T13" fmla="*/ 13 h 140"/>
                  <a:gd name="T14" fmla="*/ 92 w 181"/>
                  <a:gd name="T15" fmla="*/ 15 h 140"/>
                  <a:gd name="T16" fmla="*/ 101 w 181"/>
                  <a:gd name="T17" fmla="*/ 12 h 140"/>
                  <a:gd name="T18" fmla="*/ 105 w 181"/>
                  <a:gd name="T19" fmla="*/ 3 h 140"/>
                  <a:gd name="T20" fmla="*/ 112 w 181"/>
                  <a:gd name="T21" fmla="*/ 6 h 140"/>
                  <a:gd name="T22" fmla="*/ 117 w 181"/>
                  <a:gd name="T23" fmla="*/ 10 h 140"/>
                  <a:gd name="T24" fmla="*/ 128 w 181"/>
                  <a:gd name="T25" fmla="*/ 11 h 140"/>
                  <a:gd name="T26" fmla="*/ 135 w 181"/>
                  <a:gd name="T27" fmla="*/ 10 h 140"/>
                  <a:gd name="T28" fmla="*/ 139 w 181"/>
                  <a:gd name="T29" fmla="*/ 14 h 140"/>
                  <a:gd name="T30" fmla="*/ 146 w 181"/>
                  <a:gd name="T31" fmla="*/ 17 h 140"/>
                  <a:gd name="T32" fmla="*/ 153 w 181"/>
                  <a:gd name="T33" fmla="*/ 22 h 140"/>
                  <a:gd name="T34" fmla="*/ 158 w 181"/>
                  <a:gd name="T35" fmla="*/ 27 h 140"/>
                  <a:gd name="T36" fmla="*/ 167 w 181"/>
                  <a:gd name="T37" fmla="*/ 28 h 140"/>
                  <a:gd name="T38" fmla="*/ 170 w 181"/>
                  <a:gd name="T39" fmla="*/ 28 h 140"/>
                  <a:gd name="T40" fmla="*/ 172 w 181"/>
                  <a:gd name="T41" fmla="*/ 37 h 140"/>
                  <a:gd name="T42" fmla="*/ 170 w 181"/>
                  <a:gd name="T43" fmla="*/ 47 h 140"/>
                  <a:gd name="T44" fmla="*/ 180 w 181"/>
                  <a:gd name="T45" fmla="*/ 47 h 140"/>
                  <a:gd name="T46" fmla="*/ 177 w 181"/>
                  <a:gd name="T47" fmla="*/ 53 h 140"/>
                  <a:gd name="T48" fmla="*/ 170 w 181"/>
                  <a:gd name="T49" fmla="*/ 57 h 140"/>
                  <a:gd name="T50" fmla="*/ 167 w 181"/>
                  <a:gd name="T51" fmla="*/ 67 h 140"/>
                  <a:gd name="T52" fmla="*/ 157 w 181"/>
                  <a:gd name="T53" fmla="*/ 74 h 140"/>
                  <a:gd name="T54" fmla="*/ 156 w 181"/>
                  <a:gd name="T55" fmla="*/ 82 h 140"/>
                  <a:gd name="T56" fmla="*/ 158 w 181"/>
                  <a:gd name="T57" fmla="*/ 95 h 140"/>
                  <a:gd name="T58" fmla="*/ 157 w 181"/>
                  <a:gd name="T59" fmla="*/ 104 h 140"/>
                  <a:gd name="T60" fmla="*/ 164 w 181"/>
                  <a:gd name="T61" fmla="*/ 107 h 140"/>
                  <a:gd name="T62" fmla="*/ 157 w 181"/>
                  <a:gd name="T63" fmla="*/ 114 h 140"/>
                  <a:gd name="T64" fmla="*/ 156 w 181"/>
                  <a:gd name="T65" fmla="*/ 108 h 140"/>
                  <a:gd name="T66" fmla="*/ 146 w 181"/>
                  <a:gd name="T67" fmla="*/ 113 h 140"/>
                  <a:gd name="T68" fmla="*/ 144 w 181"/>
                  <a:gd name="T69" fmla="*/ 119 h 140"/>
                  <a:gd name="T70" fmla="*/ 136 w 181"/>
                  <a:gd name="T71" fmla="*/ 121 h 140"/>
                  <a:gd name="T72" fmla="*/ 133 w 181"/>
                  <a:gd name="T73" fmla="*/ 128 h 140"/>
                  <a:gd name="T74" fmla="*/ 122 w 181"/>
                  <a:gd name="T75" fmla="*/ 134 h 140"/>
                  <a:gd name="T76" fmla="*/ 106 w 181"/>
                  <a:gd name="T77" fmla="*/ 137 h 140"/>
                  <a:gd name="T78" fmla="*/ 97 w 181"/>
                  <a:gd name="T79" fmla="*/ 140 h 140"/>
                  <a:gd name="T80" fmla="*/ 93 w 181"/>
                  <a:gd name="T81" fmla="*/ 131 h 140"/>
                  <a:gd name="T82" fmla="*/ 79 w 181"/>
                  <a:gd name="T83" fmla="*/ 124 h 140"/>
                  <a:gd name="T84" fmla="*/ 73 w 181"/>
                  <a:gd name="T85" fmla="*/ 121 h 140"/>
                  <a:gd name="T86" fmla="*/ 69 w 181"/>
                  <a:gd name="T87" fmla="*/ 121 h 140"/>
                  <a:gd name="T88" fmla="*/ 66 w 181"/>
                  <a:gd name="T89" fmla="*/ 107 h 140"/>
                  <a:gd name="T90" fmla="*/ 68 w 181"/>
                  <a:gd name="T91" fmla="*/ 97 h 140"/>
                  <a:gd name="T92" fmla="*/ 61 w 181"/>
                  <a:gd name="T93" fmla="*/ 90 h 140"/>
                  <a:gd name="T94" fmla="*/ 56 w 181"/>
                  <a:gd name="T95" fmla="*/ 86 h 140"/>
                  <a:gd name="T96" fmla="*/ 45 w 181"/>
                  <a:gd name="T97" fmla="*/ 89 h 140"/>
                  <a:gd name="T98" fmla="*/ 31 w 181"/>
                  <a:gd name="T99" fmla="*/ 90 h 140"/>
                  <a:gd name="T100" fmla="*/ 22 w 181"/>
                  <a:gd name="T101" fmla="*/ 86 h 140"/>
                  <a:gd name="T102" fmla="*/ 13 w 181"/>
                  <a:gd name="T103" fmla="*/ 79 h 140"/>
                  <a:gd name="T104" fmla="*/ 11 w 181"/>
                  <a:gd name="T105" fmla="*/ 69 h 140"/>
                  <a:gd name="T106" fmla="*/ 4 w 181"/>
                  <a:gd name="T107" fmla="*/ 60 h 140"/>
                  <a:gd name="T108" fmla="*/ 1 w 181"/>
                  <a:gd name="T109" fmla="*/ 49 h 140"/>
                  <a:gd name="T110" fmla="*/ 1 w 181"/>
                  <a:gd name="T111" fmla="*/ 42 h 140"/>
                  <a:gd name="T112" fmla="*/ 7 w 181"/>
                  <a:gd name="T113" fmla="*/ 35 h 140"/>
                  <a:gd name="T114" fmla="*/ 12 w 181"/>
                  <a:gd name="T115" fmla="*/ 31 h 140"/>
                  <a:gd name="T116" fmla="*/ 18 w 181"/>
                  <a:gd name="T117" fmla="*/ 26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1" h="140">
                    <a:moveTo>
                      <a:pt x="18" y="26"/>
                    </a:moveTo>
                    <a:cubicBezTo>
                      <a:pt x="24" y="22"/>
                      <a:pt x="24" y="22"/>
                      <a:pt x="24" y="22"/>
                    </a:cubicBezTo>
                    <a:cubicBezTo>
                      <a:pt x="27" y="19"/>
                      <a:pt x="27" y="19"/>
                      <a:pt x="27" y="19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4" y="20"/>
                      <a:pt x="39" y="18"/>
                      <a:pt x="40" y="18"/>
                    </a:cubicBezTo>
                    <a:cubicBezTo>
                      <a:pt x="41" y="18"/>
                      <a:pt x="48" y="17"/>
                      <a:pt x="48" y="17"/>
                    </a:cubicBezTo>
                    <a:cubicBezTo>
                      <a:pt x="52" y="14"/>
                      <a:pt x="52" y="14"/>
                      <a:pt x="52" y="14"/>
                    </a:cubicBezTo>
                    <a:cubicBezTo>
                      <a:pt x="52" y="14"/>
                      <a:pt x="55" y="15"/>
                      <a:pt x="55" y="16"/>
                    </a:cubicBezTo>
                    <a:cubicBezTo>
                      <a:pt x="56" y="17"/>
                      <a:pt x="59" y="20"/>
                      <a:pt x="60" y="20"/>
                    </a:cubicBezTo>
                    <a:cubicBezTo>
                      <a:pt x="61" y="19"/>
                      <a:pt x="62" y="15"/>
                      <a:pt x="62" y="15"/>
                    </a:cubicBezTo>
                    <a:cubicBezTo>
                      <a:pt x="68" y="14"/>
                      <a:pt x="68" y="14"/>
                      <a:pt x="68" y="14"/>
                    </a:cubicBezTo>
                    <a:cubicBezTo>
                      <a:pt x="73" y="13"/>
                      <a:pt x="73" y="13"/>
                      <a:pt x="73" y="13"/>
                    </a:cubicBezTo>
                    <a:cubicBezTo>
                      <a:pt x="73" y="13"/>
                      <a:pt x="73" y="12"/>
                      <a:pt x="74" y="12"/>
                    </a:cubicBezTo>
                    <a:cubicBezTo>
                      <a:pt x="75" y="13"/>
                      <a:pt x="81" y="13"/>
                      <a:pt x="81" y="13"/>
                    </a:cubicBezTo>
                    <a:cubicBezTo>
                      <a:pt x="87" y="13"/>
                      <a:pt x="87" y="13"/>
                      <a:pt x="87" y="13"/>
                    </a:cubicBezTo>
                    <a:cubicBezTo>
                      <a:pt x="87" y="13"/>
                      <a:pt x="91" y="15"/>
                      <a:pt x="92" y="15"/>
                    </a:cubicBezTo>
                    <a:cubicBezTo>
                      <a:pt x="92" y="14"/>
                      <a:pt x="95" y="10"/>
                      <a:pt x="95" y="10"/>
                    </a:cubicBezTo>
                    <a:cubicBezTo>
                      <a:pt x="101" y="12"/>
                      <a:pt x="101" y="12"/>
                      <a:pt x="101" y="12"/>
                    </a:cubicBezTo>
                    <a:cubicBezTo>
                      <a:pt x="102" y="8"/>
                      <a:pt x="102" y="8"/>
                      <a:pt x="102" y="8"/>
                    </a:cubicBezTo>
                    <a:cubicBezTo>
                      <a:pt x="102" y="8"/>
                      <a:pt x="105" y="3"/>
                      <a:pt x="105" y="3"/>
                    </a:cubicBezTo>
                    <a:cubicBezTo>
                      <a:pt x="106" y="3"/>
                      <a:pt x="110" y="0"/>
                      <a:pt x="110" y="0"/>
                    </a:cubicBezTo>
                    <a:cubicBezTo>
                      <a:pt x="112" y="6"/>
                      <a:pt x="112" y="6"/>
                      <a:pt x="112" y="6"/>
                    </a:cubicBezTo>
                    <a:cubicBezTo>
                      <a:pt x="116" y="9"/>
                      <a:pt x="116" y="9"/>
                      <a:pt x="116" y="9"/>
                    </a:cubicBezTo>
                    <a:cubicBezTo>
                      <a:pt x="117" y="10"/>
                      <a:pt x="117" y="10"/>
                      <a:pt x="117" y="10"/>
                    </a:cubicBezTo>
                    <a:cubicBezTo>
                      <a:pt x="121" y="13"/>
                      <a:pt x="121" y="13"/>
                      <a:pt x="121" y="13"/>
                    </a:cubicBezTo>
                    <a:cubicBezTo>
                      <a:pt x="128" y="11"/>
                      <a:pt x="128" y="11"/>
                      <a:pt x="128" y="11"/>
                    </a:cubicBezTo>
                    <a:cubicBezTo>
                      <a:pt x="132" y="10"/>
                      <a:pt x="132" y="10"/>
                      <a:pt x="132" y="10"/>
                    </a:cubicBezTo>
                    <a:cubicBezTo>
                      <a:pt x="135" y="10"/>
                      <a:pt x="135" y="10"/>
                      <a:pt x="135" y="10"/>
                    </a:cubicBezTo>
                    <a:cubicBezTo>
                      <a:pt x="136" y="12"/>
                      <a:pt x="136" y="12"/>
                      <a:pt x="136" y="12"/>
                    </a:cubicBezTo>
                    <a:cubicBezTo>
                      <a:pt x="139" y="14"/>
                      <a:pt x="139" y="14"/>
                      <a:pt x="139" y="14"/>
                    </a:cubicBezTo>
                    <a:cubicBezTo>
                      <a:pt x="144" y="14"/>
                      <a:pt x="144" y="14"/>
                      <a:pt x="144" y="14"/>
                    </a:cubicBezTo>
                    <a:cubicBezTo>
                      <a:pt x="146" y="17"/>
                      <a:pt x="146" y="17"/>
                      <a:pt x="146" y="17"/>
                    </a:cubicBezTo>
                    <a:cubicBezTo>
                      <a:pt x="150" y="18"/>
                      <a:pt x="150" y="18"/>
                      <a:pt x="150" y="18"/>
                    </a:cubicBezTo>
                    <a:cubicBezTo>
                      <a:pt x="153" y="22"/>
                      <a:pt x="153" y="22"/>
                      <a:pt x="153" y="22"/>
                    </a:cubicBezTo>
                    <a:cubicBezTo>
                      <a:pt x="156" y="23"/>
                      <a:pt x="156" y="23"/>
                      <a:pt x="156" y="23"/>
                    </a:cubicBezTo>
                    <a:cubicBezTo>
                      <a:pt x="158" y="27"/>
                      <a:pt x="158" y="27"/>
                      <a:pt x="158" y="27"/>
                    </a:cubicBezTo>
                    <a:cubicBezTo>
                      <a:pt x="162" y="27"/>
                      <a:pt x="162" y="27"/>
                      <a:pt x="162" y="27"/>
                    </a:cubicBezTo>
                    <a:cubicBezTo>
                      <a:pt x="167" y="28"/>
                      <a:pt x="167" y="28"/>
                      <a:pt x="167" y="28"/>
                    </a:cubicBezTo>
                    <a:cubicBezTo>
                      <a:pt x="170" y="28"/>
                      <a:pt x="170" y="28"/>
                      <a:pt x="170" y="28"/>
                    </a:cubicBezTo>
                    <a:cubicBezTo>
                      <a:pt x="170" y="28"/>
                      <a:pt x="170" y="28"/>
                      <a:pt x="170" y="28"/>
                    </a:cubicBezTo>
                    <a:cubicBezTo>
                      <a:pt x="171" y="28"/>
                      <a:pt x="171" y="28"/>
                      <a:pt x="171" y="28"/>
                    </a:cubicBezTo>
                    <a:cubicBezTo>
                      <a:pt x="172" y="37"/>
                      <a:pt x="172" y="37"/>
                      <a:pt x="172" y="37"/>
                    </a:cubicBezTo>
                    <a:cubicBezTo>
                      <a:pt x="170" y="42"/>
                      <a:pt x="170" y="42"/>
                      <a:pt x="170" y="42"/>
                    </a:cubicBezTo>
                    <a:cubicBezTo>
                      <a:pt x="170" y="47"/>
                      <a:pt x="170" y="47"/>
                      <a:pt x="170" y="47"/>
                    </a:cubicBezTo>
                    <a:cubicBezTo>
                      <a:pt x="173" y="48"/>
                      <a:pt x="173" y="48"/>
                      <a:pt x="173" y="48"/>
                    </a:cubicBezTo>
                    <a:cubicBezTo>
                      <a:pt x="180" y="47"/>
                      <a:pt x="180" y="47"/>
                      <a:pt x="180" y="47"/>
                    </a:cubicBezTo>
                    <a:cubicBezTo>
                      <a:pt x="181" y="51"/>
                      <a:pt x="181" y="51"/>
                      <a:pt x="181" y="51"/>
                    </a:cubicBezTo>
                    <a:cubicBezTo>
                      <a:pt x="177" y="53"/>
                      <a:pt x="177" y="53"/>
                      <a:pt x="177" y="53"/>
                    </a:cubicBezTo>
                    <a:cubicBezTo>
                      <a:pt x="178" y="58"/>
                      <a:pt x="178" y="58"/>
                      <a:pt x="178" y="58"/>
                    </a:cubicBezTo>
                    <a:cubicBezTo>
                      <a:pt x="170" y="57"/>
                      <a:pt x="170" y="57"/>
                      <a:pt x="170" y="57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67"/>
                      <a:pt x="167" y="67"/>
                      <a:pt x="167" y="67"/>
                    </a:cubicBezTo>
                    <a:cubicBezTo>
                      <a:pt x="159" y="70"/>
                      <a:pt x="159" y="70"/>
                      <a:pt x="159" y="70"/>
                    </a:cubicBezTo>
                    <a:cubicBezTo>
                      <a:pt x="157" y="74"/>
                      <a:pt x="157" y="74"/>
                      <a:pt x="157" y="74"/>
                    </a:cubicBezTo>
                    <a:cubicBezTo>
                      <a:pt x="157" y="78"/>
                      <a:pt x="157" y="78"/>
                      <a:pt x="157" y="78"/>
                    </a:cubicBezTo>
                    <a:cubicBezTo>
                      <a:pt x="156" y="82"/>
                      <a:pt x="156" y="82"/>
                      <a:pt x="156" y="82"/>
                    </a:cubicBezTo>
                    <a:cubicBezTo>
                      <a:pt x="157" y="89"/>
                      <a:pt x="157" y="89"/>
                      <a:pt x="157" y="89"/>
                    </a:cubicBezTo>
                    <a:cubicBezTo>
                      <a:pt x="158" y="95"/>
                      <a:pt x="158" y="95"/>
                      <a:pt x="158" y="95"/>
                    </a:cubicBezTo>
                    <a:cubicBezTo>
                      <a:pt x="158" y="95"/>
                      <a:pt x="156" y="100"/>
                      <a:pt x="155" y="103"/>
                    </a:cubicBezTo>
                    <a:cubicBezTo>
                      <a:pt x="155" y="105"/>
                      <a:pt x="157" y="104"/>
                      <a:pt x="157" y="104"/>
                    </a:cubicBezTo>
                    <a:cubicBezTo>
                      <a:pt x="162" y="106"/>
                      <a:pt x="162" y="106"/>
                      <a:pt x="162" y="106"/>
                    </a:cubicBezTo>
                    <a:cubicBezTo>
                      <a:pt x="164" y="107"/>
                      <a:pt x="164" y="107"/>
                      <a:pt x="164" y="107"/>
                    </a:cubicBezTo>
                    <a:cubicBezTo>
                      <a:pt x="162" y="113"/>
                      <a:pt x="162" y="113"/>
                      <a:pt x="162" y="113"/>
                    </a:cubicBezTo>
                    <a:cubicBezTo>
                      <a:pt x="157" y="114"/>
                      <a:pt x="157" y="114"/>
                      <a:pt x="157" y="114"/>
                    </a:cubicBezTo>
                    <a:cubicBezTo>
                      <a:pt x="158" y="110"/>
                      <a:pt x="158" y="110"/>
                      <a:pt x="158" y="110"/>
                    </a:cubicBezTo>
                    <a:cubicBezTo>
                      <a:pt x="156" y="108"/>
                      <a:pt x="156" y="108"/>
                      <a:pt x="156" y="108"/>
                    </a:cubicBezTo>
                    <a:cubicBezTo>
                      <a:pt x="153" y="111"/>
                      <a:pt x="153" y="111"/>
                      <a:pt x="153" y="111"/>
                    </a:cubicBezTo>
                    <a:cubicBezTo>
                      <a:pt x="146" y="113"/>
                      <a:pt x="146" y="113"/>
                      <a:pt x="146" y="113"/>
                    </a:cubicBezTo>
                    <a:cubicBezTo>
                      <a:pt x="146" y="115"/>
                      <a:pt x="146" y="115"/>
                      <a:pt x="146" y="115"/>
                    </a:cubicBezTo>
                    <a:cubicBezTo>
                      <a:pt x="144" y="119"/>
                      <a:pt x="144" y="119"/>
                      <a:pt x="144" y="119"/>
                    </a:cubicBezTo>
                    <a:cubicBezTo>
                      <a:pt x="144" y="119"/>
                      <a:pt x="140" y="119"/>
                      <a:pt x="138" y="119"/>
                    </a:cubicBezTo>
                    <a:cubicBezTo>
                      <a:pt x="137" y="118"/>
                      <a:pt x="136" y="121"/>
                      <a:pt x="136" y="121"/>
                    </a:cubicBezTo>
                    <a:cubicBezTo>
                      <a:pt x="138" y="128"/>
                      <a:pt x="138" y="128"/>
                      <a:pt x="138" y="128"/>
                    </a:cubicBezTo>
                    <a:cubicBezTo>
                      <a:pt x="133" y="128"/>
                      <a:pt x="133" y="128"/>
                      <a:pt x="133" y="128"/>
                    </a:cubicBezTo>
                    <a:cubicBezTo>
                      <a:pt x="129" y="133"/>
                      <a:pt x="129" y="133"/>
                      <a:pt x="129" y="133"/>
                    </a:cubicBezTo>
                    <a:cubicBezTo>
                      <a:pt x="122" y="134"/>
                      <a:pt x="122" y="134"/>
                      <a:pt x="122" y="134"/>
                    </a:cubicBezTo>
                    <a:cubicBezTo>
                      <a:pt x="116" y="133"/>
                      <a:pt x="116" y="133"/>
                      <a:pt x="116" y="133"/>
                    </a:cubicBezTo>
                    <a:cubicBezTo>
                      <a:pt x="106" y="137"/>
                      <a:pt x="106" y="137"/>
                      <a:pt x="106" y="137"/>
                    </a:cubicBezTo>
                    <a:cubicBezTo>
                      <a:pt x="97" y="139"/>
                      <a:pt x="97" y="139"/>
                      <a:pt x="97" y="139"/>
                    </a:cubicBezTo>
                    <a:cubicBezTo>
                      <a:pt x="97" y="140"/>
                      <a:pt x="97" y="140"/>
                      <a:pt x="97" y="140"/>
                    </a:cubicBezTo>
                    <a:cubicBezTo>
                      <a:pt x="96" y="134"/>
                      <a:pt x="96" y="134"/>
                      <a:pt x="96" y="134"/>
                    </a:cubicBezTo>
                    <a:cubicBezTo>
                      <a:pt x="93" y="131"/>
                      <a:pt x="93" y="131"/>
                      <a:pt x="93" y="131"/>
                    </a:cubicBezTo>
                    <a:cubicBezTo>
                      <a:pt x="93" y="131"/>
                      <a:pt x="90" y="125"/>
                      <a:pt x="90" y="124"/>
                    </a:cubicBezTo>
                    <a:cubicBezTo>
                      <a:pt x="90" y="124"/>
                      <a:pt x="79" y="124"/>
                      <a:pt x="79" y="124"/>
                    </a:cubicBezTo>
                    <a:cubicBezTo>
                      <a:pt x="79" y="124"/>
                      <a:pt x="77" y="121"/>
                      <a:pt x="76" y="119"/>
                    </a:cubicBezTo>
                    <a:cubicBezTo>
                      <a:pt x="76" y="118"/>
                      <a:pt x="73" y="121"/>
                      <a:pt x="73" y="121"/>
                    </a:cubicBezTo>
                    <a:cubicBezTo>
                      <a:pt x="69" y="122"/>
                      <a:pt x="69" y="122"/>
                      <a:pt x="69" y="122"/>
                    </a:cubicBezTo>
                    <a:cubicBezTo>
                      <a:pt x="69" y="121"/>
                      <a:pt x="69" y="121"/>
                      <a:pt x="69" y="121"/>
                    </a:cubicBezTo>
                    <a:cubicBezTo>
                      <a:pt x="66" y="117"/>
                      <a:pt x="66" y="117"/>
                      <a:pt x="66" y="117"/>
                    </a:cubicBezTo>
                    <a:cubicBezTo>
                      <a:pt x="66" y="107"/>
                      <a:pt x="66" y="107"/>
                      <a:pt x="66" y="107"/>
                    </a:cubicBezTo>
                    <a:cubicBezTo>
                      <a:pt x="66" y="104"/>
                      <a:pt x="66" y="104"/>
                      <a:pt x="66" y="104"/>
                    </a:cubicBezTo>
                    <a:cubicBezTo>
                      <a:pt x="68" y="97"/>
                      <a:pt x="68" y="97"/>
                      <a:pt x="68" y="97"/>
                    </a:cubicBezTo>
                    <a:cubicBezTo>
                      <a:pt x="68" y="97"/>
                      <a:pt x="66" y="96"/>
                      <a:pt x="65" y="94"/>
                    </a:cubicBezTo>
                    <a:cubicBezTo>
                      <a:pt x="63" y="92"/>
                      <a:pt x="61" y="90"/>
                      <a:pt x="61" y="90"/>
                    </a:cubicBezTo>
                    <a:cubicBezTo>
                      <a:pt x="59" y="90"/>
                      <a:pt x="59" y="90"/>
                      <a:pt x="59" y="90"/>
                    </a:cubicBezTo>
                    <a:cubicBezTo>
                      <a:pt x="56" y="86"/>
                      <a:pt x="56" y="86"/>
                      <a:pt x="56" y="86"/>
                    </a:cubicBezTo>
                    <a:cubicBezTo>
                      <a:pt x="49" y="88"/>
                      <a:pt x="49" y="88"/>
                      <a:pt x="49" y="88"/>
                    </a:cubicBezTo>
                    <a:cubicBezTo>
                      <a:pt x="45" y="89"/>
                      <a:pt x="45" y="89"/>
                      <a:pt x="45" y="89"/>
                    </a:cubicBezTo>
                    <a:cubicBezTo>
                      <a:pt x="43" y="91"/>
                      <a:pt x="43" y="91"/>
                      <a:pt x="43" y="91"/>
                    </a:cubicBezTo>
                    <a:cubicBezTo>
                      <a:pt x="31" y="90"/>
                      <a:pt x="31" y="90"/>
                      <a:pt x="31" y="90"/>
                    </a:cubicBezTo>
                    <a:cubicBezTo>
                      <a:pt x="25" y="87"/>
                      <a:pt x="25" y="87"/>
                      <a:pt x="25" y="87"/>
                    </a:cubicBezTo>
                    <a:cubicBezTo>
                      <a:pt x="22" y="86"/>
                      <a:pt x="22" y="86"/>
                      <a:pt x="22" y="86"/>
                    </a:cubicBezTo>
                    <a:cubicBezTo>
                      <a:pt x="18" y="83"/>
                      <a:pt x="18" y="83"/>
                      <a:pt x="18" y="83"/>
                    </a:cubicBezTo>
                    <a:cubicBezTo>
                      <a:pt x="13" y="79"/>
                      <a:pt x="13" y="79"/>
                      <a:pt x="13" y="79"/>
                    </a:cubicBezTo>
                    <a:cubicBezTo>
                      <a:pt x="12" y="73"/>
                      <a:pt x="12" y="73"/>
                      <a:pt x="12" y="73"/>
                    </a:cubicBezTo>
                    <a:cubicBezTo>
                      <a:pt x="11" y="69"/>
                      <a:pt x="11" y="69"/>
                      <a:pt x="11" y="69"/>
                    </a:cubicBezTo>
                    <a:cubicBezTo>
                      <a:pt x="6" y="64"/>
                      <a:pt x="6" y="64"/>
                      <a:pt x="6" y="64"/>
                    </a:cubicBezTo>
                    <a:cubicBezTo>
                      <a:pt x="4" y="60"/>
                      <a:pt x="4" y="60"/>
                      <a:pt x="4" y="60"/>
                    </a:cubicBezTo>
                    <a:cubicBezTo>
                      <a:pt x="4" y="54"/>
                      <a:pt x="4" y="54"/>
                      <a:pt x="4" y="54"/>
                    </a:cubicBezTo>
                    <a:cubicBezTo>
                      <a:pt x="1" y="49"/>
                      <a:pt x="1" y="49"/>
                      <a:pt x="1" y="49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4"/>
                      <a:pt x="0" y="43"/>
                      <a:pt x="1" y="42"/>
                    </a:cubicBezTo>
                    <a:cubicBezTo>
                      <a:pt x="3" y="42"/>
                      <a:pt x="6" y="41"/>
                      <a:pt x="6" y="41"/>
                    </a:cubicBezTo>
                    <a:cubicBezTo>
                      <a:pt x="7" y="35"/>
                      <a:pt x="7" y="35"/>
                      <a:pt x="7" y="35"/>
                    </a:cubicBezTo>
                    <a:cubicBezTo>
                      <a:pt x="8" y="33"/>
                      <a:pt x="8" y="33"/>
                      <a:pt x="8" y="33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4" y="26"/>
                      <a:pt x="14" y="26"/>
                      <a:pt x="14" y="26"/>
                    </a:cubicBezTo>
                    <a:lnTo>
                      <a:pt x="18" y="26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60" name="Freeform 53">
                <a:extLst>
                  <a:ext uri="{FF2B5EF4-FFF2-40B4-BE49-F238E27FC236}">
                    <a16:creationId xmlns:a16="http://schemas.microsoft.com/office/drawing/2014/main" id="{3DA54FCA-08B0-BE01-206E-24F1842980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798803" y="1565601"/>
                <a:ext cx="394368" cy="260712"/>
              </a:xfrm>
              <a:custGeom>
                <a:avLst/>
                <a:gdLst>
                  <a:gd name="T0" fmla="*/ 39 w 176"/>
                  <a:gd name="T1" fmla="*/ 45 h 120"/>
                  <a:gd name="T2" fmla="*/ 46 w 176"/>
                  <a:gd name="T3" fmla="*/ 36 h 120"/>
                  <a:gd name="T4" fmla="*/ 51 w 176"/>
                  <a:gd name="T5" fmla="*/ 29 h 120"/>
                  <a:gd name="T6" fmla="*/ 59 w 176"/>
                  <a:gd name="T7" fmla="*/ 23 h 120"/>
                  <a:gd name="T8" fmla="*/ 69 w 176"/>
                  <a:gd name="T9" fmla="*/ 17 h 120"/>
                  <a:gd name="T10" fmla="*/ 81 w 176"/>
                  <a:gd name="T11" fmla="*/ 15 h 120"/>
                  <a:gd name="T12" fmla="*/ 89 w 176"/>
                  <a:gd name="T13" fmla="*/ 6 h 120"/>
                  <a:gd name="T14" fmla="*/ 97 w 176"/>
                  <a:gd name="T15" fmla="*/ 7 h 120"/>
                  <a:gd name="T16" fmla="*/ 109 w 176"/>
                  <a:gd name="T17" fmla="*/ 4 h 120"/>
                  <a:gd name="T18" fmla="*/ 128 w 176"/>
                  <a:gd name="T19" fmla="*/ 7 h 120"/>
                  <a:gd name="T20" fmla="*/ 154 w 176"/>
                  <a:gd name="T21" fmla="*/ 3 h 120"/>
                  <a:gd name="T22" fmla="*/ 157 w 176"/>
                  <a:gd name="T23" fmla="*/ 15 h 120"/>
                  <a:gd name="T24" fmla="*/ 162 w 176"/>
                  <a:gd name="T25" fmla="*/ 70 h 120"/>
                  <a:gd name="T26" fmla="*/ 171 w 176"/>
                  <a:gd name="T27" fmla="*/ 80 h 120"/>
                  <a:gd name="T28" fmla="*/ 168 w 176"/>
                  <a:gd name="T29" fmla="*/ 90 h 120"/>
                  <a:gd name="T30" fmla="*/ 165 w 176"/>
                  <a:gd name="T31" fmla="*/ 105 h 120"/>
                  <a:gd name="T32" fmla="*/ 146 w 176"/>
                  <a:gd name="T33" fmla="*/ 109 h 120"/>
                  <a:gd name="T34" fmla="*/ 124 w 176"/>
                  <a:gd name="T35" fmla="*/ 99 h 120"/>
                  <a:gd name="T36" fmla="*/ 102 w 176"/>
                  <a:gd name="T37" fmla="*/ 94 h 120"/>
                  <a:gd name="T38" fmla="*/ 78 w 176"/>
                  <a:gd name="T39" fmla="*/ 107 h 120"/>
                  <a:gd name="T40" fmla="*/ 77 w 176"/>
                  <a:gd name="T41" fmla="*/ 87 h 120"/>
                  <a:gd name="T42" fmla="*/ 71 w 176"/>
                  <a:gd name="T43" fmla="*/ 83 h 120"/>
                  <a:gd name="T44" fmla="*/ 61 w 176"/>
                  <a:gd name="T45" fmla="*/ 86 h 120"/>
                  <a:gd name="T46" fmla="*/ 48 w 176"/>
                  <a:gd name="T47" fmla="*/ 75 h 120"/>
                  <a:gd name="T48" fmla="*/ 48 w 176"/>
                  <a:gd name="T49" fmla="*/ 67 h 120"/>
                  <a:gd name="T50" fmla="*/ 53 w 176"/>
                  <a:gd name="T51" fmla="*/ 62 h 120"/>
                  <a:gd name="T52" fmla="*/ 42 w 176"/>
                  <a:gd name="T53" fmla="*/ 59 h 120"/>
                  <a:gd name="T54" fmla="*/ 45 w 176"/>
                  <a:gd name="T55" fmla="*/ 51 h 120"/>
                  <a:gd name="T56" fmla="*/ 23 w 176"/>
                  <a:gd name="T57" fmla="*/ 103 h 120"/>
                  <a:gd name="T58" fmla="*/ 22 w 176"/>
                  <a:gd name="T59" fmla="*/ 105 h 120"/>
                  <a:gd name="T60" fmla="*/ 64 w 176"/>
                  <a:gd name="T61" fmla="*/ 98 h 120"/>
                  <a:gd name="T62" fmla="*/ 9 w 176"/>
                  <a:gd name="T63" fmla="*/ 91 h 120"/>
                  <a:gd name="T64" fmla="*/ 4 w 176"/>
                  <a:gd name="T65" fmla="*/ 87 h 120"/>
                  <a:gd name="T66" fmla="*/ 3 w 176"/>
                  <a:gd name="T67" fmla="*/ 91 h 120"/>
                  <a:gd name="T68" fmla="*/ 5 w 176"/>
                  <a:gd name="T69" fmla="*/ 98 h 120"/>
                  <a:gd name="T70" fmla="*/ 10 w 176"/>
                  <a:gd name="T71" fmla="*/ 103 h 120"/>
                  <a:gd name="T72" fmla="*/ 14 w 176"/>
                  <a:gd name="T73" fmla="*/ 110 h 120"/>
                  <a:gd name="T74" fmla="*/ 13 w 176"/>
                  <a:gd name="T75" fmla="*/ 119 h 120"/>
                  <a:gd name="T76" fmla="*/ 17 w 176"/>
                  <a:gd name="T77" fmla="*/ 109 h 120"/>
                  <a:gd name="T78" fmla="*/ 23 w 176"/>
                  <a:gd name="T79" fmla="*/ 99 h 120"/>
                  <a:gd name="T80" fmla="*/ 29 w 176"/>
                  <a:gd name="T81" fmla="*/ 97 h 120"/>
                  <a:gd name="T82" fmla="*/ 33 w 176"/>
                  <a:gd name="T83" fmla="*/ 89 h 120"/>
                  <a:gd name="T84" fmla="*/ 37 w 176"/>
                  <a:gd name="T85" fmla="*/ 84 h 120"/>
                  <a:gd name="T86" fmla="*/ 41 w 176"/>
                  <a:gd name="T87" fmla="*/ 81 h 120"/>
                  <a:gd name="T88" fmla="*/ 28 w 176"/>
                  <a:gd name="T89" fmla="*/ 77 h 120"/>
                  <a:gd name="T90" fmla="*/ 19 w 176"/>
                  <a:gd name="T91" fmla="*/ 81 h 120"/>
                  <a:gd name="T92" fmla="*/ 12 w 176"/>
                  <a:gd name="T93" fmla="*/ 86 h 120"/>
                  <a:gd name="T94" fmla="*/ 35 w 176"/>
                  <a:gd name="T95" fmla="*/ 76 h 120"/>
                  <a:gd name="T96" fmla="*/ 43 w 176"/>
                  <a:gd name="T97" fmla="*/ 76 h 120"/>
                  <a:gd name="T98" fmla="*/ 36 w 176"/>
                  <a:gd name="T99" fmla="*/ 75 h 120"/>
                  <a:gd name="T100" fmla="*/ 27 w 176"/>
                  <a:gd name="T101" fmla="*/ 59 h 120"/>
                  <a:gd name="T102" fmla="*/ 27 w 176"/>
                  <a:gd name="T103" fmla="*/ 65 h 120"/>
                  <a:gd name="T104" fmla="*/ 22 w 176"/>
                  <a:gd name="T105" fmla="*/ 70 h 120"/>
                  <a:gd name="T106" fmla="*/ 14 w 176"/>
                  <a:gd name="T107" fmla="*/ 68 h 120"/>
                  <a:gd name="T108" fmla="*/ 3 w 176"/>
                  <a:gd name="T109" fmla="*/ 64 h 120"/>
                  <a:gd name="T110" fmla="*/ 16 w 176"/>
                  <a:gd name="T111" fmla="*/ 54 h 120"/>
                  <a:gd name="T112" fmla="*/ 36 w 176"/>
                  <a:gd name="T113" fmla="*/ 52 h 120"/>
                  <a:gd name="T114" fmla="*/ 33 w 176"/>
                  <a:gd name="T115" fmla="*/ 57 h 120"/>
                  <a:gd name="T116" fmla="*/ 36 w 176"/>
                  <a:gd name="T117" fmla="*/ 52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6" h="120">
                    <a:moveTo>
                      <a:pt x="39" y="52"/>
                    </a:moveTo>
                    <a:cubicBezTo>
                      <a:pt x="40" y="50"/>
                      <a:pt x="40" y="50"/>
                      <a:pt x="40" y="50"/>
                    </a:cubicBezTo>
                    <a:cubicBezTo>
                      <a:pt x="41" y="48"/>
                      <a:pt x="41" y="48"/>
                      <a:pt x="41" y="48"/>
                    </a:cubicBezTo>
                    <a:cubicBezTo>
                      <a:pt x="41" y="45"/>
                      <a:pt x="41" y="45"/>
                      <a:pt x="41" y="45"/>
                    </a:cubicBezTo>
                    <a:cubicBezTo>
                      <a:pt x="39" y="45"/>
                      <a:pt x="39" y="45"/>
                      <a:pt x="39" y="45"/>
                    </a:cubicBezTo>
                    <a:cubicBezTo>
                      <a:pt x="38" y="42"/>
                      <a:pt x="38" y="42"/>
                      <a:pt x="38" y="42"/>
                    </a:cubicBezTo>
                    <a:cubicBezTo>
                      <a:pt x="38" y="42"/>
                      <a:pt x="39" y="41"/>
                      <a:pt x="40" y="41"/>
                    </a:cubicBezTo>
                    <a:cubicBezTo>
                      <a:pt x="40" y="40"/>
                      <a:pt x="43" y="40"/>
                      <a:pt x="43" y="40"/>
                    </a:cubicBezTo>
                    <a:cubicBezTo>
                      <a:pt x="45" y="38"/>
                      <a:pt x="45" y="38"/>
                      <a:pt x="45" y="38"/>
                    </a:cubicBezTo>
                    <a:cubicBezTo>
                      <a:pt x="45" y="38"/>
                      <a:pt x="44" y="36"/>
                      <a:pt x="46" y="36"/>
                    </a:cubicBezTo>
                    <a:cubicBezTo>
                      <a:pt x="47" y="36"/>
                      <a:pt x="49" y="36"/>
                      <a:pt x="50" y="36"/>
                    </a:cubicBezTo>
                    <a:cubicBezTo>
                      <a:pt x="51" y="36"/>
                      <a:pt x="52" y="35"/>
                      <a:pt x="52" y="35"/>
                    </a:cubicBezTo>
                    <a:cubicBezTo>
                      <a:pt x="54" y="35"/>
                      <a:pt x="55" y="36"/>
                      <a:pt x="54" y="35"/>
                    </a:cubicBezTo>
                    <a:cubicBezTo>
                      <a:pt x="54" y="35"/>
                      <a:pt x="54" y="34"/>
                      <a:pt x="53" y="33"/>
                    </a:cubicBezTo>
                    <a:cubicBezTo>
                      <a:pt x="52" y="32"/>
                      <a:pt x="49" y="30"/>
                      <a:pt x="51" y="29"/>
                    </a:cubicBezTo>
                    <a:cubicBezTo>
                      <a:pt x="52" y="28"/>
                      <a:pt x="53" y="28"/>
                      <a:pt x="54" y="29"/>
                    </a:cubicBezTo>
                    <a:cubicBezTo>
                      <a:pt x="55" y="29"/>
                      <a:pt x="56" y="31"/>
                      <a:pt x="56" y="31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6" y="27"/>
                      <a:pt x="59" y="27"/>
                      <a:pt x="60" y="26"/>
                    </a:cubicBezTo>
                    <a:cubicBezTo>
                      <a:pt x="60" y="25"/>
                      <a:pt x="59" y="23"/>
                      <a:pt x="59" y="23"/>
                    </a:cubicBezTo>
                    <a:cubicBezTo>
                      <a:pt x="59" y="23"/>
                      <a:pt x="59" y="23"/>
                      <a:pt x="62" y="23"/>
                    </a:cubicBezTo>
                    <a:cubicBezTo>
                      <a:pt x="65" y="22"/>
                      <a:pt x="64" y="22"/>
                      <a:pt x="66" y="22"/>
                    </a:cubicBezTo>
                    <a:cubicBezTo>
                      <a:pt x="67" y="22"/>
                      <a:pt x="70" y="22"/>
                      <a:pt x="70" y="22"/>
                    </a:cubicBezTo>
                    <a:cubicBezTo>
                      <a:pt x="70" y="22"/>
                      <a:pt x="72" y="21"/>
                      <a:pt x="71" y="20"/>
                    </a:cubicBezTo>
                    <a:cubicBezTo>
                      <a:pt x="71" y="19"/>
                      <a:pt x="69" y="17"/>
                      <a:pt x="69" y="17"/>
                    </a:cubicBezTo>
                    <a:cubicBezTo>
                      <a:pt x="69" y="17"/>
                      <a:pt x="70" y="14"/>
                      <a:pt x="70" y="15"/>
                    </a:cubicBezTo>
                    <a:cubicBezTo>
                      <a:pt x="70" y="17"/>
                      <a:pt x="73" y="19"/>
                      <a:pt x="73" y="19"/>
                    </a:cubicBezTo>
                    <a:cubicBezTo>
                      <a:pt x="75" y="17"/>
                      <a:pt x="75" y="17"/>
                      <a:pt x="75" y="17"/>
                    </a:cubicBezTo>
                    <a:cubicBezTo>
                      <a:pt x="78" y="16"/>
                      <a:pt x="78" y="16"/>
                      <a:pt x="78" y="16"/>
                    </a:cubicBezTo>
                    <a:cubicBezTo>
                      <a:pt x="81" y="15"/>
                      <a:pt x="81" y="15"/>
                      <a:pt x="81" y="15"/>
                    </a:cubicBezTo>
                    <a:cubicBezTo>
                      <a:pt x="81" y="15"/>
                      <a:pt x="84" y="15"/>
                      <a:pt x="86" y="15"/>
                    </a:cubicBezTo>
                    <a:cubicBezTo>
                      <a:pt x="87" y="15"/>
                      <a:pt x="90" y="14"/>
                      <a:pt x="90" y="14"/>
                    </a:cubicBezTo>
                    <a:cubicBezTo>
                      <a:pt x="91" y="12"/>
                      <a:pt x="91" y="12"/>
                      <a:pt x="91" y="12"/>
                    </a:cubicBezTo>
                    <a:cubicBezTo>
                      <a:pt x="87" y="8"/>
                      <a:pt x="87" y="8"/>
                      <a:pt x="87" y="8"/>
                    </a:cubicBezTo>
                    <a:cubicBezTo>
                      <a:pt x="87" y="8"/>
                      <a:pt x="89" y="5"/>
                      <a:pt x="89" y="6"/>
                    </a:cubicBezTo>
                    <a:cubicBezTo>
                      <a:pt x="90" y="7"/>
                      <a:pt x="90" y="9"/>
                      <a:pt x="91" y="9"/>
                    </a:cubicBezTo>
                    <a:cubicBezTo>
                      <a:pt x="92" y="9"/>
                      <a:pt x="93" y="10"/>
                      <a:pt x="94" y="9"/>
                    </a:cubicBezTo>
                    <a:cubicBezTo>
                      <a:pt x="94" y="8"/>
                      <a:pt x="94" y="5"/>
                      <a:pt x="94" y="5"/>
                    </a:cubicBezTo>
                    <a:cubicBezTo>
                      <a:pt x="94" y="5"/>
                      <a:pt x="93" y="4"/>
                      <a:pt x="94" y="4"/>
                    </a:cubicBezTo>
                    <a:cubicBezTo>
                      <a:pt x="95" y="5"/>
                      <a:pt x="97" y="7"/>
                      <a:pt x="97" y="7"/>
                    </a:cubicBezTo>
                    <a:cubicBezTo>
                      <a:pt x="100" y="7"/>
                      <a:pt x="100" y="7"/>
                      <a:pt x="100" y="7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6"/>
                      <a:pt x="106" y="5"/>
                      <a:pt x="107" y="5"/>
                    </a:cubicBezTo>
                    <a:cubicBezTo>
                      <a:pt x="108" y="5"/>
                      <a:pt x="108" y="4"/>
                      <a:pt x="109" y="4"/>
                    </a:cubicBezTo>
                    <a:cubicBezTo>
                      <a:pt x="110" y="4"/>
                      <a:pt x="112" y="5"/>
                      <a:pt x="112" y="5"/>
                    </a:cubicBezTo>
                    <a:cubicBezTo>
                      <a:pt x="117" y="6"/>
                      <a:pt x="117" y="6"/>
                      <a:pt x="117" y="6"/>
                    </a:cubicBezTo>
                    <a:cubicBezTo>
                      <a:pt x="119" y="3"/>
                      <a:pt x="119" y="3"/>
                      <a:pt x="119" y="3"/>
                    </a:cubicBezTo>
                    <a:cubicBezTo>
                      <a:pt x="124" y="5"/>
                      <a:pt x="124" y="5"/>
                      <a:pt x="124" y="5"/>
                    </a:cubicBezTo>
                    <a:cubicBezTo>
                      <a:pt x="128" y="7"/>
                      <a:pt x="128" y="7"/>
                      <a:pt x="128" y="7"/>
                    </a:cubicBezTo>
                    <a:cubicBezTo>
                      <a:pt x="133" y="7"/>
                      <a:pt x="133" y="7"/>
                      <a:pt x="133" y="7"/>
                    </a:cubicBezTo>
                    <a:cubicBezTo>
                      <a:pt x="133" y="7"/>
                      <a:pt x="137" y="5"/>
                      <a:pt x="138" y="5"/>
                    </a:cubicBezTo>
                    <a:cubicBezTo>
                      <a:pt x="140" y="4"/>
                      <a:pt x="144" y="4"/>
                      <a:pt x="144" y="4"/>
                    </a:cubicBezTo>
                    <a:cubicBezTo>
                      <a:pt x="144" y="4"/>
                      <a:pt x="145" y="4"/>
                      <a:pt x="147" y="4"/>
                    </a:cubicBezTo>
                    <a:cubicBezTo>
                      <a:pt x="149" y="3"/>
                      <a:pt x="154" y="3"/>
                      <a:pt x="154" y="3"/>
                    </a:cubicBezTo>
                    <a:cubicBezTo>
                      <a:pt x="157" y="0"/>
                      <a:pt x="157" y="0"/>
                      <a:pt x="157" y="0"/>
                    </a:cubicBezTo>
                    <a:cubicBezTo>
                      <a:pt x="162" y="2"/>
                      <a:pt x="162" y="2"/>
                      <a:pt x="162" y="2"/>
                    </a:cubicBezTo>
                    <a:cubicBezTo>
                      <a:pt x="162" y="4"/>
                      <a:pt x="162" y="4"/>
                      <a:pt x="162" y="4"/>
                    </a:cubicBezTo>
                    <a:cubicBezTo>
                      <a:pt x="157" y="8"/>
                      <a:pt x="157" y="8"/>
                      <a:pt x="157" y="8"/>
                    </a:cubicBezTo>
                    <a:cubicBezTo>
                      <a:pt x="157" y="15"/>
                      <a:pt x="157" y="15"/>
                      <a:pt x="157" y="15"/>
                    </a:cubicBezTo>
                    <a:cubicBezTo>
                      <a:pt x="156" y="25"/>
                      <a:pt x="153" y="30"/>
                      <a:pt x="152" y="36"/>
                    </a:cubicBezTo>
                    <a:cubicBezTo>
                      <a:pt x="151" y="39"/>
                      <a:pt x="149" y="40"/>
                      <a:pt x="152" y="45"/>
                    </a:cubicBezTo>
                    <a:cubicBezTo>
                      <a:pt x="154" y="47"/>
                      <a:pt x="154" y="54"/>
                      <a:pt x="158" y="58"/>
                    </a:cubicBezTo>
                    <a:cubicBezTo>
                      <a:pt x="160" y="60"/>
                      <a:pt x="158" y="65"/>
                      <a:pt x="161" y="67"/>
                    </a:cubicBezTo>
                    <a:cubicBezTo>
                      <a:pt x="161" y="67"/>
                      <a:pt x="161" y="68"/>
                      <a:pt x="162" y="70"/>
                    </a:cubicBezTo>
                    <a:cubicBezTo>
                      <a:pt x="164" y="72"/>
                      <a:pt x="164" y="71"/>
                      <a:pt x="165" y="72"/>
                    </a:cubicBezTo>
                    <a:cubicBezTo>
                      <a:pt x="165" y="72"/>
                      <a:pt x="167" y="73"/>
                      <a:pt x="168" y="74"/>
                    </a:cubicBezTo>
                    <a:cubicBezTo>
                      <a:pt x="169" y="75"/>
                      <a:pt x="169" y="77"/>
                      <a:pt x="169" y="78"/>
                    </a:cubicBezTo>
                    <a:cubicBezTo>
                      <a:pt x="169" y="79"/>
                      <a:pt x="170" y="80"/>
                      <a:pt x="170" y="80"/>
                    </a:cubicBezTo>
                    <a:cubicBezTo>
                      <a:pt x="170" y="80"/>
                      <a:pt x="171" y="79"/>
                      <a:pt x="171" y="80"/>
                    </a:cubicBezTo>
                    <a:cubicBezTo>
                      <a:pt x="171" y="81"/>
                      <a:pt x="170" y="79"/>
                      <a:pt x="171" y="81"/>
                    </a:cubicBezTo>
                    <a:cubicBezTo>
                      <a:pt x="173" y="83"/>
                      <a:pt x="176" y="83"/>
                      <a:pt x="176" y="83"/>
                    </a:cubicBezTo>
                    <a:cubicBezTo>
                      <a:pt x="175" y="87"/>
                      <a:pt x="175" y="87"/>
                      <a:pt x="175" y="87"/>
                    </a:cubicBezTo>
                    <a:cubicBezTo>
                      <a:pt x="173" y="88"/>
                      <a:pt x="173" y="88"/>
                      <a:pt x="173" y="88"/>
                    </a:cubicBezTo>
                    <a:cubicBezTo>
                      <a:pt x="173" y="88"/>
                      <a:pt x="168" y="88"/>
                      <a:pt x="168" y="90"/>
                    </a:cubicBezTo>
                    <a:cubicBezTo>
                      <a:pt x="168" y="91"/>
                      <a:pt x="168" y="95"/>
                      <a:pt x="168" y="95"/>
                    </a:cubicBezTo>
                    <a:cubicBezTo>
                      <a:pt x="165" y="98"/>
                      <a:pt x="165" y="98"/>
                      <a:pt x="165" y="98"/>
                    </a:cubicBezTo>
                    <a:cubicBezTo>
                      <a:pt x="165" y="98"/>
                      <a:pt x="167" y="102"/>
                      <a:pt x="167" y="103"/>
                    </a:cubicBezTo>
                    <a:cubicBezTo>
                      <a:pt x="167" y="104"/>
                      <a:pt x="168" y="104"/>
                      <a:pt x="168" y="104"/>
                    </a:cubicBezTo>
                    <a:cubicBezTo>
                      <a:pt x="165" y="105"/>
                      <a:pt x="165" y="105"/>
                      <a:pt x="165" y="105"/>
                    </a:cubicBezTo>
                    <a:cubicBezTo>
                      <a:pt x="161" y="105"/>
                      <a:pt x="161" y="105"/>
                      <a:pt x="161" y="105"/>
                    </a:cubicBezTo>
                    <a:cubicBezTo>
                      <a:pt x="153" y="103"/>
                      <a:pt x="153" y="103"/>
                      <a:pt x="153" y="103"/>
                    </a:cubicBezTo>
                    <a:cubicBezTo>
                      <a:pt x="151" y="106"/>
                      <a:pt x="151" y="106"/>
                      <a:pt x="151" y="106"/>
                    </a:cubicBezTo>
                    <a:cubicBezTo>
                      <a:pt x="149" y="106"/>
                      <a:pt x="149" y="106"/>
                      <a:pt x="149" y="106"/>
                    </a:cubicBezTo>
                    <a:cubicBezTo>
                      <a:pt x="149" y="106"/>
                      <a:pt x="148" y="108"/>
                      <a:pt x="146" y="109"/>
                    </a:cubicBezTo>
                    <a:cubicBezTo>
                      <a:pt x="145" y="110"/>
                      <a:pt x="144" y="111"/>
                      <a:pt x="143" y="111"/>
                    </a:cubicBezTo>
                    <a:cubicBezTo>
                      <a:pt x="141" y="112"/>
                      <a:pt x="139" y="110"/>
                      <a:pt x="139" y="110"/>
                    </a:cubicBezTo>
                    <a:cubicBezTo>
                      <a:pt x="136" y="109"/>
                      <a:pt x="136" y="109"/>
                      <a:pt x="136" y="109"/>
                    </a:cubicBezTo>
                    <a:cubicBezTo>
                      <a:pt x="133" y="105"/>
                      <a:pt x="133" y="105"/>
                      <a:pt x="133" y="105"/>
                    </a:cubicBezTo>
                    <a:cubicBezTo>
                      <a:pt x="124" y="99"/>
                      <a:pt x="124" y="99"/>
                      <a:pt x="124" y="99"/>
                    </a:cubicBezTo>
                    <a:cubicBezTo>
                      <a:pt x="119" y="97"/>
                      <a:pt x="119" y="97"/>
                      <a:pt x="119" y="97"/>
                    </a:cubicBezTo>
                    <a:cubicBezTo>
                      <a:pt x="115" y="96"/>
                      <a:pt x="115" y="96"/>
                      <a:pt x="115" y="96"/>
                    </a:cubicBezTo>
                    <a:cubicBezTo>
                      <a:pt x="110" y="96"/>
                      <a:pt x="110" y="96"/>
                      <a:pt x="110" y="96"/>
                    </a:cubicBezTo>
                    <a:cubicBezTo>
                      <a:pt x="106" y="94"/>
                      <a:pt x="106" y="94"/>
                      <a:pt x="106" y="94"/>
                    </a:cubicBezTo>
                    <a:cubicBezTo>
                      <a:pt x="102" y="94"/>
                      <a:pt x="102" y="94"/>
                      <a:pt x="102" y="94"/>
                    </a:cubicBezTo>
                    <a:cubicBezTo>
                      <a:pt x="97" y="92"/>
                      <a:pt x="97" y="92"/>
                      <a:pt x="97" y="92"/>
                    </a:cubicBezTo>
                    <a:cubicBezTo>
                      <a:pt x="93" y="95"/>
                      <a:pt x="93" y="95"/>
                      <a:pt x="93" y="95"/>
                    </a:cubicBezTo>
                    <a:cubicBezTo>
                      <a:pt x="88" y="98"/>
                      <a:pt x="88" y="98"/>
                      <a:pt x="88" y="98"/>
                    </a:cubicBezTo>
                    <a:cubicBezTo>
                      <a:pt x="83" y="103"/>
                      <a:pt x="83" y="103"/>
                      <a:pt x="83" y="103"/>
                    </a:cubicBezTo>
                    <a:cubicBezTo>
                      <a:pt x="83" y="103"/>
                      <a:pt x="80" y="106"/>
                      <a:pt x="78" y="107"/>
                    </a:cubicBezTo>
                    <a:cubicBezTo>
                      <a:pt x="77" y="106"/>
                      <a:pt x="77" y="106"/>
                      <a:pt x="77" y="106"/>
                    </a:cubicBezTo>
                    <a:cubicBezTo>
                      <a:pt x="77" y="106"/>
                      <a:pt x="77" y="103"/>
                      <a:pt x="78" y="101"/>
                    </a:cubicBezTo>
                    <a:cubicBezTo>
                      <a:pt x="79" y="100"/>
                      <a:pt x="79" y="98"/>
                      <a:pt x="79" y="97"/>
                    </a:cubicBezTo>
                    <a:cubicBezTo>
                      <a:pt x="79" y="96"/>
                      <a:pt x="79" y="94"/>
                      <a:pt x="78" y="92"/>
                    </a:cubicBezTo>
                    <a:cubicBezTo>
                      <a:pt x="78" y="90"/>
                      <a:pt x="77" y="87"/>
                      <a:pt x="77" y="87"/>
                    </a:cubicBezTo>
                    <a:cubicBezTo>
                      <a:pt x="80" y="85"/>
                      <a:pt x="80" y="85"/>
                      <a:pt x="80" y="85"/>
                    </a:cubicBezTo>
                    <a:cubicBezTo>
                      <a:pt x="78" y="80"/>
                      <a:pt x="78" y="80"/>
                      <a:pt x="78" y="80"/>
                    </a:cubicBezTo>
                    <a:cubicBezTo>
                      <a:pt x="76" y="80"/>
                      <a:pt x="76" y="80"/>
                      <a:pt x="76" y="80"/>
                    </a:cubicBezTo>
                    <a:cubicBezTo>
                      <a:pt x="73" y="80"/>
                      <a:pt x="73" y="80"/>
                      <a:pt x="73" y="80"/>
                    </a:cubicBezTo>
                    <a:cubicBezTo>
                      <a:pt x="71" y="83"/>
                      <a:pt x="71" y="83"/>
                      <a:pt x="71" y="83"/>
                    </a:cubicBezTo>
                    <a:cubicBezTo>
                      <a:pt x="71" y="83"/>
                      <a:pt x="72" y="85"/>
                      <a:pt x="72" y="86"/>
                    </a:cubicBezTo>
                    <a:cubicBezTo>
                      <a:pt x="71" y="87"/>
                      <a:pt x="69" y="87"/>
                      <a:pt x="69" y="87"/>
                    </a:cubicBezTo>
                    <a:cubicBezTo>
                      <a:pt x="68" y="88"/>
                      <a:pt x="68" y="91"/>
                      <a:pt x="68" y="91"/>
                    </a:cubicBezTo>
                    <a:cubicBezTo>
                      <a:pt x="64" y="87"/>
                      <a:pt x="64" y="87"/>
                      <a:pt x="64" y="87"/>
                    </a:cubicBezTo>
                    <a:cubicBezTo>
                      <a:pt x="64" y="87"/>
                      <a:pt x="62" y="87"/>
                      <a:pt x="61" y="86"/>
                    </a:cubicBezTo>
                    <a:cubicBezTo>
                      <a:pt x="60" y="86"/>
                      <a:pt x="58" y="86"/>
                      <a:pt x="58" y="86"/>
                    </a:cubicBezTo>
                    <a:cubicBezTo>
                      <a:pt x="58" y="86"/>
                      <a:pt x="58" y="86"/>
                      <a:pt x="57" y="86"/>
                    </a:cubicBezTo>
                    <a:cubicBezTo>
                      <a:pt x="55" y="86"/>
                      <a:pt x="55" y="86"/>
                      <a:pt x="54" y="84"/>
                    </a:cubicBezTo>
                    <a:cubicBezTo>
                      <a:pt x="53" y="82"/>
                      <a:pt x="50" y="77"/>
                      <a:pt x="50" y="77"/>
                    </a:cubicBezTo>
                    <a:cubicBezTo>
                      <a:pt x="50" y="77"/>
                      <a:pt x="49" y="75"/>
                      <a:pt x="48" y="75"/>
                    </a:cubicBezTo>
                    <a:cubicBezTo>
                      <a:pt x="48" y="75"/>
                      <a:pt x="47" y="77"/>
                      <a:pt x="47" y="77"/>
                    </a:cubicBezTo>
                    <a:cubicBezTo>
                      <a:pt x="46" y="77"/>
                      <a:pt x="46" y="75"/>
                      <a:pt x="46" y="74"/>
                    </a:cubicBezTo>
                    <a:cubicBezTo>
                      <a:pt x="46" y="73"/>
                      <a:pt x="46" y="72"/>
                      <a:pt x="46" y="70"/>
                    </a:cubicBezTo>
                    <a:cubicBezTo>
                      <a:pt x="46" y="68"/>
                      <a:pt x="45" y="66"/>
                      <a:pt x="46" y="66"/>
                    </a:cubicBezTo>
                    <a:cubicBezTo>
                      <a:pt x="46" y="66"/>
                      <a:pt x="47" y="67"/>
                      <a:pt x="48" y="67"/>
                    </a:cubicBezTo>
                    <a:cubicBezTo>
                      <a:pt x="49" y="67"/>
                      <a:pt x="49" y="65"/>
                      <a:pt x="49" y="65"/>
                    </a:cubicBezTo>
                    <a:cubicBezTo>
                      <a:pt x="50" y="65"/>
                      <a:pt x="51" y="66"/>
                      <a:pt x="51" y="66"/>
                    </a:cubicBezTo>
                    <a:cubicBezTo>
                      <a:pt x="52" y="66"/>
                      <a:pt x="53" y="66"/>
                      <a:pt x="53" y="66"/>
                    </a:cubicBezTo>
                    <a:cubicBezTo>
                      <a:pt x="54" y="65"/>
                      <a:pt x="54" y="65"/>
                      <a:pt x="54" y="64"/>
                    </a:cubicBezTo>
                    <a:cubicBezTo>
                      <a:pt x="54" y="63"/>
                      <a:pt x="53" y="62"/>
                      <a:pt x="53" y="62"/>
                    </a:cubicBezTo>
                    <a:cubicBezTo>
                      <a:pt x="52" y="62"/>
                      <a:pt x="46" y="65"/>
                      <a:pt x="46" y="65"/>
                    </a:cubicBezTo>
                    <a:cubicBezTo>
                      <a:pt x="42" y="65"/>
                      <a:pt x="42" y="65"/>
                      <a:pt x="42" y="65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2" y="61"/>
                      <a:pt x="42" y="61"/>
                      <a:pt x="42" y="61"/>
                    </a:cubicBezTo>
                    <a:cubicBezTo>
                      <a:pt x="42" y="59"/>
                      <a:pt x="42" y="59"/>
                      <a:pt x="42" y="59"/>
                    </a:cubicBezTo>
                    <a:cubicBezTo>
                      <a:pt x="40" y="58"/>
                      <a:pt x="40" y="58"/>
                      <a:pt x="40" y="58"/>
                    </a:cubicBezTo>
                    <a:cubicBezTo>
                      <a:pt x="41" y="56"/>
                      <a:pt x="41" y="56"/>
                      <a:pt x="41" y="56"/>
                    </a:cubicBezTo>
                    <a:cubicBezTo>
                      <a:pt x="43" y="56"/>
                      <a:pt x="43" y="56"/>
                      <a:pt x="43" y="56"/>
                    </a:cubicBezTo>
                    <a:cubicBezTo>
                      <a:pt x="45" y="55"/>
                      <a:pt x="45" y="55"/>
                      <a:pt x="45" y="55"/>
                    </a:cubicBezTo>
                    <a:cubicBezTo>
                      <a:pt x="45" y="51"/>
                      <a:pt x="45" y="51"/>
                      <a:pt x="45" y="51"/>
                    </a:cubicBezTo>
                    <a:cubicBezTo>
                      <a:pt x="43" y="52"/>
                      <a:pt x="43" y="52"/>
                      <a:pt x="43" y="52"/>
                    </a:cubicBezTo>
                    <a:cubicBezTo>
                      <a:pt x="44" y="54"/>
                      <a:pt x="44" y="54"/>
                      <a:pt x="44" y="54"/>
                    </a:cubicBezTo>
                    <a:cubicBezTo>
                      <a:pt x="40" y="54"/>
                      <a:pt x="40" y="54"/>
                      <a:pt x="40" y="54"/>
                    </a:cubicBezTo>
                    <a:cubicBezTo>
                      <a:pt x="39" y="52"/>
                      <a:pt x="39" y="52"/>
                      <a:pt x="39" y="52"/>
                    </a:cubicBezTo>
                    <a:close/>
                    <a:moveTo>
                      <a:pt x="23" y="103"/>
                    </a:moveTo>
                    <a:cubicBezTo>
                      <a:pt x="23" y="103"/>
                      <a:pt x="23" y="103"/>
                      <a:pt x="23" y="103"/>
                    </a:cubicBezTo>
                    <a:cubicBezTo>
                      <a:pt x="23" y="103"/>
                      <a:pt x="25" y="103"/>
                      <a:pt x="25" y="103"/>
                    </a:cubicBezTo>
                    <a:cubicBezTo>
                      <a:pt x="25" y="103"/>
                      <a:pt x="26" y="104"/>
                      <a:pt x="25" y="104"/>
                    </a:cubicBezTo>
                    <a:cubicBezTo>
                      <a:pt x="25" y="105"/>
                      <a:pt x="26" y="105"/>
                      <a:pt x="25" y="105"/>
                    </a:cubicBezTo>
                    <a:cubicBezTo>
                      <a:pt x="24" y="105"/>
                      <a:pt x="22" y="106"/>
                      <a:pt x="22" y="105"/>
                    </a:cubicBezTo>
                    <a:cubicBezTo>
                      <a:pt x="22" y="105"/>
                      <a:pt x="23" y="104"/>
                      <a:pt x="23" y="104"/>
                    </a:cubicBezTo>
                    <a:cubicBezTo>
                      <a:pt x="23" y="103"/>
                      <a:pt x="23" y="103"/>
                      <a:pt x="23" y="103"/>
                    </a:cubicBezTo>
                    <a:close/>
                    <a:moveTo>
                      <a:pt x="64" y="95"/>
                    </a:moveTo>
                    <a:cubicBezTo>
                      <a:pt x="64" y="95"/>
                      <a:pt x="64" y="95"/>
                      <a:pt x="64" y="95"/>
                    </a:cubicBezTo>
                    <a:cubicBezTo>
                      <a:pt x="64" y="95"/>
                      <a:pt x="63" y="98"/>
                      <a:pt x="64" y="98"/>
                    </a:cubicBezTo>
                    <a:cubicBezTo>
                      <a:pt x="64" y="98"/>
                      <a:pt x="65" y="98"/>
                      <a:pt x="66" y="98"/>
                    </a:cubicBezTo>
                    <a:cubicBezTo>
                      <a:pt x="67" y="97"/>
                      <a:pt x="67" y="97"/>
                      <a:pt x="67" y="97"/>
                    </a:cubicBezTo>
                    <a:cubicBezTo>
                      <a:pt x="67" y="96"/>
                      <a:pt x="67" y="95"/>
                      <a:pt x="67" y="95"/>
                    </a:cubicBezTo>
                    <a:cubicBezTo>
                      <a:pt x="64" y="95"/>
                      <a:pt x="64" y="95"/>
                      <a:pt x="64" y="95"/>
                    </a:cubicBezTo>
                    <a:close/>
                    <a:moveTo>
                      <a:pt x="9" y="91"/>
                    </a:moveTo>
                    <a:cubicBezTo>
                      <a:pt x="9" y="91"/>
                      <a:pt x="9" y="91"/>
                      <a:pt x="9" y="91"/>
                    </a:cubicBezTo>
                    <a:cubicBezTo>
                      <a:pt x="8" y="92"/>
                      <a:pt x="8" y="92"/>
                      <a:pt x="8" y="92"/>
                    </a:cubicBezTo>
                    <a:cubicBezTo>
                      <a:pt x="8" y="92"/>
                      <a:pt x="7" y="89"/>
                      <a:pt x="7" y="88"/>
                    </a:cubicBezTo>
                    <a:cubicBezTo>
                      <a:pt x="7" y="88"/>
                      <a:pt x="5" y="87"/>
                      <a:pt x="5" y="87"/>
                    </a:cubicBezTo>
                    <a:cubicBezTo>
                      <a:pt x="5" y="87"/>
                      <a:pt x="4" y="87"/>
                      <a:pt x="4" y="87"/>
                    </a:cubicBezTo>
                    <a:cubicBezTo>
                      <a:pt x="3" y="87"/>
                      <a:pt x="3" y="88"/>
                      <a:pt x="3" y="88"/>
                    </a:cubicBezTo>
                    <a:cubicBezTo>
                      <a:pt x="2" y="88"/>
                      <a:pt x="2" y="88"/>
                      <a:pt x="2" y="88"/>
                    </a:cubicBezTo>
                    <a:cubicBezTo>
                      <a:pt x="2" y="88"/>
                      <a:pt x="1" y="88"/>
                      <a:pt x="1" y="88"/>
                    </a:cubicBezTo>
                    <a:cubicBezTo>
                      <a:pt x="0" y="89"/>
                      <a:pt x="1" y="90"/>
                      <a:pt x="1" y="90"/>
                    </a:cubicBezTo>
                    <a:cubicBezTo>
                      <a:pt x="1" y="90"/>
                      <a:pt x="2" y="90"/>
                      <a:pt x="3" y="91"/>
                    </a:cubicBezTo>
                    <a:cubicBezTo>
                      <a:pt x="4" y="91"/>
                      <a:pt x="4" y="91"/>
                      <a:pt x="4" y="91"/>
                    </a:cubicBezTo>
                    <a:cubicBezTo>
                      <a:pt x="4" y="91"/>
                      <a:pt x="6" y="93"/>
                      <a:pt x="7" y="94"/>
                    </a:cubicBezTo>
                    <a:cubicBezTo>
                      <a:pt x="7" y="94"/>
                      <a:pt x="7" y="95"/>
                      <a:pt x="7" y="95"/>
                    </a:cubicBezTo>
                    <a:cubicBezTo>
                      <a:pt x="4" y="97"/>
                      <a:pt x="4" y="97"/>
                      <a:pt x="4" y="97"/>
                    </a:cubicBezTo>
                    <a:cubicBezTo>
                      <a:pt x="4" y="97"/>
                      <a:pt x="5" y="98"/>
                      <a:pt x="5" y="98"/>
                    </a:cubicBezTo>
                    <a:cubicBezTo>
                      <a:pt x="6" y="98"/>
                      <a:pt x="4" y="99"/>
                      <a:pt x="4" y="99"/>
                    </a:cubicBezTo>
                    <a:cubicBezTo>
                      <a:pt x="4" y="99"/>
                      <a:pt x="4" y="101"/>
                      <a:pt x="4" y="101"/>
                    </a:cubicBezTo>
                    <a:cubicBezTo>
                      <a:pt x="4" y="101"/>
                      <a:pt x="5" y="102"/>
                      <a:pt x="7" y="102"/>
                    </a:cubicBezTo>
                    <a:cubicBezTo>
                      <a:pt x="9" y="103"/>
                      <a:pt x="9" y="102"/>
                      <a:pt x="9" y="102"/>
                    </a:cubicBezTo>
                    <a:cubicBezTo>
                      <a:pt x="10" y="103"/>
                      <a:pt x="10" y="103"/>
                      <a:pt x="10" y="103"/>
                    </a:cubicBezTo>
                    <a:cubicBezTo>
                      <a:pt x="10" y="104"/>
                      <a:pt x="10" y="104"/>
                      <a:pt x="10" y="104"/>
                    </a:cubicBezTo>
                    <a:cubicBezTo>
                      <a:pt x="11" y="105"/>
                      <a:pt x="11" y="105"/>
                      <a:pt x="11" y="105"/>
                    </a:cubicBezTo>
                    <a:cubicBezTo>
                      <a:pt x="14" y="106"/>
                      <a:pt x="14" y="106"/>
                      <a:pt x="14" y="106"/>
                    </a:cubicBezTo>
                    <a:cubicBezTo>
                      <a:pt x="14" y="107"/>
                      <a:pt x="14" y="107"/>
                      <a:pt x="14" y="107"/>
                    </a:cubicBezTo>
                    <a:cubicBezTo>
                      <a:pt x="14" y="110"/>
                      <a:pt x="14" y="110"/>
                      <a:pt x="14" y="110"/>
                    </a:cubicBezTo>
                    <a:cubicBezTo>
                      <a:pt x="14" y="110"/>
                      <a:pt x="13" y="110"/>
                      <a:pt x="12" y="110"/>
                    </a:cubicBezTo>
                    <a:cubicBezTo>
                      <a:pt x="12" y="111"/>
                      <a:pt x="12" y="112"/>
                      <a:pt x="11" y="112"/>
                    </a:cubicBezTo>
                    <a:cubicBezTo>
                      <a:pt x="11" y="112"/>
                      <a:pt x="11" y="114"/>
                      <a:pt x="10" y="115"/>
                    </a:cubicBezTo>
                    <a:cubicBezTo>
                      <a:pt x="10" y="116"/>
                      <a:pt x="11" y="117"/>
                      <a:pt x="11" y="118"/>
                    </a:cubicBezTo>
                    <a:cubicBezTo>
                      <a:pt x="11" y="120"/>
                      <a:pt x="12" y="119"/>
                      <a:pt x="13" y="119"/>
                    </a:cubicBezTo>
                    <a:cubicBezTo>
                      <a:pt x="13" y="119"/>
                      <a:pt x="14" y="118"/>
                      <a:pt x="14" y="118"/>
                    </a:cubicBezTo>
                    <a:cubicBezTo>
                      <a:pt x="15" y="118"/>
                      <a:pt x="16" y="116"/>
                      <a:pt x="17" y="115"/>
                    </a:cubicBezTo>
                    <a:cubicBezTo>
                      <a:pt x="17" y="114"/>
                      <a:pt x="17" y="113"/>
                      <a:pt x="17" y="113"/>
                    </a:cubicBezTo>
                    <a:cubicBezTo>
                      <a:pt x="16" y="112"/>
                      <a:pt x="17" y="110"/>
                      <a:pt x="17" y="110"/>
                    </a:cubicBezTo>
                    <a:cubicBezTo>
                      <a:pt x="17" y="109"/>
                      <a:pt x="17" y="109"/>
                      <a:pt x="17" y="109"/>
                    </a:cubicBezTo>
                    <a:cubicBezTo>
                      <a:pt x="16" y="105"/>
                      <a:pt x="16" y="105"/>
                      <a:pt x="16" y="105"/>
                    </a:cubicBezTo>
                    <a:cubicBezTo>
                      <a:pt x="18" y="101"/>
                      <a:pt x="18" y="101"/>
                      <a:pt x="18" y="101"/>
                    </a:cubicBezTo>
                    <a:cubicBezTo>
                      <a:pt x="20" y="101"/>
                      <a:pt x="20" y="101"/>
                      <a:pt x="20" y="101"/>
                    </a:cubicBezTo>
                    <a:cubicBezTo>
                      <a:pt x="23" y="99"/>
                      <a:pt x="23" y="99"/>
                      <a:pt x="23" y="99"/>
                    </a:cubicBezTo>
                    <a:cubicBezTo>
                      <a:pt x="23" y="99"/>
                      <a:pt x="23" y="99"/>
                      <a:pt x="23" y="99"/>
                    </a:cubicBezTo>
                    <a:cubicBezTo>
                      <a:pt x="23" y="99"/>
                      <a:pt x="24" y="99"/>
                      <a:pt x="25" y="98"/>
                    </a:cubicBezTo>
                    <a:cubicBezTo>
                      <a:pt x="27" y="98"/>
                      <a:pt x="26" y="99"/>
                      <a:pt x="27" y="99"/>
                    </a:cubicBezTo>
                    <a:cubicBezTo>
                      <a:pt x="27" y="100"/>
                      <a:pt x="28" y="100"/>
                      <a:pt x="29" y="100"/>
                    </a:cubicBezTo>
                    <a:cubicBezTo>
                      <a:pt x="29" y="100"/>
                      <a:pt x="30" y="98"/>
                      <a:pt x="30" y="98"/>
                    </a:cubicBezTo>
                    <a:cubicBezTo>
                      <a:pt x="30" y="97"/>
                      <a:pt x="29" y="97"/>
                      <a:pt x="29" y="97"/>
                    </a:cubicBezTo>
                    <a:cubicBezTo>
                      <a:pt x="28" y="95"/>
                      <a:pt x="28" y="95"/>
                      <a:pt x="28" y="95"/>
                    </a:cubicBezTo>
                    <a:cubicBezTo>
                      <a:pt x="31" y="94"/>
                      <a:pt x="31" y="94"/>
                      <a:pt x="31" y="94"/>
                    </a:cubicBezTo>
                    <a:cubicBezTo>
                      <a:pt x="32" y="93"/>
                      <a:pt x="32" y="93"/>
                      <a:pt x="32" y="93"/>
                    </a:cubicBezTo>
                    <a:cubicBezTo>
                      <a:pt x="34" y="91"/>
                      <a:pt x="34" y="91"/>
                      <a:pt x="34" y="91"/>
                    </a:cubicBezTo>
                    <a:cubicBezTo>
                      <a:pt x="33" y="89"/>
                      <a:pt x="33" y="89"/>
                      <a:pt x="33" y="89"/>
                    </a:cubicBezTo>
                    <a:cubicBezTo>
                      <a:pt x="33" y="89"/>
                      <a:pt x="35" y="89"/>
                      <a:pt x="36" y="89"/>
                    </a:cubicBezTo>
                    <a:cubicBezTo>
                      <a:pt x="36" y="89"/>
                      <a:pt x="36" y="88"/>
                      <a:pt x="36" y="88"/>
                    </a:cubicBezTo>
                    <a:cubicBezTo>
                      <a:pt x="35" y="86"/>
                      <a:pt x="35" y="86"/>
                      <a:pt x="35" y="86"/>
                    </a:cubicBezTo>
                    <a:cubicBezTo>
                      <a:pt x="35" y="86"/>
                      <a:pt x="37" y="86"/>
                      <a:pt x="38" y="85"/>
                    </a:cubicBezTo>
                    <a:cubicBezTo>
                      <a:pt x="38" y="85"/>
                      <a:pt x="37" y="84"/>
                      <a:pt x="37" y="84"/>
                    </a:cubicBezTo>
                    <a:cubicBezTo>
                      <a:pt x="37" y="83"/>
                      <a:pt x="38" y="82"/>
                      <a:pt x="38" y="82"/>
                    </a:cubicBezTo>
                    <a:cubicBezTo>
                      <a:pt x="38" y="82"/>
                      <a:pt x="40" y="84"/>
                      <a:pt x="41" y="84"/>
                    </a:cubicBezTo>
                    <a:cubicBezTo>
                      <a:pt x="42" y="85"/>
                      <a:pt x="42" y="84"/>
                      <a:pt x="43" y="84"/>
                    </a:cubicBezTo>
                    <a:cubicBezTo>
                      <a:pt x="43" y="83"/>
                      <a:pt x="42" y="82"/>
                      <a:pt x="42" y="82"/>
                    </a:cubicBezTo>
                    <a:cubicBezTo>
                      <a:pt x="41" y="81"/>
                      <a:pt x="41" y="81"/>
                      <a:pt x="41" y="81"/>
                    </a:cubicBezTo>
                    <a:cubicBezTo>
                      <a:pt x="38" y="80"/>
                      <a:pt x="38" y="80"/>
                      <a:pt x="38" y="80"/>
                    </a:cubicBezTo>
                    <a:cubicBezTo>
                      <a:pt x="34" y="78"/>
                      <a:pt x="34" y="78"/>
                      <a:pt x="34" y="78"/>
                    </a:cubicBezTo>
                    <a:cubicBezTo>
                      <a:pt x="34" y="78"/>
                      <a:pt x="31" y="78"/>
                      <a:pt x="31" y="77"/>
                    </a:cubicBezTo>
                    <a:cubicBezTo>
                      <a:pt x="30" y="77"/>
                      <a:pt x="30" y="77"/>
                      <a:pt x="30" y="77"/>
                    </a:cubicBezTo>
                    <a:cubicBezTo>
                      <a:pt x="30" y="77"/>
                      <a:pt x="28" y="77"/>
                      <a:pt x="28" y="77"/>
                    </a:cubicBezTo>
                    <a:cubicBezTo>
                      <a:pt x="27" y="77"/>
                      <a:pt x="26" y="78"/>
                      <a:pt x="25" y="79"/>
                    </a:cubicBezTo>
                    <a:cubicBezTo>
                      <a:pt x="25" y="79"/>
                      <a:pt x="24" y="80"/>
                      <a:pt x="23" y="80"/>
                    </a:cubicBezTo>
                    <a:cubicBezTo>
                      <a:pt x="23" y="80"/>
                      <a:pt x="22" y="78"/>
                      <a:pt x="22" y="78"/>
                    </a:cubicBezTo>
                    <a:cubicBezTo>
                      <a:pt x="20" y="78"/>
                      <a:pt x="20" y="78"/>
                      <a:pt x="20" y="78"/>
                    </a:cubicBezTo>
                    <a:cubicBezTo>
                      <a:pt x="20" y="78"/>
                      <a:pt x="19" y="80"/>
                      <a:pt x="19" y="81"/>
                    </a:cubicBezTo>
                    <a:cubicBezTo>
                      <a:pt x="19" y="81"/>
                      <a:pt x="17" y="81"/>
                      <a:pt x="16" y="81"/>
                    </a:cubicBezTo>
                    <a:cubicBezTo>
                      <a:pt x="15" y="82"/>
                      <a:pt x="14" y="82"/>
                      <a:pt x="13" y="83"/>
                    </a:cubicBezTo>
                    <a:cubicBezTo>
                      <a:pt x="12" y="83"/>
                      <a:pt x="14" y="84"/>
                      <a:pt x="14" y="84"/>
                    </a:cubicBezTo>
                    <a:cubicBezTo>
                      <a:pt x="14" y="86"/>
                      <a:pt x="14" y="86"/>
                      <a:pt x="14" y="86"/>
                    </a:cubicBezTo>
                    <a:cubicBezTo>
                      <a:pt x="12" y="86"/>
                      <a:pt x="12" y="86"/>
                      <a:pt x="12" y="86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9" y="87"/>
                      <a:pt x="9" y="87"/>
                      <a:pt x="9" y="87"/>
                    </a:cubicBezTo>
                    <a:cubicBezTo>
                      <a:pt x="8" y="89"/>
                      <a:pt x="8" y="89"/>
                      <a:pt x="8" y="89"/>
                    </a:cubicBezTo>
                    <a:cubicBezTo>
                      <a:pt x="8" y="89"/>
                      <a:pt x="9" y="91"/>
                      <a:pt x="9" y="91"/>
                    </a:cubicBezTo>
                    <a:close/>
                    <a:moveTo>
                      <a:pt x="35" y="76"/>
                    </a:moveTo>
                    <a:cubicBezTo>
                      <a:pt x="35" y="76"/>
                      <a:pt x="35" y="76"/>
                      <a:pt x="35" y="76"/>
                    </a:cubicBezTo>
                    <a:cubicBezTo>
                      <a:pt x="36" y="77"/>
                      <a:pt x="36" y="77"/>
                      <a:pt x="36" y="77"/>
                    </a:cubicBezTo>
                    <a:cubicBezTo>
                      <a:pt x="36" y="77"/>
                      <a:pt x="37" y="78"/>
                      <a:pt x="39" y="78"/>
                    </a:cubicBezTo>
                    <a:cubicBezTo>
                      <a:pt x="42" y="78"/>
                      <a:pt x="42" y="80"/>
                      <a:pt x="44" y="78"/>
                    </a:cubicBezTo>
                    <a:cubicBezTo>
                      <a:pt x="44" y="77"/>
                      <a:pt x="44" y="77"/>
                      <a:pt x="43" y="76"/>
                    </a:cubicBezTo>
                    <a:cubicBezTo>
                      <a:pt x="43" y="75"/>
                      <a:pt x="42" y="75"/>
                      <a:pt x="42" y="74"/>
                    </a:cubicBezTo>
                    <a:cubicBezTo>
                      <a:pt x="42" y="74"/>
                      <a:pt x="42" y="74"/>
                      <a:pt x="40" y="72"/>
                    </a:cubicBezTo>
                    <a:cubicBezTo>
                      <a:pt x="39" y="71"/>
                      <a:pt x="39" y="72"/>
                      <a:pt x="38" y="72"/>
                    </a:cubicBezTo>
                    <a:cubicBezTo>
                      <a:pt x="37" y="72"/>
                      <a:pt x="36" y="72"/>
                      <a:pt x="35" y="72"/>
                    </a:cubicBezTo>
                    <a:cubicBezTo>
                      <a:pt x="34" y="73"/>
                      <a:pt x="36" y="74"/>
                      <a:pt x="36" y="75"/>
                    </a:cubicBezTo>
                    <a:cubicBezTo>
                      <a:pt x="36" y="75"/>
                      <a:pt x="35" y="76"/>
                      <a:pt x="35" y="76"/>
                    </a:cubicBezTo>
                    <a:close/>
                    <a:moveTo>
                      <a:pt x="22" y="57"/>
                    </a:moveTo>
                    <a:cubicBezTo>
                      <a:pt x="22" y="57"/>
                      <a:pt x="22" y="57"/>
                      <a:pt x="22" y="57"/>
                    </a:cubicBezTo>
                    <a:cubicBezTo>
                      <a:pt x="22" y="56"/>
                      <a:pt x="24" y="56"/>
                      <a:pt x="25" y="57"/>
                    </a:cubicBezTo>
                    <a:cubicBezTo>
                      <a:pt x="25" y="57"/>
                      <a:pt x="27" y="58"/>
                      <a:pt x="27" y="59"/>
                    </a:cubicBezTo>
                    <a:cubicBezTo>
                      <a:pt x="27" y="59"/>
                      <a:pt x="28" y="59"/>
                      <a:pt x="28" y="60"/>
                    </a:cubicBezTo>
                    <a:cubicBezTo>
                      <a:pt x="28" y="60"/>
                      <a:pt x="29" y="61"/>
                      <a:pt x="29" y="62"/>
                    </a:cubicBezTo>
                    <a:cubicBezTo>
                      <a:pt x="30" y="63"/>
                      <a:pt x="31" y="64"/>
                      <a:pt x="31" y="64"/>
                    </a:cubicBezTo>
                    <a:cubicBezTo>
                      <a:pt x="31" y="64"/>
                      <a:pt x="32" y="65"/>
                      <a:pt x="31" y="65"/>
                    </a:cubicBezTo>
                    <a:cubicBezTo>
                      <a:pt x="30" y="65"/>
                      <a:pt x="27" y="65"/>
                      <a:pt x="27" y="65"/>
                    </a:cubicBezTo>
                    <a:cubicBezTo>
                      <a:pt x="27" y="65"/>
                      <a:pt x="26" y="66"/>
                      <a:pt x="26" y="66"/>
                    </a:cubicBezTo>
                    <a:cubicBezTo>
                      <a:pt x="26" y="67"/>
                      <a:pt x="28" y="68"/>
                      <a:pt x="27" y="68"/>
                    </a:cubicBezTo>
                    <a:cubicBezTo>
                      <a:pt x="26" y="69"/>
                      <a:pt x="26" y="69"/>
                      <a:pt x="25" y="69"/>
                    </a:cubicBezTo>
                    <a:cubicBezTo>
                      <a:pt x="24" y="68"/>
                      <a:pt x="23" y="66"/>
                      <a:pt x="23" y="66"/>
                    </a:cubicBezTo>
                    <a:cubicBezTo>
                      <a:pt x="22" y="67"/>
                      <a:pt x="22" y="70"/>
                      <a:pt x="22" y="70"/>
                    </a:cubicBezTo>
                    <a:cubicBezTo>
                      <a:pt x="22" y="71"/>
                      <a:pt x="23" y="72"/>
                      <a:pt x="22" y="73"/>
                    </a:cubicBezTo>
                    <a:cubicBezTo>
                      <a:pt x="22" y="73"/>
                      <a:pt x="19" y="74"/>
                      <a:pt x="19" y="74"/>
                    </a:cubicBezTo>
                    <a:cubicBezTo>
                      <a:pt x="19" y="74"/>
                      <a:pt x="18" y="74"/>
                      <a:pt x="18" y="74"/>
                    </a:cubicBezTo>
                    <a:cubicBezTo>
                      <a:pt x="17" y="74"/>
                      <a:pt x="15" y="72"/>
                      <a:pt x="14" y="71"/>
                    </a:cubicBezTo>
                    <a:cubicBezTo>
                      <a:pt x="14" y="70"/>
                      <a:pt x="14" y="68"/>
                      <a:pt x="14" y="68"/>
                    </a:cubicBezTo>
                    <a:cubicBezTo>
                      <a:pt x="13" y="67"/>
                      <a:pt x="12" y="66"/>
                      <a:pt x="12" y="66"/>
                    </a:cubicBezTo>
                    <a:cubicBezTo>
                      <a:pt x="12" y="66"/>
                      <a:pt x="13" y="65"/>
                      <a:pt x="11" y="66"/>
                    </a:cubicBezTo>
                    <a:cubicBezTo>
                      <a:pt x="8" y="66"/>
                      <a:pt x="9" y="67"/>
                      <a:pt x="8" y="67"/>
                    </a:cubicBezTo>
                    <a:cubicBezTo>
                      <a:pt x="7" y="66"/>
                      <a:pt x="7" y="65"/>
                      <a:pt x="5" y="65"/>
                    </a:cubicBezTo>
                    <a:cubicBezTo>
                      <a:pt x="4" y="65"/>
                      <a:pt x="3" y="64"/>
                      <a:pt x="3" y="64"/>
                    </a:cubicBezTo>
                    <a:cubicBezTo>
                      <a:pt x="3" y="64"/>
                      <a:pt x="6" y="62"/>
                      <a:pt x="7" y="62"/>
                    </a:cubicBezTo>
                    <a:cubicBezTo>
                      <a:pt x="8" y="62"/>
                      <a:pt x="7" y="62"/>
                      <a:pt x="9" y="62"/>
                    </a:cubicBezTo>
                    <a:cubicBezTo>
                      <a:pt x="12" y="61"/>
                      <a:pt x="13" y="63"/>
                      <a:pt x="13" y="61"/>
                    </a:cubicBezTo>
                    <a:cubicBezTo>
                      <a:pt x="14" y="59"/>
                      <a:pt x="14" y="58"/>
                      <a:pt x="15" y="57"/>
                    </a:cubicBezTo>
                    <a:cubicBezTo>
                      <a:pt x="15" y="56"/>
                      <a:pt x="16" y="54"/>
                      <a:pt x="16" y="54"/>
                    </a:cubicBezTo>
                    <a:cubicBezTo>
                      <a:pt x="16" y="53"/>
                      <a:pt x="19" y="53"/>
                      <a:pt x="19" y="53"/>
                    </a:cubicBezTo>
                    <a:cubicBezTo>
                      <a:pt x="20" y="56"/>
                      <a:pt x="20" y="56"/>
                      <a:pt x="20" y="56"/>
                    </a:cubicBezTo>
                    <a:cubicBezTo>
                      <a:pt x="20" y="56"/>
                      <a:pt x="20" y="57"/>
                      <a:pt x="21" y="57"/>
                    </a:cubicBezTo>
                    <a:cubicBezTo>
                      <a:pt x="22" y="57"/>
                      <a:pt x="22" y="57"/>
                      <a:pt x="22" y="57"/>
                    </a:cubicBezTo>
                    <a:close/>
                    <a:moveTo>
                      <a:pt x="36" y="52"/>
                    </a:moveTo>
                    <a:cubicBezTo>
                      <a:pt x="36" y="52"/>
                      <a:pt x="36" y="52"/>
                      <a:pt x="36" y="52"/>
                    </a:cubicBezTo>
                    <a:cubicBezTo>
                      <a:pt x="35" y="53"/>
                      <a:pt x="35" y="53"/>
                      <a:pt x="35" y="53"/>
                    </a:cubicBezTo>
                    <a:cubicBezTo>
                      <a:pt x="31" y="53"/>
                      <a:pt x="31" y="53"/>
                      <a:pt x="31" y="53"/>
                    </a:cubicBezTo>
                    <a:cubicBezTo>
                      <a:pt x="31" y="55"/>
                      <a:pt x="31" y="55"/>
                      <a:pt x="31" y="55"/>
                    </a:cubicBezTo>
                    <a:cubicBezTo>
                      <a:pt x="33" y="57"/>
                      <a:pt x="33" y="57"/>
                      <a:pt x="33" y="57"/>
                    </a:cubicBezTo>
                    <a:cubicBezTo>
                      <a:pt x="33" y="57"/>
                      <a:pt x="34" y="56"/>
                      <a:pt x="35" y="56"/>
                    </a:cubicBezTo>
                    <a:cubicBezTo>
                      <a:pt x="36" y="56"/>
                      <a:pt x="38" y="56"/>
                      <a:pt x="38" y="56"/>
                    </a:cubicBezTo>
                    <a:cubicBezTo>
                      <a:pt x="39" y="55"/>
                      <a:pt x="39" y="55"/>
                      <a:pt x="39" y="55"/>
                    </a:cubicBezTo>
                    <a:cubicBezTo>
                      <a:pt x="38" y="52"/>
                      <a:pt x="38" y="52"/>
                      <a:pt x="38" y="52"/>
                    </a:cubicBezTo>
                    <a:lnTo>
                      <a:pt x="36" y="52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61" name="Freeform 195">
                <a:extLst>
                  <a:ext uri="{FF2B5EF4-FFF2-40B4-BE49-F238E27FC236}">
                    <a16:creationId xmlns:a16="http://schemas.microsoft.com/office/drawing/2014/main" id="{D3032FAF-005B-FDC3-DD49-89F538D2C6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69401" y="3317292"/>
                <a:ext cx="546714" cy="398920"/>
              </a:xfrm>
              <a:custGeom>
                <a:avLst/>
                <a:gdLst>
                  <a:gd name="T0" fmla="*/ 7 w 244"/>
                  <a:gd name="T1" fmla="*/ 36 h 184"/>
                  <a:gd name="T2" fmla="*/ 21 w 244"/>
                  <a:gd name="T3" fmla="*/ 52 h 184"/>
                  <a:gd name="T4" fmla="*/ 77 w 244"/>
                  <a:gd name="T5" fmla="*/ 49 h 184"/>
                  <a:gd name="T6" fmla="*/ 144 w 244"/>
                  <a:gd name="T7" fmla="*/ 21 h 184"/>
                  <a:gd name="T8" fmla="*/ 203 w 244"/>
                  <a:gd name="T9" fmla="*/ 3 h 184"/>
                  <a:gd name="T10" fmla="*/ 238 w 244"/>
                  <a:gd name="T11" fmla="*/ 8 h 184"/>
                  <a:gd name="T12" fmla="*/ 241 w 244"/>
                  <a:gd name="T13" fmla="*/ 22 h 184"/>
                  <a:gd name="T14" fmla="*/ 232 w 244"/>
                  <a:gd name="T15" fmla="*/ 27 h 184"/>
                  <a:gd name="T16" fmla="*/ 225 w 244"/>
                  <a:gd name="T17" fmla="*/ 36 h 184"/>
                  <a:gd name="T18" fmla="*/ 225 w 244"/>
                  <a:gd name="T19" fmla="*/ 56 h 184"/>
                  <a:gd name="T20" fmla="*/ 222 w 244"/>
                  <a:gd name="T21" fmla="*/ 69 h 184"/>
                  <a:gd name="T22" fmla="*/ 220 w 244"/>
                  <a:gd name="T23" fmla="*/ 76 h 184"/>
                  <a:gd name="T24" fmla="*/ 216 w 244"/>
                  <a:gd name="T25" fmla="*/ 83 h 184"/>
                  <a:gd name="T26" fmla="*/ 232 w 244"/>
                  <a:gd name="T27" fmla="*/ 92 h 184"/>
                  <a:gd name="T28" fmla="*/ 244 w 244"/>
                  <a:gd name="T29" fmla="*/ 102 h 184"/>
                  <a:gd name="T30" fmla="*/ 231 w 244"/>
                  <a:gd name="T31" fmla="*/ 108 h 184"/>
                  <a:gd name="T32" fmla="*/ 211 w 244"/>
                  <a:gd name="T33" fmla="*/ 106 h 184"/>
                  <a:gd name="T34" fmla="*/ 201 w 244"/>
                  <a:gd name="T35" fmla="*/ 115 h 184"/>
                  <a:gd name="T36" fmla="*/ 188 w 244"/>
                  <a:gd name="T37" fmla="*/ 126 h 184"/>
                  <a:gd name="T38" fmla="*/ 181 w 244"/>
                  <a:gd name="T39" fmla="*/ 135 h 184"/>
                  <a:gd name="T40" fmla="*/ 179 w 244"/>
                  <a:gd name="T41" fmla="*/ 147 h 184"/>
                  <a:gd name="T42" fmla="*/ 174 w 244"/>
                  <a:gd name="T43" fmla="*/ 158 h 184"/>
                  <a:gd name="T44" fmla="*/ 155 w 244"/>
                  <a:gd name="T45" fmla="*/ 165 h 184"/>
                  <a:gd name="T46" fmla="*/ 139 w 244"/>
                  <a:gd name="T47" fmla="*/ 167 h 184"/>
                  <a:gd name="T48" fmla="*/ 116 w 244"/>
                  <a:gd name="T49" fmla="*/ 164 h 184"/>
                  <a:gd name="T50" fmla="*/ 104 w 244"/>
                  <a:gd name="T51" fmla="*/ 163 h 184"/>
                  <a:gd name="T52" fmla="*/ 92 w 244"/>
                  <a:gd name="T53" fmla="*/ 169 h 184"/>
                  <a:gd name="T54" fmla="*/ 70 w 244"/>
                  <a:gd name="T55" fmla="*/ 177 h 184"/>
                  <a:gd name="T56" fmla="*/ 57 w 244"/>
                  <a:gd name="T57" fmla="*/ 184 h 184"/>
                  <a:gd name="T58" fmla="*/ 51 w 244"/>
                  <a:gd name="T59" fmla="*/ 183 h 184"/>
                  <a:gd name="T60" fmla="*/ 48 w 244"/>
                  <a:gd name="T61" fmla="*/ 172 h 184"/>
                  <a:gd name="T62" fmla="*/ 50 w 244"/>
                  <a:gd name="T63" fmla="*/ 165 h 184"/>
                  <a:gd name="T64" fmla="*/ 24 w 244"/>
                  <a:gd name="T65" fmla="*/ 143 h 184"/>
                  <a:gd name="T66" fmla="*/ 21 w 244"/>
                  <a:gd name="T67" fmla="*/ 138 h 184"/>
                  <a:gd name="T68" fmla="*/ 20 w 244"/>
                  <a:gd name="T69" fmla="*/ 133 h 184"/>
                  <a:gd name="T70" fmla="*/ 20 w 244"/>
                  <a:gd name="T71" fmla="*/ 125 h 184"/>
                  <a:gd name="T72" fmla="*/ 16 w 244"/>
                  <a:gd name="T73" fmla="*/ 113 h 184"/>
                  <a:gd name="T74" fmla="*/ 19 w 244"/>
                  <a:gd name="T75" fmla="*/ 106 h 184"/>
                  <a:gd name="T76" fmla="*/ 25 w 244"/>
                  <a:gd name="T77" fmla="*/ 99 h 184"/>
                  <a:gd name="T78" fmla="*/ 33 w 244"/>
                  <a:gd name="T79" fmla="*/ 84 h 184"/>
                  <a:gd name="T80" fmla="*/ 21 w 244"/>
                  <a:gd name="T81" fmla="*/ 77 h 184"/>
                  <a:gd name="T82" fmla="*/ 11 w 244"/>
                  <a:gd name="T83" fmla="*/ 73 h 184"/>
                  <a:gd name="T84" fmla="*/ 2 w 244"/>
                  <a:gd name="T85" fmla="*/ 60 h 184"/>
                  <a:gd name="T86" fmla="*/ 1 w 244"/>
                  <a:gd name="T87" fmla="*/ 47 h 184"/>
                  <a:gd name="T88" fmla="*/ 7 w 244"/>
                  <a:gd name="T89" fmla="*/ 39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44" h="184">
                    <a:moveTo>
                      <a:pt x="7" y="38"/>
                    </a:moveTo>
                    <a:cubicBezTo>
                      <a:pt x="7" y="36"/>
                      <a:pt x="7" y="36"/>
                      <a:pt x="7" y="36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14" y="34"/>
                      <a:pt x="20" y="38"/>
                      <a:pt x="23" y="38"/>
                    </a:cubicBezTo>
                    <a:cubicBezTo>
                      <a:pt x="29" y="39"/>
                      <a:pt x="16" y="46"/>
                      <a:pt x="18" y="46"/>
                    </a:cubicBezTo>
                    <a:cubicBezTo>
                      <a:pt x="20" y="45"/>
                      <a:pt x="18" y="51"/>
                      <a:pt x="21" y="52"/>
                    </a:cubicBezTo>
                    <a:cubicBezTo>
                      <a:pt x="26" y="53"/>
                      <a:pt x="30" y="49"/>
                      <a:pt x="36" y="49"/>
                    </a:cubicBezTo>
                    <a:cubicBezTo>
                      <a:pt x="41" y="48"/>
                      <a:pt x="47" y="51"/>
                      <a:pt x="49" y="49"/>
                    </a:cubicBezTo>
                    <a:cubicBezTo>
                      <a:pt x="53" y="44"/>
                      <a:pt x="69" y="54"/>
                      <a:pt x="77" y="49"/>
                    </a:cubicBezTo>
                    <a:cubicBezTo>
                      <a:pt x="82" y="45"/>
                      <a:pt x="102" y="43"/>
                      <a:pt x="109" y="43"/>
                    </a:cubicBezTo>
                    <a:cubicBezTo>
                      <a:pt x="127" y="42"/>
                      <a:pt x="128" y="42"/>
                      <a:pt x="136" y="37"/>
                    </a:cubicBezTo>
                    <a:cubicBezTo>
                      <a:pt x="136" y="37"/>
                      <a:pt x="141" y="26"/>
                      <a:pt x="144" y="21"/>
                    </a:cubicBezTo>
                    <a:cubicBezTo>
                      <a:pt x="146" y="17"/>
                      <a:pt x="152" y="15"/>
                      <a:pt x="158" y="11"/>
                    </a:cubicBezTo>
                    <a:cubicBezTo>
                      <a:pt x="163" y="7"/>
                      <a:pt x="176" y="3"/>
                      <a:pt x="179" y="2"/>
                    </a:cubicBezTo>
                    <a:cubicBezTo>
                      <a:pt x="182" y="2"/>
                      <a:pt x="203" y="3"/>
                      <a:pt x="203" y="3"/>
                    </a:cubicBezTo>
                    <a:cubicBezTo>
                      <a:pt x="214" y="0"/>
                      <a:pt x="214" y="0"/>
                      <a:pt x="214" y="0"/>
                    </a:cubicBezTo>
                    <a:cubicBezTo>
                      <a:pt x="214" y="0"/>
                      <a:pt x="216" y="8"/>
                      <a:pt x="219" y="9"/>
                    </a:cubicBezTo>
                    <a:cubicBezTo>
                      <a:pt x="228" y="10"/>
                      <a:pt x="235" y="10"/>
                      <a:pt x="238" y="8"/>
                    </a:cubicBezTo>
                    <a:cubicBezTo>
                      <a:pt x="239" y="8"/>
                      <a:pt x="239" y="10"/>
                      <a:pt x="240" y="11"/>
                    </a:cubicBezTo>
                    <a:cubicBezTo>
                      <a:pt x="241" y="13"/>
                      <a:pt x="242" y="17"/>
                      <a:pt x="242" y="17"/>
                    </a:cubicBezTo>
                    <a:cubicBezTo>
                      <a:pt x="241" y="22"/>
                      <a:pt x="241" y="22"/>
                      <a:pt x="241" y="22"/>
                    </a:cubicBezTo>
                    <a:cubicBezTo>
                      <a:pt x="240" y="23"/>
                      <a:pt x="240" y="23"/>
                      <a:pt x="240" y="23"/>
                    </a:cubicBezTo>
                    <a:cubicBezTo>
                      <a:pt x="235" y="26"/>
                      <a:pt x="235" y="26"/>
                      <a:pt x="235" y="26"/>
                    </a:cubicBezTo>
                    <a:cubicBezTo>
                      <a:pt x="235" y="26"/>
                      <a:pt x="233" y="26"/>
                      <a:pt x="232" y="27"/>
                    </a:cubicBezTo>
                    <a:cubicBezTo>
                      <a:pt x="231" y="27"/>
                      <a:pt x="229" y="28"/>
                      <a:pt x="229" y="28"/>
                    </a:cubicBezTo>
                    <a:cubicBezTo>
                      <a:pt x="229" y="28"/>
                      <a:pt x="227" y="30"/>
                      <a:pt x="227" y="31"/>
                    </a:cubicBezTo>
                    <a:cubicBezTo>
                      <a:pt x="226" y="33"/>
                      <a:pt x="225" y="36"/>
                      <a:pt x="225" y="36"/>
                    </a:cubicBezTo>
                    <a:cubicBezTo>
                      <a:pt x="223" y="41"/>
                      <a:pt x="223" y="41"/>
                      <a:pt x="223" y="41"/>
                    </a:cubicBezTo>
                    <a:cubicBezTo>
                      <a:pt x="223" y="48"/>
                      <a:pt x="223" y="48"/>
                      <a:pt x="223" y="48"/>
                    </a:cubicBezTo>
                    <a:cubicBezTo>
                      <a:pt x="225" y="56"/>
                      <a:pt x="225" y="56"/>
                      <a:pt x="225" y="56"/>
                    </a:cubicBezTo>
                    <a:cubicBezTo>
                      <a:pt x="227" y="65"/>
                      <a:pt x="227" y="65"/>
                      <a:pt x="227" y="65"/>
                    </a:cubicBezTo>
                    <a:cubicBezTo>
                      <a:pt x="227" y="65"/>
                      <a:pt x="224" y="68"/>
                      <a:pt x="223" y="68"/>
                    </a:cubicBezTo>
                    <a:cubicBezTo>
                      <a:pt x="223" y="68"/>
                      <a:pt x="222" y="69"/>
                      <a:pt x="222" y="69"/>
                    </a:cubicBezTo>
                    <a:cubicBezTo>
                      <a:pt x="222" y="71"/>
                      <a:pt x="222" y="71"/>
                      <a:pt x="222" y="71"/>
                    </a:cubicBezTo>
                    <a:cubicBezTo>
                      <a:pt x="221" y="74"/>
                      <a:pt x="221" y="74"/>
                      <a:pt x="221" y="74"/>
                    </a:cubicBezTo>
                    <a:cubicBezTo>
                      <a:pt x="220" y="76"/>
                      <a:pt x="220" y="76"/>
                      <a:pt x="220" y="76"/>
                    </a:cubicBezTo>
                    <a:cubicBezTo>
                      <a:pt x="220" y="76"/>
                      <a:pt x="219" y="78"/>
                      <a:pt x="218" y="78"/>
                    </a:cubicBezTo>
                    <a:cubicBezTo>
                      <a:pt x="217" y="79"/>
                      <a:pt x="215" y="81"/>
                      <a:pt x="215" y="81"/>
                    </a:cubicBezTo>
                    <a:cubicBezTo>
                      <a:pt x="216" y="83"/>
                      <a:pt x="216" y="83"/>
                      <a:pt x="216" y="83"/>
                    </a:cubicBezTo>
                    <a:cubicBezTo>
                      <a:pt x="227" y="85"/>
                      <a:pt x="227" y="85"/>
                      <a:pt x="227" y="85"/>
                    </a:cubicBezTo>
                    <a:cubicBezTo>
                      <a:pt x="227" y="87"/>
                      <a:pt x="227" y="87"/>
                      <a:pt x="227" y="87"/>
                    </a:cubicBezTo>
                    <a:cubicBezTo>
                      <a:pt x="232" y="92"/>
                      <a:pt x="232" y="92"/>
                      <a:pt x="232" y="92"/>
                    </a:cubicBezTo>
                    <a:cubicBezTo>
                      <a:pt x="235" y="97"/>
                      <a:pt x="235" y="97"/>
                      <a:pt x="235" y="97"/>
                    </a:cubicBezTo>
                    <a:cubicBezTo>
                      <a:pt x="240" y="99"/>
                      <a:pt x="240" y="99"/>
                      <a:pt x="240" y="99"/>
                    </a:cubicBezTo>
                    <a:cubicBezTo>
                      <a:pt x="240" y="99"/>
                      <a:pt x="244" y="102"/>
                      <a:pt x="244" y="102"/>
                    </a:cubicBezTo>
                    <a:cubicBezTo>
                      <a:pt x="243" y="103"/>
                      <a:pt x="238" y="105"/>
                      <a:pt x="238" y="105"/>
                    </a:cubicBezTo>
                    <a:cubicBezTo>
                      <a:pt x="235" y="107"/>
                      <a:pt x="235" y="107"/>
                      <a:pt x="235" y="107"/>
                    </a:cubicBezTo>
                    <a:cubicBezTo>
                      <a:pt x="235" y="107"/>
                      <a:pt x="233" y="107"/>
                      <a:pt x="231" y="108"/>
                    </a:cubicBezTo>
                    <a:cubicBezTo>
                      <a:pt x="230" y="109"/>
                      <a:pt x="224" y="112"/>
                      <a:pt x="224" y="112"/>
                    </a:cubicBezTo>
                    <a:cubicBezTo>
                      <a:pt x="216" y="107"/>
                      <a:pt x="216" y="107"/>
                      <a:pt x="216" y="107"/>
                    </a:cubicBezTo>
                    <a:cubicBezTo>
                      <a:pt x="211" y="106"/>
                      <a:pt x="211" y="106"/>
                      <a:pt x="211" y="106"/>
                    </a:cubicBezTo>
                    <a:cubicBezTo>
                      <a:pt x="209" y="109"/>
                      <a:pt x="209" y="109"/>
                      <a:pt x="209" y="109"/>
                    </a:cubicBezTo>
                    <a:cubicBezTo>
                      <a:pt x="204" y="110"/>
                      <a:pt x="204" y="110"/>
                      <a:pt x="204" y="110"/>
                    </a:cubicBezTo>
                    <a:cubicBezTo>
                      <a:pt x="201" y="115"/>
                      <a:pt x="201" y="115"/>
                      <a:pt x="201" y="115"/>
                    </a:cubicBezTo>
                    <a:cubicBezTo>
                      <a:pt x="201" y="115"/>
                      <a:pt x="194" y="117"/>
                      <a:pt x="192" y="118"/>
                    </a:cubicBezTo>
                    <a:cubicBezTo>
                      <a:pt x="191" y="119"/>
                      <a:pt x="187" y="122"/>
                      <a:pt x="187" y="122"/>
                    </a:cubicBezTo>
                    <a:cubicBezTo>
                      <a:pt x="188" y="126"/>
                      <a:pt x="188" y="126"/>
                      <a:pt x="188" y="126"/>
                    </a:cubicBezTo>
                    <a:cubicBezTo>
                      <a:pt x="184" y="129"/>
                      <a:pt x="184" y="129"/>
                      <a:pt x="184" y="129"/>
                    </a:cubicBezTo>
                    <a:cubicBezTo>
                      <a:pt x="184" y="129"/>
                      <a:pt x="181" y="130"/>
                      <a:pt x="180" y="132"/>
                    </a:cubicBezTo>
                    <a:cubicBezTo>
                      <a:pt x="180" y="134"/>
                      <a:pt x="181" y="135"/>
                      <a:pt x="181" y="135"/>
                    </a:cubicBezTo>
                    <a:cubicBezTo>
                      <a:pt x="179" y="135"/>
                      <a:pt x="176" y="136"/>
                      <a:pt x="175" y="137"/>
                    </a:cubicBezTo>
                    <a:cubicBezTo>
                      <a:pt x="174" y="137"/>
                      <a:pt x="174" y="139"/>
                      <a:pt x="175" y="141"/>
                    </a:cubicBezTo>
                    <a:cubicBezTo>
                      <a:pt x="175" y="142"/>
                      <a:pt x="177" y="144"/>
                      <a:pt x="179" y="147"/>
                    </a:cubicBezTo>
                    <a:cubicBezTo>
                      <a:pt x="180" y="150"/>
                      <a:pt x="181" y="150"/>
                      <a:pt x="181" y="151"/>
                    </a:cubicBezTo>
                    <a:cubicBezTo>
                      <a:pt x="181" y="152"/>
                      <a:pt x="180" y="155"/>
                      <a:pt x="179" y="156"/>
                    </a:cubicBezTo>
                    <a:cubicBezTo>
                      <a:pt x="177" y="158"/>
                      <a:pt x="175" y="158"/>
                      <a:pt x="174" y="158"/>
                    </a:cubicBezTo>
                    <a:cubicBezTo>
                      <a:pt x="173" y="159"/>
                      <a:pt x="170" y="161"/>
                      <a:pt x="169" y="161"/>
                    </a:cubicBezTo>
                    <a:cubicBezTo>
                      <a:pt x="168" y="162"/>
                      <a:pt x="163" y="163"/>
                      <a:pt x="162" y="163"/>
                    </a:cubicBezTo>
                    <a:cubicBezTo>
                      <a:pt x="161" y="163"/>
                      <a:pt x="155" y="165"/>
                      <a:pt x="155" y="165"/>
                    </a:cubicBezTo>
                    <a:cubicBezTo>
                      <a:pt x="150" y="167"/>
                      <a:pt x="150" y="167"/>
                      <a:pt x="150" y="167"/>
                    </a:cubicBezTo>
                    <a:cubicBezTo>
                      <a:pt x="147" y="169"/>
                      <a:pt x="147" y="169"/>
                      <a:pt x="147" y="169"/>
                    </a:cubicBezTo>
                    <a:cubicBezTo>
                      <a:pt x="139" y="167"/>
                      <a:pt x="139" y="167"/>
                      <a:pt x="139" y="167"/>
                    </a:cubicBezTo>
                    <a:cubicBezTo>
                      <a:pt x="129" y="164"/>
                      <a:pt x="129" y="164"/>
                      <a:pt x="129" y="164"/>
                    </a:cubicBezTo>
                    <a:cubicBezTo>
                      <a:pt x="129" y="164"/>
                      <a:pt x="124" y="168"/>
                      <a:pt x="123" y="168"/>
                    </a:cubicBezTo>
                    <a:cubicBezTo>
                      <a:pt x="122" y="168"/>
                      <a:pt x="116" y="164"/>
                      <a:pt x="116" y="164"/>
                    </a:cubicBezTo>
                    <a:cubicBezTo>
                      <a:pt x="113" y="159"/>
                      <a:pt x="113" y="159"/>
                      <a:pt x="113" y="159"/>
                    </a:cubicBezTo>
                    <a:cubicBezTo>
                      <a:pt x="113" y="159"/>
                      <a:pt x="107" y="160"/>
                      <a:pt x="106" y="160"/>
                    </a:cubicBezTo>
                    <a:cubicBezTo>
                      <a:pt x="105" y="160"/>
                      <a:pt x="104" y="162"/>
                      <a:pt x="104" y="163"/>
                    </a:cubicBezTo>
                    <a:cubicBezTo>
                      <a:pt x="103" y="163"/>
                      <a:pt x="101" y="163"/>
                      <a:pt x="99" y="163"/>
                    </a:cubicBezTo>
                    <a:cubicBezTo>
                      <a:pt x="96" y="163"/>
                      <a:pt x="94" y="165"/>
                      <a:pt x="94" y="165"/>
                    </a:cubicBezTo>
                    <a:cubicBezTo>
                      <a:pt x="92" y="169"/>
                      <a:pt x="92" y="169"/>
                      <a:pt x="92" y="169"/>
                    </a:cubicBezTo>
                    <a:cubicBezTo>
                      <a:pt x="92" y="169"/>
                      <a:pt x="87" y="171"/>
                      <a:pt x="87" y="171"/>
                    </a:cubicBezTo>
                    <a:cubicBezTo>
                      <a:pt x="86" y="172"/>
                      <a:pt x="77" y="175"/>
                      <a:pt x="77" y="175"/>
                    </a:cubicBezTo>
                    <a:cubicBezTo>
                      <a:pt x="70" y="177"/>
                      <a:pt x="70" y="177"/>
                      <a:pt x="70" y="177"/>
                    </a:cubicBezTo>
                    <a:cubicBezTo>
                      <a:pt x="70" y="177"/>
                      <a:pt x="68" y="178"/>
                      <a:pt x="67" y="177"/>
                    </a:cubicBezTo>
                    <a:cubicBezTo>
                      <a:pt x="66" y="177"/>
                      <a:pt x="63" y="180"/>
                      <a:pt x="63" y="180"/>
                    </a:cubicBezTo>
                    <a:cubicBezTo>
                      <a:pt x="57" y="184"/>
                      <a:pt x="57" y="184"/>
                      <a:pt x="57" y="184"/>
                    </a:cubicBezTo>
                    <a:cubicBezTo>
                      <a:pt x="51" y="184"/>
                      <a:pt x="51" y="184"/>
                      <a:pt x="51" y="184"/>
                    </a:cubicBezTo>
                    <a:cubicBezTo>
                      <a:pt x="51" y="184"/>
                      <a:pt x="51" y="183"/>
                      <a:pt x="51" y="183"/>
                    </a:cubicBezTo>
                    <a:cubicBezTo>
                      <a:pt x="51" y="183"/>
                      <a:pt x="51" y="183"/>
                      <a:pt x="51" y="183"/>
                    </a:cubicBezTo>
                    <a:cubicBezTo>
                      <a:pt x="51" y="182"/>
                      <a:pt x="51" y="182"/>
                      <a:pt x="51" y="182"/>
                    </a:cubicBezTo>
                    <a:cubicBezTo>
                      <a:pt x="51" y="181"/>
                      <a:pt x="50" y="180"/>
                      <a:pt x="50" y="178"/>
                    </a:cubicBezTo>
                    <a:cubicBezTo>
                      <a:pt x="49" y="176"/>
                      <a:pt x="48" y="174"/>
                      <a:pt x="48" y="172"/>
                    </a:cubicBezTo>
                    <a:cubicBezTo>
                      <a:pt x="48" y="171"/>
                      <a:pt x="49" y="170"/>
                      <a:pt x="49" y="169"/>
                    </a:cubicBezTo>
                    <a:cubicBezTo>
                      <a:pt x="49" y="169"/>
                      <a:pt x="49" y="169"/>
                      <a:pt x="49" y="169"/>
                    </a:cubicBezTo>
                    <a:cubicBezTo>
                      <a:pt x="50" y="168"/>
                      <a:pt x="50" y="167"/>
                      <a:pt x="50" y="165"/>
                    </a:cubicBezTo>
                    <a:cubicBezTo>
                      <a:pt x="49" y="161"/>
                      <a:pt x="45" y="161"/>
                      <a:pt x="44" y="157"/>
                    </a:cubicBezTo>
                    <a:cubicBezTo>
                      <a:pt x="43" y="154"/>
                      <a:pt x="39" y="151"/>
                      <a:pt x="39" y="150"/>
                    </a:cubicBezTo>
                    <a:cubicBezTo>
                      <a:pt x="32" y="146"/>
                      <a:pt x="28" y="147"/>
                      <a:pt x="24" y="143"/>
                    </a:cubicBezTo>
                    <a:cubicBezTo>
                      <a:pt x="23" y="142"/>
                      <a:pt x="22" y="141"/>
                      <a:pt x="22" y="140"/>
                    </a:cubicBezTo>
                    <a:cubicBezTo>
                      <a:pt x="23" y="139"/>
                      <a:pt x="23" y="139"/>
                      <a:pt x="23" y="139"/>
                    </a:cubicBezTo>
                    <a:cubicBezTo>
                      <a:pt x="23" y="139"/>
                      <a:pt x="22" y="139"/>
                      <a:pt x="21" y="138"/>
                    </a:cubicBezTo>
                    <a:cubicBezTo>
                      <a:pt x="20" y="137"/>
                      <a:pt x="19" y="136"/>
                      <a:pt x="18" y="135"/>
                    </a:cubicBezTo>
                    <a:cubicBezTo>
                      <a:pt x="18" y="135"/>
                      <a:pt x="18" y="135"/>
                      <a:pt x="18" y="135"/>
                    </a:cubicBezTo>
                    <a:cubicBezTo>
                      <a:pt x="19" y="135"/>
                      <a:pt x="20" y="133"/>
                      <a:pt x="20" y="133"/>
                    </a:cubicBezTo>
                    <a:cubicBezTo>
                      <a:pt x="21" y="130"/>
                      <a:pt x="21" y="130"/>
                      <a:pt x="21" y="130"/>
                    </a:cubicBezTo>
                    <a:cubicBezTo>
                      <a:pt x="22" y="128"/>
                      <a:pt x="22" y="128"/>
                      <a:pt x="22" y="128"/>
                    </a:cubicBezTo>
                    <a:cubicBezTo>
                      <a:pt x="22" y="128"/>
                      <a:pt x="21" y="125"/>
                      <a:pt x="20" y="125"/>
                    </a:cubicBezTo>
                    <a:cubicBezTo>
                      <a:pt x="20" y="124"/>
                      <a:pt x="17" y="123"/>
                      <a:pt x="17" y="123"/>
                    </a:cubicBezTo>
                    <a:cubicBezTo>
                      <a:pt x="17" y="118"/>
                      <a:pt x="17" y="118"/>
                      <a:pt x="17" y="118"/>
                    </a:cubicBezTo>
                    <a:cubicBezTo>
                      <a:pt x="16" y="113"/>
                      <a:pt x="16" y="113"/>
                      <a:pt x="16" y="113"/>
                    </a:cubicBezTo>
                    <a:cubicBezTo>
                      <a:pt x="14" y="110"/>
                      <a:pt x="14" y="110"/>
                      <a:pt x="14" y="110"/>
                    </a:cubicBezTo>
                    <a:cubicBezTo>
                      <a:pt x="14" y="110"/>
                      <a:pt x="16" y="108"/>
                      <a:pt x="17" y="107"/>
                    </a:cubicBezTo>
                    <a:cubicBezTo>
                      <a:pt x="17" y="107"/>
                      <a:pt x="18" y="106"/>
                      <a:pt x="19" y="106"/>
                    </a:cubicBezTo>
                    <a:cubicBezTo>
                      <a:pt x="20" y="105"/>
                      <a:pt x="22" y="105"/>
                      <a:pt x="23" y="105"/>
                    </a:cubicBezTo>
                    <a:cubicBezTo>
                      <a:pt x="24" y="105"/>
                      <a:pt x="26" y="103"/>
                      <a:pt x="26" y="103"/>
                    </a:cubicBezTo>
                    <a:cubicBezTo>
                      <a:pt x="26" y="103"/>
                      <a:pt x="26" y="100"/>
                      <a:pt x="25" y="99"/>
                    </a:cubicBezTo>
                    <a:cubicBezTo>
                      <a:pt x="25" y="97"/>
                      <a:pt x="27" y="95"/>
                      <a:pt x="27" y="95"/>
                    </a:cubicBezTo>
                    <a:cubicBezTo>
                      <a:pt x="27" y="95"/>
                      <a:pt x="30" y="91"/>
                      <a:pt x="31" y="90"/>
                    </a:cubicBezTo>
                    <a:cubicBezTo>
                      <a:pt x="32" y="89"/>
                      <a:pt x="33" y="84"/>
                      <a:pt x="33" y="84"/>
                    </a:cubicBezTo>
                    <a:cubicBezTo>
                      <a:pt x="29" y="84"/>
                      <a:pt x="29" y="84"/>
                      <a:pt x="29" y="84"/>
                    </a:cubicBezTo>
                    <a:cubicBezTo>
                      <a:pt x="25" y="83"/>
                      <a:pt x="25" y="83"/>
                      <a:pt x="25" y="83"/>
                    </a:cubicBezTo>
                    <a:cubicBezTo>
                      <a:pt x="25" y="83"/>
                      <a:pt x="21" y="77"/>
                      <a:pt x="21" y="77"/>
                    </a:cubicBezTo>
                    <a:cubicBezTo>
                      <a:pt x="21" y="76"/>
                      <a:pt x="19" y="76"/>
                      <a:pt x="19" y="76"/>
                    </a:cubicBezTo>
                    <a:cubicBezTo>
                      <a:pt x="19" y="76"/>
                      <a:pt x="15" y="74"/>
                      <a:pt x="15" y="74"/>
                    </a:cubicBezTo>
                    <a:cubicBezTo>
                      <a:pt x="14" y="74"/>
                      <a:pt x="11" y="73"/>
                      <a:pt x="11" y="73"/>
                    </a:cubicBezTo>
                    <a:cubicBezTo>
                      <a:pt x="11" y="73"/>
                      <a:pt x="7" y="68"/>
                      <a:pt x="6" y="66"/>
                    </a:cubicBezTo>
                    <a:cubicBezTo>
                      <a:pt x="5" y="64"/>
                      <a:pt x="4" y="63"/>
                      <a:pt x="4" y="63"/>
                    </a:cubicBezTo>
                    <a:cubicBezTo>
                      <a:pt x="4" y="63"/>
                      <a:pt x="3" y="61"/>
                      <a:pt x="2" y="60"/>
                    </a:cubicBezTo>
                    <a:cubicBezTo>
                      <a:pt x="1" y="59"/>
                      <a:pt x="1" y="57"/>
                      <a:pt x="1" y="57"/>
                    </a:cubicBezTo>
                    <a:cubicBezTo>
                      <a:pt x="1" y="57"/>
                      <a:pt x="2" y="54"/>
                      <a:pt x="1" y="52"/>
                    </a:cubicBezTo>
                    <a:cubicBezTo>
                      <a:pt x="1" y="51"/>
                      <a:pt x="0" y="47"/>
                      <a:pt x="1" y="47"/>
                    </a:cubicBezTo>
                    <a:cubicBezTo>
                      <a:pt x="2" y="45"/>
                      <a:pt x="3" y="43"/>
                      <a:pt x="5" y="42"/>
                    </a:cubicBezTo>
                    <a:cubicBezTo>
                      <a:pt x="6" y="42"/>
                      <a:pt x="6" y="42"/>
                      <a:pt x="7" y="42"/>
                    </a:cubicBezTo>
                    <a:cubicBezTo>
                      <a:pt x="8" y="42"/>
                      <a:pt x="7" y="39"/>
                      <a:pt x="7" y="39"/>
                    </a:cubicBezTo>
                    <a:lnTo>
                      <a:pt x="7" y="38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62" name="Freeform 221">
                <a:extLst>
                  <a:ext uri="{FF2B5EF4-FFF2-40B4-BE49-F238E27FC236}">
                    <a16:creationId xmlns:a16="http://schemas.microsoft.com/office/drawing/2014/main" id="{9E105B3E-374D-A803-13EB-31DCF6E97EB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28434" y="2913136"/>
                <a:ext cx="624507" cy="307829"/>
              </a:xfrm>
              <a:custGeom>
                <a:avLst/>
                <a:gdLst>
                  <a:gd name="T0" fmla="*/ 196 w 279"/>
                  <a:gd name="T1" fmla="*/ 4 h 142"/>
                  <a:gd name="T2" fmla="*/ 219 w 279"/>
                  <a:gd name="T3" fmla="*/ 5 h 142"/>
                  <a:gd name="T4" fmla="*/ 249 w 279"/>
                  <a:gd name="T5" fmla="*/ 8 h 142"/>
                  <a:gd name="T6" fmla="*/ 268 w 279"/>
                  <a:gd name="T7" fmla="*/ 17 h 142"/>
                  <a:gd name="T8" fmla="*/ 266 w 279"/>
                  <a:gd name="T9" fmla="*/ 29 h 142"/>
                  <a:gd name="T10" fmla="*/ 271 w 279"/>
                  <a:gd name="T11" fmla="*/ 39 h 142"/>
                  <a:gd name="T12" fmla="*/ 277 w 279"/>
                  <a:gd name="T13" fmla="*/ 56 h 142"/>
                  <a:gd name="T14" fmla="*/ 259 w 279"/>
                  <a:gd name="T15" fmla="*/ 63 h 142"/>
                  <a:gd name="T16" fmla="*/ 260 w 279"/>
                  <a:gd name="T17" fmla="*/ 82 h 142"/>
                  <a:gd name="T18" fmla="*/ 255 w 279"/>
                  <a:gd name="T19" fmla="*/ 104 h 142"/>
                  <a:gd name="T20" fmla="*/ 238 w 279"/>
                  <a:gd name="T21" fmla="*/ 121 h 142"/>
                  <a:gd name="T22" fmla="*/ 206 w 279"/>
                  <a:gd name="T23" fmla="*/ 128 h 142"/>
                  <a:gd name="T24" fmla="*/ 191 w 279"/>
                  <a:gd name="T25" fmla="*/ 142 h 142"/>
                  <a:gd name="T26" fmla="*/ 146 w 279"/>
                  <a:gd name="T27" fmla="*/ 138 h 142"/>
                  <a:gd name="T28" fmla="*/ 104 w 279"/>
                  <a:gd name="T29" fmla="*/ 126 h 142"/>
                  <a:gd name="T30" fmla="*/ 94 w 279"/>
                  <a:gd name="T31" fmla="*/ 112 h 142"/>
                  <a:gd name="T32" fmla="*/ 60 w 279"/>
                  <a:gd name="T33" fmla="*/ 121 h 142"/>
                  <a:gd name="T34" fmla="*/ 39 w 279"/>
                  <a:gd name="T35" fmla="*/ 126 h 142"/>
                  <a:gd name="T36" fmla="*/ 37 w 279"/>
                  <a:gd name="T37" fmla="*/ 118 h 142"/>
                  <a:gd name="T38" fmla="*/ 31 w 279"/>
                  <a:gd name="T39" fmla="*/ 120 h 142"/>
                  <a:gd name="T40" fmla="*/ 26 w 279"/>
                  <a:gd name="T41" fmla="*/ 124 h 142"/>
                  <a:gd name="T42" fmla="*/ 17 w 279"/>
                  <a:gd name="T43" fmla="*/ 120 h 142"/>
                  <a:gd name="T44" fmla="*/ 2 w 279"/>
                  <a:gd name="T45" fmla="*/ 114 h 142"/>
                  <a:gd name="T46" fmla="*/ 2 w 279"/>
                  <a:gd name="T47" fmla="*/ 113 h 142"/>
                  <a:gd name="T48" fmla="*/ 4 w 279"/>
                  <a:gd name="T49" fmla="*/ 113 h 142"/>
                  <a:gd name="T50" fmla="*/ 5 w 279"/>
                  <a:gd name="T51" fmla="*/ 112 h 142"/>
                  <a:gd name="T52" fmla="*/ 4 w 279"/>
                  <a:gd name="T53" fmla="*/ 111 h 142"/>
                  <a:gd name="T54" fmla="*/ 4 w 279"/>
                  <a:gd name="T55" fmla="*/ 110 h 142"/>
                  <a:gd name="T56" fmla="*/ 3 w 279"/>
                  <a:gd name="T57" fmla="*/ 109 h 142"/>
                  <a:gd name="T58" fmla="*/ 3 w 279"/>
                  <a:gd name="T59" fmla="*/ 108 h 142"/>
                  <a:gd name="T60" fmla="*/ 2 w 279"/>
                  <a:gd name="T61" fmla="*/ 106 h 142"/>
                  <a:gd name="T62" fmla="*/ 2 w 279"/>
                  <a:gd name="T63" fmla="*/ 104 h 142"/>
                  <a:gd name="T64" fmla="*/ 7 w 279"/>
                  <a:gd name="T65" fmla="*/ 94 h 142"/>
                  <a:gd name="T66" fmla="*/ 6 w 279"/>
                  <a:gd name="T67" fmla="*/ 91 h 142"/>
                  <a:gd name="T68" fmla="*/ 6 w 279"/>
                  <a:gd name="T69" fmla="*/ 91 h 142"/>
                  <a:gd name="T70" fmla="*/ 6 w 279"/>
                  <a:gd name="T71" fmla="*/ 90 h 142"/>
                  <a:gd name="T72" fmla="*/ 6 w 279"/>
                  <a:gd name="T73" fmla="*/ 90 h 142"/>
                  <a:gd name="T74" fmla="*/ 23 w 279"/>
                  <a:gd name="T75" fmla="*/ 94 h 142"/>
                  <a:gd name="T76" fmla="*/ 32 w 279"/>
                  <a:gd name="T77" fmla="*/ 101 h 142"/>
                  <a:gd name="T78" fmla="*/ 38 w 279"/>
                  <a:gd name="T79" fmla="*/ 88 h 142"/>
                  <a:gd name="T80" fmla="*/ 55 w 279"/>
                  <a:gd name="T81" fmla="*/ 95 h 142"/>
                  <a:gd name="T82" fmla="*/ 73 w 279"/>
                  <a:gd name="T83" fmla="*/ 88 h 142"/>
                  <a:gd name="T84" fmla="*/ 95 w 279"/>
                  <a:gd name="T85" fmla="*/ 82 h 142"/>
                  <a:gd name="T86" fmla="*/ 110 w 279"/>
                  <a:gd name="T87" fmla="*/ 80 h 142"/>
                  <a:gd name="T88" fmla="*/ 123 w 279"/>
                  <a:gd name="T89" fmla="*/ 85 h 142"/>
                  <a:gd name="T90" fmla="*/ 130 w 279"/>
                  <a:gd name="T91" fmla="*/ 76 h 142"/>
                  <a:gd name="T92" fmla="*/ 123 w 279"/>
                  <a:gd name="T93" fmla="*/ 62 h 142"/>
                  <a:gd name="T94" fmla="*/ 126 w 279"/>
                  <a:gd name="T95" fmla="*/ 48 h 142"/>
                  <a:gd name="T96" fmla="*/ 141 w 279"/>
                  <a:gd name="T97" fmla="*/ 38 h 142"/>
                  <a:gd name="T98" fmla="*/ 152 w 279"/>
                  <a:gd name="T99" fmla="*/ 29 h 142"/>
                  <a:gd name="T100" fmla="*/ 160 w 279"/>
                  <a:gd name="T101" fmla="*/ 20 h 142"/>
                  <a:gd name="T102" fmla="*/ 183 w 279"/>
                  <a:gd name="T103" fmla="*/ 25 h 142"/>
                  <a:gd name="T104" fmla="*/ 1 w 279"/>
                  <a:gd name="T105" fmla="*/ 114 h 142"/>
                  <a:gd name="T106" fmla="*/ 1 w 279"/>
                  <a:gd name="T107" fmla="*/ 114 h 142"/>
                  <a:gd name="T108" fmla="*/ 2 w 279"/>
                  <a:gd name="T109" fmla="*/ 11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79" h="142">
                    <a:moveTo>
                      <a:pt x="187" y="24"/>
                    </a:moveTo>
                    <a:cubicBezTo>
                      <a:pt x="187" y="24"/>
                      <a:pt x="187" y="18"/>
                      <a:pt x="188" y="18"/>
                    </a:cubicBezTo>
                    <a:cubicBezTo>
                      <a:pt x="189" y="18"/>
                      <a:pt x="191" y="15"/>
                      <a:pt x="191" y="15"/>
                    </a:cubicBezTo>
                    <a:cubicBezTo>
                      <a:pt x="194" y="14"/>
                      <a:pt x="194" y="14"/>
                      <a:pt x="194" y="14"/>
                    </a:cubicBezTo>
                    <a:cubicBezTo>
                      <a:pt x="194" y="14"/>
                      <a:pt x="196" y="12"/>
                      <a:pt x="196" y="10"/>
                    </a:cubicBezTo>
                    <a:cubicBezTo>
                      <a:pt x="195" y="9"/>
                      <a:pt x="196" y="4"/>
                      <a:pt x="196" y="4"/>
                    </a:cubicBezTo>
                    <a:cubicBezTo>
                      <a:pt x="196" y="4"/>
                      <a:pt x="195" y="1"/>
                      <a:pt x="196" y="1"/>
                    </a:cubicBezTo>
                    <a:cubicBezTo>
                      <a:pt x="198" y="0"/>
                      <a:pt x="201" y="2"/>
                      <a:pt x="201" y="2"/>
                    </a:cubicBezTo>
                    <a:cubicBezTo>
                      <a:pt x="206" y="3"/>
                      <a:pt x="206" y="3"/>
                      <a:pt x="206" y="3"/>
                    </a:cubicBezTo>
                    <a:cubicBezTo>
                      <a:pt x="206" y="3"/>
                      <a:pt x="208" y="3"/>
                      <a:pt x="209" y="3"/>
                    </a:cubicBezTo>
                    <a:cubicBezTo>
                      <a:pt x="210" y="3"/>
                      <a:pt x="214" y="4"/>
                      <a:pt x="214" y="4"/>
                    </a:cubicBezTo>
                    <a:cubicBezTo>
                      <a:pt x="214" y="4"/>
                      <a:pt x="218" y="5"/>
                      <a:pt x="219" y="5"/>
                    </a:cubicBezTo>
                    <a:cubicBezTo>
                      <a:pt x="220" y="5"/>
                      <a:pt x="224" y="5"/>
                      <a:pt x="224" y="5"/>
                    </a:cubicBezTo>
                    <a:cubicBezTo>
                      <a:pt x="226" y="6"/>
                      <a:pt x="226" y="6"/>
                      <a:pt x="226" y="6"/>
                    </a:cubicBezTo>
                    <a:cubicBezTo>
                      <a:pt x="233" y="9"/>
                      <a:pt x="233" y="9"/>
                      <a:pt x="233" y="9"/>
                    </a:cubicBezTo>
                    <a:cubicBezTo>
                      <a:pt x="237" y="11"/>
                      <a:pt x="237" y="11"/>
                      <a:pt x="237" y="11"/>
                    </a:cubicBezTo>
                    <a:cubicBezTo>
                      <a:pt x="248" y="12"/>
                      <a:pt x="248" y="12"/>
                      <a:pt x="248" y="12"/>
                    </a:cubicBezTo>
                    <a:cubicBezTo>
                      <a:pt x="249" y="8"/>
                      <a:pt x="249" y="8"/>
                      <a:pt x="249" y="8"/>
                    </a:cubicBezTo>
                    <a:cubicBezTo>
                      <a:pt x="249" y="8"/>
                      <a:pt x="253" y="7"/>
                      <a:pt x="253" y="8"/>
                    </a:cubicBezTo>
                    <a:cubicBezTo>
                      <a:pt x="254" y="8"/>
                      <a:pt x="256" y="10"/>
                      <a:pt x="259" y="11"/>
                    </a:cubicBezTo>
                    <a:cubicBezTo>
                      <a:pt x="262" y="11"/>
                      <a:pt x="265" y="10"/>
                      <a:pt x="265" y="10"/>
                    </a:cubicBezTo>
                    <a:cubicBezTo>
                      <a:pt x="267" y="16"/>
                      <a:pt x="267" y="16"/>
                      <a:pt x="267" y="16"/>
                    </a:cubicBezTo>
                    <a:cubicBezTo>
                      <a:pt x="269" y="17"/>
                      <a:pt x="269" y="17"/>
                      <a:pt x="269" y="17"/>
                    </a:cubicBezTo>
                    <a:cubicBezTo>
                      <a:pt x="268" y="17"/>
                      <a:pt x="268" y="17"/>
                      <a:pt x="268" y="17"/>
                    </a:cubicBezTo>
                    <a:cubicBezTo>
                      <a:pt x="268" y="20"/>
                      <a:pt x="268" y="20"/>
                      <a:pt x="268" y="20"/>
                    </a:cubicBezTo>
                    <a:cubicBezTo>
                      <a:pt x="269" y="21"/>
                      <a:pt x="269" y="21"/>
                      <a:pt x="269" y="21"/>
                    </a:cubicBezTo>
                    <a:cubicBezTo>
                      <a:pt x="269" y="21"/>
                      <a:pt x="268" y="23"/>
                      <a:pt x="268" y="23"/>
                    </a:cubicBezTo>
                    <a:cubicBezTo>
                      <a:pt x="268" y="23"/>
                      <a:pt x="268" y="25"/>
                      <a:pt x="268" y="25"/>
                    </a:cubicBezTo>
                    <a:cubicBezTo>
                      <a:pt x="266" y="27"/>
                      <a:pt x="266" y="27"/>
                      <a:pt x="266" y="27"/>
                    </a:cubicBezTo>
                    <a:cubicBezTo>
                      <a:pt x="266" y="29"/>
                      <a:pt x="266" y="29"/>
                      <a:pt x="266" y="29"/>
                    </a:cubicBezTo>
                    <a:cubicBezTo>
                      <a:pt x="266" y="29"/>
                      <a:pt x="266" y="32"/>
                      <a:pt x="266" y="32"/>
                    </a:cubicBezTo>
                    <a:cubicBezTo>
                      <a:pt x="266" y="32"/>
                      <a:pt x="267" y="33"/>
                      <a:pt x="268" y="33"/>
                    </a:cubicBezTo>
                    <a:cubicBezTo>
                      <a:pt x="268" y="33"/>
                      <a:pt x="268" y="34"/>
                      <a:pt x="268" y="34"/>
                    </a:cubicBezTo>
                    <a:cubicBezTo>
                      <a:pt x="268" y="34"/>
                      <a:pt x="269" y="35"/>
                      <a:pt x="270" y="36"/>
                    </a:cubicBezTo>
                    <a:cubicBezTo>
                      <a:pt x="270" y="36"/>
                      <a:pt x="270" y="36"/>
                      <a:pt x="270" y="36"/>
                    </a:cubicBezTo>
                    <a:cubicBezTo>
                      <a:pt x="270" y="36"/>
                      <a:pt x="271" y="38"/>
                      <a:pt x="271" y="39"/>
                    </a:cubicBezTo>
                    <a:cubicBezTo>
                      <a:pt x="272" y="40"/>
                      <a:pt x="272" y="41"/>
                      <a:pt x="272" y="41"/>
                    </a:cubicBezTo>
                    <a:cubicBezTo>
                      <a:pt x="272" y="41"/>
                      <a:pt x="273" y="43"/>
                      <a:pt x="274" y="43"/>
                    </a:cubicBezTo>
                    <a:cubicBezTo>
                      <a:pt x="274" y="43"/>
                      <a:pt x="275" y="43"/>
                      <a:pt x="276" y="43"/>
                    </a:cubicBezTo>
                    <a:cubicBezTo>
                      <a:pt x="276" y="43"/>
                      <a:pt x="277" y="43"/>
                      <a:pt x="277" y="43"/>
                    </a:cubicBezTo>
                    <a:cubicBezTo>
                      <a:pt x="277" y="44"/>
                      <a:pt x="276" y="50"/>
                      <a:pt x="276" y="50"/>
                    </a:cubicBezTo>
                    <a:cubicBezTo>
                      <a:pt x="277" y="56"/>
                      <a:pt x="277" y="56"/>
                      <a:pt x="277" y="56"/>
                    </a:cubicBezTo>
                    <a:cubicBezTo>
                      <a:pt x="277" y="56"/>
                      <a:pt x="276" y="59"/>
                      <a:pt x="276" y="60"/>
                    </a:cubicBezTo>
                    <a:cubicBezTo>
                      <a:pt x="277" y="62"/>
                      <a:pt x="279" y="64"/>
                      <a:pt x="276" y="65"/>
                    </a:cubicBezTo>
                    <a:cubicBezTo>
                      <a:pt x="274" y="65"/>
                      <a:pt x="271" y="67"/>
                      <a:pt x="270" y="65"/>
                    </a:cubicBezTo>
                    <a:cubicBezTo>
                      <a:pt x="270" y="65"/>
                      <a:pt x="269" y="63"/>
                      <a:pt x="269" y="66"/>
                    </a:cubicBezTo>
                    <a:cubicBezTo>
                      <a:pt x="270" y="67"/>
                      <a:pt x="267" y="66"/>
                      <a:pt x="267" y="66"/>
                    </a:cubicBezTo>
                    <a:cubicBezTo>
                      <a:pt x="259" y="63"/>
                      <a:pt x="259" y="63"/>
                      <a:pt x="259" y="63"/>
                    </a:cubicBezTo>
                    <a:cubicBezTo>
                      <a:pt x="257" y="65"/>
                      <a:pt x="257" y="65"/>
                      <a:pt x="257" y="65"/>
                    </a:cubicBezTo>
                    <a:cubicBezTo>
                      <a:pt x="253" y="68"/>
                      <a:pt x="253" y="68"/>
                      <a:pt x="253" y="68"/>
                    </a:cubicBezTo>
                    <a:cubicBezTo>
                      <a:pt x="259" y="70"/>
                      <a:pt x="259" y="70"/>
                      <a:pt x="259" y="70"/>
                    </a:cubicBezTo>
                    <a:cubicBezTo>
                      <a:pt x="261" y="70"/>
                      <a:pt x="261" y="70"/>
                      <a:pt x="261" y="70"/>
                    </a:cubicBezTo>
                    <a:cubicBezTo>
                      <a:pt x="266" y="78"/>
                      <a:pt x="266" y="78"/>
                      <a:pt x="266" y="78"/>
                    </a:cubicBezTo>
                    <a:cubicBezTo>
                      <a:pt x="260" y="82"/>
                      <a:pt x="260" y="82"/>
                      <a:pt x="260" y="82"/>
                    </a:cubicBezTo>
                    <a:cubicBezTo>
                      <a:pt x="260" y="82"/>
                      <a:pt x="257" y="84"/>
                      <a:pt x="256" y="84"/>
                    </a:cubicBezTo>
                    <a:cubicBezTo>
                      <a:pt x="255" y="84"/>
                      <a:pt x="254" y="85"/>
                      <a:pt x="254" y="85"/>
                    </a:cubicBezTo>
                    <a:cubicBezTo>
                      <a:pt x="257" y="91"/>
                      <a:pt x="257" y="91"/>
                      <a:pt x="257" y="91"/>
                    </a:cubicBezTo>
                    <a:cubicBezTo>
                      <a:pt x="257" y="93"/>
                      <a:pt x="257" y="93"/>
                      <a:pt x="257" y="93"/>
                    </a:cubicBezTo>
                    <a:cubicBezTo>
                      <a:pt x="258" y="99"/>
                      <a:pt x="258" y="99"/>
                      <a:pt x="258" y="99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2" y="105"/>
                      <a:pt x="252" y="105"/>
                      <a:pt x="252" y="105"/>
                    </a:cubicBezTo>
                    <a:cubicBezTo>
                      <a:pt x="249" y="112"/>
                      <a:pt x="249" y="112"/>
                      <a:pt x="249" y="112"/>
                    </a:cubicBezTo>
                    <a:cubicBezTo>
                      <a:pt x="244" y="115"/>
                      <a:pt x="244" y="115"/>
                      <a:pt x="244" y="115"/>
                    </a:cubicBezTo>
                    <a:cubicBezTo>
                      <a:pt x="243" y="119"/>
                      <a:pt x="243" y="119"/>
                      <a:pt x="243" y="119"/>
                    </a:cubicBezTo>
                    <a:cubicBezTo>
                      <a:pt x="244" y="125"/>
                      <a:pt x="244" y="125"/>
                      <a:pt x="244" y="125"/>
                    </a:cubicBezTo>
                    <a:cubicBezTo>
                      <a:pt x="238" y="121"/>
                      <a:pt x="238" y="121"/>
                      <a:pt x="238" y="121"/>
                    </a:cubicBezTo>
                    <a:cubicBezTo>
                      <a:pt x="233" y="123"/>
                      <a:pt x="233" y="123"/>
                      <a:pt x="233" y="123"/>
                    </a:cubicBezTo>
                    <a:cubicBezTo>
                      <a:pt x="230" y="124"/>
                      <a:pt x="230" y="124"/>
                      <a:pt x="230" y="124"/>
                    </a:cubicBezTo>
                    <a:cubicBezTo>
                      <a:pt x="224" y="128"/>
                      <a:pt x="224" y="128"/>
                      <a:pt x="224" y="128"/>
                    </a:cubicBezTo>
                    <a:cubicBezTo>
                      <a:pt x="219" y="126"/>
                      <a:pt x="219" y="126"/>
                      <a:pt x="219" y="126"/>
                    </a:cubicBezTo>
                    <a:cubicBezTo>
                      <a:pt x="212" y="128"/>
                      <a:pt x="212" y="128"/>
                      <a:pt x="212" y="128"/>
                    </a:cubicBezTo>
                    <a:cubicBezTo>
                      <a:pt x="206" y="128"/>
                      <a:pt x="206" y="128"/>
                      <a:pt x="206" y="128"/>
                    </a:cubicBezTo>
                    <a:cubicBezTo>
                      <a:pt x="203" y="130"/>
                      <a:pt x="203" y="130"/>
                      <a:pt x="203" y="130"/>
                    </a:cubicBezTo>
                    <a:cubicBezTo>
                      <a:pt x="201" y="134"/>
                      <a:pt x="201" y="134"/>
                      <a:pt x="201" y="134"/>
                    </a:cubicBezTo>
                    <a:cubicBezTo>
                      <a:pt x="200" y="136"/>
                      <a:pt x="200" y="136"/>
                      <a:pt x="200" y="136"/>
                    </a:cubicBezTo>
                    <a:cubicBezTo>
                      <a:pt x="196" y="137"/>
                      <a:pt x="196" y="137"/>
                      <a:pt x="196" y="137"/>
                    </a:cubicBezTo>
                    <a:cubicBezTo>
                      <a:pt x="194" y="140"/>
                      <a:pt x="194" y="140"/>
                      <a:pt x="194" y="140"/>
                    </a:cubicBezTo>
                    <a:cubicBezTo>
                      <a:pt x="191" y="142"/>
                      <a:pt x="191" y="142"/>
                      <a:pt x="191" y="142"/>
                    </a:cubicBezTo>
                    <a:cubicBezTo>
                      <a:pt x="189" y="142"/>
                      <a:pt x="189" y="142"/>
                      <a:pt x="189" y="142"/>
                    </a:cubicBezTo>
                    <a:cubicBezTo>
                      <a:pt x="180" y="142"/>
                      <a:pt x="180" y="142"/>
                      <a:pt x="180" y="142"/>
                    </a:cubicBezTo>
                    <a:cubicBezTo>
                      <a:pt x="170" y="141"/>
                      <a:pt x="170" y="141"/>
                      <a:pt x="170" y="141"/>
                    </a:cubicBezTo>
                    <a:cubicBezTo>
                      <a:pt x="161" y="138"/>
                      <a:pt x="161" y="138"/>
                      <a:pt x="161" y="138"/>
                    </a:cubicBezTo>
                    <a:cubicBezTo>
                      <a:pt x="154" y="139"/>
                      <a:pt x="154" y="139"/>
                      <a:pt x="154" y="139"/>
                    </a:cubicBezTo>
                    <a:cubicBezTo>
                      <a:pt x="154" y="139"/>
                      <a:pt x="149" y="138"/>
                      <a:pt x="146" y="138"/>
                    </a:cubicBezTo>
                    <a:cubicBezTo>
                      <a:pt x="142" y="138"/>
                      <a:pt x="134" y="136"/>
                      <a:pt x="134" y="136"/>
                    </a:cubicBezTo>
                    <a:cubicBezTo>
                      <a:pt x="124" y="133"/>
                      <a:pt x="124" y="133"/>
                      <a:pt x="124" y="133"/>
                    </a:cubicBezTo>
                    <a:cubicBezTo>
                      <a:pt x="118" y="133"/>
                      <a:pt x="118" y="133"/>
                      <a:pt x="118" y="133"/>
                    </a:cubicBezTo>
                    <a:cubicBezTo>
                      <a:pt x="109" y="132"/>
                      <a:pt x="109" y="132"/>
                      <a:pt x="109" y="132"/>
                    </a:cubicBezTo>
                    <a:cubicBezTo>
                      <a:pt x="109" y="132"/>
                      <a:pt x="108" y="130"/>
                      <a:pt x="107" y="129"/>
                    </a:cubicBezTo>
                    <a:cubicBezTo>
                      <a:pt x="107" y="128"/>
                      <a:pt x="104" y="126"/>
                      <a:pt x="104" y="126"/>
                    </a:cubicBezTo>
                    <a:cubicBezTo>
                      <a:pt x="104" y="124"/>
                      <a:pt x="104" y="124"/>
                      <a:pt x="104" y="124"/>
                    </a:cubicBezTo>
                    <a:cubicBezTo>
                      <a:pt x="102" y="119"/>
                      <a:pt x="102" y="119"/>
                      <a:pt x="102" y="119"/>
                    </a:cubicBezTo>
                    <a:cubicBezTo>
                      <a:pt x="100" y="115"/>
                      <a:pt x="100" y="115"/>
                      <a:pt x="100" y="115"/>
                    </a:cubicBezTo>
                    <a:cubicBezTo>
                      <a:pt x="102" y="112"/>
                      <a:pt x="102" y="112"/>
                      <a:pt x="102" y="112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100" y="111"/>
                      <a:pt x="96" y="112"/>
                      <a:pt x="94" y="112"/>
                    </a:cubicBezTo>
                    <a:cubicBezTo>
                      <a:pt x="93" y="113"/>
                      <a:pt x="87" y="114"/>
                      <a:pt x="87" y="114"/>
                    </a:cubicBezTo>
                    <a:cubicBezTo>
                      <a:pt x="85" y="115"/>
                      <a:pt x="85" y="115"/>
                      <a:pt x="85" y="115"/>
                    </a:cubicBezTo>
                    <a:cubicBezTo>
                      <a:pt x="77" y="115"/>
                      <a:pt x="77" y="115"/>
                      <a:pt x="77" y="115"/>
                    </a:cubicBezTo>
                    <a:cubicBezTo>
                      <a:pt x="69" y="116"/>
                      <a:pt x="69" y="116"/>
                      <a:pt x="69" y="116"/>
                    </a:cubicBezTo>
                    <a:cubicBezTo>
                      <a:pt x="66" y="118"/>
                      <a:pt x="66" y="118"/>
                      <a:pt x="66" y="118"/>
                    </a:cubicBezTo>
                    <a:cubicBezTo>
                      <a:pt x="60" y="121"/>
                      <a:pt x="60" y="121"/>
                      <a:pt x="60" y="121"/>
                    </a:cubicBezTo>
                    <a:cubicBezTo>
                      <a:pt x="60" y="125"/>
                      <a:pt x="60" y="125"/>
                      <a:pt x="60" y="125"/>
                    </a:cubicBezTo>
                    <a:cubicBezTo>
                      <a:pt x="57" y="129"/>
                      <a:pt x="57" y="129"/>
                      <a:pt x="57" y="129"/>
                    </a:cubicBezTo>
                    <a:cubicBezTo>
                      <a:pt x="52" y="129"/>
                      <a:pt x="52" y="129"/>
                      <a:pt x="52" y="129"/>
                    </a:cubicBezTo>
                    <a:cubicBezTo>
                      <a:pt x="47" y="125"/>
                      <a:pt x="47" y="125"/>
                      <a:pt x="47" y="125"/>
                    </a:cubicBezTo>
                    <a:cubicBezTo>
                      <a:pt x="45" y="127"/>
                      <a:pt x="45" y="127"/>
                      <a:pt x="45" y="127"/>
                    </a:cubicBezTo>
                    <a:cubicBezTo>
                      <a:pt x="39" y="126"/>
                      <a:pt x="39" y="126"/>
                      <a:pt x="39" y="126"/>
                    </a:cubicBezTo>
                    <a:cubicBezTo>
                      <a:pt x="38" y="127"/>
                      <a:pt x="38" y="127"/>
                      <a:pt x="38" y="127"/>
                    </a:cubicBezTo>
                    <a:cubicBezTo>
                      <a:pt x="38" y="127"/>
                      <a:pt x="38" y="126"/>
                      <a:pt x="38" y="126"/>
                    </a:cubicBezTo>
                    <a:cubicBezTo>
                      <a:pt x="38" y="125"/>
                      <a:pt x="39" y="122"/>
                      <a:pt x="39" y="122"/>
                    </a:cubicBezTo>
                    <a:cubicBezTo>
                      <a:pt x="39" y="122"/>
                      <a:pt x="39" y="121"/>
                      <a:pt x="39" y="120"/>
                    </a:cubicBezTo>
                    <a:cubicBezTo>
                      <a:pt x="39" y="120"/>
                      <a:pt x="38" y="119"/>
                      <a:pt x="38" y="119"/>
                    </a:cubicBezTo>
                    <a:cubicBezTo>
                      <a:pt x="37" y="118"/>
                      <a:pt x="37" y="118"/>
                      <a:pt x="37" y="118"/>
                    </a:cubicBezTo>
                    <a:cubicBezTo>
                      <a:pt x="37" y="118"/>
                      <a:pt x="36" y="116"/>
                      <a:pt x="36" y="116"/>
                    </a:cubicBezTo>
                    <a:cubicBezTo>
                      <a:pt x="35" y="117"/>
                      <a:pt x="34" y="117"/>
                      <a:pt x="34" y="117"/>
                    </a:cubicBezTo>
                    <a:cubicBezTo>
                      <a:pt x="34" y="117"/>
                      <a:pt x="34" y="119"/>
                      <a:pt x="34" y="119"/>
                    </a:cubicBezTo>
                    <a:cubicBezTo>
                      <a:pt x="33" y="120"/>
                      <a:pt x="32" y="120"/>
                      <a:pt x="32" y="120"/>
                    </a:cubicBezTo>
                    <a:cubicBezTo>
                      <a:pt x="32" y="120"/>
                      <a:pt x="32" y="120"/>
                      <a:pt x="32" y="120"/>
                    </a:cubicBezTo>
                    <a:cubicBezTo>
                      <a:pt x="31" y="120"/>
                      <a:pt x="31" y="120"/>
                      <a:pt x="31" y="120"/>
                    </a:cubicBezTo>
                    <a:cubicBezTo>
                      <a:pt x="30" y="122"/>
                      <a:pt x="30" y="122"/>
                      <a:pt x="30" y="122"/>
                    </a:cubicBezTo>
                    <a:cubicBezTo>
                      <a:pt x="29" y="123"/>
                      <a:pt x="29" y="123"/>
                      <a:pt x="29" y="123"/>
                    </a:cubicBezTo>
                    <a:cubicBezTo>
                      <a:pt x="29" y="123"/>
                      <a:pt x="29" y="123"/>
                      <a:pt x="29" y="123"/>
                    </a:cubicBezTo>
                    <a:cubicBezTo>
                      <a:pt x="29" y="123"/>
                      <a:pt x="29" y="123"/>
                      <a:pt x="29" y="123"/>
                    </a:cubicBezTo>
                    <a:cubicBezTo>
                      <a:pt x="29" y="123"/>
                      <a:pt x="28" y="123"/>
                      <a:pt x="28" y="124"/>
                    </a:cubicBezTo>
                    <a:cubicBezTo>
                      <a:pt x="28" y="124"/>
                      <a:pt x="27" y="124"/>
                      <a:pt x="26" y="124"/>
                    </a:cubicBezTo>
                    <a:cubicBezTo>
                      <a:pt x="26" y="124"/>
                      <a:pt x="24" y="124"/>
                      <a:pt x="24" y="124"/>
                    </a:cubicBezTo>
                    <a:cubicBezTo>
                      <a:pt x="23" y="123"/>
                      <a:pt x="23" y="123"/>
                      <a:pt x="23" y="123"/>
                    </a:cubicBezTo>
                    <a:cubicBezTo>
                      <a:pt x="20" y="122"/>
                      <a:pt x="20" y="122"/>
                      <a:pt x="20" y="122"/>
                    </a:cubicBezTo>
                    <a:cubicBezTo>
                      <a:pt x="20" y="122"/>
                      <a:pt x="20" y="122"/>
                      <a:pt x="20" y="122"/>
                    </a:cubicBezTo>
                    <a:cubicBezTo>
                      <a:pt x="18" y="121"/>
                      <a:pt x="18" y="121"/>
                      <a:pt x="18" y="121"/>
                    </a:cubicBezTo>
                    <a:cubicBezTo>
                      <a:pt x="17" y="120"/>
                      <a:pt x="17" y="120"/>
                      <a:pt x="17" y="120"/>
                    </a:cubicBezTo>
                    <a:cubicBezTo>
                      <a:pt x="17" y="118"/>
                      <a:pt x="17" y="118"/>
                      <a:pt x="17" y="118"/>
                    </a:cubicBezTo>
                    <a:cubicBezTo>
                      <a:pt x="15" y="116"/>
                      <a:pt x="15" y="116"/>
                      <a:pt x="15" y="116"/>
                    </a:cubicBezTo>
                    <a:cubicBezTo>
                      <a:pt x="11" y="115"/>
                      <a:pt x="11" y="115"/>
                      <a:pt x="11" y="115"/>
                    </a:cubicBezTo>
                    <a:cubicBezTo>
                      <a:pt x="8" y="114"/>
                      <a:pt x="8" y="114"/>
                      <a:pt x="8" y="114"/>
                    </a:cubicBezTo>
                    <a:cubicBezTo>
                      <a:pt x="6" y="114"/>
                      <a:pt x="6" y="114"/>
                      <a:pt x="6" y="114"/>
                    </a:cubicBezTo>
                    <a:cubicBezTo>
                      <a:pt x="6" y="114"/>
                      <a:pt x="2" y="114"/>
                      <a:pt x="2" y="114"/>
                    </a:cubicBezTo>
                    <a:cubicBezTo>
                      <a:pt x="2" y="114"/>
                      <a:pt x="1" y="114"/>
                      <a:pt x="1" y="114"/>
                    </a:cubicBezTo>
                    <a:cubicBezTo>
                      <a:pt x="1" y="114"/>
                      <a:pt x="1" y="114"/>
                      <a:pt x="1" y="114"/>
                    </a:cubicBezTo>
                    <a:cubicBezTo>
                      <a:pt x="1" y="114"/>
                      <a:pt x="1" y="114"/>
                      <a:pt x="1" y="114"/>
                    </a:cubicBezTo>
                    <a:cubicBezTo>
                      <a:pt x="1" y="114"/>
                      <a:pt x="1" y="114"/>
                      <a:pt x="1" y="114"/>
                    </a:cubicBezTo>
                    <a:cubicBezTo>
                      <a:pt x="2" y="114"/>
                      <a:pt x="2" y="114"/>
                      <a:pt x="2" y="114"/>
                    </a:cubicBezTo>
                    <a:cubicBezTo>
                      <a:pt x="2" y="114"/>
                      <a:pt x="2" y="113"/>
                      <a:pt x="2" y="113"/>
                    </a:cubicBezTo>
                    <a:cubicBezTo>
                      <a:pt x="2" y="113"/>
                      <a:pt x="2" y="113"/>
                      <a:pt x="2" y="113"/>
                    </a:cubicBezTo>
                    <a:cubicBezTo>
                      <a:pt x="2" y="113"/>
                      <a:pt x="3" y="114"/>
                      <a:pt x="3" y="114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3" y="114"/>
                      <a:pt x="3" y="114"/>
                      <a:pt x="3" y="114"/>
                    </a:cubicBezTo>
                    <a:cubicBezTo>
                      <a:pt x="3" y="114"/>
                      <a:pt x="4" y="113"/>
                      <a:pt x="4" y="113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4" y="113"/>
                      <a:pt x="4" y="113"/>
                      <a:pt x="5" y="113"/>
                    </a:cubicBezTo>
                    <a:cubicBezTo>
                      <a:pt x="5" y="113"/>
                      <a:pt x="5" y="113"/>
                      <a:pt x="5" y="112"/>
                    </a:cubicBezTo>
                    <a:cubicBezTo>
                      <a:pt x="5" y="112"/>
                      <a:pt x="5" y="112"/>
                      <a:pt x="5" y="112"/>
                    </a:cubicBezTo>
                    <a:cubicBezTo>
                      <a:pt x="5" y="112"/>
                      <a:pt x="5" y="112"/>
                      <a:pt x="4" y="112"/>
                    </a:cubicBezTo>
                    <a:cubicBezTo>
                      <a:pt x="4" y="112"/>
                      <a:pt x="4" y="112"/>
                      <a:pt x="4" y="112"/>
                    </a:cubicBezTo>
                    <a:cubicBezTo>
                      <a:pt x="4" y="112"/>
                      <a:pt x="4" y="112"/>
                      <a:pt x="4" y="111"/>
                    </a:cubicBezTo>
                    <a:cubicBezTo>
                      <a:pt x="4" y="111"/>
                      <a:pt x="5" y="111"/>
                      <a:pt x="5" y="111"/>
                    </a:cubicBezTo>
                    <a:cubicBezTo>
                      <a:pt x="5" y="111"/>
                      <a:pt x="5" y="111"/>
                      <a:pt x="4" y="111"/>
                    </a:cubicBezTo>
                    <a:cubicBezTo>
                      <a:pt x="4" y="111"/>
                      <a:pt x="4" y="111"/>
                      <a:pt x="4" y="111"/>
                    </a:cubicBezTo>
                    <a:cubicBezTo>
                      <a:pt x="4" y="110"/>
                      <a:pt x="4" y="111"/>
                      <a:pt x="4" y="111"/>
                    </a:cubicBezTo>
                    <a:cubicBezTo>
                      <a:pt x="4" y="110"/>
                      <a:pt x="4" y="110"/>
                      <a:pt x="4" y="110"/>
                    </a:cubicBezTo>
                    <a:cubicBezTo>
                      <a:pt x="4" y="110"/>
                      <a:pt x="4" y="110"/>
                      <a:pt x="4" y="110"/>
                    </a:cubicBezTo>
                    <a:cubicBezTo>
                      <a:pt x="4" y="110"/>
                      <a:pt x="4" y="110"/>
                      <a:pt x="4" y="110"/>
                    </a:cubicBezTo>
                    <a:cubicBezTo>
                      <a:pt x="4" y="110"/>
                      <a:pt x="4" y="110"/>
                      <a:pt x="4" y="110"/>
                    </a:cubicBezTo>
                    <a:cubicBezTo>
                      <a:pt x="4" y="110"/>
                      <a:pt x="4" y="110"/>
                      <a:pt x="4" y="110"/>
                    </a:cubicBezTo>
                    <a:cubicBezTo>
                      <a:pt x="3" y="110"/>
                      <a:pt x="3" y="110"/>
                      <a:pt x="3" y="110"/>
                    </a:cubicBezTo>
                    <a:cubicBezTo>
                      <a:pt x="3" y="110"/>
                      <a:pt x="3" y="110"/>
                      <a:pt x="3" y="110"/>
                    </a:cubicBezTo>
                    <a:cubicBezTo>
                      <a:pt x="3" y="109"/>
                      <a:pt x="3" y="109"/>
                      <a:pt x="3" y="109"/>
                    </a:cubicBezTo>
                    <a:cubicBezTo>
                      <a:pt x="3" y="109"/>
                      <a:pt x="3" y="109"/>
                      <a:pt x="3" y="109"/>
                    </a:cubicBezTo>
                    <a:cubicBezTo>
                      <a:pt x="3" y="109"/>
                      <a:pt x="3" y="109"/>
                      <a:pt x="3" y="109"/>
                    </a:cubicBezTo>
                    <a:cubicBezTo>
                      <a:pt x="3" y="109"/>
                      <a:pt x="3" y="108"/>
                      <a:pt x="3" y="108"/>
                    </a:cubicBezTo>
                    <a:cubicBezTo>
                      <a:pt x="3" y="108"/>
                      <a:pt x="3" y="108"/>
                      <a:pt x="3" y="108"/>
                    </a:cubicBezTo>
                    <a:cubicBezTo>
                      <a:pt x="3" y="108"/>
                      <a:pt x="3" y="108"/>
                      <a:pt x="3" y="108"/>
                    </a:cubicBezTo>
                    <a:cubicBezTo>
                      <a:pt x="3" y="108"/>
                      <a:pt x="3" y="108"/>
                      <a:pt x="3" y="108"/>
                    </a:cubicBezTo>
                    <a:cubicBezTo>
                      <a:pt x="3" y="108"/>
                      <a:pt x="3" y="108"/>
                      <a:pt x="3" y="108"/>
                    </a:cubicBezTo>
                    <a:cubicBezTo>
                      <a:pt x="3" y="108"/>
                      <a:pt x="3" y="108"/>
                      <a:pt x="3" y="108"/>
                    </a:cubicBezTo>
                    <a:cubicBezTo>
                      <a:pt x="3" y="107"/>
                      <a:pt x="3" y="108"/>
                      <a:pt x="3" y="107"/>
                    </a:cubicBezTo>
                    <a:cubicBezTo>
                      <a:pt x="3" y="107"/>
                      <a:pt x="3" y="107"/>
                      <a:pt x="3" y="107"/>
                    </a:cubicBezTo>
                    <a:cubicBezTo>
                      <a:pt x="3" y="107"/>
                      <a:pt x="3" y="107"/>
                      <a:pt x="3" y="107"/>
                    </a:cubicBezTo>
                    <a:cubicBezTo>
                      <a:pt x="3" y="107"/>
                      <a:pt x="2" y="107"/>
                      <a:pt x="2" y="106"/>
                    </a:cubicBezTo>
                    <a:cubicBezTo>
                      <a:pt x="2" y="106"/>
                      <a:pt x="2" y="106"/>
                      <a:pt x="2" y="106"/>
                    </a:cubicBezTo>
                    <a:cubicBezTo>
                      <a:pt x="2" y="106"/>
                      <a:pt x="2" y="106"/>
                      <a:pt x="2" y="106"/>
                    </a:cubicBezTo>
                    <a:cubicBezTo>
                      <a:pt x="2" y="106"/>
                      <a:pt x="2" y="106"/>
                      <a:pt x="2" y="106"/>
                    </a:cubicBezTo>
                    <a:cubicBezTo>
                      <a:pt x="2" y="107"/>
                      <a:pt x="2" y="107"/>
                      <a:pt x="2" y="107"/>
                    </a:cubicBezTo>
                    <a:cubicBezTo>
                      <a:pt x="2" y="108"/>
                      <a:pt x="2" y="108"/>
                      <a:pt x="2" y="108"/>
                    </a:cubicBezTo>
                    <a:cubicBezTo>
                      <a:pt x="1" y="108"/>
                      <a:pt x="1" y="108"/>
                      <a:pt x="1" y="108"/>
                    </a:cubicBezTo>
                    <a:cubicBezTo>
                      <a:pt x="1" y="107"/>
                      <a:pt x="1" y="107"/>
                      <a:pt x="1" y="107"/>
                    </a:cubicBezTo>
                    <a:cubicBezTo>
                      <a:pt x="2" y="104"/>
                      <a:pt x="2" y="104"/>
                      <a:pt x="2" y="104"/>
                    </a:cubicBezTo>
                    <a:cubicBezTo>
                      <a:pt x="4" y="102"/>
                      <a:pt x="4" y="102"/>
                      <a:pt x="4" y="102"/>
                    </a:cubicBezTo>
                    <a:cubicBezTo>
                      <a:pt x="4" y="102"/>
                      <a:pt x="4" y="100"/>
                      <a:pt x="5" y="100"/>
                    </a:cubicBezTo>
                    <a:cubicBezTo>
                      <a:pt x="5" y="99"/>
                      <a:pt x="5" y="98"/>
                      <a:pt x="5" y="98"/>
                    </a:cubicBezTo>
                    <a:cubicBezTo>
                      <a:pt x="7" y="97"/>
                      <a:pt x="7" y="97"/>
                      <a:pt x="7" y="97"/>
                    </a:cubicBezTo>
                    <a:cubicBezTo>
                      <a:pt x="7" y="97"/>
                      <a:pt x="8" y="96"/>
                      <a:pt x="8" y="96"/>
                    </a:cubicBezTo>
                    <a:cubicBezTo>
                      <a:pt x="8" y="95"/>
                      <a:pt x="7" y="94"/>
                      <a:pt x="7" y="94"/>
                    </a:cubicBezTo>
                    <a:cubicBezTo>
                      <a:pt x="7" y="93"/>
                      <a:pt x="8" y="92"/>
                      <a:pt x="8" y="92"/>
                    </a:cubicBezTo>
                    <a:cubicBezTo>
                      <a:pt x="7" y="92"/>
                      <a:pt x="7" y="91"/>
                      <a:pt x="6" y="91"/>
                    </a:cubicBezTo>
                    <a:cubicBezTo>
                      <a:pt x="6" y="91"/>
                      <a:pt x="6" y="91"/>
                      <a:pt x="6" y="91"/>
                    </a:cubicBezTo>
                    <a:cubicBezTo>
                      <a:pt x="6" y="91"/>
                      <a:pt x="6" y="91"/>
                      <a:pt x="6" y="91"/>
                    </a:cubicBezTo>
                    <a:cubicBezTo>
                      <a:pt x="6" y="91"/>
                      <a:pt x="6" y="91"/>
                      <a:pt x="6" y="91"/>
                    </a:cubicBezTo>
                    <a:cubicBezTo>
                      <a:pt x="6" y="91"/>
                      <a:pt x="6" y="91"/>
                      <a:pt x="6" y="91"/>
                    </a:cubicBezTo>
                    <a:cubicBezTo>
                      <a:pt x="6" y="91"/>
                      <a:pt x="6" y="91"/>
                      <a:pt x="6" y="91"/>
                    </a:cubicBezTo>
                    <a:cubicBezTo>
                      <a:pt x="6" y="91"/>
                      <a:pt x="6" y="91"/>
                      <a:pt x="6" y="91"/>
                    </a:cubicBezTo>
                    <a:cubicBezTo>
                      <a:pt x="6" y="91"/>
                      <a:pt x="6" y="91"/>
                      <a:pt x="6" y="91"/>
                    </a:cubicBezTo>
                    <a:cubicBezTo>
                      <a:pt x="6" y="91"/>
                      <a:pt x="6" y="91"/>
                      <a:pt x="6" y="91"/>
                    </a:cubicBezTo>
                    <a:cubicBezTo>
                      <a:pt x="6" y="91"/>
                      <a:pt x="6" y="91"/>
                      <a:pt x="6" y="91"/>
                    </a:cubicBezTo>
                    <a:cubicBezTo>
                      <a:pt x="6" y="91"/>
                      <a:pt x="6" y="91"/>
                      <a:pt x="6" y="91"/>
                    </a:cubicBezTo>
                    <a:cubicBezTo>
                      <a:pt x="6" y="91"/>
                      <a:pt x="6" y="91"/>
                      <a:pt x="6" y="91"/>
                    </a:cubicBezTo>
                    <a:cubicBezTo>
                      <a:pt x="6" y="91"/>
                      <a:pt x="6" y="91"/>
                      <a:pt x="6" y="91"/>
                    </a:cubicBezTo>
                    <a:cubicBezTo>
                      <a:pt x="6" y="91"/>
                      <a:pt x="6" y="91"/>
                      <a:pt x="6" y="91"/>
                    </a:cubicBezTo>
                    <a:cubicBezTo>
                      <a:pt x="6" y="91"/>
                      <a:pt x="6" y="91"/>
                      <a:pt x="6" y="91"/>
                    </a:cubicBezTo>
                    <a:cubicBezTo>
                      <a:pt x="6" y="91"/>
                      <a:pt x="6" y="91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6" y="90"/>
                      <a:pt x="6" y="90"/>
                      <a:pt x="6" y="90"/>
                    </a:cubicBezTo>
                    <a:cubicBezTo>
                      <a:pt x="8" y="88"/>
                      <a:pt x="10" y="86"/>
                      <a:pt x="10" y="86"/>
                    </a:cubicBezTo>
                    <a:cubicBezTo>
                      <a:pt x="10" y="86"/>
                      <a:pt x="12" y="85"/>
                      <a:pt x="14" y="86"/>
                    </a:cubicBezTo>
                    <a:cubicBezTo>
                      <a:pt x="15" y="87"/>
                      <a:pt x="17" y="89"/>
                      <a:pt x="18" y="90"/>
                    </a:cubicBezTo>
                    <a:cubicBezTo>
                      <a:pt x="18" y="90"/>
                      <a:pt x="19" y="91"/>
                      <a:pt x="20" y="91"/>
                    </a:cubicBezTo>
                    <a:cubicBezTo>
                      <a:pt x="21" y="91"/>
                      <a:pt x="22" y="92"/>
                      <a:pt x="22" y="92"/>
                    </a:cubicBezTo>
                    <a:cubicBezTo>
                      <a:pt x="22" y="93"/>
                      <a:pt x="23" y="92"/>
                      <a:pt x="23" y="94"/>
                    </a:cubicBezTo>
                    <a:cubicBezTo>
                      <a:pt x="22" y="96"/>
                      <a:pt x="22" y="98"/>
                      <a:pt x="23" y="98"/>
                    </a:cubicBezTo>
                    <a:cubicBezTo>
                      <a:pt x="25" y="97"/>
                      <a:pt x="26" y="96"/>
                      <a:pt x="26" y="97"/>
                    </a:cubicBezTo>
                    <a:cubicBezTo>
                      <a:pt x="26" y="98"/>
                      <a:pt x="27" y="97"/>
                      <a:pt x="26" y="99"/>
                    </a:cubicBezTo>
                    <a:cubicBezTo>
                      <a:pt x="26" y="101"/>
                      <a:pt x="25" y="102"/>
                      <a:pt x="26" y="102"/>
                    </a:cubicBezTo>
                    <a:cubicBezTo>
                      <a:pt x="28" y="103"/>
                      <a:pt x="30" y="104"/>
                      <a:pt x="31" y="103"/>
                    </a:cubicBezTo>
                    <a:cubicBezTo>
                      <a:pt x="32" y="101"/>
                      <a:pt x="31" y="103"/>
                      <a:pt x="32" y="101"/>
                    </a:cubicBezTo>
                    <a:cubicBezTo>
                      <a:pt x="33" y="98"/>
                      <a:pt x="33" y="99"/>
                      <a:pt x="34" y="98"/>
                    </a:cubicBezTo>
                    <a:cubicBezTo>
                      <a:pt x="34" y="96"/>
                      <a:pt x="34" y="97"/>
                      <a:pt x="35" y="95"/>
                    </a:cubicBezTo>
                    <a:cubicBezTo>
                      <a:pt x="35" y="93"/>
                      <a:pt x="36" y="94"/>
                      <a:pt x="35" y="93"/>
                    </a:cubicBezTo>
                    <a:cubicBezTo>
                      <a:pt x="35" y="93"/>
                      <a:pt x="35" y="92"/>
                      <a:pt x="34" y="91"/>
                    </a:cubicBezTo>
                    <a:cubicBezTo>
                      <a:pt x="34" y="89"/>
                      <a:pt x="32" y="90"/>
                      <a:pt x="35" y="89"/>
                    </a:cubicBezTo>
                    <a:cubicBezTo>
                      <a:pt x="37" y="88"/>
                      <a:pt x="38" y="88"/>
                      <a:pt x="38" y="88"/>
                    </a:cubicBezTo>
                    <a:cubicBezTo>
                      <a:pt x="38" y="87"/>
                      <a:pt x="41" y="87"/>
                      <a:pt x="41" y="87"/>
                    </a:cubicBezTo>
                    <a:cubicBezTo>
                      <a:pt x="41" y="87"/>
                      <a:pt x="44" y="87"/>
                      <a:pt x="44" y="87"/>
                    </a:cubicBezTo>
                    <a:cubicBezTo>
                      <a:pt x="45" y="87"/>
                      <a:pt x="49" y="87"/>
                      <a:pt x="49" y="88"/>
                    </a:cubicBezTo>
                    <a:cubicBezTo>
                      <a:pt x="49" y="89"/>
                      <a:pt x="51" y="89"/>
                      <a:pt x="51" y="89"/>
                    </a:cubicBezTo>
                    <a:cubicBezTo>
                      <a:pt x="51" y="89"/>
                      <a:pt x="53" y="89"/>
                      <a:pt x="54" y="91"/>
                    </a:cubicBezTo>
                    <a:cubicBezTo>
                      <a:pt x="54" y="94"/>
                      <a:pt x="54" y="96"/>
                      <a:pt x="55" y="95"/>
                    </a:cubicBezTo>
                    <a:cubicBezTo>
                      <a:pt x="56" y="95"/>
                      <a:pt x="58" y="97"/>
                      <a:pt x="58" y="96"/>
                    </a:cubicBezTo>
                    <a:cubicBezTo>
                      <a:pt x="59" y="95"/>
                      <a:pt x="60" y="94"/>
                      <a:pt x="61" y="94"/>
                    </a:cubicBezTo>
                    <a:cubicBezTo>
                      <a:pt x="62" y="94"/>
                      <a:pt x="60" y="93"/>
                      <a:pt x="63" y="93"/>
                    </a:cubicBezTo>
                    <a:cubicBezTo>
                      <a:pt x="67" y="94"/>
                      <a:pt x="66" y="95"/>
                      <a:pt x="68" y="93"/>
                    </a:cubicBezTo>
                    <a:cubicBezTo>
                      <a:pt x="69" y="91"/>
                      <a:pt x="69" y="91"/>
                      <a:pt x="71" y="90"/>
                    </a:cubicBezTo>
                    <a:cubicBezTo>
                      <a:pt x="72" y="89"/>
                      <a:pt x="72" y="89"/>
                      <a:pt x="73" y="88"/>
                    </a:cubicBezTo>
                    <a:cubicBezTo>
                      <a:pt x="73" y="88"/>
                      <a:pt x="77" y="88"/>
                      <a:pt x="77" y="88"/>
                    </a:cubicBezTo>
                    <a:cubicBezTo>
                      <a:pt x="78" y="87"/>
                      <a:pt x="79" y="85"/>
                      <a:pt x="80" y="85"/>
                    </a:cubicBezTo>
                    <a:cubicBezTo>
                      <a:pt x="80" y="85"/>
                      <a:pt x="84" y="85"/>
                      <a:pt x="85" y="85"/>
                    </a:cubicBezTo>
                    <a:cubicBezTo>
                      <a:pt x="86" y="85"/>
                      <a:pt x="88" y="85"/>
                      <a:pt x="89" y="84"/>
                    </a:cubicBezTo>
                    <a:cubicBezTo>
                      <a:pt x="89" y="83"/>
                      <a:pt x="89" y="83"/>
                      <a:pt x="90" y="82"/>
                    </a:cubicBezTo>
                    <a:cubicBezTo>
                      <a:pt x="92" y="82"/>
                      <a:pt x="93" y="82"/>
                      <a:pt x="95" y="82"/>
                    </a:cubicBezTo>
                    <a:cubicBezTo>
                      <a:pt x="97" y="82"/>
                      <a:pt x="97" y="82"/>
                      <a:pt x="98" y="82"/>
                    </a:cubicBezTo>
                    <a:cubicBezTo>
                      <a:pt x="99" y="82"/>
                      <a:pt x="100" y="84"/>
                      <a:pt x="100" y="81"/>
                    </a:cubicBezTo>
                    <a:cubicBezTo>
                      <a:pt x="99" y="78"/>
                      <a:pt x="98" y="78"/>
                      <a:pt x="99" y="77"/>
                    </a:cubicBezTo>
                    <a:cubicBezTo>
                      <a:pt x="101" y="77"/>
                      <a:pt x="103" y="77"/>
                      <a:pt x="103" y="77"/>
                    </a:cubicBezTo>
                    <a:cubicBezTo>
                      <a:pt x="104" y="77"/>
                      <a:pt x="108" y="78"/>
                      <a:pt x="109" y="78"/>
                    </a:cubicBezTo>
                    <a:cubicBezTo>
                      <a:pt x="109" y="78"/>
                      <a:pt x="110" y="80"/>
                      <a:pt x="110" y="80"/>
                    </a:cubicBezTo>
                    <a:cubicBezTo>
                      <a:pt x="111" y="80"/>
                      <a:pt x="112" y="81"/>
                      <a:pt x="113" y="80"/>
                    </a:cubicBezTo>
                    <a:cubicBezTo>
                      <a:pt x="113" y="80"/>
                      <a:pt x="114" y="78"/>
                      <a:pt x="115" y="78"/>
                    </a:cubicBezTo>
                    <a:cubicBezTo>
                      <a:pt x="116" y="78"/>
                      <a:pt x="119" y="78"/>
                      <a:pt x="119" y="78"/>
                    </a:cubicBezTo>
                    <a:cubicBezTo>
                      <a:pt x="119" y="78"/>
                      <a:pt x="123" y="79"/>
                      <a:pt x="123" y="79"/>
                    </a:cubicBezTo>
                    <a:cubicBezTo>
                      <a:pt x="123" y="79"/>
                      <a:pt x="122" y="81"/>
                      <a:pt x="122" y="82"/>
                    </a:cubicBezTo>
                    <a:cubicBezTo>
                      <a:pt x="122" y="83"/>
                      <a:pt x="122" y="84"/>
                      <a:pt x="123" y="85"/>
                    </a:cubicBezTo>
                    <a:cubicBezTo>
                      <a:pt x="123" y="85"/>
                      <a:pt x="125" y="87"/>
                      <a:pt x="125" y="87"/>
                    </a:cubicBezTo>
                    <a:cubicBezTo>
                      <a:pt x="125" y="87"/>
                      <a:pt x="130" y="89"/>
                      <a:pt x="130" y="89"/>
                    </a:cubicBezTo>
                    <a:cubicBezTo>
                      <a:pt x="130" y="89"/>
                      <a:pt x="131" y="90"/>
                      <a:pt x="131" y="86"/>
                    </a:cubicBezTo>
                    <a:cubicBezTo>
                      <a:pt x="131" y="82"/>
                      <a:pt x="131" y="81"/>
                      <a:pt x="131" y="81"/>
                    </a:cubicBezTo>
                    <a:cubicBezTo>
                      <a:pt x="131" y="77"/>
                      <a:pt x="131" y="77"/>
                      <a:pt x="131" y="77"/>
                    </a:cubicBezTo>
                    <a:cubicBezTo>
                      <a:pt x="131" y="77"/>
                      <a:pt x="131" y="76"/>
                      <a:pt x="130" y="76"/>
                    </a:cubicBezTo>
                    <a:cubicBezTo>
                      <a:pt x="130" y="76"/>
                      <a:pt x="129" y="76"/>
                      <a:pt x="129" y="76"/>
                    </a:cubicBezTo>
                    <a:cubicBezTo>
                      <a:pt x="129" y="76"/>
                      <a:pt x="125" y="75"/>
                      <a:pt x="124" y="75"/>
                    </a:cubicBezTo>
                    <a:cubicBezTo>
                      <a:pt x="123" y="75"/>
                      <a:pt x="124" y="73"/>
                      <a:pt x="124" y="72"/>
                    </a:cubicBezTo>
                    <a:cubicBezTo>
                      <a:pt x="124" y="72"/>
                      <a:pt x="126" y="70"/>
                      <a:pt x="126" y="70"/>
                    </a:cubicBezTo>
                    <a:cubicBezTo>
                      <a:pt x="126" y="67"/>
                      <a:pt x="126" y="67"/>
                      <a:pt x="126" y="67"/>
                    </a:cubicBezTo>
                    <a:cubicBezTo>
                      <a:pt x="123" y="62"/>
                      <a:pt x="123" y="62"/>
                      <a:pt x="123" y="62"/>
                    </a:cubicBezTo>
                    <a:cubicBezTo>
                      <a:pt x="120" y="59"/>
                      <a:pt x="120" y="59"/>
                      <a:pt x="120" y="59"/>
                    </a:cubicBezTo>
                    <a:cubicBezTo>
                      <a:pt x="118" y="54"/>
                      <a:pt x="118" y="54"/>
                      <a:pt x="118" y="54"/>
                    </a:cubicBezTo>
                    <a:cubicBezTo>
                      <a:pt x="118" y="54"/>
                      <a:pt x="118" y="54"/>
                      <a:pt x="118" y="54"/>
                    </a:cubicBezTo>
                    <a:cubicBezTo>
                      <a:pt x="118" y="54"/>
                      <a:pt x="118" y="54"/>
                      <a:pt x="118" y="54"/>
                    </a:cubicBezTo>
                    <a:cubicBezTo>
                      <a:pt x="121" y="52"/>
                      <a:pt x="121" y="52"/>
                      <a:pt x="121" y="52"/>
                    </a:cubicBezTo>
                    <a:cubicBezTo>
                      <a:pt x="123" y="50"/>
                      <a:pt x="126" y="48"/>
                      <a:pt x="126" y="48"/>
                    </a:cubicBezTo>
                    <a:cubicBezTo>
                      <a:pt x="126" y="48"/>
                      <a:pt x="126" y="48"/>
                      <a:pt x="127" y="48"/>
                    </a:cubicBezTo>
                    <a:cubicBezTo>
                      <a:pt x="129" y="46"/>
                      <a:pt x="129" y="46"/>
                      <a:pt x="129" y="46"/>
                    </a:cubicBezTo>
                    <a:cubicBezTo>
                      <a:pt x="129" y="46"/>
                      <a:pt x="134" y="44"/>
                      <a:pt x="134" y="44"/>
                    </a:cubicBezTo>
                    <a:cubicBezTo>
                      <a:pt x="134" y="44"/>
                      <a:pt x="135" y="43"/>
                      <a:pt x="135" y="43"/>
                    </a:cubicBezTo>
                    <a:cubicBezTo>
                      <a:pt x="136" y="43"/>
                      <a:pt x="136" y="43"/>
                      <a:pt x="136" y="43"/>
                    </a:cubicBezTo>
                    <a:cubicBezTo>
                      <a:pt x="141" y="38"/>
                      <a:pt x="141" y="38"/>
                      <a:pt x="141" y="38"/>
                    </a:cubicBezTo>
                    <a:cubicBezTo>
                      <a:pt x="141" y="33"/>
                      <a:pt x="141" y="33"/>
                      <a:pt x="141" y="33"/>
                    </a:cubicBezTo>
                    <a:cubicBezTo>
                      <a:pt x="142" y="31"/>
                      <a:pt x="142" y="31"/>
                      <a:pt x="142" y="31"/>
                    </a:cubicBezTo>
                    <a:cubicBezTo>
                      <a:pt x="142" y="30"/>
                      <a:pt x="142" y="28"/>
                      <a:pt x="142" y="28"/>
                    </a:cubicBezTo>
                    <a:cubicBezTo>
                      <a:pt x="148" y="28"/>
                      <a:pt x="148" y="28"/>
                      <a:pt x="148" y="28"/>
                    </a:cubicBezTo>
                    <a:cubicBezTo>
                      <a:pt x="148" y="28"/>
                      <a:pt x="149" y="29"/>
                      <a:pt x="150" y="30"/>
                    </a:cubicBezTo>
                    <a:cubicBezTo>
                      <a:pt x="151" y="30"/>
                      <a:pt x="152" y="29"/>
                      <a:pt x="152" y="29"/>
                    </a:cubicBezTo>
                    <a:cubicBezTo>
                      <a:pt x="153" y="29"/>
                      <a:pt x="154" y="27"/>
                      <a:pt x="154" y="27"/>
                    </a:cubicBezTo>
                    <a:cubicBezTo>
                      <a:pt x="154" y="24"/>
                      <a:pt x="154" y="24"/>
                      <a:pt x="154" y="24"/>
                    </a:cubicBezTo>
                    <a:cubicBezTo>
                      <a:pt x="153" y="19"/>
                      <a:pt x="153" y="19"/>
                      <a:pt x="153" y="19"/>
                    </a:cubicBezTo>
                    <a:cubicBezTo>
                      <a:pt x="153" y="16"/>
                      <a:pt x="153" y="16"/>
                      <a:pt x="153" y="16"/>
                    </a:cubicBezTo>
                    <a:cubicBezTo>
                      <a:pt x="153" y="16"/>
                      <a:pt x="153" y="16"/>
                      <a:pt x="153" y="16"/>
                    </a:cubicBezTo>
                    <a:cubicBezTo>
                      <a:pt x="154" y="16"/>
                      <a:pt x="158" y="19"/>
                      <a:pt x="160" y="20"/>
                    </a:cubicBezTo>
                    <a:cubicBezTo>
                      <a:pt x="161" y="21"/>
                      <a:pt x="164" y="24"/>
                      <a:pt x="164" y="24"/>
                    </a:cubicBezTo>
                    <a:cubicBezTo>
                      <a:pt x="164" y="24"/>
                      <a:pt x="169" y="25"/>
                      <a:pt x="170" y="25"/>
                    </a:cubicBezTo>
                    <a:cubicBezTo>
                      <a:pt x="170" y="25"/>
                      <a:pt x="175" y="26"/>
                      <a:pt x="175" y="26"/>
                    </a:cubicBezTo>
                    <a:cubicBezTo>
                      <a:pt x="176" y="24"/>
                      <a:pt x="176" y="24"/>
                      <a:pt x="176" y="24"/>
                    </a:cubicBezTo>
                    <a:cubicBezTo>
                      <a:pt x="179" y="22"/>
                      <a:pt x="179" y="22"/>
                      <a:pt x="179" y="22"/>
                    </a:cubicBezTo>
                    <a:cubicBezTo>
                      <a:pt x="183" y="25"/>
                      <a:pt x="183" y="25"/>
                      <a:pt x="183" y="25"/>
                    </a:cubicBezTo>
                    <a:cubicBezTo>
                      <a:pt x="187" y="24"/>
                      <a:pt x="187" y="24"/>
                      <a:pt x="187" y="24"/>
                    </a:cubicBezTo>
                    <a:close/>
                    <a:moveTo>
                      <a:pt x="5" y="91"/>
                    </a:moveTo>
                    <a:cubicBezTo>
                      <a:pt x="5" y="91"/>
                      <a:pt x="5" y="91"/>
                      <a:pt x="5" y="91"/>
                    </a:cubicBezTo>
                    <a:cubicBezTo>
                      <a:pt x="5" y="91"/>
                      <a:pt x="5" y="91"/>
                      <a:pt x="5" y="91"/>
                    </a:cubicBezTo>
                    <a:cubicBezTo>
                      <a:pt x="5" y="91"/>
                      <a:pt x="5" y="91"/>
                      <a:pt x="5" y="91"/>
                    </a:cubicBezTo>
                    <a:close/>
                    <a:moveTo>
                      <a:pt x="1" y="114"/>
                    </a:moveTo>
                    <a:cubicBezTo>
                      <a:pt x="1" y="114"/>
                      <a:pt x="1" y="114"/>
                      <a:pt x="1" y="114"/>
                    </a:cubicBezTo>
                    <a:cubicBezTo>
                      <a:pt x="1" y="114"/>
                      <a:pt x="1" y="114"/>
                      <a:pt x="1" y="114"/>
                    </a:cubicBezTo>
                    <a:cubicBezTo>
                      <a:pt x="1" y="114"/>
                      <a:pt x="1" y="114"/>
                      <a:pt x="1" y="114"/>
                    </a:cubicBezTo>
                    <a:cubicBezTo>
                      <a:pt x="1" y="114"/>
                      <a:pt x="1" y="114"/>
                      <a:pt x="1" y="114"/>
                    </a:cubicBezTo>
                    <a:close/>
                    <a:moveTo>
                      <a:pt x="1" y="114"/>
                    </a:moveTo>
                    <a:cubicBezTo>
                      <a:pt x="1" y="114"/>
                      <a:pt x="1" y="114"/>
                      <a:pt x="1" y="114"/>
                    </a:cubicBezTo>
                    <a:cubicBezTo>
                      <a:pt x="1" y="114"/>
                      <a:pt x="1" y="113"/>
                      <a:pt x="1" y="113"/>
                    </a:cubicBezTo>
                    <a:cubicBezTo>
                      <a:pt x="1" y="113"/>
                      <a:pt x="1" y="113"/>
                      <a:pt x="1" y="113"/>
                    </a:cubicBezTo>
                    <a:cubicBezTo>
                      <a:pt x="1" y="113"/>
                      <a:pt x="2" y="113"/>
                      <a:pt x="2" y="112"/>
                    </a:cubicBezTo>
                    <a:cubicBezTo>
                      <a:pt x="2" y="112"/>
                      <a:pt x="2" y="112"/>
                      <a:pt x="2" y="112"/>
                    </a:cubicBezTo>
                    <a:cubicBezTo>
                      <a:pt x="2" y="112"/>
                      <a:pt x="2" y="112"/>
                      <a:pt x="2" y="112"/>
                    </a:cubicBezTo>
                    <a:cubicBezTo>
                      <a:pt x="2" y="112"/>
                      <a:pt x="2" y="112"/>
                      <a:pt x="2" y="112"/>
                    </a:cubicBezTo>
                    <a:cubicBezTo>
                      <a:pt x="1" y="112"/>
                      <a:pt x="1" y="112"/>
                      <a:pt x="1" y="112"/>
                    </a:cubicBezTo>
                    <a:cubicBezTo>
                      <a:pt x="0" y="114"/>
                      <a:pt x="0" y="114"/>
                      <a:pt x="0" y="114"/>
                    </a:cubicBezTo>
                    <a:lnTo>
                      <a:pt x="1" y="11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63" name="Freeform 11">
                <a:extLst>
                  <a:ext uri="{FF2B5EF4-FFF2-40B4-BE49-F238E27FC236}">
                    <a16:creationId xmlns:a16="http://schemas.microsoft.com/office/drawing/2014/main" id="{B56EDE41-8DC2-D72D-F955-0C860A32F9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74501" y="2664989"/>
                <a:ext cx="1164738" cy="1169539"/>
              </a:xfrm>
              <a:custGeom>
                <a:avLst/>
                <a:gdLst>
                  <a:gd name="T0" fmla="*/ 269 w 520"/>
                  <a:gd name="T1" fmla="*/ 424 h 538"/>
                  <a:gd name="T2" fmla="*/ 326 w 520"/>
                  <a:gd name="T3" fmla="*/ 423 h 538"/>
                  <a:gd name="T4" fmla="*/ 401 w 520"/>
                  <a:gd name="T5" fmla="*/ 437 h 538"/>
                  <a:gd name="T6" fmla="*/ 432 w 520"/>
                  <a:gd name="T7" fmla="*/ 408 h 538"/>
                  <a:gd name="T8" fmla="*/ 434 w 520"/>
                  <a:gd name="T9" fmla="*/ 407 h 538"/>
                  <a:gd name="T10" fmla="*/ 435 w 520"/>
                  <a:gd name="T11" fmla="*/ 406 h 538"/>
                  <a:gd name="T12" fmla="*/ 436 w 520"/>
                  <a:gd name="T13" fmla="*/ 406 h 538"/>
                  <a:gd name="T14" fmla="*/ 421 w 520"/>
                  <a:gd name="T15" fmla="*/ 359 h 538"/>
                  <a:gd name="T16" fmla="*/ 425 w 520"/>
                  <a:gd name="T17" fmla="*/ 310 h 538"/>
                  <a:gd name="T18" fmla="*/ 418 w 520"/>
                  <a:gd name="T19" fmla="*/ 279 h 538"/>
                  <a:gd name="T20" fmla="*/ 414 w 520"/>
                  <a:gd name="T21" fmla="*/ 263 h 538"/>
                  <a:gd name="T22" fmla="*/ 395 w 520"/>
                  <a:gd name="T23" fmla="*/ 272 h 538"/>
                  <a:gd name="T24" fmla="*/ 384 w 520"/>
                  <a:gd name="T25" fmla="*/ 274 h 538"/>
                  <a:gd name="T26" fmla="*/ 389 w 520"/>
                  <a:gd name="T27" fmla="*/ 259 h 538"/>
                  <a:gd name="T28" fmla="*/ 402 w 520"/>
                  <a:gd name="T29" fmla="*/ 242 h 538"/>
                  <a:gd name="T30" fmla="*/ 411 w 520"/>
                  <a:gd name="T31" fmla="*/ 230 h 538"/>
                  <a:gd name="T32" fmla="*/ 424 w 520"/>
                  <a:gd name="T33" fmla="*/ 215 h 538"/>
                  <a:gd name="T34" fmla="*/ 422 w 520"/>
                  <a:gd name="T35" fmla="*/ 208 h 538"/>
                  <a:gd name="T36" fmla="*/ 434 w 520"/>
                  <a:gd name="T37" fmla="*/ 208 h 538"/>
                  <a:gd name="T38" fmla="*/ 443 w 520"/>
                  <a:gd name="T39" fmla="*/ 202 h 538"/>
                  <a:gd name="T40" fmla="*/ 451 w 520"/>
                  <a:gd name="T41" fmla="*/ 160 h 538"/>
                  <a:gd name="T42" fmla="*/ 430 w 520"/>
                  <a:gd name="T43" fmla="*/ 116 h 538"/>
                  <a:gd name="T44" fmla="*/ 401 w 520"/>
                  <a:gd name="T45" fmla="*/ 94 h 538"/>
                  <a:gd name="T46" fmla="*/ 391 w 520"/>
                  <a:gd name="T47" fmla="*/ 95 h 538"/>
                  <a:gd name="T48" fmla="*/ 383 w 520"/>
                  <a:gd name="T49" fmla="*/ 91 h 538"/>
                  <a:gd name="T50" fmla="*/ 367 w 520"/>
                  <a:gd name="T51" fmla="*/ 82 h 538"/>
                  <a:gd name="T52" fmla="*/ 355 w 520"/>
                  <a:gd name="T53" fmla="*/ 61 h 538"/>
                  <a:gd name="T54" fmla="*/ 335 w 520"/>
                  <a:gd name="T55" fmla="*/ 65 h 538"/>
                  <a:gd name="T56" fmla="*/ 330 w 520"/>
                  <a:gd name="T57" fmla="*/ 48 h 538"/>
                  <a:gd name="T58" fmla="*/ 311 w 520"/>
                  <a:gd name="T59" fmla="*/ 35 h 538"/>
                  <a:gd name="T60" fmla="*/ 291 w 520"/>
                  <a:gd name="T61" fmla="*/ 20 h 538"/>
                  <a:gd name="T62" fmla="*/ 281 w 520"/>
                  <a:gd name="T63" fmla="*/ 1 h 538"/>
                  <a:gd name="T64" fmla="*/ 229 w 520"/>
                  <a:gd name="T65" fmla="*/ 53 h 538"/>
                  <a:gd name="T66" fmla="*/ 145 w 520"/>
                  <a:gd name="T67" fmla="*/ 76 h 538"/>
                  <a:gd name="T68" fmla="*/ 117 w 520"/>
                  <a:gd name="T69" fmla="*/ 65 h 538"/>
                  <a:gd name="T70" fmla="*/ 107 w 520"/>
                  <a:gd name="T71" fmla="*/ 111 h 538"/>
                  <a:gd name="T72" fmla="*/ 46 w 520"/>
                  <a:gd name="T73" fmla="*/ 99 h 538"/>
                  <a:gd name="T74" fmla="*/ 16 w 520"/>
                  <a:gd name="T75" fmla="*/ 117 h 538"/>
                  <a:gd name="T76" fmla="*/ 19 w 520"/>
                  <a:gd name="T77" fmla="*/ 145 h 538"/>
                  <a:gd name="T78" fmla="*/ 58 w 520"/>
                  <a:gd name="T79" fmla="*/ 167 h 538"/>
                  <a:gd name="T80" fmla="*/ 91 w 520"/>
                  <a:gd name="T81" fmla="*/ 200 h 538"/>
                  <a:gd name="T82" fmla="*/ 95 w 520"/>
                  <a:gd name="T83" fmla="*/ 228 h 538"/>
                  <a:gd name="T84" fmla="*/ 109 w 520"/>
                  <a:gd name="T85" fmla="*/ 250 h 538"/>
                  <a:gd name="T86" fmla="*/ 109 w 520"/>
                  <a:gd name="T87" fmla="*/ 265 h 538"/>
                  <a:gd name="T88" fmla="*/ 114 w 520"/>
                  <a:gd name="T89" fmla="*/ 284 h 538"/>
                  <a:gd name="T90" fmla="*/ 92 w 520"/>
                  <a:gd name="T91" fmla="*/ 371 h 538"/>
                  <a:gd name="T92" fmla="*/ 159 w 520"/>
                  <a:gd name="T93" fmla="*/ 443 h 538"/>
                  <a:gd name="T94" fmla="*/ 193 w 520"/>
                  <a:gd name="T95" fmla="*/ 453 h 538"/>
                  <a:gd name="T96" fmla="*/ 197 w 520"/>
                  <a:gd name="T97" fmla="*/ 450 h 538"/>
                  <a:gd name="T98" fmla="*/ 203 w 520"/>
                  <a:gd name="T99" fmla="*/ 453 h 538"/>
                  <a:gd name="T100" fmla="*/ 208 w 520"/>
                  <a:gd name="T101" fmla="*/ 456 h 538"/>
                  <a:gd name="T102" fmla="*/ 203 w 520"/>
                  <a:gd name="T103" fmla="*/ 460 h 538"/>
                  <a:gd name="T104" fmla="*/ 198 w 520"/>
                  <a:gd name="T105" fmla="*/ 462 h 538"/>
                  <a:gd name="T106" fmla="*/ 243 w 520"/>
                  <a:gd name="T107" fmla="*/ 471 h 538"/>
                  <a:gd name="T108" fmla="*/ 193 w 520"/>
                  <a:gd name="T109" fmla="*/ 458 h 538"/>
                  <a:gd name="T110" fmla="*/ 449 w 520"/>
                  <a:gd name="T111" fmla="*/ 200 h 538"/>
                  <a:gd name="T112" fmla="*/ 511 w 520"/>
                  <a:gd name="T113" fmla="*/ 523 h 538"/>
                  <a:gd name="T114" fmla="*/ 517 w 520"/>
                  <a:gd name="T115" fmla="*/ 468 h 538"/>
                  <a:gd name="T116" fmla="*/ 485 w 520"/>
                  <a:gd name="T117" fmla="*/ 478 h 538"/>
                  <a:gd name="T118" fmla="*/ 493 w 520"/>
                  <a:gd name="T119" fmla="*/ 520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20" h="538">
                    <a:moveTo>
                      <a:pt x="259" y="471"/>
                    </a:moveTo>
                    <a:cubicBezTo>
                      <a:pt x="261" y="468"/>
                      <a:pt x="261" y="468"/>
                      <a:pt x="261" y="468"/>
                    </a:cubicBezTo>
                    <a:cubicBezTo>
                      <a:pt x="261" y="468"/>
                      <a:pt x="261" y="462"/>
                      <a:pt x="259" y="461"/>
                    </a:cubicBezTo>
                    <a:cubicBezTo>
                      <a:pt x="258" y="460"/>
                      <a:pt x="257" y="459"/>
                      <a:pt x="257" y="459"/>
                    </a:cubicBezTo>
                    <a:cubicBezTo>
                      <a:pt x="257" y="459"/>
                      <a:pt x="257" y="455"/>
                      <a:pt x="257" y="453"/>
                    </a:cubicBezTo>
                    <a:cubicBezTo>
                      <a:pt x="257" y="452"/>
                      <a:pt x="257" y="448"/>
                      <a:pt x="257" y="447"/>
                    </a:cubicBezTo>
                    <a:cubicBezTo>
                      <a:pt x="257" y="446"/>
                      <a:pt x="258" y="442"/>
                      <a:pt x="258" y="441"/>
                    </a:cubicBezTo>
                    <a:cubicBezTo>
                      <a:pt x="258" y="441"/>
                      <a:pt x="257" y="441"/>
                      <a:pt x="259" y="439"/>
                    </a:cubicBezTo>
                    <a:cubicBezTo>
                      <a:pt x="261" y="436"/>
                      <a:pt x="261" y="434"/>
                      <a:pt x="261" y="434"/>
                    </a:cubicBezTo>
                    <a:cubicBezTo>
                      <a:pt x="265" y="429"/>
                      <a:pt x="265" y="429"/>
                      <a:pt x="265" y="429"/>
                    </a:cubicBezTo>
                    <a:cubicBezTo>
                      <a:pt x="265" y="429"/>
                      <a:pt x="268" y="424"/>
                      <a:pt x="269" y="424"/>
                    </a:cubicBezTo>
                    <a:cubicBezTo>
                      <a:pt x="270" y="425"/>
                      <a:pt x="274" y="424"/>
                      <a:pt x="275" y="424"/>
                    </a:cubicBezTo>
                    <a:cubicBezTo>
                      <a:pt x="276" y="424"/>
                      <a:pt x="280" y="428"/>
                      <a:pt x="282" y="424"/>
                    </a:cubicBezTo>
                    <a:cubicBezTo>
                      <a:pt x="284" y="421"/>
                      <a:pt x="285" y="419"/>
                      <a:pt x="285" y="418"/>
                    </a:cubicBezTo>
                    <a:cubicBezTo>
                      <a:pt x="286" y="417"/>
                      <a:pt x="287" y="414"/>
                      <a:pt x="290" y="414"/>
                    </a:cubicBezTo>
                    <a:cubicBezTo>
                      <a:pt x="293" y="413"/>
                      <a:pt x="300" y="413"/>
                      <a:pt x="300" y="413"/>
                    </a:cubicBezTo>
                    <a:cubicBezTo>
                      <a:pt x="303" y="414"/>
                      <a:pt x="303" y="414"/>
                      <a:pt x="303" y="414"/>
                    </a:cubicBezTo>
                    <a:cubicBezTo>
                      <a:pt x="311" y="417"/>
                      <a:pt x="311" y="417"/>
                      <a:pt x="311" y="417"/>
                    </a:cubicBezTo>
                    <a:cubicBezTo>
                      <a:pt x="311" y="417"/>
                      <a:pt x="314" y="417"/>
                      <a:pt x="316" y="417"/>
                    </a:cubicBezTo>
                    <a:cubicBezTo>
                      <a:pt x="317" y="417"/>
                      <a:pt x="318" y="417"/>
                      <a:pt x="318" y="417"/>
                    </a:cubicBezTo>
                    <a:cubicBezTo>
                      <a:pt x="321" y="421"/>
                      <a:pt x="321" y="421"/>
                      <a:pt x="321" y="421"/>
                    </a:cubicBezTo>
                    <a:cubicBezTo>
                      <a:pt x="321" y="421"/>
                      <a:pt x="325" y="423"/>
                      <a:pt x="326" y="423"/>
                    </a:cubicBezTo>
                    <a:cubicBezTo>
                      <a:pt x="327" y="423"/>
                      <a:pt x="335" y="421"/>
                      <a:pt x="335" y="421"/>
                    </a:cubicBezTo>
                    <a:cubicBezTo>
                      <a:pt x="335" y="421"/>
                      <a:pt x="338" y="420"/>
                      <a:pt x="339" y="421"/>
                    </a:cubicBezTo>
                    <a:cubicBezTo>
                      <a:pt x="340" y="422"/>
                      <a:pt x="343" y="423"/>
                      <a:pt x="344" y="424"/>
                    </a:cubicBezTo>
                    <a:cubicBezTo>
                      <a:pt x="344" y="425"/>
                      <a:pt x="352" y="429"/>
                      <a:pt x="354" y="430"/>
                    </a:cubicBezTo>
                    <a:cubicBezTo>
                      <a:pt x="355" y="431"/>
                      <a:pt x="359" y="430"/>
                      <a:pt x="359" y="430"/>
                    </a:cubicBezTo>
                    <a:cubicBezTo>
                      <a:pt x="361" y="435"/>
                      <a:pt x="361" y="435"/>
                      <a:pt x="361" y="435"/>
                    </a:cubicBezTo>
                    <a:cubicBezTo>
                      <a:pt x="371" y="438"/>
                      <a:pt x="371" y="438"/>
                      <a:pt x="371" y="438"/>
                    </a:cubicBezTo>
                    <a:cubicBezTo>
                      <a:pt x="375" y="438"/>
                      <a:pt x="375" y="438"/>
                      <a:pt x="375" y="438"/>
                    </a:cubicBezTo>
                    <a:cubicBezTo>
                      <a:pt x="389" y="443"/>
                      <a:pt x="389" y="443"/>
                      <a:pt x="389" y="443"/>
                    </a:cubicBezTo>
                    <a:cubicBezTo>
                      <a:pt x="398" y="436"/>
                      <a:pt x="398" y="436"/>
                      <a:pt x="398" y="436"/>
                    </a:cubicBezTo>
                    <a:cubicBezTo>
                      <a:pt x="398" y="436"/>
                      <a:pt x="400" y="437"/>
                      <a:pt x="401" y="437"/>
                    </a:cubicBezTo>
                    <a:cubicBezTo>
                      <a:pt x="402" y="437"/>
                      <a:pt x="404" y="429"/>
                      <a:pt x="404" y="429"/>
                    </a:cubicBezTo>
                    <a:cubicBezTo>
                      <a:pt x="404" y="429"/>
                      <a:pt x="404" y="427"/>
                      <a:pt x="405" y="427"/>
                    </a:cubicBezTo>
                    <a:cubicBezTo>
                      <a:pt x="407" y="427"/>
                      <a:pt x="414" y="424"/>
                      <a:pt x="414" y="424"/>
                    </a:cubicBezTo>
                    <a:cubicBezTo>
                      <a:pt x="414" y="423"/>
                      <a:pt x="413" y="419"/>
                      <a:pt x="416" y="418"/>
                    </a:cubicBezTo>
                    <a:cubicBezTo>
                      <a:pt x="418" y="417"/>
                      <a:pt x="422" y="414"/>
                      <a:pt x="422" y="414"/>
                    </a:cubicBezTo>
                    <a:cubicBezTo>
                      <a:pt x="423" y="413"/>
                      <a:pt x="421" y="411"/>
                      <a:pt x="424" y="410"/>
                    </a:cubicBezTo>
                    <a:cubicBezTo>
                      <a:pt x="426" y="410"/>
                      <a:pt x="429" y="409"/>
                      <a:pt x="431" y="409"/>
                    </a:cubicBezTo>
                    <a:cubicBezTo>
                      <a:pt x="431" y="409"/>
                      <a:pt x="431" y="409"/>
                      <a:pt x="431" y="409"/>
                    </a:cubicBezTo>
                    <a:cubicBezTo>
                      <a:pt x="431" y="408"/>
                      <a:pt x="431" y="408"/>
                      <a:pt x="431" y="408"/>
                    </a:cubicBezTo>
                    <a:cubicBezTo>
                      <a:pt x="431" y="408"/>
                      <a:pt x="431" y="408"/>
                      <a:pt x="431" y="408"/>
                    </a:cubicBezTo>
                    <a:cubicBezTo>
                      <a:pt x="432" y="408"/>
                      <a:pt x="432" y="408"/>
                      <a:pt x="432" y="408"/>
                    </a:cubicBezTo>
                    <a:cubicBezTo>
                      <a:pt x="432" y="408"/>
                      <a:pt x="432" y="408"/>
                      <a:pt x="432" y="408"/>
                    </a:cubicBezTo>
                    <a:cubicBezTo>
                      <a:pt x="432" y="408"/>
                      <a:pt x="432" y="408"/>
                      <a:pt x="432" y="408"/>
                    </a:cubicBezTo>
                    <a:cubicBezTo>
                      <a:pt x="432" y="408"/>
                      <a:pt x="432" y="408"/>
                      <a:pt x="432" y="408"/>
                    </a:cubicBezTo>
                    <a:cubicBezTo>
                      <a:pt x="432" y="408"/>
                      <a:pt x="432" y="408"/>
                      <a:pt x="432" y="408"/>
                    </a:cubicBezTo>
                    <a:cubicBezTo>
                      <a:pt x="432" y="408"/>
                      <a:pt x="432" y="408"/>
                      <a:pt x="432" y="408"/>
                    </a:cubicBezTo>
                    <a:cubicBezTo>
                      <a:pt x="433" y="407"/>
                      <a:pt x="433" y="407"/>
                      <a:pt x="433" y="407"/>
                    </a:cubicBezTo>
                    <a:cubicBezTo>
                      <a:pt x="433" y="407"/>
                      <a:pt x="433" y="407"/>
                      <a:pt x="433" y="407"/>
                    </a:cubicBezTo>
                    <a:cubicBezTo>
                      <a:pt x="433" y="407"/>
                      <a:pt x="433" y="407"/>
                      <a:pt x="433" y="407"/>
                    </a:cubicBezTo>
                    <a:cubicBezTo>
                      <a:pt x="434" y="407"/>
                      <a:pt x="434" y="407"/>
                      <a:pt x="434" y="407"/>
                    </a:cubicBezTo>
                    <a:cubicBezTo>
                      <a:pt x="434" y="407"/>
                      <a:pt x="434" y="407"/>
                      <a:pt x="434" y="407"/>
                    </a:cubicBezTo>
                    <a:cubicBezTo>
                      <a:pt x="434" y="407"/>
                      <a:pt x="434" y="407"/>
                      <a:pt x="434" y="407"/>
                    </a:cubicBezTo>
                    <a:cubicBezTo>
                      <a:pt x="434" y="407"/>
                      <a:pt x="434" y="407"/>
                      <a:pt x="434" y="407"/>
                    </a:cubicBezTo>
                    <a:cubicBezTo>
                      <a:pt x="434" y="407"/>
                      <a:pt x="434" y="407"/>
                      <a:pt x="434" y="407"/>
                    </a:cubicBezTo>
                    <a:cubicBezTo>
                      <a:pt x="434" y="407"/>
                      <a:pt x="434" y="407"/>
                      <a:pt x="434" y="407"/>
                    </a:cubicBezTo>
                    <a:cubicBezTo>
                      <a:pt x="434" y="407"/>
                      <a:pt x="434" y="407"/>
                      <a:pt x="434" y="407"/>
                    </a:cubicBezTo>
                    <a:cubicBezTo>
                      <a:pt x="434" y="407"/>
                      <a:pt x="434" y="407"/>
                      <a:pt x="434" y="407"/>
                    </a:cubicBezTo>
                    <a:cubicBezTo>
                      <a:pt x="435" y="407"/>
                      <a:pt x="435" y="407"/>
                      <a:pt x="435" y="407"/>
                    </a:cubicBezTo>
                    <a:cubicBezTo>
                      <a:pt x="435" y="407"/>
                      <a:pt x="435" y="407"/>
                      <a:pt x="435" y="407"/>
                    </a:cubicBezTo>
                    <a:cubicBezTo>
                      <a:pt x="435" y="407"/>
                      <a:pt x="435" y="407"/>
                      <a:pt x="435" y="407"/>
                    </a:cubicBezTo>
                    <a:cubicBezTo>
                      <a:pt x="435" y="407"/>
                      <a:pt x="435" y="407"/>
                      <a:pt x="435" y="407"/>
                    </a:cubicBezTo>
                    <a:cubicBezTo>
                      <a:pt x="435" y="406"/>
                      <a:pt x="435" y="406"/>
                      <a:pt x="435" y="406"/>
                    </a:cubicBezTo>
                    <a:cubicBezTo>
                      <a:pt x="435" y="406"/>
                      <a:pt x="435" y="406"/>
                      <a:pt x="435" y="406"/>
                    </a:cubicBezTo>
                    <a:cubicBezTo>
                      <a:pt x="435" y="406"/>
                      <a:pt x="435" y="406"/>
                      <a:pt x="435" y="406"/>
                    </a:cubicBezTo>
                    <a:cubicBezTo>
                      <a:pt x="435" y="406"/>
                      <a:pt x="435" y="406"/>
                      <a:pt x="435" y="406"/>
                    </a:cubicBezTo>
                    <a:cubicBezTo>
                      <a:pt x="435" y="406"/>
                      <a:pt x="435" y="406"/>
                      <a:pt x="435" y="406"/>
                    </a:cubicBezTo>
                    <a:cubicBezTo>
                      <a:pt x="435" y="406"/>
                      <a:pt x="435" y="406"/>
                      <a:pt x="435" y="406"/>
                    </a:cubicBezTo>
                    <a:cubicBezTo>
                      <a:pt x="436" y="406"/>
                      <a:pt x="436" y="406"/>
                      <a:pt x="436" y="406"/>
                    </a:cubicBezTo>
                    <a:cubicBezTo>
                      <a:pt x="436" y="406"/>
                      <a:pt x="436" y="406"/>
                      <a:pt x="436" y="406"/>
                    </a:cubicBezTo>
                    <a:cubicBezTo>
                      <a:pt x="436" y="406"/>
                      <a:pt x="436" y="406"/>
                      <a:pt x="436" y="406"/>
                    </a:cubicBezTo>
                    <a:cubicBezTo>
                      <a:pt x="436" y="406"/>
                      <a:pt x="436" y="406"/>
                      <a:pt x="436" y="406"/>
                    </a:cubicBezTo>
                    <a:cubicBezTo>
                      <a:pt x="436" y="406"/>
                      <a:pt x="436" y="406"/>
                      <a:pt x="436" y="406"/>
                    </a:cubicBezTo>
                    <a:cubicBezTo>
                      <a:pt x="436" y="406"/>
                      <a:pt x="436" y="406"/>
                      <a:pt x="436" y="406"/>
                    </a:cubicBezTo>
                    <a:cubicBezTo>
                      <a:pt x="436" y="406"/>
                      <a:pt x="436" y="406"/>
                      <a:pt x="436" y="406"/>
                    </a:cubicBezTo>
                    <a:cubicBezTo>
                      <a:pt x="436" y="406"/>
                      <a:pt x="436" y="406"/>
                      <a:pt x="436" y="406"/>
                    </a:cubicBezTo>
                    <a:cubicBezTo>
                      <a:pt x="437" y="405"/>
                      <a:pt x="438" y="405"/>
                      <a:pt x="438" y="405"/>
                    </a:cubicBezTo>
                    <a:cubicBezTo>
                      <a:pt x="444" y="400"/>
                      <a:pt x="444" y="400"/>
                      <a:pt x="444" y="400"/>
                    </a:cubicBezTo>
                    <a:cubicBezTo>
                      <a:pt x="447" y="389"/>
                      <a:pt x="447" y="389"/>
                      <a:pt x="447" y="389"/>
                    </a:cubicBezTo>
                    <a:cubicBezTo>
                      <a:pt x="443" y="386"/>
                      <a:pt x="443" y="386"/>
                      <a:pt x="443" y="386"/>
                    </a:cubicBezTo>
                    <a:cubicBezTo>
                      <a:pt x="434" y="386"/>
                      <a:pt x="434" y="386"/>
                      <a:pt x="434" y="386"/>
                    </a:cubicBezTo>
                    <a:cubicBezTo>
                      <a:pt x="424" y="382"/>
                      <a:pt x="424" y="382"/>
                      <a:pt x="424" y="382"/>
                    </a:cubicBezTo>
                    <a:cubicBezTo>
                      <a:pt x="419" y="374"/>
                      <a:pt x="419" y="374"/>
                      <a:pt x="419" y="374"/>
                    </a:cubicBezTo>
                    <a:cubicBezTo>
                      <a:pt x="416" y="374"/>
                      <a:pt x="416" y="374"/>
                      <a:pt x="416" y="374"/>
                    </a:cubicBezTo>
                    <a:cubicBezTo>
                      <a:pt x="415" y="367"/>
                      <a:pt x="413" y="370"/>
                      <a:pt x="417" y="365"/>
                    </a:cubicBezTo>
                    <a:cubicBezTo>
                      <a:pt x="421" y="359"/>
                      <a:pt x="421" y="359"/>
                      <a:pt x="421" y="359"/>
                    </a:cubicBezTo>
                    <a:cubicBezTo>
                      <a:pt x="420" y="349"/>
                      <a:pt x="420" y="349"/>
                      <a:pt x="420" y="349"/>
                    </a:cubicBezTo>
                    <a:cubicBezTo>
                      <a:pt x="417" y="346"/>
                      <a:pt x="417" y="346"/>
                      <a:pt x="417" y="346"/>
                    </a:cubicBezTo>
                    <a:cubicBezTo>
                      <a:pt x="412" y="343"/>
                      <a:pt x="412" y="343"/>
                      <a:pt x="412" y="343"/>
                    </a:cubicBezTo>
                    <a:cubicBezTo>
                      <a:pt x="412" y="343"/>
                      <a:pt x="409" y="339"/>
                      <a:pt x="408" y="338"/>
                    </a:cubicBezTo>
                    <a:cubicBezTo>
                      <a:pt x="408" y="338"/>
                      <a:pt x="408" y="336"/>
                      <a:pt x="408" y="336"/>
                    </a:cubicBezTo>
                    <a:cubicBezTo>
                      <a:pt x="407" y="335"/>
                      <a:pt x="411" y="335"/>
                      <a:pt x="411" y="335"/>
                    </a:cubicBezTo>
                    <a:cubicBezTo>
                      <a:pt x="412" y="335"/>
                      <a:pt x="415" y="334"/>
                      <a:pt x="416" y="334"/>
                    </a:cubicBezTo>
                    <a:cubicBezTo>
                      <a:pt x="417" y="334"/>
                      <a:pt x="421" y="330"/>
                      <a:pt x="421" y="330"/>
                    </a:cubicBezTo>
                    <a:cubicBezTo>
                      <a:pt x="421" y="330"/>
                      <a:pt x="423" y="326"/>
                      <a:pt x="425" y="325"/>
                    </a:cubicBezTo>
                    <a:cubicBezTo>
                      <a:pt x="426" y="324"/>
                      <a:pt x="428" y="316"/>
                      <a:pt x="428" y="315"/>
                    </a:cubicBezTo>
                    <a:cubicBezTo>
                      <a:pt x="428" y="315"/>
                      <a:pt x="426" y="310"/>
                      <a:pt x="425" y="310"/>
                    </a:cubicBezTo>
                    <a:cubicBezTo>
                      <a:pt x="416" y="306"/>
                      <a:pt x="418" y="304"/>
                      <a:pt x="414" y="302"/>
                    </a:cubicBezTo>
                    <a:cubicBezTo>
                      <a:pt x="414" y="297"/>
                      <a:pt x="414" y="297"/>
                      <a:pt x="414" y="297"/>
                    </a:cubicBezTo>
                    <a:cubicBezTo>
                      <a:pt x="419" y="293"/>
                      <a:pt x="419" y="293"/>
                      <a:pt x="419" y="293"/>
                    </a:cubicBezTo>
                    <a:cubicBezTo>
                      <a:pt x="420" y="292"/>
                      <a:pt x="422" y="291"/>
                      <a:pt x="423" y="291"/>
                    </a:cubicBezTo>
                    <a:cubicBezTo>
                      <a:pt x="424" y="289"/>
                      <a:pt x="424" y="289"/>
                      <a:pt x="424" y="289"/>
                    </a:cubicBezTo>
                    <a:cubicBezTo>
                      <a:pt x="424" y="289"/>
                      <a:pt x="422" y="287"/>
                      <a:pt x="422" y="287"/>
                    </a:cubicBezTo>
                    <a:cubicBezTo>
                      <a:pt x="422" y="287"/>
                      <a:pt x="421" y="286"/>
                      <a:pt x="420" y="286"/>
                    </a:cubicBezTo>
                    <a:cubicBezTo>
                      <a:pt x="420" y="286"/>
                      <a:pt x="419" y="285"/>
                      <a:pt x="419" y="285"/>
                    </a:cubicBezTo>
                    <a:cubicBezTo>
                      <a:pt x="419" y="285"/>
                      <a:pt x="418" y="284"/>
                      <a:pt x="417" y="284"/>
                    </a:cubicBezTo>
                    <a:cubicBezTo>
                      <a:pt x="416" y="284"/>
                      <a:pt x="417" y="282"/>
                      <a:pt x="418" y="282"/>
                    </a:cubicBezTo>
                    <a:cubicBezTo>
                      <a:pt x="418" y="281"/>
                      <a:pt x="418" y="279"/>
                      <a:pt x="418" y="279"/>
                    </a:cubicBezTo>
                    <a:cubicBezTo>
                      <a:pt x="418" y="279"/>
                      <a:pt x="415" y="279"/>
                      <a:pt x="414" y="279"/>
                    </a:cubicBezTo>
                    <a:cubicBezTo>
                      <a:pt x="414" y="278"/>
                      <a:pt x="414" y="278"/>
                      <a:pt x="414" y="278"/>
                    </a:cubicBezTo>
                    <a:cubicBezTo>
                      <a:pt x="414" y="278"/>
                      <a:pt x="415" y="275"/>
                      <a:pt x="416" y="275"/>
                    </a:cubicBezTo>
                    <a:cubicBezTo>
                      <a:pt x="416" y="274"/>
                      <a:pt x="416" y="273"/>
                      <a:pt x="416" y="273"/>
                    </a:cubicBezTo>
                    <a:cubicBezTo>
                      <a:pt x="416" y="273"/>
                      <a:pt x="416" y="272"/>
                      <a:pt x="416" y="270"/>
                    </a:cubicBezTo>
                    <a:cubicBezTo>
                      <a:pt x="417" y="269"/>
                      <a:pt x="416" y="269"/>
                      <a:pt x="416" y="269"/>
                    </a:cubicBezTo>
                    <a:cubicBezTo>
                      <a:pt x="416" y="269"/>
                      <a:pt x="415" y="268"/>
                      <a:pt x="414" y="268"/>
                    </a:cubicBezTo>
                    <a:cubicBezTo>
                      <a:pt x="414" y="268"/>
                      <a:pt x="414" y="268"/>
                      <a:pt x="415" y="267"/>
                    </a:cubicBezTo>
                    <a:cubicBezTo>
                      <a:pt x="416" y="265"/>
                      <a:pt x="416" y="266"/>
                      <a:pt x="416" y="266"/>
                    </a:cubicBezTo>
                    <a:cubicBezTo>
                      <a:pt x="416" y="264"/>
                      <a:pt x="416" y="264"/>
                      <a:pt x="416" y="264"/>
                    </a:cubicBezTo>
                    <a:cubicBezTo>
                      <a:pt x="414" y="263"/>
                      <a:pt x="414" y="263"/>
                      <a:pt x="414" y="263"/>
                    </a:cubicBezTo>
                    <a:cubicBezTo>
                      <a:pt x="411" y="261"/>
                      <a:pt x="411" y="261"/>
                      <a:pt x="411" y="261"/>
                    </a:cubicBezTo>
                    <a:cubicBezTo>
                      <a:pt x="411" y="261"/>
                      <a:pt x="407" y="261"/>
                      <a:pt x="407" y="261"/>
                    </a:cubicBezTo>
                    <a:cubicBezTo>
                      <a:pt x="407" y="261"/>
                      <a:pt x="404" y="261"/>
                      <a:pt x="404" y="261"/>
                    </a:cubicBezTo>
                    <a:cubicBezTo>
                      <a:pt x="402" y="262"/>
                      <a:pt x="402" y="262"/>
                      <a:pt x="402" y="262"/>
                    </a:cubicBezTo>
                    <a:cubicBezTo>
                      <a:pt x="401" y="263"/>
                      <a:pt x="401" y="263"/>
                      <a:pt x="401" y="263"/>
                    </a:cubicBezTo>
                    <a:cubicBezTo>
                      <a:pt x="398" y="264"/>
                      <a:pt x="398" y="264"/>
                      <a:pt x="398" y="264"/>
                    </a:cubicBezTo>
                    <a:cubicBezTo>
                      <a:pt x="395" y="265"/>
                      <a:pt x="395" y="265"/>
                      <a:pt x="395" y="265"/>
                    </a:cubicBezTo>
                    <a:cubicBezTo>
                      <a:pt x="395" y="265"/>
                      <a:pt x="394" y="267"/>
                      <a:pt x="393" y="268"/>
                    </a:cubicBezTo>
                    <a:cubicBezTo>
                      <a:pt x="393" y="268"/>
                      <a:pt x="393" y="269"/>
                      <a:pt x="393" y="269"/>
                    </a:cubicBezTo>
                    <a:cubicBezTo>
                      <a:pt x="395" y="270"/>
                      <a:pt x="395" y="270"/>
                      <a:pt x="395" y="270"/>
                    </a:cubicBezTo>
                    <a:cubicBezTo>
                      <a:pt x="395" y="272"/>
                      <a:pt x="395" y="272"/>
                      <a:pt x="395" y="272"/>
                    </a:cubicBezTo>
                    <a:cubicBezTo>
                      <a:pt x="396" y="272"/>
                      <a:pt x="396" y="272"/>
                      <a:pt x="396" y="272"/>
                    </a:cubicBezTo>
                    <a:cubicBezTo>
                      <a:pt x="395" y="274"/>
                      <a:pt x="395" y="274"/>
                      <a:pt x="395" y="274"/>
                    </a:cubicBezTo>
                    <a:cubicBezTo>
                      <a:pt x="395" y="274"/>
                      <a:pt x="394" y="274"/>
                      <a:pt x="393" y="275"/>
                    </a:cubicBezTo>
                    <a:cubicBezTo>
                      <a:pt x="392" y="276"/>
                      <a:pt x="392" y="277"/>
                      <a:pt x="392" y="277"/>
                    </a:cubicBezTo>
                    <a:cubicBezTo>
                      <a:pt x="389" y="278"/>
                      <a:pt x="389" y="278"/>
                      <a:pt x="389" y="278"/>
                    </a:cubicBezTo>
                    <a:cubicBezTo>
                      <a:pt x="387" y="277"/>
                      <a:pt x="387" y="277"/>
                      <a:pt x="387" y="277"/>
                    </a:cubicBezTo>
                    <a:cubicBezTo>
                      <a:pt x="385" y="278"/>
                      <a:pt x="385" y="278"/>
                      <a:pt x="385" y="278"/>
                    </a:cubicBezTo>
                    <a:cubicBezTo>
                      <a:pt x="384" y="278"/>
                      <a:pt x="384" y="278"/>
                      <a:pt x="384" y="278"/>
                    </a:cubicBezTo>
                    <a:cubicBezTo>
                      <a:pt x="384" y="276"/>
                      <a:pt x="384" y="276"/>
                      <a:pt x="384" y="276"/>
                    </a:cubicBezTo>
                    <a:cubicBezTo>
                      <a:pt x="383" y="275"/>
                      <a:pt x="383" y="275"/>
                      <a:pt x="383" y="275"/>
                    </a:cubicBezTo>
                    <a:cubicBezTo>
                      <a:pt x="384" y="274"/>
                      <a:pt x="384" y="274"/>
                      <a:pt x="384" y="274"/>
                    </a:cubicBezTo>
                    <a:cubicBezTo>
                      <a:pt x="384" y="274"/>
                      <a:pt x="385" y="273"/>
                      <a:pt x="385" y="273"/>
                    </a:cubicBezTo>
                    <a:cubicBezTo>
                      <a:pt x="386" y="273"/>
                      <a:pt x="387" y="272"/>
                      <a:pt x="387" y="272"/>
                    </a:cubicBezTo>
                    <a:cubicBezTo>
                      <a:pt x="389" y="272"/>
                      <a:pt x="389" y="272"/>
                      <a:pt x="389" y="272"/>
                    </a:cubicBezTo>
                    <a:cubicBezTo>
                      <a:pt x="389" y="270"/>
                      <a:pt x="389" y="270"/>
                      <a:pt x="389" y="270"/>
                    </a:cubicBezTo>
                    <a:cubicBezTo>
                      <a:pt x="390" y="268"/>
                      <a:pt x="390" y="268"/>
                      <a:pt x="390" y="268"/>
                    </a:cubicBezTo>
                    <a:cubicBezTo>
                      <a:pt x="390" y="265"/>
                      <a:pt x="390" y="265"/>
                      <a:pt x="390" y="265"/>
                    </a:cubicBezTo>
                    <a:cubicBezTo>
                      <a:pt x="389" y="264"/>
                      <a:pt x="389" y="264"/>
                      <a:pt x="389" y="264"/>
                    </a:cubicBezTo>
                    <a:cubicBezTo>
                      <a:pt x="388" y="263"/>
                      <a:pt x="388" y="263"/>
                      <a:pt x="388" y="263"/>
                    </a:cubicBezTo>
                    <a:cubicBezTo>
                      <a:pt x="388" y="262"/>
                      <a:pt x="388" y="262"/>
                      <a:pt x="388" y="262"/>
                    </a:cubicBezTo>
                    <a:cubicBezTo>
                      <a:pt x="388" y="260"/>
                      <a:pt x="388" y="260"/>
                      <a:pt x="388" y="260"/>
                    </a:cubicBezTo>
                    <a:cubicBezTo>
                      <a:pt x="389" y="259"/>
                      <a:pt x="389" y="259"/>
                      <a:pt x="389" y="259"/>
                    </a:cubicBezTo>
                    <a:cubicBezTo>
                      <a:pt x="389" y="259"/>
                      <a:pt x="390" y="258"/>
                      <a:pt x="390" y="257"/>
                    </a:cubicBezTo>
                    <a:cubicBezTo>
                      <a:pt x="390" y="257"/>
                      <a:pt x="390" y="255"/>
                      <a:pt x="390" y="255"/>
                    </a:cubicBezTo>
                    <a:cubicBezTo>
                      <a:pt x="390" y="255"/>
                      <a:pt x="390" y="254"/>
                      <a:pt x="390" y="254"/>
                    </a:cubicBezTo>
                    <a:cubicBezTo>
                      <a:pt x="394" y="250"/>
                      <a:pt x="394" y="250"/>
                      <a:pt x="394" y="250"/>
                    </a:cubicBezTo>
                    <a:cubicBezTo>
                      <a:pt x="396" y="248"/>
                      <a:pt x="396" y="248"/>
                      <a:pt x="396" y="248"/>
                    </a:cubicBezTo>
                    <a:cubicBezTo>
                      <a:pt x="396" y="248"/>
                      <a:pt x="398" y="248"/>
                      <a:pt x="398" y="247"/>
                    </a:cubicBezTo>
                    <a:cubicBezTo>
                      <a:pt x="398" y="247"/>
                      <a:pt x="400" y="247"/>
                      <a:pt x="400" y="247"/>
                    </a:cubicBezTo>
                    <a:cubicBezTo>
                      <a:pt x="400" y="247"/>
                      <a:pt x="401" y="246"/>
                      <a:pt x="401" y="246"/>
                    </a:cubicBezTo>
                    <a:cubicBezTo>
                      <a:pt x="402" y="245"/>
                      <a:pt x="402" y="244"/>
                      <a:pt x="402" y="244"/>
                    </a:cubicBezTo>
                    <a:cubicBezTo>
                      <a:pt x="402" y="244"/>
                      <a:pt x="402" y="243"/>
                      <a:pt x="402" y="243"/>
                    </a:cubicBezTo>
                    <a:cubicBezTo>
                      <a:pt x="402" y="243"/>
                      <a:pt x="402" y="242"/>
                      <a:pt x="402" y="242"/>
                    </a:cubicBezTo>
                    <a:cubicBezTo>
                      <a:pt x="402" y="242"/>
                      <a:pt x="402" y="241"/>
                      <a:pt x="402" y="241"/>
                    </a:cubicBezTo>
                    <a:cubicBezTo>
                      <a:pt x="402" y="240"/>
                      <a:pt x="403" y="240"/>
                      <a:pt x="403" y="240"/>
                    </a:cubicBezTo>
                    <a:cubicBezTo>
                      <a:pt x="403" y="238"/>
                      <a:pt x="403" y="238"/>
                      <a:pt x="403" y="238"/>
                    </a:cubicBezTo>
                    <a:cubicBezTo>
                      <a:pt x="403" y="238"/>
                      <a:pt x="402" y="237"/>
                      <a:pt x="402" y="236"/>
                    </a:cubicBezTo>
                    <a:cubicBezTo>
                      <a:pt x="402" y="236"/>
                      <a:pt x="402" y="236"/>
                      <a:pt x="402" y="235"/>
                    </a:cubicBezTo>
                    <a:cubicBezTo>
                      <a:pt x="403" y="234"/>
                      <a:pt x="404" y="234"/>
                      <a:pt x="404" y="234"/>
                    </a:cubicBezTo>
                    <a:cubicBezTo>
                      <a:pt x="406" y="234"/>
                      <a:pt x="406" y="234"/>
                      <a:pt x="406" y="234"/>
                    </a:cubicBezTo>
                    <a:cubicBezTo>
                      <a:pt x="406" y="234"/>
                      <a:pt x="407" y="233"/>
                      <a:pt x="408" y="233"/>
                    </a:cubicBezTo>
                    <a:cubicBezTo>
                      <a:pt x="408" y="233"/>
                      <a:pt x="409" y="232"/>
                      <a:pt x="409" y="232"/>
                    </a:cubicBezTo>
                    <a:cubicBezTo>
                      <a:pt x="410" y="230"/>
                      <a:pt x="410" y="230"/>
                      <a:pt x="410" y="230"/>
                    </a:cubicBezTo>
                    <a:cubicBezTo>
                      <a:pt x="411" y="230"/>
                      <a:pt x="411" y="230"/>
                      <a:pt x="411" y="230"/>
                    </a:cubicBezTo>
                    <a:cubicBezTo>
                      <a:pt x="412" y="229"/>
                      <a:pt x="412" y="229"/>
                      <a:pt x="412" y="229"/>
                    </a:cubicBezTo>
                    <a:cubicBezTo>
                      <a:pt x="412" y="227"/>
                      <a:pt x="412" y="227"/>
                      <a:pt x="412" y="227"/>
                    </a:cubicBezTo>
                    <a:cubicBezTo>
                      <a:pt x="414" y="226"/>
                      <a:pt x="414" y="226"/>
                      <a:pt x="414" y="226"/>
                    </a:cubicBezTo>
                    <a:cubicBezTo>
                      <a:pt x="414" y="225"/>
                      <a:pt x="414" y="225"/>
                      <a:pt x="414" y="225"/>
                    </a:cubicBezTo>
                    <a:cubicBezTo>
                      <a:pt x="415" y="224"/>
                      <a:pt x="415" y="224"/>
                      <a:pt x="415" y="224"/>
                    </a:cubicBezTo>
                    <a:cubicBezTo>
                      <a:pt x="416" y="224"/>
                      <a:pt x="416" y="224"/>
                      <a:pt x="416" y="224"/>
                    </a:cubicBezTo>
                    <a:cubicBezTo>
                      <a:pt x="418" y="222"/>
                      <a:pt x="418" y="222"/>
                      <a:pt x="418" y="222"/>
                    </a:cubicBezTo>
                    <a:cubicBezTo>
                      <a:pt x="420" y="221"/>
                      <a:pt x="420" y="221"/>
                      <a:pt x="420" y="221"/>
                    </a:cubicBezTo>
                    <a:cubicBezTo>
                      <a:pt x="420" y="221"/>
                      <a:pt x="421" y="219"/>
                      <a:pt x="421" y="218"/>
                    </a:cubicBezTo>
                    <a:cubicBezTo>
                      <a:pt x="421" y="217"/>
                      <a:pt x="421" y="217"/>
                      <a:pt x="422" y="216"/>
                    </a:cubicBezTo>
                    <a:cubicBezTo>
                      <a:pt x="422" y="216"/>
                      <a:pt x="423" y="216"/>
                      <a:pt x="424" y="215"/>
                    </a:cubicBezTo>
                    <a:cubicBezTo>
                      <a:pt x="424" y="215"/>
                      <a:pt x="424" y="214"/>
                      <a:pt x="424" y="214"/>
                    </a:cubicBezTo>
                    <a:cubicBezTo>
                      <a:pt x="425" y="214"/>
                      <a:pt x="425" y="214"/>
                      <a:pt x="425" y="214"/>
                    </a:cubicBezTo>
                    <a:cubicBezTo>
                      <a:pt x="425" y="212"/>
                      <a:pt x="425" y="212"/>
                      <a:pt x="425" y="212"/>
                    </a:cubicBezTo>
                    <a:cubicBezTo>
                      <a:pt x="425" y="211"/>
                      <a:pt x="425" y="211"/>
                      <a:pt x="425" y="211"/>
                    </a:cubicBezTo>
                    <a:cubicBezTo>
                      <a:pt x="425" y="211"/>
                      <a:pt x="423" y="212"/>
                      <a:pt x="423" y="212"/>
                    </a:cubicBezTo>
                    <a:cubicBezTo>
                      <a:pt x="423" y="212"/>
                      <a:pt x="422" y="212"/>
                      <a:pt x="421" y="212"/>
                    </a:cubicBezTo>
                    <a:cubicBezTo>
                      <a:pt x="421" y="212"/>
                      <a:pt x="420" y="212"/>
                      <a:pt x="419" y="212"/>
                    </a:cubicBezTo>
                    <a:cubicBezTo>
                      <a:pt x="418" y="211"/>
                      <a:pt x="419" y="211"/>
                      <a:pt x="419" y="211"/>
                    </a:cubicBezTo>
                    <a:cubicBezTo>
                      <a:pt x="419" y="211"/>
                      <a:pt x="420" y="211"/>
                      <a:pt x="420" y="210"/>
                    </a:cubicBezTo>
                    <a:cubicBezTo>
                      <a:pt x="420" y="210"/>
                      <a:pt x="421" y="208"/>
                      <a:pt x="421" y="208"/>
                    </a:cubicBezTo>
                    <a:cubicBezTo>
                      <a:pt x="422" y="208"/>
                      <a:pt x="422" y="208"/>
                      <a:pt x="422" y="208"/>
                    </a:cubicBezTo>
                    <a:cubicBezTo>
                      <a:pt x="423" y="207"/>
                      <a:pt x="423" y="207"/>
                      <a:pt x="423" y="207"/>
                    </a:cubicBezTo>
                    <a:cubicBezTo>
                      <a:pt x="423" y="207"/>
                      <a:pt x="424" y="207"/>
                      <a:pt x="424" y="207"/>
                    </a:cubicBezTo>
                    <a:cubicBezTo>
                      <a:pt x="424" y="207"/>
                      <a:pt x="423" y="206"/>
                      <a:pt x="423" y="206"/>
                    </a:cubicBezTo>
                    <a:cubicBezTo>
                      <a:pt x="423" y="204"/>
                      <a:pt x="423" y="204"/>
                      <a:pt x="423" y="204"/>
                    </a:cubicBezTo>
                    <a:cubicBezTo>
                      <a:pt x="425" y="205"/>
                      <a:pt x="425" y="205"/>
                      <a:pt x="425" y="205"/>
                    </a:cubicBezTo>
                    <a:cubicBezTo>
                      <a:pt x="428" y="205"/>
                      <a:pt x="428" y="205"/>
                      <a:pt x="428" y="205"/>
                    </a:cubicBezTo>
                    <a:cubicBezTo>
                      <a:pt x="429" y="204"/>
                      <a:pt x="429" y="204"/>
                      <a:pt x="429" y="204"/>
                    </a:cubicBezTo>
                    <a:cubicBezTo>
                      <a:pt x="429" y="204"/>
                      <a:pt x="430" y="206"/>
                      <a:pt x="430" y="206"/>
                    </a:cubicBezTo>
                    <a:cubicBezTo>
                      <a:pt x="430" y="207"/>
                      <a:pt x="430" y="208"/>
                      <a:pt x="431" y="208"/>
                    </a:cubicBezTo>
                    <a:cubicBezTo>
                      <a:pt x="431" y="208"/>
                      <a:pt x="433" y="209"/>
                      <a:pt x="433" y="209"/>
                    </a:cubicBezTo>
                    <a:cubicBezTo>
                      <a:pt x="433" y="209"/>
                      <a:pt x="433" y="208"/>
                      <a:pt x="434" y="208"/>
                    </a:cubicBezTo>
                    <a:cubicBezTo>
                      <a:pt x="434" y="208"/>
                      <a:pt x="435" y="208"/>
                      <a:pt x="435" y="208"/>
                    </a:cubicBezTo>
                    <a:cubicBezTo>
                      <a:pt x="436" y="208"/>
                      <a:pt x="437" y="208"/>
                      <a:pt x="437" y="208"/>
                    </a:cubicBezTo>
                    <a:cubicBezTo>
                      <a:pt x="437" y="208"/>
                      <a:pt x="438" y="208"/>
                      <a:pt x="439" y="208"/>
                    </a:cubicBezTo>
                    <a:cubicBezTo>
                      <a:pt x="439" y="207"/>
                      <a:pt x="439" y="207"/>
                      <a:pt x="439" y="207"/>
                    </a:cubicBezTo>
                    <a:cubicBezTo>
                      <a:pt x="439" y="207"/>
                      <a:pt x="439" y="206"/>
                      <a:pt x="439" y="206"/>
                    </a:cubicBezTo>
                    <a:cubicBezTo>
                      <a:pt x="439" y="206"/>
                      <a:pt x="440" y="204"/>
                      <a:pt x="440" y="204"/>
                    </a:cubicBezTo>
                    <a:cubicBezTo>
                      <a:pt x="440" y="204"/>
                      <a:pt x="441" y="204"/>
                      <a:pt x="441" y="204"/>
                    </a:cubicBezTo>
                    <a:cubicBezTo>
                      <a:pt x="441" y="204"/>
                      <a:pt x="442" y="204"/>
                      <a:pt x="442" y="204"/>
                    </a:cubicBezTo>
                    <a:cubicBezTo>
                      <a:pt x="442" y="204"/>
                      <a:pt x="442" y="203"/>
                      <a:pt x="442" y="203"/>
                    </a:cubicBezTo>
                    <a:cubicBezTo>
                      <a:pt x="442" y="203"/>
                      <a:pt x="442" y="202"/>
                      <a:pt x="442" y="202"/>
                    </a:cubicBezTo>
                    <a:cubicBezTo>
                      <a:pt x="442" y="202"/>
                      <a:pt x="443" y="202"/>
                      <a:pt x="443" y="202"/>
                    </a:cubicBezTo>
                    <a:cubicBezTo>
                      <a:pt x="443" y="200"/>
                      <a:pt x="443" y="200"/>
                      <a:pt x="443" y="200"/>
                    </a:cubicBezTo>
                    <a:cubicBezTo>
                      <a:pt x="443" y="200"/>
                      <a:pt x="445" y="200"/>
                      <a:pt x="445" y="200"/>
                    </a:cubicBezTo>
                    <a:cubicBezTo>
                      <a:pt x="446" y="200"/>
                      <a:pt x="445" y="200"/>
                      <a:pt x="445" y="200"/>
                    </a:cubicBezTo>
                    <a:cubicBezTo>
                      <a:pt x="448" y="199"/>
                      <a:pt x="448" y="199"/>
                      <a:pt x="448" y="199"/>
                    </a:cubicBezTo>
                    <a:cubicBezTo>
                      <a:pt x="448" y="199"/>
                      <a:pt x="448" y="199"/>
                      <a:pt x="448" y="200"/>
                    </a:cubicBezTo>
                    <a:cubicBezTo>
                      <a:pt x="446" y="197"/>
                      <a:pt x="443" y="193"/>
                      <a:pt x="443" y="193"/>
                    </a:cubicBezTo>
                    <a:cubicBezTo>
                      <a:pt x="445" y="189"/>
                      <a:pt x="445" y="189"/>
                      <a:pt x="445" y="189"/>
                    </a:cubicBezTo>
                    <a:cubicBezTo>
                      <a:pt x="445" y="189"/>
                      <a:pt x="446" y="182"/>
                      <a:pt x="446" y="180"/>
                    </a:cubicBezTo>
                    <a:cubicBezTo>
                      <a:pt x="446" y="179"/>
                      <a:pt x="446" y="173"/>
                      <a:pt x="446" y="173"/>
                    </a:cubicBezTo>
                    <a:cubicBezTo>
                      <a:pt x="446" y="173"/>
                      <a:pt x="442" y="172"/>
                      <a:pt x="445" y="169"/>
                    </a:cubicBezTo>
                    <a:cubicBezTo>
                      <a:pt x="448" y="165"/>
                      <a:pt x="451" y="160"/>
                      <a:pt x="451" y="160"/>
                    </a:cubicBezTo>
                    <a:cubicBezTo>
                      <a:pt x="451" y="150"/>
                      <a:pt x="451" y="150"/>
                      <a:pt x="451" y="150"/>
                    </a:cubicBezTo>
                    <a:cubicBezTo>
                      <a:pt x="451" y="150"/>
                      <a:pt x="448" y="147"/>
                      <a:pt x="452" y="145"/>
                    </a:cubicBezTo>
                    <a:cubicBezTo>
                      <a:pt x="456" y="142"/>
                      <a:pt x="463" y="133"/>
                      <a:pt x="463" y="133"/>
                    </a:cubicBezTo>
                    <a:cubicBezTo>
                      <a:pt x="470" y="125"/>
                      <a:pt x="470" y="125"/>
                      <a:pt x="470" y="125"/>
                    </a:cubicBezTo>
                    <a:cubicBezTo>
                      <a:pt x="458" y="122"/>
                      <a:pt x="458" y="122"/>
                      <a:pt x="458" y="122"/>
                    </a:cubicBezTo>
                    <a:cubicBezTo>
                      <a:pt x="451" y="121"/>
                      <a:pt x="451" y="121"/>
                      <a:pt x="451" y="121"/>
                    </a:cubicBezTo>
                    <a:cubicBezTo>
                      <a:pt x="446" y="118"/>
                      <a:pt x="446" y="118"/>
                      <a:pt x="446" y="118"/>
                    </a:cubicBezTo>
                    <a:cubicBezTo>
                      <a:pt x="443" y="113"/>
                      <a:pt x="443" y="113"/>
                      <a:pt x="443" y="113"/>
                    </a:cubicBezTo>
                    <a:cubicBezTo>
                      <a:pt x="440" y="115"/>
                      <a:pt x="440" y="115"/>
                      <a:pt x="440" y="115"/>
                    </a:cubicBezTo>
                    <a:cubicBezTo>
                      <a:pt x="437" y="117"/>
                      <a:pt x="437" y="117"/>
                      <a:pt x="437" y="117"/>
                    </a:cubicBezTo>
                    <a:cubicBezTo>
                      <a:pt x="430" y="116"/>
                      <a:pt x="430" y="116"/>
                      <a:pt x="430" y="116"/>
                    </a:cubicBezTo>
                    <a:cubicBezTo>
                      <a:pt x="425" y="111"/>
                      <a:pt x="425" y="111"/>
                      <a:pt x="425" y="111"/>
                    </a:cubicBezTo>
                    <a:cubicBezTo>
                      <a:pt x="421" y="114"/>
                      <a:pt x="421" y="114"/>
                      <a:pt x="421" y="114"/>
                    </a:cubicBezTo>
                    <a:cubicBezTo>
                      <a:pt x="417" y="111"/>
                      <a:pt x="417" y="111"/>
                      <a:pt x="417" y="111"/>
                    </a:cubicBezTo>
                    <a:cubicBezTo>
                      <a:pt x="414" y="106"/>
                      <a:pt x="414" y="106"/>
                      <a:pt x="414" y="106"/>
                    </a:cubicBezTo>
                    <a:cubicBezTo>
                      <a:pt x="413" y="102"/>
                      <a:pt x="413" y="102"/>
                      <a:pt x="413" y="102"/>
                    </a:cubicBezTo>
                    <a:cubicBezTo>
                      <a:pt x="408" y="97"/>
                      <a:pt x="408" y="97"/>
                      <a:pt x="408" y="97"/>
                    </a:cubicBezTo>
                    <a:cubicBezTo>
                      <a:pt x="406" y="97"/>
                      <a:pt x="406" y="97"/>
                      <a:pt x="406" y="97"/>
                    </a:cubicBezTo>
                    <a:cubicBezTo>
                      <a:pt x="406" y="98"/>
                      <a:pt x="405" y="98"/>
                      <a:pt x="405" y="98"/>
                    </a:cubicBezTo>
                    <a:cubicBezTo>
                      <a:pt x="405" y="98"/>
                      <a:pt x="402" y="97"/>
                      <a:pt x="402" y="97"/>
                    </a:cubicBezTo>
                    <a:cubicBezTo>
                      <a:pt x="402" y="95"/>
                      <a:pt x="402" y="95"/>
                      <a:pt x="402" y="95"/>
                    </a:cubicBezTo>
                    <a:cubicBezTo>
                      <a:pt x="401" y="94"/>
                      <a:pt x="401" y="94"/>
                      <a:pt x="401" y="94"/>
                    </a:cubicBezTo>
                    <a:cubicBezTo>
                      <a:pt x="399" y="94"/>
                      <a:pt x="399" y="94"/>
                      <a:pt x="399" y="94"/>
                    </a:cubicBezTo>
                    <a:cubicBezTo>
                      <a:pt x="397" y="95"/>
                      <a:pt x="397" y="95"/>
                      <a:pt x="397" y="95"/>
                    </a:cubicBezTo>
                    <a:cubicBezTo>
                      <a:pt x="396" y="96"/>
                      <a:pt x="396" y="96"/>
                      <a:pt x="396" y="96"/>
                    </a:cubicBezTo>
                    <a:cubicBezTo>
                      <a:pt x="396" y="96"/>
                      <a:pt x="396" y="96"/>
                      <a:pt x="396" y="96"/>
                    </a:cubicBezTo>
                    <a:cubicBezTo>
                      <a:pt x="395" y="97"/>
                      <a:pt x="395" y="97"/>
                      <a:pt x="395" y="97"/>
                    </a:cubicBezTo>
                    <a:cubicBezTo>
                      <a:pt x="394" y="97"/>
                      <a:pt x="394" y="97"/>
                      <a:pt x="394" y="97"/>
                    </a:cubicBezTo>
                    <a:cubicBezTo>
                      <a:pt x="394" y="97"/>
                      <a:pt x="394" y="97"/>
                      <a:pt x="394" y="97"/>
                    </a:cubicBezTo>
                    <a:cubicBezTo>
                      <a:pt x="394" y="97"/>
                      <a:pt x="393" y="97"/>
                      <a:pt x="393" y="97"/>
                    </a:cubicBezTo>
                    <a:cubicBezTo>
                      <a:pt x="391" y="97"/>
                      <a:pt x="391" y="97"/>
                      <a:pt x="391" y="97"/>
                    </a:cubicBezTo>
                    <a:cubicBezTo>
                      <a:pt x="391" y="96"/>
                      <a:pt x="391" y="96"/>
                      <a:pt x="391" y="96"/>
                    </a:cubicBezTo>
                    <a:cubicBezTo>
                      <a:pt x="391" y="95"/>
                      <a:pt x="391" y="95"/>
                      <a:pt x="391" y="95"/>
                    </a:cubicBezTo>
                    <a:cubicBezTo>
                      <a:pt x="389" y="94"/>
                      <a:pt x="389" y="94"/>
                      <a:pt x="389" y="94"/>
                    </a:cubicBezTo>
                    <a:cubicBezTo>
                      <a:pt x="388" y="94"/>
                      <a:pt x="388" y="94"/>
                      <a:pt x="388" y="94"/>
                    </a:cubicBezTo>
                    <a:cubicBezTo>
                      <a:pt x="388" y="94"/>
                      <a:pt x="387" y="93"/>
                      <a:pt x="387" y="93"/>
                    </a:cubicBezTo>
                    <a:cubicBezTo>
                      <a:pt x="386" y="93"/>
                      <a:pt x="386" y="92"/>
                      <a:pt x="386" y="92"/>
                    </a:cubicBezTo>
                    <a:cubicBezTo>
                      <a:pt x="385" y="91"/>
                      <a:pt x="385" y="91"/>
                      <a:pt x="385" y="91"/>
                    </a:cubicBezTo>
                    <a:cubicBezTo>
                      <a:pt x="387" y="91"/>
                      <a:pt x="387" y="91"/>
                      <a:pt x="387" y="91"/>
                    </a:cubicBezTo>
                    <a:cubicBezTo>
                      <a:pt x="387" y="91"/>
                      <a:pt x="387" y="90"/>
                      <a:pt x="387" y="90"/>
                    </a:cubicBezTo>
                    <a:cubicBezTo>
                      <a:pt x="387" y="90"/>
                      <a:pt x="387" y="90"/>
                      <a:pt x="387" y="90"/>
                    </a:cubicBezTo>
                    <a:cubicBezTo>
                      <a:pt x="387" y="90"/>
                      <a:pt x="386" y="90"/>
                      <a:pt x="386" y="90"/>
                    </a:cubicBezTo>
                    <a:cubicBezTo>
                      <a:pt x="384" y="90"/>
                      <a:pt x="384" y="90"/>
                      <a:pt x="384" y="90"/>
                    </a:cubicBezTo>
                    <a:cubicBezTo>
                      <a:pt x="383" y="91"/>
                      <a:pt x="383" y="91"/>
                      <a:pt x="383" y="91"/>
                    </a:cubicBezTo>
                    <a:cubicBezTo>
                      <a:pt x="381" y="91"/>
                      <a:pt x="381" y="91"/>
                      <a:pt x="381" y="91"/>
                    </a:cubicBezTo>
                    <a:cubicBezTo>
                      <a:pt x="379" y="92"/>
                      <a:pt x="379" y="92"/>
                      <a:pt x="379" y="92"/>
                    </a:cubicBezTo>
                    <a:cubicBezTo>
                      <a:pt x="376" y="92"/>
                      <a:pt x="376" y="92"/>
                      <a:pt x="376" y="92"/>
                    </a:cubicBezTo>
                    <a:cubicBezTo>
                      <a:pt x="375" y="90"/>
                      <a:pt x="375" y="90"/>
                      <a:pt x="375" y="90"/>
                    </a:cubicBezTo>
                    <a:cubicBezTo>
                      <a:pt x="374" y="88"/>
                      <a:pt x="374" y="88"/>
                      <a:pt x="374" y="88"/>
                    </a:cubicBezTo>
                    <a:cubicBezTo>
                      <a:pt x="373" y="87"/>
                      <a:pt x="373" y="87"/>
                      <a:pt x="373" y="87"/>
                    </a:cubicBezTo>
                    <a:cubicBezTo>
                      <a:pt x="372" y="87"/>
                      <a:pt x="372" y="87"/>
                      <a:pt x="372" y="87"/>
                    </a:cubicBezTo>
                    <a:cubicBezTo>
                      <a:pt x="369" y="86"/>
                      <a:pt x="369" y="86"/>
                      <a:pt x="369" y="86"/>
                    </a:cubicBezTo>
                    <a:cubicBezTo>
                      <a:pt x="370" y="84"/>
                      <a:pt x="370" y="84"/>
                      <a:pt x="370" y="84"/>
                    </a:cubicBezTo>
                    <a:cubicBezTo>
                      <a:pt x="370" y="84"/>
                      <a:pt x="369" y="82"/>
                      <a:pt x="369" y="82"/>
                    </a:cubicBezTo>
                    <a:cubicBezTo>
                      <a:pt x="368" y="82"/>
                      <a:pt x="367" y="82"/>
                      <a:pt x="367" y="82"/>
                    </a:cubicBezTo>
                    <a:cubicBezTo>
                      <a:pt x="365" y="80"/>
                      <a:pt x="365" y="80"/>
                      <a:pt x="365" y="80"/>
                    </a:cubicBezTo>
                    <a:cubicBezTo>
                      <a:pt x="365" y="80"/>
                      <a:pt x="365" y="79"/>
                      <a:pt x="364" y="78"/>
                    </a:cubicBezTo>
                    <a:cubicBezTo>
                      <a:pt x="363" y="78"/>
                      <a:pt x="363" y="77"/>
                      <a:pt x="362" y="77"/>
                    </a:cubicBezTo>
                    <a:cubicBezTo>
                      <a:pt x="361" y="77"/>
                      <a:pt x="359" y="77"/>
                      <a:pt x="359" y="77"/>
                    </a:cubicBezTo>
                    <a:cubicBezTo>
                      <a:pt x="359" y="77"/>
                      <a:pt x="358" y="75"/>
                      <a:pt x="357" y="75"/>
                    </a:cubicBezTo>
                    <a:cubicBezTo>
                      <a:pt x="357" y="75"/>
                      <a:pt x="353" y="75"/>
                      <a:pt x="353" y="75"/>
                    </a:cubicBezTo>
                    <a:cubicBezTo>
                      <a:pt x="353" y="75"/>
                      <a:pt x="354" y="72"/>
                      <a:pt x="354" y="72"/>
                    </a:cubicBezTo>
                    <a:cubicBezTo>
                      <a:pt x="354" y="71"/>
                      <a:pt x="354" y="68"/>
                      <a:pt x="354" y="68"/>
                    </a:cubicBezTo>
                    <a:cubicBezTo>
                      <a:pt x="354" y="67"/>
                      <a:pt x="354" y="67"/>
                      <a:pt x="354" y="67"/>
                    </a:cubicBezTo>
                    <a:cubicBezTo>
                      <a:pt x="354" y="67"/>
                      <a:pt x="353" y="66"/>
                      <a:pt x="354" y="64"/>
                    </a:cubicBezTo>
                    <a:cubicBezTo>
                      <a:pt x="355" y="62"/>
                      <a:pt x="354" y="63"/>
                      <a:pt x="355" y="61"/>
                    </a:cubicBezTo>
                    <a:cubicBezTo>
                      <a:pt x="356" y="58"/>
                      <a:pt x="356" y="57"/>
                      <a:pt x="356" y="57"/>
                    </a:cubicBezTo>
                    <a:cubicBezTo>
                      <a:pt x="354" y="56"/>
                      <a:pt x="354" y="56"/>
                      <a:pt x="354" y="56"/>
                    </a:cubicBezTo>
                    <a:cubicBezTo>
                      <a:pt x="354" y="56"/>
                      <a:pt x="353" y="55"/>
                      <a:pt x="352" y="56"/>
                    </a:cubicBezTo>
                    <a:cubicBezTo>
                      <a:pt x="352" y="58"/>
                      <a:pt x="351" y="58"/>
                      <a:pt x="351" y="58"/>
                    </a:cubicBezTo>
                    <a:cubicBezTo>
                      <a:pt x="349" y="61"/>
                      <a:pt x="349" y="61"/>
                      <a:pt x="349" y="61"/>
                    </a:cubicBezTo>
                    <a:cubicBezTo>
                      <a:pt x="349" y="64"/>
                      <a:pt x="349" y="64"/>
                      <a:pt x="349" y="64"/>
                    </a:cubicBezTo>
                    <a:cubicBezTo>
                      <a:pt x="349" y="64"/>
                      <a:pt x="350" y="65"/>
                      <a:pt x="347" y="65"/>
                    </a:cubicBezTo>
                    <a:cubicBezTo>
                      <a:pt x="345" y="65"/>
                      <a:pt x="343" y="65"/>
                      <a:pt x="343" y="65"/>
                    </a:cubicBezTo>
                    <a:cubicBezTo>
                      <a:pt x="343" y="65"/>
                      <a:pt x="345" y="67"/>
                      <a:pt x="342" y="67"/>
                    </a:cubicBezTo>
                    <a:cubicBezTo>
                      <a:pt x="340" y="67"/>
                      <a:pt x="337" y="67"/>
                      <a:pt x="337" y="67"/>
                    </a:cubicBezTo>
                    <a:cubicBezTo>
                      <a:pt x="335" y="65"/>
                      <a:pt x="335" y="65"/>
                      <a:pt x="335" y="65"/>
                    </a:cubicBezTo>
                    <a:cubicBezTo>
                      <a:pt x="331" y="66"/>
                      <a:pt x="331" y="66"/>
                      <a:pt x="331" y="66"/>
                    </a:cubicBezTo>
                    <a:cubicBezTo>
                      <a:pt x="331" y="66"/>
                      <a:pt x="331" y="65"/>
                      <a:pt x="331" y="63"/>
                    </a:cubicBezTo>
                    <a:cubicBezTo>
                      <a:pt x="331" y="62"/>
                      <a:pt x="330" y="60"/>
                      <a:pt x="331" y="60"/>
                    </a:cubicBezTo>
                    <a:cubicBezTo>
                      <a:pt x="332" y="60"/>
                      <a:pt x="333" y="59"/>
                      <a:pt x="333" y="59"/>
                    </a:cubicBez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56"/>
                      <a:pt x="332" y="56"/>
                      <a:pt x="332" y="56"/>
                    </a:cubicBezTo>
                    <a:cubicBezTo>
                      <a:pt x="332" y="56"/>
                      <a:pt x="331" y="56"/>
                      <a:pt x="331" y="55"/>
                    </a:cubicBezTo>
                    <a:cubicBezTo>
                      <a:pt x="331" y="54"/>
                      <a:pt x="332" y="52"/>
                      <a:pt x="332" y="52"/>
                    </a:cubicBezTo>
                    <a:cubicBezTo>
                      <a:pt x="333" y="51"/>
                      <a:pt x="333" y="49"/>
                      <a:pt x="333" y="49"/>
                    </a:cubicBezTo>
                    <a:cubicBezTo>
                      <a:pt x="332" y="49"/>
                      <a:pt x="332" y="49"/>
                      <a:pt x="332" y="49"/>
                    </a:cubicBezTo>
                    <a:cubicBezTo>
                      <a:pt x="332" y="49"/>
                      <a:pt x="330" y="50"/>
                      <a:pt x="330" y="48"/>
                    </a:cubicBezTo>
                    <a:cubicBezTo>
                      <a:pt x="330" y="47"/>
                      <a:pt x="329" y="45"/>
                      <a:pt x="329" y="45"/>
                    </a:cubicBezTo>
                    <a:cubicBezTo>
                      <a:pt x="329" y="45"/>
                      <a:pt x="327" y="44"/>
                      <a:pt x="327" y="44"/>
                    </a:cubicBezTo>
                    <a:cubicBezTo>
                      <a:pt x="326" y="44"/>
                      <a:pt x="326" y="44"/>
                      <a:pt x="325" y="45"/>
                    </a:cubicBezTo>
                    <a:cubicBezTo>
                      <a:pt x="325" y="45"/>
                      <a:pt x="322" y="44"/>
                      <a:pt x="322" y="44"/>
                    </a:cubicBezTo>
                    <a:cubicBezTo>
                      <a:pt x="322" y="44"/>
                      <a:pt x="319" y="44"/>
                      <a:pt x="319" y="44"/>
                    </a:cubicBezTo>
                    <a:cubicBezTo>
                      <a:pt x="318" y="44"/>
                      <a:pt x="317" y="46"/>
                      <a:pt x="317" y="46"/>
                    </a:cubicBezTo>
                    <a:cubicBezTo>
                      <a:pt x="315" y="43"/>
                      <a:pt x="315" y="43"/>
                      <a:pt x="315" y="43"/>
                    </a:cubicBezTo>
                    <a:cubicBezTo>
                      <a:pt x="316" y="40"/>
                      <a:pt x="316" y="40"/>
                      <a:pt x="316" y="40"/>
                    </a:cubicBezTo>
                    <a:cubicBezTo>
                      <a:pt x="316" y="40"/>
                      <a:pt x="314" y="38"/>
                      <a:pt x="314" y="37"/>
                    </a:cubicBezTo>
                    <a:cubicBezTo>
                      <a:pt x="314" y="37"/>
                      <a:pt x="313" y="35"/>
                      <a:pt x="313" y="35"/>
                    </a:cubicBezTo>
                    <a:cubicBezTo>
                      <a:pt x="311" y="35"/>
                      <a:pt x="311" y="35"/>
                      <a:pt x="311" y="35"/>
                    </a:cubicBezTo>
                    <a:cubicBezTo>
                      <a:pt x="310" y="34"/>
                      <a:pt x="310" y="34"/>
                      <a:pt x="310" y="34"/>
                    </a:cubicBezTo>
                    <a:cubicBezTo>
                      <a:pt x="310" y="34"/>
                      <a:pt x="308" y="34"/>
                      <a:pt x="307" y="34"/>
                    </a:cubicBezTo>
                    <a:cubicBezTo>
                      <a:pt x="306" y="34"/>
                      <a:pt x="306" y="34"/>
                      <a:pt x="305" y="34"/>
                    </a:cubicBezTo>
                    <a:cubicBezTo>
                      <a:pt x="305" y="34"/>
                      <a:pt x="303" y="32"/>
                      <a:pt x="303" y="32"/>
                    </a:cubicBezTo>
                    <a:cubicBezTo>
                      <a:pt x="303" y="31"/>
                      <a:pt x="303" y="30"/>
                      <a:pt x="303" y="29"/>
                    </a:cubicBezTo>
                    <a:cubicBezTo>
                      <a:pt x="302" y="28"/>
                      <a:pt x="301" y="26"/>
                      <a:pt x="301" y="25"/>
                    </a:cubicBezTo>
                    <a:cubicBezTo>
                      <a:pt x="301" y="25"/>
                      <a:pt x="302" y="23"/>
                      <a:pt x="302" y="23"/>
                    </a:cubicBezTo>
                    <a:cubicBezTo>
                      <a:pt x="301" y="22"/>
                      <a:pt x="299" y="20"/>
                      <a:pt x="299" y="20"/>
                    </a:cubicBezTo>
                    <a:cubicBezTo>
                      <a:pt x="298" y="18"/>
                      <a:pt x="298" y="18"/>
                      <a:pt x="298" y="18"/>
                    </a:cubicBezTo>
                    <a:cubicBezTo>
                      <a:pt x="298" y="18"/>
                      <a:pt x="295" y="20"/>
                      <a:pt x="294" y="20"/>
                    </a:cubicBezTo>
                    <a:cubicBezTo>
                      <a:pt x="293" y="20"/>
                      <a:pt x="291" y="19"/>
                      <a:pt x="291" y="20"/>
                    </a:cubicBezTo>
                    <a:cubicBezTo>
                      <a:pt x="291" y="20"/>
                      <a:pt x="292" y="22"/>
                      <a:pt x="291" y="22"/>
                    </a:cubicBezTo>
                    <a:cubicBezTo>
                      <a:pt x="290" y="22"/>
                      <a:pt x="288" y="22"/>
                      <a:pt x="287" y="21"/>
                    </a:cubicBezTo>
                    <a:cubicBezTo>
                      <a:pt x="286" y="20"/>
                      <a:pt x="286" y="19"/>
                      <a:pt x="286" y="18"/>
                    </a:cubicBezTo>
                    <a:cubicBezTo>
                      <a:pt x="285" y="18"/>
                      <a:pt x="285" y="16"/>
                      <a:pt x="284" y="16"/>
                    </a:cubicBezTo>
                    <a:cubicBezTo>
                      <a:pt x="283" y="16"/>
                      <a:pt x="282" y="16"/>
                      <a:pt x="282" y="15"/>
                    </a:cubicBezTo>
                    <a:cubicBezTo>
                      <a:pt x="282" y="15"/>
                      <a:pt x="282" y="12"/>
                      <a:pt x="282" y="12"/>
                    </a:cubicBezTo>
                    <a:cubicBezTo>
                      <a:pt x="282" y="10"/>
                      <a:pt x="282" y="10"/>
                      <a:pt x="282" y="10"/>
                    </a:cubicBezTo>
                    <a:cubicBezTo>
                      <a:pt x="282" y="10"/>
                      <a:pt x="282" y="7"/>
                      <a:pt x="281" y="7"/>
                    </a:cubicBezTo>
                    <a:cubicBezTo>
                      <a:pt x="281" y="6"/>
                      <a:pt x="280" y="5"/>
                      <a:pt x="280" y="5"/>
                    </a:cubicBezTo>
                    <a:cubicBezTo>
                      <a:pt x="280" y="2"/>
                      <a:pt x="280" y="2"/>
                      <a:pt x="280" y="2"/>
                    </a:cubicBezTo>
                    <a:cubicBezTo>
                      <a:pt x="281" y="1"/>
                      <a:pt x="281" y="1"/>
                      <a:pt x="281" y="1"/>
                    </a:cubicBezTo>
                    <a:cubicBezTo>
                      <a:pt x="281" y="1"/>
                      <a:pt x="281" y="0"/>
                      <a:pt x="282" y="0"/>
                    </a:cubicBezTo>
                    <a:cubicBezTo>
                      <a:pt x="259" y="4"/>
                      <a:pt x="259" y="4"/>
                      <a:pt x="259" y="4"/>
                    </a:cubicBezTo>
                    <a:cubicBezTo>
                      <a:pt x="249" y="5"/>
                      <a:pt x="249" y="5"/>
                      <a:pt x="249" y="5"/>
                    </a:cubicBezTo>
                    <a:cubicBezTo>
                      <a:pt x="245" y="10"/>
                      <a:pt x="245" y="10"/>
                      <a:pt x="245" y="10"/>
                    </a:cubicBezTo>
                    <a:cubicBezTo>
                      <a:pt x="243" y="15"/>
                      <a:pt x="243" y="15"/>
                      <a:pt x="243" y="15"/>
                    </a:cubicBezTo>
                    <a:cubicBezTo>
                      <a:pt x="244" y="23"/>
                      <a:pt x="244" y="23"/>
                      <a:pt x="244" y="23"/>
                    </a:cubicBezTo>
                    <a:cubicBezTo>
                      <a:pt x="241" y="28"/>
                      <a:pt x="241" y="28"/>
                      <a:pt x="241" y="28"/>
                    </a:cubicBezTo>
                    <a:cubicBezTo>
                      <a:pt x="241" y="34"/>
                      <a:pt x="241" y="34"/>
                      <a:pt x="241" y="34"/>
                    </a:cubicBezTo>
                    <a:cubicBezTo>
                      <a:pt x="241" y="43"/>
                      <a:pt x="241" y="43"/>
                      <a:pt x="241" y="43"/>
                    </a:cubicBezTo>
                    <a:cubicBezTo>
                      <a:pt x="236" y="46"/>
                      <a:pt x="236" y="46"/>
                      <a:pt x="236" y="46"/>
                    </a:cubicBezTo>
                    <a:cubicBezTo>
                      <a:pt x="229" y="53"/>
                      <a:pt x="229" y="53"/>
                      <a:pt x="229" y="53"/>
                    </a:cubicBezTo>
                    <a:cubicBezTo>
                      <a:pt x="219" y="57"/>
                      <a:pt x="219" y="57"/>
                      <a:pt x="219" y="57"/>
                    </a:cubicBezTo>
                    <a:cubicBezTo>
                      <a:pt x="206" y="60"/>
                      <a:pt x="206" y="60"/>
                      <a:pt x="206" y="60"/>
                    </a:cubicBezTo>
                    <a:cubicBezTo>
                      <a:pt x="196" y="63"/>
                      <a:pt x="196" y="63"/>
                      <a:pt x="196" y="63"/>
                    </a:cubicBezTo>
                    <a:cubicBezTo>
                      <a:pt x="187" y="68"/>
                      <a:pt x="187" y="68"/>
                      <a:pt x="187" y="68"/>
                    </a:cubicBezTo>
                    <a:cubicBezTo>
                      <a:pt x="185" y="75"/>
                      <a:pt x="185" y="75"/>
                      <a:pt x="185" y="75"/>
                    </a:cubicBezTo>
                    <a:cubicBezTo>
                      <a:pt x="184" y="84"/>
                      <a:pt x="184" y="84"/>
                      <a:pt x="184" y="84"/>
                    </a:cubicBezTo>
                    <a:cubicBezTo>
                      <a:pt x="177" y="87"/>
                      <a:pt x="177" y="87"/>
                      <a:pt x="177" y="87"/>
                    </a:cubicBezTo>
                    <a:cubicBezTo>
                      <a:pt x="177" y="87"/>
                      <a:pt x="174" y="89"/>
                      <a:pt x="172" y="88"/>
                    </a:cubicBezTo>
                    <a:cubicBezTo>
                      <a:pt x="169" y="88"/>
                      <a:pt x="163" y="86"/>
                      <a:pt x="163" y="86"/>
                    </a:cubicBezTo>
                    <a:cubicBezTo>
                      <a:pt x="163" y="86"/>
                      <a:pt x="156" y="82"/>
                      <a:pt x="153" y="82"/>
                    </a:cubicBezTo>
                    <a:cubicBezTo>
                      <a:pt x="150" y="81"/>
                      <a:pt x="145" y="76"/>
                      <a:pt x="145" y="76"/>
                    </a:cubicBezTo>
                    <a:cubicBezTo>
                      <a:pt x="140" y="80"/>
                      <a:pt x="140" y="80"/>
                      <a:pt x="140" y="80"/>
                    </a:cubicBezTo>
                    <a:cubicBezTo>
                      <a:pt x="140" y="80"/>
                      <a:pt x="137" y="77"/>
                      <a:pt x="137" y="75"/>
                    </a:cubicBezTo>
                    <a:cubicBezTo>
                      <a:pt x="137" y="74"/>
                      <a:pt x="137" y="74"/>
                      <a:pt x="137" y="72"/>
                    </a:cubicBezTo>
                    <a:cubicBezTo>
                      <a:pt x="137" y="69"/>
                      <a:pt x="137" y="64"/>
                      <a:pt x="137" y="64"/>
                    </a:cubicBezTo>
                    <a:cubicBezTo>
                      <a:pt x="130" y="61"/>
                      <a:pt x="130" y="61"/>
                      <a:pt x="130" y="61"/>
                    </a:cubicBezTo>
                    <a:cubicBezTo>
                      <a:pt x="123" y="60"/>
                      <a:pt x="123" y="60"/>
                      <a:pt x="123" y="60"/>
                    </a:cubicBezTo>
                    <a:cubicBezTo>
                      <a:pt x="123" y="60"/>
                      <a:pt x="123" y="62"/>
                      <a:pt x="121" y="60"/>
                    </a:cubicBezTo>
                    <a:cubicBezTo>
                      <a:pt x="118" y="58"/>
                      <a:pt x="118" y="54"/>
                      <a:pt x="118" y="54"/>
                    </a:cubicBezTo>
                    <a:cubicBezTo>
                      <a:pt x="112" y="51"/>
                      <a:pt x="112" y="51"/>
                      <a:pt x="112" y="51"/>
                    </a:cubicBezTo>
                    <a:cubicBezTo>
                      <a:pt x="110" y="59"/>
                      <a:pt x="110" y="59"/>
                      <a:pt x="110" y="59"/>
                    </a:cubicBezTo>
                    <a:cubicBezTo>
                      <a:pt x="117" y="65"/>
                      <a:pt x="117" y="65"/>
                      <a:pt x="117" y="65"/>
                    </a:cubicBezTo>
                    <a:cubicBezTo>
                      <a:pt x="119" y="69"/>
                      <a:pt x="119" y="69"/>
                      <a:pt x="119" y="69"/>
                    </a:cubicBezTo>
                    <a:cubicBezTo>
                      <a:pt x="117" y="75"/>
                      <a:pt x="117" y="75"/>
                      <a:pt x="117" y="75"/>
                    </a:cubicBezTo>
                    <a:cubicBezTo>
                      <a:pt x="119" y="80"/>
                      <a:pt x="119" y="80"/>
                      <a:pt x="119" y="80"/>
                    </a:cubicBezTo>
                    <a:cubicBezTo>
                      <a:pt x="120" y="84"/>
                      <a:pt x="120" y="84"/>
                      <a:pt x="120" y="84"/>
                    </a:cubicBezTo>
                    <a:cubicBezTo>
                      <a:pt x="120" y="84"/>
                      <a:pt x="121" y="84"/>
                      <a:pt x="121" y="87"/>
                    </a:cubicBezTo>
                    <a:cubicBezTo>
                      <a:pt x="121" y="89"/>
                      <a:pt x="120" y="99"/>
                      <a:pt x="120" y="99"/>
                    </a:cubicBezTo>
                    <a:cubicBezTo>
                      <a:pt x="120" y="107"/>
                      <a:pt x="120" y="107"/>
                      <a:pt x="120" y="107"/>
                    </a:cubicBezTo>
                    <a:cubicBezTo>
                      <a:pt x="123" y="115"/>
                      <a:pt x="123" y="115"/>
                      <a:pt x="123" y="115"/>
                    </a:cubicBezTo>
                    <a:cubicBezTo>
                      <a:pt x="123" y="115"/>
                      <a:pt x="118" y="118"/>
                      <a:pt x="116" y="118"/>
                    </a:cubicBezTo>
                    <a:cubicBezTo>
                      <a:pt x="114" y="118"/>
                      <a:pt x="109" y="116"/>
                      <a:pt x="109" y="116"/>
                    </a:cubicBezTo>
                    <a:cubicBezTo>
                      <a:pt x="107" y="111"/>
                      <a:pt x="107" y="111"/>
                      <a:pt x="107" y="111"/>
                    </a:cubicBezTo>
                    <a:cubicBezTo>
                      <a:pt x="95" y="112"/>
                      <a:pt x="95" y="112"/>
                      <a:pt x="95" y="112"/>
                    </a:cubicBezTo>
                    <a:cubicBezTo>
                      <a:pt x="88" y="111"/>
                      <a:pt x="88" y="111"/>
                      <a:pt x="88" y="111"/>
                    </a:cubicBezTo>
                    <a:cubicBezTo>
                      <a:pt x="82" y="115"/>
                      <a:pt x="82" y="115"/>
                      <a:pt x="82" y="115"/>
                    </a:cubicBezTo>
                    <a:cubicBezTo>
                      <a:pt x="78" y="114"/>
                      <a:pt x="78" y="114"/>
                      <a:pt x="78" y="114"/>
                    </a:cubicBezTo>
                    <a:cubicBezTo>
                      <a:pt x="74" y="110"/>
                      <a:pt x="74" y="110"/>
                      <a:pt x="74" y="110"/>
                    </a:cubicBezTo>
                    <a:cubicBezTo>
                      <a:pt x="73" y="104"/>
                      <a:pt x="73" y="104"/>
                      <a:pt x="73" y="104"/>
                    </a:cubicBezTo>
                    <a:cubicBezTo>
                      <a:pt x="71" y="99"/>
                      <a:pt x="71" y="99"/>
                      <a:pt x="71" y="99"/>
                    </a:cubicBezTo>
                    <a:cubicBezTo>
                      <a:pt x="67" y="94"/>
                      <a:pt x="67" y="94"/>
                      <a:pt x="67" y="94"/>
                    </a:cubicBezTo>
                    <a:cubicBezTo>
                      <a:pt x="54" y="95"/>
                      <a:pt x="54" y="95"/>
                      <a:pt x="54" y="95"/>
                    </a:cubicBezTo>
                    <a:cubicBezTo>
                      <a:pt x="49" y="96"/>
                      <a:pt x="49" y="96"/>
                      <a:pt x="49" y="96"/>
                    </a:cubicBezTo>
                    <a:cubicBezTo>
                      <a:pt x="46" y="99"/>
                      <a:pt x="46" y="99"/>
                      <a:pt x="46" y="99"/>
                    </a:cubicBezTo>
                    <a:cubicBezTo>
                      <a:pt x="40" y="98"/>
                      <a:pt x="40" y="98"/>
                      <a:pt x="40" y="98"/>
                    </a:cubicBezTo>
                    <a:cubicBezTo>
                      <a:pt x="38" y="101"/>
                      <a:pt x="38" y="101"/>
                      <a:pt x="38" y="101"/>
                    </a:cubicBezTo>
                    <a:cubicBezTo>
                      <a:pt x="31" y="99"/>
                      <a:pt x="31" y="99"/>
                      <a:pt x="31" y="99"/>
                    </a:cubicBezTo>
                    <a:cubicBezTo>
                      <a:pt x="24" y="100"/>
                      <a:pt x="24" y="100"/>
                      <a:pt x="24" y="100"/>
                    </a:cubicBezTo>
                    <a:cubicBezTo>
                      <a:pt x="19" y="99"/>
                      <a:pt x="19" y="99"/>
                      <a:pt x="19" y="99"/>
                    </a:cubicBezTo>
                    <a:cubicBezTo>
                      <a:pt x="10" y="101"/>
                      <a:pt x="10" y="101"/>
                      <a:pt x="10" y="101"/>
                    </a:cubicBezTo>
                    <a:cubicBezTo>
                      <a:pt x="5" y="105"/>
                      <a:pt x="5" y="105"/>
                      <a:pt x="5" y="105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0" y="113"/>
                      <a:pt x="2" y="113"/>
                      <a:pt x="4" y="113"/>
                    </a:cubicBezTo>
                    <a:cubicBezTo>
                      <a:pt x="5" y="113"/>
                      <a:pt x="14" y="114"/>
                      <a:pt x="14" y="114"/>
                    </a:cubicBezTo>
                    <a:cubicBezTo>
                      <a:pt x="16" y="117"/>
                      <a:pt x="16" y="117"/>
                      <a:pt x="16" y="117"/>
                    </a:cubicBezTo>
                    <a:cubicBezTo>
                      <a:pt x="10" y="120"/>
                      <a:pt x="10" y="120"/>
                      <a:pt x="10" y="120"/>
                    </a:cubicBezTo>
                    <a:cubicBezTo>
                      <a:pt x="15" y="122"/>
                      <a:pt x="15" y="122"/>
                      <a:pt x="15" y="122"/>
                    </a:cubicBezTo>
                    <a:cubicBezTo>
                      <a:pt x="16" y="124"/>
                      <a:pt x="16" y="124"/>
                      <a:pt x="16" y="124"/>
                    </a:cubicBezTo>
                    <a:cubicBezTo>
                      <a:pt x="16" y="127"/>
                      <a:pt x="16" y="127"/>
                      <a:pt x="16" y="127"/>
                    </a:cubicBezTo>
                    <a:cubicBezTo>
                      <a:pt x="5" y="128"/>
                      <a:pt x="5" y="128"/>
                      <a:pt x="5" y="128"/>
                    </a:cubicBezTo>
                    <a:cubicBezTo>
                      <a:pt x="5" y="128"/>
                      <a:pt x="2" y="127"/>
                      <a:pt x="2" y="129"/>
                    </a:cubicBezTo>
                    <a:cubicBezTo>
                      <a:pt x="1" y="131"/>
                      <a:pt x="5" y="132"/>
                      <a:pt x="5" y="132"/>
                    </a:cubicBezTo>
                    <a:cubicBezTo>
                      <a:pt x="10" y="135"/>
                      <a:pt x="10" y="135"/>
                      <a:pt x="10" y="135"/>
                    </a:cubicBezTo>
                    <a:cubicBezTo>
                      <a:pt x="9" y="145"/>
                      <a:pt x="9" y="145"/>
                      <a:pt x="9" y="145"/>
                    </a:cubicBezTo>
                    <a:cubicBezTo>
                      <a:pt x="13" y="145"/>
                      <a:pt x="13" y="145"/>
                      <a:pt x="13" y="145"/>
                    </a:cubicBezTo>
                    <a:cubicBezTo>
                      <a:pt x="19" y="145"/>
                      <a:pt x="19" y="145"/>
                      <a:pt x="19" y="145"/>
                    </a:cubicBezTo>
                    <a:cubicBezTo>
                      <a:pt x="19" y="145"/>
                      <a:pt x="20" y="143"/>
                      <a:pt x="23" y="142"/>
                    </a:cubicBezTo>
                    <a:cubicBezTo>
                      <a:pt x="25" y="142"/>
                      <a:pt x="28" y="142"/>
                      <a:pt x="28" y="142"/>
                    </a:cubicBezTo>
                    <a:cubicBezTo>
                      <a:pt x="28" y="142"/>
                      <a:pt x="28" y="141"/>
                      <a:pt x="30" y="146"/>
                    </a:cubicBezTo>
                    <a:cubicBezTo>
                      <a:pt x="31" y="150"/>
                      <a:pt x="31" y="150"/>
                      <a:pt x="31" y="150"/>
                    </a:cubicBezTo>
                    <a:cubicBezTo>
                      <a:pt x="35" y="151"/>
                      <a:pt x="35" y="151"/>
                      <a:pt x="35" y="151"/>
                    </a:cubicBezTo>
                    <a:cubicBezTo>
                      <a:pt x="37" y="152"/>
                      <a:pt x="37" y="152"/>
                      <a:pt x="37" y="152"/>
                    </a:cubicBezTo>
                    <a:cubicBezTo>
                      <a:pt x="37" y="152"/>
                      <a:pt x="41" y="154"/>
                      <a:pt x="43" y="155"/>
                    </a:cubicBezTo>
                    <a:cubicBezTo>
                      <a:pt x="45" y="156"/>
                      <a:pt x="49" y="160"/>
                      <a:pt x="49" y="160"/>
                    </a:cubicBezTo>
                    <a:cubicBezTo>
                      <a:pt x="51" y="161"/>
                      <a:pt x="51" y="161"/>
                      <a:pt x="51" y="161"/>
                    </a:cubicBezTo>
                    <a:cubicBezTo>
                      <a:pt x="51" y="166"/>
                      <a:pt x="51" y="166"/>
                      <a:pt x="51" y="166"/>
                    </a:cubicBezTo>
                    <a:cubicBezTo>
                      <a:pt x="51" y="166"/>
                      <a:pt x="55" y="167"/>
                      <a:pt x="58" y="167"/>
                    </a:cubicBezTo>
                    <a:cubicBezTo>
                      <a:pt x="61" y="167"/>
                      <a:pt x="68" y="166"/>
                      <a:pt x="68" y="166"/>
                    </a:cubicBezTo>
                    <a:cubicBezTo>
                      <a:pt x="70" y="170"/>
                      <a:pt x="70" y="170"/>
                      <a:pt x="70" y="170"/>
                    </a:cubicBezTo>
                    <a:cubicBezTo>
                      <a:pt x="72" y="170"/>
                      <a:pt x="81" y="173"/>
                      <a:pt x="81" y="173"/>
                    </a:cubicBezTo>
                    <a:cubicBezTo>
                      <a:pt x="78" y="177"/>
                      <a:pt x="78" y="177"/>
                      <a:pt x="78" y="177"/>
                    </a:cubicBezTo>
                    <a:cubicBezTo>
                      <a:pt x="75" y="180"/>
                      <a:pt x="75" y="180"/>
                      <a:pt x="75" y="180"/>
                    </a:cubicBezTo>
                    <a:cubicBezTo>
                      <a:pt x="74" y="183"/>
                      <a:pt x="74" y="183"/>
                      <a:pt x="74" y="183"/>
                    </a:cubicBezTo>
                    <a:cubicBezTo>
                      <a:pt x="74" y="183"/>
                      <a:pt x="75" y="183"/>
                      <a:pt x="79" y="184"/>
                    </a:cubicBezTo>
                    <a:cubicBezTo>
                      <a:pt x="83" y="185"/>
                      <a:pt x="86" y="187"/>
                      <a:pt x="86" y="187"/>
                    </a:cubicBezTo>
                    <a:cubicBezTo>
                      <a:pt x="84" y="192"/>
                      <a:pt x="84" y="192"/>
                      <a:pt x="84" y="192"/>
                    </a:cubicBezTo>
                    <a:cubicBezTo>
                      <a:pt x="89" y="196"/>
                      <a:pt x="89" y="196"/>
                      <a:pt x="89" y="196"/>
                    </a:cubicBezTo>
                    <a:cubicBezTo>
                      <a:pt x="89" y="196"/>
                      <a:pt x="91" y="199"/>
                      <a:pt x="91" y="200"/>
                    </a:cubicBezTo>
                    <a:cubicBezTo>
                      <a:pt x="90" y="201"/>
                      <a:pt x="90" y="203"/>
                      <a:pt x="90" y="203"/>
                    </a:cubicBezTo>
                    <a:cubicBezTo>
                      <a:pt x="87" y="202"/>
                      <a:pt x="87" y="202"/>
                      <a:pt x="87" y="202"/>
                    </a:cubicBezTo>
                    <a:cubicBezTo>
                      <a:pt x="87" y="202"/>
                      <a:pt x="87" y="204"/>
                      <a:pt x="86" y="202"/>
                    </a:cubicBezTo>
                    <a:cubicBezTo>
                      <a:pt x="84" y="200"/>
                      <a:pt x="83" y="198"/>
                      <a:pt x="83" y="198"/>
                    </a:cubicBezTo>
                    <a:cubicBezTo>
                      <a:pt x="82" y="202"/>
                      <a:pt x="82" y="202"/>
                      <a:pt x="82" y="202"/>
                    </a:cubicBezTo>
                    <a:cubicBezTo>
                      <a:pt x="82" y="202"/>
                      <a:pt x="83" y="206"/>
                      <a:pt x="84" y="207"/>
                    </a:cubicBezTo>
                    <a:cubicBezTo>
                      <a:pt x="86" y="207"/>
                      <a:pt x="86" y="206"/>
                      <a:pt x="86" y="209"/>
                    </a:cubicBezTo>
                    <a:cubicBezTo>
                      <a:pt x="86" y="211"/>
                      <a:pt x="87" y="216"/>
                      <a:pt x="88" y="217"/>
                    </a:cubicBezTo>
                    <a:cubicBezTo>
                      <a:pt x="89" y="219"/>
                      <a:pt x="89" y="224"/>
                      <a:pt x="90" y="225"/>
                    </a:cubicBezTo>
                    <a:cubicBezTo>
                      <a:pt x="92" y="225"/>
                      <a:pt x="93" y="226"/>
                      <a:pt x="93" y="226"/>
                    </a:cubicBezTo>
                    <a:cubicBezTo>
                      <a:pt x="95" y="228"/>
                      <a:pt x="95" y="228"/>
                      <a:pt x="95" y="228"/>
                    </a:cubicBezTo>
                    <a:cubicBezTo>
                      <a:pt x="101" y="233"/>
                      <a:pt x="101" y="233"/>
                      <a:pt x="101" y="233"/>
                    </a:cubicBezTo>
                    <a:cubicBezTo>
                      <a:pt x="101" y="233"/>
                      <a:pt x="105" y="236"/>
                      <a:pt x="107" y="237"/>
                    </a:cubicBezTo>
                    <a:cubicBezTo>
                      <a:pt x="109" y="238"/>
                      <a:pt x="110" y="238"/>
                      <a:pt x="110" y="238"/>
                    </a:cubicBezTo>
                    <a:cubicBezTo>
                      <a:pt x="115" y="243"/>
                      <a:pt x="115" y="243"/>
                      <a:pt x="115" y="243"/>
                    </a:cubicBezTo>
                    <a:cubicBezTo>
                      <a:pt x="115" y="243"/>
                      <a:pt x="118" y="248"/>
                      <a:pt x="117" y="248"/>
                    </a:cubicBezTo>
                    <a:cubicBezTo>
                      <a:pt x="116" y="248"/>
                      <a:pt x="117" y="249"/>
                      <a:pt x="115" y="249"/>
                    </a:cubicBezTo>
                    <a:cubicBezTo>
                      <a:pt x="112" y="249"/>
                      <a:pt x="113" y="251"/>
                      <a:pt x="111" y="249"/>
                    </a:cubicBezTo>
                    <a:cubicBezTo>
                      <a:pt x="108" y="247"/>
                      <a:pt x="106" y="244"/>
                      <a:pt x="103" y="244"/>
                    </a:cubicBezTo>
                    <a:cubicBezTo>
                      <a:pt x="100" y="244"/>
                      <a:pt x="100" y="244"/>
                      <a:pt x="100" y="244"/>
                    </a:cubicBezTo>
                    <a:cubicBezTo>
                      <a:pt x="106" y="249"/>
                      <a:pt x="106" y="249"/>
                      <a:pt x="106" y="249"/>
                    </a:cubicBezTo>
                    <a:cubicBezTo>
                      <a:pt x="109" y="250"/>
                      <a:pt x="109" y="250"/>
                      <a:pt x="109" y="250"/>
                    </a:cubicBezTo>
                    <a:cubicBezTo>
                      <a:pt x="113" y="254"/>
                      <a:pt x="113" y="254"/>
                      <a:pt x="113" y="254"/>
                    </a:cubicBezTo>
                    <a:cubicBezTo>
                      <a:pt x="114" y="254"/>
                      <a:pt x="114" y="254"/>
                      <a:pt x="114" y="254"/>
                    </a:cubicBezTo>
                    <a:cubicBezTo>
                      <a:pt x="114" y="254"/>
                      <a:pt x="115" y="256"/>
                      <a:pt x="115" y="257"/>
                    </a:cubicBezTo>
                    <a:cubicBezTo>
                      <a:pt x="115" y="258"/>
                      <a:pt x="114" y="261"/>
                      <a:pt x="113" y="262"/>
                    </a:cubicBezTo>
                    <a:cubicBezTo>
                      <a:pt x="113" y="264"/>
                      <a:pt x="113" y="266"/>
                      <a:pt x="113" y="266"/>
                    </a:cubicBezTo>
                    <a:cubicBezTo>
                      <a:pt x="110" y="259"/>
                      <a:pt x="110" y="259"/>
                      <a:pt x="110" y="259"/>
                    </a:cubicBezTo>
                    <a:cubicBezTo>
                      <a:pt x="110" y="259"/>
                      <a:pt x="111" y="257"/>
                      <a:pt x="109" y="256"/>
                    </a:cubicBezTo>
                    <a:cubicBezTo>
                      <a:pt x="107" y="256"/>
                      <a:pt x="105" y="257"/>
                      <a:pt x="105" y="257"/>
                    </a:cubicBezTo>
                    <a:cubicBezTo>
                      <a:pt x="105" y="257"/>
                      <a:pt x="104" y="259"/>
                      <a:pt x="105" y="260"/>
                    </a:cubicBezTo>
                    <a:cubicBezTo>
                      <a:pt x="107" y="261"/>
                      <a:pt x="108" y="262"/>
                      <a:pt x="108" y="263"/>
                    </a:cubicBezTo>
                    <a:cubicBezTo>
                      <a:pt x="109" y="264"/>
                      <a:pt x="109" y="265"/>
                      <a:pt x="109" y="265"/>
                    </a:cubicBezTo>
                    <a:cubicBezTo>
                      <a:pt x="109" y="265"/>
                      <a:pt x="111" y="265"/>
                      <a:pt x="111" y="267"/>
                    </a:cubicBezTo>
                    <a:cubicBezTo>
                      <a:pt x="111" y="270"/>
                      <a:pt x="110" y="273"/>
                      <a:pt x="110" y="273"/>
                    </a:cubicBezTo>
                    <a:cubicBezTo>
                      <a:pt x="110" y="273"/>
                      <a:pt x="108" y="273"/>
                      <a:pt x="111" y="275"/>
                    </a:cubicBezTo>
                    <a:cubicBezTo>
                      <a:pt x="114" y="277"/>
                      <a:pt x="115" y="278"/>
                      <a:pt x="116" y="279"/>
                    </a:cubicBezTo>
                    <a:cubicBezTo>
                      <a:pt x="117" y="280"/>
                      <a:pt x="121" y="285"/>
                      <a:pt x="121" y="285"/>
                    </a:cubicBezTo>
                    <a:cubicBezTo>
                      <a:pt x="124" y="289"/>
                      <a:pt x="124" y="289"/>
                      <a:pt x="124" y="289"/>
                    </a:cubicBezTo>
                    <a:cubicBezTo>
                      <a:pt x="124" y="289"/>
                      <a:pt x="124" y="291"/>
                      <a:pt x="124" y="291"/>
                    </a:cubicBezTo>
                    <a:cubicBezTo>
                      <a:pt x="123" y="291"/>
                      <a:pt x="121" y="291"/>
                      <a:pt x="121" y="291"/>
                    </a:cubicBezTo>
                    <a:cubicBezTo>
                      <a:pt x="121" y="291"/>
                      <a:pt x="120" y="291"/>
                      <a:pt x="119" y="290"/>
                    </a:cubicBezTo>
                    <a:cubicBezTo>
                      <a:pt x="118" y="288"/>
                      <a:pt x="116" y="285"/>
                      <a:pt x="116" y="285"/>
                    </a:cubicBezTo>
                    <a:cubicBezTo>
                      <a:pt x="114" y="284"/>
                      <a:pt x="114" y="284"/>
                      <a:pt x="114" y="284"/>
                    </a:cubicBezTo>
                    <a:cubicBezTo>
                      <a:pt x="112" y="285"/>
                      <a:pt x="112" y="285"/>
                      <a:pt x="112" y="285"/>
                    </a:cubicBezTo>
                    <a:cubicBezTo>
                      <a:pt x="112" y="285"/>
                      <a:pt x="110" y="289"/>
                      <a:pt x="110" y="289"/>
                    </a:cubicBezTo>
                    <a:cubicBezTo>
                      <a:pt x="110" y="290"/>
                      <a:pt x="107" y="296"/>
                      <a:pt x="107" y="296"/>
                    </a:cubicBezTo>
                    <a:cubicBezTo>
                      <a:pt x="105" y="308"/>
                      <a:pt x="105" y="308"/>
                      <a:pt x="105" y="308"/>
                    </a:cubicBezTo>
                    <a:cubicBezTo>
                      <a:pt x="105" y="308"/>
                      <a:pt x="105" y="322"/>
                      <a:pt x="104" y="323"/>
                    </a:cubicBezTo>
                    <a:cubicBezTo>
                      <a:pt x="104" y="324"/>
                      <a:pt x="100" y="334"/>
                      <a:pt x="100" y="334"/>
                    </a:cubicBezTo>
                    <a:cubicBezTo>
                      <a:pt x="100" y="334"/>
                      <a:pt x="100" y="335"/>
                      <a:pt x="100" y="338"/>
                    </a:cubicBezTo>
                    <a:cubicBezTo>
                      <a:pt x="99" y="341"/>
                      <a:pt x="98" y="346"/>
                      <a:pt x="98" y="346"/>
                    </a:cubicBezTo>
                    <a:cubicBezTo>
                      <a:pt x="98" y="346"/>
                      <a:pt x="97" y="350"/>
                      <a:pt x="97" y="352"/>
                    </a:cubicBezTo>
                    <a:cubicBezTo>
                      <a:pt x="96" y="354"/>
                      <a:pt x="93" y="362"/>
                      <a:pt x="93" y="362"/>
                    </a:cubicBezTo>
                    <a:cubicBezTo>
                      <a:pt x="92" y="371"/>
                      <a:pt x="92" y="371"/>
                      <a:pt x="92" y="371"/>
                    </a:cubicBezTo>
                    <a:cubicBezTo>
                      <a:pt x="84" y="388"/>
                      <a:pt x="84" y="388"/>
                      <a:pt x="84" y="388"/>
                    </a:cubicBezTo>
                    <a:cubicBezTo>
                      <a:pt x="78" y="393"/>
                      <a:pt x="78" y="393"/>
                      <a:pt x="78" y="393"/>
                    </a:cubicBezTo>
                    <a:cubicBezTo>
                      <a:pt x="75" y="395"/>
                      <a:pt x="75" y="395"/>
                      <a:pt x="75" y="395"/>
                    </a:cubicBezTo>
                    <a:cubicBezTo>
                      <a:pt x="78" y="396"/>
                      <a:pt x="80" y="397"/>
                      <a:pt x="81" y="400"/>
                    </a:cubicBezTo>
                    <a:cubicBezTo>
                      <a:pt x="83" y="405"/>
                      <a:pt x="87" y="413"/>
                      <a:pt x="87" y="413"/>
                    </a:cubicBezTo>
                    <a:cubicBezTo>
                      <a:pt x="100" y="418"/>
                      <a:pt x="100" y="418"/>
                      <a:pt x="100" y="418"/>
                    </a:cubicBezTo>
                    <a:cubicBezTo>
                      <a:pt x="100" y="418"/>
                      <a:pt x="107" y="424"/>
                      <a:pt x="108" y="426"/>
                    </a:cubicBezTo>
                    <a:cubicBezTo>
                      <a:pt x="109" y="427"/>
                      <a:pt x="124" y="432"/>
                      <a:pt x="124" y="432"/>
                    </a:cubicBezTo>
                    <a:cubicBezTo>
                      <a:pt x="134" y="441"/>
                      <a:pt x="134" y="441"/>
                      <a:pt x="134" y="441"/>
                    </a:cubicBezTo>
                    <a:cubicBezTo>
                      <a:pt x="149" y="441"/>
                      <a:pt x="149" y="441"/>
                      <a:pt x="149" y="441"/>
                    </a:cubicBezTo>
                    <a:cubicBezTo>
                      <a:pt x="159" y="443"/>
                      <a:pt x="159" y="443"/>
                      <a:pt x="159" y="443"/>
                    </a:cubicBezTo>
                    <a:cubicBezTo>
                      <a:pt x="164" y="437"/>
                      <a:pt x="164" y="437"/>
                      <a:pt x="164" y="437"/>
                    </a:cubicBezTo>
                    <a:cubicBezTo>
                      <a:pt x="164" y="437"/>
                      <a:pt x="189" y="449"/>
                      <a:pt x="190" y="449"/>
                    </a:cubicBezTo>
                    <a:cubicBezTo>
                      <a:pt x="191" y="449"/>
                      <a:pt x="191" y="452"/>
                      <a:pt x="192" y="455"/>
                    </a:cubicBezTo>
                    <a:cubicBezTo>
                      <a:pt x="192" y="455"/>
                      <a:pt x="192" y="455"/>
                      <a:pt x="192" y="455"/>
                    </a:cubicBezTo>
                    <a:cubicBezTo>
                      <a:pt x="192" y="455"/>
                      <a:pt x="192" y="455"/>
                      <a:pt x="192" y="455"/>
                    </a:cubicBezTo>
                    <a:cubicBezTo>
                      <a:pt x="193" y="455"/>
                      <a:pt x="193" y="455"/>
                      <a:pt x="193" y="455"/>
                    </a:cubicBezTo>
                    <a:cubicBezTo>
                      <a:pt x="193" y="455"/>
                      <a:pt x="192" y="454"/>
                      <a:pt x="192" y="454"/>
                    </a:cubicBezTo>
                    <a:cubicBezTo>
                      <a:pt x="192" y="453"/>
                      <a:pt x="192" y="453"/>
                      <a:pt x="192" y="453"/>
                    </a:cubicBezTo>
                    <a:cubicBezTo>
                      <a:pt x="193" y="453"/>
                      <a:pt x="193" y="453"/>
                      <a:pt x="193" y="453"/>
                    </a:cubicBezTo>
                    <a:cubicBezTo>
                      <a:pt x="193" y="453"/>
                      <a:pt x="193" y="453"/>
                      <a:pt x="193" y="453"/>
                    </a:cubicBezTo>
                    <a:cubicBezTo>
                      <a:pt x="193" y="453"/>
                      <a:pt x="193" y="453"/>
                      <a:pt x="193" y="453"/>
                    </a:cubicBezTo>
                    <a:cubicBezTo>
                      <a:pt x="194" y="453"/>
                      <a:pt x="194" y="453"/>
                      <a:pt x="194" y="453"/>
                    </a:cubicBezTo>
                    <a:cubicBezTo>
                      <a:pt x="195" y="452"/>
                      <a:pt x="195" y="452"/>
                      <a:pt x="195" y="452"/>
                    </a:cubicBezTo>
                    <a:cubicBezTo>
                      <a:pt x="195" y="452"/>
                      <a:pt x="195" y="452"/>
                      <a:pt x="195" y="452"/>
                    </a:cubicBezTo>
                    <a:cubicBezTo>
                      <a:pt x="195" y="451"/>
                      <a:pt x="194" y="451"/>
                      <a:pt x="194" y="451"/>
                    </a:cubicBezTo>
                    <a:cubicBezTo>
                      <a:pt x="194" y="451"/>
                      <a:pt x="195" y="451"/>
                      <a:pt x="195" y="450"/>
                    </a:cubicBezTo>
                    <a:cubicBezTo>
                      <a:pt x="195" y="450"/>
                      <a:pt x="195" y="450"/>
                      <a:pt x="195" y="450"/>
                    </a:cubicBezTo>
                    <a:cubicBezTo>
                      <a:pt x="196" y="450"/>
                      <a:pt x="196" y="450"/>
                      <a:pt x="196" y="450"/>
                    </a:cubicBezTo>
                    <a:cubicBezTo>
                      <a:pt x="196" y="450"/>
                      <a:pt x="196" y="450"/>
                      <a:pt x="196" y="450"/>
                    </a:cubicBezTo>
                    <a:cubicBezTo>
                      <a:pt x="196" y="450"/>
                      <a:pt x="196" y="450"/>
                      <a:pt x="196" y="450"/>
                    </a:cubicBezTo>
                    <a:cubicBezTo>
                      <a:pt x="197" y="450"/>
                      <a:pt x="197" y="450"/>
                      <a:pt x="197" y="450"/>
                    </a:cubicBezTo>
                    <a:cubicBezTo>
                      <a:pt x="197" y="450"/>
                      <a:pt x="197" y="450"/>
                      <a:pt x="197" y="450"/>
                    </a:cubicBezTo>
                    <a:cubicBezTo>
                      <a:pt x="198" y="450"/>
                      <a:pt x="198" y="450"/>
                      <a:pt x="198" y="450"/>
                    </a:cubicBezTo>
                    <a:cubicBezTo>
                      <a:pt x="198" y="450"/>
                      <a:pt x="198" y="450"/>
                      <a:pt x="198" y="450"/>
                    </a:cubicBezTo>
                    <a:cubicBezTo>
                      <a:pt x="198" y="450"/>
                      <a:pt x="199" y="450"/>
                      <a:pt x="199" y="450"/>
                    </a:cubicBezTo>
                    <a:cubicBezTo>
                      <a:pt x="199" y="450"/>
                      <a:pt x="199" y="451"/>
                      <a:pt x="199" y="451"/>
                    </a:cubicBezTo>
                    <a:cubicBezTo>
                      <a:pt x="199" y="451"/>
                      <a:pt x="199" y="451"/>
                      <a:pt x="199" y="451"/>
                    </a:cubicBezTo>
                    <a:cubicBezTo>
                      <a:pt x="199" y="451"/>
                      <a:pt x="200" y="451"/>
                      <a:pt x="200" y="451"/>
                    </a:cubicBezTo>
                    <a:cubicBezTo>
                      <a:pt x="200" y="451"/>
                      <a:pt x="200" y="452"/>
                      <a:pt x="200" y="452"/>
                    </a:cubicBezTo>
                    <a:cubicBezTo>
                      <a:pt x="200" y="452"/>
                      <a:pt x="201" y="452"/>
                      <a:pt x="201" y="452"/>
                    </a:cubicBezTo>
                    <a:cubicBezTo>
                      <a:pt x="201" y="452"/>
                      <a:pt x="202" y="452"/>
                      <a:pt x="202" y="452"/>
                    </a:cubicBezTo>
                    <a:cubicBezTo>
                      <a:pt x="202" y="452"/>
                      <a:pt x="202" y="452"/>
                      <a:pt x="202" y="453"/>
                    </a:cubicBezTo>
                    <a:cubicBezTo>
                      <a:pt x="203" y="453"/>
                      <a:pt x="203" y="453"/>
                      <a:pt x="203" y="453"/>
                    </a:cubicBezTo>
                    <a:cubicBezTo>
                      <a:pt x="203" y="452"/>
                      <a:pt x="204" y="452"/>
                      <a:pt x="204" y="452"/>
                    </a:cubicBezTo>
                    <a:cubicBezTo>
                      <a:pt x="204" y="453"/>
                      <a:pt x="204" y="453"/>
                      <a:pt x="204" y="453"/>
                    </a:cubicBezTo>
                    <a:cubicBezTo>
                      <a:pt x="205" y="453"/>
                      <a:pt x="205" y="453"/>
                      <a:pt x="205" y="453"/>
                    </a:cubicBezTo>
                    <a:cubicBezTo>
                      <a:pt x="206" y="453"/>
                      <a:pt x="206" y="453"/>
                      <a:pt x="206" y="453"/>
                    </a:cubicBezTo>
                    <a:cubicBezTo>
                      <a:pt x="206" y="454"/>
                      <a:pt x="206" y="454"/>
                      <a:pt x="206" y="454"/>
                    </a:cubicBezTo>
                    <a:cubicBezTo>
                      <a:pt x="205" y="454"/>
                      <a:pt x="205" y="454"/>
                      <a:pt x="205" y="454"/>
                    </a:cubicBezTo>
                    <a:cubicBezTo>
                      <a:pt x="205" y="454"/>
                      <a:pt x="205" y="454"/>
                      <a:pt x="205" y="454"/>
                    </a:cubicBezTo>
                    <a:cubicBezTo>
                      <a:pt x="205" y="455"/>
                      <a:pt x="205" y="455"/>
                      <a:pt x="205" y="455"/>
                    </a:cubicBezTo>
                    <a:cubicBezTo>
                      <a:pt x="206" y="455"/>
                      <a:pt x="206" y="455"/>
                      <a:pt x="206" y="455"/>
                    </a:cubicBezTo>
                    <a:cubicBezTo>
                      <a:pt x="206" y="455"/>
                      <a:pt x="206" y="455"/>
                      <a:pt x="206" y="455"/>
                    </a:cubicBezTo>
                    <a:cubicBezTo>
                      <a:pt x="208" y="456"/>
                      <a:pt x="208" y="456"/>
                      <a:pt x="208" y="456"/>
                    </a:cubicBezTo>
                    <a:cubicBezTo>
                      <a:pt x="207" y="456"/>
                      <a:pt x="207" y="456"/>
                      <a:pt x="207" y="456"/>
                    </a:cubicBezTo>
                    <a:cubicBezTo>
                      <a:pt x="207" y="456"/>
                      <a:pt x="207" y="456"/>
                      <a:pt x="207" y="456"/>
                    </a:cubicBezTo>
                    <a:cubicBezTo>
                      <a:pt x="207" y="456"/>
                      <a:pt x="206" y="456"/>
                      <a:pt x="206" y="456"/>
                    </a:cubicBezTo>
                    <a:cubicBezTo>
                      <a:pt x="206" y="456"/>
                      <a:pt x="205" y="456"/>
                      <a:pt x="205" y="456"/>
                    </a:cubicBezTo>
                    <a:cubicBezTo>
                      <a:pt x="205" y="457"/>
                      <a:pt x="205" y="457"/>
                      <a:pt x="205" y="457"/>
                    </a:cubicBezTo>
                    <a:cubicBezTo>
                      <a:pt x="205" y="459"/>
                      <a:pt x="205" y="459"/>
                      <a:pt x="205" y="459"/>
                    </a:cubicBezTo>
                    <a:cubicBezTo>
                      <a:pt x="204" y="459"/>
                      <a:pt x="204" y="459"/>
                      <a:pt x="204" y="459"/>
                    </a:cubicBezTo>
                    <a:cubicBezTo>
                      <a:pt x="204" y="460"/>
                      <a:pt x="204" y="460"/>
                      <a:pt x="204" y="460"/>
                    </a:cubicBezTo>
                    <a:cubicBezTo>
                      <a:pt x="204" y="460"/>
                      <a:pt x="204" y="460"/>
                      <a:pt x="204" y="460"/>
                    </a:cubicBezTo>
                    <a:cubicBezTo>
                      <a:pt x="204" y="460"/>
                      <a:pt x="204" y="460"/>
                      <a:pt x="204" y="460"/>
                    </a:cubicBezTo>
                    <a:cubicBezTo>
                      <a:pt x="204" y="460"/>
                      <a:pt x="204" y="460"/>
                      <a:pt x="203" y="460"/>
                    </a:cubicBezTo>
                    <a:cubicBezTo>
                      <a:pt x="203" y="460"/>
                      <a:pt x="203" y="460"/>
                      <a:pt x="203" y="460"/>
                    </a:cubicBezTo>
                    <a:cubicBezTo>
                      <a:pt x="202" y="459"/>
                      <a:pt x="202" y="459"/>
                      <a:pt x="202" y="459"/>
                    </a:cubicBezTo>
                    <a:cubicBezTo>
                      <a:pt x="202" y="460"/>
                      <a:pt x="202" y="460"/>
                      <a:pt x="202" y="460"/>
                    </a:cubicBezTo>
                    <a:cubicBezTo>
                      <a:pt x="202" y="461"/>
                      <a:pt x="202" y="461"/>
                      <a:pt x="202" y="461"/>
                    </a:cubicBezTo>
                    <a:cubicBezTo>
                      <a:pt x="202" y="461"/>
                      <a:pt x="202" y="461"/>
                      <a:pt x="202" y="461"/>
                    </a:cubicBezTo>
                    <a:cubicBezTo>
                      <a:pt x="201" y="461"/>
                      <a:pt x="201" y="461"/>
                      <a:pt x="201" y="461"/>
                    </a:cubicBezTo>
                    <a:cubicBezTo>
                      <a:pt x="200" y="461"/>
                      <a:pt x="200" y="461"/>
                      <a:pt x="200" y="461"/>
                    </a:cubicBezTo>
                    <a:cubicBezTo>
                      <a:pt x="199" y="461"/>
                      <a:pt x="199" y="461"/>
                      <a:pt x="199" y="461"/>
                    </a:cubicBezTo>
                    <a:cubicBezTo>
                      <a:pt x="199" y="461"/>
                      <a:pt x="199" y="461"/>
                      <a:pt x="199" y="461"/>
                    </a:cubicBezTo>
                    <a:cubicBezTo>
                      <a:pt x="198" y="462"/>
                      <a:pt x="198" y="462"/>
                      <a:pt x="198" y="462"/>
                    </a:cubicBezTo>
                    <a:cubicBezTo>
                      <a:pt x="198" y="462"/>
                      <a:pt x="198" y="462"/>
                      <a:pt x="198" y="462"/>
                    </a:cubicBezTo>
                    <a:cubicBezTo>
                      <a:pt x="198" y="462"/>
                      <a:pt x="198" y="462"/>
                      <a:pt x="198" y="462"/>
                    </a:cubicBezTo>
                    <a:cubicBezTo>
                      <a:pt x="198" y="462"/>
                      <a:pt x="198" y="462"/>
                      <a:pt x="198" y="462"/>
                    </a:cubicBezTo>
                    <a:cubicBezTo>
                      <a:pt x="197" y="461"/>
                      <a:pt x="197" y="461"/>
                      <a:pt x="197" y="461"/>
                    </a:cubicBezTo>
                    <a:cubicBezTo>
                      <a:pt x="197" y="462"/>
                      <a:pt x="197" y="462"/>
                      <a:pt x="197" y="462"/>
                    </a:cubicBezTo>
                    <a:cubicBezTo>
                      <a:pt x="197" y="462"/>
                      <a:pt x="197" y="462"/>
                      <a:pt x="197" y="462"/>
                    </a:cubicBezTo>
                    <a:cubicBezTo>
                      <a:pt x="197" y="462"/>
                      <a:pt x="197" y="462"/>
                      <a:pt x="197" y="462"/>
                    </a:cubicBezTo>
                    <a:cubicBezTo>
                      <a:pt x="210" y="465"/>
                      <a:pt x="210" y="465"/>
                      <a:pt x="210" y="465"/>
                    </a:cubicBezTo>
                    <a:cubicBezTo>
                      <a:pt x="213" y="466"/>
                      <a:pt x="213" y="468"/>
                      <a:pt x="216" y="470"/>
                    </a:cubicBezTo>
                    <a:cubicBezTo>
                      <a:pt x="224" y="467"/>
                      <a:pt x="224" y="467"/>
                      <a:pt x="224" y="467"/>
                    </a:cubicBezTo>
                    <a:cubicBezTo>
                      <a:pt x="234" y="474"/>
                      <a:pt x="234" y="474"/>
                      <a:pt x="234" y="474"/>
                    </a:cubicBezTo>
                    <a:cubicBezTo>
                      <a:pt x="243" y="471"/>
                      <a:pt x="243" y="471"/>
                      <a:pt x="243" y="471"/>
                    </a:cubicBezTo>
                    <a:cubicBezTo>
                      <a:pt x="252" y="471"/>
                      <a:pt x="252" y="471"/>
                      <a:pt x="252" y="471"/>
                    </a:cubicBezTo>
                    <a:cubicBezTo>
                      <a:pt x="252" y="470"/>
                      <a:pt x="256" y="470"/>
                      <a:pt x="259" y="471"/>
                    </a:cubicBezTo>
                    <a:cubicBezTo>
                      <a:pt x="259" y="471"/>
                      <a:pt x="259" y="471"/>
                      <a:pt x="259" y="471"/>
                    </a:cubicBezTo>
                    <a:close/>
                    <a:moveTo>
                      <a:pt x="192" y="456"/>
                    </a:moveTo>
                    <a:cubicBezTo>
                      <a:pt x="192" y="456"/>
                      <a:pt x="192" y="456"/>
                      <a:pt x="192" y="456"/>
                    </a:cubicBezTo>
                    <a:cubicBezTo>
                      <a:pt x="192" y="456"/>
                      <a:pt x="192" y="456"/>
                      <a:pt x="192" y="456"/>
                    </a:cubicBezTo>
                    <a:cubicBezTo>
                      <a:pt x="192" y="456"/>
                      <a:pt x="193" y="456"/>
                      <a:pt x="193" y="456"/>
                    </a:cubicBezTo>
                    <a:cubicBezTo>
                      <a:pt x="193" y="456"/>
                      <a:pt x="193" y="457"/>
                      <a:pt x="193" y="457"/>
                    </a:cubicBezTo>
                    <a:cubicBezTo>
                      <a:pt x="193" y="457"/>
                      <a:pt x="193" y="457"/>
                      <a:pt x="193" y="457"/>
                    </a:cubicBezTo>
                    <a:cubicBezTo>
                      <a:pt x="193" y="457"/>
                      <a:pt x="193" y="457"/>
                      <a:pt x="194" y="458"/>
                    </a:cubicBezTo>
                    <a:cubicBezTo>
                      <a:pt x="194" y="458"/>
                      <a:pt x="193" y="458"/>
                      <a:pt x="193" y="458"/>
                    </a:cubicBezTo>
                    <a:cubicBezTo>
                      <a:pt x="193" y="458"/>
                      <a:pt x="193" y="458"/>
                      <a:pt x="193" y="458"/>
                    </a:cubicBezTo>
                    <a:cubicBezTo>
                      <a:pt x="192" y="458"/>
                      <a:pt x="192" y="458"/>
                      <a:pt x="192" y="458"/>
                    </a:cubicBezTo>
                    <a:cubicBezTo>
                      <a:pt x="192" y="458"/>
                      <a:pt x="192" y="458"/>
                      <a:pt x="192" y="458"/>
                    </a:cubicBezTo>
                    <a:cubicBezTo>
                      <a:pt x="192" y="456"/>
                      <a:pt x="192" y="456"/>
                      <a:pt x="192" y="456"/>
                    </a:cubicBezTo>
                    <a:close/>
                    <a:moveTo>
                      <a:pt x="450" y="202"/>
                    </a:moveTo>
                    <a:cubicBezTo>
                      <a:pt x="450" y="202"/>
                      <a:pt x="450" y="202"/>
                      <a:pt x="450" y="202"/>
                    </a:cubicBezTo>
                    <a:cubicBezTo>
                      <a:pt x="449" y="202"/>
                      <a:pt x="449" y="202"/>
                      <a:pt x="449" y="202"/>
                    </a:cubicBezTo>
                    <a:cubicBezTo>
                      <a:pt x="448" y="201"/>
                      <a:pt x="448" y="201"/>
                      <a:pt x="448" y="201"/>
                    </a:cubicBezTo>
                    <a:cubicBezTo>
                      <a:pt x="448" y="201"/>
                      <a:pt x="448" y="201"/>
                      <a:pt x="448" y="201"/>
                    </a:cubicBezTo>
                    <a:cubicBezTo>
                      <a:pt x="448" y="201"/>
                      <a:pt x="448" y="201"/>
                      <a:pt x="448" y="201"/>
                    </a:cubicBezTo>
                    <a:cubicBezTo>
                      <a:pt x="449" y="201"/>
                      <a:pt x="449" y="200"/>
                      <a:pt x="449" y="200"/>
                    </a:cubicBezTo>
                    <a:cubicBezTo>
                      <a:pt x="449" y="201"/>
                      <a:pt x="450" y="201"/>
                      <a:pt x="450" y="202"/>
                    </a:cubicBezTo>
                    <a:close/>
                    <a:moveTo>
                      <a:pt x="493" y="520"/>
                    </a:moveTo>
                    <a:cubicBezTo>
                      <a:pt x="493" y="520"/>
                      <a:pt x="493" y="520"/>
                      <a:pt x="493" y="520"/>
                    </a:cubicBezTo>
                    <a:cubicBezTo>
                      <a:pt x="491" y="524"/>
                      <a:pt x="491" y="524"/>
                      <a:pt x="491" y="524"/>
                    </a:cubicBezTo>
                    <a:cubicBezTo>
                      <a:pt x="489" y="527"/>
                      <a:pt x="489" y="527"/>
                      <a:pt x="489" y="527"/>
                    </a:cubicBezTo>
                    <a:cubicBezTo>
                      <a:pt x="494" y="529"/>
                      <a:pt x="494" y="529"/>
                      <a:pt x="494" y="529"/>
                    </a:cubicBezTo>
                    <a:cubicBezTo>
                      <a:pt x="497" y="533"/>
                      <a:pt x="497" y="533"/>
                      <a:pt x="497" y="533"/>
                    </a:cubicBezTo>
                    <a:cubicBezTo>
                      <a:pt x="497" y="533"/>
                      <a:pt x="499" y="536"/>
                      <a:pt x="501" y="536"/>
                    </a:cubicBezTo>
                    <a:cubicBezTo>
                      <a:pt x="503" y="536"/>
                      <a:pt x="506" y="538"/>
                      <a:pt x="506" y="538"/>
                    </a:cubicBezTo>
                    <a:cubicBezTo>
                      <a:pt x="506" y="538"/>
                      <a:pt x="508" y="535"/>
                      <a:pt x="508" y="531"/>
                    </a:cubicBezTo>
                    <a:cubicBezTo>
                      <a:pt x="509" y="528"/>
                      <a:pt x="505" y="524"/>
                      <a:pt x="511" y="523"/>
                    </a:cubicBezTo>
                    <a:cubicBezTo>
                      <a:pt x="517" y="523"/>
                      <a:pt x="513" y="516"/>
                      <a:pt x="513" y="516"/>
                    </a:cubicBezTo>
                    <a:cubicBezTo>
                      <a:pt x="513" y="511"/>
                      <a:pt x="513" y="511"/>
                      <a:pt x="513" y="511"/>
                    </a:cubicBezTo>
                    <a:cubicBezTo>
                      <a:pt x="512" y="505"/>
                      <a:pt x="512" y="505"/>
                      <a:pt x="512" y="505"/>
                    </a:cubicBezTo>
                    <a:cubicBezTo>
                      <a:pt x="513" y="503"/>
                      <a:pt x="513" y="503"/>
                      <a:pt x="513" y="503"/>
                    </a:cubicBezTo>
                    <a:cubicBezTo>
                      <a:pt x="516" y="499"/>
                      <a:pt x="516" y="499"/>
                      <a:pt x="516" y="499"/>
                    </a:cubicBezTo>
                    <a:cubicBezTo>
                      <a:pt x="519" y="496"/>
                      <a:pt x="519" y="496"/>
                      <a:pt x="519" y="496"/>
                    </a:cubicBezTo>
                    <a:cubicBezTo>
                      <a:pt x="519" y="496"/>
                      <a:pt x="520" y="493"/>
                      <a:pt x="520" y="491"/>
                    </a:cubicBezTo>
                    <a:cubicBezTo>
                      <a:pt x="519" y="490"/>
                      <a:pt x="516" y="485"/>
                      <a:pt x="516" y="485"/>
                    </a:cubicBezTo>
                    <a:cubicBezTo>
                      <a:pt x="519" y="473"/>
                      <a:pt x="519" y="473"/>
                      <a:pt x="519" y="473"/>
                    </a:cubicBezTo>
                    <a:cubicBezTo>
                      <a:pt x="518" y="471"/>
                      <a:pt x="518" y="471"/>
                      <a:pt x="518" y="471"/>
                    </a:cubicBezTo>
                    <a:cubicBezTo>
                      <a:pt x="517" y="468"/>
                      <a:pt x="517" y="468"/>
                      <a:pt x="517" y="468"/>
                    </a:cubicBezTo>
                    <a:cubicBezTo>
                      <a:pt x="515" y="459"/>
                      <a:pt x="515" y="459"/>
                      <a:pt x="515" y="459"/>
                    </a:cubicBezTo>
                    <a:cubicBezTo>
                      <a:pt x="515" y="447"/>
                      <a:pt x="515" y="447"/>
                      <a:pt x="515" y="447"/>
                    </a:cubicBezTo>
                    <a:cubicBezTo>
                      <a:pt x="509" y="449"/>
                      <a:pt x="509" y="449"/>
                      <a:pt x="509" y="449"/>
                    </a:cubicBezTo>
                    <a:cubicBezTo>
                      <a:pt x="511" y="454"/>
                      <a:pt x="511" y="454"/>
                      <a:pt x="511" y="454"/>
                    </a:cubicBezTo>
                    <a:cubicBezTo>
                      <a:pt x="509" y="463"/>
                      <a:pt x="509" y="463"/>
                      <a:pt x="509" y="463"/>
                    </a:cubicBezTo>
                    <a:cubicBezTo>
                      <a:pt x="504" y="464"/>
                      <a:pt x="504" y="464"/>
                      <a:pt x="504" y="464"/>
                    </a:cubicBezTo>
                    <a:cubicBezTo>
                      <a:pt x="502" y="465"/>
                      <a:pt x="502" y="465"/>
                      <a:pt x="502" y="465"/>
                    </a:cubicBezTo>
                    <a:cubicBezTo>
                      <a:pt x="499" y="468"/>
                      <a:pt x="499" y="468"/>
                      <a:pt x="499" y="468"/>
                    </a:cubicBezTo>
                    <a:cubicBezTo>
                      <a:pt x="494" y="469"/>
                      <a:pt x="494" y="469"/>
                      <a:pt x="494" y="469"/>
                    </a:cubicBezTo>
                    <a:cubicBezTo>
                      <a:pt x="489" y="473"/>
                      <a:pt x="489" y="473"/>
                      <a:pt x="489" y="473"/>
                    </a:cubicBezTo>
                    <a:cubicBezTo>
                      <a:pt x="485" y="478"/>
                      <a:pt x="485" y="478"/>
                      <a:pt x="485" y="478"/>
                    </a:cubicBezTo>
                    <a:cubicBezTo>
                      <a:pt x="482" y="481"/>
                      <a:pt x="482" y="481"/>
                      <a:pt x="482" y="481"/>
                    </a:cubicBezTo>
                    <a:cubicBezTo>
                      <a:pt x="482" y="481"/>
                      <a:pt x="482" y="483"/>
                      <a:pt x="484" y="485"/>
                    </a:cubicBezTo>
                    <a:cubicBezTo>
                      <a:pt x="486" y="488"/>
                      <a:pt x="481" y="498"/>
                      <a:pt x="481" y="498"/>
                    </a:cubicBezTo>
                    <a:cubicBezTo>
                      <a:pt x="485" y="498"/>
                      <a:pt x="485" y="498"/>
                      <a:pt x="485" y="498"/>
                    </a:cubicBezTo>
                    <a:cubicBezTo>
                      <a:pt x="486" y="503"/>
                      <a:pt x="486" y="503"/>
                      <a:pt x="486" y="503"/>
                    </a:cubicBezTo>
                    <a:cubicBezTo>
                      <a:pt x="483" y="508"/>
                      <a:pt x="483" y="508"/>
                      <a:pt x="483" y="508"/>
                    </a:cubicBezTo>
                    <a:cubicBezTo>
                      <a:pt x="486" y="510"/>
                      <a:pt x="486" y="510"/>
                      <a:pt x="486" y="510"/>
                    </a:cubicBezTo>
                    <a:cubicBezTo>
                      <a:pt x="489" y="510"/>
                      <a:pt x="489" y="510"/>
                      <a:pt x="489" y="510"/>
                    </a:cubicBezTo>
                    <a:cubicBezTo>
                      <a:pt x="486" y="516"/>
                      <a:pt x="486" y="516"/>
                      <a:pt x="486" y="516"/>
                    </a:cubicBezTo>
                    <a:cubicBezTo>
                      <a:pt x="486" y="518"/>
                      <a:pt x="486" y="518"/>
                      <a:pt x="486" y="518"/>
                    </a:cubicBezTo>
                    <a:lnTo>
                      <a:pt x="493" y="520"/>
                    </a:lnTo>
                    <a:close/>
                  </a:path>
                </a:pathLst>
              </a:custGeom>
              <a:solidFill>
                <a:srgbClr val="EB6E62"/>
              </a:solidFill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64" name="Freeform 13">
                <a:extLst>
                  <a:ext uri="{FF2B5EF4-FFF2-40B4-BE49-F238E27FC236}">
                    <a16:creationId xmlns:a16="http://schemas.microsoft.com/office/drawing/2014/main" id="{4FF79753-7E2E-49F2-9649-4AB64E2CDA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59833" y="1034753"/>
                <a:ext cx="533748" cy="430332"/>
              </a:xfrm>
              <a:custGeom>
                <a:avLst/>
                <a:gdLst>
                  <a:gd name="T0" fmla="*/ 46 w 238"/>
                  <a:gd name="T1" fmla="*/ 78 h 198"/>
                  <a:gd name="T2" fmla="*/ 30 w 238"/>
                  <a:gd name="T3" fmla="*/ 73 h 198"/>
                  <a:gd name="T4" fmla="*/ 10 w 238"/>
                  <a:gd name="T5" fmla="*/ 70 h 198"/>
                  <a:gd name="T6" fmla="*/ 13 w 238"/>
                  <a:gd name="T7" fmla="*/ 76 h 198"/>
                  <a:gd name="T8" fmla="*/ 34 w 238"/>
                  <a:gd name="T9" fmla="*/ 91 h 198"/>
                  <a:gd name="T10" fmla="*/ 35 w 238"/>
                  <a:gd name="T11" fmla="*/ 107 h 198"/>
                  <a:gd name="T12" fmla="*/ 34 w 238"/>
                  <a:gd name="T13" fmla="*/ 113 h 198"/>
                  <a:gd name="T14" fmla="*/ 25 w 238"/>
                  <a:gd name="T15" fmla="*/ 127 h 198"/>
                  <a:gd name="T16" fmla="*/ 9 w 238"/>
                  <a:gd name="T17" fmla="*/ 124 h 198"/>
                  <a:gd name="T18" fmla="*/ 20 w 238"/>
                  <a:gd name="T19" fmla="*/ 138 h 198"/>
                  <a:gd name="T20" fmla="*/ 48 w 238"/>
                  <a:gd name="T21" fmla="*/ 162 h 198"/>
                  <a:gd name="T22" fmla="*/ 85 w 238"/>
                  <a:gd name="T23" fmla="*/ 195 h 198"/>
                  <a:gd name="T24" fmla="*/ 131 w 238"/>
                  <a:gd name="T25" fmla="*/ 189 h 198"/>
                  <a:gd name="T26" fmla="*/ 164 w 238"/>
                  <a:gd name="T27" fmla="*/ 181 h 198"/>
                  <a:gd name="T28" fmla="*/ 194 w 238"/>
                  <a:gd name="T29" fmla="*/ 178 h 198"/>
                  <a:gd name="T30" fmla="*/ 212 w 238"/>
                  <a:gd name="T31" fmla="*/ 165 h 198"/>
                  <a:gd name="T32" fmla="*/ 226 w 238"/>
                  <a:gd name="T33" fmla="*/ 157 h 198"/>
                  <a:gd name="T34" fmla="*/ 230 w 238"/>
                  <a:gd name="T35" fmla="*/ 148 h 198"/>
                  <a:gd name="T36" fmla="*/ 235 w 238"/>
                  <a:gd name="T37" fmla="*/ 133 h 198"/>
                  <a:gd name="T38" fmla="*/ 227 w 238"/>
                  <a:gd name="T39" fmla="*/ 109 h 198"/>
                  <a:gd name="T40" fmla="*/ 224 w 238"/>
                  <a:gd name="T41" fmla="*/ 92 h 198"/>
                  <a:gd name="T42" fmla="*/ 228 w 238"/>
                  <a:gd name="T43" fmla="*/ 76 h 198"/>
                  <a:gd name="T44" fmla="*/ 210 w 238"/>
                  <a:gd name="T45" fmla="*/ 76 h 198"/>
                  <a:gd name="T46" fmla="*/ 206 w 238"/>
                  <a:gd name="T47" fmla="*/ 58 h 198"/>
                  <a:gd name="T48" fmla="*/ 192 w 238"/>
                  <a:gd name="T49" fmla="*/ 68 h 198"/>
                  <a:gd name="T50" fmla="*/ 173 w 238"/>
                  <a:gd name="T51" fmla="*/ 66 h 198"/>
                  <a:gd name="T52" fmla="*/ 160 w 238"/>
                  <a:gd name="T53" fmla="*/ 64 h 198"/>
                  <a:gd name="T54" fmla="*/ 147 w 238"/>
                  <a:gd name="T55" fmla="*/ 80 h 198"/>
                  <a:gd name="T56" fmla="*/ 141 w 238"/>
                  <a:gd name="T57" fmla="*/ 54 h 198"/>
                  <a:gd name="T58" fmla="*/ 128 w 238"/>
                  <a:gd name="T59" fmla="*/ 53 h 198"/>
                  <a:gd name="T60" fmla="*/ 119 w 238"/>
                  <a:gd name="T61" fmla="*/ 67 h 198"/>
                  <a:gd name="T62" fmla="*/ 109 w 238"/>
                  <a:gd name="T63" fmla="*/ 43 h 198"/>
                  <a:gd name="T64" fmla="*/ 96 w 238"/>
                  <a:gd name="T65" fmla="*/ 67 h 198"/>
                  <a:gd name="T66" fmla="*/ 80 w 238"/>
                  <a:gd name="T67" fmla="*/ 67 h 198"/>
                  <a:gd name="T68" fmla="*/ 71 w 238"/>
                  <a:gd name="T69" fmla="*/ 75 h 198"/>
                  <a:gd name="T70" fmla="*/ 75 w 238"/>
                  <a:gd name="T71" fmla="*/ 59 h 198"/>
                  <a:gd name="T72" fmla="*/ 78 w 238"/>
                  <a:gd name="T73" fmla="*/ 52 h 198"/>
                  <a:gd name="T74" fmla="*/ 83 w 238"/>
                  <a:gd name="T75" fmla="*/ 39 h 198"/>
                  <a:gd name="T76" fmla="*/ 80 w 238"/>
                  <a:gd name="T77" fmla="*/ 29 h 198"/>
                  <a:gd name="T78" fmla="*/ 74 w 238"/>
                  <a:gd name="T79" fmla="*/ 7 h 198"/>
                  <a:gd name="T80" fmla="*/ 63 w 238"/>
                  <a:gd name="T81" fmla="*/ 1 h 198"/>
                  <a:gd name="T82" fmla="*/ 61 w 238"/>
                  <a:gd name="T83" fmla="*/ 8 h 198"/>
                  <a:gd name="T84" fmla="*/ 67 w 238"/>
                  <a:gd name="T85" fmla="*/ 12 h 198"/>
                  <a:gd name="T86" fmla="*/ 57 w 238"/>
                  <a:gd name="T87" fmla="*/ 12 h 198"/>
                  <a:gd name="T88" fmla="*/ 62 w 238"/>
                  <a:gd name="T89" fmla="*/ 33 h 198"/>
                  <a:gd name="T90" fmla="*/ 59 w 238"/>
                  <a:gd name="T91" fmla="*/ 28 h 198"/>
                  <a:gd name="T92" fmla="*/ 55 w 238"/>
                  <a:gd name="T93" fmla="*/ 24 h 198"/>
                  <a:gd name="T94" fmla="*/ 53 w 238"/>
                  <a:gd name="T95" fmla="*/ 15 h 198"/>
                  <a:gd name="T96" fmla="*/ 43 w 238"/>
                  <a:gd name="T97" fmla="*/ 9 h 198"/>
                  <a:gd name="T98" fmla="*/ 36 w 238"/>
                  <a:gd name="T99" fmla="*/ 18 h 198"/>
                  <a:gd name="T100" fmla="*/ 32 w 238"/>
                  <a:gd name="T101" fmla="*/ 26 h 198"/>
                  <a:gd name="T102" fmla="*/ 31 w 238"/>
                  <a:gd name="T103" fmla="*/ 30 h 198"/>
                  <a:gd name="T104" fmla="*/ 23 w 238"/>
                  <a:gd name="T105" fmla="*/ 28 h 198"/>
                  <a:gd name="T106" fmla="*/ 23 w 238"/>
                  <a:gd name="T107" fmla="*/ 36 h 198"/>
                  <a:gd name="T108" fmla="*/ 11 w 238"/>
                  <a:gd name="T109" fmla="*/ 29 h 198"/>
                  <a:gd name="T110" fmla="*/ 20 w 238"/>
                  <a:gd name="T111" fmla="*/ 44 h 198"/>
                  <a:gd name="T112" fmla="*/ 36 w 238"/>
                  <a:gd name="T113" fmla="*/ 46 h 198"/>
                  <a:gd name="T114" fmla="*/ 44 w 238"/>
                  <a:gd name="T115" fmla="*/ 46 h 198"/>
                  <a:gd name="T116" fmla="*/ 53 w 238"/>
                  <a:gd name="T117" fmla="*/ 52 h 198"/>
                  <a:gd name="T118" fmla="*/ 59 w 238"/>
                  <a:gd name="T119" fmla="*/ 59 h 198"/>
                  <a:gd name="T120" fmla="*/ 47 w 238"/>
                  <a:gd name="T121" fmla="*/ 65 h 198"/>
                  <a:gd name="T122" fmla="*/ 46 w 238"/>
                  <a:gd name="T123" fmla="*/ 73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38" h="198">
                    <a:moveTo>
                      <a:pt x="48" y="74"/>
                    </a:moveTo>
                    <a:cubicBezTo>
                      <a:pt x="52" y="77"/>
                      <a:pt x="52" y="77"/>
                      <a:pt x="52" y="77"/>
                    </a:cubicBezTo>
                    <a:cubicBezTo>
                      <a:pt x="55" y="75"/>
                      <a:pt x="55" y="75"/>
                      <a:pt x="55" y="75"/>
                    </a:cubicBezTo>
                    <a:cubicBezTo>
                      <a:pt x="57" y="73"/>
                      <a:pt x="57" y="73"/>
                      <a:pt x="57" y="73"/>
                    </a:cubicBezTo>
                    <a:cubicBezTo>
                      <a:pt x="59" y="75"/>
                      <a:pt x="59" y="75"/>
                      <a:pt x="59" y="75"/>
                    </a:cubicBezTo>
                    <a:cubicBezTo>
                      <a:pt x="56" y="78"/>
                      <a:pt x="56" y="78"/>
                      <a:pt x="56" y="78"/>
                    </a:cubicBezTo>
                    <a:cubicBezTo>
                      <a:pt x="54" y="80"/>
                      <a:pt x="54" y="80"/>
                      <a:pt x="54" y="80"/>
                    </a:cubicBezTo>
                    <a:cubicBezTo>
                      <a:pt x="54" y="83"/>
                      <a:pt x="54" y="83"/>
                      <a:pt x="54" y="83"/>
                    </a:cubicBezTo>
                    <a:cubicBezTo>
                      <a:pt x="50" y="82"/>
                      <a:pt x="50" y="82"/>
                      <a:pt x="50" y="82"/>
                    </a:cubicBezTo>
                    <a:cubicBezTo>
                      <a:pt x="46" y="78"/>
                      <a:pt x="46" y="78"/>
                      <a:pt x="46" y="78"/>
                    </a:cubicBezTo>
                    <a:cubicBezTo>
                      <a:pt x="44" y="77"/>
                      <a:pt x="44" y="77"/>
                      <a:pt x="44" y="77"/>
                    </a:cubicBezTo>
                    <a:cubicBezTo>
                      <a:pt x="42" y="76"/>
                      <a:pt x="42" y="76"/>
                      <a:pt x="42" y="76"/>
                    </a:cubicBezTo>
                    <a:cubicBezTo>
                      <a:pt x="41" y="73"/>
                      <a:pt x="41" y="73"/>
                      <a:pt x="41" y="73"/>
                    </a:cubicBezTo>
                    <a:cubicBezTo>
                      <a:pt x="40" y="74"/>
                      <a:pt x="40" y="74"/>
                      <a:pt x="40" y="74"/>
                    </a:cubicBezTo>
                    <a:cubicBezTo>
                      <a:pt x="36" y="75"/>
                      <a:pt x="36" y="75"/>
                      <a:pt x="36" y="75"/>
                    </a:cubicBezTo>
                    <a:cubicBezTo>
                      <a:pt x="35" y="76"/>
                      <a:pt x="35" y="76"/>
                      <a:pt x="35" y="76"/>
                    </a:cubicBezTo>
                    <a:cubicBezTo>
                      <a:pt x="34" y="74"/>
                      <a:pt x="34" y="74"/>
                      <a:pt x="34" y="74"/>
                    </a:cubicBezTo>
                    <a:cubicBezTo>
                      <a:pt x="35" y="72"/>
                      <a:pt x="35" y="72"/>
                      <a:pt x="35" y="72"/>
                    </a:cubicBezTo>
                    <a:cubicBezTo>
                      <a:pt x="32" y="72"/>
                      <a:pt x="32" y="72"/>
                      <a:pt x="32" y="72"/>
                    </a:cubicBezTo>
                    <a:cubicBezTo>
                      <a:pt x="32" y="72"/>
                      <a:pt x="31" y="73"/>
                      <a:pt x="30" y="73"/>
                    </a:cubicBezTo>
                    <a:cubicBezTo>
                      <a:pt x="29" y="73"/>
                      <a:pt x="28" y="73"/>
                      <a:pt x="28" y="73"/>
                    </a:cubicBezTo>
                    <a:cubicBezTo>
                      <a:pt x="27" y="72"/>
                      <a:pt x="26" y="71"/>
                      <a:pt x="25" y="71"/>
                    </a:cubicBezTo>
                    <a:cubicBezTo>
                      <a:pt x="24" y="70"/>
                      <a:pt x="23" y="69"/>
                      <a:pt x="23" y="69"/>
                    </a:cubicBezTo>
                    <a:cubicBezTo>
                      <a:pt x="21" y="70"/>
                      <a:pt x="21" y="70"/>
                      <a:pt x="21" y="70"/>
                    </a:cubicBezTo>
                    <a:cubicBezTo>
                      <a:pt x="19" y="72"/>
                      <a:pt x="19" y="72"/>
                      <a:pt x="19" y="72"/>
                    </a:cubicBezTo>
                    <a:cubicBezTo>
                      <a:pt x="19" y="71"/>
                      <a:pt x="19" y="71"/>
                      <a:pt x="19" y="71"/>
                    </a:cubicBezTo>
                    <a:cubicBezTo>
                      <a:pt x="17" y="70"/>
                      <a:pt x="17" y="70"/>
                      <a:pt x="17" y="70"/>
                    </a:cubicBezTo>
                    <a:cubicBezTo>
                      <a:pt x="13" y="70"/>
                      <a:pt x="13" y="70"/>
                      <a:pt x="13" y="70"/>
                    </a:cubicBezTo>
                    <a:cubicBezTo>
                      <a:pt x="12" y="70"/>
                      <a:pt x="12" y="70"/>
                      <a:pt x="12" y="70"/>
                    </a:cubicBezTo>
                    <a:cubicBezTo>
                      <a:pt x="12" y="70"/>
                      <a:pt x="12" y="70"/>
                      <a:pt x="10" y="70"/>
                    </a:cubicBezTo>
                    <a:cubicBezTo>
                      <a:pt x="9" y="69"/>
                      <a:pt x="9" y="69"/>
                      <a:pt x="9" y="69"/>
                    </a:cubicBezTo>
                    <a:cubicBezTo>
                      <a:pt x="6" y="68"/>
                      <a:pt x="6" y="68"/>
                      <a:pt x="6" y="68"/>
                    </a:cubicBezTo>
                    <a:cubicBezTo>
                      <a:pt x="3" y="67"/>
                      <a:pt x="3" y="67"/>
                      <a:pt x="3" y="67"/>
                    </a:cubicBezTo>
                    <a:cubicBezTo>
                      <a:pt x="3" y="67"/>
                      <a:pt x="2" y="67"/>
                      <a:pt x="2" y="68"/>
                    </a:cubicBezTo>
                    <a:cubicBezTo>
                      <a:pt x="2" y="70"/>
                      <a:pt x="0" y="71"/>
                      <a:pt x="0" y="72"/>
                    </a:cubicBezTo>
                    <a:cubicBezTo>
                      <a:pt x="1" y="73"/>
                      <a:pt x="2" y="73"/>
                      <a:pt x="3" y="75"/>
                    </a:cubicBezTo>
                    <a:cubicBezTo>
                      <a:pt x="5" y="76"/>
                      <a:pt x="5" y="76"/>
                      <a:pt x="5" y="76"/>
                    </a:cubicBezTo>
                    <a:cubicBezTo>
                      <a:pt x="8" y="76"/>
                      <a:pt x="8" y="76"/>
                      <a:pt x="8" y="76"/>
                    </a:cubicBezTo>
                    <a:cubicBezTo>
                      <a:pt x="9" y="75"/>
                      <a:pt x="9" y="75"/>
                      <a:pt x="9" y="75"/>
                    </a:cubicBezTo>
                    <a:cubicBezTo>
                      <a:pt x="13" y="76"/>
                      <a:pt x="13" y="76"/>
                      <a:pt x="13" y="76"/>
                    </a:cubicBezTo>
                    <a:cubicBezTo>
                      <a:pt x="14" y="78"/>
                      <a:pt x="15" y="80"/>
                      <a:pt x="16" y="79"/>
                    </a:cubicBezTo>
                    <a:cubicBezTo>
                      <a:pt x="17" y="78"/>
                      <a:pt x="17" y="78"/>
                      <a:pt x="17" y="78"/>
                    </a:cubicBezTo>
                    <a:cubicBezTo>
                      <a:pt x="19" y="79"/>
                      <a:pt x="19" y="79"/>
                      <a:pt x="19" y="79"/>
                    </a:cubicBezTo>
                    <a:cubicBezTo>
                      <a:pt x="19" y="79"/>
                      <a:pt x="20" y="83"/>
                      <a:pt x="22" y="83"/>
                    </a:cubicBezTo>
                    <a:cubicBezTo>
                      <a:pt x="23" y="84"/>
                      <a:pt x="24" y="84"/>
                      <a:pt x="24" y="84"/>
                    </a:cubicBezTo>
                    <a:cubicBezTo>
                      <a:pt x="28" y="86"/>
                      <a:pt x="28" y="86"/>
                      <a:pt x="28" y="86"/>
                    </a:cubicBezTo>
                    <a:cubicBezTo>
                      <a:pt x="30" y="86"/>
                      <a:pt x="30" y="86"/>
                      <a:pt x="30" y="86"/>
                    </a:cubicBezTo>
                    <a:cubicBezTo>
                      <a:pt x="30" y="86"/>
                      <a:pt x="33" y="85"/>
                      <a:pt x="33" y="86"/>
                    </a:cubicBezTo>
                    <a:cubicBezTo>
                      <a:pt x="33" y="87"/>
                      <a:pt x="35" y="88"/>
                      <a:pt x="34" y="89"/>
                    </a:cubicBezTo>
                    <a:cubicBezTo>
                      <a:pt x="34" y="89"/>
                      <a:pt x="34" y="90"/>
                      <a:pt x="34" y="91"/>
                    </a:cubicBezTo>
                    <a:cubicBezTo>
                      <a:pt x="34" y="92"/>
                      <a:pt x="34" y="93"/>
                      <a:pt x="34" y="93"/>
                    </a:cubicBezTo>
                    <a:cubicBezTo>
                      <a:pt x="31" y="96"/>
                      <a:pt x="31" y="96"/>
                      <a:pt x="31" y="96"/>
                    </a:cubicBezTo>
                    <a:cubicBezTo>
                      <a:pt x="31" y="98"/>
                      <a:pt x="31" y="98"/>
                      <a:pt x="31" y="98"/>
                    </a:cubicBezTo>
                    <a:cubicBezTo>
                      <a:pt x="31" y="98"/>
                      <a:pt x="31" y="100"/>
                      <a:pt x="30" y="100"/>
                    </a:cubicBezTo>
                    <a:cubicBezTo>
                      <a:pt x="30" y="101"/>
                      <a:pt x="29" y="104"/>
                      <a:pt x="29" y="104"/>
                    </a:cubicBezTo>
                    <a:cubicBezTo>
                      <a:pt x="32" y="102"/>
                      <a:pt x="32" y="102"/>
                      <a:pt x="32" y="102"/>
                    </a:cubicBezTo>
                    <a:cubicBezTo>
                      <a:pt x="32" y="102"/>
                      <a:pt x="33" y="102"/>
                      <a:pt x="33" y="103"/>
                    </a:cubicBezTo>
                    <a:cubicBezTo>
                      <a:pt x="32" y="105"/>
                      <a:pt x="31" y="106"/>
                      <a:pt x="31" y="106"/>
                    </a:cubicBezTo>
                    <a:cubicBezTo>
                      <a:pt x="31" y="106"/>
                      <a:pt x="32" y="109"/>
                      <a:pt x="33" y="108"/>
                    </a:cubicBezTo>
                    <a:cubicBezTo>
                      <a:pt x="35" y="107"/>
                      <a:pt x="35" y="107"/>
                      <a:pt x="35" y="107"/>
                    </a:cubicBezTo>
                    <a:cubicBezTo>
                      <a:pt x="37" y="106"/>
                      <a:pt x="37" y="106"/>
                      <a:pt x="37" y="106"/>
                    </a:cubicBezTo>
                    <a:cubicBezTo>
                      <a:pt x="40" y="105"/>
                      <a:pt x="40" y="105"/>
                      <a:pt x="40" y="105"/>
                    </a:cubicBezTo>
                    <a:cubicBezTo>
                      <a:pt x="40" y="105"/>
                      <a:pt x="40" y="105"/>
                      <a:pt x="41" y="104"/>
                    </a:cubicBezTo>
                    <a:cubicBezTo>
                      <a:pt x="43" y="104"/>
                      <a:pt x="46" y="104"/>
                      <a:pt x="46" y="104"/>
                    </a:cubicBezTo>
                    <a:cubicBezTo>
                      <a:pt x="46" y="104"/>
                      <a:pt x="47" y="107"/>
                      <a:pt x="46" y="107"/>
                    </a:cubicBezTo>
                    <a:cubicBezTo>
                      <a:pt x="45" y="107"/>
                      <a:pt x="41" y="106"/>
                      <a:pt x="41" y="106"/>
                    </a:cubicBezTo>
                    <a:cubicBezTo>
                      <a:pt x="39" y="107"/>
                      <a:pt x="39" y="107"/>
                      <a:pt x="39" y="107"/>
                    </a:cubicBezTo>
                    <a:cubicBezTo>
                      <a:pt x="37" y="108"/>
                      <a:pt x="37" y="108"/>
                      <a:pt x="37" y="108"/>
                    </a:cubicBezTo>
                    <a:cubicBezTo>
                      <a:pt x="35" y="110"/>
                      <a:pt x="35" y="110"/>
                      <a:pt x="35" y="110"/>
                    </a:cubicBezTo>
                    <a:cubicBezTo>
                      <a:pt x="35" y="110"/>
                      <a:pt x="33" y="113"/>
                      <a:pt x="34" y="113"/>
                    </a:cubicBezTo>
                    <a:cubicBezTo>
                      <a:pt x="35" y="114"/>
                      <a:pt x="32" y="115"/>
                      <a:pt x="32" y="115"/>
                    </a:cubicBezTo>
                    <a:cubicBezTo>
                      <a:pt x="31" y="115"/>
                      <a:pt x="31" y="115"/>
                      <a:pt x="31" y="115"/>
                    </a:cubicBezTo>
                    <a:cubicBezTo>
                      <a:pt x="31" y="116"/>
                      <a:pt x="31" y="116"/>
                      <a:pt x="31" y="116"/>
                    </a:cubicBezTo>
                    <a:cubicBezTo>
                      <a:pt x="31" y="116"/>
                      <a:pt x="31" y="116"/>
                      <a:pt x="32" y="117"/>
                    </a:cubicBezTo>
                    <a:cubicBezTo>
                      <a:pt x="33" y="117"/>
                      <a:pt x="36" y="117"/>
                      <a:pt x="36" y="117"/>
                    </a:cubicBezTo>
                    <a:cubicBezTo>
                      <a:pt x="36" y="117"/>
                      <a:pt x="38" y="116"/>
                      <a:pt x="37" y="117"/>
                    </a:cubicBezTo>
                    <a:cubicBezTo>
                      <a:pt x="37" y="118"/>
                      <a:pt x="36" y="121"/>
                      <a:pt x="36" y="121"/>
                    </a:cubicBezTo>
                    <a:cubicBezTo>
                      <a:pt x="36" y="121"/>
                      <a:pt x="35" y="122"/>
                      <a:pt x="32" y="122"/>
                    </a:cubicBezTo>
                    <a:cubicBezTo>
                      <a:pt x="30" y="123"/>
                      <a:pt x="27" y="124"/>
                      <a:pt x="27" y="124"/>
                    </a:cubicBezTo>
                    <a:cubicBezTo>
                      <a:pt x="25" y="127"/>
                      <a:pt x="25" y="127"/>
                      <a:pt x="25" y="127"/>
                    </a:cubicBezTo>
                    <a:cubicBezTo>
                      <a:pt x="25" y="127"/>
                      <a:pt x="26" y="128"/>
                      <a:pt x="23" y="128"/>
                    </a:cubicBezTo>
                    <a:cubicBezTo>
                      <a:pt x="21" y="128"/>
                      <a:pt x="19" y="128"/>
                      <a:pt x="19" y="128"/>
                    </a:cubicBezTo>
                    <a:cubicBezTo>
                      <a:pt x="17" y="128"/>
                      <a:pt x="17" y="128"/>
                      <a:pt x="17" y="128"/>
                    </a:cubicBezTo>
                    <a:cubicBezTo>
                      <a:pt x="17" y="128"/>
                      <a:pt x="15" y="129"/>
                      <a:pt x="15" y="129"/>
                    </a:cubicBezTo>
                    <a:cubicBezTo>
                      <a:pt x="14" y="128"/>
                      <a:pt x="13" y="127"/>
                      <a:pt x="13" y="127"/>
                    </a:cubicBezTo>
                    <a:cubicBezTo>
                      <a:pt x="14" y="123"/>
                      <a:pt x="14" y="123"/>
                      <a:pt x="14" y="123"/>
                    </a:cubicBezTo>
                    <a:cubicBezTo>
                      <a:pt x="13" y="122"/>
                      <a:pt x="13" y="122"/>
                      <a:pt x="13" y="122"/>
                    </a:cubicBezTo>
                    <a:cubicBezTo>
                      <a:pt x="13" y="119"/>
                      <a:pt x="13" y="119"/>
                      <a:pt x="13" y="119"/>
                    </a:cubicBezTo>
                    <a:cubicBezTo>
                      <a:pt x="13" y="119"/>
                      <a:pt x="10" y="121"/>
                      <a:pt x="10" y="122"/>
                    </a:cubicBezTo>
                    <a:cubicBezTo>
                      <a:pt x="9" y="122"/>
                      <a:pt x="9" y="124"/>
                      <a:pt x="9" y="124"/>
                    </a:cubicBezTo>
                    <a:cubicBezTo>
                      <a:pt x="7" y="127"/>
                      <a:pt x="7" y="127"/>
                      <a:pt x="7" y="127"/>
                    </a:cubicBezTo>
                    <a:cubicBezTo>
                      <a:pt x="6" y="127"/>
                      <a:pt x="6" y="127"/>
                      <a:pt x="6" y="127"/>
                    </a:cubicBezTo>
                    <a:cubicBezTo>
                      <a:pt x="6" y="131"/>
                      <a:pt x="6" y="131"/>
                      <a:pt x="6" y="131"/>
                    </a:cubicBezTo>
                    <a:cubicBezTo>
                      <a:pt x="5" y="133"/>
                      <a:pt x="5" y="133"/>
                      <a:pt x="5" y="133"/>
                    </a:cubicBezTo>
                    <a:cubicBezTo>
                      <a:pt x="5" y="133"/>
                      <a:pt x="4" y="133"/>
                      <a:pt x="5" y="134"/>
                    </a:cubicBezTo>
                    <a:cubicBezTo>
                      <a:pt x="6" y="134"/>
                      <a:pt x="10" y="136"/>
                      <a:pt x="10" y="136"/>
                    </a:cubicBezTo>
                    <a:cubicBezTo>
                      <a:pt x="10" y="136"/>
                      <a:pt x="11" y="135"/>
                      <a:pt x="13" y="137"/>
                    </a:cubicBezTo>
                    <a:cubicBezTo>
                      <a:pt x="14" y="138"/>
                      <a:pt x="16" y="139"/>
                      <a:pt x="16" y="139"/>
                    </a:cubicBezTo>
                    <a:cubicBezTo>
                      <a:pt x="17" y="139"/>
                      <a:pt x="17" y="139"/>
                      <a:pt x="17" y="139"/>
                    </a:cubicBezTo>
                    <a:cubicBezTo>
                      <a:pt x="20" y="138"/>
                      <a:pt x="20" y="138"/>
                      <a:pt x="20" y="138"/>
                    </a:cubicBezTo>
                    <a:cubicBezTo>
                      <a:pt x="22" y="140"/>
                      <a:pt x="22" y="140"/>
                      <a:pt x="22" y="140"/>
                    </a:cubicBezTo>
                    <a:cubicBezTo>
                      <a:pt x="27" y="141"/>
                      <a:pt x="27" y="141"/>
                      <a:pt x="27" y="141"/>
                    </a:cubicBezTo>
                    <a:cubicBezTo>
                      <a:pt x="27" y="141"/>
                      <a:pt x="28" y="143"/>
                      <a:pt x="28" y="144"/>
                    </a:cubicBezTo>
                    <a:cubicBezTo>
                      <a:pt x="29" y="144"/>
                      <a:pt x="31" y="147"/>
                      <a:pt x="31" y="147"/>
                    </a:cubicBezTo>
                    <a:cubicBezTo>
                      <a:pt x="31" y="147"/>
                      <a:pt x="31" y="145"/>
                      <a:pt x="33" y="146"/>
                    </a:cubicBezTo>
                    <a:cubicBezTo>
                      <a:pt x="36" y="146"/>
                      <a:pt x="37" y="146"/>
                      <a:pt x="37" y="146"/>
                    </a:cubicBezTo>
                    <a:cubicBezTo>
                      <a:pt x="37" y="146"/>
                      <a:pt x="39" y="146"/>
                      <a:pt x="40" y="147"/>
                    </a:cubicBezTo>
                    <a:cubicBezTo>
                      <a:pt x="41" y="148"/>
                      <a:pt x="44" y="153"/>
                      <a:pt x="44" y="153"/>
                    </a:cubicBezTo>
                    <a:cubicBezTo>
                      <a:pt x="46" y="158"/>
                      <a:pt x="46" y="158"/>
                      <a:pt x="46" y="158"/>
                    </a:cubicBezTo>
                    <a:cubicBezTo>
                      <a:pt x="48" y="162"/>
                      <a:pt x="48" y="162"/>
                      <a:pt x="48" y="162"/>
                    </a:cubicBezTo>
                    <a:cubicBezTo>
                      <a:pt x="48" y="162"/>
                      <a:pt x="48" y="163"/>
                      <a:pt x="50" y="164"/>
                    </a:cubicBezTo>
                    <a:cubicBezTo>
                      <a:pt x="52" y="166"/>
                      <a:pt x="53" y="168"/>
                      <a:pt x="53" y="168"/>
                    </a:cubicBezTo>
                    <a:cubicBezTo>
                      <a:pt x="53" y="168"/>
                      <a:pt x="53" y="169"/>
                      <a:pt x="54" y="170"/>
                    </a:cubicBezTo>
                    <a:cubicBezTo>
                      <a:pt x="55" y="172"/>
                      <a:pt x="57" y="174"/>
                      <a:pt x="57" y="174"/>
                    </a:cubicBezTo>
                    <a:cubicBezTo>
                      <a:pt x="57" y="174"/>
                      <a:pt x="57" y="175"/>
                      <a:pt x="58" y="176"/>
                    </a:cubicBezTo>
                    <a:cubicBezTo>
                      <a:pt x="60" y="177"/>
                      <a:pt x="62" y="177"/>
                      <a:pt x="63" y="178"/>
                    </a:cubicBezTo>
                    <a:cubicBezTo>
                      <a:pt x="65" y="180"/>
                      <a:pt x="67" y="182"/>
                      <a:pt x="67" y="182"/>
                    </a:cubicBezTo>
                    <a:cubicBezTo>
                      <a:pt x="67" y="182"/>
                      <a:pt x="72" y="187"/>
                      <a:pt x="74" y="189"/>
                    </a:cubicBezTo>
                    <a:cubicBezTo>
                      <a:pt x="76" y="191"/>
                      <a:pt x="78" y="193"/>
                      <a:pt x="79" y="193"/>
                    </a:cubicBezTo>
                    <a:cubicBezTo>
                      <a:pt x="80" y="194"/>
                      <a:pt x="85" y="195"/>
                      <a:pt x="85" y="195"/>
                    </a:cubicBezTo>
                    <a:cubicBezTo>
                      <a:pt x="85" y="195"/>
                      <a:pt x="88" y="198"/>
                      <a:pt x="89" y="197"/>
                    </a:cubicBezTo>
                    <a:cubicBezTo>
                      <a:pt x="91" y="197"/>
                      <a:pt x="87" y="196"/>
                      <a:pt x="93" y="196"/>
                    </a:cubicBezTo>
                    <a:cubicBezTo>
                      <a:pt x="99" y="196"/>
                      <a:pt x="103" y="198"/>
                      <a:pt x="103" y="198"/>
                    </a:cubicBezTo>
                    <a:cubicBezTo>
                      <a:pt x="107" y="195"/>
                      <a:pt x="107" y="195"/>
                      <a:pt x="107" y="195"/>
                    </a:cubicBezTo>
                    <a:cubicBezTo>
                      <a:pt x="107" y="195"/>
                      <a:pt x="106" y="197"/>
                      <a:pt x="107" y="194"/>
                    </a:cubicBezTo>
                    <a:cubicBezTo>
                      <a:pt x="108" y="192"/>
                      <a:pt x="109" y="190"/>
                      <a:pt x="109" y="190"/>
                    </a:cubicBezTo>
                    <a:cubicBezTo>
                      <a:pt x="109" y="190"/>
                      <a:pt x="108" y="188"/>
                      <a:pt x="111" y="188"/>
                    </a:cubicBezTo>
                    <a:cubicBezTo>
                      <a:pt x="113" y="188"/>
                      <a:pt x="119" y="187"/>
                      <a:pt x="120" y="187"/>
                    </a:cubicBezTo>
                    <a:cubicBezTo>
                      <a:pt x="121" y="187"/>
                      <a:pt x="121" y="188"/>
                      <a:pt x="122" y="187"/>
                    </a:cubicBezTo>
                    <a:cubicBezTo>
                      <a:pt x="122" y="186"/>
                      <a:pt x="131" y="189"/>
                      <a:pt x="131" y="189"/>
                    </a:cubicBezTo>
                    <a:cubicBezTo>
                      <a:pt x="132" y="187"/>
                      <a:pt x="132" y="187"/>
                      <a:pt x="132" y="187"/>
                    </a:cubicBezTo>
                    <a:cubicBezTo>
                      <a:pt x="134" y="186"/>
                      <a:pt x="134" y="186"/>
                      <a:pt x="134" y="186"/>
                    </a:cubicBezTo>
                    <a:cubicBezTo>
                      <a:pt x="136" y="190"/>
                      <a:pt x="136" y="190"/>
                      <a:pt x="136" y="190"/>
                    </a:cubicBezTo>
                    <a:cubicBezTo>
                      <a:pt x="140" y="190"/>
                      <a:pt x="140" y="190"/>
                      <a:pt x="140" y="190"/>
                    </a:cubicBezTo>
                    <a:cubicBezTo>
                      <a:pt x="140" y="190"/>
                      <a:pt x="143" y="189"/>
                      <a:pt x="145" y="189"/>
                    </a:cubicBezTo>
                    <a:cubicBezTo>
                      <a:pt x="146" y="189"/>
                      <a:pt x="150" y="187"/>
                      <a:pt x="150" y="187"/>
                    </a:cubicBezTo>
                    <a:cubicBezTo>
                      <a:pt x="150" y="187"/>
                      <a:pt x="151" y="185"/>
                      <a:pt x="152" y="185"/>
                    </a:cubicBezTo>
                    <a:cubicBezTo>
                      <a:pt x="153" y="184"/>
                      <a:pt x="156" y="184"/>
                      <a:pt x="157" y="184"/>
                    </a:cubicBezTo>
                    <a:cubicBezTo>
                      <a:pt x="159" y="184"/>
                      <a:pt x="162" y="183"/>
                      <a:pt x="162" y="183"/>
                    </a:cubicBezTo>
                    <a:cubicBezTo>
                      <a:pt x="164" y="181"/>
                      <a:pt x="164" y="181"/>
                      <a:pt x="164" y="181"/>
                    </a:cubicBezTo>
                    <a:cubicBezTo>
                      <a:pt x="164" y="181"/>
                      <a:pt x="165" y="180"/>
                      <a:pt x="167" y="180"/>
                    </a:cubicBezTo>
                    <a:cubicBezTo>
                      <a:pt x="168" y="181"/>
                      <a:pt x="172" y="181"/>
                      <a:pt x="172" y="181"/>
                    </a:cubicBezTo>
                    <a:cubicBezTo>
                      <a:pt x="175" y="179"/>
                      <a:pt x="175" y="179"/>
                      <a:pt x="175" y="179"/>
                    </a:cubicBezTo>
                    <a:cubicBezTo>
                      <a:pt x="178" y="178"/>
                      <a:pt x="178" y="178"/>
                      <a:pt x="178" y="178"/>
                    </a:cubicBezTo>
                    <a:cubicBezTo>
                      <a:pt x="178" y="178"/>
                      <a:pt x="178" y="177"/>
                      <a:pt x="179" y="178"/>
                    </a:cubicBezTo>
                    <a:cubicBezTo>
                      <a:pt x="180" y="179"/>
                      <a:pt x="182" y="181"/>
                      <a:pt x="182" y="181"/>
                    </a:cubicBezTo>
                    <a:cubicBezTo>
                      <a:pt x="186" y="182"/>
                      <a:pt x="186" y="182"/>
                      <a:pt x="186" y="182"/>
                    </a:cubicBezTo>
                    <a:cubicBezTo>
                      <a:pt x="189" y="181"/>
                      <a:pt x="189" y="181"/>
                      <a:pt x="189" y="181"/>
                    </a:cubicBezTo>
                    <a:cubicBezTo>
                      <a:pt x="191" y="179"/>
                      <a:pt x="191" y="179"/>
                      <a:pt x="191" y="179"/>
                    </a:cubicBezTo>
                    <a:cubicBezTo>
                      <a:pt x="191" y="179"/>
                      <a:pt x="191" y="178"/>
                      <a:pt x="194" y="178"/>
                    </a:cubicBezTo>
                    <a:cubicBezTo>
                      <a:pt x="197" y="178"/>
                      <a:pt x="198" y="178"/>
                      <a:pt x="198" y="178"/>
                    </a:cubicBezTo>
                    <a:cubicBezTo>
                      <a:pt x="198" y="178"/>
                      <a:pt x="201" y="178"/>
                      <a:pt x="201" y="177"/>
                    </a:cubicBezTo>
                    <a:cubicBezTo>
                      <a:pt x="201" y="176"/>
                      <a:pt x="201" y="174"/>
                      <a:pt x="202" y="173"/>
                    </a:cubicBezTo>
                    <a:cubicBezTo>
                      <a:pt x="202" y="172"/>
                      <a:pt x="206" y="168"/>
                      <a:pt x="206" y="168"/>
                    </a:cubicBezTo>
                    <a:cubicBezTo>
                      <a:pt x="208" y="167"/>
                      <a:pt x="208" y="167"/>
                      <a:pt x="208" y="167"/>
                    </a:cubicBezTo>
                    <a:cubicBezTo>
                      <a:pt x="207" y="164"/>
                      <a:pt x="207" y="164"/>
                      <a:pt x="207" y="164"/>
                    </a:cubicBezTo>
                    <a:cubicBezTo>
                      <a:pt x="208" y="162"/>
                      <a:pt x="208" y="162"/>
                      <a:pt x="208" y="162"/>
                    </a:cubicBezTo>
                    <a:cubicBezTo>
                      <a:pt x="208" y="162"/>
                      <a:pt x="211" y="161"/>
                      <a:pt x="210" y="163"/>
                    </a:cubicBezTo>
                    <a:cubicBezTo>
                      <a:pt x="209" y="165"/>
                      <a:pt x="210" y="166"/>
                      <a:pt x="210" y="166"/>
                    </a:cubicBezTo>
                    <a:cubicBezTo>
                      <a:pt x="210" y="166"/>
                      <a:pt x="211" y="165"/>
                      <a:pt x="212" y="165"/>
                    </a:cubicBezTo>
                    <a:cubicBezTo>
                      <a:pt x="214" y="165"/>
                      <a:pt x="214" y="164"/>
                      <a:pt x="215" y="164"/>
                    </a:cubicBezTo>
                    <a:cubicBezTo>
                      <a:pt x="217" y="165"/>
                      <a:pt x="218" y="164"/>
                      <a:pt x="218" y="164"/>
                    </a:cubicBezTo>
                    <a:cubicBezTo>
                      <a:pt x="218" y="164"/>
                      <a:pt x="217" y="162"/>
                      <a:pt x="218" y="162"/>
                    </a:cubicBezTo>
                    <a:cubicBezTo>
                      <a:pt x="219" y="163"/>
                      <a:pt x="221" y="163"/>
                      <a:pt x="221" y="163"/>
                    </a:cubicBezTo>
                    <a:cubicBezTo>
                      <a:pt x="221" y="163"/>
                      <a:pt x="222" y="163"/>
                      <a:pt x="222" y="162"/>
                    </a:cubicBezTo>
                    <a:cubicBezTo>
                      <a:pt x="222" y="162"/>
                      <a:pt x="219" y="160"/>
                      <a:pt x="220" y="160"/>
                    </a:cubicBezTo>
                    <a:cubicBezTo>
                      <a:pt x="221" y="161"/>
                      <a:pt x="223" y="160"/>
                      <a:pt x="223" y="160"/>
                    </a:cubicBezTo>
                    <a:cubicBezTo>
                      <a:pt x="223" y="160"/>
                      <a:pt x="226" y="161"/>
                      <a:pt x="223" y="159"/>
                    </a:cubicBezTo>
                    <a:cubicBezTo>
                      <a:pt x="221" y="156"/>
                      <a:pt x="224" y="156"/>
                      <a:pt x="224" y="156"/>
                    </a:cubicBezTo>
                    <a:cubicBezTo>
                      <a:pt x="224" y="156"/>
                      <a:pt x="227" y="157"/>
                      <a:pt x="226" y="157"/>
                    </a:cubicBezTo>
                    <a:cubicBezTo>
                      <a:pt x="225" y="156"/>
                      <a:pt x="221" y="151"/>
                      <a:pt x="221" y="151"/>
                    </a:cubicBezTo>
                    <a:cubicBezTo>
                      <a:pt x="221" y="150"/>
                      <a:pt x="221" y="150"/>
                      <a:pt x="221" y="150"/>
                    </a:cubicBezTo>
                    <a:cubicBezTo>
                      <a:pt x="221" y="148"/>
                      <a:pt x="221" y="148"/>
                      <a:pt x="221" y="148"/>
                    </a:cubicBezTo>
                    <a:cubicBezTo>
                      <a:pt x="221" y="148"/>
                      <a:pt x="223" y="149"/>
                      <a:pt x="224" y="150"/>
                    </a:cubicBezTo>
                    <a:cubicBezTo>
                      <a:pt x="224" y="150"/>
                      <a:pt x="224" y="150"/>
                      <a:pt x="225" y="151"/>
                    </a:cubicBezTo>
                    <a:cubicBezTo>
                      <a:pt x="227" y="152"/>
                      <a:pt x="226" y="154"/>
                      <a:pt x="227" y="154"/>
                    </a:cubicBezTo>
                    <a:cubicBezTo>
                      <a:pt x="228" y="155"/>
                      <a:pt x="231" y="154"/>
                      <a:pt x="231" y="154"/>
                    </a:cubicBezTo>
                    <a:cubicBezTo>
                      <a:pt x="233" y="151"/>
                      <a:pt x="233" y="151"/>
                      <a:pt x="233" y="151"/>
                    </a:cubicBezTo>
                    <a:cubicBezTo>
                      <a:pt x="233" y="151"/>
                      <a:pt x="237" y="147"/>
                      <a:pt x="236" y="147"/>
                    </a:cubicBezTo>
                    <a:cubicBezTo>
                      <a:pt x="235" y="146"/>
                      <a:pt x="230" y="148"/>
                      <a:pt x="230" y="148"/>
                    </a:cubicBezTo>
                    <a:cubicBezTo>
                      <a:pt x="232" y="144"/>
                      <a:pt x="232" y="144"/>
                      <a:pt x="232" y="144"/>
                    </a:cubicBezTo>
                    <a:cubicBezTo>
                      <a:pt x="229" y="143"/>
                      <a:pt x="229" y="143"/>
                      <a:pt x="229" y="143"/>
                    </a:cubicBezTo>
                    <a:cubicBezTo>
                      <a:pt x="228" y="142"/>
                      <a:pt x="228" y="142"/>
                      <a:pt x="228" y="142"/>
                    </a:cubicBezTo>
                    <a:cubicBezTo>
                      <a:pt x="228" y="142"/>
                      <a:pt x="231" y="142"/>
                      <a:pt x="231" y="142"/>
                    </a:cubicBezTo>
                    <a:cubicBezTo>
                      <a:pt x="232" y="142"/>
                      <a:pt x="234" y="141"/>
                      <a:pt x="234" y="141"/>
                    </a:cubicBezTo>
                    <a:cubicBezTo>
                      <a:pt x="234" y="139"/>
                      <a:pt x="234" y="139"/>
                      <a:pt x="234" y="139"/>
                    </a:cubicBezTo>
                    <a:cubicBezTo>
                      <a:pt x="231" y="137"/>
                      <a:pt x="231" y="137"/>
                      <a:pt x="231" y="137"/>
                    </a:cubicBezTo>
                    <a:cubicBezTo>
                      <a:pt x="232" y="136"/>
                      <a:pt x="232" y="136"/>
                      <a:pt x="232" y="136"/>
                    </a:cubicBezTo>
                    <a:cubicBezTo>
                      <a:pt x="233" y="134"/>
                      <a:pt x="233" y="134"/>
                      <a:pt x="233" y="134"/>
                    </a:cubicBezTo>
                    <a:cubicBezTo>
                      <a:pt x="235" y="133"/>
                      <a:pt x="235" y="133"/>
                      <a:pt x="235" y="133"/>
                    </a:cubicBezTo>
                    <a:cubicBezTo>
                      <a:pt x="238" y="127"/>
                      <a:pt x="238" y="127"/>
                      <a:pt x="238" y="127"/>
                    </a:cubicBezTo>
                    <a:cubicBezTo>
                      <a:pt x="237" y="125"/>
                      <a:pt x="237" y="125"/>
                      <a:pt x="237" y="125"/>
                    </a:cubicBezTo>
                    <a:cubicBezTo>
                      <a:pt x="235" y="125"/>
                      <a:pt x="235" y="125"/>
                      <a:pt x="235" y="125"/>
                    </a:cubicBezTo>
                    <a:cubicBezTo>
                      <a:pt x="235" y="121"/>
                      <a:pt x="235" y="121"/>
                      <a:pt x="235" y="121"/>
                    </a:cubicBezTo>
                    <a:cubicBezTo>
                      <a:pt x="231" y="119"/>
                      <a:pt x="231" y="119"/>
                      <a:pt x="231" y="119"/>
                    </a:cubicBezTo>
                    <a:cubicBezTo>
                      <a:pt x="231" y="119"/>
                      <a:pt x="228" y="117"/>
                      <a:pt x="228" y="116"/>
                    </a:cubicBezTo>
                    <a:cubicBezTo>
                      <a:pt x="228" y="116"/>
                      <a:pt x="228" y="114"/>
                      <a:pt x="227" y="115"/>
                    </a:cubicBezTo>
                    <a:cubicBezTo>
                      <a:pt x="226" y="115"/>
                      <a:pt x="225" y="114"/>
                      <a:pt x="225" y="114"/>
                    </a:cubicBezTo>
                    <a:cubicBezTo>
                      <a:pt x="225" y="114"/>
                      <a:pt x="225" y="111"/>
                      <a:pt x="225" y="111"/>
                    </a:cubicBezTo>
                    <a:cubicBezTo>
                      <a:pt x="225" y="111"/>
                      <a:pt x="227" y="110"/>
                      <a:pt x="227" y="109"/>
                    </a:cubicBezTo>
                    <a:cubicBezTo>
                      <a:pt x="228" y="108"/>
                      <a:pt x="227" y="106"/>
                      <a:pt x="227" y="106"/>
                    </a:cubicBezTo>
                    <a:cubicBezTo>
                      <a:pt x="226" y="106"/>
                      <a:pt x="224" y="107"/>
                      <a:pt x="224" y="107"/>
                    </a:cubicBezTo>
                    <a:cubicBezTo>
                      <a:pt x="218" y="108"/>
                      <a:pt x="218" y="108"/>
                      <a:pt x="218" y="108"/>
                    </a:cubicBezTo>
                    <a:cubicBezTo>
                      <a:pt x="216" y="107"/>
                      <a:pt x="216" y="107"/>
                      <a:pt x="216" y="107"/>
                    </a:cubicBezTo>
                    <a:cubicBezTo>
                      <a:pt x="216" y="107"/>
                      <a:pt x="217" y="107"/>
                      <a:pt x="217" y="106"/>
                    </a:cubicBezTo>
                    <a:cubicBezTo>
                      <a:pt x="218" y="105"/>
                      <a:pt x="218" y="104"/>
                      <a:pt x="219" y="103"/>
                    </a:cubicBezTo>
                    <a:cubicBezTo>
                      <a:pt x="220" y="102"/>
                      <a:pt x="220" y="103"/>
                      <a:pt x="221" y="101"/>
                    </a:cubicBezTo>
                    <a:cubicBezTo>
                      <a:pt x="223" y="100"/>
                      <a:pt x="225" y="98"/>
                      <a:pt x="225" y="98"/>
                    </a:cubicBezTo>
                    <a:cubicBezTo>
                      <a:pt x="225" y="95"/>
                      <a:pt x="225" y="95"/>
                      <a:pt x="225" y="95"/>
                    </a:cubicBezTo>
                    <a:cubicBezTo>
                      <a:pt x="224" y="92"/>
                      <a:pt x="224" y="92"/>
                      <a:pt x="224" y="92"/>
                    </a:cubicBezTo>
                    <a:cubicBezTo>
                      <a:pt x="224" y="92"/>
                      <a:pt x="223" y="91"/>
                      <a:pt x="222" y="91"/>
                    </a:cubicBezTo>
                    <a:cubicBezTo>
                      <a:pt x="221" y="91"/>
                      <a:pt x="222" y="93"/>
                      <a:pt x="220" y="91"/>
                    </a:cubicBezTo>
                    <a:cubicBezTo>
                      <a:pt x="219" y="90"/>
                      <a:pt x="219" y="90"/>
                      <a:pt x="218" y="88"/>
                    </a:cubicBezTo>
                    <a:cubicBezTo>
                      <a:pt x="217" y="87"/>
                      <a:pt x="217" y="85"/>
                      <a:pt x="217" y="85"/>
                    </a:cubicBezTo>
                    <a:cubicBezTo>
                      <a:pt x="217" y="85"/>
                      <a:pt x="215" y="84"/>
                      <a:pt x="216" y="84"/>
                    </a:cubicBezTo>
                    <a:cubicBezTo>
                      <a:pt x="218" y="84"/>
                      <a:pt x="219" y="85"/>
                      <a:pt x="220" y="84"/>
                    </a:cubicBezTo>
                    <a:cubicBezTo>
                      <a:pt x="221" y="83"/>
                      <a:pt x="221" y="84"/>
                      <a:pt x="221" y="83"/>
                    </a:cubicBezTo>
                    <a:cubicBezTo>
                      <a:pt x="221" y="82"/>
                      <a:pt x="222" y="79"/>
                      <a:pt x="222" y="79"/>
                    </a:cubicBezTo>
                    <a:cubicBezTo>
                      <a:pt x="222" y="78"/>
                      <a:pt x="222" y="78"/>
                      <a:pt x="224" y="77"/>
                    </a:cubicBezTo>
                    <a:cubicBezTo>
                      <a:pt x="227" y="76"/>
                      <a:pt x="226" y="76"/>
                      <a:pt x="228" y="76"/>
                    </a:cubicBezTo>
                    <a:cubicBezTo>
                      <a:pt x="229" y="75"/>
                      <a:pt x="230" y="74"/>
                      <a:pt x="229" y="74"/>
                    </a:cubicBezTo>
                    <a:cubicBezTo>
                      <a:pt x="229" y="73"/>
                      <a:pt x="227" y="73"/>
                      <a:pt x="227" y="73"/>
                    </a:cubicBezTo>
                    <a:cubicBezTo>
                      <a:pt x="226" y="72"/>
                      <a:pt x="224" y="74"/>
                      <a:pt x="224" y="74"/>
                    </a:cubicBezTo>
                    <a:cubicBezTo>
                      <a:pt x="224" y="74"/>
                      <a:pt x="222" y="75"/>
                      <a:pt x="221" y="76"/>
                    </a:cubicBezTo>
                    <a:cubicBezTo>
                      <a:pt x="220" y="77"/>
                      <a:pt x="219" y="76"/>
                      <a:pt x="218" y="76"/>
                    </a:cubicBezTo>
                    <a:cubicBezTo>
                      <a:pt x="217" y="76"/>
                      <a:pt x="217" y="76"/>
                      <a:pt x="217" y="76"/>
                    </a:cubicBezTo>
                    <a:cubicBezTo>
                      <a:pt x="217" y="76"/>
                      <a:pt x="215" y="75"/>
                      <a:pt x="214" y="77"/>
                    </a:cubicBezTo>
                    <a:cubicBezTo>
                      <a:pt x="214" y="79"/>
                      <a:pt x="212" y="81"/>
                      <a:pt x="212" y="81"/>
                    </a:cubicBezTo>
                    <a:cubicBezTo>
                      <a:pt x="212" y="81"/>
                      <a:pt x="211" y="82"/>
                      <a:pt x="211" y="80"/>
                    </a:cubicBezTo>
                    <a:cubicBezTo>
                      <a:pt x="211" y="79"/>
                      <a:pt x="210" y="76"/>
                      <a:pt x="210" y="76"/>
                    </a:cubicBezTo>
                    <a:cubicBezTo>
                      <a:pt x="210" y="76"/>
                      <a:pt x="210" y="76"/>
                      <a:pt x="210" y="76"/>
                    </a:cubicBezTo>
                    <a:cubicBezTo>
                      <a:pt x="209" y="76"/>
                      <a:pt x="206" y="75"/>
                      <a:pt x="206" y="75"/>
                    </a:cubicBezTo>
                    <a:cubicBezTo>
                      <a:pt x="206" y="75"/>
                      <a:pt x="207" y="75"/>
                      <a:pt x="207" y="73"/>
                    </a:cubicBezTo>
                    <a:cubicBezTo>
                      <a:pt x="206" y="72"/>
                      <a:pt x="206" y="71"/>
                      <a:pt x="206" y="71"/>
                    </a:cubicBezTo>
                    <a:cubicBezTo>
                      <a:pt x="207" y="71"/>
                      <a:pt x="208" y="71"/>
                      <a:pt x="208" y="71"/>
                    </a:cubicBezTo>
                    <a:cubicBezTo>
                      <a:pt x="209" y="71"/>
                      <a:pt x="209" y="71"/>
                      <a:pt x="209" y="69"/>
                    </a:cubicBezTo>
                    <a:cubicBezTo>
                      <a:pt x="209" y="66"/>
                      <a:pt x="208" y="65"/>
                      <a:pt x="208" y="65"/>
                    </a:cubicBezTo>
                    <a:cubicBezTo>
                      <a:pt x="208" y="65"/>
                      <a:pt x="207" y="64"/>
                      <a:pt x="207" y="64"/>
                    </a:cubicBezTo>
                    <a:cubicBezTo>
                      <a:pt x="207" y="60"/>
                      <a:pt x="207" y="60"/>
                      <a:pt x="207" y="60"/>
                    </a:cubicBezTo>
                    <a:cubicBezTo>
                      <a:pt x="207" y="60"/>
                      <a:pt x="207" y="59"/>
                      <a:pt x="206" y="58"/>
                    </a:cubicBezTo>
                    <a:cubicBezTo>
                      <a:pt x="205" y="57"/>
                      <a:pt x="205" y="56"/>
                      <a:pt x="204" y="57"/>
                    </a:cubicBezTo>
                    <a:cubicBezTo>
                      <a:pt x="204" y="57"/>
                      <a:pt x="203" y="58"/>
                      <a:pt x="202" y="58"/>
                    </a:cubicBezTo>
                    <a:cubicBezTo>
                      <a:pt x="201" y="57"/>
                      <a:pt x="199" y="56"/>
                      <a:pt x="199" y="56"/>
                    </a:cubicBezTo>
                    <a:cubicBezTo>
                      <a:pt x="195" y="54"/>
                      <a:pt x="195" y="54"/>
                      <a:pt x="195" y="54"/>
                    </a:cubicBezTo>
                    <a:cubicBezTo>
                      <a:pt x="195" y="54"/>
                      <a:pt x="195" y="54"/>
                      <a:pt x="194" y="55"/>
                    </a:cubicBezTo>
                    <a:cubicBezTo>
                      <a:pt x="194" y="56"/>
                      <a:pt x="193" y="55"/>
                      <a:pt x="193" y="57"/>
                    </a:cubicBezTo>
                    <a:cubicBezTo>
                      <a:pt x="194" y="58"/>
                      <a:pt x="194" y="59"/>
                      <a:pt x="194" y="60"/>
                    </a:cubicBezTo>
                    <a:cubicBezTo>
                      <a:pt x="193" y="61"/>
                      <a:pt x="193" y="62"/>
                      <a:pt x="193" y="64"/>
                    </a:cubicBezTo>
                    <a:cubicBezTo>
                      <a:pt x="192" y="65"/>
                      <a:pt x="191" y="65"/>
                      <a:pt x="191" y="66"/>
                    </a:cubicBezTo>
                    <a:cubicBezTo>
                      <a:pt x="191" y="67"/>
                      <a:pt x="192" y="67"/>
                      <a:pt x="192" y="68"/>
                    </a:cubicBezTo>
                    <a:cubicBezTo>
                      <a:pt x="192" y="68"/>
                      <a:pt x="191" y="70"/>
                      <a:pt x="190" y="70"/>
                    </a:cubicBezTo>
                    <a:cubicBezTo>
                      <a:pt x="190" y="71"/>
                      <a:pt x="189" y="72"/>
                      <a:pt x="188" y="72"/>
                    </a:cubicBezTo>
                    <a:cubicBezTo>
                      <a:pt x="188" y="71"/>
                      <a:pt x="187" y="71"/>
                      <a:pt x="186" y="71"/>
                    </a:cubicBezTo>
                    <a:cubicBezTo>
                      <a:pt x="185" y="71"/>
                      <a:pt x="184" y="72"/>
                      <a:pt x="184" y="72"/>
                    </a:cubicBezTo>
                    <a:cubicBezTo>
                      <a:pt x="184" y="72"/>
                      <a:pt x="183" y="73"/>
                      <a:pt x="182" y="72"/>
                    </a:cubicBezTo>
                    <a:cubicBezTo>
                      <a:pt x="180" y="71"/>
                      <a:pt x="179" y="70"/>
                      <a:pt x="179" y="70"/>
                    </a:cubicBezTo>
                    <a:cubicBezTo>
                      <a:pt x="179" y="68"/>
                      <a:pt x="179" y="68"/>
                      <a:pt x="179" y="68"/>
                    </a:cubicBezTo>
                    <a:cubicBezTo>
                      <a:pt x="179" y="68"/>
                      <a:pt x="183" y="69"/>
                      <a:pt x="178" y="66"/>
                    </a:cubicBezTo>
                    <a:cubicBezTo>
                      <a:pt x="174" y="64"/>
                      <a:pt x="174" y="64"/>
                      <a:pt x="174" y="64"/>
                    </a:cubicBezTo>
                    <a:cubicBezTo>
                      <a:pt x="174" y="64"/>
                      <a:pt x="174" y="65"/>
                      <a:pt x="173" y="66"/>
                    </a:cubicBezTo>
                    <a:cubicBezTo>
                      <a:pt x="172" y="66"/>
                      <a:pt x="172" y="67"/>
                      <a:pt x="172" y="67"/>
                    </a:cubicBezTo>
                    <a:cubicBezTo>
                      <a:pt x="171" y="69"/>
                      <a:pt x="171" y="69"/>
                      <a:pt x="171" y="69"/>
                    </a:cubicBezTo>
                    <a:cubicBezTo>
                      <a:pt x="170" y="69"/>
                      <a:pt x="170" y="69"/>
                      <a:pt x="170" y="69"/>
                    </a:cubicBezTo>
                    <a:cubicBezTo>
                      <a:pt x="168" y="72"/>
                      <a:pt x="168" y="72"/>
                      <a:pt x="168" y="72"/>
                    </a:cubicBezTo>
                    <a:cubicBezTo>
                      <a:pt x="168" y="72"/>
                      <a:pt x="167" y="73"/>
                      <a:pt x="166" y="73"/>
                    </a:cubicBezTo>
                    <a:cubicBezTo>
                      <a:pt x="166" y="73"/>
                      <a:pt x="165" y="73"/>
                      <a:pt x="165" y="73"/>
                    </a:cubicBezTo>
                    <a:cubicBezTo>
                      <a:pt x="164" y="73"/>
                      <a:pt x="163" y="73"/>
                      <a:pt x="163" y="72"/>
                    </a:cubicBezTo>
                    <a:cubicBezTo>
                      <a:pt x="162" y="72"/>
                      <a:pt x="162" y="72"/>
                      <a:pt x="162" y="71"/>
                    </a:cubicBezTo>
                    <a:cubicBezTo>
                      <a:pt x="162" y="70"/>
                      <a:pt x="162" y="68"/>
                      <a:pt x="161" y="67"/>
                    </a:cubicBezTo>
                    <a:cubicBezTo>
                      <a:pt x="161" y="66"/>
                      <a:pt x="161" y="66"/>
                      <a:pt x="160" y="64"/>
                    </a:cubicBezTo>
                    <a:cubicBezTo>
                      <a:pt x="159" y="63"/>
                      <a:pt x="158" y="61"/>
                      <a:pt x="158" y="61"/>
                    </a:cubicBezTo>
                    <a:cubicBezTo>
                      <a:pt x="153" y="58"/>
                      <a:pt x="153" y="58"/>
                      <a:pt x="153" y="58"/>
                    </a:cubicBezTo>
                    <a:cubicBezTo>
                      <a:pt x="153" y="58"/>
                      <a:pt x="154" y="57"/>
                      <a:pt x="152" y="57"/>
                    </a:cubicBezTo>
                    <a:cubicBezTo>
                      <a:pt x="151" y="58"/>
                      <a:pt x="149" y="60"/>
                      <a:pt x="149" y="60"/>
                    </a:cubicBezTo>
                    <a:cubicBezTo>
                      <a:pt x="149" y="60"/>
                      <a:pt x="149" y="62"/>
                      <a:pt x="149" y="63"/>
                    </a:cubicBezTo>
                    <a:cubicBezTo>
                      <a:pt x="149" y="63"/>
                      <a:pt x="148" y="64"/>
                      <a:pt x="148" y="65"/>
                    </a:cubicBezTo>
                    <a:cubicBezTo>
                      <a:pt x="149" y="67"/>
                      <a:pt x="150" y="69"/>
                      <a:pt x="149" y="70"/>
                    </a:cubicBezTo>
                    <a:cubicBezTo>
                      <a:pt x="149" y="70"/>
                      <a:pt x="148" y="72"/>
                      <a:pt x="148" y="74"/>
                    </a:cubicBezTo>
                    <a:cubicBezTo>
                      <a:pt x="148" y="76"/>
                      <a:pt x="149" y="78"/>
                      <a:pt x="148" y="78"/>
                    </a:cubicBezTo>
                    <a:cubicBezTo>
                      <a:pt x="147" y="79"/>
                      <a:pt x="147" y="80"/>
                      <a:pt x="147" y="80"/>
                    </a:cubicBezTo>
                    <a:cubicBezTo>
                      <a:pt x="146" y="80"/>
                      <a:pt x="146" y="80"/>
                      <a:pt x="146" y="80"/>
                    </a:cubicBezTo>
                    <a:cubicBezTo>
                      <a:pt x="146" y="80"/>
                      <a:pt x="146" y="79"/>
                      <a:pt x="147" y="76"/>
                    </a:cubicBezTo>
                    <a:cubicBezTo>
                      <a:pt x="147" y="73"/>
                      <a:pt x="146" y="72"/>
                      <a:pt x="146" y="71"/>
                    </a:cubicBezTo>
                    <a:cubicBezTo>
                      <a:pt x="145" y="71"/>
                      <a:pt x="145" y="71"/>
                      <a:pt x="145" y="70"/>
                    </a:cubicBezTo>
                    <a:cubicBezTo>
                      <a:pt x="145" y="69"/>
                      <a:pt x="145" y="68"/>
                      <a:pt x="145" y="68"/>
                    </a:cubicBezTo>
                    <a:cubicBezTo>
                      <a:pt x="145" y="68"/>
                      <a:pt x="143" y="66"/>
                      <a:pt x="143" y="65"/>
                    </a:cubicBezTo>
                    <a:cubicBezTo>
                      <a:pt x="143" y="64"/>
                      <a:pt x="144" y="63"/>
                      <a:pt x="144" y="61"/>
                    </a:cubicBezTo>
                    <a:cubicBezTo>
                      <a:pt x="144" y="58"/>
                      <a:pt x="145" y="58"/>
                      <a:pt x="144" y="57"/>
                    </a:cubicBezTo>
                    <a:cubicBezTo>
                      <a:pt x="143" y="56"/>
                      <a:pt x="144" y="55"/>
                      <a:pt x="143" y="54"/>
                    </a:cubicBezTo>
                    <a:cubicBezTo>
                      <a:pt x="142" y="54"/>
                      <a:pt x="142" y="55"/>
                      <a:pt x="141" y="54"/>
                    </a:cubicBezTo>
                    <a:cubicBezTo>
                      <a:pt x="141" y="54"/>
                      <a:pt x="141" y="55"/>
                      <a:pt x="141" y="55"/>
                    </a:cubicBezTo>
                    <a:cubicBezTo>
                      <a:pt x="142" y="53"/>
                      <a:pt x="142" y="53"/>
                      <a:pt x="142" y="53"/>
                    </a:cubicBezTo>
                    <a:cubicBezTo>
                      <a:pt x="142" y="53"/>
                      <a:pt x="143" y="49"/>
                      <a:pt x="142" y="51"/>
                    </a:cubicBezTo>
                    <a:cubicBezTo>
                      <a:pt x="141" y="52"/>
                      <a:pt x="138" y="53"/>
                      <a:pt x="138" y="52"/>
                    </a:cubicBezTo>
                    <a:cubicBezTo>
                      <a:pt x="139" y="51"/>
                      <a:pt x="138" y="50"/>
                      <a:pt x="138" y="50"/>
                    </a:cubicBezTo>
                    <a:cubicBezTo>
                      <a:pt x="138" y="50"/>
                      <a:pt x="134" y="50"/>
                      <a:pt x="134" y="50"/>
                    </a:cubicBezTo>
                    <a:cubicBezTo>
                      <a:pt x="134" y="50"/>
                      <a:pt x="134" y="49"/>
                      <a:pt x="134" y="51"/>
                    </a:cubicBezTo>
                    <a:cubicBezTo>
                      <a:pt x="134" y="52"/>
                      <a:pt x="135" y="54"/>
                      <a:pt x="133" y="54"/>
                    </a:cubicBezTo>
                    <a:cubicBezTo>
                      <a:pt x="131" y="55"/>
                      <a:pt x="130" y="55"/>
                      <a:pt x="130" y="55"/>
                    </a:cubicBezTo>
                    <a:cubicBezTo>
                      <a:pt x="130" y="54"/>
                      <a:pt x="128" y="53"/>
                      <a:pt x="128" y="53"/>
                    </a:cubicBezTo>
                    <a:cubicBezTo>
                      <a:pt x="128" y="53"/>
                      <a:pt x="127" y="53"/>
                      <a:pt x="126" y="53"/>
                    </a:cubicBezTo>
                    <a:cubicBezTo>
                      <a:pt x="126" y="54"/>
                      <a:pt x="124" y="54"/>
                      <a:pt x="124" y="54"/>
                    </a:cubicBezTo>
                    <a:cubicBezTo>
                      <a:pt x="124" y="56"/>
                      <a:pt x="124" y="56"/>
                      <a:pt x="124" y="56"/>
                    </a:cubicBezTo>
                    <a:cubicBezTo>
                      <a:pt x="124" y="57"/>
                      <a:pt x="124" y="57"/>
                      <a:pt x="124" y="57"/>
                    </a:cubicBezTo>
                    <a:cubicBezTo>
                      <a:pt x="124" y="57"/>
                      <a:pt x="123" y="57"/>
                      <a:pt x="123" y="57"/>
                    </a:cubicBezTo>
                    <a:cubicBezTo>
                      <a:pt x="122" y="58"/>
                      <a:pt x="121" y="58"/>
                      <a:pt x="122" y="59"/>
                    </a:cubicBezTo>
                    <a:cubicBezTo>
                      <a:pt x="122" y="59"/>
                      <a:pt x="122" y="59"/>
                      <a:pt x="122" y="61"/>
                    </a:cubicBezTo>
                    <a:cubicBezTo>
                      <a:pt x="122" y="62"/>
                      <a:pt x="122" y="62"/>
                      <a:pt x="122" y="63"/>
                    </a:cubicBezTo>
                    <a:cubicBezTo>
                      <a:pt x="121" y="64"/>
                      <a:pt x="121" y="65"/>
                      <a:pt x="120" y="66"/>
                    </a:cubicBezTo>
                    <a:cubicBezTo>
                      <a:pt x="120" y="66"/>
                      <a:pt x="119" y="67"/>
                      <a:pt x="119" y="67"/>
                    </a:cubicBezTo>
                    <a:cubicBezTo>
                      <a:pt x="118" y="68"/>
                      <a:pt x="118" y="68"/>
                      <a:pt x="117" y="68"/>
                    </a:cubicBezTo>
                    <a:cubicBezTo>
                      <a:pt x="116" y="68"/>
                      <a:pt x="116" y="69"/>
                      <a:pt x="116" y="68"/>
                    </a:cubicBezTo>
                    <a:cubicBezTo>
                      <a:pt x="116" y="66"/>
                      <a:pt x="116" y="65"/>
                      <a:pt x="116" y="63"/>
                    </a:cubicBezTo>
                    <a:cubicBezTo>
                      <a:pt x="116" y="62"/>
                      <a:pt x="117" y="62"/>
                      <a:pt x="115" y="60"/>
                    </a:cubicBezTo>
                    <a:cubicBezTo>
                      <a:pt x="114" y="58"/>
                      <a:pt x="113" y="58"/>
                      <a:pt x="113" y="57"/>
                    </a:cubicBezTo>
                    <a:cubicBezTo>
                      <a:pt x="113" y="57"/>
                      <a:pt x="113" y="56"/>
                      <a:pt x="113" y="55"/>
                    </a:cubicBezTo>
                    <a:cubicBezTo>
                      <a:pt x="113" y="54"/>
                      <a:pt x="113" y="56"/>
                      <a:pt x="113" y="52"/>
                    </a:cubicBezTo>
                    <a:cubicBezTo>
                      <a:pt x="114" y="49"/>
                      <a:pt x="113" y="48"/>
                      <a:pt x="113" y="48"/>
                    </a:cubicBezTo>
                    <a:cubicBezTo>
                      <a:pt x="113" y="48"/>
                      <a:pt x="114" y="43"/>
                      <a:pt x="114" y="43"/>
                    </a:cubicBezTo>
                    <a:cubicBezTo>
                      <a:pt x="113" y="43"/>
                      <a:pt x="110" y="43"/>
                      <a:pt x="109" y="43"/>
                    </a:cubicBezTo>
                    <a:cubicBezTo>
                      <a:pt x="108" y="43"/>
                      <a:pt x="108" y="43"/>
                      <a:pt x="107" y="43"/>
                    </a:cubicBezTo>
                    <a:cubicBezTo>
                      <a:pt x="107" y="44"/>
                      <a:pt x="106" y="43"/>
                      <a:pt x="106" y="45"/>
                    </a:cubicBezTo>
                    <a:cubicBezTo>
                      <a:pt x="105" y="47"/>
                      <a:pt x="104" y="47"/>
                      <a:pt x="104" y="49"/>
                    </a:cubicBezTo>
                    <a:cubicBezTo>
                      <a:pt x="104" y="50"/>
                      <a:pt x="104" y="52"/>
                      <a:pt x="104" y="52"/>
                    </a:cubicBezTo>
                    <a:cubicBezTo>
                      <a:pt x="104" y="53"/>
                      <a:pt x="103" y="54"/>
                      <a:pt x="103" y="54"/>
                    </a:cubicBezTo>
                    <a:cubicBezTo>
                      <a:pt x="103" y="54"/>
                      <a:pt x="103" y="55"/>
                      <a:pt x="103" y="57"/>
                    </a:cubicBezTo>
                    <a:cubicBezTo>
                      <a:pt x="102" y="59"/>
                      <a:pt x="102" y="60"/>
                      <a:pt x="102" y="61"/>
                    </a:cubicBezTo>
                    <a:cubicBezTo>
                      <a:pt x="102" y="61"/>
                      <a:pt x="102" y="61"/>
                      <a:pt x="101" y="62"/>
                    </a:cubicBezTo>
                    <a:cubicBezTo>
                      <a:pt x="100" y="63"/>
                      <a:pt x="98" y="66"/>
                      <a:pt x="97" y="66"/>
                    </a:cubicBezTo>
                    <a:cubicBezTo>
                      <a:pt x="97" y="66"/>
                      <a:pt x="97" y="66"/>
                      <a:pt x="96" y="67"/>
                    </a:cubicBezTo>
                    <a:cubicBezTo>
                      <a:pt x="96" y="67"/>
                      <a:pt x="94" y="70"/>
                      <a:pt x="93" y="70"/>
                    </a:cubicBezTo>
                    <a:cubicBezTo>
                      <a:pt x="92" y="71"/>
                      <a:pt x="93" y="71"/>
                      <a:pt x="92" y="71"/>
                    </a:cubicBezTo>
                    <a:cubicBezTo>
                      <a:pt x="92" y="70"/>
                      <a:pt x="91" y="70"/>
                      <a:pt x="91" y="69"/>
                    </a:cubicBezTo>
                    <a:cubicBezTo>
                      <a:pt x="91" y="67"/>
                      <a:pt x="91" y="67"/>
                      <a:pt x="92" y="65"/>
                    </a:cubicBezTo>
                    <a:cubicBezTo>
                      <a:pt x="92" y="64"/>
                      <a:pt x="93" y="62"/>
                      <a:pt x="93" y="62"/>
                    </a:cubicBezTo>
                    <a:cubicBezTo>
                      <a:pt x="93" y="62"/>
                      <a:pt x="94" y="61"/>
                      <a:pt x="93" y="61"/>
                    </a:cubicBezTo>
                    <a:cubicBezTo>
                      <a:pt x="92" y="61"/>
                      <a:pt x="91" y="61"/>
                      <a:pt x="90" y="61"/>
                    </a:cubicBezTo>
                    <a:cubicBezTo>
                      <a:pt x="88" y="61"/>
                      <a:pt x="86" y="62"/>
                      <a:pt x="85" y="63"/>
                    </a:cubicBezTo>
                    <a:cubicBezTo>
                      <a:pt x="84" y="63"/>
                      <a:pt x="84" y="64"/>
                      <a:pt x="82" y="66"/>
                    </a:cubicBezTo>
                    <a:cubicBezTo>
                      <a:pt x="80" y="67"/>
                      <a:pt x="80" y="67"/>
                      <a:pt x="80" y="67"/>
                    </a:cubicBezTo>
                    <a:cubicBezTo>
                      <a:pt x="79" y="69"/>
                      <a:pt x="79" y="69"/>
                      <a:pt x="79" y="69"/>
                    </a:cubicBezTo>
                    <a:cubicBezTo>
                      <a:pt x="79" y="70"/>
                      <a:pt x="79" y="70"/>
                      <a:pt x="79" y="70"/>
                    </a:cubicBezTo>
                    <a:cubicBezTo>
                      <a:pt x="79" y="70"/>
                      <a:pt x="79" y="68"/>
                      <a:pt x="79" y="68"/>
                    </a:cubicBezTo>
                    <a:cubicBezTo>
                      <a:pt x="79" y="68"/>
                      <a:pt x="78" y="68"/>
                      <a:pt x="78" y="69"/>
                    </a:cubicBezTo>
                    <a:cubicBezTo>
                      <a:pt x="78" y="69"/>
                      <a:pt x="77" y="70"/>
                      <a:pt x="77" y="70"/>
                    </a:cubicBezTo>
                    <a:cubicBezTo>
                      <a:pt x="76" y="71"/>
                      <a:pt x="76" y="72"/>
                      <a:pt x="76" y="73"/>
                    </a:cubicBezTo>
                    <a:cubicBezTo>
                      <a:pt x="75" y="74"/>
                      <a:pt x="75" y="76"/>
                      <a:pt x="74" y="76"/>
                    </a:cubicBezTo>
                    <a:cubicBezTo>
                      <a:pt x="74" y="76"/>
                      <a:pt x="74" y="77"/>
                      <a:pt x="74" y="77"/>
                    </a:cubicBezTo>
                    <a:cubicBezTo>
                      <a:pt x="73" y="77"/>
                      <a:pt x="72" y="78"/>
                      <a:pt x="72" y="78"/>
                    </a:cubicBezTo>
                    <a:cubicBezTo>
                      <a:pt x="72" y="79"/>
                      <a:pt x="71" y="77"/>
                      <a:pt x="71" y="75"/>
                    </a:cubicBezTo>
                    <a:cubicBezTo>
                      <a:pt x="72" y="74"/>
                      <a:pt x="72" y="74"/>
                      <a:pt x="72" y="73"/>
                    </a:cubicBezTo>
                    <a:cubicBezTo>
                      <a:pt x="73" y="73"/>
                      <a:pt x="73" y="71"/>
                      <a:pt x="74" y="71"/>
                    </a:cubicBezTo>
                    <a:cubicBezTo>
                      <a:pt x="74" y="71"/>
                      <a:pt x="74" y="72"/>
                      <a:pt x="74" y="70"/>
                    </a:cubicBezTo>
                    <a:cubicBezTo>
                      <a:pt x="75" y="68"/>
                      <a:pt x="75" y="67"/>
                      <a:pt x="75" y="67"/>
                    </a:cubicBezTo>
                    <a:cubicBezTo>
                      <a:pt x="75" y="67"/>
                      <a:pt x="75" y="67"/>
                      <a:pt x="75" y="66"/>
                    </a:cubicBezTo>
                    <a:cubicBezTo>
                      <a:pt x="74" y="65"/>
                      <a:pt x="74" y="66"/>
                      <a:pt x="74" y="65"/>
                    </a:cubicBezTo>
                    <a:cubicBezTo>
                      <a:pt x="75" y="64"/>
                      <a:pt x="75" y="63"/>
                      <a:pt x="75" y="62"/>
                    </a:cubicBezTo>
                    <a:cubicBezTo>
                      <a:pt x="76" y="62"/>
                      <a:pt x="76" y="61"/>
                      <a:pt x="76" y="61"/>
                    </a:cubicBezTo>
                    <a:cubicBezTo>
                      <a:pt x="76" y="61"/>
                      <a:pt x="76" y="61"/>
                      <a:pt x="76" y="60"/>
                    </a:cubicBezTo>
                    <a:cubicBezTo>
                      <a:pt x="76" y="60"/>
                      <a:pt x="75" y="59"/>
                      <a:pt x="75" y="59"/>
                    </a:cubicBezTo>
                    <a:cubicBezTo>
                      <a:pt x="75" y="59"/>
                      <a:pt x="75" y="58"/>
                      <a:pt x="75" y="58"/>
                    </a:cubicBezTo>
                    <a:cubicBezTo>
                      <a:pt x="75" y="58"/>
                      <a:pt x="76" y="57"/>
                      <a:pt x="76" y="56"/>
                    </a:cubicBezTo>
                    <a:cubicBezTo>
                      <a:pt x="75" y="56"/>
                      <a:pt x="75" y="55"/>
                      <a:pt x="74" y="54"/>
                    </a:cubicBezTo>
                    <a:cubicBezTo>
                      <a:pt x="73" y="54"/>
                      <a:pt x="73" y="54"/>
                      <a:pt x="73" y="53"/>
                    </a:cubicBezTo>
                    <a:cubicBezTo>
                      <a:pt x="73" y="53"/>
                      <a:pt x="71" y="52"/>
                      <a:pt x="71" y="52"/>
                    </a:cubicBezTo>
                    <a:cubicBezTo>
                      <a:pt x="71" y="52"/>
                      <a:pt x="72" y="50"/>
                      <a:pt x="72" y="50"/>
                    </a:cubicBezTo>
                    <a:cubicBezTo>
                      <a:pt x="72" y="50"/>
                      <a:pt x="72" y="49"/>
                      <a:pt x="73" y="49"/>
                    </a:cubicBezTo>
                    <a:cubicBezTo>
                      <a:pt x="73" y="50"/>
                      <a:pt x="73" y="51"/>
                      <a:pt x="73" y="51"/>
                    </a:cubicBezTo>
                    <a:cubicBezTo>
                      <a:pt x="73" y="52"/>
                      <a:pt x="76" y="53"/>
                      <a:pt x="76" y="53"/>
                    </a:cubicBezTo>
                    <a:cubicBezTo>
                      <a:pt x="76" y="53"/>
                      <a:pt x="78" y="52"/>
                      <a:pt x="78" y="52"/>
                    </a:cubicBezTo>
                    <a:cubicBezTo>
                      <a:pt x="79" y="52"/>
                      <a:pt x="79" y="50"/>
                      <a:pt x="79" y="50"/>
                    </a:cubicBezTo>
                    <a:cubicBezTo>
                      <a:pt x="79" y="50"/>
                      <a:pt x="78" y="50"/>
                      <a:pt x="79" y="49"/>
                    </a:cubicBezTo>
                    <a:cubicBezTo>
                      <a:pt x="80" y="49"/>
                      <a:pt x="82" y="48"/>
                      <a:pt x="82" y="48"/>
                    </a:cubicBezTo>
                    <a:cubicBezTo>
                      <a:pt x="82" y="47"/>
                      <a:pt x="83" y="47"/>
                      <a:pt x="83" y="47"/>
                    </a:cubicBezTo>
                    <a:cubicBezTo>
                      <a:pt x="83" y="47"/>
                      <a:pt x="84" y="46"/>
                      <a:pt x="84" y="46"/>
                    </a:cubicBezTo>
                    <a:cubicBezTo>
                      <a:pt x="84" y="45"/>
                      <a:pt x="85" y="45"/>
                      <a:pt x="84" y="44"/>
                    </a:cubicBezTo>
                    <a:cubicBezTo>
                      <a:pt x="84" y="44"/>
                      <a:pt x="84" y="43"/>
                      <a:pt x="84" y="42"/>
                    </a:cubicBezTo>
                    <a:cubicBezTo>
                      <a:pt x="84" y="42"/>
                      <a:pt x="86" y="43"/>
                      <a:pt x="84" y="41"/>
                    </a:cubicBezTo>
                    <a:cubicBezTo>
                      <a:pt x="82" y="40"/>
                      <a:pt x="80" y="39"/>
                      <a:pt x="81" y="39"/>
                    </a:cubicBezTo>
                    <a:cubicBezTo>
                      <a:pt x="82" y="39"/>
                      <a:pt x="83" y="39"/>
                      <a:pt x="83" y="39"/>
                    </a:cubicBezTo>
                    <a:cubicBezTo>
                      <a:pt x="84" y="39"/>
                      <a:pt x="85" y="40"/>
                      <a:pt x="85" y="39"/>
                    </a:cubicBezTo>
                    <a:cubicBezTo>
                      <a:pt x="86" y="39"/>
                      <a:pt x="86" y="39"/>
                      <a:pt x="86" y="38"/>
                    </a:cubicBezTo>
                    <a:cubicBezTo>
                      <a:pt x="85" y="37"/>
                      <a:pt x="85" y="37"/>
                      <a:pt x="85" y="37"/>
                    </a:cubicBezTo>
                    <a:cubicBezTo>
                      <a:pt x="84" y="36"/>
                      <a:pt x="84" y="36"/>
                      <a:pt x="83" y="36"/>
                    </a:cubicBezTo>
                    <a:cubicBezTo>
                      <a:pt x="83" y="36"/>
                      <a:pt x="82" y="37"/>
                      <a:pt x="83" y="35"/>
                    </a:cubicBezTo>
                    <a:cubicBezTo>
                      <a:pt x="83" y="33"/>
                      <a:pt x="83" y="33"/>
                      <a:pt x="83" y="32"/>
                    </a:cubicBezTo>
                    <a:cubicBezTo>
                      <a:pt x="83" y="32"/>
                      <a:pt x="85" y="32"/>
                      <a:pt x="83" y="32"/>
                    </a:cubicBezTo>
                    <a:cubicBezTo>
                      <a:pt x="82" y="31"/>
                      <a:pt x="82" y="31"/>
                      <a:pt x="82" y="31"/>
                    </a:cubicBezTo>
                    <a:cubicBezTo>
                      <a:pt x="81" y="31"/>
                      <a:pt x="82" y="31"/>
                      <a:pt x="80" y="31"/>
                    </a:cubicBezTo>
                    <a:cubicBezTo>
                      <a:pt x="79" y="31"/>
                      <a:pt x="80" y="29"/>
                      <a:pt x="80" y="29"/>
                    </a:cubicBezTo>
                    <a:cubicBezTo>
                      <a:pt x="80" y="28"/>
                      <a:pt x="81" y="24"/>
                      <a:pt x="81" y="24"/>
                    </a:cubicBezTo>
                    <a:cubicBezTo>
                      <a:pt x="80" y="23"/>
                      <a:pt x="80" y="23"/>
                      <a:pt x="80" y="23"/>
                    </a:cubicBezTo>
                    <a:cubicBezTo>
                      <a:pt x="80" y="23"/>
                      <a:pt x="79" y="21"/>
                      <a:pt x="79" y="21"/>
                    </a:cubicBezTo>
                    <a:cubicBezTo>
                      <a:pt x="79" y="20"/>
                      <a:pt x="79" y="19"/>
                      <a:pt x="78" y="19"/>
                    </a:cubicBezTo>
                    <a:cubicBezTo>
                      <a:pt x="78" y="19"/>
                      <a:pt x="77" y="18"/>
                      <a:pt x="77" y="18"/>
                    </a:cubicBezTo>
                    <a:cubicBezTo>
                      <a:pt x="77" y="18"/>
                      <a:pt x="76" y="18"/>
                      <a:pt x="76" y="17"/>
                    </a:cubicBezTo>
                    <a:cubicBezTo>
                      <a:pt x="76" y="16"/>
                      <a:pt x="76" y="15"/>
                      <a:pt x="76" y="15"/>
                    </a:cubicBezTo>
                    <a:cubicBezTo>
                      <a:pt x="76" y="14"/>
                      <a:pt x="76" y="13"/>
                      <a:pt x="76" y="13"/>
                    </a:cubicBezTo>
                    <a:cubicBezTo>
                      <a:pt x="74" y="8"/>
                      <a:pt x="74" y="8"/>
                      <a:pt x="74" y="8"/>
                    </a:cubicBezTo>
                    <a:cubicBezTo>
                      <a:pt x="74" y="7"/>
                      <a:pt x="74" y="7"/>
                      <a:pt x="74" y="7"/>
                    </a:cubicBezTo>
                    <a:cubicBezTo>
                      <a:pt x="73" y="5"/>
                      <a:pt x="73" y="5"/>
                      <a:pt x="73" y="5"/>
                    </a:cubicBezTo>
                    <a:cubicBezTo>
                      <a:pt x="72" y="5"/>
                      <a:pt x="72" y="5"/>
                      <a:pt x="72" y="5"/>
                    </a:cubicBezTo>
                    <a:cubicBezTo>
                      <a:pt x="72" y="3"/>
                      <a:pt x="72" y="3"/>
                      <a:pt x="72" y="3"/>
                    </a:cubicBezTo>
                    <a:cubicBezTo>
                      <a:pt x="72" y="3"/>
                      <a:pt x="71" y="3"/>
                      <a:pt x="71" y="4"/>
                    </a:cubicBezTo>
                    <a:cubicBezTo>
                      <a:pt x="71" y="4"/>
                      <a:pt x="71" y="5"/>
                      <a:pt x="70" y="5"/>
                    </a:cubicBezTo>
                    <a:cubicBezTo>
                      <a:pt x="69" y="5"/>
                      <a:pt x="68" y="4"/>
                      <a:pt x="68" y="4"/>
                    </a:cubicBezTo>
                    <a:cubicBezTo>
                      <a:pt x="68" y="4"/>
                      <a:pt x="68" y="3"/>
                      <a:pt x="68" y="2"/>
                    </a:cubicBezTo>
                    <a:cubicBezTo>
                      <a:pt x="67" y="2"/>
                      <a:pt x="64" y="0"/>
                      <a:pt x="64" y="0"/>
                    </a:cubicBezTo>
                    <a:cubicBezTo>
                      <a:pt x="64" y="0"/>
                      <a:pt x="64" y="0"/>
                      <a:pt x="64" y="1"/>
                    </a:cubicBezTo>
                    <a:cubicBezTo>
                      <a:pt x="64" y="1"/>
                      <a:pt x="63" y="2"/>
                      <a:pt x="63" y="1"/>
                    </a:cubicBezTo>
                    <a:cubicBezTo>
                      <a:pt x="62" y="1"/>
                      <a:pt x="60" y="0"/>
                      <a:pt x="60" y="0"/>
                    </a:cubicBezTo>
                    <a:cubicBezTo>
                      <a:pt x="60" y="0"/>
                      <a:pt x="60" y="1"/>
                      <a:pt x="60" y="1"/>
                    </a:cubicBezTo>
                    <a:cubicBezTo>
                      <a:pt x="60" y="2"/>
                      <a:pt x="61" y="3"/>
                      <a:pt x="61" y="3"/>
                    </a:cubicBezTo>
                    <a:cubicBezTo>
                      <a:pt x="60" y="3"/>
                      <a:pt x="59" y="3"/>
                      <a:pt x="59" y="3"/>
                    </a:cubicBezTo>
                    <a:cubicBezTo>
                      <a:pt x="59" y="3"/>
                      <a:pt x="59" y="3"/>
                      <a:pt x="58" y="3"/>
                    </a:cubicBezTo>
                    <a:cubicBezTo>
                      <a:pt x="58" y="2"/>
                      <a:pt x="57" y="2"/>
                      <a:pt x="57" y="2"/>
                    </a:cubicBezTo>
                    <a:cubicBezTo>
                      <a:pt x="57" y="3"/>
                      <a:pt x="56" y="3"/>
                      <a:pt x="56" y="5"/>
                    </a:cubicBezTo>
                    <a:cubicBezTo>
                      <a:pt x="57" y="6"/>
                      <a:pt x="56" y="6"/>
                      <a:pt x="57" y="7"/>
                    </a:cubicBezTo>
                    <a:cubicBezTo>
                      <a:pt x="58" y="7"/>
                      <a:pt x="58" y="7"/>
                      <a:pt x="59" y="8"/>
                    </a:cubicBezTo>
                    <a:cubicBezTo>
                      <a:pt x="60" y="8"/>
                      <a:pt x="60" y="8"/>
                      <a:pt x="61" y="8"/>
                    </a:cubicBezTo>
                    <a:cubicBezTo>
                      <a:pt x="61" y="8"/>
                      <a:pt x="62" y="8"/>
                      <a:pt x="63" y="8"/>
                    </a:cubicBezTo>
                    <a:cubicBezTo>
                      <a:pt x="63" y="8"/>
                      <a:pt x="64" y="7"/>
                      <a:pt x="64" y="7"/>
                    </a:cubicBezTo>
                    <a:cubicBezTo>
                      <a:pt x="64" y="7"/>
                      <a:pt x="64" y="8"/>
                      <a:pt x="64" y="8"/>
                    </a:cubicBezTo>
                    <a:cubicBezTo>
                      <a:pt x="64" y="8"/>
                      <a:pt x="63" y="8"/>
                      <a:pt x="64" y="9"/>
                    </a:cubicBezTo>
                    <a:cubicBezTo>
                      <a:pt x="64" y="9"/>
                      <a:pt x="64" y="9"/>
                      <a:pt x="64" y="9"/>
                    </a:cubicBezTo>
                    <a:cubicBezTo>
                      <a:pt x="65" y="10"/>
                      <a:pt x="65" y="10"/>
                      <a:pt x="65" y="10"/>
                    </a:cubicBezTo>
                    <a:cubicBezTo>
                      <a:pt x="65" y="10"/>
                      <a:pt x="65" y="10"/>
                      <a:pt x="65" y="10"/>
                    </a:cubicBezTo>
                    <a:cubicBezTo>
                      <a:pt x="65" y="10"/>
                      <a:pt x="65" y="11"/>
                      <a:pt x="65" y="11"/>
                    </a:cubicBezTo>
                    <a:cubicBezTo>
                      <a:pt x="65" y="12"/>
                      <a:pt x="65" y="12"/>
                      <a:pt x="66" y="12"/>
                    </a:cubicBezTo>
                    <a:cubicBezTo>
                      <a:pt x="67" y="13"/>
                      <a:pt x="67" y="12"/>
                      <a:pt x="67" y="12"/>
                    </a:cubicBezTo>
                    <a:cubicBezTo>
                      <a:pt x="67" y="12"/>
                      <a:pt x="69" y="14"/>
                      <a:pt x="68" y="14"/>
                    </a:cubicBezTo>
                    <a:cubicBezTo>
                      <a:pt x="68" y="14"/>
                      <a:pt x="67" y="13"/>
                      <a:pt x="68" y="14"/>
                    </a:cubicBezTo>
                    <a:cubicBezTo>
                      <a:pt x="69" y="15"/>
                      <a:pt x="70" y="15"/>
                      <a:pt x="70" y="15"/>
                    </a:cubicBezTo>
                    <a:cubicBezTo>
                      <a:pt x="70" y="15"/>
                      <a:pt x="69" y="16"/>
                      <a:pt x="67" y="15"/>
                    </a:cubicBezTo>
                    <a:cubicBezTo>
                      <a:pt x="66" y="15"/>
                      <a:pt x="66" y="15"/>
                      <a:pt x="66" y="15"/>
                    </a:cubicBezTo>
                    <a:cubicBezTo>
                      <a:pt x="66" y="15"/>
                      <a:pt x="65" y="14"/>
                      <a:pt x="65" y="14"/>
                    </a:cubicBezTo>
                    <a:cubicBezTo>
                      <a:pt x="64" y="13"/>
                      <a:pt x="64" y="12"/>
                      <a:pt x="64" y="12"/>
                    </a:cubicBezTo>
                    <a:cubicBezTo>
                      <a:pt x="64" y="12"/>
                      <a:pt x="63" y="11"/>
                      <a:pt x="62" y="11"/>
                    </a:cubicBezTo>
                    <a:cubicBezTo>
                      <a:pt x="61" y="10"/>
                      <a:pt x="60" y="11"/>
                      <a:pt x="59" y="11"/>
                    </a:cubicBezTo>
                    <a:cubicBezTo>
                      <a:pt x="59" y="11"/>
                      <a:pt x="58" y="12"/>
                      <a:pt x="57" y="12"/>
                    </a:cubicBezTo>
                    <a:cubicBezTo>
                      <a:pt x="57" y="12"/>
                      <a:pt x="57" y="13"/>
                      <a:pt x="57" y="14"/>
                    </a:cubicBezTo>
                    <a:cubicBezTo>
                      <a:pt x="58" y="15"/>
                      <a:pt x="60" y="19"/>
                      <a:pt x="60" y="19"/>
                    </a:cubicBezTo>
                    <a:cubicBezTo>
                      <a:pt x="60" y="19"/>
                      <a:pt x="62" y="21"/>
                      <a:pt x="62" y="21"/>
                    </a:cubicBezTo>
                    <a:cubicBezTo>
                      <a:pt x="62" y="21"/>
                      <a:pt x="63" y="23"/>
                      <a:pt x="63" y="23"/>
                    </a:cubicBezTo>
                    <a:cubicBezTo>
                      <a:pt x="63" y="23"/>
                      <a:pt x="63" y="23"/>
                      <a:pt x="64" y="24"/>
                    </a:cubicBezTo>
                    <a:cubicBezTo>
                      <a:pt x="65" y="24"/>
                      <a:pt x="64" y="24"/>
                      <a:pt x="64" y="24"/>
                    </a:cubicBezTo>
                    <a:cubicBezTo>
                      <a:pt x="64" y="25"/>
                      <a:pt x="63" y="26"/>
                      <a:pt x="63" y="27"/>
                    </a:cubicBezTo>
                    <a:cubicBezTo>
                      <a:pt x="63" y="27"/>
                      <a:pt x="63" y="26"/>
                      <a:pt x="63" y="27"/>
                    </a:cubicBezTo>
                    <a:cubicBezTo>
                      <a:pt x="63" y="29"/>
                      <a:pt x="63" y="31"/>
                      <a:pt x="63" y="31"/>
                    </a:cubicBezTo>
                    <a:cubicBezTo>
                      <a:pt x="62" y="33"/>
                      <a:pt x="62" y="33"/>
                      <a:pt x="62" y="33"/>
                    </a:cubicBezTo>
                    <a:cubicBezTo>
                      <a:pt x="61" y="34"/>
                      <a:pt x="61" y="34"/>
                      <a:pt x="61" y="34"/>
                    </a:cubicBezTo>
                    <a:cubicBezTo>
                      <a:pt x="61" y="34"/>
                      <a:pt x="61" y="34"/>
                      <a:pt x="61" y="34"/>
                    </a:cubicBezTo>
                    <a:cubicBezTo>
                      <a:pt x="60" y="34"/>
                      <a:pt x="61" y="33"/>
                      <a:pt x="61" y="33"/>
                    </a:cubicBezTo>
                    <a:cubicBezTo>
                      <a:pt x="61" y="32"/>
                      <a:pt x="61" y="32"/>
                      <a:pt x="61" y="32"/>
                    </a:cubicBezTo>
                    <a:cubicBezTo>
                      <a:pt x="62" y="30"/>
                      <a:pt x="62" y="30"/>
                      <a:pt x="62" y="30"/>
                    </a:cubicBezTo>
                    <a:cubicBezTo>
                      <a:pt x="62" y="30"/>
                      <a:pt x="61" y="29"/>
                      <a:pt x="60" y="29"/>
                    </a:cubicBezTo>
                    <a:cubicBezTo>
                      <a:pt x="60" y="28"/>
                      <a:pt x="60" y="29"/>
                      <a:pt x="59" y="29"/>
                    </a:cubicBezTo>
                    <a:cubicBezTo>
                      <a:pt x="59" y="29"/>
                      <a:pt x="58" y="31"/>
                      <a:pt x="58" y="31"/>
                    </a:cubicBezTo>
                    <a:cubicBezTo>
                      <a:pt x="58" y="31"/>
                      <a:pt x="57" y="31"/>
                      <a:pt x="58" y="30"/>
                    </a:cubicBezTo>
                    <a:cubicBezTo>
                      <a:pt x="58" y="30"/>
                      <a:pt x="58" y="28"/>
                      <a:pt x="59" y="28"/>
                    </a:cubicBezTo>
                    <a:cubicBezTo>
                      <a:pt x="59" y="28"/>
                      <a:pt x="59" y="28"/>
                      <a:pt x="59" y="28"/>
                    </a:cubicBezTo>
                    <a:cubicBezTo>
                      <a:pt x="59" y="27"/>
                      <a:pt x="60" y="27"/>
                      <a:pt x="60" y="26"/>
                    </a:cubicBezTo>
                    <a:cubicBezTo>
                      <a:pt x="60" y="25"/>
                      <a:pt x="60" y="25"/>
                      <a:pt x="60" y="24"/>
                    </a:cubicBezTo>
                    <a:cubicBezTo>
                      <a:pt x="59" y="24"/>
                      <a:pt x="59" y="23"/>
                      <a:pt x="59" y="22"/>
                    </a:cubicBezTo>
                    <a:cubicBezTo>
                      <a:pt x="58" y="22"/>
                      <a:pt x="57" y="23"/>
                      <a:pt x="57" y="23"/>
                    </a:cubicBezTo>
                    <a:cubicBezTo>
                      <a:pt x="57" y="24"/>
                      <a:pt x="57" y="24"/>
                      <a:pt x="57" y="24"/>
                    </a:cubicBezTo>
                    <a:cubicBezTo>
                      <a:pt x="56" y="25"/>
                      <a:pt x="56" y="25"/>
                      <a:pt x="55" y="26"/>
                    </a:cubicBezTo>
                    <a:cubicBezTo>
                      <a:pt x="54" y="27"/>
                      <a:pt x="54" y="27"/>
                      <a:pt x="54" y="27"/>
                    </a:cubicBezTo>
                    <a:cubicBezTo>
                      <a:pt x="54" y="27"/>
                      <a:pt x="55" y="25"/>
                      <a:pt x="55" y="25"/>
                    </a:cubicBezTo>
                    <a:cubicBezTo>
                      <a:pt x="55" y="25"/>
                      <a:pt x="56" y="24"/>
                      <a:pt x="55" y="24"/>
                    </a:cubicBezTo>
                    <a:cubicBezTo>
                      <a:pt x="55" y="24"/>
                      <a:pt x="55" y="24"/>
                      <a:pt x="55" y="23"/>
                    </a:cubicBezTo>
                    <a:cubicBezTo>
                      <a:pt x="55" y="23"/>
                      <a:pt x="55" y="22"/>
                      <a:pt x="55" y="22"/>
                    </a:cubicBezTo>
                    <a:cubicBezTo>
                      <a:pt x="55" y="22"/>
                      <a:pt x="56" y="22"/>
                      <a:pt x="55" y="22"/>
                    </a:cubicBezTo>
                    <a:cubicBezTo>
                      <a:pt x="54" y="22"/>
                      <a:pt x="54" y="22"/>
                      <a:pt x="54" y="22"/>
                    </a:cubicBezTo>
                    <a:cubicBezTo>
                      <a:pt x="54" y="22"/>
                      <a:pt x="53" y="22"/>
                      <a:pt x="53" y="22"/>
                    </a:cubicBezTo>
                    <a:cubicBezTo>
                      <a:pt x="53" y="21"/>
                      <a:pt x="54" y="21"/>
                      <a:pt x="54" y="21"/>
                    </a:cubicBezTo>
                    <a:cubicBezTo>
                      <a:pt x="54" y="20"/>
                      <a:pt x="55" y="19"/>
                      <a:pt x="55" y="19"/>
                    </a:cubicBezTo>
                    <a:cubicBezTo>
                      <a:pt x="55" y="19"/>
                      <a:pt x="54" y="18"/>
                      <a:pt x="54" y="18"/>
                    </a:cubicBezTo>
                    <a:cubicBezTo>
                      <a:pt x="53" y="17"/>
                      <a:pt x="53" y="16"/>
                      <a:pt x="53" y="16"/>
                    </a:cubicBezTo>
                    <a:cubicBezTo>
                      <a:pt x="53" y="16"/>
                      <a:pt x="53" y="18"/>
                      <a:pt x="53" y="15"/>
                    </a:cubicBezTo>
                    <a:cubicBezTo>
                      <a:pt x="52" y="12"/>
                      <a:pt x="52" y="12"/>
                      <a:pt x="52" y="12"/>
                    </a:cubicBezTo>
                    <a:cubicBezTo>
                      <a:pt x="51" y="11"/>
                      <a:pt x="51" y="11"/>
                      <a:pt x="51" y="11"/>
                    </a:cubicBezTo>
                    <a:cubicBezTo>
                      <a:pt x="51" y="11"/>
                      <a:pt x="51" y="10"/>
                      <a:pt x="50" y="10"/>
                    </a:cubicBezTo>
                    <a:cubicBezTo>
                      <a:pt x="50" y="9"/>
                      <a:pt x="48" y="8"/>
                      <a:pt x="48" y="8"/>
                    </a:cubicBezTo>
                    <a:cubicBezTo>
                      <a:pt x="48" y="7"/>
                      <a:pt x="48" y="7"/>
                      <a:pt x="48" y="7"/>
                    </a:cubicBezTo>
                    <a:cubicBezTo>
                      <a:pt x="48" y="7"/>
                      <a:pt x="48" y="6"/>
                      <a:pt x="48" y="6"/>
                    </a:cubicBezTo>
                    <a:cubicBezTo>
                      <a:pt x="47" y="6"/>
                      <a:pt x="46" y="5"/>
                      <a:pt x="46" y="6"/>
                    </a:cubicBezTo>
                    <a:cubicBezTo>
                      <a:pt x="46" y="7"/>
                      <a:pt x="46" y="7"/>
                      <a:pt x="46" y="8"/>
                    </a:cubicBezTo>
                    <a:cubicBezTo>
                      <a:pt x="45" y="8"/>
                      <a:pt x="43" y="8"/>
                      <a:pt x="43" y="8"/>
                    </a:cubicBezTo>
                    <a:cubicBezTo>
                      <a:pt x="43" y="8"/>
                      <a:pt x="43" y="9"/>
                      <a:pt x="43" y="9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10"/>
                      <a:pt x="41" y="9"/>
                      <a:pt x="41" y="10"/>
                    </a:cubicBezTo>
                    <a:cubicBezTo>
                      <a:pt x="42" y="11"/>
                      <a:pt x="42" y="12"/>
                      <a:pt x="42" y="13"/>
                    </a:cubicBezTo>
                    <a:cubicBezTo>
                      <a:pt x="42" y="13"/>
                      <a:pt x="44" y="14"/>
                      <a:pt x="43" y="14"/>
                    </a:cubicBezTo>
                    <a:cubicBezTo>
                      <a:pt x="43" y="14"/>
                      <a:pt x="41" y="14"/>
                      <a:pt x="41" y="14"/>
                    </a:cubicBezTo>
                    <a:cubicBezTo>
                      <a:pt x="41" y="14"/>
                      <a:pt x="40" y="13"/>
                      <a:pt x="40" y="12"/>
                    </a:cubicBezTo>
                    <a:cubicBezTo>
                      <a:pt x="40" y="12"/>
                      <a:pt x="39" y="11"/>
                      <a:pt x="38" y="11"/>
                    </a:cubicBezTo>
                    <a:cubicBezTo>
                      <a:pt x="38" y="11"/>
                      <a:pt x="37" y="11"/>
                      <a:pt x="36" y="12"/>
                    </a:cubicBezTo>
                    <a:cubicBezTo>
                      <a:pt x="36" y="13"/>
                      <a:pt x="36" y="12"/>
                      <a:pt x="36" y="14"/>
                    </a:cubicBezTo>
                    <a:cubicBezTo>
                      <a:pt x="36" y="16"/>
                      <a:pt x="36" y="18"/>
                      <a:pt x="36" y="18"/>
                    </a:cubicBezTo>
                    <a:cubicBezTo>
                      <a:pt x="36" y="18"/>
                      <a:pt x="37" y="19"/>
                      <a:pt x="38" y="20"/>
                    </a:cubicBezTo>
                    <a:cubicBezTo>
                      <a:pt x="38" y="20"/>
                      <a:pt x="39" y="23"/>
                      <a:pt x="39" y="23"/>
                    </a:cubicBezTo>
                    <a:cubicBezTo>
                      <a:pt x="39" y="24"/>
                      <a:pt x="40" y="25"/>
                      <a:pt x="40" y="25"/>
                    </a:cubicBezTo>
                    <a:cubicBezTo>
                      <a:pt x="40" y="25"/>
                      <a:pt x="35" y="23"/>
                      <a:pt x="35" y="22"/>
                    </a:cubicBezTo>
                    <a:cubicBezTo>
                      <a:pt x="35" y="21"/>
                      <a:pt x="35" y="19"/>
                      <a:pt x="34" y="19"/>
                    </a:cubicBezTo>
                    <a:cubicBezTo>
                      <a:pt x="34" y="19"/>
                      <a:pt x="34" y="18"/>
                      <a:pt x="33" y="19"/>
                    </a:cubicBezTo>
                    <a:cubicBezTo>
                      <a:pt x="32" y="19"/>
                      <a:pt x="32" y="19"/>
                      <a:pt x="31" y="19"/>
                    </a:cubicBezTo>
                    <a:cubicBezTo>
                      <a:pt x="31" y="20"/>
                      <a:pt x="31" y="21"/>
                      <a:pt x="31" y="21"/>
                    </a:cubicBezTo>
                    <a:cubicBezTo>
                      <a:pt x="31" y="21"/>
                      <a:pt x="31" y="22"/>
                      <a:pt x="31" y="23"/>
                    </a:cubicBezTo>
                    <a:cubicBezTo>
                      <a:pt x="32" y="25"/>
                      <a:pt x="32" y="25"/>
                      <a:pt x="32" y="26"/>
                    </a:cubicBezTo>
                    <a:cubicBezTo>
                      <a:pt x="33" y="27"/>
                      <a:pt x="34" y="27"/>
                      <a:pt x="34" y="28"/>
                    </a:cubicBezTo>
                    <a:cubicBezTo>
                      <a:pt x="34" y="28"/>
                      <a:pt x="35" y="29"/>
                      <a:pt x="35" y="29"/>
                    </a:cubicBezTo>
                    <a:cubicBezTo>
                      <a:pt x="35" y="29"/>
                      <a:pt x="34" y="31"/>
                      <a:pt x="34" y="31"/>
                    </a:cubicBezTo>
                    <a:cubicBezTo>
                      <a:pt x="34" y="32"/>
                      <a:pt x="33" y="33"/>
                      <a:pt x="33" y="33"/>
                    </a:cubicBezTo>
                    <a:cubicBezTo>
                      <a:pt x="33" y="33"/>
                      <a:pt x="35" y="34"/>
                      <a:pt x="35" y="34"/>
                    </a:cubicBezTo>
                    <a:cubicBezTo>
                      <a:pt x="35" y="34"/>
                      <a:pt x="36" y="35"/>
                      <a:pt x="35" y="36"/>
                    </a:cubicBezTo>
                    <a:cubicBezTo>
                      <a:pt x="34" y="36"/>
                      <a:pt x="34" y="36"/>
                      <a:pt x="33" y="36"/>
                    </a:cubicBezTo>
                    <a:cubicBezTo>
                      <a:pt x="33" y="35"/>
                      <a:pt x="32" y="36"/>
                      <a:pt x="32" y="34"/>
                    </a:cubicBezTo>
                    <a:cubicBezTo>
                      <a:pt x="33" y="33"/>
                      <a:pt x="33" y="32"/>
                      <a:pt x="33" y="32"/>
                    </a:cubicBezTo>
                    <a:cubicBezTo>
                      <a:pt x="32" y="32"/>
                      <a:pt x="31" y="30"/>
                      <a:pt x="31" y="30"/>
                    </a:cubicBezTo>
                    <a:cubicBezTo>
                      <a:pt x="31" y="30"/>
                      <a:pt x="33" y="33"/>
                      <a:pt x="30" y="28"/>
                    </a:cubicBezTo>
                    <a:cubicBezTo>
                      <a:pt x="28" y="24"/>
                      <a:pt x="28" y="24"/>
                      <a:pt x="28" y="24"/>
                    </a:cubicBezTo>
                    <a:cubicBezTo>
                      <a:pt x="28" y="22"/>
                      <a:pt x="28" y="22"/>
                      <a:pt x="28" y="22"/>
                    </a:cubicBezTo>
                    <a:cubicBezTo>
                      <a:pt x="28" y="22"/>
                      <a:pt x="27" y="22"/>
                      <a:pt x="27" y="22"/>
                    </a:cubicBezTo>
                    <a:cubicBezTo>
                      <a:pt x="27" y="22"/>
                      <a:pt x="26" y="21"/>
                      <a:pt x="26" y="21"/>
                    </a:cubicBezTo>
                    <a:cubicBezTo>
                      <a:pt x="26" y="21"/>
                      <a:pt x="24" y="21"/>
                      <a:pt x="24" y="21"/>
                    </a:cubicBezTo>
                    <a:cubicBezTo>
                      <a:pt x="24" y="22"/>
                      <a:pt x="24" y="22"/>
                      <a:pt x="24" y="23"/>
                    </a:cubicBezTo>
                    <a:cubicBezTo>
                      <a:pt x="23" y="23"/>
                      <a:pt x="23" y="25"/>
                      <a:pt x="23" y="25"/>
                    </a:cubicBezTo>
                    <a:cubicBezTo>
                      <a:pt x="22" y="25"/>
                      <a:pt x="22" y="27"/>
                      <a:pt x="22" y="27"/>
                    </a:cubicBezTo>
                    <a:cubicBezTo>
                      <a:pt x="22" y="27"/>
                      <a:pt x="23" y="27"/>
                      <a:pt x="23" y="28"/>
                    </a:cubicBezTo>
                    <a:cubicBezTo>
                      <a:pt x="24" y="29"/>
                      <a:pt x="24" y="30"/>
                      <a:pt x="24" y="30"/>
                    </a:cubicBezTo>
                    <a:cubicBezTo>
                      <a:pt x="24" y="30"/>
                      <a:pt x="23" y="29"/>
                      <a:pt x="23" y="29"/>
                    </a:cubicBezTo>
                    <a:cubicBezTo>
                      <a:pt x="22" y="29"/>
                      <a:pt x="22" y="29"/>
                      <a:pt x="22" y="29"/>
                    </a:cubicBezTo>
                    <a:cubicBezTo>
                      <a:pt x="21" y="30"/>
                      <a:pt x="21" y="30"/>
                      <a:pt x="21" y="30"/>
                    </a:cubicBezTo>
                    <a:cubicBezTo>
                      <a:pt x="21" y="30"/>
                      <a:pt x="21" y="30"/>
                      <a:pt x="21" y="30"/>
                    </a:cubicBezTo>
                    <a:cubicBezTo>
                      <a:pt x="21" y="30"/>
                      <a:pt x="21" y="32"/>
                      <a:pt x="21" y="32"/>
                    </a:cubicBezTo>
                    <a:cubicBezTo>
                      <a:pt x="21" y="32"/>
                      <a:pt x="22" y="33"/>
                      <a:pt x="22" y="33"/>
                    </a:cubicBezTo>
                    <a:cubicBezTo>
                      <a:pt x="22" y="33"/>
                      <a:pt x="22" y="34"/>
                      <a:pt x="22" y="34"/>
                    </a:cubicBezTo>
                    <a:cubicBezTo>
                      <a:pt x="22" y="34"/>
                      <a:pt x="23" y="35"/>
                      <a:pt x="23" y="35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3" y="36"/>
                      <a:pt x="23" y="36"/>
                      <a:pt x="23" y="36"/>
                    </a:cubicBezTo>
                    <a:cubicBezTo>
                      <a:pt x="22" y="36"/>
                      <a:pt x="23" y="37"/>
                      <a:pt x="22" y="36"/>
                    </a:cubicBezTo>
                    <a:cubicBezTo>
                      <a:pt x="21" y="35"/>
                      <a:pt x="21" y="36"/>
                      <a:pt x="20" y="35"/>
                    </a:cubicBezTo>
                    <a:cubicBezTo>
                      <a:pt x="20" y="33"/>
                      <a:pt x="20" y="33"/>
                      <a:pt x="20" y="33"/>
                    </a:cubicBezTo>
                    <a:cubicBezTo>
                      <a:pt x="20" y="33"/>
                      <a:pt x="21" y="32"/>
                      <a:pt x="19" y="31"/>
                    </a:cubicBezTo>
                    <a:cubicBezTo>
                      <a:pt x="18" y="29"/>
                      <a:pt x="18" y="28"/>
                      <a:pt x="18" y="28"/>
                    </a:cubicBezTo>
                    <a:cubicBezTo>
                      <a:pt x="18" y="28"/>
                      <a:pt x="17" y="27"/>
                      <a:pt x="16" y="27"/>
                    </a:cubicBezTo>
                    <a:cubicBezTo>
                      <a:pt x="16" y="28"/>
                      <a:pt x="16" y="28"/>
                      <a:pt x="15" y="28"/>
                    </a:cubicBezTo>
                    <a:cubicBezTo>
                      <a:pt x="14" y="29"/>
                      <a:pt x="14" y="29"/>
                      <a:pt x="13" y="29"/>
                    </a:cubicBezTo>
                    <a:cubicBezTo>
                      <a:pt x="13" y="29"/>
                      <a:pt x="11" y="29"/>
                      <a:pt x="11" y="29"/>
                    </a:cubicBezTo>
                    <a:cubicBezTo>
                      <a:pt x="11" y="29"/>
                      <a:pt x="11" y="29"/>
                      <a:pt x="9" y="30"/>
                    </a:cubicBezTo>
                    <a:cubicBezTo>
                      <a:pt x="8" y="32"/>
                      <a:pt x="7" y="32"/>
                      <a:pt x="8" y="32"/>
                    </a:cubicBezTo>
                    <a:cubicBezTo>
                      <a:pt x="9" y="33"/>
                      <a:pt x="11" y="33"/>
                      <a:pt x="11" y="33"/>
                    </a:cubicBezTo>
                    <a:cubicBezTo>
                      <a:pt x="11" y="33"/>
                      <a:pt x="12" y="33"/>
                      <a:pt x="13" y="34"/>
                    </a:cubicBezTo>
                    <a:cubicBezTo>
                      <a:pt x="14" y="34"/>
                      <a:pt x="16" y="36"/>
                      <a:pt x="16" y="36"/>
                    </a:cubicBezTo>
                    <a:cubicBezTo>
                      <a:pt x="18" y="39"/>
                      <a:pt x="18" y="39"/>
                      <a:pt x="18" y="39"/>
                    </a:cubicBezTo>
                    <a:cubicBezTo>
                      <a:pt x="18" y="39"/>
                      <a:pt x="18" y="40"/>
                      <a:pt x="18" y="40"/>
                    </a:cubicBezTo>
                    <a:cubicBezTo>
                      <a:pt x="18" y="40"/>
                      <a:pt x="18" y="40"/>
                      <a:pt x="18" y="41"/>
                    </a:cubicBezTo>
                    <a:cubicBezTo>
                      <a:pt x="18" y="41"/>
                      <a:pt x="18" y="42"/>
                      <a:pt x="18" y="42"/>
                    </a:cubicBezTo>
                    <a:cubicBezTo>
                      <a:pt x="18" y="42"/>
                      <a:pt x="19" y="43"/>
                      <a:pt x="20" y="44"/>
                    </a:cubicBezTo>
                    <a:cubicBezTo>
                      <a:pt x="21" y="44"/>
                      <a:pt x="21" y="44"/>
                      <a:pt x="22" y="44"/>
                    </a:cubicBezTo>
                    <a:cubicBezTo>
                      <a:pt x="23" y="44"/>
                      <a:pt x="22" y="44"/>
                      <a:pt x="23" y="44"/>
                    </a:cubicBezTo>
                    <a:cubicBezTo>
                      <a:pt x="25" y="43"/>
                      <a:pt x="25" y="43"/>
                      <a:pt x="25" y="43"/>
                    </a:cubicBezTo>
                    <a:cubicBezTo>
                      <a:pt x="25" y="43"/>
                      <a:pt x="25" y="43"/>
                      <a:pt x="26" y="43"/>
                    </a:cubicBezTo>
                    <a:cubicBezTo>
                      <a:pt x="28" y="43"/>
                      <a:pt x="27" y="44"/>
                      <a:pt x="28" y="44"/>
                    </a:cubicBezTo>
                    <a:cubicBezTo>
                      <a:pt x="28" y="43"/>
                      <a:pt x="30" y="43"/>
                      <a:pt x="30" y="43"/>
                    </a:cubicBezTo>
                    <a:cubicBezTo>
                      <a:pt x="31" y="43"/>
                      <a:pt x="31" y="42"/>
                      <a:pt x="32" y="43"/>
                    </a:cubicBezTo>
                    <a:cubicBezTo>
                      <a:pt x="32" y="44"/>
                      <a:pt x="32" y="44"/>
                      <a:pt x="32" y="45"/>
                    </a:cubicBezTo>
                    <a:cubicBezTo>
                      <a:pt x="33" y="45"/>
                      <a:pt x="34" y="46"/>
                      <a:pt x="34" y="46"/>
                    </a:cubicBezTo>
                    <a:cubicBezTo>
                      <a:pt x="36" y="46"/>
                      <a:pt x="36" y="46"/>
                      <a:pt x="36" y="46"/>
                    </a:cubicBezTo>
                    <a:cubicBezTo>
                      <a:pt x="36" y="46"/>
                      <a:pt x="36" y="45"/>
                      <a:pt x="37" y="45"/>
                    </a:cubicBezTo>
                    <a:cubicBezTo>
                      <a:pt x="37" y="44"/>
                      <a:pt x="38" y="43"/>
                      <a:pt x="38" y="43"/>
                    </a:cubicBezTo>
                    <a:cubicBezTo>
                      <a:pt x="38" y="43"/>
                      <a:pt x="37" y="43"/>
                      <a:pt x="38" y="44"/>
                    </a:cubicBezTo>
                    <a:cubicBezTo>
                      <a:pt x="39" y="44"/>
                      <a:pt x="39" y="44"/>
                      <a:pt x="40" y="45"/>
                    </a:cubicBezTo>
                    <a:cubicBezTo>
                      <a:pt x="40" y="45"/>
                      <a:pt x="42" y="44"/>
                      <a:pt x="42" y="44"/>
                    </a:cubicBezTo>
                    <a:cubicBezTo>
                      <a:pt x="43" y="44"/>
                      <a:pt x="43" y="44"/>
                      <a:pt x="43" y="44"/>
                    </a:cubicBezTo>
                    <a:cubicBezTo>
                      <a:pt x="43" y="44"/>
                      <a:pt x="42" y="45"/>
                      <a:pt x="43" y="45"/>
                    </a:cubicBezTo>
                    <a:cubicBezTo>
                      <a:pt x="43" y="45"/>
                      <a:pt x="42" y="45"/>
                      <a:pt x="43" y="45"/>
                    </a:cubicBezTo>
                    <a:cubicBezTo>
                      <a:pt x="44" y="45"/>
                      <a:pt x="45" y="44"/>
                      <a:pt x="45" y="44"/>
                    </a:cubicBezTo>
                    <a:cubicBezTo>
                      <a:pt x="45" y="44"/>
                      <a:pt x="44" y="45"/>
                      <a:pt x="44" y="46"/>
                    </a:cubicBezTo>
                    <a:cubicBezTo>
                      <a:pt x="44" y="46"/>
                      <a:pt x="44" y="47"/>
                      <a:pt x="44" y="47"/>
                    </a:cubicBezTo>
                    <a:cubicBezTo>
                      <a:pt x="44" y="47"/>
                      <a:pt x="44" y="48"/>
                      <a:pt x="45" y="49"/>
                    </a:cubicBezTo>
                    <a:cubicBezTo>
                      <a:pt x="46" y="49"/>
                      <a:pt x="47" y="49"/>
                      <a:pt x="47" y="49"/>
                    </a:cubicBezTo>
                    <a:cubicBezTo>
                      <a:pt x="47" y="49"/>
                      <a:pt x="49" y="49"/>
                      <a:pt x="49" y="49"/>
                    </a:cubicBezTo>
                    <a:cubicBezTo>
                      <a:pt x="49" y="50"/>
                      <a:pt x="49" y="49"/>
                      <a:pt x="49" y="50"/>
                    </a:cubicBezTo>
                    <a:cubicBezTo>
                      <a:pt x="49" y="50"/>
                      <a:pt x="50" y="49"/>
                      <a:pt x="50" y="49"/>
                    </a:cubicBezTo>
                    <a:cubicBezTo>
                      <a:pt x="51" y="49"/>
                      <a:pt x="52" y="49"/>
                      <a:pt x="52" y="49"/>
                    </a:cubicBezTo>
                    <a:cubicBezTo>
                      <a:pt x="52" y="50"/>
                      <a:pt x="51" y="51"/>
                      <a:pt x="51" y="51"/>
                    </a:cubicBezTo>
                    <a:cubicBezTo>
                      <a:pt x="51" y="51"/>
                      <a:pt x="51" y="51"/>
                      <a:pt x="51" y="52"/>
                    </a:cubicBezTo>
                    <a:cubicBezTo>
                      <a:pt x="51" y="52"/>
                      <a:pt x="53" y="52"/>
                      <a:pt x="53" y="52"/>
                    </a:cubicBezTo>
                    <a:cubicBezTo>
                      <a:pt x="53" y="52"/>
                      <a:pt x="53" y="51"/>
                      <a:pt x="54" y="52"/>
                    </a:cubicBezTo>
                    <a:cubicBezTo>
                      <a:pt x="54" y="53"/>
                      <a:pt x="54" y="53"/>
                      <a:pt x="54" y="53"/>
                    </a:cubicBezTo>
                    <a:cubicBezTo>
                      <a:pt x="53" y="53"/>
                      <a:pt x="53" y="52"/>
                      <a:pt x="53" y="54"/>
                    </a:cubicBezTo>
                    <a:cubicBezTo>
                      <a:pt x="52" y="55"/>
                      <a:pt x="53" y="56"/>
                      <a:pt x="53" y="56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4" y="58"/>
                      <a:pt x="55" y="58"/>
                      <a:pt x="56" y="58"/>
                    </a:cubicBezTo>
                    <a:cubicBezTo>
                      <a:pt x="56" y="58"/>
                      <a:pt x="56" y="58"/>
                      <a:pt x="56" y="58"/>
                    </a:cubicBezTo>
                    <a:cubicBezTo>
                      <a:pt x="57" y="57"/>
                      <a:pt x="57" y="57"/>
                      <a:pt x="58" y="57"/>
                    </a:cubicBezTo>
                    <a:cubicBezTo>
                      <a:pt x="58" y="57"/>
                      <a:pt x="59" y="58"/>
                      <a:pt x="59" y="58"/>
                    </a:cubicBezTo>
                    <a:cubicBezTo>
                      <a:pt x="59" y="59"/>
                      <a:pt x="59" y="59"/>
                      <a:pt x="59" y="59"/>
                    </a:cubicBezTo>
                    <a:cubicBezTo>
                      <a:pt x="59" y="59"/>
                      <a:pt x="59" y="60"/>
                      <a:pt x="59" y="60"/>
                    </a:cubicBezTo>
                    <a:cubicBezTo>
                      <a:pt x="60" y="61"/>
                      <a:pt x="61" y="61"/>
                      <a:pt x="61" y="61"/>
                    </a:cubicBezTo>
                    <a:cubicBezTo>
                      <a:pt x="61" y="61"/>
                      <a:pt x="61" y="61"/>
                      <a:pt x="61" y="62"/>
                    </a:cubicBezTo>
                    <a:cubicBezTo>
                      <a:pt x="62" y="63"/>
                      <a:pt x="64" y="64"/>
                      <a:pt x="64" y="64"/>
                    </a:cubicBezTo>
                    <a:cubicBezTo>
                      <a:pt x="64" y="64"/>
                      <a:pt x="61" y="63"/>
                      <a:pt x="61" y="63"/>
                    </a:cubicBezTo>
                    <a:cubicBezTo>
                      <a:pt x="60" y="63"/>
                      <a:pt x="58" y="63"/>
                      <a:pt x="58" y="63"/>
                    </a:cubicBezTo>
                    <a:cubicBezTo>
                      <a:pt x="57" y="63"/>
                      <a:pt x="55" y="63"/>
                      <a:pt x="55" y="63"/>
                    </a:cubicBezTo>
                    <a:cubicBezTo>
                      <a:pt x="52" y="64"/>
                      <a:pt x="52" y="64"/>
                      <a:pt x="52" y="64"/>
                    </a:cubicBezTo>
                    <a:cubicBezTo>
                      <a:pt x="52" y="64"/>
                      <a:pt x="50" y="65"/>
                      <a:pt x="49" y="65"/>
                    </a:cubicBezTo>
                    <a:cubicBezTo>
                      <a:pt x="49" y="65"/>
                      <a:pt x="48" y="65"/>
                      <a:pt x="47" y="65"/>
                    </a:cubicBezTo>
                    <a:cubicBezTo>
                      <a:pt x="47" y="66"/>
                      <a:pt x="46" y="66"/>
                      <a:pt x="45" y="66"/>
                    </a:cubicBezTo>
                    <a:cubicBezTo>
                      <a:pt x="45" y="66"/>
                      <a:pt x="43" y="66"/>
                      <a:pt x="42" y="66"/>
                    </a:cubicBezTo>
                    <a:cubicBezTo>
                      <a:pt x="42" y="66"/>
                      <a:pt x="41" y="66"/>
                      <a:pt x="41" y="66"/>
                    </a:cubicBezTo>
                    <a:cubicBezTo>
                      <a:pt x="38" y="67"/>
                      <a:pt x="38" y="67"/>
                      <a:pt x="38" y="67"/>
                    </a:cubicBezTo>
                    <a:cubicBezTo>
                      <a:pt x="39" y="68"/>
                      <a:pt x="39" y="68"/>
                      <a:pt x="39" y="68"/>
                    </a:cubicBezTo>
                    <a:cubicBezTo>
                      <a:pt x="41" y="69"/>
                      <a:pt x="41" y="69"/>
                      <a:pt x="41" y="69"/>
                    </a:cubicBezTo>
                    <a:cubicBezTo>
                      <a:pt x="41" y="69"/>
                      <a:pt x="41" y="69"/>
                      <a:pt x="41" y="69"/>
                    </a:cubicBezTo>
                    <a:cubicBezTo>
                      <a:pt x="42" y="69"/>
                      <a:pt x="43" y="70"/>
                      <a:pt x="43" y="70"/>
                    </a:cubicBezTo>
                    <a:cubicBezTo>
                      <a:pt x="43" y="70"/>
                      <a:pt x="44" y="71"/>
                      <a:pt x="45" y="72"/>
                    </a:cubicBezTo>
                    <a:cubicBezTo>
                      <a:pt x="45" y="72"/>
                      <a:pt x="46" y="73"/>
                      <a:pt x="46" y="73"/>
                    </a:cubicBezTo>
                    <a:lnTo>
                      <a:pt x="48" y="74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65" name="Freeform 19">
                <a:extLst>
                  <a:ext uri="{FF2B5EF4-FFF2-40B4-BE49-F238E27FC236}">
                    <a16:creationId xmlns:a16="http://schemas.microsoft.com/office/drawing/2014/main" id="{02F9987E-0FCE-D03A-5424-6F95724390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62297" y="2210575"/>
                <a:ext cx="788737" cy="641833"/>
              </a:xfrm>
              <a:custGeom>
                <a:avLst/>
                <a:gdLst>
                  <a:gd name="T0" fmla="*/ 194 w 352"/>
                  <a:gd name="T1" fmla="*/ 16 h 295"/>
                  <a:gd name="T2" fmla="*/ 260 w 352"/>
                  <a:gd name="T3" fmla="*/ 5 h 295"/>
                  <a:gd name="T4" fmla="*/ 289 w 352"/>
                  <a:gd name="T5" fmla="*/ 13 h 295"/>
                  <a:gd name="T6" fmla="*/ 314 w 352"/>
                  <a:gd name="T7" fmla="*/ 60 h 295"/>
                  <a:gd name="T8" fmla="*/ 314 w 352"/>
                  <a:gd name="T9" fmla="*/ 90 h 295"/>
                  <a:gd name="T10" fmla="*/ 303 w 352"/>
                  <a:gd name="T11" fmla="*/ 114 h 295"/>
                  <a:gd name="T12" fmla="*/ 318 w 352"/>
                  <a:gd name="T13" fmla="*/ 139 h 295"/>
                  <a:gd name="T14" fmla="*/ 326 w 352"/>
                  <a:gd name="T15" fmla="*/ 158 h 295"/>
                  <a:gd name="T16" fmla="*/ 344 w 352"/>
                  <a:gd name="T17" fmla="*/ 175 h 295"/>
                  <a:gd name="T18" fmla="*/ 346 w 352"/>
                  <a:gd name="T19" fmla="*/ 189 h 295"/>
                  <a:gd name="T20" fmla="*/ 344 w 352"/>
                  <a:gd name="T21" fmla="*/ 210 h 295"/>
                  <a:gd name="T22" fmla="*/ 327 w 352"/>
                  <a:gd name="T23" fmla="*/ 235 h 295"/>
                  <a:gd name="T24" fmla="*/ 317 w 352"/>
                  <a:gd name="T25" fmla="*/ 269 h 295"/>
                  <a:gd name="T26" fmla="*/ 322 w 352"/>
                  <a:gd name="T27" fmla="*/ 280 h 295"/>
                  <a:gd name="T28" fmla="*/ 315 w 352"/>
                  <a:gd name="T29" fmla="*/ 285 h 295"/>
                  <a:gd name="T30" fmla="*/ 309 w 352"/>
                  <a:gd name="T31" fmla="*/ 283 h 295"/>
                  <a:gd name="T32" fmla="*/ 302 w 352"/>
                  <a:gd name="T33" fmla="*/ 282 h 295"/>
                  <a:gd name="T34" fmla="*/ 296 w 352"/>
                  <a:gd name="T35" fmla="*/ 280 h 295"/>
                  <a:gd name="T36" fmla="*/ 290 w 352"/>
                  <a:gd name="T37" fmla="*/ 275 h 295"/>
                  <a:gd name="T38" fmla="*/ 283 w 352"/>
                  <a:gd name="T39" fmla="*/ 272 h 295"/>
                  <a:gd name="T40" fmla="*/ 276 w 352"/>
                  <a:gd name="T41" fmla="*/ 271 h 295"/>
                  <a:gd name="T42" fmla="*/ 267 w 352"/>
                  <a:gd name="T43" fmla="*/ 273 h 295"/>
                  <a:gd name="T44" fmla="*/ 262 w 352"/>
                  <a:gd name="T45" fmla="*/ 275 h 295"/>
                  <a:gd name="T46" fmla="*/ 256 w 352"/>
                  <a:gd name="T47" fmla="*/ 279 h 295"/>
                  <a:gd name="T48" fmla="*/ 250 w 352"/>
                  <a:gd name="T49" fmla="*/ 282 h 295"/>
                  <a:gd name="T50" fmla="*/ 245 w 352"/>
                  <a:gd name="T51" fmla="*/ 277 h 295"/>
                  <a:gd name="T52" fmla="*/ 240 w 352"/>
                  <a:gd name="T53" fmla="*/ 280 h 295"/>
                  <a:gd name="T54" fmla="*/ 235 w 352"/>
                  <a:gd name="T55" fmla="*/ 281 h 295"/>
                  <a:gd name="T56" fmla="*/ 230 w 352"/>
                  <a:gd name="T57" fmla="*/ 284 h 295"/>
                  <a:gd name="T58" fmla="*/ 225 w 352"/>
                  <a:gd name="T59" fmla="*/ 289 h 295"/>
                  <a:gd name="T60" fmla="*/ 223 w 352"/>
                  <a:gd name="T61" fmla="*/ 294 h 295"/>
                  <a:gd name="T62" fmla="*/ 216 w 352"/>
                  <a:gd name="T63" fmla="*/ 295 h 295"/>
                  <a:gd name="T64" fmla="*/ 215 w 352"/>
                  <a:gd name="T65" fmla="*/ 288 h 295"/>
                  <a:gd name="T66" fmla="*/ 207 w 352"/>
                  <a:gd name="T67" fmla="*/ 283 h 295"/>
                  <a:gd name="T68" fmla="*/ 195 w 352"/>
                  <a:gd name="T69" fmla="*/ 279 h 295"/>
                  <a:gd name="T70" fmla="*/ 185 w 352"/>
                  <a:gd name="T71" fmla="*/ 289 h 295"/>
                  <a:gd name="T72" fmla="*/ 181 w 352"/>
                  <a:gd name="T73" fmla="*/ 283 h 295"/>
                  <a:gd name="T74" fmla="*/ 169 w 352"/>
                  <a:gd name="T75" fmla="*/ 270 h 295"/>
                  <a:gd name="T76" fmla="*/ 147 w 352"/>
                  <a:gd name="T77" fmla="*/ 262 h 295"/>
                  <a:gd name="T78" fmla="*/ 137 w 352"/>
                  <a:gd name="T79" fmla="*/ 251 h 295"/>
                  <a:gd name="T80" fmla="*/ 117 w 352"/>
                  <a:gd name="T81" fmla="*/ 244 h 295"/>
                  <a:gd name="T82" fmla="*/ 106 w 352"/>
                  <a:gd name="T83" fmla="*/ 255 h 295"/>
                  <a:gd name="T84" fmla="*/ 92 w 352"/>
                  <a:gd name="T85" fmla="*/ 252 h 295"/>
                  <a:gd name="T86" fmla="*/ 87 w 352"/>
                  <a:gd name="T87" fmla="*/ 241 h 295"/>
                  <a:gd name="T88" fmla="*/ 77 w 352"/>
                  <a:gd name="T89" fmla="*/ 236 h 295"/>
                  <a:gd name="T90" fmla="*/ 66 w 352"/>
                  <a:gd name="T91" fmla="*/ 231 h 295"/>
                  <a:gd name="T92" fmla="*/ 51 w 352"/>
                  <a:gd name="T93" fmla="*/ 226 h 295"/>
                  <a:gd name="T94" fmla="*/ 40 w 352"/>
                  <a:gd name="T95" fmla="*/ 222 h 295"/>
                  <a:gd name="T96" fmla="*/ 38 w 352"/>
                  <a:gd name="T97" fmla="*/ 218 h 295"/>
                  <a:gd name="T98" fmla="*/ 35 w 352"/>
                  <a:gd name="T99" fmla="*/ 198 h 295"/>
                  <a:gd name="T100" fmla="*/ 28 w 352"/>
                  <a:gd name="T101" fmla="*/ 184 h 295"/>
                  <a:gd name="T102" fmla="*/ 24 w 352"/>
                  <a:gd name="T103" fmla="*/ 164 h 295"/>
                  <a:gd name="T104" fmla="*/ 20 w 352"/>
                  <a:gd name="T105" fmla="*/ 139 h 295"/>
                  <a:gd name="T106" fmla="*/ 4 w 352"/>
                  <a:gd name="T107" fmla="*/ 113 h 295"/>
                  <a:gd name="T108" fmla="*/ 4 w 352"/>
                  <a:gd name="T109" fmla="*/ 80 h 295"/>
                  <a:gd name="T110" fmla="*/ 6 w 352"/>
                  <a:gd name="T111" fmla="*/ 63 h 295"/>
                  <a:gd name="T112" fmla="*/ 45 w 352"/>
                  <a:gd name="T113" fmla="*/ 45 h 295"/>
                  <a:gd name="T114" fmla="*/ 64 w 352"/>
                  <a:gd name="T115" fmla="*/ 32 h 295"/>
                  <a:gd name="T116" fmla="*/ 89 w 352"/>
                  <a:gd name="T117" fmla="*/ 12 h 295"/>
                  <a:gd name="T118" fmla="*/ 121 w 352"/>
                  <a:gd name="T119" fmla="*/ 2 h 295"/>
                  <a:gd name="T120" fmla="*/ 132 w 352"/>
                  <a:gd name="T121" fmla="*/ 14 h 295"/>
                  <a:gd name="T122" fmla="*/ 151 w 352"/>
                  <a:gd name="T123" fmla="*/ 24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52" h="295">
                    <a:moveTo>
                      <a:pt x="155" y="23"/>
                    </a:moveTo>
                    <a:cubicBezTo>
                      <a:pt x="157" y="23"/>
                      <a:pt x="166" y="16"/>
                      <a:pt x="166" y="16"/>
                    </a:cubicBezTo>
                    <a:cubicBezTo>
                      <a:pt x="166" y="16"/>
                      <a:pt x="171" y="18"/>
                      <a:pt x="174" y="17"/>
                    </a:cubicBezTo>
                    <a:cubicBezTo>
                      <a:pt x="177" y="17"/>
                      <a:pt x="187" y="16"/>
                      <a:pt x="187" y="16"/>
                    </a:cubicBezTo>
                    <a:cubicBezTo>
                      <a:pt x="187" y="16"/>
                      <a:pt x="192" y="16"/>
                      <a:pt x="194" y="16"/>
                    </a:cubicBezTo>
                    <a:cubicBezTo>
                      <a:pt x="196" y="16"/>
                      <a:pt x="205" y="15"/>
                      <a:pt x="207" y="15"/>
                    </a:cubicBezTo>
                    <a:cubicBezTo>
                      <a:pt x="209" y="15"/>
                      <a:pt x="215" y="14"/>
                      <a:pt x="216" y="13"/>
                    </a:cubicBezTo>
                    <a:cubicBezTo>
                      <a:pt x="218" y="13"/>
                      <a:pt x="230" y="12"/>
                      <a:pt x="231" y="12"/>
                    </a:cubicBezTo>
                    <a:cubicBezTo>
                      <a:pt x="233" y="12"/>
                      <a:pt x="252" y="10"/>
                      <a:pt x="252" y="10"/>
                    </a:cubicBezTo>
                    <a:cubicBezTo>
                      <a:pt x="260" y="5"/>
                      <a:pt x="260" y="5"/>
                      <a:pt x="260" y="5"/>
                    </a:cubicBezTo>
                    <a:cubicBezTo>
                      <a:pt x="269" y="3"/>
                      <a:pt x="269" y="3"/>
                      <a:pt x="269" y="3"/>
                    </a:cubicBezTo>
                    <a:cubicBezTo>
                      <a:pt x="269" y="3"/>
                      <a:pt x="272" y="0"/>
                      <a:pt x="272" y="1"/>
                    </a:cubicBezTo>
                    <a:cubicBezTo>
                      <a:pt x="273" y="3"/>
                      <a:pt x="275" y="6"/>
                      <a:pt x="275" y="6"/>
                    </a:cubicBezTo>
                    <a:cubicBezTo>
                      <a:pt x="275" y="6"/>
                      <a:pt x="286" y="6"/>
                      <a:pt x="286" y="6"/>
                    </a:cubicBezTo>
                    <a:cubicBezTo>
                      <a:pt x="286" y="7"/>
                      <a:pt x="289" y="13"/>
                      <a:pt x="289" y="13"/>
                    </a:cubicBezTo>
                    <a:cubicBezTo>
                      <a:pt x="292" y="16"/>
                      <a:pt x="292" y="16"/>
                      <a:pt x="292" y="16"/>
                    </a:cubicBezTo>
                    <a:cubicBezTo>
                      <a:pt x="292" y="16"/>
                      <a:pt x="293" y="21"/>
                      <a:pt x="293" y="24"/>
                    </a:cubicBezTo>
                    <a:cubicBezTo>
                      <a:pt x="294" y="26"/>
                      <a:pt x="301" y="38"/>
                      <a:pt x="301" y="38"/>
                    </a:cubicBezTo>
                    <a:cubicBezTo>
                      <a:pt x="306" y="49"/>
                      <a:pt x="306" y="49"/>
                      <a:pt x="306" y="49"/>
                    </a:cubicBezTo>
                    <a:cubicBezTo>
                      <a:pt x="314" y="60"/>
                      <a:pt x="314" y="60"/>
                      <a:pt x="314" y="60"/>
                    </a:cubicBezTo>
                    <a:cubicBezTo>
                      <a:pt x="315" y="68"/>
                      <a:pt x="315" y="68"/>
                      <a:pt x="315" y="68"/>
                    </a:cubicBezTo>
                    <a:cubicBezTo>
                      <a:pt x="315" y="68"/>
                      <a:pt x="318" y="71"/>
                      <a:pt x="318" y="73"/>
                    </a:cubicBezTo>
                    <a:cubicBezTo>
                      <a:pt x="318" y="74"/>
                      <a:pt x="318" y="77"/>
                      <a:pt x="318" y="78"/>
                    </a:cubicBezTo>
                    <a:cubicBezTo>
                      <a:pt x="319" y="78"/>
                      <a:pt x="320" y="83"/>
                      <a:pt x="319" y="83"/>
                    </a:cubicBezTo>
                    <a:cubicBezTo>
                      <a:pt x="318" y="84"/>
                      <a:pt x="314" y="90"/>
                      <a:pt x="314" y="90"/>
                    </a:cubicBezTo>
                    <a:cubicBezTo>
                      <a:pt x="310" y="92"/>
                      <a:pt x="310" y="92"/>
                      <a:pt x="310" y="92"/>
                    </a:cubicBezTo>
                    <a:cubicBezTo>
                      <a:pt x="305" y="99"/>
                      <a:pt x="305" y="99"/>
                      <a:pt x="305" y="99"/>
                    </a:cubicBezTo>
                    <a:cubicBezTo>
                      <a:pt x="302" y="108"/>
                      <a:pt x="302" y="108"/>
                      <a:pt x="302" y="108"/>
                    </a:cubicBezTo>
                    <a:cubicBezTo>
                      <a:pt x="301" y="111"/>
                      <a:pt x="301" y="111"/>
                      <a:pt x="301" y="111"/>
                    </a:cubicBezTo>
                    <a:cubicBezTo>
                      <a:pt x="301" y="111"/>
                      <a:pt x="302" y="114"/>
                      <a:pt x="303" y="114"/>
                    </a:cubicBezTo>
                    <a:cubicBezTo>
                      <a:pt x="305" y="114"/>
                      <a:pt x="312" y="115"/>
                      <a:pt x="312" y="115"/>
                    </a:cubicBezTo>
                    <a:cubicBezTo>
                      <a:pt x="318" y="119"/>
                      <a:pt x="318" y="119"/>
                      <a:pt x="318" y="119"/>
                    </a:cubicBezTo>
                    <a:cubicBezTo>
                      <a:pt x="318" y="123"/>
                      <a:pt x="318" y="123"/>
                      <a:pt x="318" y="123"/>
                    </a:cubicBezTo>
                    <a:cubicBezTo>
                      <a:pt x="318" y="123"/>
                      <a:pt x="319" y="131"/>
                      <a:pt x="319" y="132"/>
                    </a:cubicBezTo>
                    <a:cubicBezTo>
                      <a:pt x="319" y="132"/>
                      <a:pt x="318" y="139"/>
                      <a:pt x="318" y="139"/>
                    </a:cubicBezTo>
                    <a:cubicBezTo>
                      <a:pt x="318" y="139"/>
                      <a:pt x="320" y="143"/>
                      <a:pt x="320" y="144"/>
                    </a:cubicBezTo>
                    <a:cubicBezTo>
                      <a:pt x="321" y="145"/>
                      <a:pt x="323" y="147"/>
                      <a:pt x="323" y="148"/>
                    </a:cubicBezTo>
                    <a:cubicBezTo>
                      <a:pt x="324" y="148"/>
                      <a:pt x="324" y="149"/>
                      <a:pt x="324" y="149"/>
                    </a:cubicBezTo>
                    <a:cubicBezTo>
                      <a:pt x="326" y="154"/>
                      <a:pt x="326" y="154"/>
                      <a:pt x="326" y="154"/>
                    </a:cubicBezTo>
                    <a:cubicBezTo>
                      <a:pt x="326" y="158"/>
                      <a:pt x="326" y="158"/>
                      <a:pt x="326" y="158"/>
                    </a:cubicBezTo>
                    <a:cubicBezTo>
                      <a:pt x="326" y="158"/>
                      <a:pt x="326" y="161"/>
                      <a:pt x="328" y="161"/>
                    </a:cubicBezTo>
                    <a:cubicBezTo>
                      <a:pt x="330" y="161"/>
                      <a:pt x="331" y="162"/>
                      <a:pt x="331" y="164"/>
                    </a:cubicBezTo>
                    <a:cubicBezTo>
                      <a:pt x="331" y="166"/>
                      <a:pt x="336" y="168"/>
                      <a:pt x="336" y="168"/>
                    </a:cubicBezTo>
                    <a:cubicBezTo>
                      <a:pt x="336" y="168"/>
                      <a:pt x="336" y="172"/>
                      <a:pt x="337" y="173"/>
                    </a:cubicBezTo>
                    <a:cubicBezTo>
                      <a:pt x="339" y="174"/>
                      <a:pt x="341" y="175"/>
                      <a:pt x="344" y="175"/>
                    </a:cubicBezTo>
                    <a:cubicBezTo>
                      <a:pt x="347" y="176"/>
                      <a:pt x="346" y="180"/>
                      <a:pt x="348" y="181"/>
                    </a:cubicBezTo>
                    <a:cubicBezTo>
                      <a:pt x="350" y="182"/>
                      <a:pt x="352" y="184"/>
                      <a:pt x="350" y="184"/>
                    </a:cubicBezTo>
                    <a:cubicBezTo>
                      <a:pt x="349" y="185"/>
                      <a:pt x="346" y="185"/>
                      <a:pt x="346" y="185"/>
                    </a:cubicBezTo>
                    <a:cubicBezTo>
                      <a:pt x="346" y="185"/>
                      <a:pt x="345" y="186"/>
                      <a:pt x="345" y="188"/>
                    </a:cubicBezTo>
                    <a:cubicBezTo>
                      <a:pt x="346" y="189"/>
                      <a:pt x="346" y="189"/>
                      <a:pt x="346" y="189"/>
                    </a:cubicBezTo>
                    <a:cubicBezTo>
                      <a:pt x="350" y="194"/>
                      <a:pt x="350" y="194"/>
                      <a:pt x="350" y="194"/>
                    </a:cubicBezTo>
                    <a:cubicBezTo>
                      <a:pt x="350" y="200"/>
                      <a:pt x="350" y="200"/>
                      <a:pt x="350" y="200"/>
                    </a:cubicBezTo>
                    <a:cubicBezTo>
                      <a:pt x="350" y="200"/>
                      <a:pt x="350" y="202"/>
                      <a:pt x="350" y="204"/>
                    </a:cubicBezTo>
                    <a:cubicBezTo>
                      <a:pt x="350" y="205"/>
                      <a:pt x="349" y="207"/>
                      <a:pt x="347" y="207"/>
                    </a:cubicBezTo>
                    <a:cubicBezTo>
                      <a:pt x="345" y="207"/>
                      <a:pt x="345" y="210"/>
                      <a:pt x="344" y="210"/>
                    </a:cubicBezTo>
                    <a:cubicBezTo>
                      <a:pt x="343" y="211"/>
                      <a:pt x="341" y="208"/>
                      <a:pt x="340" y="211"/>
                    </a:cubicBezTo>
                    <a:cubicBezTo>
                      <a:pt x="339" y="215"/>
                      <a:pt x="337" y="218"/>
                      <a:pt x="337" y="219"/>
                    </a:cubicBezTo>
                    <a:cubicBezTo>
                      <a:pt x="336" y="220"/>
                      <a:pt x="333" y="221"/>
                      <a:pt x="333" y="223"/>
                    </a:cubicBezTo>
                    <a:cubicBezTo>
                      <a:pt x="332" y="225"/>
                      <a:pt x="332" y="223"/>
                      <a:pt x="330" y="228"/>
                    </a:cubicBezTo>
                    <a:cubicBezTo>
                      <a:pt x="328" y="233"/>
                      <a:pt x="327" y="235"/>
                      <a:pt x="327" y="235"/>
                    </a:cubicBezTo>
                    <a:cubicBezTo>
                      <a:pt x="318" y="247"/>
                      <a:pt x="318" y="247"/>
                      <a:pt x="318" y="247"/>
                    </a:cubicBezTo>
                    <a:cubicBezTo>
                      <a:pt x="318" y="247"/>
                      <a:pt x="313" y="255"/>
                      <a:pt x="313" y="256"/>
                    </a:cubicBezTo>
                    <a:cubicBezTo>
                      <a:pt x="313" y="257"/>
                      <a:pt x="313" y="261"/>
                      <a:pt x="313" y="261"/>
                    </a:cubicBezTo>
                    <a:cubicBezTo>
                      <a:pt x="317" y="265"/>
                      <a:pt x="317" y="265"/>
                      <a:pt x="317" y="265"/>
                    </a:cubicBezTo>
                    <a:cubicBezTo>
                      <a:pt x="317" y="269"/>
                      <a:pt x="317" y="269"/>
                      <a:pt x="317" y="269"/>
                    </a:cubicBezTo>
                    <a:cubicBezTo>
                      <a:pt x="317" y="269"/>
                      <a:pt x="317" y="272"/>
                      <a:pt x="318" y="273"/>
                    </a:cubicBezTo>
                    <a:cubicBezTo>
                      <a:pt x="319" y="273"/>
                      <a:pt x="319" y="273"/>
                      <a:pt x="319" y="273"/>
                    </a:cubicBezTo>
                    <a:cubicBezTo>
                      <a:pt x="318" y="276"/>
                      <a:pt x="318" y="276"/>
                      <a:pt x="318" y="276"/>
                    </a:cubicBezTo>
                    <a:cubicBezTo>
                      <a:pt x="318" y="276"/>
                      <a:pt x="319" y="279"/>
                      <a:pt x="320" y="279"/>
                    </a:cubicBezTo>
                    <a:cubicBezTo>
                      <a:pt x="320" y="279"/>
                      <a:pt x="322" y="280"/>
                      <a:pt x="322" y="280"/>
                    </a:cubicBezTo>
                    <a:cubicBezTo>
                      <a:pt x="322" y="280"/>
                      <a:pt x="324" y="282"/>
                      <a:pt x="324" y="282"/>
                    </a:cubicBezTo>
                    <a:cubicBezTo>
                      <a:pt x="325" y="283"/>
                      <a:pt x="324" y="285"/>
                      <a:pt x="324" y="285"/>
                    </a:cubicBezTo>
                    <a:cubicBezTo>
                      <a:pt x="324" y="285"/>
                      <a:pt x="324" y="286"/>
                      <a:pt x="323" y="286"/>
                    </a:cubicBezTo>
                    <a:cubicBezTo>
                      <a:pt x="322" y="286"/>
                      <a:pt x="322" y="286"/>
                      <a:pt x="320" y="286"/>
                    </a:cubicBezTo>
                    <a:cubicBezTo>
                      <a:pt x="319" y="285"/>
                      <a:pt x="316" y="285"/>
                      <a:pt x="315" y="285"/>
                    </a:cubicBezTo>
                    <a:cubicBezTo>
                      <a:pt x="314" y="285"/>
                      <a:pt x="314" y="285"/>
                      <a:pt x="314" y="285"/>
                    </a:cubicBezTo>
                    <a:cubicBezTo>
                      <a:pt x="313" y="285"/>
                      <a:pt x="313" y="285"/>
                      <a:pt x="312" y="286"/>
                    </a:cubicBezTo>
                    <a:cubicBezTo>
                      <a:pt x="312" y="285"/>
                      <a:pt x="312" y="285"/>
                      <a:pt x="312" y="285"/>
                    </a:cubicBezTo>
                    <a:cubicBezTo>
                      <a:pt x="312" y="284"/>
                      <a:pt x="312" y="283"/>
                      <a:pt x="312" y="283"/>
                    </a:cubicBezTo>
                    <a:cubicBezTo>
                      <a:pt x="312" y="283"/>
                      <a:pt x="309" y="283"/>
                      <a:pt x="309" y="283"/>
                    </a:cubicBezTo>
                    <a:cubicBezTo>
                      <a:pt x="308" y="283"/>
                      <a:pt x="307" y="283"/>
                      <a:pt x="307" y="283"/>
                    </a:cubicBezTo>
                    <a:cubicBezTo>
                      <a:pt x="307" y="283"/>
                      <a:pt x="305" y="282"/>
                      <a:pt x="305" y="282"/>
                    </a:cubicBezTo>
                    <a:cubicBezTo>
                      <a:pt x="305" y="282"/>
                      <a:pt x="304" y="282"/>
                      <a:pt x="304" y="282"/>
                    </a:cubicBezTo>
                    <a:cubicBezTo>
                      <a:pt x="304" y="281"/>
                      <a:pt x="303" y="282"/>
                      <a:pt x="303" y="282"/>
                    </a:cubicBezTo>
                    <a:cubicBezTo>
                      <a:pt x="302" y="282"/>
                      <a:pt x="302" y="282"/>
                      <a:pt x="302" y="282"/>
                    </a:cubicBezTo>
                    <a:cubicBezTo>
                      <a:pt x="300" y="282"/>
                      <a:pt x="300" y="282"/>
                      <a:pt x="300" y="282"/>
                    </a:cubicBezTo>
                    <a:cubicBezTo>
                      <a:pt x="300" y="282"/>
                      <a:pt x="300" y="281"/>
                      <a:pt x="300" y="281"/>
                    </a:cubicBezTo>
                    <a:cubicBezTo>
                      <a:pt x="300" y="280"/>
                      <a:pt x="299" y="281"/>
                      <a:pt x="299" y="281"/>
                    </a:cubicBezTo>
                    <a:cubicBezTo>
                      <a:pt x="299" y="281"/>
                      <a:pt x="297" y="281"/>
                      <a:pt x="297" y="281"/>
                    </a:cubicBezTo>
                    <a:cubicBezTo>
                      <a:pt x="297" y="280"/>
                      <a:pt x="296" y="280"/>
                      <a:pt x="296" y="280"/>
                    </a:cubicBezTo>
                    <a:cubicBezTo>
                      <a:pt x="296" y="280"/>
                      <a:pt x="293" y="280"/>
                      <a:pt x="292" y="280"/>
                    </a:cubicBezTo>
                    <a:cubicBezTo>
                      <a:pt x="292" y="279"/>
                      <a:pt x="292" y="279"/>
                      <a:pt x="292" y="279"/>
                    </a:cubicBezTo>
                    <a:cubicBezTo>
                      <a:pt x="292" y="279"/>
                      <a:pt x="292" y="278"/>
                      <a:pt x="292" y="277"/>
                    </a:cubicBezTo>
                    <a:cubicBezTo>
                      <a:pt x="292" y="277"/>
                      <a:pt x="291" y="277"/>
                      <a:pt x="291" y="276"/>
                    </a:cubicBezTo>
                    <a:cubicBezTo>
                      <a:pt x="291" y="276"/>
                      <a:pt x="290" y="275"/>
                      <a:pt x="290" y="275"/>
                    </a:cubicBezTo>
                    <a:cubicBezTo>
                      <a:pt x="290" y="274"/>
                      <a:pt x="289" y="274"/>
                      <a:pt x="289" y="273"/>
                    </a:cubicBezTo>
                    <a:cubicBezTo>
                      <a:pt x="289" y="273"/>
                      <a:pt x="288" y="274"/>
                      <a:pt x="288" y="274"/>
                    </a:cubicBezTo>
                    <a:cubicBezTo>
                      <a:pt x="287" y="274"/>
                      <a:pt x="286" y="273"/>
                      <a:pt x="286" y="273"/>
                    </a:cubicBezTo>
                    <a:cubicBezTo>
                      <a:pt x="285" y="272"/>
                      <a:pt x="285" y="272"/>
                      <a:pt x="285" y="272"/>
                    </a:cubicBezTo>
                    <a:cubicBezTo>
                      <a:pt x="285" y="272"/>
                      <a:pt x="284" y="272"/>
                      <a:pt x="283" y="272"/>
                    </a:cubicBezTo>
                    <a:cubicBezTo>
                      <a:pt x="283" y="272"/>
                      <a:pt x="283" y="274"/>
                      <a:pt x="283" y="274"/>
                    </a:cubicBezTo>
                    <a:cubicBezTo>
                      <a:pt x="283" y="274"/>
                      <a:pt x="282" y="274"/>
                      <a:pt x="281" y="273"/>
                    </a:cubicBezTo>
                    <a:cubicBezTo>
                      <a:pt x="281" y="273"/>
                      <a:pt x="280" y="272"/>
                      <a:pt x="279" y="272"/>
                    </a:cubicBezTo>
                    <a:cubicBezTo>
                      <a:pt x="279" y="272"/>
                      <a:pt x="278" y="272"/>
                      <a:pt x="277" y="271"/>
                    </a:cubicBezTo>
                    <a:cubicBezTo>
                      <a:pt x="277" y="271"/>
                      <a:pt x="276" y="271"/>
                      <a:pt x="276" y="271"/>
                    </a:cubicBezTo>
                    <a:cubicBezTo>
                      <a:pt x="276" y="271"/>
                      <a:pt x="272" y="272"/>
                      <a:pt x="272" y="272"/>
                    </a:cubicBezTo>
                    <a:cubicBezTo>
                      <a:pt x="272" y="272"/>
                      <a:pt x="272" y="273"/>
                      <a:pt x="271" y="273"/>
                    </a:cubicBezTo>
                    <a:cubicBezTo>
                      <a:pt x="271" y="274"/>
                      <a:pt x="270" y="273"/>
                      <a:pt x="270" y="273"/>
                    </a:cubicBezTo>
                    <a:cubicBezTo>
                      <a:pt x="270" y="273"/>
                      <a:pt x="269" y="273"/>
                      <a:pt x="268" y="273"/>
                    </a:cubicBezTo>
                    <a:cubicBezTo>
                      <a:pt x="268" y="273"/>
                      <a:pt x="267" y="273"/>
                      <a:pt x="267" y="273"/>
                    </a:cubicBezTo>
                    <a:cubicBezTo>
                      <a:pt x="267" y="273"/>
                      <a:pt x="266" y="272"/>
                      <a:pt x="265" y="272"/>
                    </a:cubicBezTo>
                    <a:cubicBezTo>
                      <a:pt x="265" y="272"/>
                      <a:pt x="264" y="272"/>
                      <a:pt x="264" y="272"/>
                    </a:cubicBezTo>
                    <a:cubicBezTo>
                      <a:pt x="264" y="272"/>
                      <a:pt x="263" y="273"/>
                      <a:pt x="263" y="273"/>
                    </a:cubicBezTo>
                    <a:cubicBezTo>
                      <a:pt x="262" y="274"/>
                      <a:pt x="262" y="274"/>
                      <a:pt x="262" y="274"/>
                    </a:cubicBezTo>
                    <a:cubicBezTo>
                      <a:pt x="262" y="275"/>
                      <a:pt x="262" y="275"/>
                      <a:pt x="262" y="275"/>
                    </a:cubicBezTo>
                    <a:cubicBezTo>
                      <a:pt x="260" y="274"/>
                      <a:pt x="260" y="274"/>
                      <a:pt x="260" y="274"/>
                    </a:cubicBezTo>
                    <a:cubicBezTo>
                      <a:pt x="260" y="274"/>
                      <a:pt x="259" y="274"/>
                      <a:pt x="258" y="274"/>
                    </a:cubicBezTo>
                    <a:cubicBezTo>
                      <a:pt x="256" y="275"/>
                      <a:pt x="257" y="276"/>
                      <a:pt x="257" y="276"/>
                    </a:cubicBezTo>
                    <a:cubicBezTo>
                      <a:pt x="258" y="276"/>
                      <a:pt x="259" y="278"/>
                      <a:pt x="259" y="278"/>
                    </a:cubicBezTo>
                    <a:cubicBezTo>
                      <a:pt x="259" y="278"/>
                      <a:pt x="256" y="279"/>
                      <a:pt x="256" y="279"/>
                    </a:cubicBezTo>
                    <a:cubicBezTo>
                      <a:pt x="255" y="280"/>
                      <a:pt x="255" y="280"/>
                      <a:pt x="255" y="281"/>
                    </a:cubicBezTo>
                    <a:cubicBezTo>
                      <a:pt x="255" y="281"/>
                      <a:pt x="254" y="282"/>
                      <a:pt x="254" y="283"/>
                    </a:cubicBezTo>
                    <a:cubicBezTo>
                      <a:pt x="254" y="283"/>
                      <a:pt x="253" y="282"/>
                      <a:pt x="252" y="282"/>
                    </a:cubicBezTo>
                    <a:cubicBezTo>
                      <a:pt x="251" y="282"/>
                      <a:pt x="251" y="281"/>
                      <a:pt x="251" y="281"/>
                    </a:cubicBezTo>
                    <a:cubicBezTo>
                      <a:pt x="250" y="282"/>
                      <a:pt x="250" y="282"/>
                      <a:pt x="250" y="282"/>
                    </a:cubicBezTo>
                    <a:cubicBezTo>
                      <a:pt x="249" y="282"/>
                      <a:pt x="249" y="282"/>
                      <a:pt x="249" y="282"/>
                    </a:cubicBezTo>
                    <a:cubicBezTo>
                      <a:pt x="249" y="282"/>
                      <a:pt x="248" y="281"/>
                      <a:pt x="248" y="280"/>
                    </a:cubicBezTo>
                    <a:cubicBezTo>
                      <a:pt x="248" y="280"/>
                      <a:pt x="248" y="280"/>
                      <a:pt x="248" y="280"/>
                    </a:cubicBezTo>
                    <a:cubicBezTo>
                      <a:pt x="247" y="280"/>
                      <a:pt x="246" y="280"/>
                      <a:pt x="246" y="279"/>
                    </a:cubicBezTo>
                    <a:cubicBezTo>
                      <a:pt x="245" y="277"/>
                      <a:pt x="245" y="277"/>
                      <a:pt x="245" y="277"/>
                    </a:cubicBezTo>
                    <a:cubicBezTo>
                      <a:pt x="245" y="277"/>
                      <a:pt x="243" y="278"/>
                      <a:pt x="243" y="279"/>
                    </a:cubicBezTo>
                    <a:cubicBezTo>
                      <a:pt x="242" y="279"/>
                      <a:pt x="243" y="279"/>
                      <a:pt x="242" y="278"/>
                    </a:cubicBezTo>
                    <a:cubicBezTo>
                      <a:pt x="241" y="278"/>
                      <a:pt x="241" y="279"/>
                      <a:pt x="241" y="279"/>
                    </a:cubicBezTo>
                    <a:cubicBezTo>
                      <a:pt x="241" y="279"/>
                      <a:pt x="241" y="279"/>
                      <a:pt x="241" y="279"/>
                    </a:cubicBezTo>
                    <a:cubicBezTo>
                      <a:pt x="241" y="280"/>
                      <a:pt x="240" y="280"/>
                      <a:pt x="240" y="280"/>
                    </a:cubicBezTo>
                    <a:cubicBezTo>
                      <a:pt x="240" y="281"/>
                      <a:pt x="239" y="280"/>
                      <a:pt x="239" y="280"/>
                    </a:cubicBezTo>
                    <a:cubicBezTo>
                      <a:pt x="238" y="280"/>
                      <a:pt x="237" y="280"/>
                      <a:pt x="237" y="280"/>
                    </a:cubicBezTo>
                    <a:cubicBezTo>
                      <a:pt x="237" y="280"/>
                      <a:pt x="237" y="279"/>
                      <a:pt x="237" y="279"/>
                    </a:cubicBezTo>
                    <a:cubicBezTo>
                      <a:pt x="235" y="280"/>
                      <a:pt x="235" y="280"/>
                      <a:pt x="235" y="280"/>
                    </a:cubicBezTo>
                    <a:cubicBezTo>
                      <a:pt x="235" y="280"/>
                      <a:pt x="235" y="281"/>
                      <a:pt x="235" y="281"/>
                    </a:cubicBezTo>
                    <a:cubicBezTo>
                      <a:pt x="235" y="281"/>
                      <a:pt x="234" y="281"/>
                      <a:pt x="233" y="282"/>
                    </a:cubicBezTo>
                    <a:cubicBezTo>
                      <a:pt x="231" y="282"/>
                      <a:pt x="232" y="281"/>
                      <a:pt x="231" y="282"/>
                    </a:cubicBezTo>
                    <a:cubicBezTo>
                      <a:pt x="231" y="282"/>
                      <a:pt x="231" y="282"/>
                      <a:pt x="231" y="283"/>
                    </a:cubicBezTo>
                    <a:cubicBezTo>
                      <a:pt x="231" y="283"/>
                      <a:pt x="232" y="283"/>
                      <a:pt x="231" y="284"/>
                    </a:cubicBezTo>
                    <a:cubicBezTo>
                      <a:pt x="230" y="285"/>
                      <a:pt x="230" y="284"/>
                      <a:pt x="230" y="284"/>
                    </a:cubicBezTo>
                    <a:cubicBezTo>
                      <a:pt x="229" y="284"/>
                      <a:pt x="228" y="285"/>
                      <a:pt x="228" y="285"/>
                    </a:cubicBezTo>
                    <a:cubicBezTo>
                      <a:pt x="228" y="285"/>
                      <a:pt x="228" y="286"/>
                      <a:pt x="228" y="286"/>
                    </a:cubicBezTo>
                    <a:cubicBezTo>
                      <a:pt x="228" y="286"/>
                      <a:pt x="227" y="286"/>
                      <a:pt x="226" y="286"/>
                    </a:cubicBezTo>
                    <a:cubicBezTo>
                      <a:pt x="225" y="286"/>
                      <a:pt x="226" y="287"/>
                      <a:pt x="226" y="287"/>
                    </a:cubicBezTo>
                    <a:cubicBezTo>
                      <a:pt x="226" y="287"/>
                      <a:pt x="226" y="288"/>
                      <a:pt x="225" y="289"/>
                    </a:cubicBezTo>
                    <a:cubicBezTo>
                      <a:pt x="225" y="289"/>
                      <a:pt x="225" y="290"/>
                      <a:pt x="225" y="291"/>
                    </a:cubicBezTo>
                    <a:cubicBezTo>
                      <a:pt x="225" y="291"/>
                      <a:pt x="225" y="291"/>
                      <a:pt x="225" y="293"/>
                    </a:cubicBezTo>
                    <a:cubicBezTo>
                      <a:pt x="225" y="294"/>
                      <a:pt x="225" y="294"/>
                      <a:pt x="225" y="294"/>
                    </a:cubicBezTo>
                    <a:cubicBezTo>
                      <a:pt x="225" y="294"/>
                      <a:pt x="224" y="294"/>
                      <a:pt x="224" y="294"/>
                    </a:cubicBezTo>
                    <a:cubicBezTo>
                      <a:pt x="224" y="293"/>
                      <a:pt x="223" y="294"/>
                      <a:pt x="223" y="294"/>
                    </a:cubicBezTo>
                    <a:cubicBezTo>
                      <a:pt x="223" y="294"/>
                      <a:pt x="222" y="293"/>
                      <a:pt x="222" y="292"/>
                    </a:cubicBezTo>
                    <a:cubicBezTo>
                      <a:pt x="222" y="292"/>
                      <a:pt x="221" y="292"/>
                      <a:pt x="221" y="292"/>
                    </a:cubicBezTo>
                    <a:cubicBezTo>
                      <a:pt x="221" y="292"/>
                      <a:pt x="219" y="293"/>
                      <a:pt x="219" y="293"/>
                    </a:cubicBezTo>
                    <a:cubicBezTo>
                      <a:pt x="219" y="293"/>
                      <a:pt x="219" y="294"/>
                      <a:pt x="219" y="294"/>
                    </a:cubicBezTo>
                    <a:cubicBezTo>
                      <a:pt x="218" y="294"/>
                      <a:pt x="216" y="295"/>
                      <a:pt x="216" y="295"/>
                    </a:cubicBezTo>
                    <a:cubicBezTo>
                      <a:pt x="216" y="295"/>
                      <a:pt x="215" y="295"/>
                      <a:pt x="215" y="295"/>
                    </a:cubicBezTo>
                    <a:cubicBezTo>
                      <a:pt x="214" y="294"/>
                      <a:pt x="214" y="294"/>
                      <a:pt x="214" y="294"/>
                    </a:cubicBezTo>
                    <a:cubicBezTo>
                      <a:pt x="214" y="293"/>
                      <a:pt x="214" y="293"/>
                      <a:pt x="214" y="293"/>
                    </a:cubicBezTo>
                    <a:cubicBezTo>
                      <a:pt x="216" y="291"/>
                      <a:pt x="216" y="291"/>
                      <a:pt x="216" y="291"/>
                    </a:cubicBezTo>
                    <a:cubicBezTo>
                      <a:pt x="215" y="288"/>
                      <a:pt x="215" y="288"/>
                      <a:pt x="215" y="288"/>
                    </a:cubicBezTo>
                    <a:cubicBezTo>
                      <a:pt x="213" y="286"/>
                      <a:pt x="213" y="286"/>
                      <a:pt x="213" y="286"/>
                    </a:cubicBezTo>
                    <a:cubicBezTo>
                      <a:pt x="213" y="285"/>
                      <a:pt x="213" y="285"/>
                      <a:pt x="213" y="285"/>
                    </a:cubicBezTo>
                    <a:cubicBezTo>
                      <a:pt x="210" y="285"/>
                      <a:pt x="210" y="285"/>
                      <a:pt x="210" y="285"/>
                    </a:cubicBezTo>
                    <a:cubicBezTo>
                      <a:pt x="208" y="284"/>
                      <a:pt x="208" y="284"/>
                      <a:pt x="208" y="284"/>
                    </a:cubicBezTo>
                    <a:cubicBezTo>
                      <a:pt x="207" y="283"/>
                      <a:pt x="207" y="283"/>
                      <a:pt x="207" y="283"/>
                    </a:cubicBezTo>
                    <a:cubicBezTo>
                      <a:pt x="204" y="281"/>
                      <a:pt x="204" y="281"/>
                      <a:pt x="204" y="281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199" y="275"/>
                      <a:pt x="199" y="275"/>
                      <a:pt x="199" y="275"/>
                    </a:cubicBezTo>
                    <a:cubicBezTo>
                      <a:pt x="199" y="275"/>
                      <a:pt x="197" y="277"/>
                      <a:pt x="197" y="278"/>
                    </a:cubicBezTo>
                    <a:cubicBezTo>
                      <a:pt x="197" y="279"/>
                      <a:pt x="195" y="279"/>
                      <a:pt x="195" y="279"/>
                    </a:cubicBezTo>
                    <a:cubicBezTo>
                      <a:pt x="193" y="282"/>
                      <a:pt x="193" y="282"/>
                      <a:pt x="193" y="282"/>
                    </a:cubicBezTo>
                    <a:cubicBezTo>
                      <a:pt x="193" y="282"/>
                      <a:pt x="193" y="286"/>
                      <a:pt x="193" y="287"/>
                    </a:cubicBezTo>
                    <a:cubicBezTo>
                      <a:pt x="193" y="288"/>
                      <a:pt x="191" y="286"/>
                      <a:pt x="191" y="286"/>
                    </a:cubicBezTo>
                    <a:cubicBezTo>
                      <a:pt x="191" y="286"/>
                      <a:pt x="189" y="287"/>
                      <a:pt x="188" y="288"/>
                    </a:cubicBezTo>
                    <a:cubicBezTo>
                      <a:pt x="187" y="289"/>
                      <a:pt x="185" y="289"/>
                      <a:pt x="185" y="289"/>
                    </a:cubicBezTo>
                    <a:cubicBezTo>
                      <a:pt x="185" y="289"/>
                      <a:pt x="184" y="287"/>
                      <a:pt x="183" y="286"/>
                    </a:cubicBezTo>
                    <a:cubicBezTo>
                      <a:pt x="183" y="286"/>
                      <a:pt x="183" y="285"/>
                      <a:pt x="183" y="283"/>
                    </a:cubicBezTo>
                    <a:cubicBezTo>
                      <a:pt x="183" y="282"/>
                      <a:pt x="181" y="284"/>
                      <a:pt x="181" y="284"/>
                    </a:cubicBezTo>
                    <a:cubicBezTo>
                      <a:pt x="181" y="284"/>
                      <a:pt x="181" y="284"/>
                      <a:pt x="181" y="284"/>
                    </a:cubicBezTo>
                    <a:cubicBezTo>
                      <a:pt x="181" y="283"/>
                      <a:pt x="181" y="283"/>
                      <a:pt x="181" y="283"/>
                    </a:cubicBezTo>
                    <a:cubicBezTo>
                      <a:pt x="180" y="281"/>
                      <a:pt x="179" y="280"/>
                      <a:pt x="179" y="280"/>
                    </a:cubicBezTo>
                    <a:cubicBezTo>
                      <a:pt x="179" y="280"/>
                      <a:pt x="178" y="278"/>
                      <a:pt x="178" y="276"/>
                    </a:cubicBezTo>
                    <a:cubicBezTo>
                      <a:pt x="178" y="275"/>
                      <a:pt x="174" y="273"/>
                      <a:pt x="174" y="273"/>
                    </a:cubicBezTo>
                    <a:cubicBezTo>
                      <a:pt x="174" y="273"/>
                      <a:pt x="175" y="275"/>
                      <a:pt x="173" y="273"/>
                    </a:cubicBezTo>
                    <a:cubicBezTo>
                      <a:pt x="171" y="270"/>
                      <a:pt x="169" y="270"/>
                      <a:pt x="169" y="270"/>
                    </a:cubicBezTo>
                    <a:cubicBezTo>
                      <a:pt x="168" y="262"/>
                      <a:pt x="168" y="262"/>
                      <a:pt x="168" y="262"/>
                    </a:cubicBezTo>
                    <a:cubicBezTo>
                      <a:pt x="160" y="264"/>
                      <a:pt x="160" y="264"/>
                      <a:pt x="160" y="264"/>
                    </a:cubicBezTo>
                    <a:cubicBezTo>
                      <a:pt x="160" y="264"/>
                      <a:pt x="155" y="262"/>
                      <a:pt x="154" y="261"/>
                    </a:cubicBezTo>
                    <a:cubicBezTo>
                      <a:pt x="153" y="260"/>
                      <a:pt x="150" y="259"/>
                      <a:pt x="150" y="259"/>
                    </a:cubicBezTo>
                    <a:cubicBezTo>
                      <a:pt x="147" y="262"/>
                      <a:pt x="147" y="262"/>
                      <a:pt x="147" y="262"/>
                    </a:cubicBezTo>
                    <a:cubicBezTo>
                      <a:pt x="144" y="262"/>
                      <a:pt x="144" y="262"/>
                      <a:pt x="144" y="262"/>
                    </a:cubicBezTo>
                    <a:cubicBezTo>
                      <a:pt x="144" y="262"/>
                      <a:pt x="140" y="261"/>
                      <a:pt x="139" y="260"/>
                    </a:cubicBezTo>
                    <a:cubicBezTo>
                      <a:pt x="137" y="258"/>
                      <a:pt x="138" y="257"/>
                      <a:pt x="137" y="257"/>
                    </a:cubicBezTo>
                    <a:cubicBezTo>
                      <a:pt x="135" y="257"/>
                      <a:pt x="134" y="255"/>
                      <a:pt x="134" y="255"/>
                    </a:cubicBezTo>
                    <a:cubicBezTo>
                      <a:pt x="134" y="255"/>
                      <a:pt x="136" y="252"/>
                      <a:pt x="137" y="251"/>
                    </a:cubicBezTo>
                    <a:cubicBezTo>
                      <a:pt x="137" y="250"/>
                      <a:pt x="139" y="251"/>
                      <a:pt x="138" y="248"/>
                    </a:cubicBezTo>
                    <a:cubicBezTo>
                      <a:pt x="136" y="246"/>
                      <a:pt x="135" y="245"/>
                      <a:pt x="135" y="245"/>
                    </a:cubicBezTo>
                    <a:cubicBezTo>
                      <a:pt x="135" y="245"/>
                      <a:pt x="135" y="247"/>
                      <a:pt x="133" y="248"/>
                    </a:cubicBezTo>
                    <a:cubicBezTo>
                      <a:pt x="131" y="248"/>
                      <a:pt x="128" y="249"/>
                      <a:pt x="128" y="249"/>
                    </a:cubicBezTo>
                    <a:cubicBezTo>
                      <a:pt x="117" y="244"/>
                      <a:pt x="117" y="244"/>
                      <a:pt x="117" y="244"/>
                    </a:cubicBezTo>
                    <a:cubicBezTo>
                      <a:pt x="117" y="244"/>
                      <a:pt x="114" y="243"/>
                      <a:pt x="113" y="243"/>
                    </a:cubicBezTo>
                    <a:cubicBezTo>
                      <a:pt x="112" y="244"/>
                      <a:pt x="108" y="243"/>
                      <a:pt x="108" y="243"/>
                    </a:cubicBezTo>
                    <a:cubicBezTo>
                      <a:pt x="110" y="247"/>
                      <a:pt x="110" y="247"/>
                      <a:pt x="110" y="247"/>
                    </a:cubicBezTo>
                    <a:cubicBezTo>
                      <a:pt x="112" y="253"/>
                      <a:pt x="112" y="253"/>
                      <a:pt x="112" y="253"/>
                    </a:cubicBezTo>
                    <a:cubicBezTo>
                      <a:pt x="106" y="255"/>
                      <a:pt x="106" y="255"/>
                      <a:pt x="106" y="255"/>
                    </a:cubicBezTo>
                    <a:cubicBezTo>
                      <a:pt x="105" y="260"/>
                      <a:pt x="105" y="260"/>
                      <a:pt x="105" y="260"/>
                    </a:cubicBezTo>
                    <a:cubicBezTo>
                      <a:pt x="105" y="260"/>
                      <a:pt x="99" y="264"/>
                      <a:pt x="99" y="262"/>
                    </a:cubicBezTo>
                    <a:cubicBezTo>
                      <a:pt x="98" y="261"/>
                      <a:pt x="97" y="257"/>
                      <a:pt x="97" y="257"/>
                    </a:cubicBezTo>
                    <a:cubicBezTo>
                      <a:pt x="97" y="257"/>
                      <a:pt x="96" y="255"/>
                      <a:pt x="95" y="254"/>
                    </a:cubicBezTo>
                    <a:cubicBezTo>
                      <a:pt x="93" y="253"/>
                      <a:pt x="92" y="252"/>
                      <a:pt x="92" y="252"/>
                    </a:cubicBezTo>
                    <a:cubicBezTo>
                      <a:pt x="89" y="251"/>
                      <a:pt x="89" y="251"/>
                      <a:pt x="89" y="251"/>
                    </a:cubicBezTo>
                    <a:cubicBezTo>
                      <a:pt x="89" y="251"/>
                      <a:pt x="88" y="247"/>
                      <a:pt x="87" y="247"/>
                    </a:cubicBezTo>
                    <a:cubicBezTo>
                      <a:pt x="86" y="247"/>
                      <a:pt x="85" y="247"/>
                      <a:pt x="85" y="247"/>
                    </a:cubicBezTo>
                    <a:cubicBezTo>
                      <a:pt x="85" y="244"/>
                      <a:pt x="85" y="244"/>
                      <a:pt x="85" y="244"/>
                    </a:cubicBezTo>
                    <a:cubicBezTo>
                      <a:pt x="87" y="241"/>
                      <a:pt x="87" y="241"/>
                      <a:pt x="87" y="241"/>
                    </a:cubicBezTo>
                    <a:cubicBezTo>
                      <a:pt x="87" y="241"/>
                      <a:pt x="88" y="242"/>
                      <a:pt x="88" y="238"/>
                    </a:cubicBezTo>
                    <a:cubicBezTo>
                      <a:pt x="89" y="233"/>
                      <a:pt x="86" y="233"/>
                      <a:pt x="86" y="233"/>
                    </a:cubicBezTo>
                    <a:cubicBezTo>
                      <a:pt x="83" y="234"/>
                      <a:pt x="83" y="234"/>
                      <a:pt x="83" y="234"/>
                    </a:cubicBezTo>
                    <a:cubicBezTo>
                      <a:pt x="79" y="236"/>
                      <a:pt x="79" y="236"/>
                      <a:pt x="79" y="236"/>
                    </a:cubicBezTo>
                    <a:cubicBezTo>
                      <a:pt x="77" y="236"/>
                      <a:pt x="77" y="236"/>
                      <a:pt x="77" y="236"/>
                    </a:cubicBezTo>
                    <a:cubicBezTo>
                      <a:pt x="76" y="236"/>
                      <a:pt x="74" y="233"/>
                      <a:pt x="74" y="233"/>
                    </a:cubicBezTo>
                    <a:cubicBezTo>
                      <a:pt x="74" y="233"/>
                      <a:pt x="76" y="230"/>
                      <a:pt x="73" y="233"/>
                    </a:cubicBezTo>
                    <a:cubicBezTo>
                      <a:pt x="70" y="236"/>
                      <a:pt x="68" y="232"/>
                      <a:pt x="68" y="232"/>
                    </a:cubicBezTo>
                    <a:cubicBezTo>
                      <a:pt x="67" y="231"/>
                      <a:pt x="67" y="231"/>
                      <a:pt x="67" y="231"/>
                    </a:cubicBezTo>
                    <a:cubicBezTo>
                      <a:pt x="67" y="231"/>
                      <a:pt x="67" y="231"/>
                      <a:pt x="66" y="231"/>
                    </a:cubicBezTo>
                    <a:cubicBezTo>
                      <a:pt x="65" y="232"/>
                      <a:pt x="62" y="232"/>
                      <a:pt x="62" y="231"/>
                    </a:cubicBezTo>
                    <a:cubicBezTo>
                      <a:pt x="61" y="229"/>
                      <a:pt x="59" y="228"/>
                      <a:pt x="59" y="228"/>
                    </a:cubicBezTo>
                    <a:cubicBezTo>
                      <a:pt x="56" y="229"/>
                      <a:pt x="56" y="229"/>
                      <a:pt x="56" y="229"/>
                    </a:cubicBezTo>
                    <a:cubicBezTo>
                      <a:pt x="56" y="229"/>
                      <a:pt x="54" y="229"/>
                      <a:pt x="53" y="229"/>
                    </a:cubicBezTo>
                    <a:cubicBezTo>
                      <a:pt x="53" y="228"/>
                      <a:pt x="53" y="227"/>
                      <a:pt x="51" y="226"/>
                    </a:cubicBezTo>
                    <a:cubicBezTo>
                      <a:pt x="49" y="225"/>
                      <a:pt x="48" y="222"/>
                      <a:pt x="48" y="222"/>
                    </a:cubicBezTo>
                    <a:cubicBezTo>
                      <a:pt x="48" y="222"/>
                      <a:pt x="49" y="220"/>
                      <a:pt x="47" y="220"/>
                    </a:cubicBezTo>
                    <a:cubicBezTo>
                      <a:pt x="46" y="220"/>
                      <a:pt x="44" y="219"/>
                      <a:pt x="44" y="219"/>
                    </a:cubicBezTo>
                    <a:cubicBezTo>
                      <a:pt x="44" y="219"/>
                      <a:pt x="41" y="217"/>
                      <a:pt x="41" y="218"/>
                    </a:cubicBezTo>
                    <a:cubicBezTo>
                      <a:pt x="40" y="219"/>
                      <a:pt x="40" y="221"/>
                      <a:pt x="40" y="222"/>
                    </a:cubicBezTo>
                    <a:cubicBezTo>
                      <a:pt x="40" y="222"/>
                      <a:pt x="41" y="225"/>
                      <a:pt x="41" y="225"/>
                    </a:cubicBezTo>
                    <a:cubicBezTo>
                      <a:pt x="41" y="225"/>
                      <a:pt x="37" y="227"/>
                      <a:pt x="36" y="227"/>
                    </a:cubicBezTo>
                    <a:cubicBezTo>
                      <a:pt x="35" y="227"/>
                      <a:pt x="34" y="228"/>
                      <a:pt x="34" y="226"/>
                    </a:cubicBezTo>
                    <a:cubicBezTo>
                      <a:pt x="34" y="225"/>
                      <a:pt x="36" y="220"/>
                      <a:pt x="36" y="220"/>
                    </a:cubicBezTo>
                    <a:cubicBezTo>
                      <a:pt x="37" y="219"/>
                      <a:pt x="38" y="218"/>
                      <a:pt x="38" y="218"/>
                    </a:cubicBezTo>
                    <a:cubicBezTo>
                      <a:pt x="38" y="218"/>
                      <a:pt x="37" y="216"/>
                      <a:pt x="37" y="215"/>
                    </a:cubicBezTo>
                    <a:cubicBezTo>
                      <a:pt x="37" y="214"/>
                      <a:pt x="36" y="214"/>
                      <a:pt x="38" y="211"/>
                    </a:cubicBezTo>
                    <a:cubicBezTo>
                      <a:pt x="41" y="208"/>
                      <a:pt x="41" y="206"/>
                      <a:pt x="41" y="206"/>
                    </a:cubicBezTo>
                    <a:cubicBezTo>
                      <a:pt x="41" y="206"/>
                      <a:pt x="39" y="203"/>
                      <a:pt x="38" y="202"/>
                    </a:cubicBezTo>
                    <a:cubicBezTo>
                      <a:pt x="38" y="202"/>
                      <a:pt x="35" y="198"/>
                      <a:pt x="35" y="198"/>
                    </a:cubicBezTo>
                    <a:cubicBezTo>
                      <a:pt x="35" y="197"/>
                      <a:pt x="35" y="195"/>
                      <a:pt x="35" y="195"/>
                    </a:cubicBezTo>
                    <a:cubicBezTo>
                      <a:pt x="35" y="195"/>
                      <a:pt x="33" y="193"/>
                      <a:pt x="32" y="193"/>
                    </a:cubicBezTo>
                    <a:cubicBezTo>
                      <a:pt x="31" y="193"/>
                      <a:pt x="28" y="192"/>
                      <a:pt x="28" y="192"/>
                    </a:cubicBezTo>
                    <a:cubicBezTo>
                      <a:pt x="28" y="189"/>
                      <a:pt x="28" y="189"/>
                      <a:pt x="28" y="189"/>
                    </a:cubicBezTo>
                    <a:cubicBezTo>
                      <a:pt x="28" y="184"/>
                      <a:pt x="28" y="184"/>
                      <a:pt x="28" y="184"/>
                    </a:cubicBezTo>
                    <a:cubicBezTo>
                      <a:pt x="24" y="179"/>
                      <a:pt x="24" y="179"/>
                      <a:pt x="24" y="179"/>
                    </a:cubicBezTo>
                    <a:cubicBezTo>
                      <a:pt x="23" y="176"/>
                      <a:pt x="23" y="176"/>
                      <a:pt x="23" y="176"/>
                    </a:cubicBezTo>
                    <a:cubicBezTo>
                      <a:pt x="23" y="176"/>
                      <a:pt x="24" y="174"/>
                      <a:pt x="24" y="172"/>
                    </a:cubicBezTo>
                    <a:cubicBezTo>
                      <a:pt x="25" y="171"/>
                      <a:pt x="26" y="168"/>
                      <a:pt x="26" y="168"/>
                    </a:cubicBezTo>
                    <a:cubicBezTo>
                      <a:pt x="24" y="164"/>
                      <a:pt x="24" y="164"/>
                      <a:pt x="24" y="164"/>
                    </a:cubicBezTo>
                    <a:cubicBezTo>
                      <a:pt x="24" y="164"/>
                      <a:pt x="23" y="163"/>
                      <a:pt x="24" y="162"/>
                    </a:cubicBezTo>
                    <a:cubicBezTo>
                      <a:pt x="24" y="161"/>
                      <a:pt x="23" y="155"/>
                      <a:pt x="23" y="155"/>
                    </a:cubicBezTo>
                    <a:cubicBezTo>
                      <a:pt x="23" y="155"/>
                      <a:pt x="22" y="149"/>
                      <a:pt x="21" y="150"/>
                    </a:cubicBezTo>
                    <a:cubicBezTo>
                      <a:pt x="19" y="150"/>
                      <a:pt x="18" y="146"/>
                      <a:pt x="18" y="146"/>
                    </a:cubicBezTo>
                    <a:cubicBezTo>
                      <a:pt x="20" y="139"/>
                      <a:pt x="20" y="139"/>
                      <a:pt x="20" y="139"/>
                    </a:cubicBezTo>
                    <a:cubicBezTo>
                      <a:pt x="20" y="139"/>
                      <a:pt x="21" y="134"/>
                      <a:pt x="18" y="132"/>
                    </a:cubicBezTo>
                    <a:cubicBezTo>
                      <a:pt x="15" y="131"/>
                      <a:pt x="9" y="128"/>
                      <a:pt x="8" y="127"/>
                    </a:cubicBezTo>
                    <a:cubicBezTo>
                      <a:pt x="8" y="127"/>
                      <a:pt x="5" y="124"/>
                      <a:pt x="4" y="123"/>
                    </a:cubicBezTo>
                    <a:cubicBezTo>
                      <a:pt x="3" y="123"/>
                      <a:pt x="2" y="122"/>
                      <a:pt x="2" y="122"/>
                    </a:cubicBezTo>
                    <a:cubicBezTo>
                      <a:pt x="4" y="113"/>
                      <a:pt x="4" y="113"/>
                      <a:pt x="4" y="113"/>
                    </a:cubicBezTo>
                    <a:cubicBezTo>
                      <a:pt x="9" y="109"/>
                      <a:pt x="9" y="109"/>
                      <a:pt x="9" y="109"/>
                    </a:cubicBezTo>
                    <a:cubicBezTo>
                      <a:pt x="9" y="101"/>
                      <a:pt x="9" y="101"/>
                      <a:pt x="9" y="101"/>
                    </a:cubicBezTo>
                    <a:cubicBezTo>
                      <a:pt x="9" y="92"/>
                      <a:pt x="9" y="92"/>
                      <a:pt x="9" y="92"/>
                    </a:cubicBezTo>
                    <a:cubicBezTo>
                      <a:pt x="9" y="92"/>
                      <a:pt x="10" y="91"/>
                      <a:pt x="7" y="87"/>
                    </a:cubicBezTo>
                    <a:cubicBezTo>
                      <a:pt x="5" y="84"/>
                      <a:pt x="4" y="80"/>
                      <a:pt x="4" y="80"/>
                    </a:cubicBezTo>
                    <a:cubicBezTo>
                      <a:pt x="4" y="79"/>
                      <a:pt x="3" y="75"/>
                      <a:pt x="2" y="74"/>
                    </a:cubicBezTo>
                    <a:cubicBezTo>
                      <a:pt x="2" y="73"/>
                      <a:pt x="2" y="72"/>
                      <a:pt x="2" y="70"/>
                    </a:cubicBezTo>
                    <a:cubicBezTo>
                      <a:pt x="3" y="69"/>
                      <a:pt x="0" y="66"/>
                      <a:pt x="0" y="66"/>
                    </a:cubicBezTo>
                    <a:cubicBezTo>
                      <a:pt x="0" y="66"/>
                      <a:pt x="1" y="64"/>
                      <a:pt x="2" y="64"/>
                    </a:cubicBezTo>
                    <a:cubicBezTo>
                      <a:pt x="3" y="64"/>
                      <a:pt x="4" y="63"/>
                      <a:pt x="6" y="63"/>
                    </a:cubicBezTo>
                    <a:cubicBezTo>
                      <a:pt x="8" y="63"/>
                      <a:pt x="9" y="61"/>
                      <a:pt x="11" y="61"/>
                    </a:cubicBezTo>
                    <a:cubicBezTo>
                      <a:pt x="12" y="60"/>
                      <a:pt x="12" y="58"/>
                      <a:pt x="13" y="58"/>
                    </a:cubicBezTo>
                    <a:cubicBezTo>
                      <a:pt x="15" y="57"/>
                      <a:pt x="17" y="58"/>
                      <a:pt x="20" y="56"/>
                    </a:cubicBezTo>
                    <a:cubicBezTo>
                      <a:pt x="23" y="55"/>
                      <a:pt x="23" y="54"/>
                      <a:pt x="25" y="52"/>
                    </a:cubicBezTo>
                    <a:cubicBezTo>
                      <a:pt x="26" y="51"/>
                      <a:pt x="45" y="45"/>
                      <a:pt x="45" y="45"/>
                    </a:cubicBezTo>
                    <a:cubicBezTo>
                      <a:pt x="45" y="45"/>
                      <a:pt x="50" y="42"/>
                      <a:pt x="52" y="42"/>
                    </a:cubicBezTo>
                    <a:cubicBezTo>
                      <a:pt x="53" y="41"/>
                      <a:pt x="53" y="40"/>
                      <a:pt x="55" y="40"/>
                    </a:cubicBezTo>
                    <a:cubicBezTo>
                      <a:pt x="56" y="41"/>
                      <a:pt x="60" y="41"/>
                      <a:pt x="60" y="41"/>
                    </a:cubicBezTo>
                    <a:cubicBezTo>
                      <a:pt x="60" y="41"/>
                      <a:pt x="61" y="38"/>
                      <a:pt x="62" y="37"/>
                    </a:cubicBezTo>
                    <a:cubicBezTo>
                      <a:pt x="63" y="35"/>
                      <a:pt x="64" y="33"/>
                      <a:pt x="64" y="32"/>
                    </a:cubicBezTo>
                    <a:cubicBezTo>
                      <a:pt x="65" y="30"/>
                      <a:pt x="66" y="29"/>
                      <a:pt x="67" y="28"/>
                    </a:cubicBezTo>
                    <a:cubicBezTo>
                      <a:pt x="68" y="26"/>
                      <a:pt x="69" y="25"/>
                      <a:pt x="69" y="25"/>
                    </a:cubicBezTo>
                    <a:cubicBezTo>
                      <a:pt x="70" y="25"/>
                      <a:pt x="76" y="22"/>
                      <a:pt x="77" y="22"/>
                    </a:cubicBezTo>
                    <a:cubicBezTo>
                      <a:pt x="78" y="21"/>
                      <a:pt x="86" y="18"/>
                      <a:pt x="86" y="17"/>
                    </a:cubicBezTo>
                    <a:cubicBezTo>
                      <a:pt x="86" y="17"/>
                      <a:pt x="89" y="13"/>
                      <a:pt x="89" y="12"/>
                    </a:cubicBezTo>
                    <a:cubicBezTo>
                      <a:pt x="89" y="11"/>
                      <a:pt x="93" y="10"/>
                      <a:pt x="93" y="10"/>
                    </a:cubicBezTo>
                    <a:cubicBezTo>
                      <a:pt x="94" y="10"/>
                      <a:pt x="94" y="10"/>
                      <a:pt x="95" y="9"/>
                    </a:cubicBezTo>
                    <a:cubicBezTo>
                      <a:pt x="97" y="9"/>
                      <a:pt x="106" y="5"/>
                      <a:pt x="106" y="5"/>
                    </a:cubicBezTo>
                    <a:cubicBezTo>
                      <a:pt x="106" y="5"/>
                      <a:pt x="114" y="2"/>
                      <a:pt x="114" y="2"/>
                    </a:cubicBezTo>
                    <a:cubicBezTo>
                      <a:pt x="115" y="3"/>
                      <a:pt x="120" y="2"/>
                      <a:pt x="121" y="2"/>
                    </a:cubicBezTo>
                    <a:cubicBezTo>
                      <a:pt x="121" y="3"/>
                      <a:pt x="127" y="2"/>
                      <a:pt x="127" y="2"/>
                    </a:cubicBezTo>
                    <a:cubicBezTo>
                      <a:pt x="127" y="2"/>
                      <a:pt x="129" y="3"/>
                      <a:pt x="129" y="4"/>
                    </a:cubicBezTo>
                    <a:cubicBezTo>
                      <a:pt x="129" y="5"/>
                      <a:pt x="127" y="6"/>
                      <a:pt x="128" y="7"/>
                    </a:cubicBezTo>
                    <a:cubicBezTo>
                      <a:pt x="129" y="8"/>
                      <a:pt x="133" y="11"/>
                      <a:pt x="133" y="11"/>
                    </a:cubicBezTo>
                    <a:cubicBezTo>
                      <a:pt x="133" y="11"/>
                      <a:pt x="132" y="14"/>
                      <a:pt x="132" y="14"/>
                    </a:cubicBezTo>
                    <a:cubicBezTo>
                      <a:pt x="132" y="15"/>
                      <a:pt x="133" y="16"/>
                      <a:pt x="134" y="18"/>
                    </a:cubicBezTo>
                    <a:cubicBezTo>
                      <a:pt x="135" y="19"/>
                      <a:pt x="137" y="21"/>
                      <a:pt x="137" y="21"/>
                    </a:cubicBezTo>
                    <a:cubicBezTo>
                      <a:pt x="137" y="21"/>
                      <a:pt x="136" y="22"/>
                      <a:pt x="140" y="24"/>
                    </a:cubicBezTo>
                    <a:cubicBezTo>
                      <a:pt x="144" y="26"/>
                      <a:pt x="147" y="24"/>
                      <a:pt x="147" y="24"/>
                    </a:cubicBezTo>
                    <a:cubicBezTo>
                      <a:pt x="147" y="24"/>
                      <a:pt x="150" y="24"/>
                      <a:pt x="151" y="24"/>
                    </a:cubicBezTo>
                    <a:cubicBezTo>
                      <a:pt x="152" y="24"/>
                      <a:pt x="155" y="23"/>
                      <a:pt x="155" y="23"/>
                    </a:cubicBez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66" name="Freeform 39">
                <a:extLst>
                  <a:ext uri="{FF2B5EF4-FFF2-40B4-BE49-F238E27FC236}">
                    <a16:creationId xmlns:a16="http://schemas.microsoft.com/office/drawing/2014/main" id="{E1F992D3-3E7D-3FEF-BA74-178A854F6C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3604" y="2054567"/>
                <a:ext cx="371679" cy="408344"/>
              </a:xfrm>
              <a:custGeom>
                <a:avLst/>
                <a:gdLst>
                  <a:gd name="T0" fmla="*/ 115 w 166"/>
                  <a:gd name="T1" fmla="*/ 170 h 188"/>
                  <a:gd name="T2" fmla="*/ 92 w 166"/>
                  <a:gd name="T3" fmla="*/ 176 h 188"/>
                  <a:gd name="T4" fmla="*/ 71 w 166"/>
                  <a:gd name="T5" fmla="*/ 177 h 188"/>
                  <a:gd name="T6" fmla="*/ 50 w 166"/>
                  <a:gd name="T7" fmla="*/ 188 h 188"/>
                  <a:gd name="T8" fmla="*/ 19 w 166"/>
                  <a:gd name="T9" fmla="*/ 183 h 188"/>
                  <a:gd name="T10" fmla="*/ 18 w 166"/>
                  <a:gd name="T11" fmla="*/ 180 h 188"/>
                  <a:gd name="T12" fmla="*/ 22 w 166"/>
                  <a:gd name="T13" fmla="*/ 175 h 188"/>
                  <a:gd name="T14" fmla="*/ 9 w 166"/>
                  <a:gd name="T15" fmla="*/ 171 h 188"/>
                  <a:gd name="T16" fmla="*/ 21 w 166"/>
                  <a:gd name="T17" fmla="*/ 165 h 188"/>
                  <a:gd name="T18" fmla="*/ 7 w 166"/>
                  <a:gd name="T19" fmla="*/ 161 h 188"/>
                  <a:gd name="T20" fmla="*/ 5 w 166"/>
                  <a:gd name="T21" fmla="*/ 157 h 188"/>
                  <a:gd name="T22" fmla="*/ 18 w 166"/>
                  <a:gd name="T23" fmla="*/ 152 h 188"/>
                  <a:gd name="T24" fmla="*/ 20 w 166"/>
                  <a:gd name="T25" fmla="*/ 148 h 188"/>
                  <a:gd name="T26" fmla="*/ 3 w 166"/>
                  <a:gd name="T27" fmla="*/ 144 h 188"/>
                  <a:gd name="T28" fmla="*/ 15 w 166"/>
                  <a:gd name="T29" fmla="*/ 138 h 188"/>
                  <a:gd name="T30" fmla="*/ 23 w 166"/>
                  <a:gd name="T31" fmla="*/ 144 h 188"/>
                  <a:gd name="T32" fmla="*/ 27 w 166"/>
                  <a:gd name="T33" fmla="*/ 134 h 188"/>
                  <a:gd name="T34" fmla="*/ 40 w 166"/>
                  <a:gd name="T35" fmla="*/ 130 h 188"/>
                  <a:gd name="T36" fmla="*/ 56 w 166"/>
                  <a:gd name="T37" fmla="*/ 131 h 188"/>
                  <a:gd name="T38" fmla="*/ 54 w 166"/>
                  <a:gd name="T39" fmla="*/ 129 h 188"/>
                  <a:gd name="T40" fmla="*/ 38 w 166"/>
                  <a:gd name="T41" fmla="*/ 127 h 188"/>
                  <a:gd name="T42" fmla="*/ 36 w 166"/>
                  <a:gd name="T43" fmla="*/ 123 h 188"/>
                  <a:gd name="T44" fmla="*/ 49 w 166"/>
                  <a:gd name="T45" fmla="*/ 112 h 188"/>
                  <a:gd name="T46" fmla="*/ 62 w 166"/>
                  <a:gd name="T47" fmla="*/ 104 h 188"/>
                  <a:gd name="T48" fmla="*/ 64 w 166"/>
                  <a:gd name="T49" fmla="*/ 97 h 188"/>
                  <a:gd name="T50" fmla="*/ 44 w 166"/>
                  <a:gd name="T51" fmla="*/ 94 h 188"/>
                  <a:gd name="T52" fmla="*/ 45 w 166"/>
                  <a:gd name="T53" fmla="*/ 89 h 188"/>
                  <a:gd name="T54" fmla="*/ 38 w 166"/>
                  <a:gd name="T55" fmla="*/ 84 h 188"/>
                  <a:gd name="T56" fmla="*/ 36 w 166"/>
                  <a:gd name="T57" fmla="*/ 78 h 188"/>
                  <a:gd name="T58" fmla="*/ 39 w 166"/>
                  <a:gd name="T59" fmla="*/ 71 h 188"/>
                  <a:gd name="T60" fmla="*/ 48 w 166"/>
                  <a:gd name="T61" fmla="*/ 64 h 188"/>
                  <a:gd name="T62" fmla="*/ 48 w 166"/>
                  <a:gd name="T63" fmla="*/ 59 h 188"/>
                  <a:gd name="T64" fmla="*/ 39 w 166"/>
                  <a:gd name="T65" fmla="*/ 49 h 188"/>
                  <a:gd name="T66" fmla="*/ 49 w 166"/>
                  <a:gd name="T67" fmla="*/ 45 h 188"/>
                  <a:gd name="T68" fmla="*/ 45 w 166"/>
                  <a:gd name="T69" fmla="*/ 45 h 188"/>
                  <a:gd name="T70" fmla="*/ 56 w 166"/>
                  <a:gd name="T71" fmla="*/ 38 h 188"/>
                  <a:gd name="T72" fmla="*/ 70 w 166"/>
                  <a:gd name="T73" fmla="*/ 40 h 188"/>
                  <a:gd name="T74" fmla="*/ 81 w 166"/>
                  <a:gd name="T75" fmla="*/ 45 h 188"/>
                  <a:gd name="T76" fmla="*/ 92 w 166"/>
                  <a:gd name="T77" fmla="*/ 48 h 188"/>
                  <a:gd name="T78" fmla="*/ 107 w 166"/>
                  <a:gd name="T79" fmla="*/ 39 h 188"/>
                  <a:gd name="T80" fmla="*/ 98 w 166"/>
                  <a:gd name="T81" fmla="*/ 31 h 188"/>
                  <a:gd name="T82" fmla="*/ 102 w 166"/>
                  <a:gd name="T83" fmla="*/ 20 h 188"/>
                  <a:gd name="T84" fmla="*/ 107 w 166"/>
                  <a:gd name="T85" fmla="*/ 12 h 188"/>
                  <a:gd name="T86" fmla="*/ 121 w 166"/>
                  <a:gd name="T87" fmla="*/ 6 h 188"/>
                  <a:gd name="T88" fmla="*/ 135 w 166"/>
                  <a:gd name="T89" fmla="*/ 4 h 188"/>
                  <a:gd name="T90" fmla="*/ 134 w 166"/>
                  <a:gd name="T91" fmla="*/ 16 h 188"/>
                  <a:gd name="T92" fmla="*/ 137 w 166"/>
                  <a:gd name="T93" fmla="*/ 7 h 188"/>
                  <a:gd name="T94" fmla="*/ 144 w 166"/>
                  <a:gd name="T95" fmla="*/ 3 h 188"/>
                  <a:gd name="T96" fmla="*/ 156 w 166"/>
                  <a:gd name="T97" fmla="*/ 11 h 188"/>
                  <a:gd name="T98" fmla="*/ 137 w 166"/>
                  <a:gd name="T99" fmla="*/ 27 h 188"/>
                  <a:gd name="T100" fmla="*/ 115 w 166"/>
                  <a:gd name="T101" fmla="*/ 42 h 188"/>
                  <a:gd name="T102" fmla="*/ 135 w 166"/>
                  <a:gd name="T103" fmla="*/ 64 h 188"/>
                  <a:gd name="T104" fmla="*/ 161 w 166"/>
                  <a:gd name="T105" fmla="*/ 76 h 188"/>
                  <a:gd name="T106" fmla="*/ 157 w 166"/>
                  <a:gd name="T107" fmla="*/ 86 h 188"/>
                  <a:gd name="T108" fmla="*/ 158 w 166"/>
                  <a:gd name="T109" fmla="*/ 112 h 188"/>
                  <a:gd name="T110" fmla="*/ 157 w 166"/>
                  <a:gd name="T111" fmla="*/ 129 h 188"/>
                  <a:gd name="T112" fmla="*/ 146 w 166"/>
                  <a:gd name="T113" fmla="*/ 151 h 188"/>
                  <a:gd name="T114" fmla="*/ 134 w 166"/>
                  <a:gd name="T115" fmla="*/ 165 h 188"/>
                  <a:gd name="T116" fmla="*/ 132 w 166"/>
                  <a:gd name="T117" fmla="*/ 174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6" h="188">
                    <a:moveTo>
                      <a:pt x="132" y="174"/>
                    </a:moveTo>
                    <a:cubicBezTo>
                      <a:pt x="128" y="174"/>
                      <a:pt x="128" y="174"/>
                      <a:pt x="128" y="174"/>
                    </a:cubicBezTo>
                    <a:cubicBezTo>
                      <a:pt x="128" y="174"/>
                      <a:pt x="126" y="171"/>
                      <a:pt x="125" y="171"/>
                    </a:cubicBezTo>
                    <a:cubicBezTo>
                      <a:pt x="124" y="171"/>
                      <a:pt x="122" y="170"/>
                      <a:pt x="122" y="170"/>
                    </a:cubicBezTo>
                    <a:cubicBezTo>
                      <a:pt x="121" y="172"/>
                      <a:pt x="121" y="172"/>
                      <a:pt x="121" y="172"/>
                    </a:cubicBezTo>
                    <a:cubicBezTo>
                      <a:pt x="121" y="172"/>
                      <a:pt x="120" y="173"/>
                      <a:pt x="119" y="173"/>
                    </a:cubicBezTo>
                    <a:cubicBezTo>
                      <a:pt x="119" y="173"/>
                      <a:pt x="118" y="172"/>
                      <a:pt x="118" y="172"/>
                    </a:cubicBezTo>
                    <a:cubicBezTo>
                      <a:pt x="118" y="170"/>
                      <a:pt x="118" y="170"/>
                      <a:pt x="118" y="170"/>
                    </a:cubicBezTo>
                    <a:cubicBezTo>
                      <a:pt x="115" y="170"/>
                      <a:pt x="115" y="170"/>
                      <a:pt x="115" y="170"/>
                    </a:cubicBezTo>
                    <a:cubicBezTo>
                      <a:pt x="115" y="170"/>
                      <a:pt x="115" y="173"/>
                      <a:pt x="114" y="173"/>
                    </a:cubicBezTo>
                    <a:cubicBezTo>
                      <a:pt x="113" y="172"/>
                      <a:pt x="112" y="172"/>
                      <a:pt x="110" y="172"/>
                    </a:cubicBezTo>
                    <a:cubicBezTo>
                      <a:pt x="108" y="171"/>
                      <a:pt x="104" y="172"/>
                      <a:pt x="104" y="172"/>
                    </a:cubicBezTo>
                    <a:cubicBezTo>
                      <a:pt x="102" y="171"/>
                      <a:pt x="102" y="171"/>
                      <a:pt x="102" y="171"/>
                    </a:cubicBezTo>
                    <a:cubicBezTo>
                      <a:pt x="99" y="171"/>
                      <a:pt x="99" y="171"/>
                      <a:pt x="99" y="171"/>
                    </a:cubicBezTo>
                    <a:cubicBezTo>
                      <a:pt x="95" y="171"/>
                      <a:pt x="95" y="171"/>
                      <a:pt x="95" y="171"/>
                    </a:cubicBezTo>
                    <a:cubicBezTo>
                      <a:pt x="94" y="173"/>
                      <a:pt x="94" y="173"/>
                      <a:pt x="94" y="173"/>
                    </a:cubicBezTo>
                    <a:cubicBezTo>
                      <a:pt x="95" y="174"/>
                      <a:pt x="95" y="174"/>
                      <a:pt x="95" y="174"/>
                    </a:cubicBezTo>
                    <a:cubicBezTo>
                      <a:pt x="92" y="176"/>
                      <a:pt x="92" y="176"/>
                      <a:pt x="92" y="176"/>
                    </a:cubicBezTo>
                    <a:cubicBezTo>
                      <a:pt x="88" y="175"/>
                      <a:pt x="88" y="175"/>
                      <a:pt x="88" y="175"/>
                    </a:cubicBezTo>
                    <a:cubicBezTo>
                      <a:pt x="86" y="177"/>
                      <a:pt x="86" y="177"/>
                      <a:pt x="86" y="177"/>
                    </a:cubicBezTo>
                    <a:cubicBezTo>
                      <a:pt x="85" y="175"/>
                      <a:pt x="85" y="175"/>
                      <a:pt x="85" y="175"/>
                    </a:cubicBezTo>
                    <a:cubicBezTo>
                      <a:pt x="79" y="179"/>
                      <a:pt x="79" y="179"/>
                      <a:pt x="79" y="179"/>
                    </a:cubicBezTo>
                    <a:cubicBezTo>
                      <a:pt x="80" y="181"/>
                      <a:pt x="80" y="181"/>
                      <a:pt x="80" y="181"/>
                    </a:cubicBezTo>
                    <a:cubicBezTo>
                      <a:pt x="75" y="182"/>
                      <a:pt x="75" y="182"/>
                      <a:pt x="75" y="182"/>
                    </a:cubicBezTo>
                    <a:cubicBezTo>
                      <a:pt x="72" y="181"/>
                      <a:pt x="72" y="181"/>
                      <a:pt x="72" y="181"/>
                    </a:cubicBezTo>
                    <a:cubicBezTo>
                      <a:pt x="72" y="181"/>
                      <a:pt x="70" y="180"/>
                      <a:pt x="70" y="179"/>
                    </a:cubicBezTo>
                    <a:cubicBezTo>
                      <a:pt x="71" y="178"/>
                      <a:pt x="71" y="177"/>
                      <a:pt x="71" y="177"/>
                    </a:cubicBezTo>
                    <a:cubicBezTo>
                      <a:pt x="71" y="177"/>
                      <a:pt x="69" y="176"/>
                      <a:pt x="69" y="177"/>
                    </a:cubicBezTo>
                    <a:cubicBezTo>
                      <a:pt x="69" y="179"/>
                      <a:pt x="68" y="181"/>
                      <a:pt x="68" y="181"/>
                    </a:cubicBezTo>
                    <a:cubicBezTo>
                      <a:pt x="65" y="183"/>
                      <a:pt x="65" y="183"/>
                      <a:pt x="65" y="183"/>
                    </a:cubicBezTo>
                    <a:cubicBezTo>
                      <a:pt x="61" y="184"/>
                      <a:pt x="61" y="184"/>
                      <a:pt x="61" y="184"/>
                    </a:cubicBezTo>
                    <a:cubicBezTo>
                      <a:pt x="60" y="183"/>
                      <a:pt x="60" y="183"/>
                      <a:pt x="60" y="183"/>
                    </a:cubicBezTo>
                    <a:cubicBezTo>
                      <a:pt x="60" y="186"/>
                      <a:pt x="60" y="186"/>
                      <a:pt x="60" y="186"/>
                    </a:cubicBezTo>
                    <a:cubicBezTo>
                      <a:pt x="55" y="186"/>
                      <a:pt x="55" y="186"/>
                      <a:pt x="55" y="186"/>
                    </a:cubicBezTo>
                    <a:cubicBezTo>
                      <a:pt x="52" y="186"/>
                      <a:pt x="52" y="186"/>
                      <a:pt x="52" y="186"/>
                    </a:cubicBezTo>
                    <a:cubicBezTo>
                      <a:pt x="50" y="188"/>
                      <a:pt x="50" y="188"/>
                      <a:pt x="50" y="188"/>
                    </a:cubicBezTo>
                    <a:cubicBezTo>
                      <a:pt x="47" y="187"/>
                      <a:pt x="47" y="187"/>
                      <a:pt x="47" y="187"/>
                    </a:cubicBezTo>
                    <a:cubicBezTo>
                      <a:pt x="42" y="188"/>
                      <a:pt x="42" y="188"/>
                      <a:pt x="42" y="188"/>
                    </a:cubicBezTo>
                    <a:cubicBezTo>
                      <a:pt x="41" y="186"/>
                      <a:pt x="41" y="186"/>
                      <a:pt x="41" y="186"/>
                    </a:cubicBezTo>
                    <a:cubicBezTo>
                      <a:pt x="34" y="186"/>
                      <a:pt x="34" y="186"/>
                      <a:pt x="34" y="186"/>
                    </a:cubicBezTo>
                    <a:cubicBezTo>
                      <a:pt x="31" y="187"/>
                      <a:pt x="31" y="187"/>
                      <a:pt x="31" y="187"/>
                    </a:cubicBezTo>
                    <a:cubicBezTo>
                      <a:pt x="30" y="185"/>
                      <a:pt x="30" y="185"/>
                      <a:pt x="30" y="185"/>
                    </a:cubicBezTo>
                    <a:cubicBezTo>
                      <a:pt x="29" y="185"/>
                      <a:pt x="29" y="185"/>
                      <a:pt x="29" y="185"/>
                    </a:cubicBezTo>
                    <a:cubicBezTo>
                      <a:pt x="29" y="185"/>
                      <a:pt x="27" y="185"/>
                      <a:pt x="26" y="185"/>
                    </a:cubicBezTo>
                    <a:cubicBezTo>
                      <a:pt x="25" y="185"/>
                      <a:pt x="19" y="183"/>
                      <a:pt x="19" y="183"/>
                    </a:cubicBezTo>
                    <a:cubicBezTo>
                      <a:pt x="17" y="185"/>
                      <a:pt x="17" y="185"/>
                      <a:pt x="17" y="185"/>
                    </a:cubicBezTo>
                    <a:cubicBezTo>
                      <a:pt x="17" y="185"/>
                      <a:pt x="14" y="185"/>
                      <a:pt x="14" y="184"/>
                    </a:cubicBezTo>
                    <a:cubicBezTo>
                      <a:pt x="14" y="184"/>
                      <a:pt x="14" y="183"/>
                      <a:pt x="15" y="182"/>
                    </a:cubicBezTo>
                    <a:cubicBezTo>
                      <a:pt x="16" y="182"/>
                      <a:pt x="17" y="182"/>
                      <a:pt x="19" y="181"/>
                    </a:cubicBezTo>
                    <a:cubicBezTo>
                      <a:pt x="21" y="181"/>
                      <a:pt x="22" y="181"/>
                      <a:pt x="22" y="181"/>
                    </a:cubicBezTo>
                    <a:cubicBezTo>
                      <a:pt x="23" y="180"/>
                      <a:pt x="23" y="180"/>
                      <a:pt x="23" y="180"/>
                    </a:cubicBezTo>
                    <a:cubicBezTo>
                      <a:pt x="23" y="179"/>
                      <a:pt x="24" y="178"/>
                      <a:pt x="22" y="179"/>
                    </a:cubicBezTo>
                    <a:cubicBezTo>
                      <a:pt x="21" y="179"/>
                      <a:pt x="21" y="179"/>
                      <a:pt x="21" y="179"/>
                    </a:cubicBezTo>
                    <a:cubicBezTo>
                      <a:pt x="20" y="180"/>
                      <a:pt x="19" y="180"/>
                      <a:pt x="18" y="180"/>
                    </a:cubicBezTo>
                    <a:cubicBezTo>
                      <a:pt x="18" y="180"/>
                      <a:pt x="16" y="180"/>
                      <a:pt x="16" y="180"/>
                    </a:cubicBezTo>
                    <a:cubicBezTo>
                      <a:pt x="16" y="180"/>
                      <a:pt x="15" y="179"/>
                      <a:pt x="16" y="179"/>
                    </a:cubicBezTo>
                    <a:cubicBezTo>
                      <a:pt x="17" y="178"/>
                      <a:pt x="17" y="178"/>
                      <a:pt x="18" y="178"/>
                    </a:cubicBezTo>
                    <a:cubicBezTo>
                      <a:pt x="20" y="178"/>
                      <a:pt x="21" y="177"/>
                      <a:pt x="23" y="177"/>
                    </a:cubicBezTo>
                    <a:cubicBezTo>
                      <a:pt x="25" y="177"/>
                      <a:pt x="26" y="177"/>
                      <a:pt x="26" y="177"/>
                    </a:cubicBezTo>
                    <a:cubicBezTo>
                      <a:pt x="27" y="176"/>
                      <a:pt x="28" y="176"/>
                      <a:pt x="28" y="175"/>
                    </a:cubicBezTo>
                    <a:cubicBezTo>
                      <a:pt x="28" y="174"/>
                      <a:pt x="27" y="173"/>
                      <a:pt x="27" y="173"/>
                    </a:cubicBezTo>
                    <a:cubicBezTo>
                      <a:pt x="27" y="173"/>
                      <a:pt x="26" y="173"/>
                      <a:pt x="25" y="174"/>
                    </a:cubicBezTo>
                    <a:cubicBezTo>
                      <a:pt x="24" y="174"/>
                      <a:pt x="23" y="175"/>
                      <a:pt x="22" y="175"/>
                    </a:cubicBezTo>
                    <a:cubicBezTo>
                      <a:pt x="22" y="175"/>
                      <a:pt x="22" y="175"/>
                      <a:pt x="21" y="175"/>
                    </a:cubicBezTo>
                    <a:cubicBezTo>
                      <a:pt x="20" y="175"/>
                      <a:pt x="18" y="174"/>
                      <a:pt x="18" y="174"/>
                    </a:cubicBezTo>
                    <a:cubicBezTo>
                      <a:pt x="17" y="174"/>
                      <a:pt x="16" y="174"/>
                      <a:pt x="15" y="174"/>
                    </a:cubicBezTo>
                    <a:cubicBezTo>
                      <a:pt x="14" y="174"/>
                      <a:pt x="15" y="174"/>
                      <a:pt x="13" y="174"/>
                    </a:cubicBezTo>
                    <a:cubicBezTo>
                      <a:pt x="11" y="175"/>
                      <a:pt x="12" y="175"/>
                      <a:pt x="9" y="175"/>
                    </a:cubicBezTo>
                    <a:cubicBezTo>
                      <a:pt x="7" y="175"/>
                      <a:pt x="4" y="174"/>
                      <a:pt x="4" y="174"/>
                    </a:cubicBezTo>
                    <a:cubicBezTo>
                      <a:pt x="4" y="174"/>
                      <a:pt x="2" y="175"/>
                      <a:pt x="3" y="174"/>
                    </a:cubicBezTo>
                    <a:cubicBezTo>
                      <a:pt x="5" y="173"/>
                      <a:pt x="7" y="173"/>
                      <a:pt x="8" y="172"/>
                    </a:cubicBezTo>
                    <a:cubicBezTo>
                      <a:pt x="9" y="172"/>
                      <a:pt x="10" y="172"/>
                      <a:pt x="9" y="171"/>
                    </a:cubicBezTo>
                    <a:cubicBezTo>
                      <a:pt x="9" y="171"/>
                      <a:pt x="9" y="171"/>
                      <a:pt x="9" y="171"/>
                    </a:cubicBezTo>
                    <a:cubicBezTo>
                      <a:pt x="10" y="171"/>
                      <a:pt x="12" y="170"/>
                      <a:pt x="12" y="170"/>
                    </a:cubicBezTo>
                    <a:cubicBezTo>
                      <a:pt x="14" y="169"/>
                      <a:pt x="14" y="169"/>
                      <a:pt x="14" y="169"/>
                    </a:cubicBezTo>
                    <a:cubicBezTo>
                      <a:pt x="14" y="169"/>
                      <a:pt x="14" y="168"/>
                      <a:pt x="16" y="168"/>
                    </a:cubicBezTo>
                    <a:cubicBezTo>
                      <a:pt x="18" y="168"/>
                      <a:pt x="18" y="168"/>
                      <a:pt x="18" y="167"/>
                    </a:cubicBezTo>
                    <a:cubicBezTo>
                      <a:pt x="19" y="167"/>
                      <a:pt x="18" y="167"/>
                      <a:pt x="19" y="167"/>
                    </a:cubicBezTo>
                    <a:cubicBezTo>
                      <a:pt x="21" y="167"/>
                      <a:pt x="21" y="166"/>
                      <a:pt x="22" y="166"/>
                    </a:cubicBezTo>
                    <a:cubicBezTo>
                      <a:pt x="24" y="166"/>
                      <a:pt x="25" y="165"/>
                      <a:pt x="24" y="165"/>
                    </a:cubicBezTo>
                    <a:cubicBezTo>
                      <a:pt x="23" y="165"/>
                      <a:pt x="23" y="165"/>
                      <a:pt x="21" y="165"/>
                    </a:cubicBezTo>
                    <a:cubicBezTo>
                      <a:pt x="20" y="166"/>
                      <a:pt x="19" y="165"/>
                      <a:pt x="19" y="166"/>
                    </a:cubicBezTo>
                    <a:cubicBezTo>
                      <a:pt x="18" y="166"/>
                      <a:pt x="16" y="166"/>
                      <a:pt x="16" y="166"/>
                    </a:cubicBezTo>
                    <a:cubicBezTo>
                      <a:pt x="15" y="165"/>
                      <a:pt x="15" y="165"/>
                      <a:pt x="14" y="166"/>
                    </a:cubicBezTo>
                    <a:cubicBezTo>
                      <a:pt x="13" y="166"/>
                      <a:pt x="14" y="167"/>
                      <a:pt x="12" y="167"/>
                    </a:cubicBezTo>
                    <a:cubicBezTo>
                      <a:pt x="11" y="167"/>
                      <a:pt x="10" y="166"/>
                      <a:pt x="10" y="166"/>
                    </a:cubicBezTo>
                    <a:cubicBezTo>
                      <a:pt x="10" y="166"/>
                      <a:pt x="7" y="166"/>
                      <a:pt x="7" y="165"/>
                    </a:cubicBezTo>
                    <a:cubicBezTo>
                      <a:pt x="7" y="165"/>
                      <a:pt x="7" y="163"/>
                      <a:pt x="7" y="163"/>
                    </a:cubicBezTo>
                    <a:cubicBezTo>
                      <a:pt x="7" y="162"/>
                      <a:pt x="8" y="162"/>
                      <a:pt x="8" y="162"/>
                    </a:cubicBezTo>
                    <a:cubicBezTo>
                      <a:pt x="7" y="161"/>
                      <a:pt x="7" y="161"/>
                      <a:pt x="7" y="161"/>
                    </a:cubicBezTo>
                    <a:cubicBezTo>
                      <a:pt x="7" y="161"/>
                      <a:pt x="7" y="161"/>
                      <a:pt x="6" y="161"/>
                    </a:cubicBezTo>
                    <a:cubicBezTo>
                      <a:pt x="6" y="161"/>
                      <a:pt x="4" y="162"/>
                      <a:pt x="4" y="162"/>
                    </a:cubicBezTo>
                    <a:cubicBezTo>
                      <a:pt x="4" y="162"/>
                      <a:pt x="4" y="162"/>
                      <a:pt x="3" y="162"/>
                    </a:cubicBezTo>
                    <a:cubicBezTo>
                      <a:pt x="3" y="162"/>
                      <a:pt x="2" y="162"/>
                      <a:pt x="2" y="162"/>
                    </a:cubicBezTo>
                    <a:cubicBezTo>
                      <a:pt x="2" y="162"/>
                      <a:pt x="2" y="161"/>
                      <a:pt x="2" y="160"/>
                    </a:cubicBezTo>
                    <a:cubicBezTo>
                      <a:pt x="2" y="160"/>
                      <a:pt x="2" y="159"/>
                      <a:pt x="2" y="159"/>
                    </a:cubicBezTo>
                    <a:cubicBezTo>
                      <a:pt x="2" y="159"/>
                      <a:pt x="2" y="159"/>
                      <a:pt x="2" y="159"/>
                    </a:cubicBezTo>
                    <a:cubicBezTo>
                      <a:pt x="2" y="158"/>
                      <a:pt x="0" y="158"/>
                      <a:pt x="2" y="157"/>
                    </a:cubicBezTo>
                    <a:cubicBezTo>
                      <a:pt x="4" y="157"/>
                      <a:pt x="4" y="157"/>
                      <a:pt x="5" y="157"/>
                    </a:cubicBezTo>
                    <a:cubicBezTo>
                      <a:pt x="5" y="157"/>
                      <a:pt x="6" y="157"/>
                      <a:pt x="6" y="157"/>
                    </a:cubicBezTo>
                    <a:cubicBezTo>
                      <a:pt x="6" y="157"/>
                      <a:pt x="7" y="156"/>
                      <a:pt x="7" y="156"/>
                    </a:cubicBezTo>
                    <a:cubicBezTo>
                      <a:pt x="6" y="155"/>
                      <a:pt x="6" y="155"/>
                      <a:pt x="6" y="155"/>
                    </a:cubicBezTo>
                    <a:cubicBezTo>
                      <a:pt x="6" y="154"/>
                      <a:pt x="6" y="154"/>
                      <a:pt x="7" y="154"/>
                    </a:cubicBezTo>
                    <a:cubicBezTo>
                      <a:pt x="8" y="154"/>
                      <a:pt x="8" y="153"/>
                      <a:pt x="9" y="153"/>
                    </a:cubicBezTo>
                    <a:cubicBezTo>
                      <a:pt x="9" y="153"/>
                      <a:pt x="10" y="153"/>
                      <a:pt x="11" y="153"/>
                    </a:cubicBezTo>
                    <a:cubicBezTo>
                      <a:pt x="11" y="153"/>
                      <a:pt x="11" y="152"/>
                      <a:pt x="13" y="152"/>
                    </a:cubicBezTo>
                    <a:cubicBezTo>
                      <a:pt x="14" y="152"/>
                      <a:pt x="15" y="152"/>
                      <a:pt x="16" y="152"/>
                    </a:cubicBezTo>
                    <a:cubicBezTo>
                      <a:pt x="16" y="152"/>
                      <a:pt x="18" y="152"/>
                      <a:pt x="18" y="152"/>
                    </a:cubicBezTo>
                    <a:cubicBezTo>
                      <a:pt x="18" y="152"/>
                      <a:pt x="20" y="151"/>
                      <a:pt x="20" y="151"/>
                    </a:cubicBezTo>
                    <a:cubicBezTo>
                      <a:pt x="21" y="150"/>
                      <a:pt x="21" y="150"/>
                      <a:pt x="21" y="150"/>
                    </a:cubicBezTo>
                    <a:cubicBezTo>
                      <a:pt x="21" y="150"/>
                      <a:pt x="21" y="150"/>
                      <a:pt x="22" y="150"/>
                    </a:cubicBezTo>
                    <a:cubicBezTo>
                      <a:pt x="23" y="150"/>
                      <a:pt x="23" y="150"/>
                      <a:pt x="24" y="150"/>
                    </a:cubicBezTo>
                    <a:cubicBezTo>
                      <a:pt x="24" y="150"/>
                      <a:pt x="25" y="150"/>
                      <a:pt x="25" y="150"/>
                    </a:cubicBezTo>
                    <a:cubicBezTo>
                      <a:pt x="25" y="149"/>
                      <a:pt x="25" y="149"/>
                      <a:pt x="25" y="148"/>
                    </a:cubicBezTo>
                    <a:cubicBezTo>
                      <a:pt x="24" y="148"/>
                      <a:pt x="24" y="148"/>
                      <a:pt x="23" y="148"/>
                    </a:cubicBezTo>
                    <a:cubicBezTo>
                      <a:pt x="22" y="149"/>
                      <a:pt x="21" y="149"/>
                      <a:pt x="21" y="148"/>
                    </a:cubicBezTo>
                    <a:cubicBezTo>
                      <a:pt x="21" y="148"/>
                      <a:pt x="21" y="148"/>
                      <a:pt x="20" y="148"/>
                    </a:cubicBezTo>
                    <a:cubicBezTo>
                      <a:pt x="19" y="148"/>
                      <a:pt x="18" y="148"/>
                      <a:pt x="18" y="148"/>
                    </a:cubicBezTo>
                    <a:cubicBezTo>
                      <a:pt x="18" y="148"/>
                      <a:pt x="17" y="148"/>
                      <a:pt x="16" y="148"/>
                    </a:cubicBezTo>
                    <a:cubicBezTo>
                      <a:pt x="14" y="147"/>
                      <a:pt x="14" y="147"/>
                      <a:pt x="13" y="147"/>
                    </a:cubicBezTo>
                    <a:cubicBezTo>
                      <a:pt x="12" y="147"/>
                      <a:pt x="11" y="147"/>
                      <a:pt x="11" y="147"/>
                    </a:cubicBezTo>
                    <a:cubicBezTo>
                      <a:pt x="11" y="147"/>
                      <a:pt x="13" y="147"/>
                      <a:pt x="10" y="146"/>
                    </a:cubicBezTo>
                    <a:cubicBezTo>
                      <a:pt x="7" y="145"/>
                      <a:pt x="7" y="145"/>
                      <a:pt x="7" y="145"/>
                    </a:cubicBezTo>
                    <a:cubicBezTo>
                      <a:pt x="6" y="145"/>
                      <a:pt x="6" y="145"/>
                      <a:pt x="6" y="145"/>
                    </a:cubicBezTo>
                    <a:cubicBezTo>
                      <a:pt x="5" y="145"/>
                      <a:pt x="5" y="146"/>
                      <a:pt x="4" y="145"/>
                    </a:cubicBezTo>
                    <a:cubicBezTo>
                      <a:pt x="4" y="145"/>
                      <a:pt x="3" y="144"/>
                      <a:pt x="3" y="144"/>
                    </a:cubicBezTo>
                    <a:cubicBezTo>
                      <a:pt x="3" y="143"/>
                      <a:pt x="3" y="143"/>
                      <a:pt x="4" y="142"/>
                    </a:cubicBezTo>
                    <a:cubicBezTo>
                      <a:pt x="4" y="142"/>
                      <a:pt x="6" y="141"/>
                      <a:pt x="6" y="141"/>
                    </a:cubicBezTo>
                    <a:cubicBezTo>
                      <a:pt x="6" y="142"/>
                      <a:pt x="6" y="142"/>
                      <a:pt x="6" y="142"/>
                    </a:cubicBezTo>
                    <a:cubicBezTo>
                      <a:pt x="6" y="142"/>
                      <a:pt x="6" y="143"/>
                      <a:pt x="7" y="142"/>
                    </a:cubicBezTo>
                    <a:cubicBezTo>
                      <a:pt x="7" y="142"/>
                      <a:pt x="8" y="140"/>
                      <a:pt x="8" y="140"/>
                    </a:cubicBezTo>
                    <a:cubicBezTo>
                      <a:pt x="8" y="140"/>
                      <a:pt x="7" y="140"/>
                      <a:pt x="8" y="139"/>
                    </a:cubicBezTo>
                    <a:cubicBezTo>
                      <a:pt x="9" y="139"/>
                      <a:pt x="9" y="139"/>
                      <a:pt x="10" y="139"/>
                    </a:cubicBezTo>
                    <a:cubicBezTo>
                      <a:pt x="10" y="139"/>
                      <a:pt x="12" y="139"/>
                      <a:pt x="13" y="139"/>
                    </a:cubicBezTo>
                    <a:cubicBezTo>
                      <a:pt x="13" y="138"/>
                      <a:pt x="15" y="138"/>
                      <a:pt x="15" y="138"/>
                    </a:cubicBezTo>
                    <a:cubicBezTo>
                      <a:pt x="15" y="138"/>
                      <a:pt x="16" y="139"/>
                      <a:pt x="15" y="140"/>
                    </a:cubicBezTo>
                    <a:cubicBezTo>
                      <a:pt x="15" y="140"/>
                      <a:pt x="14" y="140"/>
                      <a:pt x="15" y="141"/>
                    </a:cubicBezTo>
                    <a:cubicBezTo>
                      <a:pt x="16" y="141"/>
                      <a:pt x="17" y="141"/>
                      <a:pt x="17" y="141"/>
                    </a:cubicBezTo>
                    <a:cubicBezTo>
                      <a:pt x="17" y="141"/>
                      <a:pt x="18" y="140"/>
                      <a:pt x="18" y="140"/>
                    </a:cubicBezTo>
                    <a:cubicBezTo>
                      <a:pt x="19" y="140"/>
                      <a:pt x="18" y="139"/>
                      <a:pt x="19" y="139"/>
                    </a:cubicBezTo>
                    <a:cubicBezTo>
                      <a:pt x="20" y="140"/>
                      <a:pt x="20" y="141"/>
                      <a:pt x="20" y="141"/>
                    </a:cubicBezTo>
                    <a:cubicBezTo>
                      <a:pt x="20" y="141"/>
                      <a:pt x="20" y="141"/>
                      <a:pt x="20" y="142"/>
                    </a:cubicBezTo>
                    <a:cubicBezTo>
                      <a:pt x="21" y="142"/>
                      <a:pt x="22" y="142"/>
                      <a:pt x="22" y="143"/>
                    </a:cubicBezTo>
                    <a:cubicBezTo>
                      <a:pt x="22" y="143"/>
                      <a:pt x="21" y="143"/>
                      <a:pt x="23" y="144"/>
                    </a:cubicBezTo>
                    <a:cubicBezTo>
                      <a:pt x="24" y="144"/>
                      <a:pt x="25" y="144"/>
                      <a:pt x="25" y="144"/>
                    </a:cubicBezTo>
                    <a:cubicBezTo>
                      <a:pt x="25" y="144"/>
                      <a:pt x="26" y="144"/>
                      <a:pt x="26" y="143"/>
                    </a:cubicBezTo>
                    <a:cubicBezTo>
                      <a:pt x="25" y="142"/>
                      <a:pt x="25" y="141"/>
                      <a:pt x="25" y="141"/>
                    </a:cubicBezTo>
                    <a:cubicBezTo>
                      <a:pt x="25" y="141"/>
                      <a:pt x="26" y="140"/>
                      <a:pt x="26" y="140"/>
                    </a:cubicBezTo>
                    <a:cubicBezTo>
                      <a:pt x="26" y="139"/>
                      <a:pt x="26" y="137"/>
                      <a:pt x="26" y="137"/>
                    </a:cubicBezTo>
                    <a:cubicBezTo>
                      <a:pt x="26" y="137"/>
                      <a:pt x="27" y="136"/>
                      <a:pt x="26" y="136"/>
                    </a:cubicBezTo>
                    <a:cubicBezTo>
                      <a:pt x="25" y="136"/>
                      <a:pt x="25" y="135"/>
                      <a:pt x="25" y="135"/>
                    </a:cubicBezTo>
                    <a:cubicBezTo>
                      <a:pt x="24" y="135"/>
                      <a:pt x="24" y="134"/>
                      <a:pt x="24" y="134"/>
                    </a:cubicBezTo>
                    <a:cubicBezTo>
                      <a:pt x="27" y="134"/>
                      <a:pt x="27" y="134"/>
                      <a:pt x="27" y="134"/>
                    </a:cubicBezTo>
                    <a:cubicBezTo>
                      <a:pt x="29" y="134"/>
                      <a:pt x="29" y="134"/>
                      <a:pt x="29" y="134"/>
                    </a:cubicBezTo>
                    <a:cubicBezTo>
                      <a:pt x="31" y="133"/>
                      <a:pt x="31" y="133"/>
                      <a:pt x="31" y="133"/>
                    </a:cubicBezTo>
                    <a:cubicBezTo>
                      <a:pt x="31" y="133"/>
                      <a:pt x="32" y="134"/>
                      <a:pt x="32" y="133"/>
                    </a:cubicBezTo>
                    <a:cubicBezTo>
                      <a:pt x="32" y="133"/>
                      <a:pt x="33" y="132"/>
                      <a:pt x="33" y="132"/>
                    </a:cubicBezTo>
                    <a:cubicBezTo>
                      <a:pt x="35" y="132"/>
                      <a:pt x="35" y="132"/>
                      <a:pt x="35" y="132"/>
                    </a:cubicBezTo>
                    <a:cubicBezTo>
                      <a:pt x="35" y="132"/>
                      <a:pt x="34" y="131"/>
                      <a:pt x="34" y="131"/>
                    </a:cubicBezTo>
                    <a:cubicBezTo>
                      <a:pt x="35" y="131"/>
                      <a:pt x="35" y="129"/>
                      <a:pt x="35" y="129"/>
                    </a:cubicBezTo>
                    <a:cubicBezTo>
                      <a:pt x="35" y="129"/>
                      <a:pt x="36" y="128"/>
                      <a:pt x="37" y="129"/>
                    </a:cubicBezTo>
                    <a:cubicBezTo>
                      <a:pt x="37" y="129"/>
                      <a:pt x="39" y="129"/>
                      <a:pt x="40" y="130"/>
                    </a:cubicBezTo>
                    <a:cubicBezTo>
                      <a:pt x="40" y="130"/>
                      <a:pt x="41" y="130"/>
                      <a:pt x="41" y="130"/>
                    </a:cubicBezTo>
                    <a:cubicBezTo>
                      <a:pt x="43" y="130"/>
                      <a:pt x="43" y="130"/>
                      <a:pt x="43" y="130"/>
                    </a:cubicBezTo>
                    <a:cubicBezTo>
                      <a:pt x="43" y="130"/>
                      <a:pt x="45" y="131"/>
                      <a:pt x="45" y="131"/>
                    </a:cubicBezTo>
                    <a:cubicBezTo>
                      <a:pt x="45" y="131"/>
                      <a:pt x="47" y="132"/>
                      <a:pt x="48" y="132"/>
                    </a:cubicBezTo>
                    <a:cubicBezTo>
                      <a:pt x="48" y="132"/>
                      <a:pt x="49" y="131"/>
                      <a:pt x="49" y="131"/>
                    </a:cubicBezTo>
                    <a:cubicBezTo>
                      <a:pt x="49" y="131"/>
                      <a:pt x="49" y="130"/>
                      <a:pt x="50" y="131"/>
                    </a:cubicBezTo>
                    <a:cubicBezTo>
                      <a:pt x="51" y="131"/>
                      <a:pt x="52" y="131"/>
                      <a:pt x="53" y="131"/>
                    </a:cubicBezTo>
                    <a:cubicBezTo>
                      <a:pt x="53" y="130"/>
                      <a:pt x="53" y="130"/>
                      <a:pt x="54" y="130"/>
                    </a:cubicBezTo>
                    <a:cubicBezTo>
                      <a:pt x="55" y="131"/>
                      <a:pt x="56" y="131"/>
                      <a:pt x="56" y="131"/>
                    </a:cubicBezTo>
                    <a:cubicBezTo>
                      <a:pt x="57" y="131"/>
                      <a:pt x="59" y="130"/>
                      <a:pt x="59" y="130"/>
                    </a:cubicBezTo>
                    <a:cubicBezTo>
                      <a:pt x="59" y="130"/>
                      <a:pt x="58" y="129"/>
                      <a:pt x="59" y="130"/>
                    </a:cubicBezTo>
                    <a:cubicBezTo>
                      <a:pt x="60" y="130"/>
                      <a:pt x="61" y="129"/>
                      <a:pt x="61" y="129"/>
                    </a:cubicBezTo>
                    <a:cubicBezTo>
                      <a:pt x="59" y="128"/>
                      <a:pt x="59" y="128"/>
                      <a:pt x="59" y="128"/>
                    </a:cubicBezTo>
                    <a:cubicBezTo>
                      <a:pt x="59" y="128"/>
                      <a:pt x="60" y="126"/>
                      <a:pt x="60" y="126"/>
                    </a:cubicBezTo>
                    <a:cubicBezTo>
                      <a:pt x="60" y="126"/>
                      <a:pt x="59" y="125"/>
                      <a:pt x="59" y="125"/>
                    </a:cubicBezTo>
                    <a:cubicBezTo>
                      <a:pt x="59" y="125"/>
                      <a:pt x="58" y="125"/>
                      <a:pt x="58" y="126"/>
                    </a:cubicBezTo>
                    <a:cubicBezTo>
                      <a:pt x="58" y="127"/>
                      <a:pt x="57" y="128"/>
                      <a:pt x="56" y="128"/>
                    </a:cubicBezTo>
                    <a:cubicBezTo>
                      <a:pt x="56" y="128"/>
                      <a:pt x="55" y="129"/>
                      <a:pt x="54" y="129"/>
                    </a:cubicBezTo>
                    <a:cubicBezTo>
                      <a:pt x="54" y="129"/>
                      <a:pt x="53" y="130"/>
                      <a:pt x="53" y="130"/>
                    </a:cubicBezTo>
                    <a:cubicBezTo>
                      <a:pt x="53" y="130"/>
                      <a:pt x="53" y="131"/>
                      <a:pt x="51" y="130"/>
                    </a:cubicBezTo>
                    <a:cubicBezTo>
                      <a:pt x="50" y="129"/>
                      <a:pt x="49" y="129"/>
                      <a:pt x="49" y="129"/>
                    </a:cubicBezTo>
                    <a:cubicBezTo>
                      <a:pt x="49" y="129"/>
                      <a:pt x="49" y="128"/>
                      <a:pt x="48" y="129"/>
                    </a:cubicBezTo>
                    <a:cubicBezTo>
                      <a:pt x="46" y="129"/>
                      <a:pt x="47" y="130"/>
                      <a:pt x="46" y="129"/>
                    </a:cubicBezTo>
                    <a:cubicBezTo>
                      <a:pt x="45" y="129"/>
                      <a:pt x="42" y="129"/>
                      <a:pt x="42" y="128"/>
                    </a:cubicBezTo>
                    <a:cubicBezTo>
                      <a:pt x="42" y="128"/>
                      <a:pt x="41" y="127"/>
                      <a:pt x="41" y="127"/>
                    </a:cubicBezTo>
                    <a:cubicBezTo>
                      <a:pt x="41" y="127"/>
                      <a:pt x="41" y="125"/>
                      <a:pt x="41" y="125"/>
                    </a:cubicBezTo>
                    <a:cubicBezTo>
                      <a:pt x="40" y="126"/>
                      <a:pt x="39" y="127"/>
                      <a:pt x="38" y="127"/>
                    </a:cubicBezTo>
                    <a:cubicBezTo>
                      <a:pt x="38" y="127"/>
                      <a:pt x="36" y="127"/>
                      <a:pt x="35" y="127"/>
                    </a:cubicBezTo>
                    <a:cubicBezTo>
                      <a:pt x="35" y="127"/>
                      <a:pt x="35" y="127"/>
                      <a:pt x="34" y="127"/>
                    </a:cubicBezTo>
                    <a:cubicBezTo>
                      <a:pt x="33" y="127"/>
                      <a:pt x="32" y="128"/>
                      <a:pt x="31" y="128"/>
                    </a:cubicBezTo>
                    <a:cubicBezTo>
                      <a:pt x="30" y="128"/>
                      <a:pt x="30" y="127"/>
                      <a:pt x="29" y="127"/>
                    </a:cubicBezTo>
                    <a:cubicBezTo>
                      <a:pt x="28" y="127"/>
                      <a:pt x="28" y="127"/>
                      <a:pt x="28" y="127"/>
                    </a:cubicBezTo>
                    <a:cubicBezTo>
                      <a:pt x="28" y="127"/>
                      <a:pt x="28" y="127"/>
                      <a:pt x="28" y="127"/>
                    </a:cubicBezTo>
                    <a:cubicBezTo>
                      <a:pt x="28" y="127"/>
                      <a:pt x="28" y="125"/>
                      <a:pt x="30" y="125"/>
                    </a:cubicBezTo>
                    <a:cubicBezTo>
                      <a:pt x="31" y="124"/>
                      <a:pt x="30" y="124"/>
                      <a:pt x="32" y="124"/>
                    </a:cubicBezTo>
                    <a:cubicBezTo>
                      <a:pt x="34" y="124"/>
                      <a:pt x="35" y="124"/>
                      <a:pt x="36" y="123"/>
                    </a:cubicBezTo>
                    <a:cubicBezTo>
                      <a:pt x="37" y="122"/>
                      <a:pt x="37" y="121"/>
                      <a:pt x="38" y="121"/>
                    </a:cubicBezTo>
                    <a:cubicBezTo>
                      <a:pt x="39" y="120"/>
                      <a:pt x="39" y="119"/>
                      <a:pt x="40" y="120"/>
                    </a:cubicBezTo>
                    <a:cubicBezTo>
                      <a:pt x="42" y="120"/>
                      <a:pt x="44" y="120"/>
                      <a:pt x="44" y="120"/>
                    </a:cubicBezTo>
                    <a:cubicBezTo>
                      <a:pt x="44" y="120"/>
                      <a:pt x="44" y="119"/>
                      <a:pt x="44" y="118"/>
                    </a:cubicBezTo>
                    <a:cubicBezTo>
                      <a:pt x="44" y="118"/>
                      <a:pt x="44" y="118"/>
                      <a:pt x="44" y="117"/>
                    </a:cubicBezTo>
                    <a:cubicBezTo>
                      <a:pt x="45" y="117"/>
                      <a:pt x="45" y="116"/>
                      <a:pt x="45" y="116"/>
                    </a:cubicBezTo>
                    <a:cubicBezTo>
                      <a:pt x="46" y="116"/>
                      <a:pt x="46" y="115"/>
                      <a:pt x="47" y="115"/>
                    </a:cubicBezTo>
                    <a:cubicBezTo>
                      <a:pt x="47" y="114"/>
                      <a:pt x="48" y="114"/>
                      <a:pt x="48" y="113"/>
                    </a:cubicBezTo>
                    <a:cubicBezTo>
                      <a:pt x="49" y="113"/>
                      <a:pt x="49" y="112"/>
                      <a:pt x="49" y="112"/>
                    </a:cubicBezTo>
                    <a:cubicBezTo>
                      <a:pt x="49" y="112"/>
                      <a:pt x="46" y="111"/>
                      <a:pt x="46" y="111"/>
                    </a:cubicBezTo>
                    <a:cubicBezTo>
                      <a:pt x="47" y="110"/>
                      <a:pt x="47" y="110"/>
                      <a:pt x="47" y="110"/>
                    </a:cubicBezTo>
                    <a:cubicBezTo>
                      <a:pt x="51" y="107"/>
                      <a:pt x="51" y="107"/>
                      <a:pt x="51" y="107"/>
                    </a:cubicBezTo>
                    <a:cubicBezTo>
                      <a:pt x="51" y="107"/>
                      <a:pt x="52" y="105"/>
                      <a:pt x="52" y="105"/>
                    </a:cubicBezTo>
                    <a:cubicBezTo>
                      <a:pt x="53" y="105"/>
                      <a:pt x="54" y="104"/>
                      <a:pt x="54" y="104"/>
                    </a:cubicBezTo>
                    <a:cubicBezTo>
                      <a:pt x="55" y="102"/>
                      <a:pt x="55" y="102"/>
                      <a:pt x="55" y="102"/>
                    </a:cubicBezTo>
                    <a:cubicBezTo>
                      <a:pt x="55" y="102"/>
                      <a:pt x="55" y="101"/>
                      <a:pt x="56" y="102"/>
                    </a:cubicBezTo>
                    <a:cubicBezTo>
                      <a:pt x="57" y="102"/>
                      <a:pt x="57" y="103"/>
                      <a:pt x="58" y="103"/>
                    </a:cubicBezTo>
                    <a:cubicBezTo>
                      <a:pt x="59" y="104"/>
                      <a:pt x="62" y="104"/>
                      <a:pt x="62" y="104"/>
                    </a:cubicBezTo>
                    <a:cubicBezTo>
                      <a:pt x="61" y="102"/>
                      <a:pt x="61" y="102"/>
                      <a:pt x="61" y="102"/>
                    </a:cubicBezTo>
                    <a:cubicBezTo>
                      <a:pt x="65" y="102"/>
                      <a:pt x="65" y="102"/>
                      <a:pt x="65" y="102"/>
                    </a:cubicBezTo>
                    <a:cubicBezTo>
                      <a:pt x="65" y="104"/>
                      <a:pt x="65" y="104"/>
                      <a:pt x="65" y="104"/>
                    </a:cubicBezTo>
                    <a:cubicBezTo>
                      <a:pt x="67" y="103"/>
                      <a:pt x="67" y="103"/>
                      <a:pt x="67" y="103"/>
                    </a:cubicBezTo>
                    <a:cubicBezTo>
                      <a:pt x="66" y="101"/>
                      <a:pt x="66" y="101"/>
                      <a:pt x="66" y="101"/>
                    </a:cubicBezTo>
                    <a:cubicBezTo>
                      <a:pt x="66" y="101"/>
                      <a:pt x="68" y="101"/>
                      <a:pt x="68" y="101"/>
                    </a:cubicBezTo>
                    <a:cubicBezTo>
                      <a:pt x="67" y="101"/>
                      <a:pt x="65" y="99"/>
                      <a:pt x="65" y="99"/>
                    </a:cubicBezTo>
                    <a:cubicBezTo>
                      <a:pt x="66" y="97"/>
                      <a:pt x="66" y="97"/>
                      <a:pt x="66" y="97"/>
                    </a:cubicBezTo>
                    <a:cubicBezTo>
                      <a:pt x="64" y="97"/>
                      <a:pt x="64" y="97"/>
                      <a:pt x="64" y="97"/>
                    </a:cubicBezTo>
                    <a:cubicBezTo>
                      <a:pt x="64" y="97"/>
                      <a:pt x="60" y="97"/>
                      <a:pt x="59" y="97"/>
                    </a:cubicBezTo>
                    <a:cubicBezTo>
                      <a:pt x="58" y="96"/>
                      <a:pt x="58" y="96"/>
                      <a:pt x="57" y="96"/>
                    </a:cubicBezTo>
                    <a:cubicBezTo>
                      <a:pt x="56" y="96"/>
                      <a:pt x="55" y="96"/>
                      <a:pt x="54" y="96"/>
                    </a:cubicBezTo>
                    <a:cubicBezTo>
                      <a:pt x="53" y="96"/>
                      <a:pt x="52" y="96"/>
                      <a:pt x="51" y="96"/>
                    </a:cubicBezTo>
                    <a:cubicBezTo>
                      <a:pt x="51" y="96"/>
                      <a:pt x="50" y="96"/>
                      <a:pt x="49" y="96"/>
                    </a:cubicBezTo>
                    <a:cubicBezTo>
                      <a:pt x="49" y="95"/>
                      <a:pt x="50" y="94"/>
                      <a:pt x="49" y="94"/>
                    </a:cubicBezTo>
                    <a:cubicBezTo>
                      <a:pt x="48" y="94"/>
                      <a:pt x="47" y="92"/>
                      <a:pt x="46" y="93"/>
                    </a:cubicBezTo>
                    <a:cubicBezTo>
                      <a:pt x="46" y="93"/>
                      <a:pt x="46" y="93"/>
                      <a:pt x="45" y="93"/>
                    </a:cubicBezTo>
                    <a:cubicBezTo>
                      <a:pt x="45" y="94"/>
                      <a:pt x="44" y="94"/>
                      <a:pt x="44" y="94"/>
                    </a:cubicBezTo>
                    <a:cubicBezTo>
                      <a:pt x="43" y="93"/>
                      <a:pt x="43" y="94"/>
                      <a:pt x="44" y="93"/>
                    </a:cubicBezTo>
                    <a:cubicBezTo>
                      <a:pt x="44" y="92"/>
                      <a:pt x="43" y="90"/>
                      <a:pt x="44" y="90"/>
                    </a:cubicBezTo>
                    <a:cubicBezTo>
                      <a:pt x="45" y="91"/>
                      <a:pt x="45" y="91"/>
                      <a:pt x="46" y="91"/>
                    </a:cubicBezTo>
                    <a:cubicBezTo>
                      <a:pt x="46" y="91"/>
                      <a:pt x="47" y="91"/>
                      <a:pt x="47" y="91"/>
                    </a:cubicBezTo>
                    <a:cubicBezTo>
                      <a:pt x="47" y="90"/>
                      <a:pt x="48" y="88"/>
                      <a:pt x="48" y="88"/>
                    </a:cubicBezTo>
                    <a:cubicBezTo>
                      <a:pt x="48" y="88"/>
                      <a:pt x="51" y="89"/>
                      <a:pt x="50" y="88"/>
                    </a:cubicBezTo>
                    <a:cubicBezTo>
                      <a:pt x="49" y="87"/>
                      <a:pt x="47" y="86"/>
                      <a:pt x="47" y="86"/>
                    </a:cubicBezTo>
                    <a:cubicBezTo>
                      <a:pt x="47" y="86"/>
                      <a:pt x="46" y="86"/>
                      <a:pt x="46" y="87"/>
                    </a:cubicBezTo>
                    <a:cubicBezTo>
                      <a:pt x="45" y="88"/>
                      <a:pt x="46" y="88"/>
                      <a:pt x="45" y="89"/>
                    </a:cubicBezTo>
                    <a:cubicBezTo>
                      <a:pt x="44" y="89"/>
                      <a:pt x="44" y="89"/>
                      <a:pt x="43" y="89"/>
                    </a:cubicBezTo>
                    <a:cubicBezTo>
                      <a:pt x="43" y="89"/>
                      <a:pt x="43" y="89"/>
                      <a:pt x="42" y="89"/>
                    </a:cubicBezTo>
                    <a:cubicBezTo>
                      <a:pt x="42" y="89"/>
                      <a:pt x="40" y="89"/>
                      <a:pt x="40" y="88"/>
                    </a:cubicBezTo>
                    <a:cubicBezTo>
                      <a:pt x="40" y="88"/>
                      <a:pt x="40" y="88"/>
                      <a:pt x="40" y="87"/>
                    </a:cubicBezTo>
                    <a:cubicBezTo>
                      <a:pt x="40" y="86"/>
                      <a:pt x="40" y="85"/>
                      <a:pt x="42" y="85"/>
                    </a:cubicBezTo>
                    <a:cubicBezTo>
                      <a:pt x="43" y="85"/>
                      <a:pt x="43" y="86"/>
                      <a:pt x="43" y="85"/>
                    </a:cubicBezTo>
                    <a:cubicBezTo>
                      <a:pt x="43" y="85"/>
                      <a:pt x="43" y="84"/>
                      <a:pt x="42" y="84"/>
                    </a:cubicBezTo>
                    <a:cubicBezTo>
                      <a:pt x="42" y="83"/>
                      <a:pt x="42" y="83"/>
                      <a:pt x="41" y="83"/>
                    </a:cubicBezTo>
                    <a:cubicBezTo>
                      <a:pt x="40" y="83"/>
                      <a:pt x="38" y="84"/>
                      <a:pt x="38" y="84"/>
                    </a:cubicBezTo>
                    <a:cubicBezTo>
                      <a:pt x="38" y="84"/>
                      <a:pt x="39" y="84"/>
                      <a:pt x="37" y="84"/>
                    </a:cubicBezTo>
                    <a:cubicBezTo>
                      <a:pt x="36" y="83"/>
                      <a:pt x="37" y="83"/>
                      <a:pt x="36" y="82"/>
                    </a:cubicBezTo>
                    <a:cubicBezTo>
                      <a:pt x="36" y="81"/>
                      <a:pt x="36" y="81"/>
                      <a:pt x="35" y="81"/>
                    </a:cubicBezTo>
                    <a:cubicBezTo>
                      <a:pt x="35" y="81"/>
                      <a:pt x="35" y="81"/>
                      <a:pt x="34" y="81"/>
                    </a:cubicBezTo>
                    <a:cubicBezTo>
                      <a:pt x="33" y="80"/>
                      <a:pt x="32" y="80"/>
                      <a:pt x="32" y="79"/>
                    </a:cubicBezTo>
                    <a:cubicBezTo>
                      <a:pt x="32" y="78"/>
                      <a:pt x="32" y="77"/>
                      <a:pt x="33" y="78"/>
                    </a:cubicBezTo>
                    <a:cubicBezTo>
                      <a:pt x="34" y="78"/>
                      <a:pt x="33" y="77"/>
                      <a:pt x="34" y="78"/>
                    </a:cubicBezTo>
                    <a:cubicBezTo>
                      <a:pt x="36" y="79"/>
                      <a:pt x="36" y="79"/>
                      <a:pt x="36" y="79"/>
                    </a:cubicBezTo>
                    <a:cubicBezTo>
                      <a:pt x="36" y="79"/>
                      <a:pt x="37" y="79"/>
                      <a:pt x="36" y="78"/>
                    </a:cubicBezTo>
                    <a:cubicBezTo>
                      <a:pt x="36" y="77"/>
                      <a:pt x="35" y="76"/>
                      <a:pt x="35" y="76"/>
                    </a:cubicBezTo>
                    <a:cubicBezTo>
                      <a:pt x="35" y="76"/>
                      <a:pt x="34" y="76"/>
                      <a:pt x="34" y="75"/>
                    </a:cubicBezTo>
                    <a:cubicBezTo>
                      <a:pt x="34" y="74"/>
                      <a:pt x="34" y="74"/>
                      <a:pt x="33" y="73"/>
                    </a:cubicBezTo>
                    <a:cubicBezTo>
                      <a:pt x="33" y="73"/>
                      <a:pt x="34" y="73"/>
                      <a:pt x="34" y="73"/>
                    </a:cubicBezTo>
                    <a:cubicBezTo>
                      <a:pt x="35" y="73"/>
                      <a:pt x="34" y="73"/>
                      <a:pt x="35" y="73"/>
                    </a:cubicBezTo>
                    <a:cubicBezTo>
                      <a:pt x="37" y="73"/>
                      <a:pt x="36" y="73"/>
                      <a:pt x="37" y="73"/>
                    </a:cubicBezTo>
                    <a:cubicBezTo>
                      <a:pt x="37" y="73"/>
                      <a:pt x="38" y="73"/>
                      <a:pt x="38" y="73"/>
                    </a:cubicBezTo>
                    <a:cubicBezTo>
                      <a:pt x="38" y="74"/>
                      <a:pt x="39" y="72"/>
                      <a:pt x="39" y="72"/>
                    </a:cubicBezTo>
                    <a:cubicBezTo>
                      <a:pt x="39" y="72"/>
                      <a:pt x="38" y="71"/>
                      <a:pt x="39" y="71"/>
                    </a:cubicBezTo>
                    <a:cubicBezTo>
                      <a:pt x="40" y="71"/>
                      <a:pt x="40" y="72"/>
                      <a:pt x="41" y="72"/>
                    </a:cubicBezTo>
                    <a:cubicBezTo>
                      <a:pt x="43" y="72"/>
                      <a:pt x="43" y="73"/>
                      <a:pt x="44" y="73"/>
                    </a:cubicBezTo>
                    <a:cubicBezTo>
                      <a:pt x="44" y="72"/>
                      <a:pt x="45" y="73"/>
                      <a:pt x="45" y="72"/>
                    </a:cubicBezTo>
                    <a:cubicBezTo>
                      <a:pt x="44" y="71"/>
                      <a:pt x="44" y="72"/>
                      <a:pt x="44" y="71"/>
                    </a:cubicBezTo>
                    <a:cubicBezTo>
                      <a:pt x="43" y="70"/>
                      <a:pt x="43" y="71"/>
                      <a:pt x="43" y="69"/>
                    </a:cubicBezTo>
                    <a:cubicBezTo>
                      <a:pt x="44" y="68"/>
                      <a:pt x="44" y="67"/>
                      <a:pt x="44" y="67"/>
                    </a:cubicBezTo>
                    <a:cubicBezTo>
                      <a:pt x="44" y="66"/>
                      <a:pt x="44" y="66"/>
                      <a:pt x="44" y="66"/>
                    </a:cubicBezTo>
                    <a:cubicBezTo>
                      <a:pt x="46" y="64"/>
                      <a:pt x="46" y="64"/>
                      <a:pt x="46" y="64"/>
                    </a:cubicBezTo>
                    <a:cubicBezTo>
                      <a:pt x="46" y="64"/>
                      <a:pt x="47" y="64"/>
                      <a:pt x="48" y="64"/>
                    </a:cubicBezTo>
                    <a:cubicBezTo>
                      <a:pt x="50" y="64"/>
                      <a:pt x="51" y="65"/>
                      <a:pt x="52" y="65"/>
                    </a:cubicBezTo>
                    <a:cubicBezTo>
                      <a:pt x="54" y="65"/>
                      <a:pt x="55" y="65"/>
                      <a:pt x="55" y="65"/>
                    </a:cubicBezTo>
                    <a:cubicBezTo>
                      <a:pt x="54" y="64"/>
                      <a:pt x="54" y="64"/>
                      <a:pt x="54" y="64"/>
                    </a:cubicBezTo>
                    <a:cubicBezTo>
                      <a:pt x="54" y="64"/>
                      <a:pt x="54" y="64"/>
                      <a:pt x="54" y="63"/>
                    </a:cubicBezTo>
                    <a:cubicBezTo>
                      <a:pt x="55" y="63"/>
                      <a:pt x="55" y="63"/>
                      <a:pt x="56" y="63"/>
                    </a:cubicBezTo>
                    <a:cubicBezTo>
                      <a:pt x="56" y="63"/>
                      <a:pt x="57" y="61"/>
                      <a:pt x="57" y="61"/>
                    </a:cubicBezTo>
                    <a:cubicBezTo>
                      <a:pt x="56" y="60"/>
                      <a:pt x="56" y="60"/>
                      <a:pt x="55" y="59"/>
                    </a:cubicBezTo>
                    <a:cubicBezTo>
                      <a:pt x="53" y="59"/>
                      <a:pt x="50" y="59"/>
                      <a:pt x="50" y="59"/>
                    </a:cubicBezTo>
                    <a:cubicBezTo>
                      <a:pt x="50" y="59"/>
                      <a:pt x="49" y="59"/>
                      <a:pt x="48" y="59"/>
                    </a:cubicBezTo>
                    <a:cubicBezTo>
                      <a:pt x="47" y="59"/>
                      <a:pt x="45" y="59"/>
                      <a:pt x="45" y="58"/>
                    </a:cubicBezTo>
                    <a:cubicBezTo>
                      <a:pt x="44" y="58"/>
                      <a:pt x="44" y="58"/>
                      <a:pt x="44" y="56"/>
                    </a:cubicBezTo>
                    <a:cubicBezTo>
                      <a:pt x="44" y="55"/>
                      <a:pt x="43" y="55"/>
                      <a:pt x="43" y="55"/>
                    </a:cubicBezTo>
                    <a:cubicBezTo>
                      <a:pt x="44" y="53"/>
                      <a:pt x="44" y="53"/>
                      <a:pt x="44" y="53"/>
                    </a:cubicBezTo>
                    <a:cubicBezTo>
                      <a:pt x="44" y="53"/>
                      <a:pt x="43" y="52"/>
                      <a:pt x="43" y="52"/>
                    </a:cubicBezTo>
                    <a:cubicBezTo>
                      <a:pt x="42" y="52"/>
                      <a:pt x="42" y="52"/>
                      <a:pt x="42" y="52"/>
                    </a:cubicBezTo>
                    <a:cubicBezTo>
                      <a:pt x="41" y="52"/>
                      <a:pt x="42" y="52"/>
                      <a:pt x="40" y="51"/>
                    </a:cubicBezTo>
                    <a:cubicBezTo>
                      <a:pt x="38" y="51"/>
                      <a:pt x="37" y="50"/>
                      <a:pt x="37" y="50"/>
                    </a:cubicBezTo>
                    <a:cubicBezTo>
                      <a:pt x="37" y="49"/>
                      <a:pt x="37" y="49"/>
                      <a:pt x="39" y="49"/>
                    </a:cubicBezTo>
                    <a:cubicBezTo>
                      <a:pt x="40" y="49"/>
                      <a:pt x="41" y="49"/>
                      <a:pt x="42" y="49"/>
                    </a:cubicBezTo>
                    <a:cubicBezTo>
                      <a:pt x="43" y="50"/>
                      <a:pt x="45" y="49"/>
                      <a:pt x="45" y="49"/>
                    </a:cubicBezTo>
                    <a:cubicBezTo>
                      <a:pt x="45" y="49"/>
                      <a:pt x="44" y="49"/>
                      <a:pt x="46" y="50"/>
                    </a:cubicBezTo>
                    <a:cubicBezTo>
                      <a:pt x="48" y="51"/>
                      <a:pt x="47" y="51"/>
                      <a:pt x="48" y="51"/>
                    </a:cubicBezTo>
                    <a:cubicBezTo>
                      <a:pt x="49" y="51"/>
                      <a:pt x="50" y="50"/>
                      <a:pt x="49" y="50"/>
                    </a:cubicBezTo>
                    <a:cubicBezTo>
                      <a:pt x="49" y="49"/>
                      <a:pt x="50" y="49"/>
                      <a:pt x="49" y="49"/>
                    </a:cubicBezTo>
                    <a:cubicBezTo>
                      <a:pt x="48" y="48"/>
                      <a:pt x="48" y="48"/>
                      <a:pt x="48" y="48"/>
                    </a:cubicBezTo>
                    <a:cubicBezTo>
                      <a:pt x="48" y="48"/>
                      <a:pt x="48" y="48"/>
                      <a:pt x="48" y="47"/>
                    </a:cubicBezTo>
                    <a:cubicBezTo>
                      <a:pt x="48" y="46"/>
                      <a:pt x="49" y="45"/>
                      <a:pt x="49" y="45"/>
                    </a:cubicBezTo>
                    <a:cubicBezTo>
                      <a:pt x="50" y="45"/>
                      <a:pt x="50" y="45"/>
                      <a:pt x="50" y="44"/>
                    </a:cubicBezTo>
                    <a:cubicBezTo>
                      <a:pt x="50" y="44"/>
                      <a:pt x="50" y="43"/>
                      <a:pt x="50" y="43"/>
                    </a:cubicBezTo>
                    <a:cubicBezTo>
                      <a:pt x="50" y="42"/>
                      <a:pt x="51" y="41"/>
                      <a:pt x="51" y="41"/>
                    </a:cubicBezTo>
                    <a:cubicBezTo>
                      <a:pt x="51" y="41"/>
                      <a:pt x="50" y="40"/>
                      <a:pt x="50" y="40"/>
                    </a:cubicBezTo>
                    <a:cubicBezTo>
                      <a:pt x="50" y="40"/>
                      <a:pt x="48" y="40"/>
                      <a:pt x="48" y="41"/>
                    </a:cubicBezTo>
                    <a:cubicBezTo>
                      <a:pt x="48" y="41"/>
                      <a:pt x="48" y="41"/>
                      <a:pt x="48" y="42"/>
                    </a:cubicBezTo>
                    <a:cubicBezTo>
                      <a:pt x="47" y="42"/>
                      <a:pt x="47" y="42"/>
                      <a:pt x="46" y="42"/>
                    </a:cubicBezTo>
                    <a:cubicBezTo>
                      <a:pt x="46" y="43"/>
                      <a:pt x="46" y="43"/>
                      <a:pt x="46" y="43"/>
                    </a:cubicBezTo>
                    <a:cubicBezTo>
                      <a:pt x="46" y="44"/>
                      <a:pt x="45" y="45"/>
                      <a:pt x="45" y="45"/>
                    </a:cubicBezTo>
                    <a:cubicBezTo>
                      <a:pt x="45" y="45"/>
                      <a:pt x="44" y="43"/>
                      <a:pt x="44" y="42"/>
                    </a:cubicBezTo>
                    <a:cubicBezTo>
                      <a:pt x="44" y="42"/>
                      <a:pt x="45" y="41"/>
                      <a:pt x="46" y="41"/>
                    </a:cubicBezTo>
                    <a:cubicBezTo>
                      <a:pt x="47" y="41"/>
                      <a:pt x="47" y="41"/>
                      <a:pt x="47" y="40"/>
                    </a:cubicBezTo>
                    <a:cubicBezTo>
                      <a:pt x="47" y="40"/>
                      <a:pt x="47" y="40"/>
                      <a:pt x="47" y="39"/>
                    </a:cubicBezTo>
                    <a:cubicBezTo>
                      <a:pt x="47" y="38"/>
                      <a:pt x="47" y="38"/>
                      <a:pt x="47" y="38"/>
                    </a:cubicBezTo>
                    <a:cubicBezTo>
                      <a:pt x="48" y="37"/>
                      <a:pt x="49" y="36"/>
                      <a:pt x="50" y="36"/>
                    </a:cubicBezTo>
                    <a:cubicBezTo>
                      <a:pt x="50" y="36"/>
                      <a:pt x="49" y="34"/>
                      <a:pt x="51" y="36"/>
                    </a:cubicBezTo>
                    <a:cubicBezTo>
                      <a:pt x="52" y="37"/>
                      <a:pt x="52" y="37"/>
                      <a:pt x="53" y="38"/>
                    </a:cubicBezTo>
                    <a:cubicBezTo>
                      <a:pt x="54" y="38"/>
                      <a:pt x="56" y="39"/>
                      <a:pt x="56" y="38"/>
                    </a:cubicBezTo>
                    <a:cubicBezTo>
                      <a:pt x="56" y="38"/>
                      <a:pt x="56" y="37"/>
                      <a:pt x="56" y="36"/>
                    </a:cubicBezTo>
                    <a:cubicBezTo>
                      <a:pt x="56" y="36"/>
                      <a:pt x="55" y="36"/>
                      <a:pt x="56" y="35"/>
                    </a:cubicBezTo>
                    <a:cubicBezTo>
                      <a:pt x="56" y="35"/>
                      <a:pt x="56" y="35"/>
                      <a:pt x="57" y="35"/>
                    </a:cubicBezTo>
                    <a:cubicBezTo>
                      <a:pt x="59" y="36"/>
                      <a:pt x="58" y="36"/>
                      <a:pt x="59" y="37"/>
                    </a:cubicBezTo>
                    <a:cubicBezTo>
                      <a:pt x="61" y="38"/>
                      <a:pt x="61" y="38"/>
                      <a:pt x="61" y="38"/>
                    </a:cubicBezTo>
                    <a:cubicBezTo>
                      <a:pt x="62" y="38"/>
                      <a:pt x="62" y="38"/>
                      <a:pt x="63" y="38"/>
                    </a:cubicBezTo>
                    <a:cubicBezTo>
                      <a:pt x="64" y="38"/>
                      <a:pt x="63" y="37"/>
                      <a:pt x="65" y="39"/>
                    </a:cubicBezTo>
                    <a:cubicBezTo>
                      <a:pt x="66" y="40"/>
                      <a:pt x="66" y="40"/>
                      <a:pt x="67" y="40"/>
                    </a:cubicBezTo>
                    <a:cubicBezTo>
                      <a:pt x="68" y="41"/>
                      <a:pt x="70" y="40"/>
                      <a:pt x="70" y="40"/>
                    </a:cubicBezTo>
                    <a:cubicBezTo>
                      <a:pt x="70" y="40"/>
                      <a:pt x="70" y="39"/>
                      <a:pt x="71" y="41"/>
                    </a:cubicBezTo>
                    <a:cubicBezTo>
                      <a:pt x="72" y="43"/>
                      <a:pt x="73" y="43"/>
                      <a:pt x="73" y="43"/>
                    </a:cubicBezTo>
                    <a:cubicBezTo>
                      <a:pt x="73" y="44"/>
                      <a:pt x="74" y="45"/>
                      <a:pt x="74" y="45"/>
                    </a:cubicBezTo>
                    <a:cubicBezTo>
                      <a:pt x="74" y="45"/>
                      <a:pt x="74" y="45"/>
                      <a:pt x="74" y="46"/>
                    </a:cubicBezTo>
                    <a:cubicBezTo>
                      <a:pt x="74" y="46"/>
                      <a:pt x="74" y="47"/>
                      <a:pt x="75" y="47"/>
                    </a:cubicBezTo>
                    <a:cubicBezTo>
                      <a:pt x="75" y="47"/>
                      <a:pt x="76" y="47"/>
                      <a:pt x="76" y="47"/>
                    </a:cubicBezTo>
                    <a:cubicBezTo>
                      <a:pt x="76" y="47"/>
                      <a:pt x="77" y="46"/>
                      <a:pt x="77" y="46"/>
                    </a:cubicBezTo>
                    <a:cubicBezTo>
                      <a:pt x="77" y="46"/>
                      <a:pt x="79" y="45"/>
                      <a:pt x="79" y="45"/>
                    </a:cubicBezTo>
                    <a:cubicBezTo>
                      <a:pt x="79" y="45"/>
                      <a:pt x="79" y="44"/>
                      <a:pt x="81" y="45"/>
                    </a:cubicBezTo>
                    <a:cubicBezTo>
                      <a:pt x="82" y="45"/>
                      <a:pt x="84" y="46"/>
                      <a:pt x="84" y="46"/>
                    </a:cubicBezTo>
                    <a:cubicBezTo>
                      <a:pt x="84" y="46"/>
                      <a:pt x="84" y="47"/>
                      <a:pt x="84" y="47"/>
                    </a:cubicBezTo>
                    <a:cubicBezTo>
                      <a:pt x="85" y="47"/>
                      <a:pt x="88" y="47"/>
                      <a:pt x="88" y="47"/>
                    </a:cubicBezTo>
                    <a:cubicBezTo>
                      <a:pt x="89" y="48"/>
                      <a:pt x="89" y="48"/>
                      <a:pt x="89" y="48"/>
                    </a:cubicBezTo>
                    <a:cubicBezTo>
                      <a:pt x="89" y="48"/>
                      <a:pt x="90" y="49"/>
                      <a:pt x="90" y="49"/>
                    </a:cubicBezTo>
                    <a:cubicBezTo>
                      <a:pt x="90" y="50"/>
                      <a:pt x="91" y="52"/>
                      <a:pt x="91" y="52"/>
                    </a:cubicBezTo>
                    <a:cubicBezTo>
                      <a:pt x="94" y="53"/>
                      <a:pt x="94" y="53"/>
                      <a:pt x="94" y="53"/>
                    </a:cubicBezTo>
                    <a:cubicBezTo>
                      <a:pt x="92" y="50"/>
                      <a:pt x="92" y="50"/>
                      <a:pt x="92" y="50"/>
                    </a:cubicBezTo>
                    <a:cubicBezTo>
                      <a:pt x="92" y="50"/>
                      <a:pt x="90" y="48"/>
                      <a:pt x="92" y="48"/>
                    </a:cubicBezTo>
                    <a:cubicBezTo>
                      <a:pt x="94" y="48"/>
                      <a:pt x="95" y="47"/>
                      <a:pt x="95" y="47"/>
                    </a:cubicBezTo>
                    <a:cubicBezTo>
                      <a:pt x="95" y="46"/>
                      <a:pt x="95" y="46"/>
                      <a:pt x="95" y="46"/>
                    </a:cubicBezTo>
                    <a:cubicBezTo>
                      <a:pt x="92" y="46"/>
                      <a:pt x="92" y="46"/>
                      <a:pt x="92" y="46"/>
                    </a:cubicBezTo>
                    <a:cubicBezTo>
                      <a:pt x="92" y="46"/>
                      <a:pt x="92" y="44"/>
                      <a:pt x="92" y="44"/>
                    </a:cubicBezTo>
                    <a:cubicBezTo>
                      <a:pt x="93" y="44"/>
                      <a:pt x="94" y="42"/>
                      <a:pt x="96" y="42"/>
                    </a:cubicBezTo>
                    <a:cubicBezTo>
                      <a:pt x="98" y="42"/>
                      <a:pt x="100" y="41"/>
                      <a:pt x="100" y="41"/>
                    </a:cubicBezTo>
                    <a:cubicBezTo>
                      <a:pt x="100" y="41"/>
                      <a:pt x="100" y="40"/>
                      <a:pt x="102" y="40"/>
                    </a:cubicBezTo>
                    <a:cubicBezTo>
                      <a:pt x="104" y="40"/>
                      <a:pt x="105" y="40"/>
                      <a:pt x="106" y="40"/>
                    </a:cubicBezTo>
                    <a:cubicBezTo>
                      <a:pt x="107" y="40"/>
                      <a:pt x="107" y="40"/>
                      <a:pt x="107" y="39"/>
                    </a:cubicBezTo>
                    <a:cubicBezTo>
                      <a:pt x="107" y="38"/>
                      <a:pt x="106" y="38"/>
                      <a:pt x="108" y="37"/>
                    </a:cubicBezTo>
                    <a:cubicBezTo>
                      <a:pt x="109" y="37"/>
                      <a:pt x="110" y="36"/>
                      <a:pt x="110" y="36"/>
                    </a:cubicBezTo>
                    <a:cubicBezTo>
                      <a:pt x="111" y="32"/>
                      <a:pt x="111" y="32"/>
                      <a:pt x="111" y="32"/>
                    </a:cubicBezTo>
                    <a:cubicBezTo>
                      <a:pt x="107" y="34"/>
                      <a:pt x="107" y="34"/>
                      <a:pt x="107" y="34"/>
                    </a:cubicBezTo>
                    <a:cubicBezTo>
                      <a:pt x="107" y="34"/>
                      <a:pt x="107" y="32"/>
                      <a:pt x="106" y="32"/>
                    </a:cubicBezTo>
                    <a:cubicBezTo>
                      <a:pt x="105" y="32"/>
                      <a:pt x="102" y="34"/>
                      <a:pt x="102" y="34"/>
                    </a:cubicBezTo>
                    <a:cubicBezTo>
                      <a:pt x="102" y="34"/>
                      <a:pt x="102" y="33"/>
                      <a:pt x="101" y="33"/>
                    </a:cubicBezTo>
                    <a:cubicBezTo>
                      <a:pt x="101" y="32"/>
                      <a:pt x="101" y="32"/>
                      <a:pt x="100" y="32"/>
                    </a:cubicBezTo>
                    <a:cubicBezTo>
                      <a:pt x="99" y="32"/>
                      <a:pt x="100" y="32"/>
                      <a:pt x="98" y="31"/>
                    </a:cubicBezTo>
                    <a:cubicBezTo>
                      <a:pt x="96" y="30"/>
                      <a:pt x="95" y="28"/>
                      <a:pt x="95" y="28"/>
                    </a:cubicBezTo>
                    <a:cubicBezTo>
                      <a:pt x="95" y="28"/>
                      <a:pt x="96" y="28"/>
                      <a:pt x="94" y="28"/>
                    </a:cubicBezTo>
                    <a:cubicBezTo>
                      <a:pt x="93" y="27"/>
                      <a:pt x="93" y="27"/>
                      <a:pt x="93" y="27"/>
                    </a:cubicBezTo>
                    <a:cubicBezTo>
                      <a:pt x="92" y="26"/>
                      <a:pt x="92" y="26"/>
                      <a:pt x="94" y="25"/>
                    </a:cubicBezTo>
                    <a:cubicBezTo>
                      <a:pt x="95" y="24"/>
                      <a:pt x="94" y="24"/>
                      <a:pt x="96" y="23"/>
                    </a:cubicBezTo>
                    <a:cubicBezTo>
                      <a:pt x="97" y="22"/>
                      <a:pt x="96" y="21"/>
                      <a:pt x="98" y="22"/>
                    </a:cubicBezTo>
                    <a:cubicBezTo>
                      <a:pt x="101" y="23"/>
                      <a:pt x="101" y="23"/>
                      <a:pt x="102" y="24"/>
                    </a:cubicBezTo>
                    <a:cubicBezTo>
                      <a:pt x="103" y="24"/>
                      <a:pt x="107" y="24"/>
                      <a:pt x="105" y="23"/>
                    </a:cubicBezTo>
                    <a:cubicBezTo>
                      <a:pt x="104" y="22"/>
                      <a:pt x="102" y="21"/>
                      <a:pt x="102" y="20"/>
                    </a:cubicBezTo>
                    <a:cubicBezTo>
                      <a:pt x="102" y="20"/>
                      <a:pt x="100" y="20"/>
                      <a:pt x="102" y="20"/>
                    </a:cubicBezTo>
                    <a:cubicBezTo>
                      <a:pt x="103" y="20"/>
                      <a:pt x="104" y="19"/>
                      <a:pt x="105" y="20"/>
                    </a:cubicBezTo>
                    <a:cubicBezTo>
                      <a:pt x="105" y="20"/>
                      <a:pt x="103" y="20"/>
                      <a:pt x="106" y="20"/>
                    </a:cubicBezTo>
                    <a:cubicBezTo>
                      <a:pt x="109" y="20"/>
                      <a:pt x="110" y="20"/>
                      <a:pt x="108" y="19"/>
                    </a:cubicBezTo>
                    <a:cubicBezTo>
                      <a:pt x="107" y="18"/>
                      <a:pt x="107" y="18"/>
                      <a:pt x="106" y="17"/>
                    </a:cubicBezTo>
                    <a:cubicBezTo>
                      <a:pt x="106" y="16"/>
                      <a:pt x="105" y="16"/>
                      <a:pt x="106" y="16"/>
                    </a:cubicBezTo>
                    <a:cubicBezTo>
                      <a:pt x="106" y="15"/>
                      <a:pt x="106" y="16"/>
                      <a:pt x="107" y="15"/>
                    </a:cubicBezTo>
                    <a:cubicBezTo>
                      <a:pt x="107" y="14"/>
                      <a:pt x="107" y="13"/>
                      <a:pt x="107" y="13"/>
                    </a:cubicBezTo>
                    <a:cubicBezTo>
                      <a:pt x="107" y="13"/>
                      <a:pt x="106" y="13"/>
                      <a:pt x="107" y="12"/>
                    </a:cubicBezTo>
                    <a:cubicBezTo>
                      <a:pt x="109" y="10"/>
                      <a:pt x="109" y="10"/>
                      <a:pt x="110" y="10"/>
                    </a:cubicBezTo>
                    <a:cubicBezTo>
                      <a:pt x="110" y="10"/>
                      <a:pt x="111" y="9"/>
                      <a:pt x="112" y="9"/>
                    </a:cubicBezTo>
                    <a:cubicBezTo>
                      <a:pt x="112" y="8"/>
                      <a:pt x="113" y="6"/>
                      <a:pt x="113" y="6"/>
                    </a:cubicBezTo>
                    <a:cubicBezTo>
                      <a:pt x="116" y="6"/>
                      <a:pt x="116" y="6"/>
                      <a:pt x="116" y="6"/>
                    </a:cubicBezTo>
                    <a:cubicBezTo>
                      <a:pt x="116" y="6"/>
                      <a:pt x="117" y="6"/>
                      <a:pt x="117" y="6"/>
                    </a:cubicBezTo>
                    <a:cubicBezTo>
                      <a:pt x="117" y="7"/>
                      <a:pt x="117" y="5"/>
                      <a:pt x="117" y="5"/>
                    </a:cubicBezTo>
                    <a:cubicBezTo>
                      <a:pt x="117" y="5"/>
                      <a:pt x="118" y="5"/>
                      <a:pt x="118" y="5"/>
                    </a:cubicBezTo>
                    <a:cubicBezTo>
                      <a:pt x="119" y="6"/>
                      <a:pt x="119" y="6"/>
                      <a:pt x="119" y="6"/>
                    </a:cubicBezTo>
                    <a:cubicBezTo>
                      <a:pt x="120" y="7"/>
                      <a:pt x="121" y="6"/>
                      <a:pt x="121" y="6"/>
                    </a:cubicBezTo>
                    <a:cubicBezTo>
                      <a:pt x="121" y="6"/>
                      <a:pt x="122" y="5"/>
                      <a:pt x="123" y="5"/>
                    </a:cubicBezTo>
                    <a:cubicBezTo>
                      <a:pt x="124" y="5"/>
                      <a:pt x="125" y="5"/>
                      <a:pt x="125" y="5"/>
                    </a:cubicBezTo>
                    <a:cubicBezTo>
                      <a:pt x="125" y="6"/>
                      <a:pt x="125" y="6"/>
                      <a:pt x="125" y="7"/>
                    </a:cubicBezTo>
                    <a:cubicBezTo>
                      <a:pt x="126" y="7"/>
                      <a:pt x="127" y="8"/>
                      <a:pt x="127" y="8"/>
                    </a:cubicBezTo>
                    <a:cubicBezTo>
                      <a:pt x="127" y="8"/>
                      <a:pt x="129" y="8"/>
                      <a:pt x="129" y="7"/>
                    </a:cubicBezTo>
                    <a:cubicBezTo>
                      <a:pt x="129" y="7"/>
                      <a:pt x="128" y="7"/>
                      <a:pt x="130" y="6"/>
                    </a:cubicBezTo>
                    <a:cubicBezTo>
                      <a:pt x="132" y="4"/>
                      <a:pt x="133" y="4"/>
                      <a:pt x="133" y="4"/>
                    </a:cubicBezTo>
                    <a:cubicBezTo>
                      <a:pt x="133" y="4"/>
                      <a:pt x="133" y="3"/>
                      <a:pt x="134" y="3"/>
                    </a:cubicBezTo>
                    <a:cubicBezTo>
                      <a:pt x="135" y="4"/>
                      <a:pt x="135" y="3"/>
                      <a:pt x="135" y="4"/>
                    </a:cubicBezTo>
                    <a:cubicBezTo>
                      <a:pt x="135" y="4"/>
                      <a:pt x="136" y="5"/>
                      <a:pt x="136" y="5"/>
                    </a:cubicBezTo>
                    <a:cubicBezTo>
                      <a:pt x="136" y="5"/>
                      <a:pt x="136" y="8"/>
                      <a:pt x="136" y="8"/>
                    </a:cubicBezTo>
                    <a:cubicBezTo>
                      <a:pt x="136" y="9"/>
                      <a:pt x="136" y="9"/>
                      <a:pt x="136" y="9"/>
                    </a:cubicBezTo>
                    <a:cubicBezTo>
                      <a:pt x="136" y="9"/>
                      <a:pt x="136" y="10"/>
                      <a:pt x="136" y="10"/>
                    </a:cubicBezTo>
                    <a:cubicBezTo>
                      <a:pt x="136" y="11"/>
                      <a:pt x="137" y="13"/>
                      <a:pt x="137" y="13"/>
                    </a:cubicBezTo>
                    <a:cubicBezTo>
                      <a:pt x="137" y="13"/>
                      <a:pt x="137" y="13"/>
                      <a:pt x="137" y="13"/>
                    </a:cubicBezTo>
                    <a:cubicBezTo>
                      <a:pt x="136" y="14"/>
                      <a:pt x="136" y="13"/>
                      <a:pt x="136" y="14"/>
                    </a:cubicBezTo>
                    <a:cubicBezTo>
                      <a:pt x="135" y="15"/>
                      <a:pt x="136" y="15"/>
                      <a:pt x="135" y="16"/>
                    </a:cubicBezTo>
                    <a:cubicBezTo>
                      <a:pt x="135" y="16"/>
                      <a:pt x="134" y="16"/>
                      <a:pt x="134" y="16"/>
                    </a:cubicBezTo>
                    <a:cubicBezTo>
                      <a:pt x="134" y="16"/>
                      <a:pt x="135" y="17"/>
                      <a:pt x="135" y="17"/>
                    </a:cubicBezTo>
                    <a:cubicBezTo>
                      <a:pt x="135" y="17"/>
                      <a:pt x="135" y="17"/>
                      <a:pt x="136" y="17"/>
                    </a:cubicBezTo>
                    <a:cubicBezTo>
                      <a:pt x="136" y="17"/>
                      <a:pt x="136" y="16"/>
                      <a:pt x="137" y="16"/>
                    </a:cubicBezTo>
                    <a:cubicBezTo>
                      <a:pt x="137" y="17"/>
                      <a:pt x="137" y="15"/>
                      <a:pt x="137" y="15"/>
                    </a:cubicBezTo>
                    <a:cubicBezTo>
                      <a:pt x="137" y="15"/>
                      <a:pt x="137" y="15"/>
                      <a:pt x="138" y="14"/>
                    </a:cubicBezTo>
                    <a:cubicBezTo>
                      <a:pt x="138" y="14"/>
                      <a:pt x="139" y="13"/>
                      <a:pt x="139" y="12"/>
                    </a:cubicBezTo>
                    <a:cubicBezTo>
                      <a:pt x="139" y="12"/>
                      <a:pt x="138" y="11"/>
                      <a:pt x="138" y="11"/>
                    </a:cubicBezTo>
                    <a:cubicBezTo>
                      <a:pt x="138" y="11"/>
                      <a:pt x="137" y="9"/>
                      <a:pt x="137" y="8"/>
                    </a:cubicBezTo>
                    <a:cubicBezTo>
                      <a:pt x="137" y="8"/>
                      <a:pt x="137" y="8"/>
                      <a:pt x="137" y="7"/>
                    </a:cubicBezTo>
                    <a:cubicBezTo>
                      <a:pt x="138" y="7"/>
                      <a:pt x="138" y="6"/>
                      <a:pt x="138" y="6"/>
                    </a:cubicBezTo>
                    <a:cubicBezTo>
                      <a:pt x="139" y="5"/>
                      <a:pt x="140" y="4"/>
                      <a:pt x="140" y="4"/>
                    </a:cubicBezTo>
                    <a:cubicBezTo>
                      <a:pt x="140" y="4"/>
                      <a:pt x="142" y="4"/>
                      <a:pt x="143" y="4"/>
                    </a:cubicBezTo>
                    <a:cubicBezTo>
                      <a:pt x="143" y="4"/>
                      <a:pt x="142" y="3"/>
                      <a:pt x="144" y="4"/>
                    </a:cubicBezTo>
                    <a:cubicBezTo>
                      <a:pt x="145" y="5"/>
                      <a:pt x="145" y="5"/>
                      <a:pt x="145" y="5"/>
                    </a:cubicBezTo>
                    <a:cubicBezTo>
                      <a:pt x="145" y="6"/>
                      <a:pt x="144" y="6"/>
                      <a:pt x="146" y="6"/>
                    </a:cubicBezTo>
                    <a:cubicBezTo>
                      <a:pt x="147" y="6"/>
                      <a:pt x="148" y="6"/>
                      <a:pt x="147" y="6"/>
                    </a:cubicBezTo>
                    <a:cubicBezTo>
                      <a:pt x="146" y="5"/>
                      <a:pt x="146" y="4"/>
                      <a:pt x="145" y="4"/>
                    </a:cubicBezTo>
                    <a:cubicBezTo>
                      <a:pt x="145" y="4"/>
                      <a:pt x="144" y="3"/>
                      <a:pt x="144" y="3"/>
                    </a:cubicBezTo>
                    <a:cubicBezTo>
                      <a:pt x="144" y="2"/>
                      <a:pt x="144" y="0"/>
                      <a:pt x="145" y="1"/>
                    </a:cubicBezTo>
                    <a:cubicBezTo>
                      <a:pt x="146" y="1"/>
                      <a:pt x="145" y="0"/>
                      <a:pt x="146" y="1"/>
                    </a:cubicBezTo>
                    <a:cubicBezTo>
                      <a:pt x="148" y="3"/>
                      <a:pt x="149" y="4"/>
                      <a:pt x="149" y="4"/>
                    </a:cubicBezTo>
                    <a:cubicBezTo>
                      <a:pt x="149" y="5"/>
                      <a:pt x="150" y="5"/>
                      <a:pt x="150" y="5"/>
                    </a:cubicBezTo>
                    <a:cubicBezTo>
                      <a:pt x="150" y="6"/>
                      <a:pt x="150" y="6"/>
                      <a:pt x="150" y="6"/>
                    </a:cubicBezTo>
                    <a:cubicBezTo>
                      <a:pt x="151" y="7"/>
                      <a:pt x="152" y="8"/>
                      <a:pt x="152" y="8"/>
                    </a:cubicBezTo>
                    <a:cubicBezTo>
                      <a:pt x="152" y="8"/>
                      <a:pt x="152" y="8"/>
                      <a:pt x="153" y="8"/>
                    </a:cubicBezTo>
                    <a:cubicBezTo>
                      <a:pt x="153" y="9"/>
                      <a:pt x="155" y="10"/>
                      <a:pt x="155" y="10"/>
                    </a:cubicBezTo>
                    <a:cubicBezTo>
                      <a:pt x="155" y="10"/>
                      <a:pt x="156" y="11"/>
                      <a:pt x="156" y="11"/>
                    </a:cubicBezTo>
                    <a:cubicBezTo>
                      <a:pt x="155" y="12"/>
                      <a:pt x="155" y="13"/>
                      <a:pt x="155" y="13"/>
                    </a:cubicBezTo>
                    <a:cubicBezTo>
                      <a:pt x="153" y="16"/>
                      <a:pt x="153" y="16"/>
                      <a:pt x="153" y="16"/>
                    </a:cubicBezTo>
                    <a:cubicBezTo>
                      <a:pt x="152" y="18"/>
                      <a:pt x="152" y="18"/>
                      <a:pt x="152" y="18"/>
                    </a:cubicBezTo>
                    <a:cubicBezTo>
                      <a:pt x="152" y="19"/>
                      <a:pt x="152" y="19"/>
                      <a:pt x="152" y="19"/>
                    </a:cubicBezTo>
                    <a:cubicBezTo>
                      <a:pt x="151" y="20"/>
                      <a:pt x="151" y="21"/>
                      <a:pt x="151" y="21"/>
                    </a:cubicBezTo>
                    <a:cubicBezTo>
                      <a:pt x="151" y="21"/>
                      <a:pt x="150" y="22"/>
                      <a:pt x="148" y="22"/>
                    </a:cubicBezTo>
                    <a:cubicBezTo>
                      <a:pt x="146" y="21"/>
                      <a:pt x="144" y="23"/>
                      <a:pt x="144" y="23"/>
                    </a:cubicBezTo>
                    <a:cubicBezTo>
                      <a:pt x="144" y="23"/>
                      <a:pt x="139" y="22"/>
                      <a:pt x="138" y="22"/>
                    </a:cubicBezTo>
                    <a:cubicBezTo>
                      <a:pt x="137" y="22"/>
                      <a:pt x="137" y="26"/>
                      <a:pt x="137" y="27"/>
                    </a:cubicBezTo>
                    <a:cubicBezTo>
                      <a:pt x="137" y="28"/>
                      <a:pt x="135" y="29"/>
                      <a:pt x="132" y="29"/>
                    </a:cubicBezTo>
                    <a:cubicBezTo>
                      <a:pt x="129" y="30"/>
                      <a:pt x="131" y="30"/>
                      <a:pt x="130" y="33"/>
                    </a:cubicBezTo>
                    <a:cubicBezTo>
                      <a:pt x="129" y="37"/>
                      <a:pt x="128" y="34"/>
                      <a:pt x="126" y="33"/>
                    </a:cubicBezTo>
                    <a:cubicBezTo>
                      <a:pt x="124" y="33"/>
                      <a:pt x="124" y="33"/>
                      <a:pt x="121" y="33"/>
                    </a:cubicBezTo>
                    <a:cubicBezTo>
                      <a:pt x="118" y="34"/>
                      <a:pt x="120" y="36"/>
                      <a:pt x="120" y="36"/>
                    </a:cubicBezTo>
                    <a:cubicBezTo>
                      <a:pt x="120" y="36"/>
                      <a:pt x="122" y="38"/>
                      <a:pt x="123" y="38"/>
                    </a:cubicBezTo>
                    <a:cubicBezTo>
                      <a:pt x="125" y="39"/>
                      <a:pt x="123" y="41"/>
                      <a:pt x="123" y="41"/>
                    </a:cubicBezTo>
                    <a:cubicBezTo>
                      <a:pt x="123" y="41"/>
                      <a:pt x="122" y="43"/>
                      <a:pt x="121" y="43"/>
                    </a:cubicBezTo>
                    <a:cubicBezTo>
                      <a:pt x="120" y="42"/>
                      <a:pt x="115" y="42"/>
                      <a:pt x="115" y="42"/>
                    </a:cubicBezTo>
                    <a:cubicBezTo>
                      <a:pt x="110" y="45"/>
                      <a:pt x="110" y="45"/>
                      <a:pt x="110" y="45"/>
                    </a:cubicBezTo>
                    <a:cubicBezTo>
                      <a:pt x="110" y="45"/>
                      <a:pt x="111" y="49"/>
                      <a:pt x="114" y="53"/>
                    </a:cubicBezTo>
                    <a:cubicBezTo>
                      <a:pt x="117" y="57"/>
                      <a:pt x="114" y="54"/>
                      <a:pt x="114" y="54"/>
                    </a:cubicBezTo>
                    <a:cubicBezTo>
                      <a:pt x="114" y="54"/>
                      <a:pt x="115" y="57"/>
                      <a:pt x="115" y="59"/>
                    </a:cubicBezTo>
                    <a:cubicBezTo>
                      <a:pt x="115" y="61"/>
                      <a:pt x="115" y="60"/>
                      <a:pt x="116" y="60"/>
                    </a:cubicBezTo>
                    <a:cubicBezTo>
                      <a:pt x="117" y="60"/>
                      <a:pt x="119" y="60"/>
                      <a:pt x="119" y="60"/>
                    </a:cubicBezTo>
                    <a:cubicBezTo>
                      <a:pt x="119" y="60"/>
                      <a:pt x="123" y="66"/>
                      <a:pt x="123" y="66"/>
                    </a:cubicBezTo>
                    <a:cubicBezTo>
                      <a:pt x="124" y="66"/>
                      <a:pt x="129" y="65"/>
                      <a:pt x="129" y="65"/>
                    </a:cubicBezTo>
                    <a:cubicBezTo>
                      <a:pt x="129" y="65"/>
                      <a:pt x="133" y="64"/>
                      <a:pt x="135" y="64"/>
                    </a:cubicBezTo>
                    <a:cubicBezTo>
                      <a:pt x="137" y="63"/>
                      <a:pt x="135" y="61"/>
                      <a:pt x="135" y="61"/>
                    </a:cubicBezTo>
                    <a:cubicBezTo>
                      <a:pt x="137" y="56"/>
                      <a:pt x="137" y="56"/>
                      <a:pt x="137" y="56"/>
                    </a:cubicBezTo>
                    <a:cubicBezTo>
                      <a:pt x="143" y="55"/>
                      <a:pt x="143" y="55"/>
                      <a:pt x="143" y="55"/>
                    </a:cubicBezTo>
                    <a:cubicBezTo>
                      <a:pt x="146" y="61"/>
                      <a:pt x="146" y="61"/>
                      <a:pt x="146" y="61"/>
                    </a:cubicBezTo>
                    <a:cubicBezTo>
                      <a:pt x="145" y="65"/>
                      <a:pt x="145" y="65"/>
                      <a:pt x="145" y="65"/>
                    </a:cubicBezTo>
                    <a:cubicBezTo>
                      <a:pt x="150" y="70"/>
                      <a:pt x="150" y="70"/>
                      <a:pt x="150" y="70"/>
                    </a:cubicBezTo>
                    <a:cubicBezTo>
                      <a:pt x="151" y="75"/>
                      <a:pt x="151" y="75"/>
                      <a:pt x="151" y="75"/>
                    </a:cubicBezTo>
                    <a:cubicBezTo>
                      <a:pt x="151" y="75"/>
                      <a:pt x="156" y="76"/>
                      <a:pt x="157" y="77"/>
                    </a:cubicBezTo>
                    <a:cubicBezTo>
                      <a:pt x="158" y="77"/>
                      <a:pt x="161" y="76"/>
                      <a:pt x="161" y="76"/>
                    </a:cubicBezTo>
                    <a:cubicBezTo>
                      <a:pt x="165" y="81"/>
                      <a:pt x="165" y="81"/>
                      <a:pt x="165" y="81"/>
                    </a:cubicBezTo>
                    <a:cubicBezTo>
                      <a:pt x="166" y="80"/>
                      <a:pt x="166" y="80"/>
                      <a:pt x="166" y="80"/>
                    </a:cubicBezTo>
                    <a:cubicBezTo>
                      <a:pt x="166" y="81"/>
                      <a:pt x="166" y="81"/>
                      <a:pt x="166" y="81"/>
                    </a:cubicBezTo>
                    <a:cubicBezTo>
                      <a:pt x="166" y="81"/>
                      <a:pt x="166" y="83"/>
                      <a:pt x="165" y="83"/>
                    </a:cubicBezTo>
                    <a:cubicBezTo>
                      <a:pt x="163" y="82"/>
                      <a:pt x="162" y="82"/>
                      <a:pt x="162" y="82"/>
                    </a:cubicBezTo>
                    <a:cubicBezTo>
                      <a:pt x="159" y="80"/>
                      <a:pt x="159" y="80"/>
                      <a:pt x="159" y="80"/>
                    </a:cubicBezTo>
                    <a:cubicBezTo>
                      <a:pt x="158" y="81"/>
                      <a:pt x="158" y="81"/>
                      <a:pt x="158" y="81"/>
                    </a:cubicBezTo>
                    <a:cubicBezTo>
                      <a:pt x="155" y="85"/>
                      <a:pt x="155" y="85"/>
                      <a:pt x="155" y="85"/>
                    </a:cubicBezTo>
                    <a:cubicBezTo>
                      <a:pt x="157" y="86"/>
                      <a:pt x="157" y="86"/>
                      <a:pt x="157" y="86"/>
                    </a:cubicBezTo>
                    <a:cubicBezTo>
                      <a:pt x="159" y="88"/>
                      <a:pt x="159" y="88"/>
                      <a:pt x="159" y="88"/>
                    </a:cubicBezTo>
                    <a:cubicBezTo>
                      <a:pt x="159" y="91"/>
                      <a:pt x="159" y="91"/>
                      <a:pt x="159" y="91"/>
                    </a:cubicBezTo>
                    <a:cubicBezTo>
                      <a:pt x="159" y="95"/>
                      <a:pt x="159" y="95"/>
                      <a:pt x="159" y="95"/>
                    </a:cubicBezTo>
                    <a:cubicBezTo>
                      <a:pt x="157" y="98"/>
                      <a:pt x="157" y="98"/>
                      <a:pt x="157" y="98"/>
                    </a:cubicBezTo>
                    <a:cubicBezTo>
                      <a:pt x="157" y="98"/>
                      <a:pt x="158" y="100"/>
                      <a:pt x="158" y="101"/>
                    </a:cubicBezTo>
                    <a:cubicBezTo>
                      <a:pt x="158" y="101"/>
                      <a:pt x="160" y="103"/>
                      <a:pt x="160" y="103"/>
                    </a:cubicBezTo>
                    <a:cubicBezTo>
                      <a:pt x="162" y="105"/>
                      <a:pt x="162" y="105"/>
                      <a:pt x="162" y="105"/>
                    </a:cubicBezTo>
                    <a:cubicBezTo>
                      <a:pt x="160" y="110"/>
                      <a:pt x="160" y="110"/>
                      <a:pt x="160" y="110"/>
                    </a:cubicBezTo>
                    <a:cubicBezTo>
                      <a:pt x="158" y="112"/>
                      <a:pt x="158" y="112"/>
                      <a:pt x="158" y="112"/>
                    </a:cubicBezTo>
                    <a:cubicBezTo>
                      <a:pt x="158" y="114"/>
                      <a:pt x="158" y="114"/>
                      <a:pt x="158" y="114"/>
                    </a:cubicBezTo>
                    <a:cubicBezTo>
                      <a:pt x="158" y="114"/>
                      <a:pt x="160" y="115"/>
                      <a:pt x="159" y="115"/>
                    </a:cubicBezTo>
                    <a:cubicBezTo>
                      <a:pt x="158" y="115"/>
                      <a:pt x="156" y="115"/>
                      <a:pt x="156" y="115"/>
                    </a:cubicBezTo>
                    <a:cubicBezTo>
                      <a:pt x="156" y="115"/>
                      <a:pt x="156" y="116"/>
                      <a:pt x="156" y="117"/>
                    </a:cubicBezTo>
                    <a:cubicBezTo>
                      <a:pt x="156" y="117"/>
                      <a:pt x="157" y="119"/>
                      <a:pt x="157" y="119"/>
                    </a:cubicBezTo>
                    <a:cubicBezTo>
                      <a:pt x="157" y="119"/>
                      <a:pt x="158" y="119"/>
                      <a:pt x="158" y="120"/>
                    </a:cubicBezTo>
                    <a:cubicBezTo>
                      <a:pt x="158" y="121"/>
                      <a:pt x="157" y="123"/>
                      <a:pt x="157" y="123"/>
                    </a:cubicBezTo>
                    <a:cubicBezTo>
                      <a:pt x="157" y="123"/>
                      <a:pt x="156" y="127"/>
                      <a:pt x="156" y="127"/>
                    </a:cubicBezTo>
                    <a:cubicBezTo>
                      <a:pt x="157" y="127"/>
                      <a:pt x="157" y="129"/>
                      <a:pt x="157" y="129"/>
                    </a:cubicBezTo>
                    <a:cubicBezTo>
                      <a:pt x="157" y="133"/>
                      <a:pt x="157" y="133"/>
                      <a:pt x="157" y="133"/>
                    </a:cubicBezTo>
                    <a:cubicBezTo>
                      <a:pt x="156" y="136"/>
                      <a:pt x="156" y="136"/>
                      <a:pt x="156" y="136"/>
                    </a:cubicBezTo>
                    <a:cubicBezTo>
                      <a:pt x="157" y="138"/>
                      <a:pt x="157" y="138"/>
                      <a:pt x="157" y="138"/>
                    </a:cubicBezTo>
                    <a:cubicBezTo>
                      <a:pt x="154" y="140"/>
                      <a:pt x="154" y="140"/>
                      <a:pt x="154" y="140"/>
                    </a:cubicBezTo>
                    <a:cubicBezTo>
                      <a:pt x="153" y="142"/>
                      <a:pt x="153" y="142"/>
                      <a:pt x="153" y="142"/>
                    </a:cubicBezTo>
                    <a:cubicBezTo>
                      <a:pt x="153" y="142"/>
                      <a:pt x="151" y="143"/>
                      <a:pt x="151" y="144"/>
                    </a:cubicBezTo>
                    <a:cubicBezTo>
                      <a:pt x="151" y="144"/>
                      <a:pt x="150" y="145"/>
                      <a:pt x="150" y="146"/>
                    </a:cubicBezTo>
                    <a:cubicBezTo>
                      <a:pt x="150" y="147"/>
                      <a:pt x="149" y="148"/>
                      <a:pt x="149" y="148"/>
                    </a:cubicBezTo>
                    <a:cubicBezTo>
                      <a:pt x="148" y="149"/>
                      <a:pt x="146" y="151"/>
                      <a:pt x="146" y="151"/>
                    </a:cubicBezTo>
                    <a:cubicBezTo>
                      <a:pt x="145" y="153"/>
                      <a:pt x="145" y="153"/>
                      <a:pt x="145" y="153"/>
                    </a:cubicBezTo>
                    <a:cubicBezTo>
                      <a:pt x="145" y="153"/>
                      <a:pt x="146" y="155"/>
                      <a:pt x="146" y="155"/>
                    </a:cubicBezTo>
                    <a:cubicBezTo>
                      <a:pt x="146" y="156"/>
                      <a:pt x="146" y="156"/>
                      <a:pt x="146" y="156"/>
                    </a:cubicBezTo>
                    <a:cubicBezTo>
                      <a:pt x="144" y="158"/>
                      <a:pt x="144" y="158"/>
                      <a:pt x="144" y="158"/>
                    </a:cubicBezTo>
                    <a:cubicBezTo>
                      <a:pt x="139" y="162"/>
                      <a:pt x="139" y="162"/>
                      <a:pt x="139" y="162"/>
                    </a:cubicBezTo>
                    <a:cubicBezTo>
                      <a:pt x="139" y="162"/>
                      <a:pt x="139" y="163"/>
                      <a:pt x="138" y="164"/>
                    </a:cubicBezTo>
                    <a:cubicBezTo>
                      <a:pt x="138" y="166"/>
                      <a:pt x="137" y="166"/>
                      <a:pt x="137" y="166"/>
                    </a:cubicBezTo>
                    <a:cubicBezTo>
                      <a:pt x="137" y="166"/>
                      <a:pt x="136" y="166"/>
                      <a:pt x="135" y="166"/>
                    </a:cubicBezTo>
                    <a:cubicBezTo>
                      <a:pt x="135" y="166"/>
                      <a:pt x="134" y="165"/>
                      <a:pt x="134" y="165"/>
                    </a:cubicBezTo>
                    <a:cubicBezTo>
                      <a:pt x="134" y="167"/>
                      <a:pt x="134" y="167"/>
                      <a:pt x="134" y="167"/>
                    </a:cubicBezTo>
                    <a:cubicBezTo>
                      <a:pt x="134" y="167"/>
                      <a:pt x="134" y="168"/>
                      <a:pt x="135" y="168"/>
                    </a:cubicBezTo>
                    <a:cubicBezTo>
                      <a:pt x="136" y="169"/>
                      <a:pt x="136" y="170"/>
                      <a:pt x="137" y="170"/>
                    </a:cubicBezTo>
                    <a:cubicBezTo>
                      <a:pt x="137" y="171"/>
                      <a:pt x="138" y="172"/>
                      <a:pt x="138" y="172"/>
                    </a:cubicBezTo>
                    <a:cubicBezTo>
                      <a:pt x="136" y="174"/>
                      <a:pt x="136" y="174"/>
                      <a:pt x="136" y="174"/>
                    </a:cubicBezTo>
                    <a:cubicBezTo>
                      <a:pt x="136" y="175"/>
                      <a:pt x="136" y="175"/>
                      <a:pt x="136" y="175"/>
                    </a:cubicBezTo>
                    <a:cubicBezTo>
                      <a:pt x="134" y="175"/>
                      <a:pt x="134" y="175"/>
                      <a:pt x="134" y="175"/>
                    </a:cubicBezTo>
                    <a:cubicBezTo>
                      <a:pt x="133" y="174"/>
                      <a:pt x="133" y="174"/>
                      <a:pt x="133" y="174"/>
                    </a:cubicBezTo>
                    <a:cubicBezTo>
                      <a:pt x="133" y="174"/>
                      <a:pt x="132" y="174"/>
                      <a:pt x="132" y="174"/>
                    </a:cubicBez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67" name="Freeform 45">
                <a:extLst>
                  <a:ext uri="{FF2B5EF4-FFF2-40B4-BE49-F238E27FC236}">
                    <a16:creationId xmlns:a16="http://schemas.microsoft.com/office/drawing/2014/main" id="{3C0F984C-CB0F-0F38-3804-F02ED310D1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94891" y="3545546"/>
                <a:ext cx="398691" cy="603093"/>
              </a:xfrm>
              <a:custGeom>
                <a:avLst/>
                <a:gdLst>
                  <a:gd name="T0" fmla="*/ 84 w 178"/>
                  <a:gd name="T1" fmla="*/ 3 h 278"/>
                  <a:gd name="T2" fmla="*/ 97 w 178"/>
                  <a:gd name="T3" fmla="*/ 2 h 278"/>
                  <a:gd name="T4" fmla="*/ 107 w 178"/>
                  <a:gd name="T5" fmla="*/ 5 h 278"/>
                  <a:gd name="T6" fmla="*/ 102 w 178"/>
                  <a:gd name="T7" fmla="*/ 16 h 278"/>
                  <a:gd name="T8" fmla="*/ 113 w 178"/>
                  <a:gd name="T9" fmla="*/ 16 h 278"/>
                  <a:gd name="T10" fmla="*/ 119 w 178"/>
                  <a:gd name="T11" fmla="*/ 18 h 278"/>
                  <a:gd name="T12" fmla="*/ 126 w 178"/>
                  <a:gd name="T13" fmla="*/ 24 h 278"/>
                  <a:gd name="T14" fmla="*/ 134 w 178"/>
                  <a:gd name="T15" fmla="*/ 25 h 278"/>
                  <a:gd name="T16" fmla="*/ 145 w 178"/>
                  <a:gd name="T17" fmla="*/ 19 h 278"/>
                  <a:gd name="T18" fmla="*/ 154 w 178"/>
                  <a:gd name="T19" fmla="*/ 24 h 278"/>
                  <a:gd name="T20" fmla="*/ 164 w 178"/>
                  <a:gd name="T21" fmla="*/ 27 h 278"/>
                  <a:gd name="T22" fmla="*/ 167 w 178"/>
                  <a:gd name="T23" fmla="*/ 34 h 278"/>
                  <a:gd name="T24" fmla="*/ 165 w 178"/>
                  <a:gd name="T25" fmla="*/ 42 h 278"/>
                  <a:gd name="T26" fmla="*/ 178 w 178"/>
                  <a:gd name="T27" fmla="*/ 50 h 278"/>
                  <a:gd name="T28" fmla="*/ 168 w 178"/>
                  <a:gd name="T29" fmla="*/ 59 h 278"/>
                  <a:gd name="T30" fmla="*/ 156 w 178"/>
                  <a:gd name="T31" fmla="*/ 65 h 278"/>
                  <a:gd name="T32" fmla="*/ 144 w 178"/>
                  <a:gd name="T33" fmla="*/ 74 h 278"/>
                  <a:gd name="T34" fmla="*/ 142 w 178"/>
                  <a:gd name="T35" fmla="*/ 81 h 278"/>
                  <a:gd name="T36" fmla="*/ 141 w 178"/>
                  <a:gd name="T37" fmla="*/ 92 h 278"/>
                  <a:gd name="T38" fmla="*/ 137 w 178"/>
                  <a:gd name="T39" fmla="*/ 103 h 278"/>
                  <a:gd name="T40" fmla="*/ 135 w 178"/>
                  <a:gd name="T41" fmla="*/ 112 h 278"/>
                  <a:gd name="T42" fmla="*/ 126 w 178"/>
                  <a:gd name="T43" fmla="*/ 117 h 278"/>
                  <a:gd name="T44" fmla="*/ 130 w 178"/>
                  <a:gd name="T45" fmla="*/ 128 h 278"/>
                  <a:gd name="T46" fmla="*/ 123 w 178"/>
                  <a:gd name="T47" fmla="*/ 137 h 278"/>
                  <a:gd name="T48" fmla="*/ 120 w 178"/>
                  <a:gd name="T49" fmla="*/ 144 h 278"/>
                  <a:gd name="T50" fmla="*/ 111 w 178"/>
                  <a:gd name="T51" fmla="*/ 143 h 278"/>
                  <a:gd name="T52" fmla="*/ 102 w 178"/>
                  <a:gd name="T53" fmla="*/ 141 h 278"/>
                  <a:gd name="T54" fmla="*/ 102 w 178"/>
                  <a:gd name="T55" fmla="*/ 149 h 278"/>
                  <a:gd name="T56" fmla="*/ 103 w 178"/>
                  <a:gd name="T57" fmla="*/ 157 h 278"/>
                  <a:gd name="T58" fmla="*/ 104 w 178"/>
                  <a:gd name="T59" fmla="*/ 166 h 278"/>
                  <a:gd name="T60" fmla="*/ 107 w 178"/>
                  <a:gd name="T61" fmla="*/ 174 h 278"/>
                  <a:gd name="T62" fmla="*/ 114 w 178"/>
                  <a:gd name="T63" fmla="*/ 180 h 278"/>
                  <a:gd name="T64" fmla="*/ 106 w 178"/>
                  <a:gd name="T65" fmla="*/ 189 h 278"/>
                  <a:gd name="T66" fmla="*/ 96 w 178"/>
                  <a:gd name="T67" fmla="*/ 196 h 278"/>
                  <a:gd name="T68" fmla="*/ 93 w 178"/>
                  <a:gd name="T69" fmla="*/ 205 h 278"/>
                  <a:gd name="T70" fmla="*/ 94 w 178"/>
                  <a:gd name="T71" fmla="*/ 214 h 278"/>
                  <a:gd name="T72" fmla="*/ 100 w 178"/>
                  <a:gd name="T73" fmla="*/ 224 h 278"/>
                  <a:gd name="T74" fmla="*/ 100 w 178"/>
                  <a:gd name="T75" fmla="*/ 233 h 278"/>
                  <a:gd name="T76" fmla="*/ 91 w 178"/>
                  <a:gd name="T77" fmla="*/ 233 h 278"/>
                  <a:gd name="T78" fmla="*/ 80 w 178"/>
                  <a:gd name="T79" fmla="*/ 243 h 278"/>
                  <a:gd name="T80" fmla="*/ 71 w 178"/>
                  <a:gd name="T81" fmla="*/ 254 h 278"/>
                  <a:gd name="T82" fmla="*/ 71 w 178"/>
                  <a:gd name="T83" fmla="*/ 268 h 278"/>
                  <a:gd name="T84" fmla="*/ 62 w 178"/>
                  <a:gd name="T85" fmla="*/ 275 h 278"/>
                  <a:gd name="T86" fmla="*/ 40 w 178"/>
                  <a:gd name="T87" fmla="*/ 274 h 278"/>
                  <a:gd name="T88" fmla="*/ 26 w 178"/>
                  <a:gd name="T89" fmla="*/ 268 h 278"/>
                  <a:gd name="T90" fmla="*/ 11 w 178"/>
                  <a:gd name="T91" fmla="*/ 265 h 278"/>
                  <a:gd name="T92" fmla="*/ 4 w 178"/>
                  <a:gd name="T93" fmla="*/ 261 h 278"/>
                  <a:gd name="T94" fmla="*/ 14 w 178"/>
                  <a:gd name="T95" fmla="*/ 247 h 278"/>
                  <a:gd name="T96" fmla="*/ 21 w 178"/>
                  <a:gd name="T97" fmla="*/ 225 h 278"/>
                  <a:gd name="T98" fmla="*/ 28 w 178"/>
                  <a:gd name="T99" fmla="*/ 199 h 278"/>
                  <a:gd name="T100" fmla="*/ 25 w 178"/>
                  <a:gd name="T101" fmla="*/ 188 h 278"/>
                  <a:gd name="T102" fmla="*/ 11 w 178"/>
                  <a:gd name="T103" fmla="*/ 188 h 278"/>
                  <a:gd name="T104" fmla="*/ 14 w 178"/>
                  <a:gd name="T105" fmla="*/ 174 h 278"/>
                  <a:gd name="T106" fmla="*/ 4 w 178"/>
                  <a:gd name="T107" fmla="*/ 171 h 278"/>
                  <a:gd name="T108" fmla="*/ 11 w 178"/>
                  <a:gd name="T109" fmla="*/ 157 h 278"/>
                  <a:gd name="T110" fmla="*/ 18 w 178"/>
                  <a:gd name="T111" fmla="*/ 143 h 278"/>
                  <a:gd name="T112" fmla="*/ 22 w 178"/>
                  <a:gd name="T113" fmla="*/ 135 h 278"/>
                  <a:gd name="T114" fmla="*/ 32 w 178"/>
                  <a:gd name="T115" fmla="*/ 129 h 278"/>
                  <a:gd name="T116" fmla="*/ 49 w 178"/>
                  <a:gd name="T117" fmla="*/ 98 h 278"/>
                  <a:gd name="T118" fmla="*/ 71 w 178"/>
                  <a:gd name="T119" fmla="*/ 55 h 278"/>
                  <a:gd name="T120" fmla="*/ 70 w 178"/>
                  <a:gd name="T121" fmla="*/ 32 h 278"/>
                  <a:gd name="T122" fmla="*/ 72 w 178"/>
                  <a:gd name="T123" fmla="*/ 19 h 2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78" h="278">
                    <a:moveTo>
                      <a:pt x="74" y="9"/>
                    </a:moveTo>
                    <a:cubicBezTo>
                      <a:pt x="74" y="9"/>
                      <a:pt x="78" y="6"/>
                      <a:pt x="78" y="6"/>
                    </a:cubicBezTo>
                    <a:cubicBezTo>
                      <a:pt x="78" y="6"/>
                      <a:pt x="79" y="5"/>
                      <a:pt x="79" y="5"/>
                    </a:cubicBezTo>
                    <a:cubicBezTo>
                      <a:pt x="80" y="5"/>
                      <a:pt x="81" y="5"/>
                      <a:pt x="82" y="5"/>
                    </a:cubicBezTo>
                    <a:cubicBezTo>
                      <a:pt x="82" y="5"/>
                      <a:pt x="83" y="4"/>
                      <a:pt x="83" y="4"/>
                    </a:cubicBezTo>
                    <a:cubicBezTo>
                      <a:pt x="84" y="3"/>
                      <a:pt x="84" y="3"/>
                      <a:pt x="84" y="3"/>
                    </a:cubicBezTo>
                    <a:cubicBezTo>
                      <a:pt x="86" y="2"/>
                      <a:pt x="86" y="2"/>
                      <a:pt x="86" y="2"/>
                    </a:cubicBezTo>
                    <a:cubicBezTo>
                      <a:pt x="88" y="2"/>
                      <a:pt x="88" y="2"/>
                      <a:pt x="88" y="2"/>
                    </a:cubicBezTo>
                    <a:cubicBezTo>
                      <a:pt x="88" y="2"/>
                      <a:pt x="89" y="2"/>
                      <a:pt x="89" y="2"/>
                    </a:cubicBezTo>
                    <a:cubicBezTo>
                      <a:pt x="89" y="2"/>
                      <a:pt x="93" y="1"/>
                      <a:pt x="93" y="1"/>
                    </a:cubicBezTo>
                    <a:cubicBezTo>
                      <a:pt x="93" y="1"/>
                      <a:pt x="94" y="2"/>
                      <a:pt x="95" y="2"/>
                    </a:cubicBezTo>
                    <a:cubicBezTo>
                      <a:pt x="95" y="2"/>
                      <a:pt x="97" y="2"/>
                      <a:pt x="97" y="2"/>
                    </a:cubicBezTo>
                    <a:cubicBezTo>
                      <a:pt x="98" y="2"/>
                      <a:pt x="100" y="1"/>
                      <a:pt x="100" y="1"/>
                    </a:cubicBezTo>
                    <a:cubicBezTo>
                      <a:pt x="104" y="0"/>
                      <a:pt x="104" y="0"/>
                      <a:pt x="104" y="0"/>
                    </a:cubicBezTo>
                    <a:cubicBezTo>
                      <a:pt x="105" y="2"/>
                      <a:pt x="105" y="2"/>
                      <a:pt x="105" y="2"/>
                    </a:cubicBezTo>
                    <a:cubicBezTo>
                      <a:pt x="105" y="2"/>
                      <a:pt x="105" y="4"/>
                      <a:pt x="105" y="4"/>
                    </a:cubicBezTo>
                    <a:cubicBezTo>
                      <a:pt x="105" y="4"/>
                      <a:pt x="105" y="5"/>
                      <a:pt x="106" y="5"/>
                    </a:cubicBezTo>
                    <a:cubicBezTo>
                      <a:pt x="107" y="5"/>
                      <a:pt x="107" y="5"/>
                      <a:pt x="107" y="5"/>
                    </a:cubicBezTo>
                    <a:cubicBezTo>
                      <a:pt x="107" y="6"/>
                      <a:pt x="107" y="9"/>
                      <a:pt x="107" y="9"/>
                    </a:cubicBezTo>
                    <a:cubicBezTo>
                      <a:pt x="104" y="10"/>
                      <a:pt x="104" y="10"/>
                      <a:pt x="104" y="10"/>
                    </a:cubicBezTo>
                    <a:cubicBezTo>
                      <a:pt x="104" y="10"/>
                      <a:pt x="103" y="10"/>
                      <a:pt x="103" y="11"/>
                    </a:cubicBezTo>
                    <a:cubicBezTo>
                      <a:pt x="103" y="11"/>
                      <a:pt x="101" y="12"/>
                      <a:pt x="101" y="12"/>
                    </a:cubicBezTo>
                    <a:cubicBezTo>
                      <a:pt x="101" y="13"/>
                      <a:pt x="100" y="13"/>
                      <a:pt x="101" y="14"/>
                    </a:cubicBezTo>
                    <a:cubicBezTo>
                      <a:pt x="101" y="15"/>
                      <a:pt x="102" y="16"/>
                      <a:pt x="102" y="16"/>
                    </a:cubicBezTo>
                    <a:cubicBezTo>
                      <a:pt x="102" y="18"/>
                      <a:pt x="102" y="18"/>
                      <a:pt x="102" y="18"/>
                    </a:cubicBezTo>
                    <a:cubicBezTo>
                      <a:pt x="102" y="18"/>
                      <a:pt x="102" y="19"/>
                      <a:pt x="103" y="19"/>
                    </a:cubicBezTo>
                    <a:cubicBezTo>
                      <a:pt x="103" y="20"/>
                      <a:pt x="104" y="19"/>
                      <a:pt x="105" y="19"/>
                    </a:cubicBezTo>
                    <a:cubicBezTo>
                      <a:pt x="107" y="19"/>
                      <a:pt x="108" y="18"/>
                      <a:pt x="109" y="18"/>
                    </a:cubicBezTo>
                    <a:cubicBezTo>
                      <a:pt x="109" y="18"/>
                      <a:pt x="110" y="18"/>
                      <a:pt x="110" y="18"/>
                    </a:cubicBezTo>
                    <a:cubicBezTo>
                      <a:pt x="111" y="17"/>
                      <a:pt x="113" y="16"/>
                      <a:pt x="113" y="16"/>
                    </a:cubicBezTo>
                    <a:cubicBezTo>
                      <a:pt x="113" y="16"/>
                      <a:pt x="113" y="14"/>
                      <a:pt x="114" y="15"/>
                    </a:cubicBezTo>
                    <a:cubicBezTo>
                      <a:pt x="114" y="15"/>
                      <a:pt x="114" y="17"/>
                      <a:pt x="114" y="17"/>
                    </a:cubicBezTo>
                    <a:cubicBezTo>
                      <a:pt x="114" y="17"/>
                      <a:pt x="113" y="19"/>
                      <a:pt x="113" y="19"/>
                    </a:cubicBezTo>
                    <a:cubicBezTo>
                      <a:pt x="114" y="20"/>
                      <a:pt x="115" y="19"/>
                      <a:pt x="115" y="19"/>
                    </a:cubicBezTo>
                    <a:cubicBezTo>
                      <a:pt x="116" y="18"/>
                      <a:pt x="117" y="18"/>
                      <a:pt x="117" y="18"/>
                    </a:cubicBezTo>
                    <a:cubicBezTo>
                      <a:pt x="119" y="18"/>
                      <a:pt x="119" y="18"/>
                      <a:pt x="119" y="18"/>
                    </a:cubicBezTo>
                    <a:cubicBezTo>
                      <a:pt x="119" y="18"/>
                      <a:pt x="121" y="18"/>
                      <a:pt x="121" y="18"/>
                    </a:cubicBezTo>
                    <a:cubicBezTo>
                      <a:pt x="121" y="18"/>
                      <a:pt x="122" y="19"/>
                      <a:pt x="123" y="19"/>
                    </a:cubicBezTo>
                    <a:cubicBezTo>
                      <a:pt x="123" y="20"/>
                      <a:pt x="126" y="21"/>
                      <a:pt x="126" y="21"/>
                    </a:cubicBezTo>
                    <a:cubicBezTo>
                      <a:pt x="125" y="23"/>
                      <a:pt x="125" y="23"/>
                      <a:pt x="125" y="23"/>
                    </a:cubicBezTo>
                    <a:cubicBezTo>
                      <a:pt x="125" y="23"/>
                      <a:pt x="124" y="25"/>
                      <a:pt x="125" y="25"/>
                    </a:cubicBezTo>
                    <a:cubicBezTo>
                      <a:pt x="125" y="25"/>
                      <a:pt x="126" y="24"/>
                      <a:pt x="126" y="24"/>
                    </a:cubicBezTo>
                    <a:cubicBezTo>
                      <a:pt x="127" y="24"/>
                      <a:pt x="128" y="23"/>
                      <a:pt x="128" y="23"/>
                    </a:cubicBezTo>
                    <a:cubicBezTo>
                      <a:pt x="128" y="23"/>
                      <a:pt x="128" y="22"/>
                      <a:pt x="128" y="22"/>
                    </a:cubicBezTo>
                    <a:cubicBezTo>
                      <a:pt x="128" y="23"/>
                      <a:pt x="130" y="24"/>
                      <a:pt x="130" y="24"/>
                    </a:cubicBezTo>
                    <a:cubicBezTo>
                      <a:pt x="130" y="24"/>
                      <a:pt x="131" y="26"/>
                      <a:pt x="131" y="26"/>
                    </a:cubicBezTo>
                    <a:cubicBezTo>
                      <a:pt x="131" y="26"/>
                      <a:pt x="133" y="25"/>
                      <a:pt x="133" y="25"/>
                    </a:cubicBezTo>
                    <a:cubicBezTo>
                      <a:pt x="133" y="25"/>
                      <a:pt x="133" y="25"/>
                      <a:pt x="134" y="25"/>
                    </a:cubicBezTo>
                    <a:cubicBezTo>
                      <a:pt x="135" y="25"/>
                      <a:pt x="135" y="25"/>
                      <a:pt x="135" y="25"/>
                    </a:cubicBezTo>
                    <a:cubicBezTo>
                      <a:pt x="136" y="26"/>
                      <a:pt x="139" y="26"/>
                      <a:pt x="139" y="26"/>
                    </a:cubicBezTo>
                    <a:cubicBezTo>
                      <a:pt x="142" y="24"/>
                      <a:pt x="142" y="24"/>
                      <a:pt x="142" y="24"/>
                    </a:cubicBezTo>
                    <a:cubicBezTo>
                      <a:pt x="143" y="21"/>
                      <a:pt x="143" y="21"/>
                      <a:pt x="143" y="21"/>
                    </a:cubicBezTo>
                    <a:cubicBezTo>
                      <a:pt x="143" y="20"/>
                      <a:pt x="143" y="20"/>
                      <a:pt x="143" y="20"/>
                    </a:cubicBezTo>
                    <a:cubicBezTo>
                      <a:pt x="143" y="20"/>
                      <a:pt x="145" y="19"/>
                      <a:pt x="145" y="19"/>
                    </a:cubicBezTo>
                    <a:cubicBezTo>
                      <a:pt x="145" y="19"/>
                      <a:pt x="146" y="19"/>
                      <a:pt x="146" y="20"/>
                    </a:cubicBezTo>
                    <a:cubicBezTo>
                      <a:pt x="146" y="20"/>
                      <a:pt x="148" y="22"/>
                      <a:pt x="148" y="22"/>
                    </a:cubicBezTo>
                    <a:cubicBezTo>
                      <a:pt x="148" y="22"/>
                      <a:pt x="150" y="22"/>
                      <a:pt x="150" y="22"/>
                    </a:cubicBezTo>
                    <a:cubicBezTo>
                      <a:pt x="151" y="22"/>
                      <a:pt x="151" y="21"/>
                      <a:pt x="152" y="22"/>
                    </a:cubicBezTo>
                    <a:cubicBezTo>
                      <a:pt x="152" y="23"/>
                      <a:pt x="152" y="24"/>
                      <a:pt x="153" y="24"/>
                    </a:cubicBezTo>
                    <a:cubicBezTo>
                      <a:pt x="153" y="24"/>
                      <a:pt x="154" y="24"/>
                      <a:pt x="154" y="24"/>
                    </a:cubicBezTo>
                    <a:cubicBezTo>
                      <a:pt x="155" y="25"/>
                      <a:pt x="157" y="25"/>
                      <a:pt x="157" y="25"/>
                    </a:cubicBezTo>
                    <a:cubicBezTo>
                      <a:pt x="158" y="23"/>
                      <a:pt x="158" y="23"/>
                      <a:pt x="158" y="23"/>
                    </a:cubicBezTo>
                    <a:cubicBezTo>
                      <a:pt x="158" y="23"/>
                      <a:pt x="158" y="22"/>
                      <a:pt x="159" y="23"/>
                    </a:cubicBezTo>
                    <a:cubicBezTo>
                      <a:pt x="160" y="23"/>
                      <a:pt x="160" y="25"/>
                      <a:pt x="160" y="25"/>
                    </a:cubicBezTo>
                    <a:cubicBezTo>
                      <a:pt x="160" y="25"/>
                      <a:pt x="161" y="26"/>
                      <a:pt x="161" y="26"/>
                    </a:cubicBezTo>
                    <a:cubicBezTo>
                      <a:pt x="161" y="26"/>
                      <a:pt x="164" y="27"/>
                      <a:pt x="164" y="27"/>
                    </a:cubicBezTo>
                    <a:cubicBezTo>
                      <a:pt x="164" y="27"/>
                      <a:pt x="166" y="26"/>
                      <a:pt x="166" y="26"/>
                    </a:cubicBezTo>
                    <a:cubicBezTo>
                      <a:pt x="167" y="26"/>
                      <a:pt x="167" y="28"/>
                      <a:pt x="167" y="28"/>
                    </a:cubicBezTo>
                    <a:cubicBezTo>
                      <a:pt x="167" y="28"/>
                      <a:pt x="167" y="29"/>
                      <a:pt x="167" y="29"/>
                    </a:cubicBezTo>
                    <a:cubicBezTo>
                      <a:pt x="166" y="30"/>
                      <a:pt x="166" y="30"/>
                      <a:pt x="167" y="30"/>
                    </a:cubicBezTo>
                    <a:cubicBezTo>
                      <a:pt x="167" y="31"/>
                      <a:pt x="168" y="32"/>
                      <a:pt x="168" y="32"/>
                    </a:cubicBezTo>
                    <a:cubicBezTo>
                      <a:pt x="168" y="32"/>
                      <a:pt x="167" y="34"/>
                      <a:pt x="167" y="34"/>
                    </a:cubicBezTo>
                    <a:cubicBezTo>
                      <a:pt x="167" y="35"/>
                      <a:pt x="166" y="36"/>
                      <a:pt x="166" y="36"/>
                    </a:cubicBezTo>
                    <a:cubicBezTo>
                      <a:pt x="165" y="37"/>
                      <a:pt x="165" y="37"/>
                      <a:pt x="165" y="37"/>
                    </a:cubicBezTo>
                    <a:cubicBezTo>
                      <a:pt x="165" y="38"/>
                      <a:pt x="165" y="38"/>
                      <a:pt x="165" y="38"/>
                    </a:cubicBezTo>
                    <a:cubicBezTo>
                      <a:pt x="165" y="39"/>
                      <a:pt x="165" y="39"/>
                      <a:pt x="165" y="39"/>
                    </a:cubicBezTo>
                    <a:cubicBezTo>
                      <a:pt x="165" y="39"/>
                      <a:pt x="165" y="40"/>
                      <a:pt x="165" y="40"/>
                    </a:cubicBezTo>
                    <a:cubicBezTo>
                      <a:pt x="164" y="40"/>
                      <a:pt x="165" y="42"/>
                      <a:pt x="165" y="42"/>
                    </a:cubicBezTo>
                    <a:cubicBezTo>
                      <a:pt x="166" y="43"/>
                      <a:pt x="166" y="43"/>
                      <a:pt x="166" y="43"/>
                    </a:cubicBezTo>
                    <a:cubicBezTo>
                      <a:pt x="166" y="43"/>
                      <a:pt x="168" y="42"/>
                      <a:pt x="168" y="42"/>
                    </a:cubicBezTo>
                    <a:cubicBezTo>
                      <a:pt x="168" y="42"/>
                      <a:pt x="171" y="43"/>
                      <a:pt x="171" y="43"/>
                    </a:cubicBezTo>
                    <a:cubicBezTo>
                      <a:pt x="171" y="43"/>
                      <a:pt x="173" y="44"/>
                      <a:pt x="173" y="45"/>
                    </a:cubicBezTo>
                    <a:cubicBezTo>
                      <a:pt x="174" y="45"/>
                      <a:pt x="176" y="47"/>
                      <a:pt x="176" y="47"/>
                    </a:cubicBezTo>
                    <a:cubicBezTo>
                      <a:pt x="178" y="50"/>
                      <a:pt x="178" y="50"/>
                      <a:pt x="178" y="50"/>
                    </a:cubicBezTo>
                    <a:cubicBezTo>
                      <a:pt x="176" y="52"/>
                      <a:pt x="176" y="52"/>
                      <a:pt x="176" y="52"/>
                    </a:cubicBezTo>
                    <a:cubicBezTo>
                      <a:pt x="174" y="55"/>
                      <a:pt x="174" y="55"/>
                      <a:pt x="174" y="55"/>
                    </a:cubicBezTo>
                    <a:cubicBezTo>
                      <a:pt x="172" y="56"/>
                      <a:pt x="172" y="56"/>
                      <a:pt x="172" y="56"/>
                    </a:cubicBezTo>
                    <a:cubicBezTo>
                      <a:pt x="172" y="56"/>
                      <a:pt x="171" y="58"/>
                      <a:pt x="171" y="58"/>
                    </a:cubicBezTo>
                    <a:cubicBezTo>
                      <a:pt x="171" y="58"/>
                      <a:pt x="169" y="59"/>
                      <a:pt x="169" y="59"/>
                    </a:cubicBezTo>
                    <a:cubicBezTo>
                      <a:pt x="168" y="59"/>
                      <a:pt x="168" y="59"/>
                      <a:pt x="168" y="59"/>
                    </a:cubicBezTo>
                    <a:cubicBezTo>
                      <a:pt x="165" y="62"/>
                      <a:pt x="165" y="62"/>
                      <a:pt x="165" y="62"/>
                    </a:cubicBezTo>
                    <a:cubicBezTo>
                      <a:pt x="163" y="63"/>
                      <a:pt x="163" y="63"/>
                      <a:pt x="163" y="63"/>
                    </a:cubicBezTo>
                    <a:cubicBezTo>
                      <a:pt x="161" y="64"/>
                      <a:pt x="161" y="64"/>
                      <a:pt x="161" y="64"/>
                    </a:cubicBezTo>
                    <a:cubicBezTo>
                      <a:pt x="160" y="64"/>
                      <a:pt x="160" y="64"/>
                      <a:pt x="160" y="64"/>
                    </a:cubicBezTo>
                    <a:cubicBezTo>
                      <a:pt x="158" y="66"/>
                      <a:pt x="158" y="66"/>
                      <a:pt x="158" y="66"/>
                    </a:cubicBezTo>
                    <a:cubicBezTo>
                      <a:pt x="156" y="65"/>
                      <a:pt x="156" y="65"/>
                      <a:pt x="156" y="65"/>
                    </a:cubicBezTo>
                    <a:cubicBezTo>
                      <a:pt x="153" y="66"/>
                      <a:pt x="153" y="66"/>
                      <a:pt x="153" y="66"/>
                    </a:cubicBezTo>
                    <a:cubicBezTo>
                      <a:pt x="153" y="67"/>
                      <a:pt x="153" y="67"/>
                      <a:pt x="153" y="67"/>
                    </a:cubicBezTo>
                    <a:cubicBezTo>
                      <a:pt x="149" y="69"/>
                      <a:pt x="149" y="69"/>
                      <a:pt x="149" y="69"/>
                    </a:cubicBezTo>
                    <a:cubicBezTo>
                      <a:pt x="148" y="72"/>
                      <a:pt x="148" y="72"/>
                      <a:pt x="148" y="72"/>
                    </a:cubicBezTo>
                    <a:cubicBezTo>
                      <a:pt x="148" y="72"/>
                      <a:pt x="146" y="72"/>
                      <a:pt x="146" y="73"/>
                    </a:cubicBezTo>
                    <a:cubicBezTo>
                      <a:pt x="145" y="73"/>
                      <a:pt x="144" y="74"/>
                      <a:pt x="144" y="74"/>
                    </a:cubicBezTo>
                    <a:cubicBezTo>
                      <a:pt x="142" y="73"/>
                      <a:pt x="142" y="73"/>
                      <a:pt x="142" y="73"/>
                    </a:cubicBezTo>
                    <a:cubicBezTo>
                      <a:pt x="141" y="74"/>
                      <a:pt x="141" y="74"/>
                      <a:pt x="141" y="74"/>
                    </a:cubicBezTo>
                    <a:cubicBezTo>
                      <a:pt x="141" y="76"/>
                      <a:pt x="141" y="76"/>
                      <a:pt x="141" y="76"/>
                    </a:cubicBezTo>
                    <a:cubicBezTo>
                      <a:pt x="142" y="76"/>
                      <a:pt x="142" y="76"/>
                      <a:pt x="142" y="76"/>
                    </a:cubicBezTo>
                    <a:cubicBezTo>
                      <a:pt x="142" y="76"/>
                      <a:pt x="142" y="78"/>
                      <a:pt x="142" y="78"/>
                    </a:cubicBezTo>
                    <a:cubicBezTo>
                      <a:pt x="142" y="79"/>
                      <a:pt x="142" y="81"/>
                      <a:pt x="142" y="81"/>
                    </a:cubicBezTo>
                    <a:cubicBezTo>
                      <a:pt x="144" y="82"/>
                      <a:pt x="144" y="82"/>
                      <a:pt x="144" y="82"/>
                    </a:cubicBezTo>
                    <a:cubicBezTo>
                      <a:pt x="144" y="82"/>
                      <a:pt x="144" y="85"/>
                      <a:pt x="143" y="85"/>
                    </a:cubicBezTo>
                    <a:cubicBezTo>
                      <a:pt x="143" y="85"/>
                      <a:pt x="141" y="86"/>
                      <a:pt x="141" y="86"/>
                    </a:cubicBezTo>
                    <a:cubicBezTo>
                      <a:pt x="141" y="87"/>
                      <a:pt x="141" y="87"/>
                      <a:pt x="141" y="87"/>
                    </a:cubicBezTo>
                    <a:cubicBezTo>
                      <a:pt x="142" y="89"/>
                      <a:pt x="142" y="89"/>
                      <a:pt x="142" y="89"/>
                    </a:cubicBezTo>
                    <a:cubicBezTo>
                      <a:pt x="142" y="89"/>
                      <a:pt x="142" y="92"/>
                      <a:pt x="141" y="92"/>
                    </a:cubicBezTo>
                    <a:cubicBezTo>
                      <a:pt x="141" y="93"/>
                      <a:pt x="140" y="95"/>
                      <a:pt x="140" y="95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8" y="98"/>
                      <a:pt x="138" y="98"/>
                      <a:pt x="138" y="98"/>
                    </a:cubicBezTo>
                    <a:cubicBezTo>
                      <a:pt x="139" y="99"/>
                      <a:pt x="139" y="99"/>
                      <a:pt x="139" y="99"/>
                    </a:cubicBezTo>
                    <a:cubicBezTo>
                      <a:pt x="139" y="102"/>
                      <a:pt x="139" y="102"/>
                      <a:pt x="139" y="102"/>
                    </a:cubicBezTo>
                    <a:cubicBezTo>
                      <a:pt x="137" y="103"/>
                      <a:pt x="137" y="103"/>
                      <a:pt x="137" y="103"/>
                    </a:cubicBezTo>
                    <a:cubicBezTo>
                      <a:pt x="136" y="106"/>
                      <a:pt x="136" y="106"/>
                      <a:pt x="136" y="106"/>
                    </a:cubicBezTo>
                    <a:cubicBezTo>
                      <a:pt x="137" y="107"/>
                      <a:pt x="137" y="107"/>
                      <a:pt x="137" y="107"/>
                    </a:cubicBezTo>
                    <a:cubicBezTo>
                      <a:pt x="138" y="109"/>
                      <a:pt x="138" y="109"/>
                      <a:pt x="138" y="109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5" y="112"/>
                      <a:pt x="135" y="112"/>
                      <a:pt x="135" y="112"/>
                    </a:cubicBezTo>
                    <a:cubicBezTo>
                      <a:pt x="133" y="114"/>
                      <a:pt x="133" y="114"/>
                      <a:pt x="133" y="114"/>
                    </a:cubicBezTo>
                    <a:cubicBezTo>
                      <a:pt x="131" y="114"/>
                      <a:pt x="131" y="114"/>
                      <a:pt x="131" y="114"/>
                    </a:cubicBezTo>
                    <a:cubicBezTo>
                      <a:pt x="130" y="114"/>
                      <a:pt x="130" y="114"/>
                      <a:pt x="130" y="114"/>
                    </a:cubicBezTo>
                    <a:cubicBezTo>
                      <a:pt x="128" y="116"/>
                      <a:pt x="128" y="116"/>
                      <a:pt x="128" y="116"/>
                    </a:cubicBezTo>
                    <a:cubicBezTo>
                      <a:pt x="127" y="116"/>
                      <a:pt x="127" y="116"/>
                      <a:pt x="127" y="116"/>
                    </a:cubicBezTo>
                    <a:cubicBezTo>
                      <a:pt x="126" y="117"/>
                      <a:pt x="126" y="117"/>
                      <a:pt x="126" y="117"/>
                    </a:cubicBezTo>
                    <a:cubicBezTo>
                      <a:pt x="126" y="119"/>
                      <a:pt x="126" y="119"/>
                      <a:pt x="126" y="119"/>
                    </a:cubicBezTo>
                    <a:cubicBezTo>
                      <a:pt x="126" y="119"/>
                      <a:pt x="126" y="120"/>
                      <a:pt x="126" y="120"/>
                    </a:cubicBezTo>
                    <a:cubicBezTo>
                      <a:pt x="127" y="120"/>
                      <a:pt x="127" y="121"/>
                      <a:pt x="127" y="121"/>
                    </a:cubicBezTo>
                    <a:cubicBezTo>
                      <a:pt x="128" y="123"/>
                      <a:pt x="128" y="123"/>
                      <a:pt x="128" y="123"/>
                    </a:cubicBezTo>
                    <a:cubicBezTo>
                      <a:pt x="129" y="125"/>
                      <a:pt x="129" y="125"/>
                      <a:pt x="129" y="125"/>
                    </a:cubicBezTo>
                    <a:cubicBezTo>
                      <a:pt x="130" y="128"/>
                      <a:pt x="130" y="128"/>
                      <a:pt x="130" y="128"/>
                    </a:cubicBezTo>
                    <a:cubicBezTo>
                      <a:pt x="130" y="128"/>
                      <a:pt x="129" y="130"/>
                      <a:pt x="129" y="130"/>
                    </a:cubicBezTo>
                    <a:cubicBezTo>
                      <a:pt x="129" y="130"/>
                      <a:pt x="128" y="132"/>
                      <a:pt x="128" y="132"/>
                    </a:cubicBezTo>
                    <a:cubicBezTo>
                      <a:pt x="127" y="134"/>
                      <a:pt x="127" y="134"/>
                      <a:pt x="127" y="134"/>
                    </a:cubicBezTo>
                    <a:cubicBezTo>
                      <a:pt x="126" y="136"/>
                      <a:pt x="126" y="136"/>
                      <a:pt x="126" y="136"/>
                    </a:cubicBezTo>
                    <a:cubicBezTo>
                      <a:pt x="125" y="137"/>
                      <a:pt x="125" y="137"/>
                      <a:pt x="125" y="137"/>
                    </a:cubicBezTo>
                    <a:cubicBezTo>
                      <a:pt x="123" y="137"/>
                      <a:pt x="123" y="137"/>
                      <a:pt x="123" y="137"/>
                    </a:cubicBezTo>
                    <a:cubicBezTo>
                      <a:pt x="123" y="138"/>
                      <a:pt x="123" y="138"/>
                      <a:pt x="123" y="138"/>
                    </a:cubicBezTo>
                    <a:cubicBezTo>
                      <a:pt x="122" y="140"/>
                      <a:pt x="122" y="140"/>
                      <a:pt x="122" y="140"/>
                    </a:cubicBezTo>
                    <a:cubicBezTo>
                      <a:pt x="122" y="141"/>
                      <a:pt x="122" y="141"/>
                      <a:pt x="122" y="141"/>
                    </a:cubicBezTo>
                    <a:cubicBezTo>
                      <a:pt x="121" y="141"/>
                      <a:pt x="121" y="141"/>
                      <a:pt x="121" y="141"/>
                    </a:cubicBezTo>
                    <a:cubicBezTo>
                      <a:pt x="121" y="143"/>
                      <a:pt x="121" y="143"/>
                      <a:pt x="121" y="143"/>
                    </a:cubicBezTo>
                    <a:cubicBezTo>
                      <a:pt x="120" y="144"/>
                      <a:pt x="120" y="144"/>
                      <a:pt x="120" y="144"/>
                    </a:cubicBezTo>
                    <a:cubicBezTo>
                      <a:pt x="120" y="144"/>
                      <a:pt x="119" y="144"/>
                      <a:pt x="119" y="144"/>
                    </a:cubicBezTo>
                    <a:cubicBezTo>
                      <a:pt x="118" y="144"/>
                      <a:pt x="117" y="145"/>
                      <a:pt x="117" y="145"/>
                    </a:cubicBezTo>
                    <a:cubicBezTo>
                      <a:pt x="117" y="145"/>
                      <a:pt x="115" y="145"/>
                      <a:pt x="115" y="144"/>
                    </a:cubicBezTo>
                    <a:cubicBezTo>
                      <a:pt x="115" y="144"/>
                      <a:pt x="114" y="145"/>
                      <a:pt x="113" y="144"/>
                    </a:cubicBezTo>
                    <a:cubicBezTo>
                      <a:pt x="113" y="144"/>
                      <a:pt x="112" y="143"/>
                      <a:pt x="112" y="143"/>
                    </a:cubicBezTo>
                    <a:cubicBezTo>
                      <a:pt x="111" y="143"/>
                      <a:pt x="111" y="143"/>
                      <a:pt x="111" y="143"/>
                    </a:cubicBezTo>
                    <a:cubicBezTo>
                      <a:pt x="109" y="143"/>
                      <a:pt x="109" y="143"/>
                      <a:pt x="109" y="143"/>
                    </a:cubicBezTo>
                    <a:cubicBezTo>
                      <a:pt x="106" y="143"/>
                      <a:pt x="106" y="143"/>
                      <a:pt x="106" y="143"/>
                    </a:cubicBezTo>
                    <a:cubicBezTo>
                      <a:pt x="104" y="143"/>
                      <a:pt x="104" y="143"/>
                      <a:pt x="104" y="143"/>
                    </a:cubicBezTo>
                    <a:cubicBezTo>
                      <a:pt x="104" y="142"/>
                      <a:pt x="104" y="142"/>
                      <a:pt x="104" y="142"/>
                    </a:cubicBezTo>
                    <a:cubicBezTo>
                      <a:pt x="103" y="143"/>
                      <a:pt x="103" y="143"/>
                      <a:pt x="103" y="143"/>
                    </a:cubicBezTo>
                    <a:cubicBezTo>
                      <a:pt x="102" y="141"/>
                      <a:pt x="102" y="141"/>
                      <a:pt x="102" y="141"/>
                    </a:cubicBezTo>
                    <a:cubicBezTo>
                      <a:pt x="100" y="141"/>
                      <a:pt x="100" y="141"/>
                      <a:pt x="100" y="141"/>
                    </a:cubicBezTo>
                    <a:cubicBezTo>
                      <a:pt x="98" y="141"/>
                      <a:pt x="98" y="141"/>
                      <a:pt x="98" y="141"/>
                    </a:cubicBezTo>
                    <a:cubicBezTo>
                      <a:pt x="98" y="141"/>
                      <a:pt x="98" y="142"/>
                      <a:pt x="99" y="143"/>
                    </a:cubicBezTo>
                    <a:cubicBezTo>
                      <a:pt x="99" y="143"/>
                      <a:pt x="100" y="145"/>
                      <a:pt x="100" y="145"/>
                    </a:cubicBezTo>
                    <a:cubicBezTo>
                      <a:pt x="100" y="145"/>
                      <a:pt x="100" y="147"/>
                      <a:pt x="100" y="147"/>
                    </a:cubicBezTo>
                    <a:cubicBezTo>
                      <a:pt x="100" y="147"/>
                      <a:pt x="102" y="149"/>
                      <a:pt x="102" y="149"/>
                    </a:cubicBezTo>
                    <a:cubicBezTo>
                      <a:pt x="102" y="150"/>
                      <a:pt x="102" y="150"/>
                      <a:pt x="102" y="150"/>
                    </a:cubicBezTo>
                    <a:cubicBezTo>
                      <a:pt x="102" y="150"/>
                      <a:pt x="103" y="152"/>
                      <a:pt x="103" y="152"/>
                    </a:cubicBezTo>
                    <a:cubicBezTo>
                      <a:pt x="103" y="152"/>
                      <a:pt x="105" y="153"/>
                      <a:pt x="105" y="153"/>
                    </a:cubicBezTo>
                    <a:cubicBezTo>
                      <a:pt x="105" y="155"/>
                      <a:pt x="105" y="155"/>
                      <a:pt x="105" y="155"/>
                    </a:cubicBezTo>
                    <a:cubicBezTo>
                      <a:pt x="104" y="156"/>
                      <a:pt x="104" y="156"/>
                      <a:pt x="104" y="156"/>
                    </a:cubicBezTo>
                    <a:cubicBezTo>
                      <a:pt x="103" y="157"/>
                      <a:pt x="103" y="157"/>
                      <a:pt x="103" y="157"/>
                    </a:cubicBezTo>
                    <a:cubicBezTo>
                      <a:pt x="104" y="159"/>
                      <a:pt x="104" y="159"/>
                      <a:pt x="104" y="159"/>
                    </a:cubicBezTo>
                    <a:cubicBezTo>
                      <a:pt x="104" y="161"/>
                      <a:pt x="104" y="161"/>
                      <a:pt x="104" y="161"/>
                    </a:cubicBezTo>
                    <a:cubicBezTo>
                      <a:pt x="105" y="162"/>
                      <a:pt x="105" y="162"/>
                      <a:pt x="105" y="162"/>
                    </a:cubicBezTo>
                    <a:cubicBezTo>
                      <a:pt x="105" y="163"/>
                      <a:pt x="105" y="163"/>
                      <a:pt x="105" y="163"/>
                    </a:cubicBezTo>
                    <a:cubicBezTo>
                      <a:pt x="104" y="164"/>
                      <a:pt x="104" y="164"/>
                      <a:pt x="104" y="164"/>
                    </a:cubicBezTo>
                    <a:cubicBezTo>
                      <a:pt x="104" y="166"/>
                      <a:pt x="104" y="166"/>
                      <a:pt x="104" y="166"/>
                    </a:cubicBezTo>
                    <a:cubicBezTo>
                      <a:pt x="105" y="168"/>
                      <a:pt x="105" y="168"/>
                      <a:pt x="105" y="168"/>
                    </a:cubicBezTo>
                    <a:cubicBezTo>
                      <a:pt x="106" y="170"/>
                      <a:pt x="106" y="170"/>
                      <a:pt x="106" y="170"/>
                    </a:cubicBezTo>
                    <a:cubicBezTo>
                      <a:pt x="108" y="170"/>
                      <a:pt x="108" y="170"/>
                      <a:pt x="108" y="170"/>
                    </a:cubicBezTo>
                    <a:cubicBezTo>
                      <a:pt x="108" y="172"/>
                      <a:pt x="108" y="172"/>
                      <a:pt x="108" y="172"/>
                    </a:cubicBezTo>
                    <a:cubicBezTo>
                      <a:pt x="107" y="173"/>
                      <a:pt x="107" y="173"/>
                      <a:pt x="107" y="173"/>
                    </a:cubicBezTo>
                    <a:cubicBezTo>
                      <a:pt x="107" y="173"/>
                      <a:pt x="107" y="174"/>
                      <a:pt x="107" y="174"/>
                    </a:cubicBezTo>
                    <a:cubicBezTo>
                      <a:pt x="108" y="174"/>
                      <a:pt x="109" y="175"/>
                      <a:pt x="109" y="175"/>
                    </a:cubicBezTo>
                    <a:cubicBezTo>
                      <a:pt x="111" y="174"/>
                      <a:pt x="111" y="174"/>
                      <a:pt x="111" y="174"/>
                    </a:cubicBezTo>
                    <a:cubicBezTo>
                      <a:pt x="111" y="174"/>
                      <a:pt x="112" y="174"/>
                      <a:pt x="112" y="174"/>
                    </a:cubicBezTo>
                    <a:cubicBezTo>
                      <a:pt x="112" y="175"/>
                      <a:pt x="113" y="177"/>
                      <a:pt x="113" y="177"/>
                    </a:cubicBezTo>
                    <a:cubicBezTo>
                      <a:pt x="114" y="178"/>
                      <a:pt x="114" y="178"/>
                      <a:pt x="114" y="178"/>
                    </a:cubicBezTo>
                    <a:cubicBezTo>
                      <a:pt x="114" y="180"/>
                      <a:pt x="114" y="180"/>
                      <a:pt x="114" y="180"/>
                    </a:cubicBezTo>
                    <a:cubicBezTo>
                      <a:pt x="112" y="182"/>
                      <a:pt x="112" y="182"/>
                      <a:pt x="112" y="182"/>
                    </a:cubicBezTo>
                    <a:cubicBezTo>
                      <a:pt x="110" y="184"/>
                      <a:pt x="110" y="184"/>
                      <a:pt x="110" y="184"/>
                    </a:cubicBezTo>
                    <a:cubicBezTo>
                      <a:pt x="109" y="185"/>
                      <a:pt x="109" y="185"/>
                      <a:pt x="109" y="185"/>
                    </a:cubicBezTo>
                    <a:cubicBezTo>
                      <a:pt x="109" y="187"/>
                      <a:pt x="109" y="187"/>
                      <a:pt x="109" y="187"/>
                    </a:cubicBezTo>
                    <a:cubicBezTo>
                      <a:pt x="108" y="188"/>
                      <a:pt x="108" y="188"/>
                      <a:pt x="108" y="188"/>
                    </a:cubicBezTo>
                    <a:cubicBezTo>
                      <a:pt x="106" y="189"/>
                      <a:pt x="106" y="189"/>
                      <a:pt x="106" y="189"/>
                    </a:cubicBezTo>
                    <a:cubicBezTo>
                      <a:pt x="104" y="190"/>
                      <a:pt x="104" y="190"/>
                      <a:pt x="104" y="190"/>
                    </a:cubicBezTo>
                    <a:cubicBezTo>
                      <a:pt x="103" y="190"/>
                      <a:pt x="103" y="190"/>
                      <a:pt x="103" y="190"/>
                    </a:cubicBezTo>
                    <a:cubicBezTo>
                      <a:pt x="102" y="191"/>
                      <a:pt x="102" y="191"/>
                      <a:pt x="102" y="191"/>
                    </a:cubicBezTo>
                    <a:cubicBezTo>
                      <a:pt x="99" y="192"/>
                      <a:pt x="99" y="192"/>
                      <a:pt x="99" y="192"/>
                    </a:cubicBezTo>
                    <a:cubicBezTo>
                      <a:pt x="98" y="192"/>
                      <a:pt x="98" y="192"/>
                      <a:pt x="98" y="192"/>
                    </a:cubicBezTo>
                    <a:cubicBezTo>
                      <a:pt x="96" y="196"/>
                      <a:pt x="96" y="196"/>
                      <a:pt x="96" y="196"/>
                    </a:cubicBezTo>
                    <a:cubicBezTo>
                      <a:pt x="96" y="196"/>
                      <a:pt x="96" y="198"/>
                      <a:pt x="96" y="198"/>
                    </a:cubicBezTo>
                    <a:cubicBezTo>
                      <a:pt x="96" y="198"/>
                      <a:pt x="97" y="199"/>
                      <a:pt x="97" y="199"/>
                    </a:cubicBezTo>
                    <a:cubicBezTo>
                      <a:pt x="97" y="199"/>
                      <a:pt x="95" y="201"/>
                      <a:pt x="95" y="201"/>
                    </a:cubicBezTo>
                    <a:cubicBezTo>
                      <a:pt x="95" y="201"/>
                      <a:pt x="93" y="202"/>
                      <a:pt x="93" y="202"/>
                    </a:cubicBezTo>
                    <a:cubicBezTo>
                      <a:pt x="92" y="204"/>
                      <a:pt x="92" y="204"/>
                      <a:pt x="92" y="204"/>
                    </a:cubicBezTo>
                    <a:cubicBezTo>
                      <a:pt x="93" y="205"/>
                      <a:pt x="93" y="205"/>
                      <a:pt x="93" y="205"/>
                    </a:cubicBezTo>
                    <a:cubicBezTo>
                      <a:pt x="91" y="205"/>
                      <a:pt x="91" y="205"/>
                      <a:pt x="91" y="205"/>
                    </a:cubicBezTo>
                    <a:cubicBezTo>
                      <a:pt x="92" y="207"/>
                      <a:pt x="92" y="207"/>
                      <a:pt x="92" y="207"/>
                    </a:cubicBezTo>
                    <a:cubicBezTo>
                      <a:pt x="91" y="208"/>
                      <a:pt x="91" y="208"/>
                      <a:pt x="91" y="208"/>
                    </a:cubicBezTo>
                    <a:cubicBezTo>
                      <a:pt x="92" y="209"/>
                      <a:pt x="92" y="209"/>
                      <a:pt x="92" y="209"/>
                    </a:cubicBezTo>
                    <a:cubicBezTo>
                      <a:pt x="92" y="209"/>
                      <a:pt x="93" y="212"/>
                      <a:pt x="93" y="212"/>
                    </a:cubicBezTo>
                    <a:cubicBezTo>
                      <a:pt x="93" y="213"/>
                      <a:pt x="94" y="214"/>
                      <a:pt x="94" y="214"/>
                    </a:cubicBezTo>
                    <a:cubicBezTo>
                      <a:pt x="94" y="214"/>
                      <a:pt x="95" y="215"/>
                      <a:pt x="95" y="215"/>
                    </a:cubicBezTo>
                    <a:cubicBezTo>
                      <a:pt x="95" y="216"/>
                      <a:pt x="95" y="217"/>
                      <a:pt x="95" y="218"/>
                    </a:cubicBezTo>
                    <a:cubicBezTo>
                      <a:pt x="95" y="219"/>
                      <a:pt x="96" y="221"/>
                      <a:pt x="96" y="221"/>
                    </a:cubicBezTo>
                    <a:cubicBezTo>
                      <a:pt x="97" y="223"/>
                      <a:pt x="97" y="223"/>
                      <a:pt x="97" y="223"/>
                    </a:cubicBezTo>
                    <a:cubicBezTo>
                      <a:pt x="97" y="223"/>
                      <a:pt x="97" y="224"/>
                      <a:pt x="97" y="224"/>
                    </a:cubicBezTo>
                    <a:cubicBezTo>
                      <a:pt x="98" y="224"/>
                      <a:pt x="100" y="224"/>
                      <a:pt x="100" y="224"/>
                    </a:cubicBezTo>
                    <a:cubicBezTo>
                      <a:pt x="100" y="224"/>
                      <a:pt x="102" y="224"/>
                      <a:pt x="102" y="224"/>
                    </a:cubicBezTo>
                    <a:cubicBezTo>
                      <a:pt x="102" y="224"/>
                      <a:pt x="103" y="223"/>
                      <a:pt x="104" y="224"/>
                    </a:cubicBezTo>
                    <a:cubicBezTo>
                      <a:pt x="104" y="224"/>
                      <a:pt x="104" y="225"/>
                      <a:pt x="104" y="225"/>
                    </a:cubicBezTo>
                    <a:cubicBezTo>
                      <a:pt x="104" y="225"/>
                      <a:pt x="104" y="226"/>
                      <a:pt x="104" y="226"/>
                    </a:cubicBezTo>
                    <a:cubicBezTo>
                      <a:pt x="100" y="230"/>
                      <a:pt x="100" y="230"/>
                      <a:pt x="100" y="230"/>
                    </a:cubicBezTo>
                    <a:cubicBezTo>
                      <a:pt x="100" y="233"/>
                      <a:pt x="100" y="233"/>
                      <a:pt x="100" y="233"/>
                    </a:cubicBezTo>
                    <a:cubicBezTo>
                      <a:pt x="100" y="233"/>
                      <a:pt x="99" y="233"/>
                      <a:pt x="99" y="233"/>
                    </a:cubicBezTo>
                    <a:cubicBezTo>
                      <a:pt x="98" y="233"/>
                      <a:pt x="97" y="233"/>
                      <a:pt x="97" y="233"/>
                    </a:cubicBezTo>
                    <a:cubicBezTo>
                      <a:pt x="95" y="231"/>
                      <a:pt x="95" y="231"/>
                      <a:pt x="95" y="231"/>
                    </a:cubicBezTo>
                    <a:cubicBezTo>
                      <a:pt x="93" y="232"/>
                      <a:pt x="93" y="232"/>
                      <a:pt x="93" y="232"/>
                    </a:cubicBezTo>
                    <a:cubicBezTo>
                      <a:pt x="93" y="233"/>
                      <a:pt x="93" y="233"/>
                      <a:pt x="93" y="233"/>
                    </a:cubicBezTo>
                    <a:cubicBezTo>
                      <a:pt x="93" y="233"/>
                      <a:pt x="91" y="233"/>
                      <a:pt x="91" y="233"/>
                    </a:cubicBezTo>
                    <a:cubicBezTo>
                      <a:pt x="91" y="233"/>
                      <a:pt x="88" y="233"/>
                      <a:pt x="88" y="233"/>
                    </a:cubicBezTo>
                    <a:cubicBezTo>
                      <a:pt x="87" y="234"/>
                      <a:pt x="87" y="234"/>
                      <a:pt x="87" y="234"/>
                    </a:cubicBezTo>
                    <a:cubicBezTo>
                      <a:pt x="86" y="238"/>
                      <a:pt x="86" y="238"/>
                      <a:pt x="86" y="238"/>
                    </a:cubicBezTo>
                    <a:cubicBezTo>
                      <a:pt x="84" y="240"/>
                      <a:pt x="84" y="240"/>
                      <a:pt x="84" y="240"/>
                    </a:cubicBezTo>
                    <a:cubicBezTo>
                      <a:pt x="82" y="241"/>
                      <a:pt x="82" y="241"/>
                      <a:pt x="82" y="241"/>
                    </a:cubicBezTo>
                    <a:cubicBezTo>
                      <a:pt x="80" y="243"/>
                      <a:pt x="80" y="243"/>
                      <a:pt x="80" y="243"/>
                    </a:cubicBezTo>
                    <a:cubicBezTo>
                      <a:pt x="77" y="244"/>
                      <a:pt x="77" y="244"/>
                      <a:pt x="77" y="244"/>
                    </a:cubicBezTo>
                    <a:cubicBezTo>
                      <a:pt x="77" y="244"/>
                      <a:pt x="76" y="245"/>
                      <a:pt x="76" y="245"/>
                    </a:cubicBezTo>
                    <a:cubicBezTo>
                      <a:pt x="76" y="246"/>
                      <a:pt x="75" y="249"/>
                      <a:pt x="75" y="249"/>
                    </a:cubicBezTo>
                    <a:cubicBezTo>
                      <a:pt x="75" y="249"/>
                      <a:pt x="73" y="250"/>
                      <a:pt x="73" y="251"/>
                    </a:cubicBezTo>
                    <a:cubicBezTo>
                      <a:pt x="73" y="251"/>
                      <a:pt x="71" y="252"/>
                      <a:pt x="71" y="252"/>
                    </a:cubicBezTo>
                    <a:cubicBezTo>
                      <a:pt x="71" y="252"/>
                      <a:pt x="71" y="254"/>
                      <a:pt x="71" y="254"/>
                    </a:cubicBezTo>
                    <a:cubicBezTo>
                      <a:pt x="71" y="254"/>
                      <a:pt x="72" y="256"/>
                      <a:pt x="72" y="256"/>
                    </a:cubicBezTo>
                    <a:cubicBezTo>
                      <a:pt x="72" y="259"/>
                      <a:pt x="72" y="259"/>
                      <a:pt x="72" y="259"/>
                    </a:cubicBezTo>
                    <a:cubicBezTo>
                      <a:pt x="72" y="261"/>
                      <a:pt x="72" y="261"/>
                      <a:pt x="72" y="261"/>
                    </a:cubicBezTo>
                    <a:cubicBezTo>
                      <a:pt x="73" y="263"/>
                      <a:pt x="73" y="263"/>
                      <a:pt x="73" y="263"/>
                    </a:cubicBezTo>
                    <a:cubicBezTo>
                      <a:pt x="72" y="265"/>
                      <a:pt x="72" y="265"/>
                      <a:pt x="72" y="265"/>
                    </a:cubicBezTo>
                    <a:cubicBezTo>
                      <a:pt x="71" y="268"/>
                      <a:pt x="71" y="268"/>
                      <a:pt x="71" y="268"/>
                    </a:cubicBezTo>
                    <a:cubicBezTo>
                      <a:pt x="71" y="269"/>
                      <a:pt x="71" y="269"/>
                      <a:pt x="71" y="269"/>
                    </a:cubicBezTo>
                    <a:cubicBezTo>
                      <a:pt x="71" y="271"/>
                      <a:pt x="71" y="271"/>
                      <a:pt x="71" y="271"/>
                    </a:cubicBezTo>
                    <a:cubicBezTo>
                      <a:pt x="71" y="275"/>
                      <a:pt x="71" y="275"/>
                      <a:pt x="71" y="275"/>
                    </a:cubicBezTo>
                    <a:cubicBezTo>
                      <a:pt x="68" y="274"/>
                      <a:pt x="68" y="274"/>
                      <a:pt x="68" y="274"/>
                    </a:cubicBezTo>
                    <a:cubicBezTo>
                      <a:pt x="65" y="274"/>
                      <a:pt x="65" y="274"/>
                      <a:pt x="65" y="274"/>
                    </a:cubicBezTo>
                    <a:cubicBezTo>
                      <a:pt x="62" y="275"/>
                      <a:pt x="62" y="275"/>
                      <a:pt x="62" y="275"/>
                    </a:cubicBezTo>
                    <a:cubicBezTo>
                      <a:pt x="58" y="277"/>
                      <a:pt x="58" y="277"/>
                      <a:pt x="58" y="277"/>
                    </a:cubicBezTo>
                    <a:cubicBezTo>
                      <a:pt x="52" y="278"/>
                      <a:pt x="52" y="278"/>
                      <a:pt x="52" y="278"/>
                    </a:cubicBezTo>
                    <a:cubicBezTo>
                      <a:pt x="47" y="278"/>
                      <a:pt x="47" y="278"/>
                      <a:pt x="47" y="278"/>
                    </a:cubicBezTo>
                    <a:cubicBezTo>
                      <a:pt x="44" y="277"/>
                      <a:pt x="44" y="277"/>
                      <a:pt x="44" y="277"/>
                    </a:cubicBezTo>
                    <a:cubicBezTo>
                      <a:pt x="42" y="276"/>
                      <a:pt x="42" y="276"/>
                      <a:pt x="42" y="276"/>
                    </a:cubicBezTo>
                    <a:cubicBezTo>
                      <a:pt x="40" y="274"/>
                      <a:pt x="40" y="274"/>
                      <a:pt x="40" y="274"/>
                    </a:cubicBezTo>
                    <a:cubicBezTo>
                      <a:pt x="37" y="271"/>
                      <a:pt x="37" y="271"/>
                      <a:pt x="37" y="271"/>
                    </a:cubicBezTo>
                    <a:cubicBezTo>
                      <a:pt x="34" y="271"/>
                      <a:pt x="34" y="271"/>
                      <a:pt x="34" y="271"/>
                    </a:cubicBezTo>
                    <a:cubicBezTo>
                      <a:pt x="32" y="270"/>
                      <a:pt x="32" y="270"/>
                      <a:pt x="32" y="270"/>
                    </a:cubicBezTo>
                    <a:cubicBezTo>
                      <a:pt x="30" y="269"/>
                      <a:pt x="30" y="269"/>
                      <a:pt x="30" y="269"/>
                    </a:cubicBezTo>
                    <a:cubicBezTo>
                      <a:pt x="28" y="268"/>
                      <a:pt x="28" y="268"/>
                      <a:pt x="28" y="268"/>
                    </a:cubicBezTo>
                    <a:cubicBezTo>
                      <a:pt x="26" y="268"/>
                      <a:pt x="26" y="268"/>
                      <a:pt x="26" y="268"/>
                    </a:cubicBezTo>
                    <a:cubicBezTo>
                      <a:pt x="22" y="266"/>
                      <a:pt x="22" y="266"/>
                      <a:pt x="22" y="266"/>
                    </a:cubicBezTo>
                    <a:cubicBezTo>
                      <a:pt x="18" y="264"/>
                      <a:pt x="18" y="264"/>
                      <a:pt x="18" y="264"/>
                    </a:cubicBezTo>
                    <a:cubicBezTo>
                      <a:pt x="16" y="265"/>
                      <a:pt x="16" y="265"/>
                      <a:pt x="16" y="265"/>
                    </a:cubicBezTo>
                    <a:cubicBezTo>
                      <a:pt x="16" y="266"/>
                      <a:pt x="16" y="266"/>
                      <a:pt x="16" y="266"/>
                    </a:cubicBezTo>
                    <a:cubicBezTo>
                      <a:pt x="13" y="265"/>
                      <a:pt x="13" y="265"/>
                      <a:pt x="13" y="265"/>
                    </a:cubicBezTo>
                    <a:cubicBezTo>
                      <a:pt x="11" y="265"/>
                      <a:pt x="11" y="265"/>
                      <a:pt x="11" y="265"/>
                    </a:cubicBezTo>
                    <a:cubicBezTo>
                      <a:pt x="9" y="265"/>
                      <a:pt x="9" y="265"/>
                      <a:pt x="9" y="265"/>
                    </a:cubicBezTo>
                    <a:cubicBezTo>
                      <a:pt x="5" y="266"/>
                      <a:pt x="5" y="266"/>
                      <a:pt x="5" y="266"/>
                    </a:cubicBezTo>
                    <a:cubicBezTo>
                      <a:pt x="2" y="267"/>
                      <a:pt x="2" y="267"/>
                      <a:pt x="2" y="267"/>
                    </a:cubicBezTo>
                    <a:cubicBezTo>
                      <a:pt x="0" y="266"/>
                      <a:pt x="0" y="266"/>
                      <a:pt x="0" y="266"/>
                    </a:cubicBezTo>
                    <a:cubicBezTo>
                      <a:pt x="2" y="264"/>
                      <a:pt x="2" y="264"/>
                      <a:pt x="2" y="264"/>
                    </a:cubicBezTo>
                    <a:cubicBezTo>
                      <a:pt x="4" y="261"/>
                      <a:pt x="4" y="261"/>
                      <a:pt x="4" y="261"/>
                    </a:cubicBezTo>
                    <a:cubicBezTo>
                      <a:pt x="6" y="260"/>
                      <a:pt x="6" y="260"/>
                      <a:pt x="6" y="260"/>
                    </a:cubicBezTo>
                    <a:cubicBezTo>
                      <a:pt x="7" y="257"/>
                      <a:pt x="7" y="257"/>
                      <a:pt x="7" y="257"/>
                    </a:cubicBezTo>
                    <a:cubicBezTo>
                      <a:pt x="10" y="255"/>
                      <a:pt x="10" y="255"/>
                      <a:pt x="10" y="255"/>
                    </a:cubicBezTo>
                    <a:cubicBezTo>
                      <a:pt x="10" y="252"/>
                      <a:pt x="10" y="252"/>
                      <a:pt x="10" y="252"/>
                    </a:cubicBezTo>
                    <a:cubicBezTo>
                      <a:pt x="12" y="248"/>
                      <a:pt x="12" y="248"/>
                      <a:pt x="12" y="248"/>
                    </a:cubicBezTo>
                    <a:cubicBezTo>
                      <a:pt x="12" y="248"/>
                      <a:pt x="14" y="248"/>
                      <a:pt x="14" y="247"/>
                    </a:cubicBezTo>
                    <a:cubicBezTo>
                      <a:pt x="15" y="245"/>
                      <a:pt x="15" y="244"/>
                      <a:pt x="16" y="243"/>
                    </a:cubicBezTo>
                    <a:cubicBezTo>
                      <a:pt x="16" y="242"/>
                      <a:pt x="17" y="242"/>
                      <a:pt x="17" y="241"/>
                    </a:cubicBezTo>
                    <a:cubicBezTo>
                      <a:pt x="17" y="240"/>
                      <a:pt x="16" y="237"/>
                      <a:pt x="16" y="237"/>
                    </a:cubicBezTo>
                    <a:cubicBezTo>
                      <a:pt x="16" y="237"/>
                      <a:pt x="18" y="233"/>
                      <a:pt x="18" y="233"/>
                    </a:cubicBezTo>
                    <a:cubicBezTo>
                      <a:pt x="19" y="232"/>
                      <a:pt x="19" y="228"/>
                      <a:pt x="19" y="228"/>
                    </a:cubicBezTo>
                    <a:cubicBezTo>
                      <a:pt x="19" y="228"/>
                      <a:pt x="20" y="226"/>
                      <a:pt x="21" y="225"/>
                    </a:cubicBezTo>
                    <a:cubicBezTo>
                      <a:pt x="21" y="224"/>
                      <a:pt x="21" y="221"/>
                      <a:pt x="21" y="221"/>
                    </a:cubicBezTo>
                    <a:cubicBezTo>
                      <a:pt x="19" y="218"/>
                      <a:pt x="19" y="218"/>
                      <a:pt x="19" y="218"/>
                    </a:cubicBezTo>
                    <a:cubicBezTo>
                      <a:pt x="21" y="214"/>
                      <a:pt x="21" y="214"/>
                      <a:pt x="21" y="214"/>
                    </a:cubicBezTo>
                    <a:cubicBezTo>
                      <a:pt x="24" y="209"/>
                      <a:pt x="24" y="209"/>
                      <a:pt x="24" y="209"/>
                    </a:cubicBezTo>
                    <a:cubicBezTo>
                      <a:pt x="27" y="204"/>
                      <a:pt x="27" y="204"/>
                      <a:pt x="27" y="204"/>
                    </a:cubicBezTo>
                    <a:cubicBezTo>
                      <a:pt x="28" y="199"/>
                      <a:pt x="28" y="199"/>
                      <a:pt x="28" y="199"/>
                    </a:cubicBezTo>
                    <a:cubicBezTo>
                      <a:pt x="28" y="199"/>
                      <a:pt x="28" y="197"/>
                      <a:pt x="28" y="196"/>
                    </a:cubicBezTo>
                    <a:cubicBezTo>
                      <a:pt x="28" y="196"/>
                      <a:pt x="28" y="194"/>
                      <a:pt x="28" y="194"/>
                    </a:cubicBezTo>
                    <a:cubicBezTo>
                      <a:pt x="28" y="194"/>
                      <a:pt x="28" y="192"/>
                      <a:pt x="28" y="192"/>
                    </a:cubicBezTo>
                    <a:cubicBezTo>
                      <a:pt x="28" y="192"/>
                      <a:pt x="27" y="190"/>
                      <a:pt x="27" y="190"/>
                    </a:cubicBezTo>
                    <a:cubicBezTo>
                      <a:pt x="26" y="187"/>
                      <a:pt x="26" y="187"/>
                      <a:pt x="26" y="187"/>
                    </a:cubicBezTo>
                    <a:cubicBezTo>
                      <a:pt x="25" y="188"/>
                      <a:pt x="25" y="188"/>
                      <a:pt x="25" y="188"/>
                    </a:cubicBezTo>
                    <a:cubicBezTo>
                      <a:pt x="25" y="188"/>
                      <a:pt x="24" y="189"/>
                      <a:pt x="23" y="188"/>
                    </a:cubicBezTo>
                    <a:cubicBezTo>
                      <a:pt x="23" y="188"/>
                      <a:pt x="19" y="188"/>
                      <a:pt x="19" y="188"/>
                    </a:cubicBezTo>
                    <a:cubicBezTo>
                      <a:pt x="17" y="189"/>
                      <a:pt x="17" y="189"/>
                      <a:pt x="17" y="189"/>
                    </a:cubicBezTo>
                    <a:cubicBezTo>
                      <a:pt x="14" y="188"/>
                      <a:pt x="14" y="188"/>
                      <a:pt x="14" y="188"/>
                    </a:cubicBezTo>
                    <a:cubicBezTo>
                      <a:pt x="14" y="188"/>
                      <a:pt x="13" y="189"/>
                      <a:pt x="12" y="189"/>
                    </a:cubicBezTo>
                    <a:cubicBezTo>
                      <a:pt x="12" y="189"/>
                      <a:pt x="11" y="189"/>
                      <a:pt x="11" y="188"/>
                    </a:cubicBezTo>
                    <a:cubicBezTo>
                      <a:pt x="11" y="188"/>
                      <a:pt x="14" y="185"/>
                      <a:pt x="14" y="185"/>
                    </a:cubicBezTo>
                    <a:cubicBezTo>
                      <a:pt x="14" y="185"/>
                      <a:pt x="14" y="185"/>
                      <a:pt x="14" y="184"/>
                    </a:cubicBezTo>
                    <a:cubicBezTo>
                      <a:pt x="14" y="183"/>
                      <a:pt x="14" y="181"/>
                      <a:pt x="14" y="181"/>
                    </a:cubicBezTo>
                    <a:cubicBezTo>
                      <a:pt x="14" y="180"/>
                      <a:pt x="13" y="177"/>
                      <a:pt x="13" y="177"/>
                    </a:cubicBezTo>
                    <a:cubicBezTo>
                      <a:pt x="13" y="177"/>
                      <a:pt x="12" y="176"/>
                      <a:pt x="13" y="175"/>
                    </a:cubicBezTo>
                    <a:cubicBezTo>
                      <a:pt x="13" y="174"/>
                      <a:pt x="14" y="174"/>
                      <a:pt x="14" y="174"/>
                    </a:cubicBezTo>
                    <a:cubicBezTo>
                      <a:pt x="12" y="173"/>
                      <a:pt x="12" y="173"/>
                      <a:pt x="12" y="173"/>
                    </a:cubicBezTo>
                    <a:cubicBezTo>
                      <a:pt x="12" y="173"/>
                      <a:pt x="12" y="173"/>
                      <a:pt x="11" y="173"/>
                    </a:cubicBezTo>
                    <a:cubicBezTo>
                      <a:pt x="10" y="174"/>
                      <a:pt x="9" y="174"/>
                      <a:pt x="9" y="174"/>
                    </a:cubicBezTo>
                    <a:cubicBezTo>
                      <a:pt x="8" y="172"/>
                      <a:pt x="8" y="172"/>
                      <a:pt x="8" y="172"/>
                    </a:cubicBezTo>
                    <a:cubicBezTo>
                      <a:pt x="8" y="172"/>
                      <a:pt x="7" y="173"/>
                      <a:pt x="7" y="172"/>
                    </a:cubicBezTo>
                    <a:cubicBezTo>
                      <a:pt x="6" y="172"/>
                      <a:pt x="4" y="171"/>
                      <a:pt x="4" y="171"/>
                    </a:cubicBezTo>
                    <a:cubicBezTo>
                      <a:pt x="4" y="171"/>
                      <a:pt x="4" y="169"/>
                      <a:pt x="4" y="169"/>
                    </a:cubicBezTo>
                    <a:cubicBezTo>
                      <a:pt x="5" y="168"/>
                      <a:pt x="5" y="168"/>
                      <a:pt x="5" y="167"/>
                    </a:cubicBezTo>
                    <a:cubicBezTo>
                      <a:pt x="5" y="166"/>
                      <a:pt x="5" y="165"/>
                      <a:pt x="6" y="164"/>
                    </a:cubicBezTo>
                    <a:cubicBezTo>
                      <a:pt x="6" y="163"/>
                      <a:pt x="7" y="162"/>
                      <a:pt x="8" y="162"/>
                    </a:cubicBezTo>
                    <a:cubicBezTo>
                      <a:pt x="9" y="161"/>
                      <a:pt x="9" y="161"/>
                      <a:pt x="9" y="161"/>
                    </a:cubicBezTo>
                    <a:cubicBezTo>
                      <a:pt x="11" y="157"/>
                      <a:pt x="11" y="157"/>
                      <a:pt x="11" y="157"/>
                    </a:cubicBezTo>
                    <a:cubicBezTo>
                      <a:pt x="11" y="157"/>
                      <a:pt x="11" y="155"/>
                      <a:pt x="11" y="155"/>
                    </a:cubicBezTo>
                    <a:cubicBezTo>
                      <a:pt x="11" y="155"/>
                      <a:pt x="12" y="153"/>
                      <a:pt x="12" y="152"/>
                    </a:cubicBezTo>
                    <a:cubicBezTo>
                      <a:pt x="12" y="152"/>
                      <a:pt x="13" y="150"/>
                      <a:pt x="13" y="150"/>
                    </a:cubicBezTo>
                    <a:cubicBezTo>
                      <a:pt x="13" y="150"/>
                      <a:pt x="14" y="149"/>
                      <a:pt x="14" y="148"/>
                    </a:cubicBezTo>
                    <a:cubicBezTo>
                      <a:pt x="15" y="148"/>
                      <a:pt x="17" y="146"/>
                      <a:pt x="17" y="146"/>
                    </a:cubicBezTo>
                    <a:cubicBezTo>
                      <a:pt x="17" y="146"/>
                      <a:pt x="18" y="143"/>
                      <a:pt x="18" y="143"/>
                    </a:cubicBezTo>
                    <a:cubicBezTo>
                      <a:pt x="18" y="143"/>
                      <a:pt x="19" y="140"/>
                      <a:pt x="19" y="140"/>
                    </a:cubicBezTo>
                    <a:cubicBezTo>
                      <a:pt x="18" y="138"/>
                      <a:pt x="18" y="138"/>
                      <a:pt x="18" y="138"/>
                    </a:cubicBezTo>
                    <a:cubicBezTo>
                      <a:pt x="17" y="137"/>
                      <a:pt x="17" y="137"/>
                      <a:pt x="17" y="137"/>
                    </a:cubicBezTo>
                    <a:cubicBezTo>
                      <a:pt x="19" y="136"/>
                      <a:pt x="19" y="136"/>
                      <a:pt x="19" y="136"/>
                    </a:cubicBezTo>
                    <a:cubicBezTo>
                      <a:pt x="19" y="136"/>
                      <a:pt x="19" y="136"/>
                      <a:pt x="20" y="136"/>
                    </a:cubicBezTo>
                    <a:cubicBezTo>
                      <a:pt x="21" y="136"/>
                      <a:pt x="22" y="135"/>
                      <a:pt x="22" y="135"/>
                    </a:cubicBezTo>
                    <a:cubicBezTo>
                      <a:pt x="23" y="135"/>
                      <a:pt x="25" y="134"/>
                      <a:pt x="25" y="134"/>
                    </a:cubicBezTo>
                    <a:cubicBezTo>
                      <a:pt x="25" y="133"/>
                      <a:pt x="26" y="133"/>
                      <a:pt x="26" y="133"/>
                    </a:cubicBezTo>
                    <a:cubicBezTo>
                      <a:pt x="27" y="133"/>
                      <a:pt x="29" y="132"/>
                      <a:pt x="29" y="132"/>
                    </a:cubicBezTo>
                    <a:cubicBezTo>
                      <a:pt x="29" y="132"/>
                      <a:pt x="30" y="131"/>
                      <a:pt x="30" y="131"/>
                    </a:cubicBezTo>
                    <a:cubicBezTo>
                      <a:pt x="30" y="130"/>
                      <a:pt x="30" y="130"/>
                      <a:pt x="30" y="130"/>
                    </a:cubicBezTo>
                    <a:cubicBezTo>
                      <a:pt x="32" y="129"/>
                      <a:pt x="32" y="129"/>
                      <a:pt x="32" y="129"/>
                    </a:cubicBezTo>
                    <a:cubicBezTo>
                      <a:pt x="32" y="129"/>
                      <a:pt x="33" y="128"/>
                      <a:pt x="33" y="127"/>
                    </a:cubicBezTo>
                    <a:cubicBezTo>
                      <a:pt x="33" y="127"/>
                      <a:pt x="34" y="125"/>
                      <a:pt x="34" y="125"/>
                    </a:cubicBezTo>
                    <a:cubicBezTo>
                      <a:pt x="34" y="124"/>
                      <a:pt x="37" y="121"/>
                      <a:pt x="37" y="121"/>
                    </a:cubicBezTo>
                    <a:cubicBezTo>
                      <a:pt x="41" y="114"/>
                      <a:pt x="41" y="114"/>
                      <a:pt x="41" y="114"/>
                    </a:cubicBezTo>
                    <a:cubicBezTo>
                      <a:pt x="50" y="100"/>
                      <a:pt x="50" y="100"/>
                      <a:pt x="50" y="100"/>
                    </a:cubicBezTo>
                    <a:cubicBezTo>
                      <a:pt x="49" y="98"/>
                      <a:pt x="49" y="98"/>
                      <a:pt x="49" y="98"/>
                    </a:cubicBezTo>
                    <a:cubicBezTo>
                      <a:pt x="52" y="93"/>
                      <a:pt x="52" y="93"/>
                      <a:pt x="52" y="93"/>
                    </a:cubicBezTo>
                    <a:cubicBezTo>
                      <a:pt x="57" y="85"/>
                      <a:pt x="57" y="85"/>
                      <a:pt x="57" y="85"/>
                    </a:cubicBezTo>
                    <a:cubicBezTo>
                      <a:pt x="62" y="74"/>
                      <a:pt x="62" y="74"/>
                      <a:pt x="62" y="74"/>
                    </a:cubicBezTo>
                    <a:cubicBezTo>
                      <a:pt x="65" y="68"/>
                      <a:pt x="65" y="68"/>
                      <a:pt x="65" y="68"/>
                    </a:cubicBezTo>
                    <a:cubicBezTo>
                      <a:pt x="69" y="61"/>
                      <a:pt x="69" y="61"/>
                      <a:pt x="69" y="61"/>
                    </a:cubicBezTo>
                    <a:cubicBezTo>
                      <a:pt x="71" y="55"/>
                      <a:pt x="71" y="55"/>
                      <a:pt x="71" y="55"/>
                    </a:cubicBezTo>
                    <a:cubicBezTo>
                      <a:pt x="71" y="48"/>
                      <a:pt x="71" y="48"/>
                      <a:pt x="71" y="48"/>
                    </a:cubicBezTo>
                    <a:cubicBezTo>
                      <a:pt x="71" y="43"/>
                      <a:pt x="71" y="43"/>
                      <a:pt x="71" y="43"/>
                    </a:cubicBezTo>
                    <a:cubicBezTo>
                      <a:pt x="71" y="39"/>
                      <a:pt x="71" y="39"/>
                      <a:pt x="71" y="39"/>
                    </a:cubicBezTo>
                    <a:cubicBezTo>
                      <a:pt x="71" y="37"/>
                      <a:pt x="71" y="37"/>
                      <a:pt x="71" y="37"/>
                    </a:cubicBezTo>
                    <a:cubicBezTo>
                      <a:pt x="71" y="35"/>
                      <a:pt x="71" y="35"/>
                      <a:pt x="71" y="35"/>
                    </a:cubicBezTo>
                    <a:cubicBezTo>
                      <a:pt x="70" y="32"/>
                      <a:pt x="70" y="32"/>
                      <a:pt x="70" y="32"/>
                    </a:cubicBezTo>
                    <a:cubicBezTo>
                      <a:pt x="72" y="30"/>
                      <a:pt x="72" y="30"/>
                      <a:pt x="72" y="30"/>
                    </a:cubicBezTo>
                    <a:cubicBezTo>
                      <a:pt x="72" y="28"/>
                      <a:pt x="72" y="28"/>
                      <a:pt x="72" y="28"/>
                    </a:cubicBezTo>
                    <a:cubicBezTo>
                      <a:pt x="72" y="26"/>
                      <a:pt x="72" y="26"/>
                      <a:pt x="72" y="26"/>
                    </a:cubicBezTo>
                    <a:cubicBezTo>
                      <a:pt x="72" y="24"/>
                      <a:pt x="72" y="24"/>
                      <a:pt x="72" y="24"/>
                    </a:cubicBezTo>
                    <a:cubicBezTo>
                      <a:pt x="73" y="22"/>
                      <a:pt x="73" y="22"/>
                      <a:pt x="73" y="22"/>
                    </a:cubicBezTo>
                    <a:cubicBezTo>
                      <a:pt x="72" y="19"/>
                      <a:pt x="72" y="19"/>
                      <a:pt x="72" y="19"/>
                    </a:cubicBezTo>
                    <a:cubicBezTo>
                      <a:pt x="73" y="17"/>
                      <a:pt x="73" y="17"/>
                      <a:pt x="73" y="17"/>
                    </a:cubicBezTo>
                    <a:cubicBezTo>
                      <a:pt x="72" y="16"/>
                      <a:pt x="72" y="16"/>
                      <a:pt x="72" y="16"/>
                    </a:cubicBezTo>
                    <a:cubicBezTo>
                      <a:pt x="73" y="13"/>
                      <a:pt x="73" y="13"/>
                      <a:pt x="73" y="13"/>
                    </a:cubicBezTo>
                    <a:cubicBezTo>
                      <a:pt x="73" y="11"/>
                      <a:pt x="73" y="11"/>
                      <a:pt x="73" y="11"/>
                    </a:cubicBezTo>
                    <a:lnTo>
                      <a:pt x="74" y="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68" name="Freeform 78">
                <a:extLst>
                  <a:ext uri="{FF2B5EF4-FFF2-40B4-BE49-F238E27FC236}">
                    <a16:creationId xmlns:a16="http://schemas.microsoft.com/office/drawing/2014/main" id="{DCBB6E52-5257-E81A-D6B5-FA7EA9E6C46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55077" y="2241986"/>
                <a:ext cx="699058" cy="897310"/>
              </a:xfrm>
              <a:custGeom>
                <a:avLst/>
                <a:gdLst>
                  <a:gd name="T0" fmla="*/ 264 w 312"/>
                  <a:gd name="T1" fmla="*/ 340 h 413"/>
                  <a:gd name="T2" fmla="*/ 240 w 312"/>
                  <a:gd name="T3" fmla="*/ 363 h 413"/>
                  <a:gd name="T4" fmla="*/ 252 w 312"/>
                  <a:gd name="T5" fmla="*/ 385 h 413"/>
                  <a:gd name="T6" fmla="*/ 237 w 312"/>
                  <a:gd name="T7" fmla="*/ 387 h 413"/>
                  <a:gd name="T8" fmla="*/ 211 w 312"/>
                  <a:gd name="T9" fmla="*/ 393 h 413"/>
                  <a:gd name="T10" fmla="*/ 177 w 312"/>
                  <a:gd name="T11" fmla="*/ 404 h 413"/>
                  <a:gd name="T12" fmla="*/ 157 w 312"/>
                  <a:gd name="T13" fmla="*/ 404 h 413"/>
                  <a:gd name="T14" fmla="*/ 142 w 312"/>
                  <a:gd name="T15" fmla="*/ 400 h 413"/>
                  <a:gd name="T16" fmla="*/ 121 w 312"/>
                  <a:gd name="T17" fmla="*/ 394 h 413"/>
                  <a:gd name="T18" fmla="*/ 101 w 312"/>
                  <a:gd name="T19" fmla="*/ 391 h 413"/>
                  <a:gd name="T20" fmla="*/ 94 w 312"/>
                  <a:gd name="T21" fmla="*/ 388 h 413"/>
                  <a:gd name="T22" fmla="*/ 89 w 312"/>
                  <a:gd name="T23" fmla="*/ 383 h 413"/>
                  <a:gd name="T24" fmla="*/ 90 w 312"/>
                  <a:gd name="T25" fmla="*/ 393 h 413"/>
                  <a:gd name="T26" fmla="*/ 73 w 312"/>
                  <a:gd name="T27" fmla="*/ 396 h 413"/>
                  <a:gd name="T28" fmla="*/ 57 w 312"/>
                  <a:gd name="T29" fmla="*/ 396 h 413"/>
                  <a:gd name="T30" fmla="*/ 53 w 312"/>
                  <a:gd name="T31" fmla="*/ 368 h 413"/>
                  <a:gd name="T32" fmla="*/ 50 w 312"/>
                  <a:gd name="T33" fmla="*/ 308 h 413"/>
                  <a:gd name="T34" fmla="*/ 13 w 312"/>
                  <a:gd name="T35" fmla="*/ 292 h 413"/>
                  <a:gd name="T36" fmla="*/ 6 w 312"/>
                  <a:gd name="T37" fmla="*/ 262 h 413"/>
                  <a:gd name="T38" fmla="*/ 12 w 312"/>
                  <a:gd name="T39" fmla="*/ 245 h 413"/>
                  <a:gd name="T40" fmla="*/ 11 w 312"/>
                  <a:gd name="T41" fmla="*/ 228 h 413"/>
                  <a:gd name="T42" fmla="*/ 5 w 312"/>
                  <a:gd name="T43" fmla="*/ 217 h 413"/>
                  <a:gd name="T44" fmla="*/ 1 w 312"/>
                  <a:gd name="T45" fmla="*/ 207 h 413"/>
                  <a:gd name="T46" fmla="*/ 7 w 312"/>
                  <a:gd name="T47" fmla="*/ 198 h 413"/>
                  <a:gd name="T48" fmla="*/ 9 w 312"/>
                  <a:gd name="T49" fmla="*/ 175 h 413"/>
                  <a:gd name="T50" fmla="*/ 12 w 312"/>
                  <a:gd name="T51" fmla="*/ 161 h 413"/>
                  <a:gd name="T52" fmla="*/ 32 w 312"/>
                  <a:gd name="T53" fmla="*/ 160 h 413"/>
                  <a:gd name="T54" fmla="*/ 41 w 312"/>
                  <a:gd name="T55" fmla="*/ 146 h 413"/>
                  <a:gd name="T56" fmla="*/ 33 w 312"/>
                  <a:gd name="T57" fmla="*/ 128 h 413"/>
                  <a:gd name="T58" fmla="*/ 47 w 312"/>
                  <a:gd name="T59" fmla="*/ 94 h 413"/>
                  <a:gd name="T60" fmla="*/ 49 w 312"/>
                  <a:gd name="T61" fmla="*/ 65 h 413"/>
                  <a:gd name="T62" fmla="*/ 78 w 312"/>
                  <a:gd name="T63" fmla="*/ 80 h 413"/>
                  <a:gd name="T64" fmla="*/ 93 w 312"/>
                  <a:gd name="T65" fmla="*/ 74 h 413"/>
                  <a:gd name="T66" fmla="*/ 114 w 312"/>
                  <a:gd name="T67" fmla="*/ 57 h 413"/>
                  <a:gd name="T68" fmla="*/ 102 w 312"/>
                  <a:gd name="T69" fmla="*/ 41 h 413"/>
                  <a:gd name="T70" fmla="*/ 104 w 312"/>
                  <a:gd name="T71" fmla="*/ 25 h 413"/>
                  <a:gd name="T72" fmla="*/ 95 w 312"/>
                  <a:gd name="T73" fmla="*/ 12 h 413"/>
                  <a:gd name="T74" fmla="*/ 119 w 312"/>
                  <a:gd name="T75" fmla="*/ 5 h 413"/>
                  <a:gd name="T76" fmla="*/ 136 w 312"/>
                  <a:gd name="T77" fmla="*/ 25 h 413"/>
                  <a:gd name="T78" fmla="*/ 163 w 312"/>
                  <a:gd name="T79" fmla="*/ 35 h 413"/>
                  <a:gd name="T80" fmla="*/ 176 w 312"/>
                  <a:gd name="T81" fmla="*/ 25 h 413"/>
                  <a:gd name="T82" fmla="*/ 162 w 312"/>
                  <a:gd name="T83" fmla="*/ 46 h 413"/>
                  <a:gd name="T84" fmla="*/ 182 w 312"/>
                  <a:gd name="T85" fmla="*/ 53 h 413"/>
                  <a:gd name="T86" fmla="*/ 212 w 312"/>
                  <a:gd name="T87" fmla="*/ 30 h 413"/>
                  <a:gd name="T88" fmla="*/ 221 w 312"/>
                  <a:gd name="T89" fmla="*/ 28 h 413"/>
                  <a:gd name="T90" fmla="*/ 236 w 312"/>
                  <a:gd name="T91" fmla="*/ 18 h 413"/>
                  <a:gd name="T92" fmla="*/ 242 w 312"/>
                  <a:gd name="T93" fmla="*/ 21 h 413"/>
                  <a:gd name="T94" fmla="*/ 253 w 312"/>
                  <a:gd name="T95" fmla="*/ 29 h 413"/>
                  <a:gd name="T96" fmla="*/ 262 w 312"/>
                  <a:gd name="T97" fmla="*/ 42 h 413"/>
                  <a:gd name="T98" fmla="*/ 273 w 312"/>
                  <a:gd name="T99" fmla="*/ 58 h 413"/>
                  <a:gd name="T100" fmla="*/ 279 w 312"/>
                  <a:gd name="T101" fmla="*/ 113 h 413"/>
                  <a:gd name="T102" fmla="*/ 294 w 312"/>
                  <a:gd name="T103" fmla="*/ 162 h 413"/>
                  <a:gd name="T104" fmla="*/ 309 w 312"/>
                  <a:gd name="T105" fmla="*/ 197 h 413"/>
                  <a:gd name="T106" fmla="*/ 297 w 312"/>
                  <a:gd name="T107" fmla="*/ 205 h 413"/>
                  <a:gd name="T108" fmla="*/ 262 w 312"/>
                  <a:gd name="T109" fmla="*/ 224 h 413"/>
                  <a:gd name="T110" fmla="*/ 219 w 312"/>
                  <a:gd name="T111" fmla="*/ 253 h 413"/>
                  <a:gd name="T112" fmla="*/ 226 w 312"/>
                  <a:gd name="T113" fmla="*/ 277 h 413"/>
                  <a:gd name="T114" fmla="*/ 257 w 312"/>
                  <a:gd name="T115" fmla="*/ 309 h 413"/>
                  <a:gd name="T116" fmla="*/ 55 w 312"/>
                  <a:gd name="T117" fmla="*/ 394 h 413"/>
                  <a:gd name="T118" fmla="*/ 312 w 312"/>
                  <a:gd name="T119" fmla="*/ 204 h 4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12" h="413">
                    <a:moveTo>
                      <a:pt x="275" y="325"/>
                    </a:moveTo>
                    <a:cubicBezTo>
                      <a:pt x="275" y="325"/>
                      <a:pt x="275" y="325"/>
                      <a:pt x="275" y="325"/>
                    </a:cubicBezTo>
                    <a:cubicBezTo>
                      <a:pt x="275" y="328"/>
                      <a:pt x="275" y="328"/>
                      <a:pt x="275" y="328"/>
                    </a:cubicBezTo>
                    <a:cubicBezTo>
                      <a:pt x="276" y="333"/>
                      <a:pt x="276" y="333"/>
                      <a:pt x="276" y="333"/>
                    </a:cubicBezTo>
                    <a:cubicBezTo>
                      <a:pt x="276" y="336"/>
                      <a:pt x="276" y="336"/>
                      <a:pt x="276" y="336"/>
                    </a:cubicBezTo>
                    <a:cubicBezTo>
                      <a:pt x="276" y="336"/>
                      <a:pt x="275" y="338"/>
                      <a:pt x="274" y="338"/>
                    </a:cubicBezTo>
                    <a:cubicBezTo>
                      <a:pt x="274" y="338"/>
                      <a:pt x="273" y="339"/>
                      <a:pt x="272" y="339"/>
                    </a:cubicBezTo>
                    <a:cubicBezTo>
                      <a:pt x="271" y="338"/>
                      <a:pt x="270" y="337"/>
                      <a:pt x="270" y="337"/>
                    </a:cubicBezTo>
                    <a:cubicBezTo>
                      <a:pt x="264" y="337"/>
                      <a:pt x="264" y="337"/>
                      <a:pt x="264" y="337"/>
                    </a:cubicBezTo>
                    <a:cubicBezTo>
                      <a:pt x="264" y="337"/>
                      <a:pt x="264" y="339"/>
                      <a:pt x="264" y="340"/>
                    </a:cubicBezTo>
                    <a:cubicBezTo>
                      <a:pt x="263" y="342"/>
                      <a:pt x="263" y="342"/>
                      <a:pt x="263" y="342"/>
                    </a:cubicBezTo>
                    <a:cubicBezTo>
                      <a:pt x="263" y="347"/>
                      <a:pt x="263" y="347"/>
                      <a:pt x="263" y="347"/>
                    </a:cubicBezTo>
                    <a:cubicBezTo>
                      <a:pt x="258" y="352"/>
                      <a:pt x="258" y="352"/>
                      <a:pt x="258" y="352"/>
                    </a:cubicBezTo>
                    <a:cubicBezTo>
                      <a:pt x="257" y="352"/>
                      <a:pt x="257" y="352"/>
                      <a:pt x="257" y="352"/>
                    </a:cubicBezTo>
                    <a:cubicBezTo>
                      <a:pt x="257" y="352"/>
                      <a:pt x="256" y="353"/>
                      <a:pt x="256" y="353"/>
                    </a:cubicBezTo>
                    <a:cubicBezTo>
                      <a:pt x="256" y="353"/>
                      <a:pt x="251" y="355"/>
                      <a:pt x="251" y="355"/>
                    </a:cubicBezTo>
                    <a:cubicBezTo>
                      <a:pt x="249" y="357"/>
                      <a:pt x="249" y="357"/>
                      <a:pt x="249" y="357"/>
                    </a:cubicBezTo>
                    <a:cubicBezTo>
                      <a:pt x="248" y="357"/>
                      <a:pt x="248" y="357"/>
                      <a:pt x="248" y="357"/>
                    </a:cubicBezTo>
                    <a:cubicBezTo>
                      <a:pt x="248" y="357"/>
                      <a:pt x="245" y="359"/>
                      <a:pt x="243" y="361"/>
                    </a:cubicBezTo>
                    <a:cubicBezTo>
                      <a:pt x="240" y="363"/>
                      <a:pt x="240" y="363"/>
                      <a:pt x="240" y="363"/>
                    </a:cubicBezTo>
                    <a:cubicBezTo>
                      <a:pt x="240" y="363"/>
                      <a:pt x="240" y="363"/>
                      <a:pt x="240" y="363"/>
                    </a:cubicBezTo>
                    <a:cubicBezTo>
                      <a:pt x="240" y="363"/>
                      <a:pt x="240" y="363"/>
                      <a:pt x="240" y="363"/>
                    </a:cubicBezTo>
                    <a:cubicBezTo>
                      <a:pt x="242" y="368"/>
                      <a:pt x="242" y="368"/>
                      <a:pt x="242" y="368"/>
                    </a:cubicBezTo>
                    <a:cubicBezTo>
                      <a:pt x="245" y="371"/>
                      <a:pt x="245" y="371"/>
                      <a:pt x="245" y="371"/>
                    </a:cubicBezTo>
                    <a:cubicBezTo>
                      <a:pt x="248" y="376"/>
                      <a:pt x="248" y="376"/>
                      <a:pt x="248" y="376"/>
                    </a:cubicBezTo>
                    <a:cubicBezTo>
                      <a:pt x="248" y="379"/>
                      <a:pt x="248" y="379"/>
                      <a:pt x="248" y="379"/>
                    </a:cubicBezTo>
                    <a:cubicBezTo>
                      <a:pt x="248" y="379"/>
                      <a:pt x="246" y="381"/>
                      <a:pt x="246" y="381"/>
                    </a:cubicBezTo>
                    <a:cubicBezTo>
                      <a:pt x="246" y="382"/>
                      <a:pt x="245" y="384"/>
                      <a:pt x="246" y="384"/>
                    </a:cubicBezTo>
                    <a:cubicBezTo>
                      <a:pt x="247" y="384"/>
                      <a:pt x="251" y="385"/>
                      <a:pt x="251" y="385"/>
                    </a:cubicBezTo>
                    <a:cubicBezTo>
                      <a:pt x="251" y="385"/>
                      <a:pt x="252" y="385"/>
                      <a:pt x="252" y="385"/>
                    </a:cubicBezTo>
                    <a:cubicBezTo>
                      <a:pt x="253" y="385"/>
                      <a:pt x="253" y="386"/>
                      <a:pt x="253" y="386"/>
                    </a:cubicBezTo>
                    <a:cubicBezTo>
                      <a:pt x="253" y="390"/>
                      <a:pt x="253" y="390"/>
                      <a:pt x="253" y="390"/>
                    </a:cubicBezTo>
                    <a:cubicBezTo>
                      <a:pt x="253" y="390"/>
                      <a:pt x="253" y="391"/>
                      <a:pt x="253" y="395"/>
                    </a:cubicBezTo>
                    <a:cubicBezTo>
                      <a:pt x="253" y="399"/>
                      <a:pt x="252" y="398"/>
                      <a:pt x="252" y="398"/>
                    </a:cubicBezTo>
                    <a:cubicBezTo>
                      <a:pt x="252" y="398"/>
                      <a:pt x="247" y="396"/>
                      <a:pt x="247" y="396"/>
                    </a:cubicBezTo>
                    <a:cubicBezTo>
                      <a:pt x="247" y="396"/>
                      <a:pt x="245" y="394"/>
                      <a:pt x="245" y="394"/>
                    </a:cubicBezTo>
                    <a:cubicBezTo>
                      <a:pt x="244" y="393"/>
                      <a:pt x="244" y="392"/>
                      <a:pt x="244" y="391"/>
                    </a:cubicBezTo>
                    <a:cubicBezTo>
                      <a:pt x="244" y="390"/>
                      <a:pt x="245" y="388"/>
                      <a:pt x="245" y="388"/>
                    </a:cubicBezTo>
                    <a:cubicBezTo>
                      <a:pt x="245" y="388"/>
                      <a:pt x="241" y="387"/>
                      <a:pt x="241" y="387"/>
                    </a:cubicBezTo>
                    <a:cubicBezTo>
                      <a:pt x="241" y="387"/>
                      <a:pt x="238" y="387"/>
                      <a:pt x="237" y="387"/>
                    </a:cubicBezTo>
                    <a:cubicBezTo>
                      <a:pt x="236" y="387"/>
                      <a:pt x="235" y="389"/>
                      <a:pt x="235" y="389"/>
                    </a:cubicBezTo>
                    <a:cubicBezTo>
                      <a:pt x="234" y="390"/>
                      <a:pt x="233" y="389"/>
                      <a:pt x="232" y="389"/>
                    </a:cubicBezTo>
                    <a:cubicBezTo>
                      <a:pt x="232" y="389"/>
                      <a:pt x="231" y="387"/>
                      <a:pt x="231" y="387"/>
                    </a:cubicBezTo>
                    <a:cubicBezTo>
                      <a:pt x="230" y="387"/>
                      <a:pt x="226" y="386"/>
                      <a:pt x="225" y="386"/>
                    </a:cubicBezTo>
                    <a:cubicBezTo>
                      <a:pt x="225" y="386"/>
                      <a:pt x="223" y="386"/>
                      <a:pt x="221" y="386"/>
                    </a:cubicBezTo>
                    <a:cubicBezTo>
                      <a:pt x="220" y="387"/>
                      <a:pt x="221" y="387"/>
                      <a:pt x="222" y="390"/>
                    </a:cubicBezTo>
                    <a:cubicBezTo>
                      <a:pt x="222" y="393"/>
                      <a:pt x="221" y="391"/>
                      <a:pt x="220" y="391"/>
                    </a:cubicBezTo>
                    <a:cubicBezTo>
                      <a:pt x="219" y="391"/>
                      <a:pt x="219" y="391"/>
                      <a:pt x="217" y="391"/>
                    </a:cubicBezTo>
                    <a:cubicBezTo>
                      <a:pt x="215" y="391"/>
                      <a:pt x="214" y="391"/>
                      <a:pt x="212" y="391"/>
                    </a:cubicBezTo>
                    <a:cubicBezTo>
                      <a:pt x="211" y="392"/>
                      <a:pt x="211" y="392"/>
                      <a:pt x="211" y="393"/>
                    </a:cubicBezTo>
                    <a:cubicBezTo>
                      <a:pt x="210" y="394"/>
                      <a:pt x="208" y="394"/>
                      <a:pt x="207" y="394"/>
                    </a:cubicBezTo>
                    <a:cubicBezTo>
                      <a:pt x="206" y="394"/>
                      <a:pt x="202" y="394"/>
                      <a:pt x="202" y="394"/>
                    </a:cubicBezTo>
                    <a:cubicBezTo>
                      <a:pt x="201" y="394"/>
                      <a:pt x="200" y="396"/>
                      <a:pt x="199" y="397"/>
                    </a:cubicBezTo>
                    <a:cubicBezTo>
                      <a:pt x="199" y="397"/>
                      <a:pt x="195" y="397"/>
                      <a:pt x="195" y="397"/>
                    </a:cubicBezTo>
                    <a:cubicBezTo>
                      <a:pt x="194" y="398"/>
                      <a:pt x="194" y="398"/>
                      <a:pt x="193" y="399"/>
                    </a:cubicBezTo>
                    <a:cubicBezTo>
                      <a:pt x="191" y="400"/>
                      <a:pt x="191" y="400"/>
                      <a:pt x="190" y="402"/>
                    </a:cubicBezTo>
                    <a:cubicBezTo>
                      <a:pt x="188" y="404"/>
                      <a:pt x="189" y="403"/>
                      <a:pt x="185" y="402"/>
                    </a:cubicBezTo>
                    <a:cubicBezTo>
                      <a:pt x="182" y="402"/>
                      <a:pt x="184" y="403"/>
                      <a:pt x="183" y="403"/>
                    </a:cubicBezTo>
                    <a:cubicBezTo>
                      <a:pt x="182" y="403"/>
                      <a:pt x="181" y="404"/>
                      <a:pt x="180" y="405"/>
                    </a:cubicBezTo>
                    <a:cubicBezTo>
                      <a:pt x="180" y="406"/>
                      <a:pt x="178" y="404"/>
                      <a:pt x="177" y="404"/>
                    </a:cubicBezTo>
                    <a:cubicBezTo>
                      <a:pt x="176" y="405"/>
                      <a:pt x="176" y="403"/>
                      <a:pt x="176" y="400"/>
                    </a:cubicBezTo>
                    <a:cubicBezTo>
                      <a:pt x="175" y="398"/>
                      <a:pt x="173" y="398"/>
                      <a:pt x="173" y="398"/>
                    </a:cubicBezTo>
                    <a:cubicBezTo>
                      <a:pt x="173" y="398"/>
                      <a:pt x="171" y="398"/>
                      <a:pt x="171" y="397"/>
                    </a:cubicBezTo>
                    <a:cubicBezTo>
                      <a:pt x="171" y="396"/>
                      <a:pt x="167" y="396"/>
                      <a:pt x="166" y="396"/>
                    </a:cubicBezTo>
                    <a:cubicBezTo>
                      <a:pt x="166" y="396"/>
                      <a:pt x="163" y="396"/>
                      <a:pt x="163" y="396"/>
                    </a:cubicBezTo>
                    <a:cubicBezTo>
                      <a:pt x="163" y="396"/>
                      <a:pt x="160" y="396"/>
                      <a:pt x="160" y="397"/>
                    </a:cubicBezTo>
                    <a:cubicBezTo>
                      <a:pt x="160" y="397"/>
                      <a:pt x="159" y="397"/>
                      <a:pt x="157" y="398"/>
                    </a:cubicBezTo>
                    <a:cubicBezTo>
                      <a:pt x="154" y="399"/>
                      <a:pt x="156" y="398"/>
                      <a:pt x="156" y="400"/>
                    </a:cubicBezTo>
                    <a:cubicBezTo>
                      <a:pt x="157" y="401"/>
                      <a:pt x="157" y="402"/>
                      <a:pt x="157" y="402"/>
                    </a:cubicBezTo>
                    <a:cubicBezTo>
                      <a:pt x="158" y="403"/>
                      <a:pt x="157" y="402"/>
                      <a:pt x="157" y="404"/>
                    </a:cubicBezTo>
                    <a:cubicBezTo>
                      <a:pt x="156" y="406"/>
                      <a:pt x="156" y="405"/>
                      <a:pt x="156" y="407"/>
                    </a:cubicBezTo>
                    <a:cubicBezTo>
                      <a:pt x="155" y="408"/>
                      <a:pt x="155" y="407"/>
                      <a:pt x="154" y="410"/>
                    </a:cubicBezTo>
                    <a:cubicBezTo>
                      <a:pt x="153" y="412"/>
                      <a:pt x="154" y="410"/>
                      <a:pt x="153" y="412"/>
                    </a:cubicBezTo>
                    <a:cubicBezTo>
                      <a:pt x="152" y="413"/>
                      <a:pt x="150" y="412"/>
                      <a:pt x="148" y="411"/>
                    </a:cubicBezTo>
                    <a:cubicBezTo>
                      <a:pt x="147" y="411"/>
                      <a:pt x="148" y="410"/>
                      <a:pt x="148" y="408"/>
                    </a:cubicBezTo>
                    <a:cubicBezTo>
                      <a:pt x="149" y="406"/>
                      <a:pt x="148" y="407"/>
                      <a:pt x="148" y="406"/>
                    </a:cubicBezTo>
                    <a:cubicBezTo>
                      <a:pt x="148" y="405"/>
                      <a:pt x="147" y="406"/>
                      <a:pt x="145" y="407"/>
                    </a:cubicBezTo>
                    <a:cubicBezTo>
                      <a:pt x="144" y="407"/>
                      <a:pt x="144" y="405"/>
                      <a:pt x="145" y="403"/>
                    </a:cubicBezTo>
                    <a:cubicBezTo>
                      <a:pt x="145" y="401"/>
                      <a:pt x="144" y="402"/>
                      <a:pt x="144" y="401"/>
                    </a:cubicBezTo>
                    <a:cubicBezTo>
                      <a:pt x="144" y="401"/>
                      <a:pt x="143" y="400"/>
                      <a:pt x="142" y="400"/>
                    </a:cubicBezTo>
                    <a:cubicBezTo>
                      <a:pt x="141" y="400"/>
                      <a:pt x="140" y="399"/>
                      <a:pt x="140" y="399"/>
                    </a:cubicBezTo>
                    <a:cubicBezTo>
                      <a:pt x="139" y="398"/>
                      <a:pt x="137" y="396"/>
                      <a:pt x="136" y="395"/>
                    </a:cubicBezTo>
                    <a:cubicBezTo>
                      <a:pt x="134" y="394"/>
                      <a:pt x="132" y="395"/>
                      <a:pt x="132" y="395"/>
                    </a:cubicBezTo>
                    <a:cubicBezTo>
                      <a:pt x="132" y="395"/>
                      <a:pt x="130" y="397"/>
                      <a:pt x="128" y="399"/>
                    </a:cubicBezTo>
                    <a:cubicBezTo>
                      <a:pt x="128" y="399"/>
                      <a:pt x="128" y="400"/>
                      <a:pt x="128" y="400"/>
                    </a:cubicBezTo>
                    <a:cubicBezTo>
                      <a:pt x="127" y="400"/>
                      <a:pt x="127" y="400"/>
                      <a:pt x="127" y="399"/>
                    </a:cubicBezTo>
                    <a:cubicBezTo>
                      <a:pt x="127" y="399"/>
                      <a:pt x="126" y="398"/>
                      <a:pt x="126" y="398"/>
                    </a:cubicBezTo>
                    <a:cubicBezTo>
                      <a:pt x="126" y="398"/>
                      <a:pt x="126" y="396"/>
                      <a:pt x="125" y="396"/>
                    </a:cubicBezTo>
                    <a:cubicBezTo>
                      <a:pt x="125" y="396"/>
                      <a:pt x="124" y="396"/>
                      <a:pt x="123" y="395"/>
                    </a:cubicBezTo>
                    <a:cubicBezTo>
                      <a:pt x="122" y="395"/>
                      <a:pt x="121" y="394"/>
                      <a:pt x="121" y="394"/>
                    </a:cubicBezTo>
                    <a:cubicBezTo>
                      <a:pt x="120" y="394"/>
                      <a:pt x="118" y="392"/>
                      <a:pt x="118" y="392"/>
                    </a:cubicBezTo>
                    <a:cubicBezTo>
                      <a:pt x="118" y="392"/>
                      <a:pt x="118" y="392"/>
                      <a:pt x="117" y="392"/>
                    </a:cubicBezTo>
                    <a:cubicBezTo>
                      <a:pt x="117" y="392"/>
                      <a:pt x="116" y="391"/>
                      <a:pt x="116" y="391"/>
                    </a:cubicBezTo>
                    <a:cubicBezTo>
                      <a:pt x="115" y="391"/>
                      <a:pt x="115" y="391"/>
                      <a:pt x="115" y="391"/>
                    </a:cubicBezTo>
                    <a:cubicBezTo>
                      <a:pt x="115" y="391"/>
                      <a:pt x="115" y="391"/>
                      <a:pt x="115" y="391"/>
                    </a:cubicBezTo>
                    <a:cubicBezTo>
                      <a:pt x="114" y="391"/>
                      <a:pt x="114" y="391"/>
                      <a:pt x="113" y="390"/>
                    </a:cubicBezTo>
                    <a:cubicBezTo>
                      <a:pt x="111" y="390"/>
                      <a:pt x="112" y="390"/>
                      <a:pt x="110" y="390"/>
                    </a:cubicBezTo>
                    <a:cubicBezTo>
                      <a:pt x="109" y="390"/>
                      <a:pt x="108" y="390"/>
                      <a:pt x="108" y="390"/>
                    </a:cubicBezTo>
                    <a:cubicBezTo>
                      <a:pt x="108" y="390"/>
                      <a:pt x="107" y="389"/>
                      <a:pt x="105" y="389"/>
                    </a:cubicBezTo>
                    <a:cubicBezTo>
                      <a:pt x="104" y="390"/>
                      <a:pt x="102" y="391"/>
                      <a:pt x="101" y="391"/>
                    </a:cubicBezTo>
                    <a:cubicBezTo>
                      <a:pt x="101" y="391"/>
                      <a:pt x="100" y="390"/>
                      <a:pt x="100" y="390"/>
                    </a:cubicBezTo>
                    <a:cubicBezTo>
                      <a:pt x="100" y="390"/>
                      <a:pt x="100" y="389"/>
                      <a:pt x="100" y="389"/>
                    </a:cubicBezTo>
                    <a:cubicBezTo>
                      <a:pt x="100" y="389"/>
                      <a:pt x="99" y="388"/>
                      <a:pt x="98" y="387"/>
                    </a:cubicBezTo>
                    <a:cubicBezTo>
                      <a:pt x="98" y="387"/>
                      <a:pt x="97" y="387"/>
                      <a:pt x="97" y="387"/>
                    </a:cubicBezTo>
                    <a:cubicBezTo>
                      <a:pt x="97" y="387"/>
                      <a:pt x="97" y="387"/>
                      <a:pt x="97" y="388"/>
                    </a:cubicBezTo>
                    <a:cubicBezTo>
                      <a:pt x="97" y="389"/>
                      <a:pt x="99" y="389"/>
                      <a:pt x="97" y="389"/>
                    </a:cubicBezTo>
                    <a:cubicBezTo>
                      <a:pt x="96" y="388"/>
                      <a:pt x="95" y="388"/>
                      <a:pt x="95" y="388"/>
                    </a:cubicBezTo>
                    <a:cubicBezTo>
                      <a:pt x="92" y="389"/>
                      <a:pt x="92" y="389"/>
                      <a:pt x="92" y="389"/>
                    </a:cubicBezTo>
                    <a:cubicBezTo>
                      <a:pt x="93" y="388"/>
                      <a:pt x="93" y="388"/>
                      <a:pt x="93" y="388"/>
                    </a:cubicBezTo>
                    <a:cubicBezTo>
                      <a:pt x="93" y="388"/>
                      <a:pt x="94" y="388"/>
                      <a:pt x="94" y="388"/>
                    </a:cubicBezTo>
                    <a:cubicBezTo>
                      <a:pt x="94" y="387"/>
                      <a:pt x="94" y="387"/>
                      <a:pt x="94" y="387"/>
                    </a:cubicBezTo>
                    <a:cubicBezTo>
                      <a:pt x="94" y="387"/>
                      <a:pt x="94" y="386"/>
                      <a:pt x="94" y="386"/>
                    </a:cubicBezTo>
                    <a:cubicBezTo>
                      <a:pt x="95" y="386"/>
                      <a:pt x="96" y="385"/>
                      <a:pt x="95" y="385"/>
                    </a:cubicBezTo>
                    <a:cubicBezTo>
                      <a:pt x="94" y="385"/>
                      <a:pt x="93" y="385"/>
                      <a:pt x="93" y="385"/>
                    </a:cubicBezTo>
                    <a:cubicBezTo>
                      <a:pt x="93" y="384"/>
                      <a:pt x="93" y="384"/>
                      <a:pt x="93" y="384"/>
                    </a:cubicBezTo>
                    <a:cubicBezTo>
                      <a:pt x="93" y="384"/>
                      <a:pt x="92" y="383"/>
                      <a:pt x="92" y="383"/>
                    </a:cubicBezTo>
                    <a:cubicBezTo>
                      <a:pt x="92" y="384"/>
                      <a:pt x="92" y="385"/>
                      <a:pt x="92" y="385"/>
                    </a:cubicBezTo>
                    <a:cubicBezTo>
                      <a:pt x="91" y="385"/>
                      <a:pt x="91" y="385"/>
                      <a:pt x="91" y="384"/>
                    </a:cubicBezTo>
                    <a:cubicBezTo>
                      <a:pt x="91" y="383"/>
                      <a:pt x="91" y="383"/>
                      <a:pt x="91" y="383"/>
                    </a:cubicBezTo>
                    <a:cubicBezTo>
                      <a:pt x="90" y="383"/>
                      <a:pt x="89" y="383"/>
                      <a:pt x="89" y="383"/>
                    </a:cubicBezTo>
                    <a:cubicBezTo>
                      <a:pt x="89" y="383"/>
                      <a:pt x="90" y="384"/>
                      <a:pt x="88" y="384"/>
                    </a:cubicBezTo>
                    <a:cubicBezTo>
                      <a:pt x="87" y="384"/>
                      <a:pt x="86" y="385"/>
                      <a:pt x="85" y="385"/>
                    </a:cubicBezTo>
                    <a:cubicBezTo>
                      <a:pt x="84" y="386"/>
                      <a:pt x="84" y="387"/>
                      <a:pt x="84" y="387"/>
                    </a:cubicBezTo>
                    <a:cubicBezTo>
                      <a:pt x="84" y="388"/>
                      <a:pt x="82" y="388"/>
                      <a:pt x="82" y="389"/>
                    </a:cubicBezTo>
                    <a:cubicBezTo>
                      <a:pt x="83" y="389"/>
                      <a:pt x="82" y="389"/>
                      <a:pt x="84" y="390"/>
                    </a:cubicBezTo>
                    <a:cubicBezTo>
                      <a:pt x="85" y="390"/>
                      <a:pt x="85" y="390"/>
                      <a:pt x="86" y="390"/>
                    </a:cubicBezTo>
                    <a:cubicBezTo>
                      <a:pt x="87" y="391"/>
                      <a:pt x="88" y="390"/>
                      <a:pt x="88" y="390"/>
                    </a:cubicBezTo>
                    <a:cubicBezTo>
                      <a:pt x="88" y="390"/>
                      <a:pt x="88" y="390"/>
                      <a:pt x="89" y="391"/>
                    </a:cubicBezTo>
                    <a:cubicBezTo>
                      <a:pt x="89" y="391"/>
                      <a:pt x="90" y="390"/>
                      <a:pt x="90" y="391"/>
                    </a:cubicBezTo>
                    <a:cubicBezTo>
                      <a:pt x="90" y="392"/>
                      <a:pt x="91" y="393"/>
                      <a:pt x="90" y="393"/>
                    </a:cubicBezTo>
                    <a:cubicBezTo>
                      <a:pt x="89" y="393"/>
                      <a:pt x="88" y="394"/>
                      <a:pt x="88" y="393"/>
                    </a:cubicBezTo>
                    <a:cubicBezTo>
                      <a:pt x="88" y="393"/>
                      <a:pt x="88" y="392"/>
                      <a:pt x="87" y="392"/>
                    </a:cubicBezTo>
                    <a:cubicBezTo>
                      <a:pt x="87" y="392"/>
                      <a:pt x="86" y="392"/>
                      <a:pt x="86" y="392"/>
                    </a:cubicBezTo>
                    <a:cubicBezTo>
                      <a:pt x="85" y="394"/>
                      <a:pt x="85" y="394"/>
                      <a:pt x="85" y="394"/>
                    </a:cubicBezTo>
                    <a:cubicBezTo>
                      <a:pt x="85" y="394"/>
                      <a:pt x="85" y="395"/>
                      <a:pt x="84" y="395"/>
                    </a:cubicBezTo>
                    <a:cubicBezTo>
                      <a:pt x="83" y="395"/>
                      <a:pt x="84" y="395"/>
                      <a:pt x="82" y="395"/>
                    </a:cubicBezTo>
                    <a:cubicBezTo>
                      <a:pt x="80" y="395"/>
                      <a:pt x="80" y="394"/>
                      <a:pt x="79" y="394"/>
                    </a:cubicBezTo>
                    <a:cubicBezTo>
                      <a:pt x="79" y="394"/>
                      <a:pt x="79" y="394"/>
                      <a:pt x="78" y="394"/>
                    </a:cubicBezTo>
                    <a:cubicBezTo>
                      <a:pt x="78" y="394"/>
                      <a:pt x="76" y="392"/>
                      <a:pt x="75" y="394"/>
                    </a:cubicBezTo>
                    <a:cubicBezTo>
                      <a:pt x="74" y="395"/>
                      <a:pt x="73" y="396"/>
                      <a:pt x="73" y="396"/>
                    </a:cubicBezTo>
                    <a:cubicBezTo>
                      <a:pt x="70" y="396"/>
                      <a:pt x="70" y="396"/>
                      <a:pt x="70" y="396"/>
                    </a:cubicBezTo>
                    <a:cubicBezTo>
                      <a:pt x="70" y="396"/>
                      <a:pt x="69" y="396"/>
                      <a:pt x="68" y="396"/>
                    </a:cubicBezTo>
                    <a:cubicBezTo>
                      <a:pt x="67" y="396"/>
                      <a:pt x="66" y="396"/>
                      <a:pt x="66" y="396"/>
                    </a:cubicBezTo>
                    <a:cubicBezTo>
                      <a:pt x="65" y="397"/>
                      <a:pt x="64" y="394"/>
                      <a:pt x="64" y="394"/>
                    </a:cubicBezTo>
                    <a:cubicBezTo>
                      <a:pt x="64" y="394"/>
                      <a:pt x="65" y="392"/>
                      <a:pt x="62" y="394"/>
                    </a:cubicBezTo>
                    <a:cubicBezTo>
                      <a:pt x="59" y="396"/>
                      <a:pt x="58" y="396"/>
                      <a:pt x="58" y="396"/>
                    </a:cubicBezTo>
                    <a:cubicBezTo>
                      <a:pt x="58" y="396"/>
                      <a:pt x="57" y="396"/>
                      <a:pt x="57" y="397"/>
                    </a:cubicBezTo>
                    <a:cubicBezTo>
                      <a:pt x="57" y="396"/>
                      <a:pt x="57" y="396"/>
                      <a:pt x="57" y="396"/>
                    </a:cubicBezTo>
                    <a:cubicBezTo>
                      <a:pt x="57" y="396"/>
                      <a:pt x="57" y="396"/>
                      <a:pt x="57" y="396"/>
                    </a:cubicBezTo>
                    <a:cubicBezTo>
                      <a:pt x="57" y="396"/>
                      <a:pt x="57" y="396"/>
                      <a:pt x="57" y="396"/>
                    </a:cubicBezTo>
                    <a:cubicBezTo>
                      <a:pt x="57" y="396"/>
                      <a:pt x="57" y="396"/>
                      <a:pt x="57" y="396"/>
                    </a:cubicBezTo>
                    <a:cubicBezTo>
                      <a:pt x="57" y="396"/>
                      <a:pt x="57" y="396"/>
                      <a:pt x="57" y="396"/>
                    </a:cubicBezTo>
                    <a:cubicBezTo>
                      <a:pt x="57" y="396"/>
                      <a:pt x="57" y="396"/>
                      <a:pt x="57" y="396"/>
                    </a:cubicBezTo>
                    <a:cubicBezTo>
                      <a:pt x="56" y="396"/>
                      <a:pt x="56" y="396"/>
                      <a:pt x="56" y="395"/>
                    </a:cubicBezTo>
                    <a:cubicBezTo>
                      <a:pt x="56" y="395"/>
                      <a:pt x="56" y="395"/>
                      <a:pt x="56" y="395"/>
                    </a:cubicBezTo>
                    <a:cubicBezTo>
                      <a:pt x="56" y="395"/>
                      <a:pt x="55" y="395"/>
                      <a:pt x="55" y="394"/>
                    </a:cubicBezTo>
                    <a:cubicBezTo>
                      <a:pt x="53" y="392"/>
                      <a:pt x="50" y="388"/>
                      <a:pt x="50" y="388"/>
                    </a:cubicBezTo>
                    <a:cubicBezTo>
                      <a:pt x="52" y="384"/>
                      <a:pt x="52" y="384"/>
                      <a:pt x="52" y="384"/>
                    </a:cubicBezTo>
                    <a:cubicBezTo>
                      <a:pt x="52" y="384"/>
                      <a:pt x="53" y="377"/>
                      <a:pt x="53" y="375"/>
                    </a:cubicBezTo>
                    <a:cubicBezTo>
                      <a:pt x="53" y="374"/>
                      <a:pt x="53" y="368"/>
                      <a:pt x="53" y="368"/>
                    </a:cubicBezTo>
                    <a:cubicBezTo>
                      <a:pt x="53" y="368"/>
                      <a:pt x="49" y="367"/>
                      <a:pt x="52" y="364"/>
                    </a:cubicBezTo>
                    <a:cubicBezTo>
                      <a:pt x="55" y="360"/>
                      <a:pt x="58" y="355"/>
                      <a:pt x="58" y="355"/>
                    </a:cubicBezTo>
                    <a:cubicBezTo>
                      <a:pt x="58" y="345"/>
                      <a:pt x="58" y="345"/>
                      <a:pt x="58" y="345"/>
                    </a:cubicBezTo>
                    <a:cubicBezTo>
                      <a:pt x="58" y="345"/>
                      <a:pt x="55" y="342"/>
                      <a:pt x="59" y="340"/>
                    </a:cubicBezTo>
                    <a:cubicBezTo>
                      <a:pt x="63" y="337"/>
                      <a:pt x="70" y="328"/>
                      <a:pt x="70" y="328"/>
                    </a:cubicBezTo>
                    <a:cubicBezTo>
                      <a:pt x="77" y="320"/>
                      <a:pt x="77" y="320"/>
                      <a:pt x="77" y="320"/>
                    </a:cubicBezTo>
                    <a:cubicBezTo>
                      <a:pt x="65" y="317"/>
                      <a:pt x="65" y="317"/>
                      <a:pt x="65" y="317"/>
                    </a:cubicBezTo>
                    <a:cubicBezTo>
                      <a:pt x="58" y="316"/>
                      <a:pt x="58" y="316"/>
                      <a:pt x="58" y="316"/>
                    </a:cubicBezTo>
                    <a:cubicBezTo>
                      <a:pt x="53" y="313"/>
                      <a:pt x="53" y="313"/>
                      <a:pt x="53" y="313"/>
                    </a:cubicBezTo>
                    <a:cubicBezTo>
                      <a:pt x="50" y="308"/>
                      <a:pt x="50" y="308"/>
                      <a:pt x="50" y="308"/>
                    </a:cubicBezTo>
                    <a:cubicBezTo>
                      <a:pt x="47" y="310"/>
                      <a:pt x="47" y="310"/>
                      <a:pt x="47" y="310"/>
                    </a:cubicBezTo>
                    <a:cubicBezTo>
                      <a:pt x="44" y="312"/>
                      <a:pt x="44" y="312"/>
                      <a:pt x="44" y="312"/>
                    </a:cubicBezTo>
                    <a:cubicBezTo>
                      <a:pt x="37" y="311"/>
                      <a:pt x="37" y="311"/>
                      <a:pt x="37" y="311"/>
                    </a:cubicBezTo>
                    <a:cubicBezTo>
                      <a:pt x="32" y="306"/>
                      <a:pt x="32" y="306"/>
                      <a:pt x="32" y="306"/>
                    </a:cubicBezTo>
                    <a:cubicBezTo>
                      <a:pt x="28" y="309"/>
                      <a:pt x="28" y="309"/>
                      <a:pt x="28" y="309"/>
                    </a:cubicBezTo>
                    <a:cubicBezTo>
                      <a:pt x="24" y="306"/>
                      <a:pt x="24" y="306"/>
                      <a:pt x="24" y="306"/>
                    </a:cubicBezTo>
                    <a:cubicBezTo>
                      <a:pt x="21" y="301"/>
                      <a:pt x="21" y="301"/>
                      <a:pt x="21" y="301"/>
                    </a:cubicBezTo>
                    <a:cubicBezTo>
                      <a:pt x="20" y="297"/>
                      <a:pt x="20" y="297"/>
                      <a:pt x="20" y="297"/>
                    </a:cubicBezTo>
                    <a:cubicBezTo>
                      <a:pt x="15" y="292"/>
                      <a:pt x="15" y="292"/>
                      <a:pt x="15" y="292"/>
                    </a:cubicBezTo>
                    <a:cubicBezTo>
                      <a:pt x="13" y="292"/>
                      <a:pt x="13" y="292"/>
                      <a:pt x="13" y="292"/>
                    </a:cubicBezTo>
                    <a:cubicBezTo>
                      <a:pt x="13" y="291"/>
                      <a:pt x="13" y="291"/>
                      <a:pt x="13" y="291"/>
                    </a:cubicBezTo>
                    <a:cubicBezTo>
                      <a:pt x="12" y="285"/>
                      <a:pt x="12" y="285"/>
                      <a:pt x="12" y="285"/>
                    </a:cubicBezTo>
                    <a:cubicBezTo>
                      <a:pt x="15" y="283"/>
                      <a:pt x="15" y="283"/>
                      <a:pt x="15" y="283"/>
                    </a:cubicBezTo>
                    <a:cubicBezTo>
                      <a:pt x="17" y="280"/>
                      <a:pt x="17" y="280"/>
                      <a:pt x="17" y="280"/>
                    </a:cubicBezTo>
                    <a:cubicBezTo>
                      <a:pt x="19" y="277"/>
                      <a:pt x="19" y="277"/>
                      <a:pt x="19" y="277"/>
                    </a:cubicBezTo>
                    <a:cubicBezTo>
                      <a:pt x="18" y="273"/>
                      <a:pt x="18" y="273"/>
                      <a:pt x="18" y="273"/>
                    </a:cubicBezTo>
                    <a:cubicBezTo>
                      <a:pt x="18" y="273"/>
                      <a:pt x="14" y="273"/>
                      <a:pt x="13" y="272"/>
                    </a:cubicBezTo>
                    <a:cubicBezTo>
                      <a:pt x="12" y="272"/>
                      <a:pt x="9" y="270"/>
                      <a:pt x="9" y="270"/>
                    </a:cubicBezTo>
                    <a:cubicBezTo>
                      <a:pt x="8" y="265"/>
                      <a:pt x="8" y="265"/>
                      <a:pt x="8" y="265"/>
                    </a:cubicBezTo>
                    <a:cubicBezTo>
                      <a:pt x="6" y="262"/>
                      <a:pt x="6" y="262"/>
                      <a:pt x="6" y="262"/>
                    </a:cubicBezTo>
                    <a:cubicBezTo>
                      <a:pt x="5" y="257"/>
                      <a:pt x="5" y="257"/>
                      <a:pt x="5" y="257"/>
                    </a:cubicBezTo>
                    <a:cubicBezTo>
                      <a:pt x="6" y="252"/>
                      <a:pt x="6" y="252"/>
                      <a:pt x="6" y="252"/>
                    </a:cubicBezTo>
                    <a:cubicBezTo>
                      <a:pt x="6" y="252"/>
                      <a:pt x="6" y="252"/>
                      <a:pt x="6" y="252"/>
                    </a:cubicBezTo>
                    <a:cubicBezTo>
                      <a:pt x="6" y="252"/>
                      <a:pt x="6" y="252"/>
                      <a:pt x="6" y="252"/>
                    </a:cubicBezTo>
                    <a:cubicBezTo>
                      <a:pt x="7" y="252"/>
                      <a:pt x="7" y="252"/>
                      <a:pt x="7" y="252"/>
                    </a:cubicBezTo>
                    <a:cubicBezTo>
                      <a:pt x="8" y="250"/>
                      <a:pt x="8" y="250"/>
                      <a:pt x="8" y="250"/>
                    </a:cubicBezTo>
                    <a:cubicBezTo>
                      <a:pt x="8" y="249"/>
                      <a:pt x="8" y="249"/>
                      <a:pt x="8" y="249"/>
                    </a:cubicBezTo>
                    <a:cubicBezTo>
                      <a:pt x="8" y="249"/>
                      <a:pt x="9" y="248"/>
                      <a:pt x="10" y="248"/>
                    </a:cubicBezTo>
                    <a:cubicBezTo>
                      <a:pt x="10" y="248"/>
                      <a:pt x="11" y="248"/>
                      <a:pt x="11" y="248"/>
                    </a:cubicBezTo>
                    <a:cubicBezTo>
                      <a:pt x="12" y="248"/>
                      <a:pt x="12" y="245"/>
                      <a:pt x="12" y="245"/>
                    </a:cubicBezTo>
                    <a:cubicBezTo>
                      <a:pt x="14" y="245"/>
                      <a:pt x="14" y="245"/>
                      <a:pt x="14" y="245"/>
                    </a:cubicBezTo>
                    <a:cubicBezTo>
                      <a:pt x="14" y="245"/>
                      <a:pt x="15" y="244"/>
                      <a:pt x="15" y="244"/>
                    </a:cubicBezTo>
                    <a:cubicBezTo>
                      <a:pt x="15" y="243"/>
                      <a:pt x="15" y="242"/>
                      <a:pt x="15" y="242"/>
                    </a:cubicBezTo>
                    <a:cubicBezTo>
                      <a:pt x="15" y="242"/>
                      <a:pt x="16" y="240"/>
                      <a:pt x="16" y="239"/>
                    </a:cubicBezTo>
                    <a:cubicBezTo>
                      <a:pt x="16" y="238"/>
                      <a:pt x="15" y="237"/>
                      <a:pt x="15" y="237"/>
                    </a:cubicBezTo>
                    <a:cubicBezTo>
                      <a:pt x="15" y="237"/>
                      <a:pt x="14" y="235"/>
                      <a:pt x="13" y="235"/>
                    </a:cubicBezTo>
                    <a:cubicBezTo>
                      <a:pt x="13" y="235"/>
                      <a:pt x="11" y="235"/>
                      <a:pt x="11" y="235"/>
                    </a:cubicBezTo>
                    <a:cubicBezTo>
                      <a:pt x="10" y="235"/>
                      <a:pt x="9" y="233"/>
                      <a:pt x="9" y="233"/>
                    </a:cubicBezTo>
                    <a:cubicBezTo>
                      <a:pt x="9" y="233"/>
                      <a:pt x="10" y="232"/>
                      <a:pt x="10" y="231"/>
                    </a:cubicBezTo>
                    <a:cubicBezTo>
                      <a:pt x="11" y="231"/>
                      <a:pt x="11" y="228"/>
                      <a:pt x="11" y="228"/>
                    </a:cubicBezTo>
                    <a:cubicBezTo>
                      <a:pt x="11" y="228"/>
                      <a:pt x="10" y="227"/>
                      <a:pt x="9" y="227"/>
                    </a:cubicBezTo>
                    <a:cubicBezTo>
                      <a:pt x="9" y="227"/>
                      <a:pt x="7" y="227"/>
                      <a:pt x="7" y="227"/>
                    </a:cubicBezTo>
                    <a:cubicBezTo>
                      <a:pt x="7" y="224"/>
                      <a:pt x="7" y="224"/>
                      <a:pt x="7" y="224"/>
                    </a:cubicBezTo>
                    <a:cubicBezTo>
                      <a:pt x="7" y="224"/>
                      <a:pt x="5" y="223"/>
                      <a:pt x="4" y="223"/>
                    </a:cubicBezTo>
                    <a:cubicBezTo>
                      <a:pt x="4" y="223"/>
                      <a:pt x="4" y="222"/>
                      <a:pt x="3" y="222"/>
                    </a:cubicBezTo>
                    <a:cubicBezTo>
                      <a:pt x="4" y="222"/>
                      <a:pt x="4" y="222"/>
                      <a:pt x="4" y="222"/>
                    </a:cubicBezTo>
                    <a:cubicBezTo>
                      <a:pt x="4" y="222"/>
                      <a:pt x="4" y="222"/>
                      <a:pt x="4" y="222"/>
                    </a:cubicBezTo>
                    <a:cubicBezTo>
                      <a:pt x="4" y="221"/>
                      <a:pt x="3" y="220"/>
                      <a:pt x="3" y="219"/>
                    </a:cubicBezTo>
                    <a:cubicBezTo>
                      <a:pt x="3" y="219"/>
                      <a:pt x="4" y="219"/>
                      <a:pt x="4" y="219"/>
                    </a:cubicBezTo>
                    <a:cubicBezTo>
                      <a:pt x="4" y="219"/>
                      <a:pt x="4" y="218"/>
                      <a:pt x="5" y="217"/>
                    </a:cubicBezTo>
                    <a:cubicBezTo>
                      <a:pt x="5" y="217"/>
                      <a:pt x="5" y="217"/>
                      <a:pt x="6" y="217"/>
                    </a:cubicBezTo>
                    <a:cubicBezTo>
                      <a:pt x="6" y="217"/>
                      <a:pt x="6" y="216"/>
                      <a:pt x="7" y="216"/>
                    </a:cubicBezTo>
                    <a:cubicBezTo>
                      <a:pt x="7" y="215"/>
                      <a:pt x="7" y="213"/>
                      <a:pt x="7" y="213"/>
                    </a:cubicBezTo>
                    <a:cubicBezTo>
                      <a:pt x="7" y="213"/>
                      <a:pt x="7" y="213"/>
                      <a:pt x="6" y="212"/>
                    </a:cubicBezTo>
                    <a:cubicBezTo>
                      <a:pt x="5" y="212"/>
                      <a:pt x="5" y="212"/>
                      <a:pt x="5" y="211"/>
                    </a:cubicBezTo>
                    <a:cubicBezTo>
                      <a:pt x="4" y="211"/>
                      <a:pt x="5" y="210"/>
                      <a:pt x="5" y="210"/>
                    </a:cubicBezTo>
                    <a:cubicBezTo>
                      <a:pt x="5" y="210"/>
                      <a:pt x="3" y="209"/>
                      <a:pt x="3" y="209"/>
                    </a:cubicBezTo>
                    <a:cubicBezTo>
                      <a:pt x="3" y="209"/>
                      <a:pt x="1" y="209"/>
                      <a:pt x="1" y="209"/>
                    </a:cubicBezTo>
                    <a:cubicBezTo>
                      <a:pt x="1" y="209"/>
                      <a:pt x="1" y="209"/>
                      <a:pt x="1" y="209"/>
                    </a:cubicBezTo>
                    <a:cubicBezTo>
                      <a:pt x="1" y="207"/>
                      <a:pt x="1" y="207"/>
                      <a:pt x="1" y="207"/>
                    </a:cubicBezTo>
                    <a:cubicBezTo>
                      <a:pt x="0" y="205"/>
                      <a:pt x="0" y="205"/>
                      <a:pt x="0" y="205"/>
                    </a:cubicBezTo>
                    <a:cubicBezTo>
                      <a:pt x="1" y="204"/>
                      <a:pt x="1" y="204"/>
                      <a:pt x="1" y="204"/>
                    </a:cubicBezTo>
                    <a:cubicBezTo>
                      <a:pt x="3" y="206"/>
                      <a:pt x="3" y="206"/>
                      <a:pt x="3" y="206"/>
                    </a:cubicBezTo>
                    <a:cubicBezTo>
                      <a:pt x="3" y="206"/>
                      <a:pt x="3" y="205"/>
                      <a:pt x="3" y="204"/>
                    </a:cubicBezTo>
                    <a:cubicBezTo>
                      <a:pt x="4" y="204"/>
                      <a:pt x="5" y="202"/>
                      <a:pt x="5" y="202"/>
                    </a:cubicBezTo>
                    <a:cubicBezTo>
                      <a:pt x="7" y="202"/>
                      <a:pt x="7" y="202"/>
                      <a:pt x="7" y="202"/>
                    </a:cubicBezTo>
                    <a:cubicBezTo>
                      <a:pt x="7" y="202"/>
                      <a:pt x="11" y="202"/>
                      <a:pt x="11" y="202"/>
                    </a:cubicBezTo>
                    <a:cubicBezTo>
                      <a:pt x="12" y="201"/>
                      <a:pt x="10" y="199"/>
                      <a:pt x="10" y="199"/>
                    </a:cubicBezTo>
                    <a:cubicBezTo>
                      <a:pt x="10" y="199"/>
                      <a:pt x="8" y="201"/>
                      <a:pt x="8" y="201"/>
                    </a:cubicBezTo>
                    <a:cubicBezTo>
                      <a:pt x="7" y="201"/>
                      <a:pt x="7" y="198"/>
                      <a:pt x="7" y="198"/>
                    </a:cubicBezTo>
                    <a:cubicBezTo>
                      <a:pt x="7" y="196"/>
                      <a:pt x="7" y="196"/>
                      <a:pt x="7" y="196"/>
                    </a:cubicBezTo>
                    <a:cubicBezTo>
                      <a:pt x="9" y="195"/>
                      <a:pt x="9" y="195"/>
                      <a:pt x="9" y="195"/>
                    </a:cubicBezTo>
                    <a:cubicBezTo>
                      <a:pt x="10" y="193"/>
                      <a:pt x="10" y="193"/>
                      <a:pt x="10" y="193"/>
                    </a:cubicBezTo>
                    <a:cubicBezTo>
                      <a:pt x="10" y="193"/>
                      <a:pt x="12" y="191"/>
                      <a:pt x="12" y="191"/>
                    </a:cubicBezTo>
                    <a:cubicBezTo>
                      <a:pt x="13" y="190"/>
                      <a:pt x="12" y="188"/>
                      <a:pt x="12" y="188"/>
                    </a:cubicBezTo>
                    <a:cubicBezTo>
                      <a:pt x="13" y="185"/>
                      <a:pt x="13" y="185"/>
                      <a:pt x="13" y="185"/>
                    </a:cubicBezTo>
                    <a:cubicBezTo>
                      <a:pt x="11" y="182"/>
                      <a:pt x="11" y="182"/>
                      <a:pt x="11" y="182"/>
                    </a:cubicBezTo>
                    <a:cubicBezTo>
                      <a:pt x="11" y="179"/>
                      <a:pt x="11" y="179"/>
                      <a:pt x="11" y="179"/>
                    </a:cubicBezTo>
                    <a:cubicBezTo>
                      <a:pt x="9" y="176"/>
                      <a:pt x="9" y="176"/>
                      <a:pt x="9" y="176"/>
                    </a:cubicBezTo>
                    <a:cubicBezTo>
                      <a:pt x="9" y="175"/>
                      <a:pt x="9" y="175"/>
                      <a:pt x="9" y="175"/>
                    </a:cubicBezTo>
                    <a:cubicBezTo>
                      <a:pt x="8" y="173"/>
                      <a:pt x="8" y="173"/>
                      <a:pt x="8" y="173"/>
                    </a:cubicBezTo>
                    <a:cubicBezTo>
                      <a:pt x="8" y="171"/>
                      <a:pt x="8" y="171"/>
                      <a:pt x="8" y="171"/>
                    </a:cubicBezTo>
                    <a:cubicBezTo>
                      <a:pt x="8" y="171"/>
                      <a:pt x="6" y="169"/>
                      <a:pt x="5" y="169"/>
                    </a:cubicBezTo>
                    <a:cubicBezTo>
                      <a:pt x="4" y="169"/>
                      <a:pt x="5" y="168"/>
                      <a:pt x="5" y="168"/>
                    </a:cubicBezTo>
                    <a:cubicBezTo>
                      <a:pt x="5" y="166"/>
                      <a:pt x="5" y="166"/>
                      <a:pt x="5" y="166"/>
                    </a:cubicBezTo>
                    <a:cubicBezTo>
                      <a:pt x="5" y="163"/>
                      <a:pt x="5" y="163"/>
                      <a:pt x="5" y="163"/>
                    </a:cubicBezTo>
                    <a:cubicBezTo>
                      <a:pt x="10" y="164"/>
                      <a:pt x="10" y="164"/>
                      <a:pt x="10" y="164"/>
                    </a:cubicBezTo>
                    <a:cubicBezTo>
                      <a:pt x="12" y="164"/>
                      <a:pt x="12" y="164"/>
                      <a:pt x="12" y="164"/>
                    </a:cubicBezTo>
                    <a:cubicBezTo>
                      <a:pt x="9" y="162"/>
                      <a:pt x="9" y="162"/>
                      <a:pt x="9" y="162"/>
                    </a:cubicBezTo>
                    <a:cubicBezTo>
                      <a:pt x="12" y="161"/>
                      <a:pt x="12" y="161"/>
                      <a:pt x="12" y="161"/>
                    </a:cubicBezTo>
                    <a:cubicBezTo>
                      <a:pt x="14" y="163"/>
                      <a:pt x="14" y="163"/>
                      <a:pt x="14" y="163"/>
                    </a:cubicBezTo>
                    <a:cubicBezTo>
                      <a:pt x="17" y="164"/>
                      <a:pt x="17" y="164"/>
                      <a:pt x="17" y="164"/>
                    </a:cubicBezTo>
                    <a:cubicBezTo>
                      <a:pt x="18" y="166"/>
                      <a:pt x="18" y="166"/>
                      <a:pt x="18" y="166"/>
                    </a:cubicBezTo>
                    <a:cubicBezTo>
                      <a:pt x="19" y="164"/>
                      <a:pt x="19" y="164"/>
                      <a:pt x="19" y="164"/>
                    </a:cubicBezTo>
                    <a:cubicBezTo>
                      <a:pt x="22" y="164"/>
                      <a:pt x="22" y="164"/>
                      <a:pt x="22" y="164"/>
                    </a:cubicBezTo>
                    <a:cubicBezTo>
                      <a:pt x="23" y="164"/>
                      <a:pt x="23" y="164"/>
                      <a:pt x="23" y="164"/>
                    </a:cubicBezTo>
                    <a:cubicBezTo>
                      <a:pt x="26" y="163"/>
                      <a:pt x="26" y="163"/>
                      <a:pt x="26" y="163"/>
                    </a:cubicBezTo>
                    <a:cubicBezTo>
                      <a:pt x="29" y="163"/>
                      <a:pt x="29" y="163"/>
                      <a:pt x="29" y="163"/>
                    </a:cubicBezTo>
                    <a:cubicBezTo>
                      <a:pt x="30" y="161"/>
                      <a:pt x="30" y="161"/>
                      <a:pt x="30" y="161"/>
                    </a:cubicBezTo>
                    <a:cubicBezTo>
                      <a:pt x="32" y="160"/>
                      <a:pt x="32" y="160"/>
                      <a:pt x="32" y="160"/>
                    </a:cubicBezTo>
                    <a:cubicBezTo>
                      <a:pt x="33" y="159"/>
                      <a:pt x="33" y="159"/>
                      <a:pt x="33" y="159"/>
                    </a:cubicBezTo>
                    <a:cubicBezTo>
                      <a:pt x="30" y="157"/>
                      <a:pt x="30" y="157"/>
                      <a:pt x="30" y="157"/>
                    </a:cubicBezTo>
                    <a:cubicBezTo>
                      <a:pt x="28" y="154"/>
                      <a:pt x="28" y="154"/>
                      <a:pt x="28" y="154"/>
                    </a:cubicBezTo>
                    <a:cubicBezTo>
                      <a:pt x="30" y="154"/>
                      <a:pt x="30" y="154"/>
                      <a:pt x="30" y="154"/>
                    </a:cubicBezTo>
                    <a:cubicBezTo>
                      <a:pt x="30" y="151"/>
                      <a:pt x="30" y="151"/>
                      <a:pt x="30" y="151"/>
                    </a:cubicBezTo>
                    <a:cubicBezTo>
                      <a:pt x="30" y="151"/>
                      <a:pt x="34" y="152"/>
                      <a:pt x="34" y="152"/>
                    </a:cubicBezTo>
                    <a:cubicBezTo>
                      <a:pt x="34" y="151"/>
                      <a:pt x="34" y="151"/>
                      <a:pt x="35" y="150"/>
                    </a:cubicBezTo>
                    <a:cubicBezTo>
                      <a:pt x="36" y="150"/>
                      <a:pt x="38" y="149"/>
                      <a:pt x="38" y="149"/>
                    </a:cubicBezTo>
                    <a:cubicBezTo>
                      <a:pt x="39" y="147"/>
                      <a:pt x="39" y="147"/>
                      <a:pt x="39" y="147"/>
                    </a:cubicBezTo>
                    <a:cubicBezTo>
                      <a:pt x="39" y="147"/>
                      <a:pt x="41" y="146"/>
                      <a:pt x="41" y="146"/>
                    </a:cubicBezTo>
                    <a:cubicBezTo>
                      <a:pt x="42" y="146"/>
                      <a:pt x="41" y="145"/>
                      <a:pt x="41" y="144"/>
                    </a:cubicBezTo>
                    <a:cubicBezTo>
                      <a:pt x="41" y="143"/>
                      <a:pt x="41" y="141"/>
                      <a:pt x="41" y="141"/>
                    </a:cubicBezTo>
                    <a:cubicBezTo>
                      <a:pt x="42" y="139"/>
                      <a:pt x="42" y="139"/>
                      <a:pt x="42" y="139"/>
                    </a:cubicBezTo>
                    <a:cubicBezTo>
                      <a:pt x="40" y="135"/>
                      <a:pt x="40" y="135"/>
                      <a:pt x="40" y="135"/>
                    </a:cubicBezTo>
                    <a:cubicBezTo>
                      <a:pt x="37" y="136"/>
                      <a:pt x="37" y="136"/>
                      <a:pt x="37" y="136"/>
                    </a:cubicBezTo>
                    <a:cubicBezTo>
                      <a:pt x="35" y="134"/>
                      <a:pt x="35" y="134"/>
                      <a:pt x="35" y="134"/>
                    </a:cubicBezTo>
                    <a:cubicBezTo>
                      <a:pt x="35" y="134"/>
                      <a:pt x="32" y="134"/>
                      <a:pt x="32" y="133"/>
                    </a:cubicBezTo>
                    <a:cubicBezTo>
                      <a:pt x="31" y="132"/>
                      <a:pt x="30" y="130"/>
                      <a:pt x="30" y="130"/>
                    </a:cubicBezTo>
                    <a:cubicBezTo>
                      <a:pt x="30" y="128"/>
                      <a:pt x="30" y="128"/>
                      <a:pt x="30" y="128"/>
                    </a:cubicBezTo>
                    <a:cubicBezTo>
                      <a:pt x="33" y="128"/>
                      <a:pt x="33" y="128"/>
                      <a:pt x="33" y="128"/>
                    </a:cubicBezTo>
                    <a:cubicBezTo>
                      <a:pt x="31" y="127"/>
                      <a:pt x="31" y="127"/>
                      <a:pt x="31" y="127"/>
                    </a:cubicBezTo>
                    <a:cubicBezTo>
                      <a:pt x="31" y="124"/>
                      <a:pt x="31" y="124"/>
                      <a:pt x="31" y="124"/>
                    </a:cubicBezTo>
                    <a:cubicBezTo>
                      <a:pt x="35" y="123"/>
                      <a:pt x="35" y="123"/>
                      <a:pt x="35" y="123"/>
                    </a:cubicBezTo>
                    <a:cubicBezTo>
                      <a:pt x="35" y="123"/>
                      <a:pt x="40" y="125"/>
                      <a:pt x="41" y="125"/>
                    </a:cubicBezTo>
                    <a:cubicBezTo>
                      <a:pt x="42" y="126"/>
                      <a:pt x="42" y="122"/>
                      <a:pt x="42" y="122"/>
                    </a:cubicBezTo>
                    <a:cubicBezTo>
                      <a:pt x="43" y="117"/>
                      <a:pt x="43" y="117"/>
                      <a:pt x="43" y="117"/>
                    </a:cubicBezTo>
                    <a:cubicBezTo>
                      <a:pt x="43" y="117"/>
                      <a:pt x="42" y="113"/>
                      <a:pt x="43" y="112"/>
                    </a:cubicBezTo>
                    <a:cubicBezTo>
                      <a:pt x="44" y="112"/>
                      <a:pt x="47" y="106"/>
                      <a:pt x="47" y="106"/>
                    </a:cubicBezTo>
                    <a:cubicBezTo>
                      <a:pt x="47" y="106"/>
                      <a:pt x="47" y="100"/>
                      <a:pt x="47" y="99"/>
                    </a:cubicBezTo>
                    <a:cubicBezTo>
                      <a:pt x="47" y="98"/>
                      <a:pt x="47" y="94"/>
                      <a:pt x="47" y="94"/>
                    </a:cubicBezTo>
                    <a:cubicBezTo>
                      <a:pt x="47" y="93"/>
                      <a:pt x="47" y="93"/>
                      <a:pt x="47" y="93"/>
                    </a:cubicBezTo>
                    <a:cubicBezTo>
                      <a:pt x="47" y="93"/>
                      <a:pt x="44" y="92"/>
                      <a:pt x="43" y="92"/>
                    </a:cubicBezTo>
                    <a:cubicBezTo>
                      <a:pt x="43" y="91"/>
                      <a:pt x="44" y="89"/>
                      <a:pt x="44" y="89"/>
                    </a:cubicBezTo>
                    <a:cubicBezTo>
                      <a:pt x="39" y="88"/>
                      <a:pt x="39" y="88"/>
                      <a:pt x="39" y="88"/>
                    </a:cubicBezTo>
                    <a:cubicBezTo>
                      <a:pt x="40" y="85"/>
                      <a:pt x="41" y="80"/>
                      <a:pt x="42" y="80"/>
                    </a:cubicBezTo>
                    <a:cubicBezTo>
                      <a:pt x="43" y="79"/>
                      <a:pt x="45" y="77"/>
                      <a:pt x="45" y="77"/>
                    </a:cubicBezTo>
                    <a:cubicBezTo>
                      <a:pt x="45" y="73"/>
                      <a:pt x="45" y="73"/>
                      <a:pt x="45" y="73"/>
                    </a:cubicBezTo>
                    <a:cubicBezTo>
                      <a:pt x="43" y="70"/>
                      <a:pt x="43" y="70"/>
                      <a:pt x="43" y="70"/>
                    </a:cubicBezTo>
                    <a:cubicBezTo>
                      <a:pt x="45" y="67"/>
                      <a:pt x="45" y="67"/>
                      <a:pt x="45" y="67"/>
                    </a:cubicBezTo>
                    <a:cubicBezTo>
                      <a:pt x="45" y="67"/>
                      <a:pt x="49" y="65"/>
                      <a:pt x="49" y="65"/>
                    </a:cubicBezTo>
                    <a:cubicBezTo>
                      <a:pt x="50" y="65"/>
                      <a:pt x="56" y="65"/>
                      <a:pt x="56" y="65"/>
                    </a:cubicBezTo>
                    <a:cubicBezTo>
                      <a:pt x="60" y="63"/>
                      <a:pt x="60" y="63"/>
                      <a:pt x="60" y="63"/>
                    </a:cubicBezTo>
                    <a:cubicBezTo>
                      <a:pt x="66" y="63"/>
                      <a:pt x="66" y="63"/>
                      <a:pt x="66" y="63"/>
                    </a:cubicBezTo>
                    <a:cubicBezTo>
                      <a:pt x="70" y="62"/>
                      <a:pt x="70" y="62"/>
                      <a:pt x="70" y="62"/>
                    </a:cubicBezTo>
                    <a:cubicBezTo>
                      <a:pt x="73" y="64"/>
                      <a:pt x="73" y="64"/>
                      <a:pt x="73" y="64"/>
                    </a:cubicBezTo>
                    <a:cubicBezTo>
                      <a:pt x="73" y="64"/>
                      <a:pt x="75" y="66"/>
                      <a:pt x="75" y="67"/>
                    </a:cubicBezTo>
                    <a:cubicBezTo>
                      <a:pt x="75" y="67"/>
                      <a:pt x="77" y="69"/>
                      <a:pt x="77" y="70"/>
                    </a:cubicBezTo>
                    <a:cubicBezTo>
                      <a:pt x="76" y="70"/>
                      <a:pt x="78" y="73"/>
                      <a:pt x="78" y="73"/>
                    </a:cubicBezTo>
                    <a:cubicBezTo>
                      <a:pt x="78" y="73"/>
                      <a:pt x="77" y="75"/>
                      <a:pt x="77" y="76"/>
                    </a:cubicBezTo>
                    <a:cubicBezTo>
                      <a:pt x="77" y="76"/>
                      <a:pt x="78" y="80"/>
                      <a:pt x="78" y="80"/>
                    </a:cubicBezTo>
                    <a:cubicBezTo>
                      <a:pt x="78" y="81"/>
                      <a:pt x="80" y="82"/>
                      <a:pt x="80" y="82"/>
                    </a:cubicBezTo>
                    <a:cubicBezTo>
                      <a:pt x="82" y="81"/>
                      <a:pt x="82" y="81"/>
                      <a:pt x="82" y="81"/>
                    </a:cubicBezTo>
                    <a:cubicBezTo>
                      <a:pt x="83" y="79"/>
                      <a:pt x="83" y="79"/>
                      <a:pt x="83" y="79"/>
                    </a:cubicBezTo>
                    <a:cubicBezTo>
                      <a:pt x="81" y="76"/>
                      <a:pt x="81" y="76"/>
                      <a:pt x="81" y="76"/>
                    </a:cubicBezTo>
                    <a:cubicBezTo>
                      <a:pt x="80" y="76"/>
                      <a:pt x="80" y="76"/>
                      <a:pt x="80" y="76"/>
                    </a:cubicBezTo>
                    <a:cubicBezTo>
                      <a:pt x="81" y="72"/>
                      <a:pt x="81" y="72"/>
                      <a:pt x="81" y="72"/>
                    </a:cubicBezTo>
                    <a:cubicBezTo>
                      <a:pt x="81" y="72"/>
                      <a:pt x="83" y="71"/>
                      <a:pt x="84" y="72"/>
                    </a:cubicBezTo>
                    <a:cubicBezTo>
                      <a:pt x="85" y="72"/>
                      <a:pt x="88" y="75"/>
                      <a:pt x="88" y="75"/>
                    </a:cubicBezTo>
                    <a:cubicBezTo>
                      <a:pt x="90" y="76"/>
                      <a:pt x="90" y="76"/>
                      <a:pt x="90" y="76"/>
                    </a:cubicBezTo>
                    <a:cubicBezTo>
                      <a:pt x="90" y="76"/>
                      <a:pt x="93" y="74"/>
                      <a:pt x="93" y="74"/>
                    </a:cubicBezTo>
                    <a:cubicBezTo>
                      <a:pt x="93" y="74"/>
                      <a:pt x="90" y="70"/>
                      <a:pt x="90" y="70"/>
                    </a:cubicBezTo>
                    <a:cubicBezTo>
                      <a:pt x="91" y="65"/>
                      <a:pt x="91" y="65"/>
                      <a:pt x="91" y="65"/>
                    </a:cubicBezTo>
                    <a:cubicBezTo>
                      <a:pt x="92" y="61"/>
                      <a:pt x="92" y="61"/>
                      <a:pt x="92" y="61"/>
                    </a:cubicBezTo>
                    <a:cubicBezTo>
                      <a:pt x="96" y="58"/>
                      <a:pt x="96" y="58"/>
                      <a:pt x="96" y="58"/>
                    </a:cubicBezTo>
                    <a:cubicBezTo>
                      <a:pt x="99" y="60"/>
                      <a:pt x="99" y="60"/>
                      <a:pt x="99" y="60"/>
                    </a:cubicBezTo>
                    <a:cubicBezTo>
                      <a:pt x="104" y="60"/>
                      <a:pt x="104" y="60"/>
                      <a:pt x="104" y="60"/>
                    </a:cubicBezTo>
                    <a:cubicBezTo>
                      <a:pt x="109" y="60"/>
                      <a:pt x="109" y="60"/>
                      <a:pt x="109" y="60"/>
                    </a:cubicBezTo>
                    <a:cubicBezTo>
                      <a:pt x="112" y="59"/>
                      <a:pt x="112" y="59"/>
                      <a:pt x="112" y="59"/>
                    </a:cubicBezTo>
                    <a:cubicBezTo>
                      <a:pt x="116" y="59"/>
                      <a:pt x="116" y="59"/>
                      <a:pt x="116" y="59"/>
                    </a:cubicBezTo>
                    <a:cubicBezTo>
                      <a:pt x="116" y="59"/>
                      <a:pt x="114" y="57"/>
                      <a:pt x="114" y="57"/>
                    </a:cubicBezTo>
                    <a:cubicBezTo>
                      <a:pt x="113" y="57"/>
                      <a:pt x="111" y="55"/>
                      <a:pt x="111" y="55"/>
                    </a:cubicBezTo>
                    <a:cubicBezTo>
                      <a:pt x="111" y="55"/>
                      <a:pt x="110" y="57"/>
                      <a:pt x="110" y="57"/>
                    </a:cubicBezTo>
                    <a:cubicBezTo>
                      <a:pt x="109" y="58"/>
                      <a:pt x="106" y="58"/>
                      <a:pt x="106" y="57"/>
                    </a:cubicBezTo>
                    <a:cubicBezTo>
                      <a:pt x="105" y="57"/>
                      <a:pt x="104" y="54"/>
                      <a:pt x="104" y="54"/>
                    </a:cubicBezTo>
                    <a:cubicBezTo>
                      <a:pt x="104" y="51"/>
                      <a:pt x="104" y="51"/>
                      <a:pt x="104" y="51"/>
                    </a:cubicBezTo>
                    <a:cubicBezTo>
                      <a:pt x="106" y="50"/>
                      <a:pt x="106" y="50"/>
                      <a:pt x="106" y="50"/>
                    </a:cubicBezTo>
                    <a:cubicBezTo>
                      <a:pt x="103" y="47"/>
                      <a:pt x="103" y="47"/>
                      <a:pt x="103" y="47"/>
                    </a:cubicBezTo>
                    <a:cubicBezTo>
                      <a:pt x="103" y="47"/>
                      <a:pt x="103" y="44"/>
                      <a:pt x="104" y="43"/>
                    </a:cubicBezTo>
                    <a:cubicBezTo>
                      <a:pt x="105" y="43"/>
                      <a:pt x="105" y="41"/>
                      <a:pt x="105" y="41"/>
                    </a:cubicBezTo>
                    <a:cubicBezTo>
                      <a:pt x="102" y="41"/>
                      <a:pt x="102" y="41"/>
                      <a:pt x="102" y="41"/>
                    </a:cubicBezTo>
                    <a:cubicBezTo>
                      <a:pt x="102" y="41"/>
                      <a:pt x="101" y="41"/>
                      <a:pt x="101" y="39"/>
                    </a:cubicBezTo>
                    <a:cubicBezTo>
                      <a:pt x="102" y="37"/>
                      <a:pt x="102" y="36"/>
                      <a:pt x="102" y="36"/>
                    </a:cubicBezTo>
                    <a:cubicBezTo>
                      <a:pt x="98" y="36"/>
                      <a:pt x="98" y="36"/>
                      <a:pt x="98" y="36"/>
                    </a:cubicBezTo>
                    <a:cubicBezTo>
                      <a:pt x="96" y="36"/>
                      <a:pt x="96" y="36"/>
                      <a:pt x="96" y="36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0"/>
                      <a:pt x="94" y="30"/>
                      <a:pt x="94" y="30"/>
                    </a:cubicBezTo>
                    <a:cubicBezTo>
                      <a:pt x="100" y="29"/>
                      <a:pt x="100" y="29"/>
                      <a:pt x="100" y="29"/>
                    </a:cubicBezTo>
                    <a:cubicBezTo>
                      <a:pt x="107" y="26"/>
                      <a:pt x="107" y="26"/>
                      <a:pt x="107" y="26"/>
                    </a:cubicBezTo>
                    <a:cubicBezTo>
                      <a:pt x="106" y="24"/>
                      <a:pt x="106" y="24"/>
                      <a:pt x="106" y="24"/>
                    </a:cubicBezTo>
                    <a:cubicBezTo>
                      <a:pt x="104" y="25"/>
                      <a:pt x="104" y="25"/>
                      <a:pt x="104" y="25"/>
                    </a:cubicBezTo>
                    <a:cubicBezTo>
                      <a:pt x="104" y="25"/>
                      <a:pt x="103" y="26"/>
                      <a:pt x="103" y="26"/>
                    </a:cubicBezTo>
                    <a:cubicBezTo>
                      <a:pt x="102" y="26"/>
                      <a:pt x="100" y="26"/>
                      <a:pt x="100" y="26"/>
                    </a:cubicBezTo>
                    <a:cubicBezTo>
                      <a:pt x="100" y="24"/>
                      <a:pt x="100" y="24"/>
                      <a:pt x="100" y="24"/>
                    </a:cubicBezTo>
                    <a:cubicBezTo>
                      <a:pt x="103" y="24"/>
                      <a:pt x="103" y="24"/>
                      <a:pt x="103" y="24"/>
                    </a:cubicBezTo>
                    <a:cubicBezTo>
                      <a:pt x="105" y="23"/>
                      <a:pt x="105" y="23"/>
                      <a:pt x="105" y="23"/>
                    </a:cubicBezTo>
                    <a:cubicBezTo>
                      <a:pt x="103" y="22"/>
                      <a:pt x="103" y="22"/>
                      <a:pt x="103" y="22"/>
                    </a:cubicBezTo>
                    <a:cubicBezTo>
                      <a:pt x="100" y="18"/>
                      <a:pt x="100" y="18"/>
                      <a:pt x="100" y="18"/>
                    </a:cubicBezTo>
                    <a:cubicBezTo>
                      <a:pt x="99" y="15"/>
                      <a:pt x="99" y="15"/>
                      <a:pt x="99" y="15"/>
                    </a:cubicBezTo>
                    <a:cubicBezTo>
                      <a:pt x="97" y="14"/>
                      <a:pt x="97" y="14"/>
                      <a:pt x="97" y="14"/>
                    </a:cubicBezTo>
                    <a:cubicBezTo>
                      <a:pt x="95" y="12"/>
                      <a:pt x="95" y="12"/>
                      <a:pt x="95" y="12"/>
                    </a:cubicBezTo>
                    <a:cubicBezTo>
                      <a:pt x="95" y="9"/>
                      <a:pt x="95" y="9"/>
                      <a:pt x="95" y="9"/>
                    </a:cubicBezTo>
                    <a:cubicBezTo>
                      <a:pt x="94" y="1"/>
                      <a:pt x="94" y="1"/>
                      <a:pt x="94" y="1"/>
                    </a:cubicBezTo>
                    <a:cubicBezTo>
                      <a:pt x="97" y="1"/>
                      <a:pt x="97" y="1"/>
                      <a:pt x="97" y="1"/>
                    </a:cubicBezTo>
                    <a:cubicBezTo>
                      <a:pt x="99" y="0"/>
                      <a:pt x="99" y="0"/>
                      <a:pt x="99" y="0"/>
                    </a:cubicBezTo>
                    <a:cubicBezTo>
                      <a:pt x="99" y="0"/>
                      <a:pt x="104" y="2"/>
                      <a:pt x="105" y="2"/>
                    </a:cubicBezTo>
                    <a:cubicBezTo>
                      <a:pt x="106" y="2"/>
                      <a:pt x="108" y="3"/>
                      <a:pt x="108" y="3"/>
                    </a:cubicBezTo>
                    <a:cubicBezTo>
                      <a:pt x="112" y="5"/>
                      <a:pt x="112" y="5"/>
                      <a:pt x="112" y="5"/>
                    </a:cubicBezTo>
                    <a:cubicBezTo>
                      <a:pt x="115" y="6"/>
                      <a:pt x="115" y="6"/>
                      <a:pt x="115" y="6"/>
                    </a:cubicBezTo>
                    <a:cubicBezTo>
                      <a:pt x="115" y="6"/>
                      <a:pt x="116" y="6"/>
                      <a:pt x="116" y="6"/>
                    </a:cubicBezTo>
                    <a:cubicBezTo>
                      <a:pt x="117" y="6"/>
                      <a:pt x="119" y="5"/>
                      <a:pt x="119" y="5"/>
                    </a:cubicBezTo>
                    <a:cubicBezTo>
                      <a:pt x="119" y="5"/>
                      <a:pt x="122" y="3"/>
                      <a:pt x="123" y="3"/>
                    </a:cubicBezTo>
                    <a:cubicBezTo>
                      <a:pt x="123" y="2"/>
                      <a:pt x="124" y="2"/>
                      <a:pt x="124" y="2"/>
                    </a:cubicBezTo>
                    <a:cubicBezTo>
                      <a:pt x="126" y="6"/>
                      <a:pt x="126" y="6"/>
                      <a:pt x="126" y="6"/>
                    </a:cubicBezTo>
                    <a:cubicBezTo>
                      <a:pt x="128" y="4"/>
                      <a:pt x="128" y="4"/>
                      <a:pt x="128" y="4"/>
                    </a:cubicBezTo>
                    <a:cubicBezTo>
                      <a:pt x="129" y="2"/>
                      <a:pt x="129" y="2"/>
                      <a:pt x="129" y="2"/>
                    </a:cubicBezTo>
                    <a:cubicBezTo>
                      <a:pt x="137" y="11"/>
                      <a:pt x="137" y="11"/>
                      <a:pt x="137" y="11"/>
                    </a:cubicBezTo>
                    <a:cubicBezTo>
                      <a:pt x="138" y="15"/>
                      <a:pt x="138" y="15"/>
                      <a:pt x="138" y="15"/>
                    </a:cubicBezTo>
                    <a:cubicBezTo>
                      <a:pt x="138" y="15"/>
                      <a:pt x="138" y="18"/>
                      <a:pt x="138" y="18"/>
                    </a:cubicBezTo>
                    <a:cubicBezTo>
                      <a:pt x="137" y="18"/>
                      <a:pt x="136" y="22"/>
                      <a:pt x="136" y="22"/>
                    </a:cubicBezTo>
                    <a:cubicBezTo>
                      <a:pt x="136" y="25"/>
                      <a:pt x="136" y="25"/>
                      <a:pt x="136" y="25"/>
                    </a:cubicBezTo>
                    <a:cubicBezTo>
                      <a:pt x="138" y="26"/>
                      <a:pt x="138" y="26"/>
                      <a:pt x="138" y="26"/>
                    </a:cubicBezTo>
                    <a:cubicBezTo>
                      <a:pt x="141" y="26"/>
                      <a:pt x="141" y="26"/>
                      <a:pt x="141" y="26"/>
                    </a:cubicBezTo>
                    <a:cubicBezTo>
                      <a:pt x="143" y="28"/>
                      <a:pt x="143" y="28"/>
                      <a:pt x="143" y="28"/>
                    </a:cubicBezTo>
                    <a:cubicBezTo>
                      <a:pt x="144" y="29"/>
                      <a:pt x="144" y="29"/>
                      <a:pt x="144" y="29"/>
                    </a:cubicBezTo>
                    <a:cubicBezTo>
                      <a:pt x="147" y="29"/>
                      <a:pt x="147" y="29"/>
                      <a:pt x="147" y="29"/>
                    </a:cubicBezTo>
                    <a:cubicBezTo>
                      <a:pt x="148" y="28"/>
                      <a:pt x="148" y="28"/>
                      <a:pt x="148" y="28"/>
                    </a:cubicBezTo>
                    <a:cubicBezTo>
                      <a:pt x="152" y="29"/>
                      <a:pt x="152" y="29"/>
                      <a:pt x="152" y="29"/>
                    </a:cubicBezTo>
                    <a:cubicBezTo>
                      <a:pt x="155" y="31"/>
                      <a:pt x="155" y="31"/>
                      <a:pt x="155" y="31"/>
                    </a:cubicBezTo>
                    <a:cubicBezTo>
                      <a:pt x="158" y="33"/>
                      <a:pt x="158" y="33"/>
                      <a:pt x="158" y="33"/>
                    </a:cubicBezTo>
                    <a:cubicBezTo>
                      <a:pt x="163" y="35"/>
                      <a:pt x="163" y="35"/>
                      <a:pt x="163" y="35"/>
                    </a:cubicBezTo>
                    <a:cubicBezTo>
                      <a:pt x="164" y="32"/>
                      <a:pt x="164" y="32"/>
                      <a:pt x="164" y="32"/>
                    </a:cubicBezTo>
                    <a:cubicBezTo>
                      <a:pt x="165" y="31"/>
                      <a:pt x="165" y="31"/>
                      <a:pt x="165" y="31"/>
                    </a:cubicBezTo>
                    <a:cubicBezTo>
                      <a:pt x="168" y="31"/>
                      <a:pt x="168" y="31"/>
                      <a:pt x="168" y="31"/>
                    </a:cubicBezTo>
                    <a:cubicBezTo>
                      <a:pt x="170" y="30"/>
                      <a:pt x="170" y="30"/>
                      <a:pt x="170" y="30"/>
                    </a:cubicBezTo>
                    <a:cubicBezTo>
                      <a:pt x="171" y="29"/>
                      <a:pt x="171" y="29"/>
                      <a:pt x="171" y="29"/>
                    </a:cubicBezTo>
                    <a:cubicBezTo>
                      <a:pt x="168" y="26"/>
                      <a:pt x="168" y="26"/>
                      <a:pt x="168" y="26"/>
                    </a:cubicBezTo>
                    <a:cubicBezTo>
                      <a:pt x="168" y="23"/>
                      <a:pt x="168" y="23"/>
                      <a:pt x="168" y="23"/>
                    </a:cubicBezTo>
                    <a:cubicBezTo>
                      <a:pt x="168" y="23"/>
                      <a:pt x="170" y="21"/>
                      <a:pt x="170" y="21"/>
                    </a:cubicBezTo>
                    <a:cubicBezTo>
                      <a:pt x="171" y="21"/>
                      <a:pt x="175" y="22"/>
                      <a:pt x="175" y="22"/>
                    </a:cubicBezTo>
                    <a:cubicBezTo>
                      <a:pt x="176" y="25"/>
                      <a:pt x="176" y="25"/>
                      <a:pt x="176" y="25"/>
                    </a:cubicBezTo>
                    <a:cubicBezTo>
                      <a:pt x="177" y="28"/>
                      <a:pt x="177" y="28"/>
                      <a:pt x="177" y="28"/>
                    </a:cubicBezTo>
                    <a:cubicBezTo>
                      <a:pt x="173" y="29"/>
                      <a:pt x="173" y="29"/>
                      <a:pt x="173" y="29"/>
                    </a:cubicBezTo>
                    <a:cubicBezTo>
                      <a:pt x="172" y="31"/>
                      <a:pt x="172" y="31"/>
                      <a:pt x="172" y="31"/>
                    </a:cubicBezTo>
                    <a:cubicBezTo>
                      <a:pt x="172" y="35"/>
                      <a:pt x="172" y="35"/>
                      <a:pt x="172" y="35"/>
                    </a:cubicBezTo>
                    <a:cubicBezTo>
                      <a:pt x="172" y="39"/>
                      <a:pt x="172" y="39"/>
                      <a:pt x="172" y="39"/>
                    </a:cubicBezTo>
                    <a:cubicBezTo>
                      <a:pt x="172" y="39"/>
                      <a:pt x="172" y="41"/>
                      <a:pt x="171" y="41"/>
                    </a:cubicBezTo>
                    <a:cubicBezTo>
                      <a:pt x="170" y="42"/>
                      <a:pt x="168" y="42"/>
                      <a:pt x="168" y="42"/>
                    </a:cubicBezTo>
                    <a:cubicBezTo>
                      <a:pt x="168" y="44"/>
                      <a:pt x="168" y="44"/>
                      <a:pt x="168" y="44"/>
                    </a:cubicBezTo>
                    <a:cubicBezTo>
                      <a:pt x="165" y="46"/>
                      <a:pt x="165" y="46"/>
                      <a:pt x="165" y="46"/>
                    </a:cubicBezTo>
                    <a:cubicBezTo>
                      <a:pt x="162" y="46"/>
                      <a:pt x="162" y="46"/>
                      <a:pt x="162" y="46"/>
                    </a:cubicBezTo>
                    <a:cubicBezTo>
                      <a:pt x="161" y="47"/>
                      <a:pt x="161" y="47"/>
                      <a:pt x="161" y="47"/>
                    </a:cubicBezTo>
                    <a:cubicBezTo>
                      <a:pt x="162" y="50"/>
                      <a:pt x="162" y="50"/>
                      <a:pt x="162" y="50"/>
                    </a:cubicBezTo>
                    <a:cubicBezTo>
                      <a:pt x="164" y="52"/>
                      <a:pt x="164" y="52"/>
                      <a:pt x="164" y="52"/>
                    </a:cubicBezTo>
                    <a:cubicBezTo>
                      <a:pt x="167" y="53"/>
                      <a:pt x="167" y="53"/>
                      <a:pt x="167" y="53"/>
                    </a:cubicBezTo>
                    <a:cubicBezTo>
                      <a:pt x="169" y="52"/>
                      <a:pt x="169" y="52"/>
                      <a:pt x="169" y="52"/>
                    </a:cubicBezTo>
                    <a:cubicBezTo>
                      <a:pt x="170" y="50"/>
                      <a:pt x="170" y="50"/>
                      <a:pt x="170" y="50"/>
                    </a:cubicBezTo>
                    <a:cubicBezTo>
                      <a:pt x="173" y="49"/>
                      <a:pt x="173" y="49"/>
                      <a:pt x="173" y="49"/>
                    </a:cubicBezTo>
                    <a:cubicBezTo>
                      <a:pt x="177" y="51"/>
                      <a:pt x="177" y="51"/>
                      <a:pt x="177" y="51"/>
                    </a:cubicBezTo>
                    <a:cubicBezTo>
                      <a:pt x="178" y="53"/>
                      <a:pt x="178" y="53"/>
                      <a:pt x="178" y="53"/>
                    </a:cubicBezTo>
                    <a:cubicBezTo>
                      <a:pt x="178" y="53"/>
                      <a:pt x="182" y="53"/>
                      <a:pt x="182" y="53"/>
                    </a:cubicBezTo>
                    <a:cubicBezTo>
                      <a:pt x="182" y="53"/>
                      <a:pt x="183" y="50"/>
                      <a:pt x="183" y="50"/>
                    </a:cubicBezTo>
                    <a:cubicBezTo>
                      <a:pt x="183" y="50"/>
                      <a:pt x="184" y="48"/>
                      <a:pt x="185" y="48"/>
                    </a:cubicBezTo>
                    <a:cubicBezTo>
                      <a:pt x="186" y="48"/>
                      <a:pt x="187" y="46"/>
                      <a:pt x="188" y="46"/>
                    </a:cubicBezTo>
                    <a:cubicBezTo>
                      <a:pt x="188" y="45"/>
                      <a:pt x="189" y="43"/>
                      <a:pt x="189" y="43"/>
                    </a:cubicBezTo>
                    <a:cubicBezTo>
                      <a:pt x="189" y="43"/>
                      <a:pt x="191" y="42"/>
                      <a:pt x="192" y="42"/>
                    </a:cubicBezTo>
                    <a:cubicBezTo>
                      <a:pt x="193" y="42"/>
                      <a:pt x="199" y="41"/>
                      <a:pt x="199" y="41"/>
                    </a:cubicBezTo>
                    <a:cubicBezTo>
                      <a:pt x="199" y="41"/>
                      <a:pt x="203" y="40"/>
                      <a:pt x="204" y="39"/>
                    </a:cubicBezTo>
                    <a:cubicBezTo>
                      <a:pt x="204" y="39"/>
                      <a:pt x="208" y="36"/>
                      <a:pt x="208" y="36"/>
                    </a:cubicBezTo>
                    <a:cubicBezTo>
                      <a:pt x="209" y="33"/>
                      <a:pt x="209" y="33"/>
                      <a:pt x="209" y="33"/>
                    </a:cubicBezTo>
                    <a:cubicBezTo>
                      <a:pt x="212" y="30"/>
                      <a:pt x="212" y="30"/>
                      <a:pt x="212" y="30"/>
                    </a:cubicBezTo>
                    <a:cubicBezTo>
                      <a:pt x="212" y="30"/>
                      <a:pt x="213" y="30"/>
                      <a:pt x="213" y="29"/>
                    </a:cubicBezTo>
                    <a:cubicBezTo>
                      <a:pt x="213" y="28"/>
                      <a:pt x="214" y="25"/>
                      <a:pt x="214" y="25"/>
                    </a:cubicBezTo>
                    <a:cubicBezTo>
                      <a:pt x="216" y="24"/>
                      <a:pt x="216" y="24"/>
                      <a:pt x="216" y="24"/>
                    </a:cubicBezTo>
                    <a:cubicBezTo>
                      <a:pt x="216" y="24"/>
                      <a:pt x="218" y="25"/>
                      <a:pt x="218" y="26"/>
                    </a:cubicBezTo>
                    <a:cubicBezTo>
                      <a:pt x="218" y="26"/>
                      <a:pt x="217" y="28"/>
                      <a:pt x="217" y="28"/>
                    </a:cubicBezTo>
                    <a:cubicBezTo>
                      <a:pt x="217" y="28"/>
                      <a:pt x="215" y="29"/>
                      <a:pt x="214" y="30"/>
                    </a:cubicBezTo>
                    <a:cubicBezTo>
                      <a:pt x="214" y="30"/>
                      <a:pt x="214" y="32"/>
                      <a:pt x="214" y="32"/>
                    </a:cubicBezTo>
                    <a:cubicBezTo>
                      <a:pt x="216" y="30"/>
                      <a:pt x="216" y="30"/>
                      <a:pt x="216" y="30"/>
                    </a:cubicBezTo>
                    <a:cubicBezTo>
                      <a:pt x="216" y="30"/>
                      <a:pt x="217" y="29"/>
                      <a:pt x="217" y="29"/>
                    </a:cubicBezTo>
                    <a:cubicBezTo>
                      <a:pt x="217" y="29"/>
                      <a:pt x="221" y="28"/>
                      <a:pt x="221" y="28"/>
                    </a:cubicBezTo>
                    <a:cubicBezTo>
                      <a:pt x="221" y="28"/>
                      <a:pt x="223" y="29"/>
                      <a:pt x="223" y="29"/>
                    </a:cubicBezTo>
                    <a:cubicBezTo>
                      <a:pt x="223" y="29"/>
                      <a:pt x="225" y="30"/>
                      <a:pt x="225" y="30"/>
                    </a:cubicBezTo>
                    <a:cubicBezTo>
                      <a:pt x="229" y="29"/>
                      <a:pt x="229" y="29"/>
                      <a:pt x="229" y="29"/>
                    </a:cubicBezTo>
                    <a:cubicBezTo>
                      <a:pt x="229" y="27"/>
                      <a:pt x="229" y="27"/>
                      <a:pt x="229" y="27"/>
                    </a:cubicBezTo>
                    <a:cubicBezTo>
                      <a:pt x="229" y="27"/>
                      <a:pt x="229" y="26"/>
                      <a:pt x="230" y="26"/>
                    </a:cubicBezTo>
                    <a:cubicBezTo>
                      <a:pt x="231" y="25"/>
                      <a:pt x="233" y="24"/>
                      <a:pt x="233" y="24"/>
                    </a:cubicBezTo>
                    <a:cubicBezTo>
                      <a:pt x="233" y="24"/>
                      <a:pt x="233" y="22"/>
                      <a:pt x="233" y="21"/>
                    </a:cubicBezTo>
                    <a:cubicBezTo>
                      <a:pt x="233" y="21"/>
                      <a:pt x="234" y="19"/>
                      <a:pt x="234" y="19"/>
                    </a:cubicBezTo>
                    <a:cubicBezTo>
                      <a:pt x="234" y="19"/>
                      <a:pt x="234" y="19"/>
                      <a:pt x="234" y="19"/>
                    </a:cubicBezTo>
                    <a:cubicBezTo>
                      <a:pt x="234" y="19"/>
                      <a:pt x="236" y="18"/>
                      <a:pt x="236" y="18"/>
                    </a:cubicBezTo>
                    <a:cubicBezTo>
                      <a:pt x="236" y="18"/>
                      <a:pt x="237" y="15"/>
                      <a:pt x="237" y="15"/>
                    </a:cubicBezTo>
                    <a:cubicBezTo>
                      <a:pt x="237" y="15"/>
                      <a:pt x="237" y="14"/>
                      <a:pt x="238" y="14"/>
                    </a:cubicBezTo>
                    <a:cubicBezTo>
                      <a:pt x="238" y="14"/>
                      <a:pt x="240" y="12"/>
                      <a:pt x="240" y="12"/>
                    </a:cubicBezTo>
                    <a:cubicBezTo>
                      <a:pt x="241" y="11"/>
                      <a:pt x="241" y="11"/>
                      <a:pt x="242" y="11"/>
                    </a:cubicBezTo>
                    <a:cubicBezTo>
                      <a:pt x="242" y="11"/>
                      <a:pt x="243" y="13"/>
                      <a:pt x="243" y="13"/>
                    </a:cubicBezTo>
                    <a:cubicBezTo>
                      <a:pt x="243" y="13"/>
                      <a:pt x="243" y="14"/>
                      <a:pt x="242" y="15"/>
                    </a:cubicBezTo>
                    <a:cubicBezTo>
                      <a:pt x="241" y="15"/>
                      <a:pt x="240" y="16"/>
                      <a:pt x="240" y="16"/>
                    </a:cubicBezTo>
                    <a:cubicBezTo>
                      <a:pt x="240" y="16"/>
                      <a:pt x="242" y="18"/>
                      <a:pt x="242" y="18"/>
                    </a:cubicBezTo>
                    <a:cubicBezTo>
                      <a:pt x="242" y="18"/>
                      <a:pt x="243" y="19"/>
                      <a:pt x="243" y="19"/>
                    </a:cubicBezTo>
                    <a:cubicBezTo>
                      <a:pt x="243" y="20"/>
                      <a:pt x="242" y="21"/>
                      <a:pt x="242" y="21"/>
                    </a:cubicBezTo>
                    <a:cubicBezTo>
                      <a:pt x="243" y="21"/>
                      <a:pt x="246" y="20"/>
                      <a:pt x="246" y="20"/>
                    </a:cubicBezTo>
                    <a:cubicBezTo>
                      <a:pt x="246" y="20"/>
                      <a:pt x="246" y="18"/>
                      <a:pt x="246" y="18"/>
                    </a:cubicBezTo>
                    <a:cubicBezTo>
                      <a:pt x="246" y="18"/>
                      <a:pt x="248" y="16"/>
                      <a:pt x="248" y="16"/>
                    </a:cubicBezTo>
                    <a:cubicBezTo>
                      <a:pt x="249" y="16"/>
                      <a:pt x="251" y="17"/>
                      <a:pt x="251" y="17"/>
                    </a:cubicBezTo>
                    <a:cubicBezTo>
                      <a:pt x="251" y="17"/>
                      <a:pt x="251" y="18"/>
                      <a:pt x="251" y="19"/>
                    </a:cubicBezTo>
                    <a:cubicBezTo>
                      <a:pt x="250" y="19"/>
                      <a:pt x="248" y="21"/>
                      <a:pt x="248" y="21"/>
                    </a:cubicBezTo>
                    <a:cubicBezTo>
                      <a:pt x="248" y="22"/>
                      <a:pt x="247" y="22"/>
                      <a:pt x="248" y="22"/>
                    </a:cubicBezTo>
                    <a:cubicBezTo>
                      <a:pt x="248" y="23"/>
                      <a:pt x="250" y="25"/>
                      <a:pt x="250" y="25"/>
                    </a:cubicBezTo>
                    <a:cubicBezTo>
                      <a:pt x="253" y="27"/>
                      <a:pt x="253" y="27"/>
                      <a:pt x="253" y="27"/>
                    </a:cubicBezTo>
                    <a:cubicBezTo>
                      <a:pt x="253" y="27"/>
                      <a:pt x="253" y="28"/>
                      <a:pt x="253" y="29"/>
                    </a:cubicBezTo>
                    <a:cubicBezTo>
                      <a:pt x="253" y="29"/>
                      <a:pt x="248" y="29"/>
                      <a:pt x="248" y="29"/>
                    </a:cubicBezTo>
                    <a:cubicBezTo>
                      <a:pt x="248" y="29"/>
                      <a:pt x="248" y="29"/>
                      <a:pt x="247" y="30"/>
                    </a:cubicBezTo>
                    <a:cubicBezTo>
                      <a:pt x="247" y="30"/>
                      <a:pt x="246" y="31"/>
                      <a:pt x="244" y="32"/>
                    </a:cubicBezTo>
                    <a:cubicBezTo>
                      <a:pt x="242" y="32"/>
                      <a:pt x="242" y="32"/>
                      <a:pt x="242" y="33"/>
                    </a:cubicBezTo>
                    <a:cubicBezTo>
                      <a:pt x="242" y="34"/>
                      <a:pt x="241" y="35"/>
                      <a:pt x="242" y="36"/>
                    </a:cubicBezTo>
                    <a:cubicBezTo>
                      <a:pt x="243" y="37"/>
                      <a:pt x="245" y="38"/>
                      <a:pt x="245" y="38"/>
                    </a:cubicBezTo>
                    <a:cubicBezTo>
                      <a:pt x="245" y="38"/>
                      <a:pt x="250" y="40"/>
                      <a:pt x="250" y="39"/>
                    </a:cubicBezTo>
                    <a:cubicBezTo>
                      <a:pt x="250" y="39"/>
                      <a:pt x="257" y="39"/>
                      <a:pt x="257" y="39"/>
                    </a:cubicBezTo>
                    <a:cubicBezTo>
                      <a:pt x="260" y="39"/>
                      <a:pt x="260" y="39"/>
                      <a:pt x="260" y="39"/>
                    </a:cubicBezTo>
                    <a:cubicBezTo>
                      <a:pt x="260" y="39"/>
                      <a:pt x="261" y="41"/>
                      <a:pt x="262" y="42"/>
                    </a:cubicBezTo>
                    <a:cubicBezTo>
                      <a:pt x="262" y="42"/>
                      <a:pt x="266" y="45"/>
                      <a:pt x="266" y="45"/>
                    </a:cubicBezTo>
                    <a:cubicBezTo>
                      <a:pt x="268" y="45"/>
                      <a:pt x="268" y="45"/>
                      <a:pt x="268" y="45"/>
                    </a:cubicBezTo>
                    <a:cubicBezTo>
                      <a:pt x="269" y="49"/>
                      <a:pt x="269" y="49"/>
                      <a:pt x="269" y="49"/>
                    </a:cubicBezTo>
                    <a:cubicBezTo>
                      <a:pt x="268" y="52"/>
                      <a:pt x="268" y="52"/>
                      <a:pt x="268" y="52"/>
                    </a:cubicBezTo>
                    <a:cubicBezTo>
                      <a:pt x="265" y="53"/>
                      <a:pt x="265" y="53"/>
                      <a:pt x="265" y="53"/>
                    </a:cubicBezTo>
                    <a:cubicBezTo>
                      <a:pt x="261" y="56"/>
                      <a:pt x="261" y="56"/>
                      <a:pt x="261" y="56"/>
                    </a:cubicBezTo>
                    <a:cubicBezTo>
                      <a:pt x="259" y="55"/>
                      <a:pt x="259" y="55"/>
                      <a:pt x="259" y="55"/>
                    </a:cubicBezTo>
                    <a:cubicBezTo>
                      <a:pt x="259" y="55"/>
                      <a:pt x="261" y="57"/>
                      <a:pt x="262" y="57"/>
                    </a:cubicBezTo>
                    <a:cubicBezTo>
                      <a:pt x="263" y="57"/>
                      <a:pt x="264" y="58"/>
                      <a:pt x="264" y="58"/>
                    </a:cubicBezTo>
                    <a:cubicBezTo>
                      <a:pt x="265" y="58"/>
                      <a:pt x="269" y="58"/>
                      <a:pt x="273" y="58"/>
                    </a:cubicBezTo>
                    <a:cubicBezTo>
                      <a:pt x="273" y="59"/>
                      <a:pt x="273" y="59"/>
                      <a:pt x="273" y="60"/>
                    </a:cubicBezTo>
                    <a:cubicBezTo>
                      <a:pt x="274" y="61"/>
                      <a:pt x="275" y="65"/>
                      <a:pt x="275" y="66"/>
                    </a:cubicBezTo>
                    <a:cubicBezTo>
                      <a:pt x="275" y="66"/>
                      <a:pt x="276" y="70"/>
                      <a:pt x="278" y="73"/>
                    </a:cubicBezTo>
                    <a:cubicBezTo>
                      <a:pt x="281" y="77"/>
                      <a:pt x="280" y="78"/>
                      <a:pt x="280" y="78"/>
                    </a:cubicBezTo>
                    <a:cubicBezTo>
                      <a:pt x="280" y="87"/>
                      <a:pt x="280" y="87"/>
                      <a:pt x="280" y="87"/>
                    </a:cubicBezTo>
                    <a:cubicBezTo>
                      <a:pt x="280" y="95"/>
                      <a:pt x="280" y="95"/>
                      <a:pt x="280" y="95"/>
                    </a:cubicBezTo>
                    <a:cubicBezTo>
                      <a:pt x="275" y="99"/>
                      <a:pt x="275" y="99"/>
                      <a:pt x="275" y="99"/>
                    </a:cubicBezTo>
                    <a:cubicBezTo>
                      <a:pt x="273" y="108"/>
                      <a:pt x="273" y="108"/>
                      <a:pt x="273" y="108"/>
                    </a:cubicBezTo>
                    <a:cubicBezTo>
                      <a:pt x="273" y="108"/>
                      <a:pt x="274" y="109"/>
                      <a:pt x="275" y="109"/>
                    </a:cubicBezTo>
                    <a:cubicBezTo>
                      <a:pt x="276" y="110"/>
                      <a:pt x="279" y="113"/>
                      <a:pt x="279" y="113"/>
                    </a:cubicBezTo>
                    <a:cubicBezTo>
                      <a:pt x="280" y="114"/>
                      <a:pt x="286" y="117"/>
                      <a:pt x="289" y="118"/>
                    </a:cubicBezTo>
                    <a:cubicBezTo>
                      <a:pt x="292" y="120"/>
                      <a:pt x="291" y="125"/>
                      <a:pt x="291" y="125"/>
                    </a:cubicBezTo>
                    <a:cubicBezTo>
                      <a:pt x="289" y="132"/>
                      <a:pt x="289" y="132"/>
                      <a:pt x="289" y="132"/>
                    </a:cubicBezTo>
                    <a:cubicBezTo>
                      <a:pt x="289" y="132"/>
                      <a:pt x="290" y="136"/>
                      <a:pt x="292" y="136"/>
                    </a:cubicBezTo>
                    <a:cubicBezTo>
                      <a:pt x="293" y="135"/>
                      <a:pt x="294" y="141"/>
                      <a:pt x="294" y="141"/>
                    </a:cubicBezTo>
                    <a:cubicBezTo>
                      <a:pt x="294" y="141"/>
                      <a:pt x="295" y="147"/>
                      <a:pt x="295" y="148"/>
                    </a:cubicBezTo>
                    <a:cubicBezTo>
                      <a:pt x="294" y="149"/>
                      <a:pt x="295" y="150"/>
                      <a:pt x="295" y="150"/>
                    </a:cubicBezTo>
                    <a:cubicBezTo>
                      <a:pt x="297" y="154"/>
                      <a:pt x="297" y="154"/>
                      <a:pt x="297" y="154"/>
                    </a:cubicBezTo>
                    <a:cubicBezTo>
                      <a:pt x="297" y="154"/>
                      <a:pt x="296" y="157"/>
                      <a:pt x="295" y="158"/>
                    </a:cubicBezTo>
                    <a:cubicBezTo>
                      <a:pt x="295" y="160"/>
                      <a:pt x="294" y="162"/>
                      <a:pt x="294" y="162"/>
                    </a:cubicBezTo>
                    <a:cubicBezTo>
                      <a:pt x="295" y="165"/>
                      <a:pt x="295" y="165"/>
                      <a:pt x="295" y="165"/>
                    </a:cubicBezTo>
                    <a:cubicBezTo>
                      <a:pt x="299" y="170"/>
                      <a:pt x="299" y="170"/>
                      <a:pt x="299" y="170"/>
                    </a:cubicBezTo>
                    <a:cubicBezTo>
                      <a:pt x="299" y="175"/>
                      <a:pt x="299" y="175"/>
                      <a:pt x="299" y="175"/>
                    </a:cubicBezTo>
                    <a:cubicBezTo>
                      <a:pt x="299" y="178"/>
                      <a:pt x="299" y="178"/>
                      <a:pt x="299" y="178"/>
                    </a:cubicBezTo>
                    <a:cubicBezTo>
                      <a:pt x="299" y="178"/>
                      <a:pt x="302" y="179"/>
                      <a:pt x="303" y="179"/>
                    </a:cubicBezTo>
                    <a:cubicBezTo>
                      <a:pt x="304" y="179"/>
                      <a:pt x="306" y="181"/>
                      <a:pt x="306" y="181"/>
                    </a:cubicBezTo>
                    <a:cubicBezTo>
                      <a:pt x="306" y="181"/>
                      <a:pt x="306" y="183"/>
                      <a:pt x="306" y="184"/>
                    </a:cubicBezTo>
                    <a:cubicBezTo>
                      <a:pt x="306" y="184"/>
                      <a:pt x="309" y="188"/>
                      <a:pt x="309" y="188"/>
                    </a:cubicBezTo>
                    <a:cubicBezTo>
                      <a:pt x="310" y="189"/>
                      <a:pt x="312" y="192"/>
                      <a:pt x="312" y="192"/>
                    </a:cubicBezTo>
                    <a:cubicBezTo>
                      <a:pt x="312" y="192"/>
                      <a:pt x="312" y="194"/>
                      <a:pt x="309" y="197"/>
                    </a:cubicBezTo>
                    <a:cubicBezTo>
                      <a:pt x="307" y="200"/>
                      <a:pt x="308" y="200"/>
                      <a:pt x="308" y="201"/>
                    </a:cubicBezTo>
                    <a:cubicBezTo>
                      <a:pt x="308" y="202"/>
                      <a:pt x="309" y="204"/>
                      <a:pt x="309" y="204"/>
                    </a:cubicBezTo>
                    <a:cubicBezTo>
                      <a:pt x="309" y="204"/>
                      <a:pt x="308" y="205"/>
                      <a:pt x="307" y="206"/>
                    </a:cubicBezTo>
                    <a:cubicBezTo>
                      <a:pt x="307" y="206"/>
                      <a:pt x="306" y="208"/>
                      <a:pt x="306" y="210"/>
                    </a:cubicBezTo>
                    <a:cubicBezTo>
                      <a:pt x="302" y="213"/>
                      <a:pt x="302" y="213"/>
                      <a:pt x="302" y="213"/>
                    </a:cubicBezTo>
                    <a:cubicBezTo>
                      <a:pt x="302" y="213"/>
                      <a:pt x="302" y="213"/>
                      <a:pt x="301" y="214"/>
                    </a:cubicBezTo>
                    <a:cubicBezTo>
                      <a:pt x="301" y="213"/>
                      <a:pt x="300" y="213"/>
                      <a:pt x="299" y="213"/>
                    </a:cubicBezTo>
                    <a:cubicBezTo>
                      <a:pt x="298" y="212"/>
                      <a:pt x="297" y="211"/>
                      <a:pt x="297" y="211"/>
                    </a:cubicBezTo>
                    <a:cubicBezTo>
                      <a:pt x="297" y="211"/>
                      <a:pt x="297" y="209"/>
                      <a:pt x="297" y="207"/>
                    </a:cubicBezTo>
                    <a:cubicBezTo>
                      <a:pt x="297" y="205"/>
                      <a:pt x="297" y="206"/>
                      <a:pt x="297" y="205"/>
                    </a:cubicBezTo>
                    <a:cubicBezTo>
                      <a:pt x="296" y="204"/>
                      <a:pt x="294" y="203"/>
                      <a:pt x="292" y="202"/>
                    </a:cubicBezTo>
                    <a:cubicBezTo>
                      <a:pt x="290" y="202"/>
                      <a:pt x="286" y="202"/>
                      <a:pt x="285" y="203"/>
                    </a:cubicBezTo>
                    <a:cubicBezTo>
                      <a:pt x="285" y="203"/>
                      <a:pt x="285" y="207"/>
                      <a:pt x="285" y="207"/>
                    </a:cubicBezTo>
                    <a:cubicBezTo>
                      <a:pt x="287" y="210"/>
                      <a:pt x="287" y="210"/>
                      <a:pt x="287" y="210"/>
                    </a:cubicBezTo>
                    <a:cubicBezTo>
                      <a:pt x="286" y="212"/>
                      <a:pt x="286" y="212"/>
                      <a:pt x="286" y="212"/>
                    </a:cubicBezTo>
                    <a:cubicBezTo>
                      <a:pt x="286" y="212"/>
                      <a:pt x="277" y="214"/>
                      <a:pt x="274" y="214"/>
                    </a:cubicBezTo>
                    <a:cubicBezTo>
                      <a:pt x="271" y="214"/>
                      <a:pt x="272" y="216"/>
                      <a:pt x="272" y="216"/>
                    </a:cubicBezTo>
                    <a:cubicBezTo>
                      <a:pt x="270" y="220"/>
                      <a:pt x="270" y="220"/>
                      <a:pt x="270" y="220"/>
                    </a:cubicBezTo>
                    <a:cubicBezTo>
                      <a:pt x="268" y="222"/>
                      <a:pt x="268" y="222"/>
                      <a:pt x="268" y="222"/>
                    </a:cubicBezTo>
                    <a:cubicBezTo>
                      <a:pt x="262" y="224"/>
                      <a:pt x="262" y="224"/>
                      <a:pt x="262" y="224"/>
                    </a:cubicBezTo>
                    <a:cubicBezTo>
                      <a:pt x="262" y="224"/>
                      <a:pt x="256" y="229"/>
                      <a:pt x="255" y="229"/>
                    </a:cubicBezTo>
                    <a:cubicBezTo>
                      <a:pt x="251" y="232"/>
                      <a:pt x="251" y="232"/>
                      <a:pt x="251" y="232"/>
                    </a:cubicBezTo>
                    <a:cubicBezTo>
                      <a:pt x="251" y="232"/>
                      <a:pt x="250" y="232"/>
                      <a:pt x="247" y="234"/>
                    </a:cubicBezTo>
                    <a:cubicBezTo>
                      <a:pt x="243" y="235"/>
                      <a:pt x="245" y="237"/>
                      <a:pt x="244" y="238"/>
                    </a:cubicBezTo>
                    <a:cubicBezTo>
                      <a:pt x="244" y="240"/>
                      <a:pt x="243" y="240"/>
                      <a:pt x="241" y="241"/>
                    </a:cubicBezTo>
                    <a:cubicBezTo>
                      <a:pt x="240" y="241"/>
                      <a:pt x="237" y="240"/>
                      <a:pt x="235" y="240"/>
                    </a:cubicBezTo>
                    <a:cubicBezTo>
                      <a:pt x="234" y="240"/>
                      <a:pt x="231" y="242"/>
                      <a:pt x="229" y="242"/>
                    </a:cubicBezTo>
                    <a:cubicBezTo>
                      <a:pt x="226" y="242"/>
                      <a:pt x="226" y="242"/>
                      <a:pt x="226" y="242"/>
                    </a:cubicBezTo>
                    <a:cubicBezTo>
                      <a:pt x="222" y="247"/>
                      <a:pt x="222" y="247"/>
                      <a:pt x="222" y="247"/>
                    </a:cubicBezTo>
                    <a:cubicBezTo>
                      <a:pt x="219" y="253"/>
                      <a:pt x="219" y="253"/>
                      <a:pt x="219" y="253"/>
                    </a:cubicBezTo>
                    <a:cubicBezTo>
                      <a:pt x="218" y="250"/>
                      <a:pt x="218" y="250"/>
                      <a:pt x="218" y="250"/>
                    </a:cubicBezTo>
                    <a:cubicBezTo>
                      <a:pt x="217" y="246"/>
                      <a:pt x="217" y="246"/>
                      <a:pt x="217" y="246"/>
                    </a:cubicBezTo>
                    <a:cubicBezTo>
                      <a:pt x="212" y="246"/>
                      <a:pt x="212" y="246"/>
                      <a:pt x="212" y="246"/>
                    </a:cubicBezTo>
                    <a:cubicBezTo>
                      <a:pt x="213" y="249"/>
                      <a:pt x="213" y="249"/>
                      <a:pt x="213" y="249"/>
                    </a:cubicBezTo>
                    <a:cubicBezTo>
                      <a:pt x="213" y="249"/>
                      <a:pt x="215" y="256"/>
                      <a:pt x="216" y="257"/>
                    </a:cubicBezTo>
                    <a:cubicBezTo>
                      <a:pt x="217" y="258"/>
                      <a:pt x="218" y="258"/>
                      <a:pt x="220" y="259"/>
                    </a:cubicBezTo>
                    <a:cubicBezTo>
                      <a:pt x="223" y="261"/>
                      <a:pt x="223" y="261"/>
                      <a:pt x="226" y="263"/>
                    </a:cubicBezTo>
                    <a:cubicBezTo>
                      <a:pt x="229" y="265"/>
                      <a:pt x="228" y="267"/>
                      <a:pt x="228" y="268"/>
                    </a:cubicBezTo>
                    <a:cubicBezTo>
                      <a:pt x="228" y="270"/>
                      <a:pt x="228" y="270"/>
                      <a:pt x="226" y="272"/>
                    </a:cubicBezTo>
                    <a:cubicBezTo>
                      <a:pt x="224" y="275"/>
                      <a:pt x="226" y="277"/>
                      <a:pt x="226" y="277"/>
                    </a:cubicBezTo>
                    <a:cubicBezTo>
                      <a:pt x="226" y="277"/>
                      <a:pt x="227" y="279"/>
                      <a:pt x="229" y="281"/>
                    </a:cubicBezTo>
                    <a:cubicBezTo>
                      <a:pt x="231" y="283"/>
                      <a:pt x="230" y="284"/>
                      <a:pt x="231" y="287"/>
                    </a:cubicBezTo>
                    <a:cubicBezTo>
                      <a:pt x="231" y="290"/>
                      <a:pt x="231" y="289"/>
                      <a:pt x="233" y="292"/>
                    </a:cubicBezTo>
                    <a:cubicBezTo>
                      <a:pt x="235" y="294"/>
                      <a:pt x="234" y="293"/>
                      <a:pt x="236" y="295"/>
                    </a:cubicBezTo>
                    <a:cubicBezTo>
                      <a:pt x="238" y="297"/>
                      <a:pt x="238" y="298"/>
                      <a:pt x="238" y="298"/>
                    </a:cubicBezTo>
                    <a:cubicBezTo>
                      <a:pt x="238" y="298"/>
                      <a:pt x="244" y="296"/>
                      <a:pt x="246" y="298"/>
                    </a:cubicBezTo>
                    <a:cubicBezTo>
                      <a:pt x="248" y="300"/>
                      <a:pt x="247" y="299"/>
                      <a:pt x="251" y="302"/>
                    </a:cubicBezTo>
                    <a:cubicBezTo>
                      <a:pt x="254" y="306"/>
                      <a:pt x="251" y="304"/>
                      <a:pt x="252" y="307"/>
                    </a:cubicBezTo>
                    <a:cubicBezTo>
                      <a:pt x="253" y="309"/>
                      <a:pt x="254" y="308"/>
                      <a:pt x="254" y="308"/>
                    </a:cubicBezTo>
                    <a:cubicBezTo>
                      <a:pt x="254" y="308"/>
                      <a:pt x="255" y="309"/>
                      <a:pt x="257" y="309"/>
                    </a:cubicBezTo>
                    <a:cubicBezTo>
                      <a:pt x="259" y="309"/>
                      <a:pt x="259" y="311"/>
                      <a:pt x="259" y="313"/>
                    </a:cubicBezTo>
                    <a:cubicBezTo>
                      <a:pt x="260" y="315"/>
                      <a:pt x="260" y="315"/>
                      <a:pt x="262" y="317"/>
                    </a:cubicBezTo>
                    <a:cubicBezTo>
                      <a:pt x="263" y="318"/>
                      <a:pt x="264" y="317"/>
                      <a:pt x="267" y="316"/>
                    </a:cubicBezTo>
                    <a:cubicBezTo>
                      <a:pt x="269" y="316"/>
                      <a:pt x="268" y="318"/>
                      <a:pt x="268" y="319"/>
                    </a:cubicBezTo>
                    <a:cubicBezTo>
                      <a:pt x="268" y="320"/>
                      <a:pt x="270" y="320"/>
                      <a:pt x="272" y="321"/>
                    </a:cubicBezTo>
                    <a:cubicBezTo>
                      <a:pt x="274" y="322"/>
                      <a:pt x="273" y="322"/>
                      <a:pt x="275" y="324"/>
                    </a:cubicBezTo>
                    <a:cubicBezTo>
                      <a:pt x="275" y="324"/>
                      <a:pt x="275" y="324"/>
                      <a:pt x="275" y="325"/>
                    </a:cubicBezTo>
                    <a:close/>
                    <a:moveTo>
                      <a:pt x="55" y="394"/>
                    </a:moveTo>
                    <a:cubicBezTo>
                      <a:pt x="55" y="394"/>
                      <a:pt x="55" y="394"/>
                      <a:pt x="55" y="394"/>
                    </a:cubicBezTo>
                    <a:cubicBezTo>
                      <a:pt x="55" y="394"/>
                      <a:pt x="55" y="394"/>
                      <a:pt x="55" y="394"/>
                    </a:cubicBezTo>
                    <a:cubicBezTo>
                      <a:pt x="55" y="394"/>
                      <a:pt x="55" y="394"/>
                      <a:pt x="55" y="394"/>
                    </a:cubicBezTo>
                    <a:close/>
                    <a:moveTo>
                      <a:pt x="128" y="400"/>
                    </a:moveTo>
                    <a:cubicBezTo>
                      <a:pt x="128" y="400"/>
                      <a:pt x="128" y="400"/>
                      <a:pt x="128" y="400"/>
                    </a:cubicBezTo>
                    <a:cubicBezTo>
                      <a:pt x="128" y="400"/>
                      <a:pt x="128" y="400"/>
                      <a:pt x="128" y="400"/>
                    </a:cubicBezTo>
                    <a:cubicBezTo>
                      <a:pt x="128" y="400"/>
                      <a:pt x="128" y="400"/>
                      <a:pt x="128" y="400"/>
                    </a:cubicBezTo>
                    <a:cubicBezTo>
                      <a:pt x="128" y="400"/>
                      <a:pt x="128" y="400"/>
                      <a:pt x="128" y="400"/>
                    </a:cubicBezTo>
                    <a:close/>
                    <a:moveTo>
                      <a:pt x="312" y="204"/>
                    </a:moveTo>
                    <a:cubicBezTo>
                      <a:pt x="312" y="204"/>
                      <a:pt x="312" y="204"/>
                      <a:pt x="312" y="204"/>
                    </a:cubicBezTo>
                    <a:cubicBezTo>
                      <a:pt x="312" y="204"/>
                      <a:pt x="312" y="204"/>
                      <a:pt x="312" y="204"/>
                    </a:cubicBezTo>
                    <a:cubicBezTo>
                      <a:pt x="312" y="204"/>
                      <a:pt x="312" y="204"/>
                      <a:pt x="312" y="204"/>
                    </a:cubicBezTo>
                    <a:close/>
                  </a:path>
                </a:pathLst>
              </a:custGeom>
              <a:solidFill>
                <a:srgbClr val="EB6E62"/>
              </a:solidFill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69" name="Freeform 80">
                <a:extLst>
                  <a:ext uri="{FF2B5EF4-FFF2-40B4-BE49-F238E27FC236}">
                    <a16:creationId xmlns:a16="http://schemas.microsoft.com/office/drawing/2014/main" id="{24F5FBD7-F1C7-95B0-0737-EB31F67952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86411" y="3153955"/>
                <a:ext cx="1102071" cy="1218750"/>
              </a:xfrm>
              <a:custGeom>
                <a:avLst/>
                <a:gdLst>
                  <a:gd name="T0" fmla="*/ 372 w 492"/>
                  <a:gd name="T1" fmla="*/ 536 h 561"/>
                  <a:gd name="T2" fmla="*/ 338 w 492"/>
                  <a:gd name="T3" fmla="*/ 556 h 561"/>
                  <a:gd name="T4" fmla="*/ 272 w 492"/>
                  <a:gd name="T5" fmla="*/ 521 h 561"/>
                  <a:gd name="T6" fmla="*/ 260 w 492"/>
                  <a:gd name="T7" fmla="*/ 489 h 561"/>
                  <a:gd name="T8" fmla="*/ 318 w 492"/>
                  <a:gd name="T9" fmla="*/ 489 h 561"/>
                  <a:gd name="T10" fmla="*/ 376 w 492"/>
                  <a:gd name="T11" fmla="*/ 476 h 561"/>
                  <a:gd name="T12" fmla="*/ 403 w 492"/>
                  <a:gd name="T13" fmla="*/ 478 h 561"/>
                  <a:gd name="T14" fmla="*/ 442 w 492"/>
                  <a:gd name="T15" fmla="*/ 422 h 561"/>
                  <a:gd name="T16" fmla="*/ 411 w 492"/>
                  <a:gd name="T17" fmla="*/ 385 h 561"/>
                  <a:gd name="T18" fmla="*/ 455 w 492"/>
                  <a:gd name="T19" fmla="*/ 350 h 561"/>
                  <a:gd name="T20" fmla="*/ 490 w 492"/>
                  <a:gd name="T21" fmla="*/ 351 h 561"/>
                  <a:gd name="T22" fmla="*/ 379 w 492"/>
                  <a:gd name="T23" fmla="*/ 295 h 561"/>
                  <a:gd name="T24" fmla="*/ 340 w 492"/>
                  <a:gd name="T25" fmla="*/ 271 h 561"/>
                  <a:gd name="T26" fmla="*/ 275 w 492"/>
                  <a:gd name="T27" fmla="*/ 186 h 561"/>
                  <a:gd name="T28" fmla="*/ 218 w 492"/>
                  <a:gd name="T29" fmla="*/ 109 h 561"/>
                  <a:gd name="T30" fmla="*/ 247 w 492"/>
                  <a:gd name="T31" fmla="*/ 78 h 561"/>
                  <a:gd name="T32" fmla="*/ 267 w 492"/>
                  <a:gd name="T33" fmla="*/ 63 h 561"/>
                  <a:gd name="T34" fmla="*/ 262 w 492"/>
                  <a:gd name="T35" fmla="*/ 56 h 561"/>
                  <a:gd name="T36" fmla="*/ 258 w 492"/>
                  <a:gd name="T37" fmla="*/ 46 h 561"/>
                  <a:gd name="T38" fmla="*/ 267 w 492"/>
                  <a:gd name="T39" fmla="*/ 30 h 561"/>
                  <a:gd name="T40" fmla="*/ 212 w 492"/>
                  <a:gd name="T41" fmla="*/ 15 h 561"/>
                  <a:gd name="T42" fmla="*/ 185 w 492"/>
                  <a:gd name="T43" fmla="*/ 4 h 561"/>
                  <a:gd name="T44" fmla="*/ 148 w 492"/>
                  <a:gd name="T45" fmla="*/ 15 h 561"/>
                  <a:gd name="T46" fmla="*/ 148 w 492"/>
                  <a:gd name="T47" fmla="*/ 26 h 561"/>
                  <a:gd name="T48" fmla="*/ 139 w 492"/>
                  <a:gd name="T49" fmla="*/ 27 h 561"/>
                  <a:gd name="T50" fmla="*/ 132 w 492"/>
                  <a:gd name="T51" fmla="*/ 34 h 561"/>
                  <a:gd name="T52" fmla="*/ 136 w 492"/>
                  <a:gd name="T53" fmla="*/ 46 h 561"/>
                  <a:gd name="T54" fmla="*/ 129 w 492"/>
                  <a:gd name="T55" fmla="*/ 40 h 561"/>
                  <a:gd name="T56" fmla="*/ 114 w 492"/>
                  <a:gd name="T57" fmla="*/ 45 h 561"/>
                  <a:gd name="T58" fmla="*/ 104 w 492"/>
                  <a:gd name="T59" fmla="*/ 34 h 561"/>
                  <a:gd name="T60" fmla="*/ 101 w 492"/>
                  <a:gd name="T61" fmla="*/ 47 h 561"/>
                  <a:gd name="T62" fmla="*/ 94 w 492"/>
                  <a:gd name="T63" fmla="*/ 61 h 561"/>
                  <a:gd name="T64" fmla="*/ 89 w 492"/>
                  <a:gd name="T65" fmla="*/ 71 h 561"/>
                  <a:gd name="T66" fmla="*/ 87 w 492"/>
                  <a:gd name="T67" fmla="*/ 58 h 561"/>
                  <a:gd name="T68" fmla="*/ 73 w 492"/>
                  <a:gd name="T69" fmla="*/ 51 h 561"/>
                  <a:gd name="T70" fmla="*/ 65 w 492"/>
                  <a:gd name="T71" fmla="*/ 39 h 561"/>
                  <a:gd name="T72" fmla="*/ 58 w 492"/>
                  <a:gd name="T73" fmla="*/ 51 h 561"/>
                  <a:gd name="T74" fmla="*/ 50 w 492"/>
                  <a:gd name="T75" fmla="*/ 63 h 561"/>
                  <a:gd name="T76" fmla="*/ 35 w 492"/>
                  <a:gd name="T77" fmla="*/ 63 h 561"/>
                  <a:gd name="T78" fmla="*/ 19 w 492"/>
                  <a:gd name="T79" fmla="*/ 69 h 561"/>
                  <a:gd name="T80" fmla="*/ 18 w 492"/>
                  <a:gd name="T81" fmla="*/ 100 h 561"/>
                  <a:gd name="T82" fmla="*/ 14 w 492"/>
                  <a:gd name="T83" fmla="*/ 134 h 561"/>
                  <a:gd name="T84" fmla="*/ 31 w 492"/>
                  <a:gd name="T85" fmla="*/ 180 h 561"/>
                  <a:gd name="T86" fmla="*/ 86 w 492"/>
                  <a:gd name="T87" fmla="*/ 147 h 561"/>
                  <a:gd name="T88" fmla="*/ 139 w 492"/>
                  <a:gd name="T89" fmla="*/ 179 h 561"/>
                  <a:gd name="T90" fmla="*/ 162 w 492"/>
                  <a:gd name="T91" fmla="*/ 237 h 561"/>
                  <a:gd name="T92" fmla="*/ 207 w 492"/>
                  <a:gd name="T93" fmla="*/ 276 h 561"/>
                  <a:gd name="T94" fmla="*/ 251 w 492"/>
                  <a:gd name="T95" fmla="*/ 307 h 561"/>
                  <a:gd name="T96" fmla="*/ 289 w 492"/>
                  <a:gd name="T97" fmla="*/ 317 h 561"/>
                  <a:gd name="T98" fmla="*/ 334 w 492"/>
                  <a:gd name="T99" fmla="*/ 346 h 561"/>
                  <a:gd name="T100" fmla="*/ 357 w 492"/>
                  <a:gd name="T101" fmla="*/ 374 h 561"/>
                  <a:gd name="T102" fmla="*/ 395 w 492"/>
                  <a:gd name="T103" fmla="*/ 418 h 561"/>
                  <a:gd name="T104" fmla="*/ 390 w 492"/>
                  <a:gd name="T105" fmla="*/ 463 h 561"/>
                  <a:gd name="T106" fmla="*/ 75 w 492"/>
                  <a:gd name="T107" fmla="*/ 342 h 561"/>
                  <a:gd name="T108" fmla="*/ 126 w 492"/>
                  <a:gd name="T109" fmla="*/ 355 h 561"/>
                  <a:gd name="T110" fmla="*/ 113 w 492"/>
                  <a:gd name="T111" fmla="*/ 441 h 561"/>
                  <a:gd name="T112" fmla="*/ 71 w 492"/>
                  <a:gd name="T113" fmla="*/ 446 h 561"/>
                  <a:gd name="T114" fmla="*/ 73 w 492"/>
                  <a:gd name="T115" fmla="*/ 395 h 561"/>
                  <a:gd name="T116" fmla="*/ 57 w 492"/>
                  <a:gd name="T117" fmla="*/ 358 h 5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2" h="561">
                    <a:moveTo>
                      <a:pt x="376" y="476"/>
                    </a:moveTo>
                    <a:cubicBezTo>
                      <a:pt x="377" y="483"/>
                      <a:pt x="377" y="483"/>
                      <a:pt x="377" y="483"/>
                    </a:cubicBezTo>
                    <a:cubicBezTo>
                      <a:pt x="377" y="483"/>
                      <a:pt x="371" y="493"/>
                      <a:pt x="371" y="494"/>
                    </a:cubicBezTo>
                    <a:cubicBezTo>
                      <a:pt x="371" y="495"/>
                      <a:pt x="369" y="499"/>
                      <a:pt x="367" y="502"/>
                    </a:cubicBezTo>
                    <a:cubicBezTo>
                      <a:pt x="366" y="504"/>
                      <a:pt x="360" y="512"/>
                      <a:pt x="360" y="512"/>
                    </a:cubicBezTo>
                    <a:cubicBezTo>
                      <a:pt x="360" y="512"/>
                      <a:pt x="360" y="515"/>
                      <a:pt x="362" y="517"/>
                    </a:cubicBezTo>
                    <a:cubicBezTo>
                      <a:pt x="363" y="519"/>
                      <a:pt x="366" y="522"/>
                      <a:pt x="366" y="525"/>
                    </a:cubicBezTo>
                    <a:cubicBezTo>
                      <a:pt x="366" y="527"/>
                      <a:pt x="371" y="530"/>
                      <a:pt x="371" y="530"/>
                    </a:cubicBezTo>
                    <a:cubicBezTo>
                      <a:pt x="372" y="536"/>
                      <a:pt x="372" y="536"/>
                      <a:pt x="372" y="536"/>
                    </a:cubicBezTo>
                    <a:cubicBezTo>
                      <a:pt x="372" y="536"/>
                      <a:pt x="375" y="539"/>
                      <a:pt x="375" y="540"/>
                    </a:cubicBezTo>
                    <a:cubicBezTo>
                      <a:pt x="374" y="541"/>
                      <a:pt x="369" y="546"/>
                      <a:pt x="369" y="546"/>
                    </a:cubicBezTo>
                    <a:cubicBezTo>
                      <a:pt x="368" y="552"/>
                      <a:pt x="368" y="552"/>
                      <a:pt x="368" y="552"/>
                    </a:cubicBezTo>
                    <a:cubicBezTo>
                      <a:pt x="368" y="555"/>
                      <a:pt x="368" y="555"/>
                      <a:pt x="368" y="555"/>
                    </a:cubicBezTo>
                    <a:cubicBezTo>
                      <a:pt x="368" y="555"/>
                      <a:pt x="369" y="555"/>
                      <a:pt x="368" y="558"/>
                    </a:cubicBezTo>
                    <a:cubicBezTo>
                      <a:pt x="367" y="560"/>
                      <a:pt x="367" y="560"/>
                      <a:pt x="366" y="560"/>
                    </a:cubicBezTo>
                    <a:cubicBezTo>
                      <a:pt x="365" y="561"/>
                      <a:pt x="355" y="560"/>
                      <a:pt x="355" y="560"/>
                    </a:cubicBezTo>
                    <a:cubicBezTo>
                      <a:pt x="345" y="558"/>
                      <a:pt x="345" y="558"/>
                      <a:pt x="345" y="558"/>
                    </a:cubicBezTo>
                    <a:cubicBezTo>
                      <a:pt x="345" y="558"/>
                      <a:pt x="340" y="557"/>
                      <a:pt x="338" y="556"/>
                    </a:cubicBezTo>
                    <a:cubicBezTo>
                      <a:pt x="337" y="555"/>
                      <a:pt x="335" y="554"/>
                      <a:pt x="335" y="554"/>
                    </a:cubicBezTo>
                    <a:cubicBezTo>
                      <a:pt x="332" y="545"/>
                      <a:pt x="332" y="545"/>
                      <a:pt x="332" y="545"/>
                    </a:cubicBezTo>
                    <a:cubicBezTo>
                      <a:pt x="324" y="544"/>
                      <a:pt x="324" y="544"/>
                      <a:pt x="324" y="544"/>
                    </a:cubicBezTo>
                    <a:cubicBezTo>
                      <a:pt x="304" y="541"/>
                      <a:pt x="304" y="541"/>
                      <a:pt x="304" y="541"/>
                    </a:cubicBezTo>
                    <a:cubicBezTo>
                      <a:pt x="304" y="541"/>
                      <a:pt x="297" y="535"/>
                      <a:pt x="296" y="534"/>
                    </a:cubicBezTo>
                    <a:cubicBezTo>
                      <a:pt x="294" y="533"/>
                      <a:pt x="292" y="530"/>
                      <a:pt x="292" y="530"/>
                    </a:cubicBezTo>
                    <a:cubicBezTo>
                      <a:pt x="288" y="529"/>
                      <a:pt x="288" y="529"/>
                      <a:pt x="288" y="529"/>
                    </a:cubicBezTo>
                    <a:cubicBezTo>
                      <a:pt x="280" y="521"/>
                      <a:pt x="280" y="521"/>
                      <a:pt x="280" y="521"/>
                    </a:cubicBezTo>
                    <a:cubicBezTo>
                      <a:pt x="272" y="521"/>
                      <a:pt x="272" y="521"/>
                      <a:pt x="272" y="521"/>
                    </a:cubicBezTo>
                    <a:cubicBezTo>
                      <a:pt x="266" y="517"/>
                      <a:pt x="266" y="517"/>
                      <a:pt x="266" y="517"/>
                    </a:cubicBezTo>
                    <a:cubicBezTo>
                      <a:pt x="259" y="517"/>
                      <a:pt x="259" y="517"/>
                      <a:pt x="259" y="517"/>
                    </a:cubicBezTo>
                    <a:cubicBezTo>
                      <a:pt x="259" y="517"/>
                      <a:pt x="254" y="516"/>
                      <a:pt x="254" y="515"/>
                    </a:cubicBezTo>
                    <a:cubicBezTo>
                      <a:pt x="253" y="513"/>
                      <a:pt x="247" y="510"/>
                      <a:pt x="247" y="510"/>
                    </a:cubicBezTo>
                    <a:cubicBezTo>
                      <a:pt x="247" y="510"/>
                      <a:pt x="247" y="504"/>
                      <a:pt x="247" y="503"/>
                    </a:cubicBezTo>
                    <a:cubicBezTo>
                      <a:pt x="247" y="502"/>
                      <a:pt x="248" y="492"/>
                      <a:pt x="248" y="492"/>
                    </a:cubicBezTo>
                    <a:cubicBezTo>
                      <a:pt x="252" y="487"/>
                      <a:pt x="252" y="487"/>
                      <a:pt x="252" y="487"/>
                    </a:cubicBezTo>
                    <a:cubicBezTo>
                      <a:pt x="258" y="485"/>
                      <a:pt x="258" y="485"/>
                      <a:pt x="258" y="485"/>
                    </a:cubicBezTo>
                    <a:cubicBezTo>
                      <a:pt x="260" y="489"/>
                      <a:pt x="260" y="489"/>
                      <a:pt x="260" y="489"/>
                    </a:cubicBezTo>
                    <a:cubicBezTo>
                      <a:pt x="267" y="492"/>
                      <a:pt x="267" y="492"/>
                      <a:pt x="267" y="492"/>
                    </a:cubicBezTo>
                    <a:cubicBezTo>
                      <a:pt x="271" y="489"/>
                      <a:pt x="271" y="489"/>
                      <a:pt x="271" y="489"/>
                    </a:cubicBezTo>
                    <a:cubicBezTo>
                      <a:pt x="273" y="483"/>
                      <a:pt x="273" y="483"/>
                      <a:pt x="273" y="483"/>
                    </a:cubicBezTo>
                    <a:cubicBezTo>
                      <a:pt x="279" y="481"/>
                      <a:pt x="279" y="481"/>
                      <a:pt x="279" y="481"/>
                    </a:cubicBezTo>
                    <a:cubicBezTo>
                      <a:pt x="286" y="484"/>
                      <a:pt x="286" y="484"/>
                      <a:pt x="286" y="484"/>
                    </a:cubicBezTo>
                    <a:cubicBezTo>
                      <a:pt x="291" y="489"/>
                      <a:pt x="291" y="489"/>
                      <a:pt x="291" y="489"/>
                    </a:cubicBezTo>
                    <a:cubicBezTo>
                      <a:pt x="301" y="492"/>
                      <a:pt x="301" y="492"/>
                      <a:pt x="301" y="492"/>
                    </a:cubicBezTo>
                    <a:cubicBezTo>
                      <a:pt x="310" y="490"/>
                      <a:pt x="310" y="490"/>
                      <a:pt x="310" y="490"/>
                    </a:cubicBezTo>
                    <a:cubicBezTo>
                      <a:pt x="318" y="489"/>
                      <a:pt x="318" y="489"/>
                      <a:pt x="318" y="489"/>
                    </a:cubicBezTo>
                    <a:cubicBezTo>
                      <a:pt x="318" y="489"/>
                      <a:pt x="322" y="489"/>
                      <a:pt x="324" y="489"/>
                    </a:cubicBezTo>
                    <a:cubicBezTo>
                      <a:pt x="325" y="488"/>
                      <a:pt x="331" y="486"/>
                      <a:pt x="331" y="486"/>
                    </a:cubicBezTo>
                    <a:cubicBezTo>
                      <a:pt x="341" y="483"/>
                      <a:pt x="341" y="483"/>
                      <a:pt x="341" y="483"/>
                    </a:cubicBezTo>
                    <a:cubicBezTo>
                      <a:pt x="347" y="475"/>
                      <a:pt x="347" y="475"/>
                      <a:pt x="347" y="475"/>
                    </a:cubicBezTo>
                    <a:cubicBezTo>
                      <a:pt x="355" y="478"/>
                      <a:pt x="355" y="478"/>
                      <a:pt x="355" y="478"/>
                    </a:cubicBezTo>
                    <a:cubicBezTo>
                      <a:pt x="362" y="479"/>
                      <a:pt x="362" y="479"/>
                      <a:pt x="362" y="479"/>
                    </a:cubicBezTo>
                    <a:cubicBezTo>
                      <a:pt x="365" y="474"/>
                      <a:pt x="365" y="474"/>
                      <a:pt x="365" y="474"/>
                    </a:cubicBezTo>
                    <a:cubicBezTo>
                      <a:pt x="372" y="470"/>
                      <a:pt x="372" y="470"/>
                      <a:pt x="372" y="470"/>
                    </a:cubicBezTo>
                    <a:cubicBezTo>
                      <a:pt x="376" y="476"/>
                      <a:pt x="376" y="476"/>
                      <a:pt x="376" y="476"/>
                    </a:cubicBezTo>
                    <a:close/>
                    <a:moveTo>
                      <a:pt x="388" y="469"/>
                    </a:moveTo>
                    <a:cubicBezTo>
                      <a:pt x="388" y="469"/>
                      <a:pt x="388" y="469"/>
                      <a:pt x="388" y="469"/>
                    </a:cubicBezTo>
                    <a:cubicBezTo>
                      <a:pt x="384" y="473"/>
                      <a:pt x="384" y="473"/>
                      <a:pt x="384" y="473"/>
                    </a:cubicBezTo>
                    <a:cubicBezTo>
                      <a:pt x="380" y="476"/>
                      <a:pt x="380" y="476"/>
                      <a:pt x="380" y="476"/>
                    </a:cubicBezTo>
                    <a:cubicBezTo>
                      <a:pt x="380" y="476"/>
                      <a:pt x="381" y="480"/>
                      <a:pt x="381" y="482"/>
                    </a:cubicBezTo>
                    <a:cubicBezTo>
                      <a:pt x="382" y="484"/>
                      <a:pt x="385" y="489"/>
                      <a:pt x="385" y="489"/>
                    </a:cubicBezTo>
                    <a:cubicBezTo>
                      <a:pt x="395" y="489"/>
                      <a:pt x="395" y="489"/>
                      <a:pt x="395" y="489"/>
                    </a:cubicBezTo>
                    <a:cubicBezTo>
                      <a:pt x="402" y="485"/>
                      <a:pt x="402" y="485"/>
                      <a:pt x="402" y="485"/>
                    </a:cubicBezTo>
                    <a:cubicBezTo>
                      <a:pt x="403" y="478"/>
                      <a:pt x="403" y="478"/>
                      <a:pt x="403" y="478"/>
                    </a:cubicBezTo>
                    <a:cubicBezTo>
                      <a:pt x="406" y="471"/>
                      <a:pt x="406" y="471"/>
                      <a:pt x="406" y="471"/>
                    </a:cubicBezTo>
                    <a:cubicBezTo>
                      <a:pt x="412" y="467"/>
                      <a:pt x="412" y="467"/>
                      <a:pt x="412" y="467"/>
                    </a:cubicBezTo>
                    <a:cubicBezTo>
                      <a:pt x="417" y="462"/>
                      <a:pt x="417" y="462"/>
                      <a:pt x="417" y="462"/>
                    </a:cubicBezTo>
                    <a:cubicBezTo>
                      <a:pt x="420" y="457"/>
                      <a:pt x="420" y="457"/>
                      <a:pt x="420" y="457"/>
                    </a:cubicBezTo>
                    <a:cubicBezTo>
                      <a:pt x="421" y="444"/>
                      <a:pt x="421" y="444"/>
                      <a:pt x="421" y="444"/>
                    </a:cubicBezTo>
                    <a:cubicBezTo>
                      <a:pt x="424" y="434"/>
                      <a:pt x="424" y="434"/>
                      <a:pt x="424" y="434"/>
                    </a:cubicBezTo>
                    <a:cubicBezTo>
                      <a:pt x="440" y="428"/>
                      <a:pt x="440" y="428"/>
                      <a:pt x="440" y="428"/>
                    </a:cubicBezTo>
                    <a:cubicBezTo>
                      <a:pt x="443" y="426"/>
                      <a:pt x="443" y="426"/>
                      <a:pt x="443" y="426"/>
                    </a:cubicBezTo>
                    <a:cubicBezTo>
                      <a:pt x="443" y="426"/>
                      <a:pt x="443" y="424"/>
                      <a:pt x="442" y="422"/>
                    </a:cubicBezTo>
                    <a:cubicBezTo>
                      <a:pt x="442" y="421"/>
                      <a:pt x="439" y="418"/>
                      <a:pt x="439" y="418"/>
                    </a:cubicBezTo>
                    <a:cubicBezTo>
                      <a:pt x="439" y="418"/>
                      <a:pt x="440" y="415"/>
                      <a:pt x="440" y="414"/>
                    </a:cubicBezTo>
                    <a:cubicBezTo>
                      <a:pt x="440" y="413"/>
                      <a:pt x="439" y="406"/>
                      <a:pt x="439" y="406"/>
                    </a:cubicBezTo>
                    <a:cubicBezTo>
                      <a:pt x="437" y="399"/>
                      <a:pt x="437" y="399"/>
                      <a:pt x="437" y="399"/>
                    </a:cubicBezTo>
                    <a:cubicBezTo>
                      <a:pt x="437" y="399"/>
                      <a:pt x="435" y="399"/>
                      <a:pt x="432" y="397"/>
                    </a:cubicBezTo>
                    <a:cubicBezTo>
                      <a:pt x="429" y="396"/>
                      <a:pt x="424" y="393"/>
                      <a:pt x="424" y="393"/>
                    </a:cubicBezTo>
                    <a:cubicBezTo>
                      <a:pt x="419" y="391"/>
                      <a:pt x="419" y="391"/>
                      <a:pt x="419" y="391"/>
                    </a:cubicBezTo>
                    <a:cubicBezTo>
                      <a:pt x="413" y="390"/>
                      <a:pt x="413" y="390"/>
                      <a:pt x="413" y="390"/>
                    </a:cubicBezTo>
                    <a:cubicBezTo>
                      <a:pt x="411" y="385"/>
                      <a:pt x="411" y="385"/>
                      <a:pt x="411" y="385"/>
                    </a:cubicBezTo>
                    <a:cubicBezTo>
                      <a:pt x="415" y="371"/>
                      <a:pt x="415" y="371"/>
                      <a:pt x="415" y="371"/>
                    </a:cubicBezTo>
                    <a:cubicBezTo>
                      <a:pt x="412" y="364"/>
                      <a:pt x="412" y="364"/>
                      <a:pt x="412" y="364"/>
                    </a:cubicBezTo>
                    <a:cubicBezTo>
                      <a:pt x="421" y="354"/>
                      <a:pt x="421" y="354"/>
                      <a:pt x="421" y="354"/>
                    </a:cubicBezTo>
                    <a:cubicBezTo>
                      <a:pt x="425" y="347"/>
                      <a:pt x="425" y="347"/>
                      <a:pt x="425" y="347"/>
                    </a:cubicBezTo>
                    <a:cubicBezTo>
                      <a:pt x="430" y="343"/>
                      <a:pt x="430" y="343"/>
                      <a:pt x="430" y="343"/>
                    </a:cubicBezTo>
                    <a:cubicBezTo>
                      <a:pt x="438" y="345"/>
                      <a:pt x="438" y="345"/>
                      <a:pt x="438" y="345"/>
                    </a:cubicBezTo>
                    <a:cubicBezTo>
                      <a:pt x="441" y="349"/>
                      <a:pt x="441" y="349"/>
                      <a:pt x="441" y="349"/>
                    </a:cubicBezTo>
                    <a:cubicBezTo>
                      <a:pt x="446" y="350"/>
                      <a:pt x="446" y="350"/>
                      <a:pt x="446" y="350"/>
                    </a:cubicBezTo>
                    <a:cubicBezTo>
                      <a:pt x="455" y="350"/>
                      <a:pt x="455" y="350"/>
                      <a:pt x="455" y="350"/>
                    </a:cubicBezTo>
                    <a:cubicBezTo>
                      <a:pt x="465" y="352"/>
                      <a:pt x="465" y="352"/>
                      <a:pt x="465" y="352"/>
                    </a:cubicBezTo>
                    <a:cubicBezTo>
                      <a:pt x="469" y="358"/>
                      <a:pt x="469" y="358"/>
                      <a:pt x="469" y="358"/>
                    </a:cubicBezTo>
                    <a:cubicBezTo>
                      <a:pt x="473" y="365"/>
                      <a:pt x="473" y="365"/>
                      <a:pt x="473" y="365"/>
                    </a:cubicBezTo>
                    <a:cubicBezTo>
                      <a:pt x="473" y="365"/>
                      <a:pt x="475" y="368"/>
                      <a:pt x="476" y="369"/>
                    </a:cubicBezTo>
                    <a:cubicBezTo>
                      <a:pt x="476" y="369"/>
                      <a:pt x="480" y="372"/>
                      <a:pt x="481" y="372"/>
                    </a:cubicBezTo>
                    <a:cubicBezTo>
                      <a:pt x="482" y="373"/>
                      <a:pt x="488" y="374"/>
                      <a:pt x="488" y="374"/>
                    </a:cubicBezTo>
                    <a:cubicBezTo>
                      <a:pt x="488" y="374"/>
                      <a:pt x="488" y="367"/>
                      <a:pt x="489" y="365"/>
                    </a:cubicBezTo>
                    <a:cubicBezTo>
                      <a:pt x="490" y="364"/>
                      <a:pt x="492" y="360"/>
                      <a:pt x="492" y="359"/>
                    </a:cubicBezTo>
                    <a:cubicBezTo>
                      <a:pt x="492" y="358"/>
                      <a:pt x="490" y="351"/>
                      <a:pt x="490" y="351"/>
                    </a:cubicBezTo>
                    <a:cubicBezTo>
                      <a:pt x="483" y="343"/>
                      <a:pt x="483" y="343"/>
                      <a:pt x="483" y="343"/>
                    </a:cubicBezTo>
                    <a:cubicBezTo>
                      <a:pt x="476" y="338"/>
                      <a:pt x="476" y="338"/>
                      <a:pt x="476" y="338"/>
                    </a:cubicBezTo>
                    <a:cubicBezTo>
                      <a:pt x="459" y="327"/>
                      <a:pt x="459" y="327"/>
                      <a:pt x="459" y="327"/>
                    </a:cubicBezTo>
                    <a:cubicBezTo>
                      <a:pt x="435" y="319"/>
                      <a:pt x="435" y="319"/>
                      <a:pt x="435" y="319"/>
                    </a:cubicBezTo>
                    <a:cubicBezTo>
                      <a:pt x="419" y="309"/>
                      <a:pt x="419" y="309"/>
                      <a:pt x="419" y="309"/>
                    </a:cubicBezTo>
                    <a:cubicBezTo>
                      <a:pt x="406" y="306"/>
                      <a:pt x="406" y="306"/>
                      <a:pt x="406" y="306"/>
                    </a:cubicBezTo>
                    <a:cubicBezTo>
                      <a:pt x="406" y="306"/>
                      <a:pt x="392" y="299"/>
                      <a:pt x="391" y="299"/>
                    </a:cubicBezTo>
                    <a:cubicBezTo>
                      <a:pt x="390" y="299"/>
                      <a:pt x="387" y="298"/>
                      <a:pt x="387" y="298"/>
                    </a:cubicBezTo>
                    <a:cubicBezTo>
                      <a:pt x="387" y="298"/>
                      <a:pt x="379" y="296"/>
                      <a:pt x="379" y="295"/>
                    </a:cubicBezTo>
                    <a:cubicBezTo>
                      <a:pt x="378" y="294"/>
                      <a:pt x="377" y="291"/>
                      <a:pt x="376" y="290"/>
                    </a:cubicBezTo>
                    <a:cubicBezTo>
                      <a:pt x="376" y="289"/>
                      <a:pt x="377" y="286"/>
                      <a:pt x="377" y="286"/>
                    </a:cubicBezTo>
                    <a:cubicBezTo>
                      <a:pt x="381" y="282"/>
                      <a:pt x="381" y="282"/>
                      <a:pt x="381" y="282"/>
                    </a:cubicBezTo>
                    <a:cubicBezTo>
                      <a:pt x="381" y="282"/>
                      <a:pt x="385" y="278"/>
                      <a:pt x="385" y="277"/>
                    </a:cubicBezTo>
                    <a:cubicBezTo>
                      <a:pt x="385" y="276"/>
                      <a:pt x="386" y="270"/>
                      <a:pt x="386" y="270"/>
                    </a:cubicBezTo>
                    <a:cubicBezTo>
                      <a:pt x="381" y="268"/>
                      <a:pt x="381" y="268"/>
                      <a:pt x="381" y="268"/>
                    </a:cubicBezTo>
                    <a:cubicBezTo>
                      <a:pt x="369" y="269"/>
                      <a:pt x="369" y="269"/>
                      <a:pt x="369" y="269"/>
                    </a:cubicBezTo>
                    <a:cubicBezTo>
                      <a:pt x="350" y="271"/>
                      <a:pt x="350" y="271"/>
                      <a:pt x="350" y="271"/>
                    </a:cubicBezTo>
                    <a:cubicBezTo>
                      <a:pt x="340" y="271"/>
                      <a:pt x="340" y="271"/>
                      <a:pt x="340" y="271"/>
                    </a:cubicBezTo>
                    <a:cubicBezTo>
                      <a:pt x="327" y="263"/>
                      <a:pt x="327" y="263"/>
                      <a:pt x="327" y="263"/>
                    </a:cubicBezTo>
                    <a:cubicBezTo>
                      <a:pt x="316" y="254"/>
                      <a:pt x="316" y="254"/>
                      <a:pt x="316" y="254"/>
                    </a:cubicBezTo>
                    <a:cubicBezTo>
                      <a:pt x="309" y="250"/>
                      <a:pt x="309" y="250"/>
                      <a:pt x="309" y="250"/>
                    </a:cubicBezTo>
                    <a:cubicBezTo>
                      <a:pt x="299" y="239"/>
                      <a:pt x="299" y="239"/>
                      <a:pt x="299" y="239"/>
                    </a:cubicBezTo>
                    <a:cubicBezTo>
                      <a:pt x="294" y="232"/>
                      <a:pt x="294" y="232"/>
                      <a:pt x="294" y="232"/>
                    </a:cubicBezTo>
                    <a:cubicBezTo>
                      <a:pt x="294" y="232"/>
                      <a:pt x="291" y="222"/>
                      <a:pt x="290" y="218"/>
                    </a:cubicBezTo>
                    <a:cubicBezTo>
                      <a:pt x="289" y="215"/>
                      <a:pt x="281" y="204"/>
                      <a:pt x="281" y="204"/>
                    </a:cubicBezTo>
                    <a:cubicBezTo>
                      <a:pt x="281" y="204"/>
                      <a:pt x="277" y="195"/>
                      <a:pt x="277" y="194"/>
                    </a:cubicBezTo>
                    <a:cubicBezTo>
                      <a:pt x="277" y="193"/>
                      <a:pt x="275" y="186"/>
                      <a:pt x="275" y="186"/>
                    </a:cubicBezTo>
                    <a:cubicBezTo>
                      <a:pt x="262" y="180"/>
                      <a:pt x="262" y="180"/>
                      <a:pt x="262" y="180"/>
                    </a:cubicBezTo>
                    <a:cubicBezTo>
                      <a:pt x="245" y="170"/>
                      <a:pt x="245" y="170"/>
                      <a:pt x="245" y="170"/>
                    </a:cubicBezTo>
                    <a:cubicBezTo>
                      <a:pt x="231" y="161"/>
                      <a:pt x="231" y="161"/>
                      <a:pt x="231" y="161"/>
                    </a:cubicBezTo>
                    <a:cubicBezTo>
                      <a:pt x="224" y="151"/>
                      <a:pt x="224" y="151"/>
                      <a:pt x="224" y="151"/>
                    </a:cubicBezTo>
                    <a:cubicBezTo>
                      <a:pt x="218" y="135"/>
                      <a:pt x="218" y="135"/>
                      <a:pt x="218" y="135"/>
                    </a:cubicBezTo>
                    <a:cubicBezTo>
                      <a:pt x="217" y="122"/>
                      <a:pt x="217" y="122"/>
                      <a:pt x="217" y="122"/>
                    </a:cubicBezTo>
                    <a:cubicBezTo>
                      <a:pt x="224" y="119"/>
                      <a:pt x="224" y="119"/>
                      <a:pt x="224" y="119"/>
                    </a:cubicBezTo>
                    <a:cubicBezTo>
                      <a:pt x="224" y="113"/>
                      <a:pt x="224" y="113"/>
                      <a:pt x="224" y="113"/>
                    </a:cubicBezTo>
                    <a:cubicBezTo>
                      <a:pt x="218" y="109"/>
                      <a:pt x="218" y="109"/>
                      <a:pt x="218" y="109"/>
                    </a:cubicBezTo>
                    <a:cubicBezTo>
                      <a:pt x="218" y="103"/>
                      <a:pt x="218" y="103"/>
                      <a:pt x="218" y="103"/>
                    </a:cubicBezTo>
                    <a:cubicBezTo>
                      <a:pt x="215" y="101"/>
                      <a:pt x="215" y="101"/>
                      <a:pt x="215" y="101"/>
                    </a:cubicBezTo>
                    <a:cubicBezTo>
                      <a:pt x="211" y="96"/>
                      <a:pt x="211" y="96"/>
                      <a:pt x="211" y="96"/>
                    </a:cubicBezTo>
                    <a:cubicBezTo>
                      <a:pt x="219" y="92"/>
                      <a:pt x="219" y="92"/>
                      <a:pt x="219" y="92"/>
                    </a:cubicBezTo>
                    <a:cubicBezTo>
                      <a:pt x="219" y="92"/>
                      <a:pt x="222" y="88"/>
                      <a:pt x="226" y="88"/>
                    </a:cubicBezTo>
                    <a:cubicBezTo>
                      <a:pt x="230" y="88"/>
                      <a:pt x="233" y="84"/>
                      <a:pt x="233" y="84"/>
                    </a:cubicBezTo>
                    <a:cubicBezTo>
                      <a:pt x="233" y="84"/>
                      <a:pt x="236" y="81"/>
                      <a:pt x="237" y="81"/>
                    </a:cubicBezTo>
                    <a:cubicBezTo>
                      <a:pt x="239" y="81"/>
                      <a:pt x="241" y="80"/>
                      <a:pt x="243" y="79"/>
                    </a:cubicBezTo>
                    <a:cubicBezTo>
                      <a:pt x="244" y="79"/>
                      <a:pt x="247" y="78"/>
                      <a:pt x="247" y="78"/>
                    </a:cubicBezTo>
                    <a:cubicBezTo>
                      <a:pt x="247" y="77"/>
                      <a:pt x="248" y="70"/>
                      <a:pt x="249" y="70"/>
                    </a:cubicBezTo>
                    <a:cubicBezTo>
                      <a:pt x="250" y="70"/>
                      <a:pt x="252" y="74"/>
                      <a:pt x="255" y="74"/>
                    </a:cubicBezTo>
                    <a:cubicBezTo>
                      <a:pt x="256" y="74"/>
                      <a:pt x="258" y="76"/>
                      <a:pt x="259" y="75"/>
                    </a:cubicBezTo>
                    <a:cubicBezTo>
                      <a:pt x="261" y="74"/>
                      <a:pt x="262" y="71"/>
                      <a:pt x="262" y="71"/>
                    </a:cubicBezTo>
                    <a:cubicBezTo>
                      <a:pt x="263" y="70"/>
                      <a:pt x="264" y="69"/>
                      <a:pt x="267" y="68"/>
                    </a:cubicBezTo>
                    <a:cubicBezTo>
                      <a:pt x="267" y="68"/>
                      <a:pt x="267" y="68"/>
                      <a:pt x="267" y="68"/>
                    </a:cubicBezTo>
                    <a:cubicBezTo>
                      <a:pt x="267" y="68"/>
                      <a:pt x="265" y="67"/>
                      <a:pt x="265" y="67"/>
                    </a:cubicBezTo>
                    <a:cubicBezTo>
                      <a:pt x="265" y="66"/>
                      <a:pt x="265" y="66"/>
                      <a:pt x="266" y="65"/>
                    </a:cubicBezTo>
                    <a:cubicBezTo>
                      <a:pt x="266" y="64"/>
                      <a:pt x="266" y="64"/>
                      <a:pt x="267" y="63"/>
                    </a:cubicBezTo>
                    <a:cubicBezTo>
                      <a:pt x="267" y="63"/>
                      <a:pt x="267" y="61"/>
                      <a:pt x="267" y="61"/>
                    </a:cubicBezTo>
                    <a:cubicBezTo>
                      <a:pt x="267" y="61"/>
                      <a:pt x="268" y="60"/>
                      <a:pt x="267" y="60"/>
                    </a:cubicBezTo>
                    <a:cubicBezTo>
                      <a:pt x="267" y="59"/>
                      <a:pt x="266" y="58"/>
                      <a:pt x="266" y="58"/>
                    </a:cubicBezTo>
                    <a:cubicBezTo>
                      <a:pt x="266" y="58"/>
                      <a:pt x="266" y="58"/>
                      <a:pt x="265" y="58"/>
                    </a:cubicBezTo>
                    <a:cubicBezTo>
                      <a:pt x="265" y="59"/>
                      <a:pt x="265" y="59"/>
                      <a:pt x="265" y="59"/>
                    </a:cubicBezTo>
                    <a:cubicBezTo>
                      <a:pt x="263" y="60"/>
                      <a:pt x="263" y="60"/>
                      <a:pt x="263" y="60"/>
                    </a:cubicBezTo>
                    <a:cubicBezTo>
                      <a:pt x="263" y="60"/>
                      <a:pt x="262" y="58"/>
                      <a:pt x="262" y="58"/>
                    </a:cubicBezTo>
                    <a:cubicBezTo>
                      <a:pt x="261" y="58"/>
                      <a:pt x="261" y="58"/>
                      <a:pt x="261" y="57"/>
                    </a:cubicBezTo>
                    <a:cubicBezTo>
                      <a:pt x="261" y="57"/>
                      <a:pt x="262" y="56"/>
                      <a:pt x="262" y="56"/>
                    </a:cubicBezTo>
                    <a:cubicBezTo>
                      <a:pt x="262" y="56"/>
                      <a:pt x="261" y="55"/>
                      <a:pt x="261" y="55"/>
                    </a:cubicBezTo>
                    <a:cubicBezTo>
                      <a:pt x="261" y="55"/>
                      <a:pt x="262" y="53"/>
                      <a:pt x="263" y="53"/>
                    </a:cubicBezTo>
                    <a:cubicBezTo>
                      <a:pt x="264" y="52"/>
                      <a:pt x="266" y="50"/>
                      <a:pt x="266" y="50"/>
                    </a:cubicBezTo>
                    <a:cubicBezTo>
                      <a:pt x="267" y="48"/>
                      <a:pt x="267" y="48"/>
                      <a:pt x="267" y="48"/>
                    </a:cubicBezTo>
                    <a:cubicBezTo>
                      <a:pt x="266" y="47"/>
                      <a:pt x="266" y="47"/>
                      <a:pt x="266" y="47"/>
                    </a:cubicBezTo>
                    <a:cubicBezTo>
                      <a:pt x="266" y="47"/>
                      <a:pt x="265" y="48"/>
                      <a:pt x="265" y="48"/>
                    </a:cubicBezTo>
                    <a:cubicBezTo>
                      <a:pt x="263" y="47"/>
                      <a:pt x="263" y="47"/>
                      <a:pt x="263" y="47"/>
                    </a:cubicBezTo>
                    <a:cubicBezTo>
                      <a:pt x="261" y="46"/>
                      <a:pt x="261" y="46"/>
                      <a:pt x="261" y="46"/>
                    </a:cubicBezTo>
                    <a:cubicBezTo>
                      <a:pt x="258" y="46"/>
                      <a:pt x="258" y="46"/>
                      <a:pt x="258" y="46"/>
                    </a:cubicBezTo>
                    <a:cubicBezTo>
                      <a:pt x="256" y="44"/>
                      <a:pt x="256" y="44"/>
                      <a:pt x="256" y="44"/>
                    </a:cubicBezTo>
                    <a:cubicBezTo>
                      <a:pt x="257" y="42"/>
                      <a:pt x="257" y="42"/>
                      <a:pt x="257" y="42"/>
                    </a:cubicBezTo>
                    <a:cubicBezTo>
                      <a:pt x="257" y="40"/>
                      <a:pt x="257" y="40"/>
                      <a:pt x="257" y="40"/>
                    </a:cubicBezTo>
                    <a:cubicBezTo>
                      <a:pt x="257" y="40"/>
                      <a:pt x="259" y="38"/>
                      <a:pt x="259" y="38"/>
                    </a:cubicBezTo>
                    <a:cubicBezTo>
                      <a:pt x="260" y="37"/>
                      <a:pt x="262" y="36"/>
                      <a:pt x="262" y="36"/>
                    </a:cubicBezTo>
                    <a:cubicBezTo>
                      <a:pt x="263" y="34"/>
                      <a:pt x="263" y="34"/>
                      <a:pt x="263" y="34"/>
                    </a:cubicBezTo>
                    <a:cubicBezTo>
                      <a:pt x="263" y="34"/>
                      <a:pt x="264" y="33"/>
                      <a:pt x="265" y="33"/>
                    </a:cubicBezTo>
                    <a:cubicBezTo>
                      <a:pt x="266" y="33"/>
                      <a:pt x="266" y="34"/>
                      <a:pt x="266" y="33"/>
                    </a:cubicBezTo>
                    <a:cubicBezTo>
                      <a:pt x="267" y="33"/>
                      <a:pt x="267" y="31"/>
                      <a:pt x="267" y="30"/>
                    </a:cubicBezTo>
                    <a:cubicBezTo>
                      <a:pt x="267" y="27"/>
                      <a:pt x="267" y="27"/>
                      <a:pt x="267" y="27"/>
                    </a:cubicBezTo>
                    <a:cubicBezTo>
                      <a:pt x="262" y="28"/>
                      <a:pt x="262" y="28"/>
                      <a:pt x="262" y="28"/>
                    </a:cubicBezTo>
                    <a:cubicBezTo>
                      <a:pt x="262" y="28"/>
                      <a:pt x="257" y="27"/>
                      <a:pt x="254" y="27"/>
                    </a:cubicBezTo>
                    <a:cubicBezTo>
                      <a:pt x="250" y="27"/>
                      <a:pt x="242" y="25"/>
                      <a:pt x="242" y="25"/>
                    </a:cubicBezTo>
                    <a:cubicBezTo>
                      <a:pt x="232" y="22"/>
                      <a:pt x="232" y="22"/>
                      <a:pt x="232" y="22"/>
                    </a:cubicBezTo>
                    <a:cubicBezTo>
                      <a:pt x="226" y="22"/>
                      <a:pt x="226" y="22"/>
                      <a:pt x="226" y="22"/>
                    </a:cubicBezTo>
                    <a:cubicBezTo>
                      <a:pt x="217" y="21"/>
                      <a:pt x="217" y="21"/>
                      <a:pt x="217" y="21"/>
                    </a:cubicBezTo>
                    <a:cubicBezTo>
                      <a:pt x="217" y="21"/>
                      <a:pt x="216" y="19"/>
                      <a:pt x="215" y="18"/>
                    </a:cubicBezTo>
                    <a:cubicBezTo>
                      <a:pt x="215" y="17"/>
                      <a:pt x="212" y="15"/>
                      <a:pt x="212" y="15"/>
                    </a:cubicBezTo>
                    <a:cubicBezTo>
                      <a:pt x="212" y="13"/>
                      <a:pt x="212" y="13"/>
                      <a:pt x="212" y="13"/>
                    </a:cubicBezTo>
                    <a:cubicBezTo>
                      <a:pt x="210" y="8"/>
                      <a:pt x="210" y="8"/>
                      <a:pt x="210" y="8"/>
                    </a:cubicBezTo>
                    <a:cubicBezTo>
                      <a:pt x="208" y="4"/>
                      <a:pt x="208" y="4"/>
                      <a:pt x="208" y="4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08" y="0"/>
                      <a:pt x="208" y="0"/>
                      <a:pt x="208" y="0"/>
                    </a:cubicBezTo>
                    <a:cubicBezTo>
                      <a:pt x="208" y="0"/>
                      <a:pt x="204" y="1"/>
                      <a:pt x="202" y="1"/>
                    </a:cubicBezTo>
                    <a:cubicBezTo>
                      <a:pt x="201" y="2"/>
                      <a:pt x="195" y="3"/>
                      <a:pt x="195" y="3"/>
                    </a:cubicBezTo>
                    <a:cubicBezTo>
                      <a:pt x="193" y="4"/>
                      <a:pt x="193" y="4"/>
                      <a:pt x="193" y="4"/>
                    </a:cubicBezTo>
                    <a:cubicBezTo>
                      <a:pt x="185" y="4"/>
                      <a:pt x="185" y="4"/>
                      <a:pt x="185" y="4"/>
                    </a:cubicBezTo>
                    <a:cubicBezTo>
                      <a:pt x="177" y="5"/>
                      <a:pt x="177" y="5"/>
                      <a:pt x="177" y="5"/>
                    </a:cubicBezTo>
                    <a:cubicBezTo>
                      <a:pt x="174" y="7"/>
                      <a:pt x="174" y="7"/>
                      <a:pt x="174" y="7"/>
                    </a:cubicBezTo>
                    <a:cubicBezTo>
                      <a:pt x="168" y="10"/>
                      <a:pt x="168" y="10"/>
                      <a:pt x="168" y="10"/>
                    </a:cubicBezTo>
                    <a:cubicBezTo>
                      <a:pt x="168" y="14"/>
                      <a:pt x="168" y="14"/>
                      <a:pt x="168" y="14"/>
                    </a:cubicBezTo>
                    <a:cubicBezTo>
                      <a:pt x="165" y="18"/>
                      <a:pt x="165" y="18"/>
                      <a:pt x="165" y="18"/>
                    </a:cubicBezTo>
                    <a:cubicBezTo>
                      <a:pt x="160" y="18"/>
                      <a:pt x="160" y="18"/>
                      <a:pt x="160" y="18"/>
                    </a:cubicBezTo>
                    <a:cubicBezTo>
                      <a:pt x="155" y="14"/>
                      <a:pt x="155" y="14"/>
                      <a:pt x="155" y="14"/>
                    </a:cubicBezTo>
                    <a:cubicBezTo>
                      <a:pt x="153" y="16"/>
                      <a:pt x="153" y="16"/>
                      <a:pt x="153" y="16"/>
                    </a:cubicBezTo>
                    <a:cubicBezTo>
                      <a:pt x="148" y="15"/>
                      <a:pt x="148" y="15"/>
                      <a:pt x="148" y="15"/>
                    </a:cubicBezTo>
                    <a:cubicBezTo>
                      <a:pt x="147" y="15"/>
                      <a:pt x="147" y="15"/>
                      <a:pt x="147" y="15"/>
                    </a:cubicBezTo>
                    <a:cubicBezTo>
                      <a:pt x="146" y="15"/>
                      <a:pt x="146" y="15"/>
                      <a:pt x="146" y="15"/>
                    </a:cubicBezTo>
                    <a:cubicBezTo>
                      <a:pt x="146" y="15"/>
                      <a:pt x="145" y="16"/>
                      <a:pt x="145" y="16"/>
                    </a:cubicBezTo>
                    <a:cubicBezTo>
                      <a:pt x="146" y="18"/>
                      <a:pt x="146" y="18"/>
                      <a:pt x="146" y="18"/>
                    </a:cubicBezTo>
                    <a:cubicBezTo>
                      <a:pt x="145" y="19"/>
                      <a:pt x="145" y="19"/>
                      <a:pt x="145" y="19"/>
                    </a:cubicBezTo>
                    <a:cubicBezTo>
                      <a:pt x="146" y="21"/>
                      <a:pt x="146" y="21"/>
                      <a:pt x="146" y="21"/>
                    </a:cubicBezTo>
                    <a:cubicBezTo>
                      <a:pt x="146" y="21"/>
                      <a:pt x="145" y="22"/>
                      <a:pt x="144" y="23"/>
                    </a:cubicBezTo>
                    <a:cubicBezTo>
                      <a:pt x="143" y="23"/>
                      <a:pt x="145" y="25"/>
                      <a:pt x="145" y="25"/>
                    </a:cubicBezTo>
                    <a:cubicBezTo>
                      <a:pt x="145" y="25"/>
                      <a:pt x="146" y="25"/>
                      <a:pt x="148" y="26"/>
                    </a:cubicBezTo>
                    <a:cubicBezTo>
                      <a:pt x="149" y="27"/>
                      <a:pt x="148" y="27"/>
                      <a:pt x="148" y="27"/>
                    </a:cubicBezTo>
                    <a:cubicBezTo>
                      <a:pt x="148" y="28"/>
                      <a:pt x="148" y="29"/>
                      <a:pt x="147" y="29"/>
                    </a:cubicBezTo>
                    <a:cubicBezTo>
                      <a:pt x="147" y="30"/>
                      <a:pt x="147" y="30"/>
                      <a:pt x="147" y="30"/>
                    </a:cubicBezTo>
                    <a:cubicBezTo>
                      <a:pt x="146" y="30"/>
                      <a:pt x="146" y="30"/>
                      <a:pt x="146" y="30"/>
                    </a:cubicBezTo>
                    <a:cubicBezTo>
                      <a:pt x="146" y="30"/>
                      <a:pt x="143" y="31"/>
                      <a:pt x="143" y="30"/>
                    </a:cubicBezTo>
                    <a:cubicBezTo>
                      <a:pt x="142" y="30"/>
                      <a:pt x="143" y="30"/>
                      <a:pt x="143" y="30"/>
                    </a:cubicBezTo>
                    <a:cubicBezTo>
                      <a:pt x="142" y="30"/>
                      <a:pt x="142" y="30"/>
                      <a:pt x="142" y="30"/>
                    </a:cubicBezTo>
                    <a:cubicBezTo>
                      <a:pt x="142" y="30"/>
                      <a:pt x="139" y="28"/>
                      <a:pt x="139" y="28"/>
                    </a:cubicBezTo>
                    <a:cubicBezTo>
                      <a:pt x="139" y="27"/>
                      <a:pt x="139" y="27"/>
                      <a:pt x="139" y="27"/>
                    </a:cubicBezTo>
                    <a:cubicBezTo>
                      <a:pt x="139" y="27"/>
                      <a:pt x="138" y="26"/>
                      <a:pt x="138" y="26"/>
                    </a:cubicBezTo>
                    <a:cubicBezTo>
                      <a:pt x="137" y="26"/>
                      <a:pt x="137" y="27"/>
                      <a:pt x="137" y="27"/>
                    </a:cubicBezTo>
                    <a:cubicBezTo>
                      <a:pt x="136" y="27"/>
                      <a:pt x="135" y="27"/>
                      <a:pt x="134" y="27"/>
                    </a:cubicBezTo>
                    <a:cubicBezTo>
                      <a:pt x="134" y="27"/>
                      <a:pt x="134" y="28"/>
                      <a:pt x="133" y="28"/>
                    </a:cubicBezTo>
                    <a:cubicBezTo>
                      <a:pt x="133" y="29"/>
                      <a:pt x="133" y="29"/>
                      <a:pt x="133" y="30"/>
                    </a:cubicBezTo>
                    <a:cubicBezTo>
                      <a:pt x="132" y="30"/>
                      <a:pt x="132" y="31"/>
                      <a:pt x="132" y="31"/>
                    </a:cubicBezTo>
                    <a:cubicBezTo>
                      <a:pt x="132" y="32"/>
                      <a:pt x="132" y="32"/>
                      <a:pt x="132" y="32"/>
                    </a:cubicBezTo>
                    <a:cubicBezTo>
                      <a:pt x="131" y="34"/>
                      <a:pt x="131" y="34"/>
                      <a:pt x="131" y="34"/>
                    </a:cubicBezTo>
                    <a:cubicBezTo>
                      <a:pt x="132" y="34"/>
                      <a:pt x="132" y="34"/>
                      <a:pt x="132" y="34"/>
                    </a:cubicBezTo>
                    <a:cubicBezTo>
                      <a:pt x="132" y="34"/>
                      <a:pt x="132" y="36"/>
                      <a:pt x="132" y="36"/>
                    </a:cubicBezTo>
                    <a:cubicBezTo>
                      <a:pt x="132" y="37"/>
                      <a:pt x="132" y="37"/>
                      <a:pt x="132" y="37"/>
                    </a:cubicBezTo>
                    <a:cubicBezTo>
                      <a:pt x="133" y="38"/>
                      <a:pt x="134" y="37"/>
                      <a:pt x="134" y="37"/>
                    </a:cubicBezTo>
                    <a:cubicBezTo>
                      <a:pt x="134" y="37"/>
                      <a:pt x="135" y="38"/>
                      <a:pt x="135" y="39"/>
                    </a:cubicBezTo>
                    <a:cubicBezTo>
                      <a:pt x="136" y="39"/>
                      <a:pt x="135" y="40"/>
                      <a:pt x="135" y="40"/>
                    </a:cubicBezTo>
                    <a:cubicBezTo>
                      <a:pt x="135" y="40"/>
                      <a:pt x="134" y="41"/>
                      <a:pt x="134" y="41"/>
                    </a:cubicBezTo>
                    <a:cubicBezTo>
                      <a:pt x="133" y="41"/>
                      <a:pt x="133" y="41"/>
                      <a:pt x="134" y="42"/>
                    </a:cubicBezTo>
                    <a:cubicBezTo>
                      <a:pt x="134" y="43"/>
                      <a:pt x="135" y="43"/>
                      <a:pt x="135" y="43"/>
                    </a:cubicBezTo>
                    <a:cubicBezTo>
                      <a:pt x="136" y="43"/>
                      <a:pt x="136" y="46"/>
                      <a:pt x="136" y="46"/>
                    </a:cubicBezTo>
                    <a:cubicBezTo>
                      <a:pt x="136" y="47"/>
                      <a:pt x="135" y="48"/>
                      <a:pt x="135" y="48"/>
                    </a:cubicBezTo>
                    <a:cubicBezTo>
                      <a:pt x="135" y="48"/>
                      <a:pt x="135" y="48"/>
                      <a:pt x="135" y="48"/>
                    </a:cubicBezTo>
                    <a:cubicBezTo>
                      <a:pt x="134" y="48"/>
                      <a:pt x="134" y="48"/>
                      <a:pt x="134" y="49"/>
                    </a:cubicBezTo>
                    <a:cubicBezTo>
                      <a:pt x="134" y="49"/>
                      <a:pt x="132" y="49"/>
                      <a:pt x="132" y="49"/>
                    </a:cubicBezTo>
                    <a:cubicBezTo>
                      <a:pt x="132" y="49"/>
                      <a:pt x="133" y="47"/>
                      <a:pt x="132" y="47"/>
                    </a:cubicBezTo>
                    <a:cubicBezTo>
                      <a:pt x="132" y="46"/>
                      <a:pt x="131" y="46"/>
                      <a:pt x="130" y="45"/>
                    </a:cubicBezTo>
                    <a:cubicBezTo>
                      <a:pt x="129" y="43"/>
                      <a:pt x="130" y="43"/>
                      <a:pt x="130" y="43"/>
                    </a:cubicBezTo>
                    <a:cubicBezTo>
                      <a:pt x="130" y="43"/>
                      <a:pt x="130" y="43"/>
                      <a:pt x="129" y="42"/>
                    </a:cubicBezTo>
                    <a:cubicBezTo>
                      <a:pt x="129" y="41"/>
                      <a:pt x="129" y="40"/>
                      <a:pt x="129" y="40"/>
                    </a:cubicBezTo>
                    <a:cubicBezTo>
                      <a:pt x="129" y="40"/>
                      <a:pt x="127" y="40"/>
                      <a:pt x="126" y="40"/>
                    </a:cubicBezTo>
                    <a:cubicBezTo>
                      <a:pt x="124" y="40"/>
                      <a:pt x="125" y="41"/>
                      <a:pt x="125" y="41"/>
                    </a:cubicBezTo>
                    <a:cubicBezTo>
                      <a:pt x="123" y="41"/>
                      <a:pt x="123" y="41"/>
                      <a:pt x="123" y="41"/>
                    </a:cubicBezTo>
                    <a:cubicBezTo>
                      <a:pt x="123" y="41"/>
                      <a:pt x="122" y="42"/>
                      <a:pt x="122" y="42"/>
                    </a:cubicBezTo>
                    <a:cubicBezTo>
                      <a:pt x="121" y="43"/>
                      <a:pt x="121" y="42"/>
                      <a:pt x="120" y="42"/>
                    </a:cubicBezTo>
                    <a:cubicBezTo>
                      <a:pt x="120" y="42"/>
                      <a:pt x="119" y="42"/>
                      <a:pt x="119" y="42"/>
                    </a:cubicBezTo>
                    <a:cubicBezTo>
                      <a:pt x="119" y="42"/>
                      <a:pt x="118" y="43"/>
                      <a:pt x="119" y="44"/>
                    </a:cubicBezTo>
                    <a:cubicBezTo>
                      <a:pt x="119" y="45"/>
                      <a:pt x="119" y="45"/>
                      <a:pt x="118" y="45"/>
                    </a:cubicBezTo>
                    <a:cubicBezTo>
                      <a:pt x="118" y="46"/>
                      <a:pt x="116" y="45"/>
                      <a:pt x="114" y="45"/>
                    </a:cubicBezTo>
                    <a:cubicBezTo>
                      <a:pt x="111" y="45"/>
                      <a:pt x="113" y="44"/>
                      <a:pt x="112" y="44"/>
                    </a:cubicBezTo>
                    <a:cubicBezTo>
                      <a:pt x="112" y="43"/>
                      <a:pt x="110" y="43"/>
                      <a:pt x="110" y="42"/>
                    </a:cubicBezTo>
                    <a:cubicBezTo>
                      <a:pt x="110" y="40"/>
                      <a:pt x="110" y="40"/>
                      <a:pt x="110" y="39"/>
                    </a:cubicBezTo>
                    <a:cubicBezTo>
                      <a:pt x="110" y="38"/>
                      <a:pt x="109" y="37"/>
                      <a:pt x="109" y="37"/>
                    </a:cubicBezTo>
                    <a:cubicBezTo>
                      <a:pt x="108" y="36"/>
                      <a:pt x="109" y="35"/>
                      <a:pt x="110" y="35"/>
                    </a:cubicBezTo>
                    <a:cubicBezTo>
                      <a:pt x="110" y="34"/>
                      <a:pt x="109" y="34"/>
                      <a:pt x="109" y="34"/>
                    </a:cubicBezTo>
                    <a:cubicBezTo>
                      <a:pt x="107" y="35"/>
                      <a:pt x="107" y="35"/>
                      <a:pt x="107" y="35"/>
                    </a:cubicBezTo>
                    <a:cubicBezTo>
                      <a:pt x="106" y="35"/>
                      <a:pt x="106" y="35"/>
                      <a:pt x="106" y="35"/>
                    </a:cubicBezTo>
                    <a:cubicBezTo>
                      <a:pt x="106" y="35"/>
                      <a:pt x="105" y="34"/>
                      <a:pt x="104" y="34"/>
                    </a:cubicBezTo>
                    <a:cubicBezTo>
                      <a:pt x="104" y="33"/>
                      <a:pt x="103" y="34"/>
                      <a:pt x="103" y="34"/>
                    </a:cubicBezTo>
                    <a:cubicBezTo>
                      <a:pt x="101" y="36"/>
                      <a:pt x="101" y="36"/>
                      <a:pt x="101" y="36"/>
                    </a:cubicBezTo>
                    <a:cubicBezTo>
                      <a:pt x="101" y="37"/>
                      <a:pt x="101" y="37"/>
                      <a:pt x="101" y="37"/>
                    </a:cubicBezTo>
                    <a:cubicBezTo>
                      <a:pt x="102" y="39"/>
                      <a:pt x="102" y="39"/>
                      <a:pt x="102" y="39"/>
                    </a:cubicBezTo>
                    <a:cubicBezTo>
                      <a:pt x="102" y="41"/>
                      <a:pt x="102" y="41"/>
                      <a:pt x="102" y="41"/>
                    </a:cubicBezTo>
                    <a:cubicBezTo>
                      <a:pt x="102" y="41"/>
                      <a:pt x="102" y="42"/>
                      <a:pt x="102" y="43"/>
                    </a:cubicBezTo>
                    <a:cubicBezTo>
                      <a:pt x="102" y="43"/>
                      <a:pt x="102" y="44"/>
                      <a:pt x="102" y="44"/>
                    </a:cubicBezTo>
                    <a:cubicBezTo>
                      <a:pt x="102" y="45"/>
                      <a:pt x="102" y="45"/>
                      <a:pt x="102" y="45"/>
                    </a:cubicBezTo>
                    <a:cubicBezTo>
                      <a:pt x="102" y="45"/>
                      <a:pt x="101" y="46"/>
                      <a:pt x="101" y="47"/>
                    </a:cubicBezTo>
                    <a:cubicBezTo>
                      <a:pt x="101" y="47"/>
                      <a:pt x="101" y="48"/>
                      <a:pt x="101" y="49"/>
                    </a:cubicBezTo>
                    <a:cubicBezTo>
                      <a:pt x="100" y="50"/>
                      <a:pt x="100" y="50"/>
                      <a:pt x="100" y="50"/>
                    </a:cubicBezTo>
                    <a:cubicBezTo>
                      <a:pt x="100" y="50"/>
                      <a:pt x="99" y="51"/>
                      <a:pt x="99" y="52"/>
                    </a:cubicBezTo>
                    <a:cubicBezTo>
                      <a:pt x="99" y="52"/>
                      <a:pt x="97" y="52"/>
                      <a:pt x="97" y="52"/>
                    </a:cubicBezTo>
                    <a:cubicBezTo>
                      <a:pt x="97" y="52"/>
                      <a:pt x="96" y="54"/>
                      <a:pt x="95" y="54"/>
                    </a:cubicBezTo>
                    <a:cubicBezTo>
                      <a:pt x="95" y="54"/>
                      <a:pt x="95" y="56"/>
                      <a:pt x="95" y="57"/>
                    </a:cubicBezTo>
                    <a:cubicBezTo>
                      <a:pt x="95" y="57"/>
                      <a:pt x="95" y="58"/>
                      <a:pt x="95" y="58"/>
                    </a:cubicBezTo>
                    <a:cubicBezTo>
                      <a:pt x="93" y="59"/>
                      <a:pt x="93" y="59"/>
                      <a:pt x="93" y="59"/>
                    </a:cubicBezTo>
                    <a:cubicBezTo>
                      <a:pt x="93" y="59"/>
                      <a:pt x="94" y="61"/>
                      <a:pt x="94" y="61"/>
                    </a:cubicBezTo>
                    <a:cubicBezTo>
                      <a:pt x="94" y="62"/>
                      <a:pt x="93" y="62"/>
                      <a:pt x="93" y="62"/>
                    </a:cubicBezTo>
                    <a:cubicBezTo>
                      <a:pt x="92" y="63"/>
                      <a:pt x="93" y="63"/>
                      <a:pt x="93" y="64"/>
                    </a:cubicBezTo>
                    <a:cubicBezTo>
                      <a:pt x="92" y="65"/>
                      <a:pt x="93" y="65"/>
                      <a:pt x="93" y="65"/>
                    </a:cubicBezTo>
                    <a:cubicBezTo>
                      <a:pt x="93" y="66"/>
                      <a:pt x="96" y="67"/>
                      <a:pt x="96" y="67"/>
                    </a:cubicBezTo>
                    <a:cubicBezTo>
                      <a:pt x="96" y="67"/>
                      <a:pt x="96" y="67"/>
                      <a:pt x="95" y="68"/>
                    </a:cubicBezTo>
                    <a:cubicBezTo>
                      <a:pt x="93" y="69"/>
                      <a:pt x="94" y="71"/>
                      <a:pt x="94" y="71"/>
                    </a:cubicBezTo>
                    <a:cubicBezTo>
                      <a:pt x="93" y="72"/>
                      <a:pt x="93" y="72"/>
                      <a:pt x="93" y="72"/>
                    </a:cubicBezTo>
                    <a:cubicBezTo>
                      <a:pt x="93" y="72"/>
                      <a:pt x="92" y="71"/>
                      <a:pt x="91" y="71"/>
                    </a:cubicBezTo>
                    <a:cubicBezTo>
                      <a:pt x="91" y="71"/>
                      <a:pt x="91" y="71"/>
                      <a:pt x="89" y="71"/>
                    </a:cubicBezTo>
                    <a:cubicBezTo>
                      <a:pt x="87" y="71"/>
                      <a:pt x="89" y="70"/>
                      <a:pt x="89" y="70"/>
                    </a:cubicBezTo>
                    <a:cubicBezTo>
                      <a:pt x="89" y="70"/>
                      <a:pt x="89" y="68"/>
                      <a:pt x="89" y="67"/>
                    </a:cubicBezTo>
                    <a:cubicBezTo>
                      <a:pt x="89" y="67"/>
                      <a:pt x="89" y="67"/>
                      <a:pt x="89" y="67"/>
                    </a:cubicBezTo>
                    <a:cubicBezTo>
                      <a:pt x="89" y="67"/>
                      <a:pt x="89" y="66"/>
                      <a:pt x="88" y="65"/>
                    </a:cubicBezTo>
                    <a:cubicBezTo>
                      <a:pt x="88" y="64"/>
                      <a:pt x="87" y="64"/>
                      <a:pt x="87" y="64"/>
                    </a:cubicBezTo>
                    <a:cubicBezTo>
                      <a:pt x="84" y="62"/>
                      <a:pt x="84" y="62"/>
                      <a:pt x="84" y="62"/>
                    </a:cubicBezTo>
                    <a:cubicBezTo>
                      <a:pt x="84" y="62"/>
                      <a:pt x="85" y="60"/>
                      <a:pt x="86" y="59"/>
                    </a:cubicBezTo>
                    <a:cubicBezTo>
                      <a:pt x="86" y="59"/>
                      <a:pt x="86" y="59"/>
                      <a:pt x="86" y="59"/>
                    </a:cubicBezTo>
                    <a:cubicBezTo>
                      <a:pt x="86" y="59"/>
                      <a:pt x="86" y="59"/>
                      <a:pt x="87" y="58"/>
                    </a:cubicBezTo>
                    <a:cubicBezTo>
                      <a:pt x="87" y="57"/>
                      <a:pt x="86" y="57"/>
                      <a:pt x="86" y="57"/>
                    </a:cubicBezTo>
                    <a:cubicBezTo>
                      <a:pt x="85" y="57"/>
                      <a:pt x="85" y="57"/>
                      <a:pt x="85" y="57"/>
                    </a:cubicBezTo>
                    <a:cubicBezTo>
                      <a:pt x="84" y="56"/>
                      <a:pt x="84" y="56"/>
                      <a:pt x="84" y="56"/>
                    </a:cubicBezTo>
                    <a:cubicBezTo>
                      <a:pt x="84" y="56"/>
                      <a:pt x="82" y="57"/>
                      <a:pt x="82" y="56"/>
                    </a:cubicBezTo>
                    <a:cubicBezTo>
                      <a:pt x="81" y="56"/>
                      <a:pt x="79" y="56"/>
                      <a:pt x="79" y="55"/>
                    </a:cubicBezTo>
                    <a:cubicBezTo>
                      <a:pt x="79" y="55"/>
                      <a:pt x="78" y="55"/>
                      <a:pt x="77" y="55"/>
                    </a:cubicBezTo>
                    <a:cubicBezTo>
                      <a:pt x="77" y="55"/>
                      <a:pt x="76" y="55"/>
                      <a:pt x="76" y="55"/>
                    </a:cubicBezTo>
                    <a:cubicBezTo>
                      <a:pt x="75" y="54"/>
                      <a:pt x="74" y="53"/>
                      <a:pt x="74" y="53"/>
                    </a:cubicBezTo>
                    <a:cubicBezTo>
                      <a:pt x="74" y="52"/>
                      <a:pt x="73" y="51"/>
                      <a:pt x="73" y="51"/>
                    </a:cubicBezTo>
                    <a:cubicBezTo>
                      <a:pt x="72" y="51"/>
                      <a:pt x="72" y="51"/>
                      <a:pt x="72" y="51"/>
                    </a:cubicBezTo>
                    <a:cubicBezTo>
                      <a:pt x="72" y="51"/>
                      <a:pt x="71" y="49"/>
                      <a:pt x="70" y="49"/>
                    </a:cubicBezTo>
                    <a:cubicBezTo>
                      <a:pt x="70" y="49"/>
                      <a:pt x="70" y="48"/>
                      <a:pt x="70" y="48"/>
                    </a:cubicBezTo>
                    <a:cubicBezTo>
                      <a:pt x="69" y="47"/>
                      <a:pt x="69" y="47"/>
                      <a:pt x="69" y="47"/>
                    </a:cubicBezTo>
                    <a:cubicBezTo>
                      <a:pt x="69" y="47"/>
                      <a:pt x="69" y="46"/>
                      <a:pt x="69" y="45"/>
                    </a:cubicBezTo>
                    <a:cubicBezTo>
                      <a:pt x="69" y="45"/>
                      <a:pt x="70" y="43"/>
                      <a:pt x="70" y="43"/>
                    </a:cubicBezTo>
                    <a:cubicBezTo>
                      <a:pt x="70" y="43"/>
                      <a:pt x="69" y="41"/>
                      <a:pt x="69" y="40"/>
                    </a:cubicBezTo>
                    <a:cubicBezTo>
                      <a:pt x="69" y="39"/>
                      <a:pt x="70" y="37"/>
                      <a:pt x="70" y="37"/>
                    </a:cubicBezTo>
                    <a:cubicBezTo>
                      <a:pt x="70" y="37"/>
                      <a:pt x="66" y="38"/>
                      <a:pt x="65" y="39"/>
                    </a:cubicBezTo>
                    <a:cubicBezTo>
                      <a:pt x="64" y="39"/>
                      <a:pt x="64" y="40"/>
                      <a:pt x="64" y="40"/>
                    </a:cubicBezTo>
                    <a:cubicBezTo>
                      <a:pt x="64" y="40"/>
                      <a:pt x="64" y="41"/>
                      <a:pt x="64" y="42"/>
                    </a:cubicBezTo>
                    <a:cubicBezTo>
                      <a:pt x="63" y="42"/>
                      <a:pt x="63" y="42"/>
                      <a:pt x="63" y="42"/>
                    </a:cubicBezTo>
                    <a:cubicBezTo>
                      <a:pt x="63" y="42"/>
                      <a:pt x="61" y="44"/>
                      <a:pt x="60" y="44"/>
                    </a:cubicBezTo>
                    <a:cubicBezTo>
                      <a:pt x="60" y="45"/>
                      <a:pt x="60" y="45"/>
                      <a:pt x="59" y="45"/>
                    </a:cubicBezTo>
                    <a:cubicBezTo>
                      <a:pt x="58" y="45"/>
                      <a:pt x="57" y="46"/>
                      <a:pt x="57" y="46"/>
                    </a:cubicBezTo>
                    <a:cubicBezTo>
                      <a:pt x="56" y="47"/>
                      <a:pt x="56" y="47"/>
                      <a:pt x="56" y="47"/>
                    </a:cubicBezTo>
                    <a:cubicBezTo>
                      <a:pt x="57" y="48"/>
                      <a:pt x="57" y="48"/>
                      <a:pt x="57" y="48"/>
                    </a:cubicBezTo>
                    <a:cubicBezTo>
                      <a:pt x="58" y="51"/>
                      <a:pt x="58" y="51"/>
                      <a:pt x="58" y="51"/>
                    </a:cubicBezTo>
                    <a:cubicBezTo>
                      <a:pt x="57" y="53"/>
                      <a:pt x="57" y="53"/>
                      <a:pt x="57" y="53"/>
                    </a:cubicBezTo>
                    <a:cubicBezTo>
                      <a:pt x="57" y="53"/>
                      <a:pt x="57" y="53"/>
                      <a:pt x="57" y="54"/>
                    </a:cubicBezTo>
                    <a:cubicBezTo>
                      <a:pt x="56" y="56"/>
                      <a:pt x="56" y="56"/>
                      <a:pt x="56" y="56"/>
                    </a:cubicBezTo>
                    <a:cubicBezTo>
                      <a:pt x="55" y="57"/>
                      <a:pt x="55" y="57"/>
                      <a:pt x="55" y="57"/>
                    </a:cubicBezTo>
                    <a:cubicBezTo>
                      <a:pt x="54" y="58"/>
                      <a:pt x="54" y="58"/>
                      <a:pt x="54" y="58"/>
                    </a:cubicBezTo>
                    <a:cubicBezTo>
                      <a:pt x="54" y="58"/>
                      <a:pt x="54" y="59"/>
                      <a:pt x="54" y="60"/>
                    </a:cubicBezTo>
                    <a:cubicBezTo>
                      <a:pt x="54" y="60"/>
                      <a:pt x="54" y="61"/>
                      <a:pt x="53" y="62"/>
                    </a:cubicBezTo>
                    <a:cubicBezTo>
                      <a:pt x="52" y="63"/>
                      <a:pt x="52" y="63"/>
                      <a:pt x="52" y="63"/>
                    </a:cubicBezTo>
                    <a:cubicBezTo>
                      <a:pt x="52" y="63"/>
                      <a:pt x="51" y="63"/>
                      <a:pt x="50" y="63"/>
                    </a:cubicBezTo>
                    <a:cubicBezTo>
                      <a:pt x="49" y="63"/>
                      <a:pt x="49" y="64"/>
                      <a:pt x="48" y="64"/>
                    </a:cubicBezTo>
                    <a:cubicBezTo>
                      <a:pt x="46" y="64"/>
                      <a:pt x="47" y="65"/>
                      <a:pt x="47" y="66"/>
                    </a:cubicBezTo>
                    <a:cubicBezTo>
                      <a:pt x="47" y="66"/>
                      <a:pt x="47" y="66"/>
                      <a:pt x="47" y="67"/>
                    </a:cubicBezTo>
                    <a:cubicBezTo>
                      <a:pt x="46" y="67"/>
                      <a:pt x="44" y="67"/>
                      <a:pt x="44" y="66"/>
                    </a:cubicBezTo>
                    <a:cubicBezTo>
                      <a:pt x="43" y="66"/>
                      <a:pt x="43" y="66"/>
                      <a:pt x="42" y="66"/>
                    </a:cubicBezTo>
                    <a:cubicBezTo>
                      <a:pt x="42" y="67"/>
                      <a:pt x="41" y="65"/>
                      <a:pt x="41" y="65"/>
                    </a:cubicBezTo>
                    <a:cubicBezTo>
                      <a:pt x="41" y="65"/>
                      <a:pt x="40" y="64"/>
                      <a:pt x="40" y="64"/>
                    </a:cubicBezTo>
                    <a:cubicBezTo>
                      <a:pt x="40" y="63"/>
                      <a:pt x="38" y="64"/>
                      <a:pt x="38" y="64"/>
                    </a:cubicBezTo>
                    <a:cubicBezTo>
                      <a:pt x="37" y="63"/>
                      <a:pt x="35" y="63"/>
                      <a:pt x="35" y="63"/>
                    </a:cubicBezTo>
                    <a:cubicBezTo>
                      <a:pt x="34" y="63"/>
                      <a:pt x="35" y="64"/>
                      <a:pt x="35" y="64"/>
                    </a:cubicBezTo>
                    <a:cubicBezTo>
                      <a:pt x="35" y="64"/>
                      <a:pt x="34" y="64"/>
                      <a:pt x="33" y="64"/>
                    </a:cubicBezTo>
                    <a:cubicBezTo>
                      <a:pt x="32" y="64"/>
                      <a:pt x="32" y="65"/>
                      <a:pt x="32" y="65"/>
                    </a:cubicBezTo>
                    <a:cubicBezTo>
                      <a:pt x="32" y="67"/>
                      <a:pt x="32" y="67"/>
                      <a:pt x="32" y="67"/>
                    </a:cubicBezTo>
                    <a:cubicBezTo>
                      <a:pt x="32" y="67"/>
                      <a:pt x="29" y="67"/>
                      <a:pt x="28" y="67"/>
                    </a:cubicBezTo>
                    <a:cubicBezTo>
                      <a:pt x="27" y="67"/>
                      <a:pt x="26" y="66"/>
                      <a:pt x="25" y="66"/>
                    </a:cubicBezTo>
                    <a:cubicBezTo>
                      <a:pt x="24" y="66"/>
                      <a:pt x="23" y="67"/>
                      <a:pt x="23" y="67"/>
                    </a:cubicBezTo>
                    <a:cubicBezTo>
                      <a:pt x="23" y="67"/>
                      <a:pt x="21" y="68"/>
                      <a:pt x="21" y="68"/>
                    </a:cubicBezTo>
                    <a:cubicBezTo>
                      <a:pt x="21" y="68"/>
                      <a:pt x="20" y="69"/>
                      <a:pt x="19" y="69"/>
                    </a:cubicBezTo>
                    <a:cubicBezTo>
                      <a:pt x="18" y="69"/>
                      <a:pt x="18" y="68"/>
                      <a:pt x="18" y="68"/>
                    </a:cubicBezTo>
                    <a:cubicBezTo>
                      <a:pt x="18" y="68"/>
                      <a:pt x="16" y="66"/>
                      <a:pt x="16" y="66"/>
                    </a:cubicBezTo>
                    <a:cubicBezTo>
                      <a:pt x="16" y="66"/>
                      <a:pt x="16" y="66"/>
                      <a:pt x="16" y="66"/>
                    </a:cubicBezTo>
                    <a:cubicBezTo>
                      <a:pt x="12" y="68"/>
                      <a:pt x="12" y="68"/>
                      <a:pt x="12" y="68"/>
                    </a:cubicBezTo>
                    <a:cubicBezTo>
                      <a:pt x="7" y="72"/>
                      <a:pt x="7" y="72"/>
                      <a:pt x="7" y="72"/>
                    </a:cubicBezTo>
                    <a:cubicBezTo>
                      <a:pt x="7" y="77"/>
                      <a:pt x="7" y="77"/>
                      <a:pt x="7" y="77"/>
                    </a:cubicBezTo>
                    <a:cubicBezTo>
                      <a:pt x="11" y="79"/>
                      <a:pt x="9" y="81"/>
                      <a:pt x="18" y="85"/>
                    </a:cubicBezTo>
                    <a:cubicBezTo>
                      <a:pt x="19" y="85"/>
                      <a:pt x="21" y="90"/>
                      <a:pt x="21" y="90"/>
                    </a:cubicBezTo>
                    <a:cubicBezTo>
                      <a:pt x="21" y="91"/>
                      <a:pt x="19" y="99"/>
                      <a:pt x="18" y="100"/>
                    </a:cubicBezTo>
                    <a:cubicBezTo>
                      <a:pt x="16" y="101"/>
                      <a:pt x="14" y="105"/>
                      <a:pt x="14" y="105"/>
                    </a:cubicBezTo>
                    <a:cubicBezTo>
                      <a:pt x="14" y="105"/>
                      <a:pt x="10" y="109"/>
                      <a:pt x="9" y="109"/>
                    </a:cubicBezTo>
                    <a:cubicBezTo>
                      <a:pt x="8" y="109"/>
                      <a:pt x="5" y="110"/>
                      <a:pt x="4" y="110"/>
                    </a:cubicBezTo>
                    <a:cubicBezTo>
                      <a:pt x="4" y="110"/>
                      <a:pt x="0" y="110"/>
                      <a:pt x="1" y="111"/>
                    </a:cubicBezTo>
                    <a:cubicBezTo>
                      <a:pt x="1" y="111"/>
                      <a:pt x="1" y="113"/>
                      <a:pt x="1" y="113"/>
                    </a:cubicBezTo>
                    <a:cubicBezTo>
                      <a:pt x="2" y="114"/>
                      <a:pt x="5" y="118"/>
                      <a:pt x="5" y="118"/>
                    </a:cubicBezTo>
                    <a:cubicBezTo>
                      <a:pt x="10" y="121"/>
                      <a:pt x="10" y="121"/>
                      <a:pt x="10" y="121"/>
                    </a:cubicBezTo>
                    <a:cubicBezTo>
                      <a:pt x="13" y="124"/>
                      <a:pt x="13" y="124"/>
                      <a:pt x="13" y="124"/>
                    </a:cubicBezTo>
                    <a:cubicBezTo>
                      <a:pt x="14" y="134"/>
                      <a:pt x="14" y="134"/>
                      <a:pt x="14" y="134"/>
                    </a:cubicBezTo>
                    <a:cubicBezTo>
                      <a:pt x="10" y="140"/>
                      <a:pt x="10" y="140"/>
                      <a:pt x="10" y="140"/>
                    </a:cubicBezTo>
                    <a:cubicBezTo>
                      <a:pt x="6" y="145"/>
                      <a:pt x="8" y="142"/>
                      <a:pt x="9" y="149"/>
                    </a:cubicBezTo>
                    <a:cubicBezTo>
                      <a:pt x="12" y="149"/>
                      <a:pt x="12" y="149"/>
                      <a:pt x="12" y="149"/>
                    </a:cubicBezTo>
                    <a:cubicBezTo>
                      <a:pt x="17" y="157"/>
                      <a:pt x="17" y="157"/>
                      <a:pt x="17" y="157"/>
                    </a:cubicBezTo>
                    <a:cubicBezTo>
                      <a:pt x="27" y="161"/>
                      <a:pt x="27" y="161"/>
                      <a:pt x="27" y="161"/>
                    </a:cubicBezTo>
                    <a:cubicBezTo>
                      <a:pt x="36" y="161"/>
                      <a:pt x="36" y="161"/>
                      <a:pt x="36" y="161"/>
                    </a:cubicBezTo>
                    <a:cubicBezTo>
                      <a:pt x="40" y="164"/>
                      <a:pt x="40" y="164"/>
                      <a:pt x="40" y="164"/>
                    </a:cubicBezTo>
                    <a:cubicBezTo>
                      <a:pt x="37" y="175"/>
                      <a:pt x="37" y="175"/>
                      <a:pt x="37" y="175"/>
                    </a:cubicBezTo>
                    <a:cubicBezTo>
                      <a:pt x="31" y="180"/>
                      <a:pt x="31" y="180"/>
                      <a:pt x="31" y="180"/>
                    </a:cubicBezTo>
                    <a:cubicBezTo>
                      <a:pt x="31" y="180"/>
                      <a:pt x="31" y="180"/>
                      <a:pt x="30" y="180"/>
                    </a:cubicBezTo>
                    <a:cubicBezTo>
                      <a:pt x="30" y="180"/>
                      <a:pt x="31" y="181"/>
                      <a:pt x="34" y="182"/>
                    </a:cubicBezTo>
                    <a:cubicBezTo>
                      <a:pt x="36" y="182"/>
                      <a:pt x="36" y="184"/>
                      <a:pt x="39" y="183"/>
                    </a:cubicBezTo>
                    <a:cubicBezTo>
                      <a:pt x="42" y="182"/>
                      <a:pt x="46" y="181"/>
                      <a:pt x="47" y="180"/>
                    </a:cubicBezTo>
                    <a:cubicBezTo>
                      <a:pt x="48" y="178"/>
                      <a:pt x="50" y="177"/>
                      <a:pt x="51" y="176"/>
                    </a:cubicBezTo>
                    <a:cubicBezTo>
                      <a:pt x="52" y="174"/>
                      <a:pt x="58" y="167"/>
                      <a:pt x="59" y="167"/>
                    </a:cubicBezTo>
                    <a:cubicBezTo>
                      <a:pt x="59" y="167"/>
                      <a:pt x="65" y="159"/>
                      <a:pt x="66" y="158"/>
                    </a:cubicBezTo>
                    <a:cubicBezTo>
                      <a:pt x="67" y="157"/>
                      <a:pt x="75" y="151"/>
                      <a:pt x="75" y="151"/>
                    </a:cubicBezTo>
                    <a:cubicBezTo>
                      <a:pt x="86" y="147"/>
                      <a:pt x="86" y="147"/>
                      <a:pt x="86" y="147"/>
                    </a:cubicBezTo>
                    <a:cubicBezTo>
                      <a:pt x="86" y="147"/>
                      <a:pt x="91" y="152"/>
                      <a:pt x="92" y="153"/>
                    </a:cubicBezTo>
                    <a:cubicBezTo>
                      <a:pt x="93" y="153"/>
                      <a:pt x="104" y="158"/>
                      <a:pt x="104" y="158"/>
                    </a:cubicBezTo>
                    <a:cubicBezTo>
                      <a:pt x="104" y="158"/>
                      <a:pt x="111" y="161"/>
                      <a:pt x="112" y="162"/>
                    </a:cubicBezTo>
                    <a:cubicBezTo>
                      <a:pt x="112" y="163"/>
                      <a:pt x="118" y="168"/>
                      <a:pt x="118" y="168"/>
                    </a:cubicBezTo>
                    <a:cubicBezTo>
                      <a:pt x="122" y="170"/>
                      <a:pt x="122" y="170"/>
                      <a:pt x="122" y="170"/>
                    </a:cubicBezTo>
                    <a:cubicBezTo>
                      <a:pt x="125" y="167"/>
                      <a:pt x="125" y="167"/>
                      <a:pt x="125" y="167"/>
                    </a:cubicBezTo>
                    <a:cubicBezTo>
                      <a:pt x="129" y="169"/>
                      <a:pt x="129" y="169"/>
                      <a:pt x="129" y="169"/>
                    </a:cubicBezTo>
                    <a:cubicBezTo>
                      <a:pt x="136" y="173"/>
                      <a:pt x="136" y="173"/>
                      <a:pt x="136" y="173"/>
                    </a:cubicBezTo>
                    <a:cubicBezTo>
                      <a:pt x="139" y="179"/>
                      <a:pt x="139" y="179"/>
                      <a:pt x="139" y="179"/>
                    </a:cubicBezTo>
                    <a:cubicBezTo>
                      <a:pt x="139" y="179"/>
                      <a:pt x="141" y="187"/>
                      <a:pt x="141" y="190"/>
                    </a:cubicBezTo>
                    <a:cubicBezTo>
                      <a:pt x="141" y="193"/>
                      <a:pt x="142" y="198"/>
                      <a:pt x="142" y="198"/>
                    </a:cubicBezTo>
                    <a:cubicBezTo>
                      <a:pt x="151" y="202"/>
                      <a:pt x="151" y="202"/>
                      <a:pt x="151" y="202"/>
                    </a:cubicBezTo>
                    <a:cubicBezTo>
                      <a:pt x="151" y="202"/>
                      <a:pt x="151" y="211"/>
                      <a:pt x="151" y="212"/>
                    </a:cubicBezTo>
                    <a:cubicBezTo>
                      <a:pt x="151" y="214"/>
                      <a:pt x="152" y="217"/>
                      <a:pt x="152" y="220"/>
                    </a:cubicBezTo>
                    <a:cubicBezTo>
                      <a:pt x="152" y="223"/>
                      <a:pt x="152" y="226"/>
                      <a:pt x="152" y="226"/>
                    </a:cubicBezTo>
                    <a:cubicBezTo>
                      <a:pt x="156" y="229"/>
                      <a:pt x="156" y="229"/>
                      <a:pt x="156" y="229"/>
                    </a:cubicBezTo>
                    <a:cubicBezTo>
                      <a:pt x="161" y="232"/>
                      <a:pt x="161" y="232"/>
                      <a:pt x="161" y="232"/>
                    </a:cubicBezTo>
                    <a:cubicBezTo>
                      <a:pt x="162" y="237"/>
                      <a:pt x="162" y="237"/>
                      <a:pt x="162" y="237"/>
                    </a:cubicBezTo>
                    <a:cubicBezTo>
                      <a:pt x="170" y="240"/>
                      <a:pt x="170" y="240"/>
                      <a:pt x="170" y="240"/>
                    </a:cubicBezTo>
                    <a:cubicBezTo>
                      <a:pt x="172" y="246"/>
                      <a:pt x="172" y="246"/>
                      <a:pt x="172" y="246"/>
                    </a:cubicBezTo>
                    <a:cubicBezTo>
                      <a:pt x="177" y="251"/>
                      <a:pt x="177" y="251"/>
                      <a:pt x="177" y="251"/>
                    </a:cubicBezTo>
                    <a:cubicBezTo>
                      <a:pt x="177" y="255"/>
                      <a:pt x="177" y="255"/>
                      <a:pt x="177" y="255"/>
                    </a:cubicBezTo>
                    <a:cubicBezTo>
                      <a:pt x="177" y="255"/>
                      <a:pt x="177" y="257"/>
                      <a:pt x="179" y="257"/>
                    </a:cubicBezTo>
                    <a:cubicBezTo>
                      <a:pt x="181" y="257"/>
                      <a:pt x="188" y="256"/>
                      <a:pt x="188" y="256"/>
                    </a:cubicBezTo>
                    <a:cubicBezTo>
                      <a:pt x="195" y="262"/>
                      <a:pt x="195" y="262"/>
                      <a:pt x="195" y="262"/>
                    </a:cubicBezTo>
                    <a:cubicBezTo>
                      <a:pt x="203" y="269"/>
                      <a:pt x="203" y="269"/>
                      <a:pt x="203" y="269"/>
                    </a:cubicBezTo>
                    <a:cubicBezTo>
                      <a:pt x="207" y="276"/>
                      <a:pt x="207" y="276"/>
                      <a:pt x="207" y="276"/>
                    </a:cubicBezTo>
                    <a:cubicBezTo>
                      <a:pt x="213" y="278"/>
                      <a:pt x="213" y="278"/>
                      <a:pt x="213" y="278"/>
                    </a:cubicBezTo>
                    <a:cubicBezTo>
                      <a:pt x="221" y="283"/>
                      <a:pt x="221" y="283"/>
                      <a:pt x="221" y="283"/>
                    </a:cubicBezTo>
                    <a:cubicBezTo>
                      <a:pt x="224" y="290"/>
                      <a:pt x="224" y="290"/>
                      <a:pt x="224" y="290"/>
                    </a:cubicBezTo>
                    <a:cubicBezTo>
                      <a:pt x="231" y="297"/>
                      <a:pt x="231" y="297"/>
                      <a:pt x="231" y="297"/>
                    </a:cubicBezTo>
                    <a:cubicBezTo>
                      <a:pt x="235" y="299"/>
                      <a:pt x="235" y="299"/>
                      <a:pt x="235" y="299"/>
                    </a:cubicBezTo>
                    <a:cubicBezTo>
                      <a:pt x="237" y="303"/>
                      <a:pt x="237" y="303"/>
                      <a:pt x="237" y="303"/>
                    </a:cubicBezTo>
                    <a:cubicBezTo>
                      <a:pt x="241" y="305"/>
                      <a:pt x="241" y="305"/>
                      <a:pt x="241" y="305"/>
                    </a:cubicBezTo>
                    <a:cubicBezTo>
                      <a:pt x="245" y="306"/>
                      <a:pt x="245" y="306"/>
                      <a:pt x="245" y="306"/>
                    </a:cubicBezTo>
                    <a:cubicBezTo>
                      <a:pt x="251" y="307"/>
                      <a:pt x="251" y="307"/>
                      <a:pt x="251" y="307"/>
                    </a:cubicBezTo>
                    <a:cubicBezTo>
                      <a:pt x="255" y="311"/>
                      <a:pt x="255" y="311"/>
                      <a:pt x="255" y="311"/>
                    </a:cubicBezTo>
                    <a:cubicBezTo>
                      <a:pt x="255" y="311"/>
                      <a:pt x="257" y="313"/>
                      <a:pt x="257" y="314"/>
                    </a:cubicBezTo>
                    <a:cubicBezTo>
                      <a:pt x="257" y="316"/>
                      <a:pt x="255" y="317"/>
                      <a:pt x="258" y="317"/>
                    </a:cubicBezTo>
                    <a:cubicBezTo>
                      <a:pt x="261" y="317"/>
                      <a:pt x="264" y="316"/>
                      <a:pt x="264" y="316"/>
                    </a:cubicBezTo>
                    <a:cubicBezTo>
                      <a:pt x="270" y="315"/>
                      <a:pt x="270" y="315"/>
                      <a:pt x="270" y="315"/>
                    </a:cubicBezTo>
                    <a:cubicBezTo>
                      <a:pt x="274" y="315"/>
                      <a:pt x="274" y="315"/>
                      <a:pt x="274" y="315"/>
                    </a:cubicBezTo>
                    <a:cubicBezTo>
                      <a:pt x="278" y="315"/>
                      <a:pt x="278" y="315"/>
                      <a:pt x="278" y="315"/>
                    </a:cubicBezTo>
                    <a:cubicBezTo>
                      <a:pt x="285" y="314"/>
                      <a:pt x="285" y="314"/>
                      <a:pt x="285" y="314"/>
                    </a:cubicBezTo>
                    <a:cubicBezTo>
                      <a:pt x="289" y="317"/>
                      <a:pt x="289" y="317"/>
                      <a:pt x="289" y="317"/>
                    </a:cubicBezTo>
                    <a:cubicBezTo>
                      <a:pt x="300" y="330"/>
                      <a:pt x="300" y="330"/>
                      <a:pt x="300" y="330"/>
                    </a:cubicBezTo>
                    <a:cubicBezTo>
                      <a:pt x="300" y="330"/>
                      <a:pt x="303" y="335"/>
                      <a:pt x="303" y="337"/>
                    </a:cubicBezTo>
                    <a:cubicBezTo>
                      <a:pt x="303" y="338"/>
                      <a:pt x="307" y="337"/>
                      <a:pt x="308" y="337"/>
                    </a:cubicBezTo>
                    <a:cubicBezTo>
                      <a:pt x="309" y="337"/>
                      <a:pt x="317" y="337"/>
                      <a:pt x="317" y="337"/>
                    </a:cubicBezTo>
                    <a:cubicBezTo>
                      <a:pt x="323" y="341"/>
                      <a:pt x="323" y="341"/>
                      <a:pt x="323" y="341"/>
                    </a:cubicBezTo>
                    <a:cubicBezTo>
                      <a:pt x="319" y="346"/>
                      <a:pt x="319" y="346"/>
                      <a:pt x="319" y="346"/>
                    </a:cubicBezTo>
                    <a:cubicBezTo>
                      <a:pt x="325" y="349"/>
                      <a:pt x="325" y="349"/>
                      <a:pt x="325" y="349"/>
                    </a:cubicBezTo>
                    <a:cubicBezTo>
                      <a:pt x="328" y="345"/>
                      <a:pt x="328" y="345"/>
                      <a:pt x="328" y="345"/>
                    </a:cubicBezTo>
                    <a:cubicBezTo>
                      <a:pt x="334" y="346"/>
                      <a:pt x="334" y="346"/>
                      <a:pt x="334" y="346"/>
                    </a:cubicBezTo>
                    <a:cubicBezTo>
                      <a:pt x="339" y="350"/>
                      <a:pt x="339" y="350"/>
                      <a:pt x="339" y="350"/>
                    </a:cubicBezTo>
                    <a:cubicBezTo>
                      <a:pt x="340" y="353"/>
                      <a:pt x="340" y="353"/>
                      <a:pt x="340" y="353"/>
                    </a:cubicBezTo>
                    <a:cubicBezTo>
                      <a:pt x="343" y="355"/>
                      <a:pt x="343" y="355"/>
                      <a:pt x="343" y="355"/>
                    </a:cubicBezTo>
                    <a:cubicBezTo>
                      <a:pt x="342" y="360"/>
                      <a:pt x="342" y="360"/>
                      <a:pt x="342" y="360"/>
                    </a:cubicBezTo>
                    <a:cubicBezTo>
                      <a:pt x="342" y="363"/>
                      <a:pt x="342" y="363"/>
                      <a:pt x="342" y="363"/>
                    </a:cubicBezTo>
                    <a:cubicBezTo>
                      <a:pt x="344" y="367"/>
                      <a:pt x="344" y="367"/>
                      <a:pt x="344" y="367"/>
                    </a:cubicBezTo>
                    <a:cubicBezTo>
                      <a:pt x="349" y="369"/>
                      <a:pt x="349" y="369"/>
                      <a:pt x="349" y="369"/>
                    </a:cubicBezTo>
                    <a:cubicBezTo>
                      <a:pt x="354" y="372"/>
                      <a:pt x="354" y="372"/>
                      <a:pt x="354" y="372"/>
                    </a:cubicBezTo>
                    <a:cubicBezTo>
                      <a:pt x="357" y="374"/>
                      <a:pt x="357" y="374"/>
                      <a:pt x="357" y="374"/>
                    </a:cubicBezTo>
                    <a:cubicBezTo>
                      <a:pt x="361" y="374"/>
                      <a:pt x="361" y="374"/>
                      <a:pt x="361" y="374"/>
                    </a:cubicBezTo>
                    <a:cubicBezTo>
                      <a:pt x="367" y="373"/>
                      <a:pt x="367" y="373"/>
                      <a:pt x="367" y="373"/>
                    </a:cubicBezTo>
                    <a:cubicBezTo>
                      <a:pt x="374" y="374"/>
                      <a:pt x="374" y="374"/>
                      <a:pt x="374" y="374"/>
                    </a:cubicBezTo>
                    <a:cubicBezTo>
                      <a:pt x="380" y="384"/>
                      <a:pt x="380" y="384"/>
                      <a:pt x="380" y="384"/>
                    </a:cubicBezTo>
                    <a:cubicBezTo>
                      <a:pt x="383" y="393"/>
                      <a:pt x="383" y="393"/>
                      <a:pt x="383" y="393"/>
                    </a:cubicBezTo>
                    <a:cubicBezTo>
                      <a:pt x="387" y="401"/>
                      <a:pt x="387" y="401"/>
                      <a:pt x="387" y="401"/>
                    </a:cubicBezTo>
                    <a:cubicBezTo>
                      <a:pt x="390" y="406"/>
                      <a:pt x="390" y="406"/>
                      <a:pt x="390" y="406"/>
                    </a:cubicBezTo>
                    <a:cubicBezTo>
                      <a:pt x="392" y="414"/>
                      <a:pt x="392" y="414"/>
                      <a:pt x="392" y="414"/>
                    </a:cubicBezTo>
                    <a:cubicBezTo>
                      <a:pt x="395" y="418"/>
                      <a:pt x="395" y="418"/>
                      <a:pt x="395" y="418"/>
                    </a:cubicBezTo>
                    <a:cubicBezTo>
                      <a:pt x="400" y="428"/>
                      <a:pt x="400" y="428"/>
                      <a:pt x="400" y="428"/>
                    </a:cubicBezTo>
                    <a:cubicBezTo>
                      <a:pt x="402" y="432"/>
                      <a:pt x="402" y="432"/>
                      <a:pt x="402" y="432"/>
                    </a:cubicBezTo>
                    <a:cubicBezTo>
                      <a:pt x="400" y="437"/>
                      <a:pt x="400" y="437"/>
                      <a:pt x="400" y="437"/>
                    </a:cubicBezTo>
                    <a:cubicBezTo>
                      <a:pt x="400" y="437"/>
                      <a:pt x="398" y="442"/>
                      <a:pt x="397" y="442"/>
                    </a:cubicBezTo>
                    <a:cubicBezTo>
                      <a:pt x="397" y="443"/>
                      <a:pt x="394" y="444"/>
                      <a:pt x="393" y="444"/>
                    </a:cubicBezTo>
                    <a:cubicBezTo>
                      <a:pt x="392" y="445"/>
                      <a:pt x="391" y="445"/>
                      <a:pt x="390" y="446"/>
                    </a:cubicBezTo>
                    <a:cubicBezTo>
                      <a:pt x="389" y="447"/>
                      <a:pt x="388" y="450"/>
                      <a:pt x="388" y="450"/>
                    </a:cubicBezTo>
                    <a:cubicBezTo>
                      <a:pt x="391" y="456"/>
                      <a:pt x="391" y="456"/>
                      <a:pt x="391" y="456"/>
                    </a:cubicBezTo>
                    <a:cubicBezTo>
                      <a:pt x="390" y="463"/>
                      <a:pt x="390" y="463"/>
                      <a:pt x="390" y="463"/>
                    </a:cubicBezTo>
                    <a:cubicBezTo>
                      <a:pt x="388" y="469"/>
                      <a:pt x="388" y="469"/>
                      <a:pt x="388" y="469"/>
                    </a:cubicBezTo>
                    <a:close/>
                    <a:moveTo>
                      <a:pt x="57" y="345"/>
                    </a:moveTo>
                    <a:cubicBezTo>
                      <a:pt x="57" y="345"/>
                      <a:pt x="57" y="345"/>
                      <a:pt x="57" y="345"/>
                    </a:cubicBezTo>
                    <a:cubicBezTo>
                      <a:pt x="60" y="335"/>
                      <a:pt x="60" y="335"/>
                      <a:pt x="60" y="335"/>
                    </a:cubicBezTo>
                    <a:cubicBezTo>
                      <a:pt x="64" y="331"/>
                      <a:pt x="64" y="331"/>
                      <a:pt x="64" y="331"/>
                    </a:cubicBezTo>
                    <a:cubicBezTo>
                      <a:pt x="63" y="336"/>
                      <a:pt x="63" y="336"/>
                      <a:pt x="63" y="336"/>
                    </a:cubicBezTo>
                    <a:cubicBezTo>
                      <a:pt x="62" y="342"/>
                      <a:pt x="62" y="342"/>
                      <a:pt x="62" y="342"/>
                    </a:cubicBezTo>
                    <a:cubicBezTo>
                      <a:pt x="62" y="342"/>
                      <a:pt x="70" y="345"/>
                      <a:pt x="71" y="345"/>
                    </a:cubicBezTo>
                    <a:cubicBezTo>
                      <a:pt x="72" y="345"/>
                      <a:pt x="73" y="343"/>
                      <a:pt x="75" y="342"/>
                    </a:cubicBezTo>
                    <a:cubicBezTo>
                      <a:pt x="76" y="341"/>
                      <a:pt x="83" y="341"/>
                      <a:pt x="83" y="341"/>
                    </a:cubicBezTo>
                    <a:cubicBezTo>
                      <a:pt x="83" y="341"/>
                      <a:pt x="84" y="338"/>
                      <a:pt x="85" y="336"/>
                    </a:cubicBezTo>
                    <a:cubicBezTo>
                      <a:pt x="86" y="334"/>
                      <a:pt x="91" y="329"/>
                      <a:pt x="92" y="328"/>
                    </a:cubicBezTo>
                    <a:cubicBezTo>
                      <a:pt x="93" y="328"/>
                      <a:pt x="95" y="326"/>
                      <a:pt x="96" y="326"/>
                    </a:cubicBezTo>
                    <a:cubicBezTo>
                      <a:pt x="97" y="325"/>
                      <a:pt x="102" y="323"/>
                      <a:pt x="102" y="323"/>
                    </a:cubicBezTo>
                    <a:cubicBezTo>
                      <a:pt x="115" y="328"/>
                      <a:pt x="115" y="328"/>
                      <a:pt x="115" y="328"/>
                    </a:cubicBezTo>
                    <a:cubicBezTo>
                      <a:pt x="117" y="336"/>
                      <a:pt x="117" y="336"/>
                      <a:pt x="117" y="336"/>
                    </a:cubicBezTo>
                    <a:cubicBezTo>
                      <a:pt x="124" y="349"/>
                      <a:pt x="124" y="349"/>
                      <a:pt x="124" y="349"/>
                    </a:cubicBezTo>
                    <a:cubicBezTo>
                      <a:pt x="126" y="355"/>
                      <a:pt x="126" y="355"/>
                      <a:pt x="126" y="355"/>
                    </a:cubicBezTo>
                    <a:cubicBezTo>
                      <a:pt x="126" y="355"/>
                      <a:pt x="129" y="358"/>
                      <a:pt x="128" y="361"/>
                    </a:cubicBezTo>
                    <a:cubicBezTo>
                      <a:pt x="127" y="365"/>
                      <a:pt x="121" y="375"/>
                      <a:pt x="121" y="375"/>
                    </a:cubicBezTo>
                    <a:cubicBezTo>
                      <a:pt x="121" y="381"/>
                      <a:pt x="121" y="381"/>
                      <a:pt x="121" y="381"/>
                    </a:cubicBezTo>
                    <a:cubicBezTo>
                      <a:pt x="125" y="389"/>
                      <a:pt x="125" y="389"/>
                      <a:pt x="125" y="389"/>
                    </a:cubicBezTo>
                    <a:cubicBezTo>
                      <a:pt x="119" y="404"/>
                      <a:pt x="119" y="404"/>
                      <a:pt x="119" y="404"/>
                    </a:cubicBezTo>
                    <a:cubicBezTo>
                      <a:pt x="122" y="415"/>
                      <a:pt x="122" y="415"/>
                      <a:pt x="122" y="415"/>
                    </a:cubicBezTo>
                    <a:cubicBezTo>
                      <a:pt x="120" y="430"/>
                      <a:pt x="120" y="430"/>
                      <a:pt x="120" y="430"/>
                    </a:cubicBezTo>
                    <a:cubicBezTo>
                      <a:pt x="119" y="438"/>
                      <a:pt x="119" y="438"/>
                      <a:pt x="119" y="438"/>
                    </a:cubicBezTo>
                    <a:cubicBezTo>
                      <a:pt x="119" y="438"/>
                      <a:pt x="115" y="442"/>
                      <a:pt x="113" y="441"/>
                    </a:cubicBezTo>
                    <a:cubicBezTo>
                      <a:pt x="111" y="440"/>
                      <a:pt x="101" y="433"/>
                      <a:pt x="101" y="433"/>
                    </a:cubicBezTo>
                    <a:cubicBezTo>
                      <a:pt x="97" y="432"/>
                      <a:pt x="97" y="432"/>
                      <a:pt x="97" y="432"/>
                    </a:cubicBezTo>
                    <a:cubicBezTo>
                      <a:pt x="94" y="439"/>
                      <a:pt x="94" y="439"/>
                      <a:pt x="94" y="439"/>
                    </a:cubicBezTo>
                    <a:cubicBezTo>
                      <a:pt x="95" y="444"/>
                      <a:pt x="95" y="444"/>
                      <a:pt x="95" y="444"/>
                    </a:cubicBezTo>
                    <a:cubicBezTo>
                      <a:pt x="90" y="453"/>
                      <a:pt x="90" y="453"/>
                      <a:pt x="90" y="453"/>
                    </a:cubicBezTo>
                    <a:cubicBezTo>
                      <a:pt x="85" y="453"/>
                      <a:pt x="85" y="453"/>
                      <a:pt x="85" y="453"/>
                    </a:cubicBezTo>
                    <a:cubicBezTo>
                      <a:pt x="79" y="451"/>
                      <a:pt x="79" y="451"/>
                      <a:pt x="79" y="451"/>
                    </a:cubicBezTo>
                    <a:cubicBezTo>
                      <a:pt x="73" y="443"/>
                      <a:pt x="73" y="443"/>
                      <a:pt x="73" y="443"/>
                    </a:cubicBezTo>
                    <a:cubicBezTo>
                      <a:pt x="73" y="443"/>
                      <a:pt x="73" y="445"/>
                      <a:pt x="71" y="446"/>
                    </a:cubicBezTo>
                    <a:cubicBezTo>
                      <a:pt x="69" y="446"/>
                      <a:pt x="66" y="445"/>
                      <a:pt x="66" y="445"/>
                    </a:cubicBezTo>
                    <a:cubicBezTo>
                      <a:pt x="68" y="439"/>
                      <a:pt x="68" y="439"/>
                      <a:pt x="68" y="439"/>
                    </a:cubicBezTo>
                    <a:cubicBezTo>
                      <a:pt x="66" y="432"/>
                      <a:pt x="66" y="432"/>
                      <a:pt x="66" y="432"/>
                    </a:cubicBezTo>
                    <a:cubicBezTo>
                      <a:pt x="68" y="425"/>
                      <a:pt x="68" y="425"/>
                      <a:pt x="68" y="425"/>
                    </a:cubicBezTo>
                    <a:cubicBezTo>
                      <a:pt x="68" y="415"/>
                      <a:pt x="68" y="415"/>
                      <a:pt x="68" y="415"/>
                    </a:cubicBezTo>
                    <a:cubicBezTo>
                      <a:pt x="70" y="411"/>
                      <a:pt x="70" y="411"/>
                      <a:pt x="70" y="411"/>
                    </a:cubicBezTo>
                    <a:cubicBezTo>
                      <a:pt x="71" y="406"/>
                      <a:pt x="71" y="406"/>
                      <a:pt x="71" y="406"/>
                    </a:cubicBezTo>
                    <a:cubicBezTo>
                      <a:pt x="74" y="400"/>
                      <a:pt x="74" y="400"/>
                      <a:pt x="74" y="400"/>
                    </a:cubicBezTo>
                    <a:cubicBezTo>
                      <a:pt x="73" y="395"/>
                      <a:pt x="73" y="395"/>
                      <a:pt x="73" y="395"/>
                    </a:cubicBezTo>
                    <a:cubicBezTo>
                      <a:pt x="71" y="396"/>
                      <a:pt x="71" y="396"/>
                      <a:pt x="71" y="396"/>
                    </a:cubicBezTo>
                    <a:cubicBezTo>
                      <a:pt x="65" y="390"/>
                      <a:pt x="65" y="390"/>
                      <a:pt x="65" y="390"/>
                    </a:cubicBezTo>
                    <a:cubicBezTo>
                      <a:pt x="65" y="390"/>
                      <a:pt x="67" y="388"/>
                      <a:pt x="69" y="386"/>
                    </a:cubicBezTo>
                    <a:cubicBezTo>
                      <a:pt x="71" y="384"/>
                      <a:pt x="71" y="383"/>
                      <a:pt x="71" y="381"/>
                    </a:cubicBezTo>
                    <a:cubicBezTo>
                      <a:pt x="71" y="379"/>
                      <a:pt x="70" y="374"/>
                      <a:pt x="69" y="374"/>
                    </a:cubicBezTo>
                    <a:cubicBezTo>
                      <a:pt x="68" y="373"/>
                      <a:pt x="66" y="371"/>
                      <a:pt x="66" y="371"/>
                    </a:cubicBezTo>
                    <a:cubicBezTo>
                      <a:pt x="66" y="365"/>
                      <a:pt x="66" y="365"/>
                      <a:pt x="66" y="365"/>
                    </a:cubicBezTo>
                    <a:cubicBezTo>
                      <a:pt x="66" y="365"/>
                      <a:pt x="65" y="362"/>
                      <a:pt x="64" y="362"/>
                    </a:cubicBezTo>
                    <a:cubicBezTo>
                      <a:pt x="62" y="361"/>
                      <a:pt x="57" y="358"/>
                      <a:pt x="57" y="358"/>
                    </a:cubicBezTo>
                    <a:cubicBezTo>
                      <a:pt x="58" y="351"/>
                      <a:pt x="58" y="351"/>
                      <a:pt x="58" y="351"/>
                    </a:cubicBezTo>
                    <a:cubicBezTo>
                      <a:pt x="56" y="349"/>
                      <a:pt x="56" y="349"/>
                      <a:pt x="56" y="349"/>
                    </a:cubicBezTo>
                    <a:lnTo>
                      <a:pt x="57" y="34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70" name="Freeform 86">
                <a:extLst>
                  <a:ext uri="{FF2B5EF4-FFF2-40B4-BE49-F238E27FC236}">
                    <a16:creationId xmlns:a16="http://schemas.microsoft.com/office/drawing/2014/main" id="{9B2085CA-F5E6-D32C-D2C7-875D68C8D8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33690" y="2857477"/>
                <a:ext cx="826553" cy="577964"/>
              </a:xfrm>
              <a:custGeom>
                <a:avLst/>
                <a:gdLst>
                  <a:gd name="T0" fmla="*/ 59 w 369"/>
                  <a:gd name="T1" fmla="*/ 73 h 266"/>
                  <a:gd name="T2" fmla="*/ 59 w 369"/>
                  <a:gd name="T3" fmla="*/ 83 h 266"/>
                  <a:gd name="T4" fmla="*/ 59 w 369"/>
                  <a:gd name="T5" fmla="*/ 83 h 266"/>
                  <a:gd name="T6" fmla="*/ 58 w 369"/>
                  <a:gd name="T7" fmla="*/ 84 h 266"/>
                  <a:gd name="T8" fmla="*/ 58 w 369"/>
                  <a:gd name="T9" fmla="*/ 84 h 266"/>
                  <a:gd name="T10" fmla="*/ 56 w 369"/>
                  <a:gd name="T11" fmla="*/ 84 h 266"/>
                  <a:gd name="T12" fmla="*/ 56 w 369"/>
                  <a:gd name="T13" fmla="*/ 85 h 266"/>
                  <a:gd name="T14" fmla="*/ 56 w 369"/>
                  <a:gd name="T15" fmla="*/ 85 h 266"/>
                  <a:gd name="T16" fmla="*/ 56 w 369"/>
                  <a:gd name="T17" fmla="*/ 85 h 266"/>
                  <a:gd name="T18" fmla="*/ 51 w 369"/>
                  <a:gd name="T19" fmla="*/ 97 h 266"/>
                  <a:gd name="T20" fmla="*/ 50 w 369"/>
                  <a:gd name="T21" fmla="*/ 106 h 266"/>
                  <a:gd name="T22" fmla="*/ 50 w 369"/>
                  <a:gd name="T23" fmla="*/ 106 h 266"/>
                  <a:gd name="T24" fmla="*/ 50 w 369"/>
                  <a:gd name="T25" fmla="*/ 106 h 266"/>
                  <a:gd name="T26" fmla="*/ 50 w 369"/>
                  <a:gd name="T27" fmla="*/ 107 h 266"/>
                  <a:gd name="T28" fmla="*/ 50 w 369"/>
                  <a:gd name="T29" fmla="*/ 107 h 266"/>
                  <a:gd name="T30" fmla="*/ 50 w 369"/>
                  <a:gd name="T31" fmla="*/ 107 h 266"/>
                  <a:gd name="T32" fmla="*/ 50 w 369"/>
                  <a:gd name="T33" fmla="*/ 108 h 266"/>
                  <a:gd name="T34" fmla="*/ 49 w 369"/>
                  <a:gd name="T35" fmla="*/ 109 h 266"/>
                  <a:gd name="T36" fmla="*/ 42 w 369"/>
                  <a:gd name="T37" fmla="*/ 131 h 266"/>
                  <a:gd name="T38" fmla="*/ 26 w 369"/>
                  <a:gd name="T39" fmla="*/ 154 h 266"/>
                  <a:gd name="T40" fmla="*/ 6 w 369"/>
                  <a:gd name="T41" fmla="*/ 161 h 266"/>
                  <a:gd name="T42" fmla="*/ 2 w 369"/>
                  <a:gd name="T43" fmla="*/ 161 h 266"/>
                  <a:gd name="T44" fmla="*/ 1 w 369"/>
                  <a:gd name="T45" fmla="*/ 161 h 266"/>
                  <a:gd name="T46" fmla="*/ 0 w 369"/>
                  <a:gd name="T47" fmla="*/ 161 h 266"/>
                  <a:gd name="T48" fmla="*/ 0 w 369"/>
                  <a:gd name="T49" fmla="*/ 161 h 266"/>
                  <a:gd name="T50" fmla="*/ 14 w 369"/>
                  <a:gd name="T51" fmla="*/ 169 h 266"/>
                  <a:gd name="T52" fmla="*/ 28 w 369"/>
                  <a:gd name="T53" fmla="*/ 190 h 266"/>
                  <a:gd name="T54" fmla="*/ 52 w 369"/>
                  <a:gd name="T55" fmla="*/ 201 h 266"/>
                  <a:gd name="T56" fmla="*/ 64 w 369"/>
                  <a:gd name="T57" fmla="*/ 216 h 266"/>
                  <a:gd name="T58" fmla="*/ 69 w 369"/>
                  <a:gd name="T59" fmla="*/ 229 h 266"/>
                  <a:gd name="T60" fmla="*/ 90 w 369"/>
                  <a:gd name="T61" fmla="*/ 232 h 266"/>
                  <a:gd name="T62" fmla="*/ 113 w 369"/>
                  <a:gd name="T63" fmla="*/ 227 h 266"/>
                  <a:gd name="T64" fmla="*/ 107 w 369"/>
                  <a:gd name="T65" fmla="*/ 240 h 266"/>
                  <a:gd name="T66" fmla="*/ 128 w 369"/>
                  <a:gd name="T67" fmla="*/ 250 h 266"/>
                  <a:gd name="T68" fmla="*/ 241 w 369"/>
                  <a:gd name="T69" fmla="*/ 249 h 266"/>
                  <a:gd name="T70" fmla="*/ 346 w 369"/>
                  <a:gd name="T71" fmla="*/ 215 h 266"/>
                  <a:gd name="T72" fmla="*/ 361 w 369"/>
                  <a:gd name="T73" fmla="*/ 123 h 266"/>
                  <a:gd name="T74" fmla="*/ 350 w 369"/>
                  <a:gd name="T75" fmla="*/ 120 h 266"/>
                  <a:gd name="T76" fmla="*/ 302 w 369"/>
                  <a:gd name="T77" fmla="*/ 127 h 266"/>
                  <a:gd name="T78" fmla="*/ 300 w 369"/>
                  <a:gd name="T79" fmla="*/ 118 h 266"/>
                  <a:gd name="T80" fmla="*/ 293 w 369"/>
                  <a:gd name="T81" fmla="*/ 101 h 266"/>
                  <a:gd name="T82" fmla="*/ 293 w 369"/>
                  <a:gd name="T83" fmla="*/ 88 h 266"/>
                  <a:gd name="T84" fmla="*/ 290 w 369"/>
                  <a:gd name="T85" fmla="*/ 74 h 266"/>
                  <a:gd name="T86" fmla="*/ 280 w 369"/>
                  <a:gd name="T87" fmla="*/ 57 h 266"/>
                  <a:gd name="T88" fmla="*/ 264 w 369"/>
                  <a:gd name="T89" fmla="*/ 44 h 266"/>
                  <a:gd name="T90" fmla="*/ 251 w 369"/>
                  <a:gd name="T91" fmla="*/ 33 h 266"/>
                  <a:gd name="T92" fmla="*/ 242 w 369"/>
                  <a:gd name="T93" fmla="*/ 26 h 266"/>
                  <a:gd name="T94" fmla="*/ 237 w 369"/>
                  <a:gd name="T95" fmla="*/ 17 h 266"/>
                  <a:gd name="T96" fmla="*/ 232 w 369"/>
                  <a:gd name="T97" fmla="*/ 11 h 266"/>
                  <a:gd name="T98" fmla="*/ 224 w 369"/>
                  <a:gd name="T99" fmla="*/ 5 h 266"/>
                  <a:gd name="T100" fmla="*/ 217 w 369"/>
                  <a:gd name="T101" fmla="*/ 1 h 266"/>
                  <a:gd name="T102" fmla="*/ 199 w 369"/>
                  <a:gd name="T103" fmla="*/ 7 h 266"/>
                  <a:gd name="T104" fmla="*/ 150 w 369"/>
                  <a:gd name="T105" fmla="*/ 40 h 266"/>
                  <a:gd name="T106" fmla="*/ 110 w 369"/>
                  <a:gd name="T107" fmla="*/ 38 h 266"/>
                  <a:gd name="T108" fmla="*/ 85 w 369"/>
                  <a:gd name="T109" fmla="*/ 50 h 266"/>
                  <a:gd name="T110" fmla="*/ 81 w 369"/>
                  <a:gd name="T111" fmla="*/ 54 h 266"/>
                  <a:gd name="T112" fmla="*/ 81 w 369"/>
                  <a:gd name="T113" fmla="*/ 54 h 266"/>
                  <a:gd name="T114" fmla="*/ 77 w 369"/>
                  <a:gd name="T115" fmla="*/ 56 h 266"/>
                  <a:gd name="T116" fmla="*/ 77 w 369"/>
                  <a:gd name="T117" fmla="*/ 56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69" h="266">
                    <a:moveTo>
                      <a:pt x="69" y="61"/>
                    </a:moveTo>
                    <a:cubicBezTo>
                      <a:pt x="69" y="61"/>
                      <a:pt x="69" y="61"/>
                      <a:pt x="69" y="61"/>
                    </a:cubicBezTo>
                    <a:cubicBezTo>
                      <a:pt x="66" y="62"/>
                      <a:pt x="66" y="62"/>
                      <a:pt x="66" y="62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62" y="70"/>
                      <a:pt x="62" y="70"/>
                      <a:pt x="62" y="70"/>
                    </a:cubicBezTo>
                    <a:cubicBezTo>
                      <a:pt x="62" y="70"/>
                      <a:pt x="62" y="70"/>
                      <a:pt x="62" y="70"/>
                    </a:cubicBezTo>
                    <a:cubicBezTo>
                      <a:pt x="59" y="73"/>
                      <a:pt x="59" y="73"/>
                      <a:pt x="59" y="73"/>
                    </a:cubicBezTo>
                    <a:cubicBezTo>
                      <a:pt x="59" y="73"/>
                      <a:pt x="59" y="73"/>
                      <a:pt x="59" y="73"/>
                    </a:cubicBezTo>
                    <a:cubicBezTo>
                      <a:pt x="58" y="78"/>
                      <a:pt x="58" y="78"/>
                      <a:pt x="58" y="78"/>
                    </a:cubicBezTo>
                    <a:cubicBezTo>
                      <a:pt x="58" y="78"/>
                      <a:pt x="59" y="82"/>
                      <a:pt x="59" y="83"/>
                    </a:cubicBezTo>
                    <a:cubicBezTo>
                      <a:pt x="59" y="83"/>
                      <a:pt x="59" y="83"/>
                      <a:pt x="59" y="83"/>
                    </a:cubicBezTo>
                    <a:cubicBezTo>
                      <a:pt x="59" y="83"/>
                      <a:pt x="59" y="83"/>
                      <a:pt x="59" y="83"/>
                    </a:cubicBezTo>
                    <a:cubicBezTo>
                      <a:pt x="59" y="83"/>
                      <a:pt x="59" y="83"/>
                      <a:pt x="59" y="83"/>
                    </a:cubicBezTo>
                    <a:cubicBezTo>
                      <a:pt x="59" y="83"/>
                      <a:pt x="59" y="83"/>
                      <a:pt x="59" y="83"/>
                    </a:cubicBezTo>
                    <a:cubicBezTo>
                      <a:pt x="59" y="83"/>
                      <a:pt x="59" y="83"/>
                      <a:pt x="59" y="83"/>
                    </a:cubicBezTo>
                    <a:cubicBezTo>
                      <a:pt x="59" y="83"/>
                      <a:pt x="59" y="83"/>
                      <a:pt x="59" y="83"/>
                    </a:cubicBezTo>
                    <a:cubicBezTo>
                      <a:pt x="59" y="83"/>
                      <a:pt x="59" y="83"/>
                      <a:pt x="59" y="83"/>
                    </a:cubicBezTo>
                    <a:cubicBezTo>
                      <a:pt x="59" y="83"/>
                      <a:pt x="59" y="83"/>
                      <a:pt x="59" y="83"/>
                    </a:cubicBezTo>
                    <a:cubicBezTo>
                      <a:pt x="59" y="83"/>
                      <a:pt x="59" y="83"/>
                      <a:pt x="59" y="83"/>
                    </a:cubicBezTo>
                    <a:cubicBezTo>
                      <a:pt x="59" y="83"/>
                      <a:pt x="59" y="83"/>
                      <a:pt x="59" y="83"/>
                    </a:cubicBezTo>
                    <a:cubicBezTo>
                      <a:pt x="59" y="83"/>
                      <a:pt x="59" y="83"/>
                      <a:pt x="59" y="83"/>
                    </a:cubicBezTo>
                    <a:cubicBezTo>
                      <a:pt x="59" y="83"/>
                      <a:pt x="59" y="83"/>
                      <a:pt x="59" y="83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8" y="84"/>
                      <a:pt x="58" y="84"/>
                      <a:pt x="58" y="84"/>
                    </a:cubicBezTo>
                    <a:cubicBezTo>
                      <a:pt x="57" y="84"/>
                      <a:pt x="56" y="84"/>
                      <a:pt x="56" y="84"/>
                    </a:cubicBezTo>
                    <a:cubicBezTo>
                      <a:pt x="56" y="84"/>
                      <a:pt x="56" y="84"/>
                      <a:pt x="56" y="84"/>
                    </a:cubicBezTo>
                    <a:cubicBezTo>
                      <a:pt x="56" y="84"/>
                      <a:pt x="56" y="84"/>
                      <a:pt x="56" y="84"/>
                    </a:cubicBezTo>
                    <a:cubicBezTo>
                      <a:pt x="56" y="84"/>
                      <a:pt x="56" y="84"/>
                      <a:pt x="56" y="84"/>
                    </a:cubicBezTo>
                    <a:cubicBezTo>
                      <a:pt x="56" y="84"/>
                      <a:pt x="56" y="84"/>
                      <a:pt x="56" y="84"/>
                    </a:cubicBezTo>
                    <a:cubicBezTo>
                      <a:pt x="56" y="84"/>
                      <a:pt x="56" y="84"/>
                      <a:pt x="56" y="84"/>
                    </a:cubicBezTo>
                    <a:cubicBezTo>
                      <a:pt x="56" y="84"/>
                      <a:pt x="56" y="84"/>
                      <a:pt x="56" y="84"/>
                    </a:cubicBezTo>
                    <a:cubicBezTo>
                      <a:pt x="56" y="84"/>
                      <a:pt x="56" y="84"/>
                      <a:pt x="56" y="84"/>
                    </a:cubicBezTo>
                    <a:cubicBezTo>
                      <a:pt x="56" y="84"/>
                      <a:pt x="56" y="84"/>
                      <a:pt x="56" y="84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6" y="85"/>
                      <a:pt x="56" y="85"/>
                      <a:pt x="56" y="85"/>
                    </a:cubicBezTo>
                    <a:cubicBezTo>
                      <a:pt x="55" y="93"/>
                      <a:pt x="55" y="93"/>
                      <a:pt x="55" y="93"/>
                    </a:cubicBezTo>
                    <a:cubicBezTo>
                      <a:pt x="51" y="97"/>
                      <a:pt x="51" y="97"/>
                      <a:pt x="51" y="97"/>
                    </a:cubicBezTo>
                    <a:cubicBezTo>
                      <a:pt x="50" y="102"/>
                      <a:pt x="50" y="102"/>
                      <a:pt x="50" y="102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0" y="105"/>
                      <a:pt x="50" y="105"/>
                      <a:pt x="50" y="105"/>
                    </a:cubicBezTo>
                    <a:cubicBezTo>
                      <a:pt x="50" y="106"/>
                      <a:pt x="50" y="106"/>
                      <a:pt x="50" y="106"/>
                    </a:cubicBezTo>
                    <a:cubicBezTo>
                      <a:pt x="50" y="106"/>
                      <a:pt x="50" y="106"/>
                      <a:pt x="50" y="106"/>
                    </a:cubicBezTo>
                    <a:cubicBezTo>
                      <a:pt x="50" y="106"/>
                      <a:pt x="50" y="106"/>
                      <a:pt x="50" y="106"/>
                    </a:cubicBezTo>
                    <a:cubicBezTo>
                      <a:pt x="50" y="106"/>
                      <a:pt x="50" y="106"/>
                      <a:pt x="50" y="106"/>
                    </a:cubicBezTo>
                    <a:cubicBezTo>
                      <a:pt x="50" y="106"/>
                      <a:pt x="50" y="106"/>
                      <a:pt x="50" y="106"/>
                    </a:cubicBezTo>
                    <a:cubicBezTo>
                      <a:pt x="50" y="106"/>
                      <a:pt x="50" y="106"/>
                      <a:pt x="50" y="106"/>
                    </a:cubicBezTo>
                    <a:cubicBezTo>
                      <a:pt x="50" y="106"/>
                      <a:pt x="50" y="106"/>
                      <a:pt x="50" y="106"/>
                    </a:cubicBezTo>
                    <a:cubicBezTo>
                      <a:pt x="50" y="106"/>
                      <a:pt x="50" y="106"/>
                      <a:pt x="50" y="106"/>
                    </a:cubicBezTo>
                    <a:cubicBezTo>
                      <a:pt x="50" y="106"/>
                      <a:pt x="50" y="106"/>
                      <a:pt x="50" y="106"/>
                    </a:cubicBezTo>
                    <a:cubicBezTo>
                      <a:pt x="50" y="106"/>
                      <a:pt x="50" y="106"/>
                      <a:pt x="50" y="106"/>
                    </a:cubicBezTo>
                    <a:cubicBezTo>
                      <a:pt x="50" y="106"/>
                      <a:pt x="50" y="106"/>
                      <a:pt x="50" y="106"/>
                    </a:cubicBezTo>
                    <a:cubicBezTo>
                      <a:pt x="50" y="106"/>
                      <a:pt x="50" y="106"/>
                      <a:pt x="50" y="106"/>
                    </a:cubicBezTo>
                    <a:cubicBezTo>
                      <a:pt x="50" y="106"/>
                      <a:pt x="50" y="106"/>
                      <a:pt x="50" y="106"/>
                    </a:cubicBezTo>
                    <a:cubicBezTo>
                      <a:pt x="50" y="106"/>
                      <a:pt x="50" y="106"/>
                      <a:pt x="50" y="106"/>
                    </a:cubicBezTo>
                    <a:cubicBezTo>
                      <a:pt x="50" y="106"/>
                      <a:pt x="50" y="106"/>
                      <a:pt x="50" y="106"/>
                    </a:cubicBezTo>
                    <a:cubicBezTo>
                      <a:pt x="50" y="106"/>
                      <a:pt x="50" y="106"/>
                      <a:pt x="50" y="106"/>
                    </a:cubicBezTo>
                    <a:cubicBezTo>
                      <a:pt x="50" y="106"/>
                      <a:pt x="50" y="106"/>
                      <a:pt x="50" y="106"/>
                    </a:cubicBezTo>
                    <a:cubicBezTo>
                      <a:pt x="50" y="106"/>
                      <a:pt x="50" y="106"/>
                      <a:pt x="50" y="106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7"/>
                      <a:pt x="50" y="107"/>
                      <a:pt x="50" y="107"/>
                    </a:cubicBezTo>
                    <a:cubicBezTo>
                      <a:pt x="50" y="108"/>
                      <a:pt x="50" y="108"/>
                      <a:pt x="50" y="108"/>
                    </a:cubicBezTo>
                    <a:cubicBezTo>
                      <a:pt x="50" y="108"/>
                      <a:pt x="50" y="108"/>
                      <a:pt x="50" y="108"/>
                    </a:cubicBezTo>
                    <a:cubicBezTo>
                      <a:pt x="50" y="108"/>
                      <a:pt x="50" y="108"/>
                      <a:pt x="50" y="108"/>
                    </a:cubicBezTo>
                    <a:cubicBezTo>
                      <a:pt x="50" y="108"/>
                      <a:pt x="50" y="108"/>
                      <a:pt x="50" y="108"/>
                    </a:cubicBezTo>
                    <a:cubicBezTo>
                      <a:pt x="50" y="108"/>
                      <a:pt x="50" y="108"/>
                      <a:pt x="50" y="108"/>
                    </a:cubicBezTo>
                    <a:cubicBezTo>
                      <a:pt x="50" y="108"/>
                      <a:pt x="50" y="108"/>
                      <a:pt x="50" y="108"/>
                    </a:cubicBezTo>
                    <a:cubicBezTo>
                      <a:pt x="50" y="108"/>
                      <a:pt x="50" y="108"/>
                      <a:pt x="50" y="108"/>
                    </a:cubicBezTo>
                    <a:cubicBezTo>
                      <a:pt x="50" y="108"/>
                      <a:pt x="50" y="108"/>
                      <a:pt x="50" y="108"/>
                    </a:cubicBezTo>
                    <a:cubicBezTo>
                      <a:pt x="50" y="108"/>
                      <a:pt x="50" y="108"/>
                      <a:pt x="50" y="108"/>
                    </a:cubicBezTo>
                    <a:cubicBezTo>
                      <a:pt x="50" y="108"/>
                      <a:pt x="50" y="108"/>
                      <a:pt x="50" y="108"/>
                    </a:cubicBezTo>
                    <a:cubicBezTo>
                      <a:pt x="50" y="108"/>
                      <a:pt x="50" y="108"/>
                      <a:pt x="50" y="108"/>
                    </a:cubicBezTo>
                    <a:cubicBezTo>
                      <a:pt x="50" y="108"/>
                      <a:pt x="50" y="108"/>
                      <a:pt x="50" y="108"/>
                    </a:cubicBezTo>
                    <a:cubicBezTo>
                      <a:pt x="50" y="108"/>
                      <a:pt x="50" y="108"/>
                      <a:pt x="50" y="108"/>
                    </a:cubicBezTo>
                    <a:cubicBezTo>
                      <a:pt x="50" y="109"/>
                      <a:pt x="50" y="109"/>
                      <a:pt x="49" y="109"/>
                    </a:cubicBezTo>
                    <a:cubicBezTo>
                      <a:pt x="47" y="110"/>
                      <a:pt x="46" y="112"/>
                      <a:pt x="46" y="112"/>
                    </a:cubicBezTo>
                    <a:cubicBezTo>
                      <a:pt x="46" y="119"/>
                      <a:pt x="46" y="119"/>
                      <a:pt x="46" y="119"/>
                    </a:cubicBezTo>
                    <a:cubicBezTo>
                      <a:pt x="45" y="121"/>
                      <a:pt x="45" y="121"/>
                      <a:pt x="45" y="121"/>
                    </a:cubicBezTo>
                    <a:cubicBezTo>
                      <a:pt x="43" y="124"/>
                      <a:pt x="43" y="124"/>
                      <a:pt x="43" y="124"/>
                    </a:cubicBezTo>
                    <a:cubicBezTo>
                      <a:pt x="44" y="128"/>
                      <a:pt x="44" y="128"/>
                      <a:pt x="44" y="128"/>
                    </a:cubicBezTo>
                    <a:cubicBezTo>
                      <a:pt x="44" y="128"/>
                      <a:pt x="44" y="128"/>
                      <a:pt x="44" y="128"/>
                    </a:cubicBezTo>
                    <a:cubicBezTo>
                      <a:pt x="42" y="131"/>
                      <a:pt x="42" y="131"/>
                      <a:pt x="42" y="131"/>
                    </a:cubicBezTo>
                    <a:cubicBezTo>
                      <a:pt x="43" y="136"/>
                      <a:pt x="43" y="136"/>
                      <a:pt x="43" y="136"/>
                    </a:cubicBezTo>
                    <a:cubicBezTo>
                      <a:pt x="41" y="139"/>
                      <a:pt x="41" y="139"/>
                      <a:pt x="41" y="139"/>
                    </a:cubicBezTo>
                    <a:cubicBezTo>
                      <a:pt x="40" y="140"/>
                      <a:pt x="40" y="140"/>
                      <a:pt x="40" y="140"/>
                    </a:cubicBezTo>
                    <a:cubicBezTo>
                      <a:pt x="39" y="143"/>
                      <a:pt x="39" y="143"/>
                      <a:pt x="39" y="143"/>
                    </a:cubicBezTo>
                    <a:cubicBezTo>
                      <a:pt x="37" y="148"/>
                      <a:pt x="37" y="148"/>
                      <a:pt x="37" y="148"/>
                    </a:cubicBezTo>
                    <a:cubicBezTo>
                      <a:pt x="29" y="155"/>
                      <a:pt x="29" y="155"/>
                      <a:pt x="29" y="155"/>
                    </a:cubicBezTo>
                    <a:cubicBezTo>
                      <a:pt x="26" y="154"/>
                      <a:pt x="26" y="154"/>
                      <a:pt x="26" y="154"/>
                    </a:cubicBezTo>
                    <a:cubicBezTo>
                      <a:pt x="24" y="155"/>
                      <a:pt x="24" y="155"/>
                      <a:pt x="24" y="155"/>
                    </a:cubicBezTo>
                    <a:cubicBezTo>
                      <a:pt x="22" y="157"/>
                      <a:pt x="22" y="157"/>
                      <a:pt x="22" y="157"/>
                    </a:cubicBezTo>
                    <a:cubicBezTo>
                      <a:pt x="22" y="157"/>
                      <a:pt x="23" y="157"/>
                      <a:pt x="21" y="159"/>
                    </a:cubicBezTo>
                    <a:cubicBezTo>
                      <a:pt x="19" y="160"/>
                      <a:pt x="15" y="161"/>
                      <a:pt x="15" y="161"/>
                    </a:cubicBezTo>
                    <a:cubicBezTo>
                      <a:pt x="13" y="161"/>
                      <a:pt x="13" y="161"/>
                      <a:pt x="13" y="161"/>
                    </a:cubicBezTo>
                    <a:cubicBezTo>
                      <a:pt x="6" y="161"/>
                      <a:pt x="6" y="161"/>
                      <a:pt x="6" y="161"/>
                    </a:cubicBezTo>
                    <a:cubicBezTo>
                      <a:pt x="6" y="161"/>
                      <a:pt x="6" y="161"/>
                      <a:pt x="6" y="161"/>
                    </a:cubicBezTo>
                    <a:cubicBezTo>
                      <a:pt x="6" y="161"/>
                      <a:pt x="6" y="161"/>
                      <a:pt x="6" y="161"/>
                    </a:cubicBezTo>
                    <a:cubicBezTo>
                      <a:pt x="6" y="161"/>
                      <a:pt x="5" y="160"/>
                      <a:pt x="4" y="161"/>
                    </a:cubicBezTo>
                    <a:cubicBezTo>
                      <a:pt x="4" y="161"/>
                      <a:pt x="3" y="161"/>
                      <a:pt x="3" y="161"/>
                    </a:cubicBezTo>
                    <a:cubicBezTo>
                      <a:pt x="3" y="161"/>
                      <a:pt x="3" y="161"/>
                      <a:pt x="3" y="161"/>
                    </a:cubicBezTo>
                    <a:cubicBezTo>
                      <a:pt x="2" y="161"/>
                      <a:pt x="2" y="161"/>
                      <a:pt x="2" y="161"/>
                    </a:cubicBezTo>
                    <a:cubicBezTo>
                      <a:pt x="2" y="161"/>
                      <a:pt x="2" y="161"/>
                      <a:pt x="2" y="161"/>
                    </a:cubicBezTo>
                    <a:cubicBezTo>
                      <a:pt x="2" y="161"/>
                      <a:pt x="2" y="161"/>
                      <a:pt x="2" y="161"/>
                    </a:cubicBezTo>
                    <a:cubicBezTo>
                      <a:pt x="2" y="161"/>
                      <a:pt x="2" y="161"/>
                      <a:pt x="2" y="161"/>
                    </a:cubicBezTo>
                    <a:cubicBezTo>
                      <a:pt x="2" y="161"/>
                      <a:pt x="2" y="161"/>
                      <a:pt x="2" y="161"/>
                    </a:cubicBezTo>
                    <a:cubicBezTo>
                      <a:pt x="2" y="161"/>
                      <a:pt x="2" y="161"/>
                      <a:pt x="2" y="161"/>
                    </a:cubicBezTo>
                    <a:cubicBezTo>
                      <a:pt x="2" y="161"/>
                      <a:pt x="2" y="161"/>
                      <a:pt x="2" y="161"/>
                    </a:cubicBezTo>
                    <a:cubicBezTo>
                      <a:pt x="2" y="161"/>
                      <a:pt x="2" y="161"/>
                      <a:pt x="2" y="161"/>
                    </a:cubicBezTo>
                    <a:cubicBezTo>
                      <a:pt x="2" y="161"/>
                      <a:pt x="2" y="161"/>
                      <a:pt x="2" y="161"/>
                    </a:cubicBezTo>
                    <a:cubicBezTo>
                      <a:pt x="1" y="161"/>
                      <a:pt x="1" y="161"/>
                      <a:pt x="1" y="161"/>
                    </a:cubicBezTo>
                    <a:cubicBezTo>
                      <a:pt x="1" y="161"/>
                      <a:pt x="1" y="161"/>
                      <a:pt x="1" y="161"/>
                    </a:cubicBezTo>
                    <a:cubicBezTo>
                      <a:pt x="1" y="161"/>
                      <a:pt x="1" y="161"/>
                      <a:pt x="1" y="161"/>
                    </a:cubicBezTo>
                    <a:cubicBezTo>
                      <a:pt x="1" y="161"/>
                      <a:pt x="1" y="161"/>
                      <a:pt x="1" y="161"/>
                    </a:cubicBezTo>
                    <a:cubicBezTo>
                      <a:pt x="1" y="161"/>
                      <a:pt x="1" y="161"/>
                      <a:pt x="1" y="161"/>
                    </a:cubicBezTo>
                    <a:cubicBezTo>
                      <a:pt x="1" y="161"/>
                      <a:pt x="1" y="161"/>
                      <a:pt x="1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161"/>
                      <a:pt x="1" y="162"/>
                      <a:pt x="2" y="162"/>
                    </a:cubicBezTo>
                    <a:cubicBezTo>
                      <a:pt x="4" y="163"/>
                      <a:pt x="5" y="166"/>
                      <a:pt x="6" y="166"/>
                    </a:cubicBezTo>
                    <a:cubicBezTo>
                      <a:pt x="8" y="167"/>
                      <a:pt x="10" y="167"/>
                      <a:pt x="11" y="167"/>
                    </a:cubicBezTo>
                    <a:cubicBezTo>
                      <a:pt x="12" y="168"/>
                      <a:pt x="14" y="169"/>
                      <a:pt x="14" y="169"/>
                    </a:cubicBezTo>
                    <a:cubicBezTo>
                      <a:pt x="14" y="169"/>
                      <a:pt x="19" y="174"/>
                      <a:pt x="20" y="174"/>
                    </a:cubicBezTo>
                    <a:cubicBezTo>
                      <a:pt x="21" y="174"/>
                      <a:pt x="21" y="174"/>
                      <a:pt x="22" y="176"/>
                    </a:cubicBezTo>
                    <a:cubicBezTo>
                      <a:pt x="23" y="177"/>
                      <a:pt x="26" y="176"/>
                      <a:pt x="26" y="176"/>
                    </a:cubicBezTo>
                    <a:cubicBezTo>
                      <a:pt x="26" y="176"/>
                      <a:pt x="27" y="179"/>
                      <a:pt x="26" y="180"/>
                    </a:cubicBezTo>
                    <a:cubicBezTo>
                      <a:pt x="26" y="181"/>
                      <a:pt x="26" y="184"/>
                      <a:pt x="26" y="184"/>
                    </a:cubicBezTo>
                    <a:cubicBezTo>
                      <a:pt x="26" y="184"/>
                      <a:pt x="26" y="185"/>
                      <a:pt x="26" y="186"/>
                    </a:cubicBezTo>
                    <a:cubicBezTo>
                      <a:pt x="27" y="188"/>
                      <a:pt x="28" y="188"/>
                      <a:pt x="28" y="190"/>
                    </a:cubicBezTo>
                    <a:cubicBezTo>
                      <a:pt x="29" y="191"/>
                      <a:pt x="28" y="191"/>
                      <a:pt x="29" y="192"/>
                    </a:cubicBezTo>
                    <a:cubicBezTo>
                      <a:pt x="30" y="193"/>
                      <a:pt x="31" y="195"/>
                      <a:pt x="32" y="195"/>
                    </a:cubicBezTo>
                    <a:cubicBezTo>
                      <a:pt x="33" y="195"/>
                      <a:pt x="34" y="195"/>
                      <a:pt x="37" y="196"/>
                    </a:cubicBezTo>
                    <a:cubicBezTo>
                      <a:pt x="40" y="198"/>
                      <a:pt x="41" y="198"/>
                      <a:pt x="42" y="199"/>
                    </a:cubicBezTo>
                    <a:cubicBezTo>
                      <a:pt x="44" y="200"/>
                      <a:pt x="43" y="199"/>
                      <a:pt x="46" y="200"/>
                    </a:cubicBezTo>
                    <a:cubicBezTo>
                      <a:pt x="50" y="201"/>
                      <a:pt x="49" y="200"/>
                      <a:pt x="50" y="201"/>
                    </a:cubicBezTo>
                    <a:cubicBezTo>
                      <a:pt x="51" y="201"/>
                      <a:pt x="50" y="200"/>
                      <a:pt x="52" y="201"/>
                    </a:cubicBezTo>
                    <a:cubicBezTo>
                      <a:pt x="55" y="201"/>
                      <a:pt x="57" y="202"/>
                      <a:pt x="57" y="202"/>
                    </a:cubicBezTo>
                    <a:cubicBezTo>
                      <a:pt x="57" y="204"/>
                      <a:pt x="57" y="204"/>
                      <a:pt x="57" y="204"/>
                    </a:cubicBezTo>
                    <a:cubicBezTo>
                      <a:pt x="55" y="208"/>
                      <a:pt x="55" y="208"/>
                      <a:pt x="55" y="208"/>
                    </a:cubicBezTo>
                    <a:cubicBezTo>
                      <a:pt x="55" y="211"/>
                      <a:pt x="55" y="211"/>
                      <a:pt x="55" y="211"/>
                    </a:cubicBezTo>
                    <a:cubicBezTo>
                      <a:pt x="55" y="211"/>
                      <a:pt x="53" y="211"/>
                      <a:pt x="55" y="212"/>
                    </a:cubicBezTo>
                    <a:cubicBezTo>
                      <a:pt x="57" y="213"/>
                      <a:pt x="61" y="214"/>
                      <a:pt x="61" y="214"/>
                    </a:cubicBezTo>
                    <a:cubicBezTo>
                      <a:pt x="64" y="216"/>
                      <a:pt x="64" y="216"/>
                      <a:pt x="64" y="216"/>
                    </a:cubicBezTo>
                    <a:cubicBezTo>
                      <a:pt x="64" y="216"/>
                      <a:pt x="62" y="219"/>
                      <a:pt x="61" y="220"/>
                    </a:cubicBezTo>
                    <a:cubicBezTo>
                      <a:pt x="60" y="220"/>
                      <a:pt x="57" y="220"/>
                      <a:pt x="57" y="220"/>
                    </a:cubicBezTo>
                    <a:cubicBezTo>
                      <a:pt x="57" y="220"/>
                      <a:pt x="56" y="223"/>
                      <a:pt x="58" y="223"/>
                    </a:cubicBezTo>
                    <a:cubicBezTo>
                      <a:pt x="59" y="224"/>
                      <a:pt x="61" y="224"/>
                      <a:pt x="62" y="224"/>
                    </a:cubicBezTo>
                    <a:cubicBezTo>
                      <a:pt x="63" y="224"/>
                      <a:pt x="65" y="225"/>
                      <a:pt x="65" y="225"/>
                    </a:cubicBezTo>
                    <a:cubicBezTo>
                      <a:pt x="65" y="225"/>
                      <a:pt x="66" y="225"/>
                      <a:pt x="67" y="226"/>
                    </a:cubicBezTo>
                    <a:cubicBezTo>
                      <a:pt x="67" y="228"/>
                      <a:pt x="68" y="229"/>
                      <a:pt x="69" y="229"/>
                    </a:cubicBezTo>
                    <a:cubicBezTo>
                      <a:pt x="70" y="229"/>
                      <a:pt x="72" y="229"/>
                      <a:pt x="73" y="229"/>
                    </a:cubicBezTo>
                    <a:cubicBezTo>
                      <a:pt x="74" y="229"/>
                      <a:pt x="74" y="228"/>
                      <a:pt x="75" y="228"/>
                    </a:cubicBezTo>
                    <a:cubicBezTo>
                      <a:pt x="76" y="229"/>
                      <a:pt x="82" y="228"/>
                      <a:pt x="82" y="228"/>
                    </a:cubicBezTo>
                    <a:cubicBezTo>
                      <a:pt x="82" y="228"/>
                      <a:pt x="82" y="228"/>
                      <a:pt x="83" y="230"/>
                    </a:cubicBezTo>
                    <a:cubicBezTo>
                      <a:pt x="85" y="233"/>
                      <a:pt x="88" y="234"/>
                      <a:pt x="88" y="234"/>
                    </a:cubicBezTo>
                    <a:cubicBezTo>
                      <a:pt x="88" y="234"/>
                      <a:pt x="89" y="235"/>
                      <a:pt x="89" y="234"/>
                    </a:cubicBezTo>
                    <a:cubicBezTo>
                      <a:pt x="89" y="233"/>
                      <a:pt x="90" y="232"/>
                      <a:pt x="90" y="232"/>
                    </a:cubicBezTo>
                    <a:cubicBezTo>
                      <a:pt x="90" y="232"/>
                      <a:pt x="92" y="229"/>
                      <a:pt x="92" y="228"/>
                    </a:cubicBezTo>
                    <a:cubicBezTo>
                      <a:pt x="93" y="227"/>
                      <a:pt x="94" y="224"/>
                      <a:pt x="95" y="224"/>
                    </a:cubicBezTo>
                    <a:cubicBezTo>
                      <a:pt x="96" y="223"/>
                      <a:pt x="99" y="221"/>
                      <a:pt x="99" y="221"/>
                    </a:cubicBezTo>
                    <a:cubicBezTo>
                      <a:pt x="99" y="221"/>
                      <a:pt x="99" y="220"/>
                      <a:pt x="101" y="221"/>
                    </a:cubicBezTo>
                    <a:cubicBezTo>
                      <a:pt x="102" y="223"/>
                      <a:pt x="105" y="225"/>
                      <a:pt x="105" y="225"/>
                    </a:cubicBezTo>
                    <a:cubicBezTo>
                      <a:pt x="110" y="225"/>
                      <a:pt x="110" y="225"/>
                      <a:pt x="110" y="225"/>
                    </a:cubicBezTo>
                    <a:cubicBezTo>
                      <a:pt x="110" y="225"/>
                      <a:pt x="113" y="226"/>
                      <a:pt x="113" y="227"/>
                    </a:cubicBezTo>
                    <a:cubicBezTo>
                      <a:pt x="113" y="228"/>
                      <a:pt x="112" y="228"/>
                      <a:pt x="110" y="229"/>
                    </a:cubicBezTo>
                    <a:cubicBezTo>
                      <a:pt x="109" y="229"/>
                      <a:pt x="106" y="226"/>
                      <a:pt x="106" y="227"/>
                    </a:cubicBezTo>
                    <a:cubicBezTo>
                      <a:pt x="105" y="228"/>
                      <a:pt x="105" y="230"/>
                      <a:pt x="105" y="230"/>
                    </a:cubicBezTo>
                    <a:cubicBezTo>
                      <a:pt x="101" y="232"/>
                      <a:pt x="101" y="232"/>
                      <a:pt x="101" y="232"/>
                    </a:cubicBezTo>
                    <a:cubicBezTo>
                      <a:pt x="102" y="234"/>
                      <a:pt x="102" y="234"/>
                      <a:pt x="102" y="234"/>
                    </a:cubicBezTo>
                    <a:cubicBezTo>
                      <a:pt x="102" y="234"/>
                      <a:pt x="107" y="236"/>
                      <a:pt x="107" y="237"/>
                    </a:cubicBezTo>
                    <a:cubicBezTo>
                      <a:pt x="107" y="238"/>
                      <a:pt x="107" y="240"/>
                      <a:pt x="107" y="240"/>
                    </a:cubicBezTo>
                    <a:cubicBezTo>
                      <a:pt x="110" y="241"/>
                      <a:pt x="110" y="241"/>
                      <a:pt x="110" y="241"/>
                    </a:cubicBezTo>
                    <a:cubicBezTo>
                      <a:pt x="112" y="240"/>
                      <a:pt x="112" y="240"/>
                      <a:pt x="112" y="240"/>
                    </a:cubicBezTo>
                    <a:cubicBezTo>
                      <a:pt x="112" y="244"/>
                      <a:pt x="112" y="244"/>
                      <a:pt x="112" y="244"/>
                    </a:cubicBezTo>
                    <a:cubicBezTo>
                      <a:pt x="112" y="248"/>
                      <a:pt x="112" y="248"/>
                      <a:pt x="112" y="248"/>
                    </a:cubicBezTo>
                    <a:cubicBezTo>
                      <a:pt x="112" y="248"/>
                      <a:pt x="112" y="248"/>
                      <a:pt x="112" y="248"/>
                    </a:cubicBezTo>
                    <a:cubicBezTo>
                      <a:pt x="112" y="248"/>
                      <a:pt x="112" y="248"/>
                      <a:pt x="112" y="248"/>
                    </a:cubicBezTo>
                    <a:cubicBezTo>
                      <a:pt x="119" y="246"/>
                      <a:pt x="125" y="250"/>
                      <a:pt x="128" y="250"/>
                    </a:cubicBezTo>
                    <a:cubicBezTo>
                      <a:pt x="134" y="251"/>
                      <a:pt x="121" y="258"/>
                      <a:pt x="123" y="258"/>
                    </a:cubicBezTo>
                    <a:cubicBezTo>
                      <a:pt x="125" y="257"/>
                      <a:pt x="123" y="263"/>
                      <a:pt x="126" y="264"/>
                    </a:cubicBezTo>
                    <a:cubicBezTo>
                      <a:pt x="131" y="265"/>
                      <a:pt x="135" y="261"/>
                      <a:pt x="141" y="261"/>
                    </a:cubicBezTo>
                    <a:cubicBezTo>
                      <a:pt x="146" y="260"/>
                      <a:pt x="152" y="263"/>
                      <a:pt x="154" y="261"/>
                    </a:cubicBezTo>
                    <a:cubicBezTo>
                      <a:pt x="158" y="256"/>
                      <a:pt x="174" y="266"/>
                      <a:pt x="182" y="261"/>
                    </a:cubicBezTo>
                    <a:cubicBezTo>
                      <a:pt x="187" y="257"/>
                      <a:pt x="207" y="255"/>
                      <a:pt x="214" y="255"/>
                    </a:cubicBezTo>
                    <a:cubicBezTo>
                      <a:pt x="232" y="254"/>
                      <a:pt x="233" y="254"/>
                      <a:pt x="241" y="249"/>
                    </a:cubicBezTo>
                    <a:cubicBezTo>
                      <a:pt x="241" y="249"/>
                      <a:pt x="246" y="238"/>
                      <a:pt x="249" y="233"/>
                    </a:cubicBezTo>
                    <a:cubicBezTo>
                      <a:pt x="251" y="229"/>
                      <a:pt x="257" y="227"/>
                      <a:pt x="263" y="223"/>
                    </a:cubicBezTo>
                    <a:cubicBezTo>
                      <a:pt x="268" y="219"/>
                      <a:pt x="281" y="215"/>
                      <a:pt x="284" y="214"/>
                    </a:cubicBezTo>
                    <a:cubicBezTo>
                      <a:pt x="287" y="214"/>
                      <a:pt x="308" y="215"/>
                      <a:pt x="308" y="215"/>
                    </a:cubicBezTo>
                    <a:cubicBezTo>
                      <a:pt x="319" y="212"/>
                      <a:pt x="319" y="212"/>
                      <a:pt x="319" y="212"/>
                    </a:cubicBezTo>
                    <a:cubicBezTo>
                      <a:pt x="319" y="212"/>
                      <a:pt x="321" y="220"/>
                      <a:pt x="324" y="221"/>
                    </a:cubicBezTo>
                    <a:cubicBezTo>
                      <a:pt x="337" y="223"/>
                      <a:pt x="345" y="222"/>
                      <a:pt x="346" y="215"/>
                    </a:cubicBezTo>
                    <a:cubicBezTo>
                      <a:pt x="347" y="210"/>
                      <a:pt x="342" y="201"/>
                      <a:pt x="341" y="194"/>
                    </a:cubicBezTo>
                    <a:cubicBezTo>
                      <a:pt x="340" y="186"/>
                      <a:pt x="344" y="178"/>
                      <a:pt x="344" y="171"/>
                    </a:cubicBezTo>
                    <a:cubicBezTo>
                      <a:pt x="344" y="170"/>
                      <a:pt x="342" y="168"/>
                      <a:pt x="348" y="160"/>
                    </a:cubicBezTo>
                    <a:cubicBezTo>
                      <a:pt x="353" y="152"/>
                      <a:pt x="367" y="156"/>
                      <a:pt x="369" y="151"/>
                    </a:cubicBezTo>
                    <a:cubicBezTo>
                      <a:pt x="363" y="123"/>
                      <a:pt x="363" y="123"/>
                      <a:pt x="363" y="123"/>
                    </a:cubicBezTo>
                    <a:cubicBezTo>
                      <a:pt x="362" y="123"/>
                      <a:pt x="362" y="123"/>
                      <a:pt x="362" y="123"/>
                    </a:cubicBezTo>
                    <a:cubicBezTo>
                      <a:pt x="361" y="123"/>
                      <a:pt x="361" y="123"/>
                      <a:pt x="361" y="123"/>
                    </a:cubicBezTo>
                    <a:cubicBezTo>
                      <a:pt x="359" y="122"/>
                      <a:pt x="359" y="122"/>
                      <a:pt x="359" y="122"/>
                    </a:cubicBezTo>
                    <a:cubicBezTo>
                      <a:pt x="357" y="122"/>
                      <a:pt x="357" y="122"/>
                      <a:pt x="357" y="122"/>
                    </a:cubicBezTo>
                    <a:cubicBezTo>
                      <a:pt x="355" y="121"/>
                      <a:pt x="355" y="121"/>
                      <a:pt x="355" y="121"/>
                    </a:cubicBezTo>
                    <a:cubicBezTo>
                      <a:pt x="353" y="120"/>
                      <a:pt x="353" y="120"/>
                      <a:pt x="353" y="120"/>
                    </a:cubicBezTo>
                    <a:cubicBezTo>
                      <a:pt x="351" y="120"/>
                      <a:pt x="351" y="120"/>
                      <a:pt x="351" y="120"/>
                    </a:cubicBezTo>
                    <a:cubicBezTo>
                      <a:pt x="351" y="120"/>
                      <a:pt x="351" y="120"/>
                      <a:pt x="351" y="120"/>
                    </a:cubicBezTo>
                    <a:cubicBezTo>
                      <a:pt x="350" y="120"/>
                      <a:pt x="350" y="120"/>
                      <a:pt x="350" y="120"/>
                    </a:cubicBezTo>
                    <a:cubicBezTo>
                      <a:pt x="343" y="119"/>
                      <a:pt x="334" y="135"/>
                      <a:pt x="334" y="135"/>
                    </a:cubicBezTo>
                    <a:cubicBezTo>
                      <a:pt x="330" y="142"/>
                      <a:pt x="330" y="142"/>
                      <a:pt x="330" y="142"/>
                    </a:cubicBezTo>
                    <a:cubicBezTo>
                      <a:pt x="320" y="140"/>
                      <a:pt x="310" y="139"/>
                      <a:pt x="303" y="131"/>
                    </a:cubicBezTo>
                    <a:cubicBezTo>
                      <a:pt x="303" y="128"/>
                      <a:pt x="303" y="128"/>
                      <a:pt x="303" y="128"/>
                    </a:cubicBezTo>
                    <a:cubicBezTo>
                      <a:pt x="303" y="128"/>
                      <a:pt x="303" y="128"/>
                      <a:pt x="303" y="128"/>
                    </a:cubicBezTo>
                    <a:cubicBezTo>
                      <a:pt x="303" y="128"/>
                      <a:pt x="303" y="128"/>
                      <a:pt x="303" y="128"/>
                    </a:cubicBezTo>
                    <a:cubicBezTo>
                      <a:pt x="302" y="127"/>
                      <a:pt x="302" y="127"/>
                      <a:pt x="302" y="127"/>
                    </a:cubicBezTo>
                    <a:cubicBezTo>
                      <a:pt x="302" y="127"/>
                      <a:pt x="301" y="127"/>
                      <a:pt x="301" y="127"/>
                    </a:cubicBezTo>
                    <a:cubicBezTo>
                      <a:pt x="300" y="127"/>
                      <a:pt x="299" y="126"/>
                      <a:pt x="299" y="126"/>
                    </a:cubicBezTo>
                    <a:cubicBezTo>
                      <a:pt x="300" y="124"/>
                      <a:pt x="300" y="124"/>
                      <a:pt x="300" y="124"/>
                    </a:cubicBezTo>
                    <a:cubicBezTo>
                      <a:pt x="300" y="124"/>
                      <a:pt x="301" y="123"/>
                      <a:pt x="301" y="123"/>
                    </a:cubicBezTo>
                    <a:cubicBezTo>
                      <a:pt x="302" y="123"/>
                      <a:pt x="301" y="123"/>
                      <a:pt x="301" y="122"/>
                    </a:cubicBezTo>
                    <a:cubicBezTo>
                      <a:pt x="301" y="122"/>
                      <a:pt x="301" y="120"/>
                      <a:pt x="301" y="119"/>
                    </a:cubicBezTo>
                    <a:cubicBezTo>
                      <a:pt x="300" y="118"/>
                      <a:pt x="300" y="118"/>
                      <a:pt x="300" y="118"/>
                    </a:cubicBezTo>
                    <a:cubicBezTo>
                      <a:pt x="300" y="118"/>
                      <a:pt x="299" y="116"/>
                      <a:pt x="298" y="115"/>
                    </a:cubicBezTo>
                    <a:cubicBezTo>
                      <a:pt x="297" y="115"/>
                      <a:pt x="298" y="114"/>
                      <a:pt x="298" y="114"/>
                    </a:cubicBezTo>
                    <a:cubicBezTo>
                      <a:pt x="297" y="113"/>
                      <a:pt x="298" y="113"/>
                      <a:pt x="298" y="112"/>
                    </a:cubicBezTo>
                    <a:cubicBezTo>
                      <a:pt x="298" y="112"/>
                      <a:pt x="297" y="110"/>
                      <a:pt x="297" y="110"/>
                    </a:cubicBezTo>
                    <a:cubicBezTo>
                      <a:pt x="297" y="110"/>
                      <a:pt x="295" y="107"/>
                      <a:pt x="294" y="105"/>
                    </a:cubicBezTo>
                    <a:cubicBezTo>
                      <a:pt x="294" y="104"/>
                      <a:pt x="294" y="103"/>
                      <a:pt x="294" y="103"/>
                    </a:cubicBezTo>
                    <a:cubicBezTo>
                      <a:pt x="295" y="102"/>
                      <a:pt x="293" y="101"/>
                      <a:pt x="293" y="101"/>
                    </a:cubicBezTo>
                    <a:cubicBezTo>
                      <a:pt x="293" y="101"/>
                      <a:pt x="293" y="99"/>
                      <a:pt x="293" y="99"/>
                    </a:cubicBezTo>
                    <a:cubicBezTo>
                      <a:pt x="293" y="99"/>
                      <a:pt x="293" y="97"/>
                      <a:pt x="293" y="97"/>
                    </a:cubicBezTo>
                    <a:cubicBezTo>
                      <a:pt x="294" y="96"/>
                      <a:pt x="293" y="95"/>
                      <a:pt x="293" y="94"/>
                    </a:cubicBezTo>
                    <a:cubicBezTo>
                      <a:pt x="293" y="94"/>
                      <a:pt x="291" y="93"/>
                      <a:pt x="291" y="93"/>
                    </a:cubicBezTo>
                    <a:cubicBezTo>
                      <a:pt x="292" y="91"/>
                      <a:pt x="292" y="91"/>
                      <a:pt x="292" y="91"/>
                    </a:cubicBezTo>
                    <a:cubicBezTo>
                      <a:pt x="292" y="90"/>
                      <a:pt x="292" y="90"/>
                      <a:pt x="292" y="90"/>
                    </a:cubicBezTo>
                    <a:cubicBezTo>
                      <a:pt x="292" y="90"/>
                      <a:pt x="293" y="88"/>
                      <a:pt x="293" y="88"/>
                    </a:cubicBezTo>
                    <a:cubicBezTo>
                      <a:pt x="294" y="87"/>
                      <a:pt x="293" y="86"/>
                      <a:pt x="292" y="86"/>
                    </a:cubicBezTo>
                    <a:cubicBezTo>
                      <a:pt x="291" y="86"/>
                      <a:pt x="292" y="85"/>
                      <a:pt x="292" y="85"/>
                    </a:cubicBezTo>
                    <a:cubicBezTo>
                      <a:pt x="293" y="83"/>
                      <a:pt x="293" y="83"/>
                      <a:pt x="293" y="83"/>
                    </a:cubicBezTo>
                    <a:cubicBezTo>
                      <a:pt x="292" y="80"/>
                      <a:pt x="292" y="80"/>
                      <a:pt x="292" y="80"/>
                    </a:cubicBezTo>
                    <a:cubicBezTo>
                      <a:pt x="292" y="79"/>
                      <a:pt x="292" y="79"/>
                      <a:pt x="292" y="79"/>
                    </a:cubicBezTo>
                    <a:cubicBezTo>
                      <a:pt x="292" y="79"/>
                      <a:pt x="291" y="77"/>
                      <a:pt x="291" y="77"/>
                    </a:cubicBezTo>
                    <a:cubicBezTo>
                      <a:pt x="291" y="76"/>
                      <a:pt x="290" y="74"/>
                      <a:pt x="290" y="74"/>
                    </a:cubicBezTo>
                    <a:cubicBezTo>
                      <a:pt x="290" y="74"/>
                      <a:pt x="290" y="73"/>
                      <a:pt x="290" y="73"/>
                    </a:cubicBezTo>
                    <a:cubicBezTo>
                      <a:pt x="290" y="72"/>
                      <a:pt x="290" y="72"/>
                      <a:pt x="290" y="72"/>
                    </a:cubicBezTo>
                    <a:cubicBezTo>
                      <a:pt x="290" y="71"/>
                      <a:pt x="289" y="70"/>
                      <a:pt x="288" y="69"/>
                    </a:cubicBezTo>
                    <a:cubicBezTo>
                      <a:pt x="287" y="67"/>
                      <a:pt x="287" y="67"/>
                      <a:pt x="287" y="67"/>
                    </a:cubicBezTo>
                    <a:cubicBezTo>
                      <a:pt x="287" y="67"/>
                      <a:pt x="285" y="65"/>
                      <a:pt x="284" y="64"/>
                    </a:cubicBezTo>
                    <a:cubicBezTo>
                      <a:pt x="284" y="62"/>
                      <a:pt x="284" y="62"/>
                      <a:pt x="283" y="61"/>
                    </a:cubicBezTo>
                    <a:cubicBezTo>
                      <a:pt x="283" y="59"/>
                      <a:pt x="281" y="57"/>
                      <a:pt x="280" y="57"/>
                    </a:cubicBezTo>
                    <a:cubicBezTo>
                      <a:pt x="280" y="57"/>
                      <a:pt x="279" y="54"/>
                      <a:pt x="279" y="53"/>
                    </a:cubicBezTo>
                    <a:cubicBezTo>
                      <a:pt x="278" y="53"/>
                      <a:pt x="276" y="52"/>
                      <a:pt x="276" y="52"/>
                    </a:cubicBezTo>
                    <a:cubicBezTo>
                      <a:pt x="275" y="52"/>
                      <a:pt x="273" y="51"/>
                      <a:pt x="273" y="51"/>
                    </a:cubicBezTo>
                    <a:cubicBezTo>
                      <a:pt x="270" y="50"/>
                      <a:pt x="270" y="50"/>
                      <a:pt x="270" y="50"/>
                    </a:cubicBezTo>
                    <a:cubicBezTo>
                      <a:pt x="267" y="47"/>
                      <a:pt x="267" y="47"/>
                      <a:pt x="267" y="47"/>
                    </a:cubicBezTo>
                    <a:cubicBezTo>
                      <a:pt x="267" y="47"/>
                      <a:pt x="266" y="47"/>
                      <a:pt x="265" y="46"/>
                    </a:cubicBezTo>
                    <a:cubicBezTo>
                      <a:pt x="265" y="46"/>
                      <a:pt x="264" y="44"/>
                      <a:pt x="264" y="44"/>
                    </a:cubicBezTo>
                    <a:cubicBezTo>
                      <a:pt x="263" y="42"/>
                      <a:pt x="263" y="42"/>
                      <a:pt x="263" y="42"/>
                    </a:cubicBezTo>
                    <a:cubicBezTo>
                      <a:pt x="257" y="40"/>
                      <a:pt x="257" y="40"/>
                      <a:pt x="257" y="40"/>
                    </a:cubicBezTo>
                    <a:cubicBezTo>
                      <a:pt x="257" y="40"/>
                      <a:pt x="256" y="38"/>
                      <a:pt x="256" y="38"/>
                    </a:cubicBezTo>
                    <a:cubicBezTo>
                      <a:pt x="256" y="37"/>
                      <a:pt x="255" y="37"/>
                      <a:pt x="255" y="36"/>
                    </a:cubicBezTo>
                    <a:cubicBezTo>
                      <a:pt x="255" y="35"/>
                      <a:pt x="254" y="35"/>
                      <a:pt x="254" y="34"/>
                    </a:cubicBezTo>
                    <a:cubicBezTo>
                      <a:pt x="254" y="33"/>
                      <a:pt x="253" y="33"/>
                      <a:pt x="253" y="33"/>
                    </a:cubicBezTo>
                    <a:cubicBezTo>
                      <a:pt x="252" y="33"/>
                      <a:pt x="251" y="33"/>
                      <a:pt x="251" y="33"/>
                    </a:cubicBezTo>
                    <a:cubicBezTo>
                      <a:pt x="251" y="33"/>
                      <a:pt x="250" y="32"/>
                      <a:pt x="250" y="32"/>
                    </a:cubicBezTo>
                    <a:cubicBezTo>
                      <a:pt x="250" y="32"/>
                      <a:pt x="248" y="30"/>
                      <a:pt x="247" y="30"/>
                    </a:cubicBezTo>
                    <a:cubicBezTo>
                      <a:pt x="247" y="29"/>
                      <a:pt x="247" y="29"/>
                      <a:pt x="247" y="29"/>
                    </a:cubicBezTo>
                    <a:cubicBezTo>
                      <a:pt x="247" y="29"/>
                      <a:pt x="247" y="29"/>
                      <a:pt x="246" y="29"/>
                    </a:cubicBezTo>
                    <a:cubicBezTo>
                      <a:pt x="245" y="29"/>
                      <a:pt x="245" y="29"/>
                      <a:pt x="245" y="28"/>
                    </a:cubicBezTo>
                    <a:cubicBezTo>
                      <a:pt x="244" y="28"/>
                      <a:pt x="244" y="26"/>
                      <a:pt x="243" y="26"/>
                    </a:cubicBezTo>
                    <a:cubicBezTo>
                      <a:pt x="243" y="26"/>
                      <a:pt x="243" y="26"/>
                      <a:pt x="242" y="26"/>
                    </a:cubicBezTo>
                    <a:cubicBezTo>
                      <a:pt x="241" y="26"/>
                      <a:pt x="240" y="24"/>
                      <a:pt x="240" y="24"/>
                    </a:cubicBezTo>
                    <a:cubicBezTo>
                      <a:pt x="239" y="24"/>
                      <a:pt x="240" y="23"/>
                      <a:pt x="240" y="22"/>
                    </a:cubicBezTo>
                    <a:cubicBezTo>
                      <a:pt x="240" y="21"/>
                      <a:pt x="239" y="21"/>
                      <a:pt x="239" y="21"/>
                    </a:cubicBezTo>
                    <a:cubicBezTo>
                      <a:pt x="239" y="21"/>
                      <a:pt x="239" y="21"/>
                      <a:pt x="239" y="21"/>
                    </a:cubicBezTo>
                    <a:cubicBezTo>
                      <a:pt x="239" y="21"/>
                      <a:pt x="238" y="21"/>
                      <a:pt x="238" y="20"/>
                    </a:cubicBezTo>
                    <a:cubicBezTo>
                      <a:pt x="238" y="20"/>
                      <a:pt x="237" y="19"/>
                      <a:pt x="237" y="18"/>
                    </a:cubicBezTo>
                    <a:cubicBezTo>
                      <a:pt x="237" y="17"/>
                      <a:pt x="237" y="17"/>
                      <a:pt x="237" y="17"/>
                    </a:cubicBezTo>
                    <a:cubicBezTo>
                      <a:pt x="237" y="17"/>
                      <a:pt x="236" y="16"/>
                      <a:pt x="236" y="16"/>
                    </a:cubicBezTo>
                    <a:cubicBezTo>
                      <a:pt x="235" y="15"/>
                      <a:pt x="235" y="15"/>
                      <a:pt x="235" y="15"/>
                    </a:cubicBezTo>
                    <a:cubicBezTo>
                      <a:pt x="235" y="14"/>
                      <a:pt x="235" y="14"/>
                      <a:pt x="235" y="14"/>
                    </a:cubicBezTo>
                    <a:cubicBezTo>
                      <a:pt x="234" y="14"/>
                      <a:pt x="234" y="14"/>
                      <a:pt x="234" y="14"/>
                    </a:cubicBezTo>
                    <a:cubicBezTo>
                      <a:pt x="233" y="14"/>
                      <a:pt x="233" y="13"/>
                      <a:pt x="233" y="12"/>
                    </a:cubicBezTo>
                    <a:cubicBezTo>
                      <a:pt x="233" y="12"/>
                      <a:pt x="233" y="12"/>
                      <a:pt x="233" y="12"/>
                    </a:cubicBezTo>
                    <a:cubicBezTo>
                      <a:pt x="232" y="11"/>
                      <a:pt x="232" y="11"/>
                      <a:pt x="232" y="11"/>
                    </a:cubicBezTo>
                    <a:cubicBezTo>
                      <a:pt x="231" y="10"/>
                      <a:pt x="231" y="10"/>
                      <a:pt x="231" y="10"/>
                    </a:cubicBezTo>
                    <a:cubicBezTo>
                      <a:pt x="230" y="9"/>
                      <a:pt x="230" y="9"/>
                      <a:pt x="230" y="9"/>
                    </a:cubicBezTo>
                    <a:cubicBezTo>
                      <a:pt x="230" y="9"/>
                      <a:pt x="229" y="8"/>
                      <a:pt x="229" y="8"/>
                    </a:cubicBezTo>
                    <a:cubicBezTo>
                      <a:pt x="228" y="7"/>
                      <a:pt x="227" y="6"/>
                      <a:pt x="227" y="6"/>
                    </a:cubicBezTo>
                    <a:cubicBezTo>
                      <a:pt x="227" y="6"/>
                      <a:pt x="227" y="5"/>
                      <a:pt x="227" y="5"/>
                    </a:cubicBezTo>
                    <a:cubicBezTo>
                      <a:pt x="227" y="5"/>
                      <a:pt x="226" y="5"/>
                      <a:pt x="226" y="5"/>
                    </a:cubicBezTo>
                    <a:cubicBezTo>
                      <a:pt x="224" y="5"/>
                      <a:pt x="224" y="5"/>
                      <a:pt x="224" y="5"/>
                    </a:cubicBezTo>
                    <a:cubicBezTo>
                      <a:pt x="224" y="3"/>
                      <a:pt x="224" y="3"/>
                      <a:pt x="224" y="3"/>
                    </a:cubicBezTo>
                    <a:cubicBezTo>
                      <a:pt x="224" y="3"/>
                      <a:pt x="224" y="3"/>
                      <a:pt x="223" y="3"/>
                    </a:cubicBezTo>
                    <a:cubicBezTo>
                      <a:pt x="222" y="3"/>
                      <a:pt x="222" y="2"/>
                      <a:pt x="222" y="2"/>
                    </a:cubicBezTo>
                    <a:cubicBezTo>
                      <a:pt x="222" y="1"/>
                      <a:pt x="222" y="1"/>
                      <a:pt x="222" y="1"/>
                    </a:cubicBezTo>
                    <a:cubicBezTo>
                      <a:pt x="219" y="2"/>
                      <a:pt x="219" y="2"/>
                      <a:pt x="219" y="2"/>
                    </a:cubicBezTo>
                    <a:cubicBezTo>
                      <a:pt x="219" y="2"/>
                      <a:pt x="219" y="2"/>
                      <a:pt x="219" y="2"/>
                    </a:cubicBezTo>
                    <a:cubicBezTo>
                      <a:pt x="219" y="2"/>
                      <a:pt x="217" y="1"/>
                      <a:pt x="217" y="1"/>
                    </a:cubicBezTo>
                    <a:cubicBezTo>
                      <a:pt x="217" y="0"/>
                      <a:pt x="216" y="0"/>
                      <a:pt x="216" y="0"/>
                    </a:cubicBezTo>
                    <a:cubicBezTo>
                      <a:pt x="215" y="1"/>
                      <a:pt x="215" y="1"/>
                      <a:pt x="215" y="1"/>
                    </a:cubicBezTo>
                    <a:cubicBezTo>
                      <a:pt x="213" y="1"/>
                      <a:pt x="213" y="1"/>
                      <a:pt x="213" y="1"/>
                    </a:cubicBezTo>
                    <a:cubicBezTo>
                      <a:pt x="212" y="1"/>
                      <a:pt x="212" y="1"/>
                      <a:pt x="212" y="1"/>
                    </a:cubicBezTo>
                    <a:cubicBezTo>
                      <a:pt x="211" y="0"/>
                      <a:pt x="211" y="0"/>
                      <a:pt x="211" y="0"/>
                    </a:cubicBezTo>
                    <a:cubicBezTo>
                      <a:pt x="208" y="1"/>
                      <a:pt x="207" y="1"/>
                      <a:pt x="207" y="1"/>
                    </a:cubicBezTo>
                    <a:cubicBezTo>
                      <a:pt x="204" y="2"/>
                      <a:pt x="199" y="5"/>
                      <a:pt x="199" y="7"/>
                    </a:cubicBezTo>
                    <a:cubicBezTo>
                      <a:pt x="198" y="9"/>
                      <a:pt x="199" y="14"/>
                      <a:pt x="197" y="15"/>
                    </a:cubicBezTo>
                    <a:cubicBezTo>
                      <a:pt x="194" y="15"/>
                      <a:pt x="191" y="20"/>
                      <a:pt x="190" y="20"/>
                    </a:cubicBezTo>
                    <a:cubicBezTo>
                      <a:pt x="181" y="25"/>
                      <a:pt x="181" y="25"/>
                      <a:pt x="181" y="25"/>
                    </a:cubicBezTo>
                    <a:cubicBezTo>
                      <a:pt x="181" y="25"/>
                      <a:pt x="174" y="28"/>
                      <a:pt x="170" y="28"/>
                    </a:cubicBezTo>
                    <a:cubicBezTo>
                      <a:pt x="166" y="29"/>
                      <a:pt x="163" y="32"/>
                      <a:pt x="163" y="32"/>
                    </a:cubicBezTo>
                    <a:cubicBezTo>
                      <a:pt x="158" y="39"/>
                      <a:pt x="158" y="39"/>
                      <a:pt x="158" y="39"/>
                    </a:cubicBezTo>
                    <a:cubicBezTo>
                      <a:pt x="150" y="40"/>
                      <a:pt x="150" y="40"/>
                      <a:pt x="150" y="40"/>
                    </a:cubicBezTo>
                    <a:cubicBezTo>
                      <a:pt x="146" y="36"/>
                      <a:pt x="146" y="36"/>
                      <a:pt x="146" y="36"/>
                    </a:cubicBezTo>
                    <a:cubicBezTo>
                      <a:pt x="142" y="37"/>
                      <a:pt x="142" y="37"/>
                      <a:pt x="142" y="37"/>
                    </a:cubicBezTo>
                    <a:cubicBezTo>
                      <a:pt x="141" y="36"/>
                      <a:pt x="141" y="36"/>
                      <a:pt x="141" y="36"/>
                    </a:cubicBezTo>
                    <a:cubicBezTo>
                      <a:pt x="139" y="37"/>
                      <a:pt x="139" y="37"/>
                      <a:pt x="139" y="37"/>
                    </a:cubicBezTo>
                    <a:cubicBezTo>
                      <a:pt x="127" y="36"/>
                      <a:pt x="127" y="36"/>
                      <a:pt x="127" y="36"/>
                    </a:cubicBezTo>
                    <a:cubicBezTo>
                      <a:pt x="121" y="39"/>
                      <a:pt x="121" y="39"/>
                      <a:pt x="121" y="39"/>
                    </a:cubicBezTo>
                    <a:cubicBezTo>
                      <a:pt x="110" y="38"/>
                      <a:pt x="110" y="38"/>
                      <a:pt x="110" y="38"/>
                    </a:cubicBezTo>
                    <a:cubicBezTo>
                      <a:pt x="110" y="38"/>
                      <a:pt x="102" y="39"/>
                      <a:pt x="100" y="39"/>
                    </a:cubicBezTo>
                    <a:cubicBezTo>
                      <a:pt x="97" y="39"/>
                      <a:pt x="97" y="39"/>
                      <a:pt x="97" y="39"/>
                    </a:cubicBezTo>
                    <a:cubicBezTo>
                      <a:pt x="95" y="38"/>
                      <a:pt x="93" y="36"/>
                      <a:pt x="93" y="36"/>
                    </a:cubicBezTo>
                    <a:cubicBezTo>
                      <a:pt x="93" y="36"/>
                      <a:pt x="89" y="37"/>
                      <a:pt x="88" y="38"/>
                    </a:cubicBezTo>
                    <a:cubicBezTo>
                      <a:pt x="87" y="39"/>
                      <a:pt x="83" y="44"/>
                      <a:pt x="83" y="44"/>
                    </a:cubicBezTo>
                    <a:cubicBezTo>
                      <a:pt x="83" y="45"/>
                      <a:pt x="83" y="45"/>
                      <a:pt x="83" y="45"/>
                    </a:cubicBezTo>
                    <a:cubicBezTo>
                      <a:pt x="85" y="50"/>
                      <a:pt x="85" y="50"/>
                      <a:pt x="85" y="50"/>
                    </a:cubicBezTo>
                    <a:cubicBezTo>
                      <a:pt x="81" y="53"/>
                      <a:pt x="81" y="53"/>
                      <a:pt x="81" y="53"/>
                    </a:cubicBezTo>
                    <a:cubicBezTo>
                      <a:pt x="81" y="53"/>
                      <a:pt x="81" y="53"/>
                      <a:pt x="81" y="53"/>
                    </a:cubicBezTo>
                    <a:cubicBezTo>
                      <a:pt x="81" y="53"/>
                      <a:pt x="81" y="53"/>
                      <a:pt x="81" y="53"/>
                    </a:cubicBezTo>
                    <a:cubicBezTo>
                      <a:pt x="81" y="53"/>
                      <a:pt x="81" y="53"/>
                      <a:pt x="81" y="53"/>
                    </a:cubicBezTo>
                    <a:cubicBezTo>
                      <a:pt x="81" y="53"/>
                      <a:pt x="81" y="53"/>
                      <a:pt x="81" y="53"/>
                    </a:cubicBezTo>
                    <a:cubicBezTo>
                      <a:pt x="81" y="54"/>
                      <a:pt x="81" y="54"/>
                      <a:pt x="81" y="54"/>
                    </a:cubicBezTo>
                    <a:cubicBezTo>
                      <a:pt x="81" y="54"/>
                      <a:pt x="81" y="54"/>
                      <a:pt x="81" y="54"/>
                    </a:cubicBezTo>
                    <a:cubicBezTo>
                      <a:pt x="81" y="54"/>
                      <a:pt x="81" y="54"/>
                      <a:pt x="81" y="54"/>
                    </a:cubicBezTo>
                    <a:cubicBezTo>
                      <a:pt x="81" y="54"/>
                      <a:pt x="81" y="54"/>
                      <a:pt x="81" y="54"/>
                    </a:cubicBezTo>
                    <a:cubicBezTo>
                      <a:pt x="81" y="54"/>
                      <a:pt x="81" y="54"/>
                      <a:pt x="81" y="54"/>
                    </a:cubicBezTo>
                    <a:cubicBezTo>
                      <a:pt x="81" y="54"/>
                      <a:pt x="81" y="54"/>
                      <a:pt x="81" y="54"/>
                    </a:cubicBezTo>
                    <a:cubicBezTo>
                      <a:pt x="81" y="54"/>
                      <a:pt x="81" y="54"/>
                      <a:pt x="81" y="54"/>
                    </a:cubicBezTo>
                    <a:cubicBezTo>
                      <a:pt x="81" y="54"/>
                      <a:pt x="81" y="54"/>
                      <a:pt x="81" y="54"/>
                    </a:cubicBezTo>
                    <a:cubicBezTo>
                      <a:pt x="81" y="54"/>
                      <a:pt x="81" y="54"/>
                      <a:pt x="81" y="54"/>
                    </a:cubicBezTo>
                    <a:cubicBezTo>
                      <a:pt x="81" y="54"/>
                      <a:pt x="81" y="54"/>
                      <a:pt x="81" y="54"/>
                    </a:cubicBezTo>
                    <a:cubicBezTo>
                      <a:pt x="81" y="55"/>
                      <a:pt x="80" y="55"/>
                      <a:pt x="79" y="55"/>
                    </a:cubicBezTo>
                    <a:cubicBezTo>
                      <a:pt x="79" y="56"/>
                      <a:pt x="78" y="56"/>
                      <a:pt x="77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77" y="56"/>
                      <a:pt x="77" y="56"/>
                      <a:pt x="77" y="56"/>
                    </a:cubicBezTo>
                    <a:cubicBezTo>
                      <a:pt x="76" y="57"/>
                      <a:pt x="76" y="57"/>
                      <a:pt x="76" y="57"/>
                    </a:cubicBezTo>
                    <a:cubicBezTo>
                      <a:pt x="73" y="60"/>
                      <a:pt x="73" y="60"/>
                      <a:pt x="73" y="60"/>
                    </a:cubicBezTo>
                    <a:cubicBezTo>
                      <a:pt x="69" y="61"/>
                      <a:pt x="69" y="61"/>
                      <a:pt x="69" y="61"/>
                    </a:cubicBezTo>
                    <a:close/>
                  </a:path>
                </a:pathLst>
              </a:custGeom>
              <a:solidFill>
                <a:srgbClr val="EB6E62"/>
              </a:solidFill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71" name="Freeform 90">
                <a:extLst>
                  <a:ext uri="{FF2B5EF4-FFF2-40B4-BE49-F238E27FC236}">
                    <a16:creationId xmlns:a16="http://schemas.microsoft.com/office/drawing/2014/main" id="{A9891B36-0975-F7D4-B8EC-2D8F1B6644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42987" y="2236751"/>
                <a:ext cx="1376508" cy="927675"/>
              </a:xfrm>
              <a:custGeom>
                <a:avLst/>
                <a:gdLst>
                  <a:gd name="T0" fmla="*/ 166 w 614"/>
                  <a:gd name="T1" fmla="*/ 283 h 427"/>
                  <a:gd name="T2" fmla="*/ 173 w 614"/>
                  <a:gd name="T3" fmla="*/ 277 h 427"/>
                  <a:gd name="T4" fmla="*/ 185 w 614"/>
                  <a:gd name="T5" fmla="*/ 270 h 427"/>
                  <a:gd name="T6" fmla="*/ 195 w 614"/>
                  <a:gd name="T7" fmla="*/ 267 h 427"/>
                  <a:gd name="T8" fmla="*/ 207 w 614"/>
                  <a:gd name="T9" fmla="*/ 270 h 427"/>
                  <a:gd name="T10" fmla="*/ 208 w 614"/>
                  <a:gd name="T11" fmla="*/ 270 h 427"/>
                  <a:gd name="T12" fmla="*/ 208 w 614"/>
                  <a:gd name="T13" fmla="*/ 270 h 427"/>
                  <a:gd name="T14" fmla="*/ 209 w 614"/>
                  <a:gd name="T15" fmla="*/ 270 h 427"/>
                  <a:gd name="T16" fmla="*/ 210 w 614"/>
                  <a:gd name="T17" fmla="*/ 270 h 427"/>
                  <a:gd name="T18" fmla="*/ 210 w 614"/>
                  <a:gd name="T19" fmla="*/ 270 h 427"/>
                  <a:gd name="T20" fmla="*/ 211 w 614"/>
                  <a:gd name="T21" fmla="*/ 270 h 427"/>
                  <a:gd name="T22" fmla="*/ 213 w 614"/>
                  <a:gd name="T23" fmla="*/ 273 h 427"/>
                  <a:gd name="T24" fmla="*/ 223 w 614"/>
                  <a:gd name="T25" fmla="*/ 273 h 427"/>
                  <a:gd name="T26" fmla="*/ 227 w 614"/>
                  <a:gd name="T27" fmla="*/ 278 h 427"/>
                  <a:gd name="T28" fmla="*/ 249 w 614"/>
                  <a:gd name="T29" fmla="*/ 280 h 427"/>
                  <a:gd name="T30" fmla="*/ 259 w 614"/>
                  <a:gd name="T31" fmla="*/ 288 h 427"/>
                  <a:gd name="T32" fmla="*/ 268 w 614"/>
                  <a:gd name="T33" fmla="*/ 305 h 427"/>
                  <a:gd name="T34" fmla="*/ 280 w 614"/>
                  <a:gd name="T35" fmla="*/ 312 h 427"/>
                  <a:gd name="T36" fmla="*/ 287 w 614"/>
                  <a:gd name="T37" fmla="*/ 326 h 427"/>
                  <a:gd name="T38" fmla="*/ 302 w 614"/>
                  <a:gd name="T39" fmla="*/ 337 h 427"/>
                  <a:gd name="T40" fmla="*/ 305 w 614"/>
                  <a:gd name="T41" fmla="*/ 349 h 427"/>
                  <a:gd name="T42" fmla="*/ 292 w 614"/>
                  <a:gd name="T43" fmla="*/ 353 h 427"/>
                  <a:gd name="T44" fmla="*/ 281 w 614"/>
                  <a:gd name="T45" fmla="*/ 356 h 427"/>
                  <a:gd name="T46" fmla="*/ 271 w 614"/>
                  <a:gd name="T47" fmla="*/ 366 h 427"/>
                  <a:gd name="T48" fmla="*/ 270 w 614"/>
                  <a:gd name="T49" fmla="*/ 387 h 427"/>
                  <a:gd name="T50" fmla="*/ 268 w 614"/>
                  <a:gd name="T51" fmla="*/ 405 h 427"/>
                  <a:gd name="T52" fmla="*/ 255 w 614"/>
                  <a:gd name="T53" fmla="*/ 414 h 427"/>
                  <a:gd name="T54" fmla="*/ 314 w 614"/>
                  <a:gd name="T55" fmla="*/ 376 h 427"/>
                  <a:gd name="T56" fmla="*/ 377 w 614"/>
                  <a:gd name="T57" fmla="*/ 333 h 427"/>
                  <a:gd name="T58" fmla="*/ 407 w 614"/>
                  <a:gd name="T59" fmla="*/ 375 h 427"/>
                  <a:gd name="T60" fmla="*/ 478 w 614"/>
                  <a:gd name="T61" fmla="*/ 393 h 427"/>
                  <a:gd name="T62" fmla="*/ 548 w 614"/>
                  <a:gd name="T63" fmla="*/ 335 h 427"/>
                  <a:gd name="T64" fmla="*/ 481 w 614"/>
                  <a:gd name="T65" fmla="*/ 326 h 427"/>
                  <a:gd name="T66" fmla="*/ 450 w 614"/>
                  <a:gd name="T67" fmla="*/ 310 h 427"/>
                  <a:gd name="T68" fmla="*/ 518 w 614"/>
                  <a:gd name="T69" fmla="*/ 261 h 427"/>
                  <a:gd name="T70" fmla="*/ 572 w 614"/>
                  <a:gd name="T71" fmla="*/ 207 h 427"/>
                  <a:gd name="T72" fmla="*/ 606 w 614"/>
                  <a:gd name="T73" fmla="*/ 147 h 427"/>
                  <a:gd name="T74" fmla="*/ 586 w 614"/>
                  <a:gd name="T75" fmla="*/ 102 h 427"/>
                  <a:gd name="T76" fmla="*/ 567 w 614"/>
                  <a:gd name="T77" fmla="*/ 72 h 427"/>
                  <a:gd name="T78" fmla="*/ 512 w 614"/>
                  <a:gd name="T79" fmla="*/ 67 h 427"/>
                  <a:gd name="T80" fmla="*/ 472 w 614"/>
                  <a:gd name="T81" fmla="*/ 70 h 427"/>
                  <a:gd name="T82" fmla="*/ 436 w 614"/>
                  <a:gd name="T83" fmla="*/ 77 h 427"/>
                  <a:gd name="T84" fmla="*/ 386 w 614"/>
                  <a:gd name="T85" fmla="*/ 51 h 427"/>
                  <a:gd name="T86" fmla="*/ 361 w 614"/>
                  <a:gd name="T87" fmla="*/ 26 h 427"/>
                  <a:gd name="T88" fmla="*/ 307 w 614"/>
                  <a:gd name="T89" fmla="*/ 17 h 427"/>
                  <a:gd name="T90" fmla="*/ 258 w 614"/>
                  <a:gd name="T91" fmla="*/ 44 h 427"/>
                  <a:gd name="T92" fmla="*/ 243 w 614"/>
                  <a:gd name="T93" fmla="*/ 94 h 427"/>
                  <a:gd name="T94" fmla="*/ 202 w 614"/>
                  <a:gd name="T95" fmla="*/ 96 h 427"/>
                  <a:gd name="T96" fmla="*/ 166 w 614"/>
                  <a:gd name="T97" fmla="*/ 97 h 427"/>
                  <a:gd name="T98" fmla="*/ 118 w 614"/>
                  <a:gd name="T99" fmla="*/ 102 h 427"/>
                  <a:gd name="T100" fmla="*/ 44 w 614"/>
                  <a:gd name="T101" fmla="*/ 111 h 427"/>
                  <a:gd name="T102" fmla="*/ 30 w 614"/>
                  <a:gd name="T103" fmla="*/ 130 h 427"/>
                  <a:gd name="T104" fmla="*/ 27 w 614"/>
                  <a:gd name="T105" fmla="*/ 152 h 427"/>
                  <a:gd name="T106" fmla="*/ 46 w 614"/>
                  <a:gd name="T107" fmla="*/ 182 h 427"/>
                  <a:gd name="T108" fmla="*/ 33 w 614"/>
                  <a:gd name="T109" fmla="*/ 207 h 427"/>
                  <a:gd name="T110" fmla="*/ 14 w 614"/>
                  <a:gd name="T111" fmla="*/ 261 h 427"/>
                  <a:gd name="T112" fmla="*/ 15 w 614"/>
                  <a:gd name="T113" fmla="*/ 273 h 427"/>
                  <a:gd name="T114" fmla="*/ 6 w 614"/>
                  <a:gd name="T115" fmla="*/ 282 h 427"/>
                  <a:gd name="T116" fmla="*/ 1 w 614"/>
                  <a:gd name="T117" fmla="*/ 297 h 427"/>
                  <a:gd name="T118" fmla="*/ 0 w 614"/>
                  <a:gd name="T119" fmla="*/ 311 h 427"/>
                  <a:gd name="T120" fmla="*/ 22 w 614"/>
                  <a:gd name="T121" fmla="*/ 321 h 427"/>
                  <a:gd name="T122" fmla="*/ 61 w 614"/>
                  <a:gd name="T123" fmla="*/ 323 h 427"/>
                  <a:gd name="T124" fmla="*/ 114 w 614"/>
                  <a:gd name="T125" fmla="*/ 317 h 4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614" h="427">
                    <a:moveTo>
                      <a:pt x="141" y="305"/>
                    </a:moveTo>
                    <a:cubicBezTo>
                      <a:pt x="142" y="305"/>
                      <a:pt x="145" y="300"/>
                      <a:pt x="148" y="300"/>
                    </a:cubicBezTo>
                    <a:cubicBezTo>
                      <a:pt x="150" y="299"/>
                      <a:pt x="149" y="294"/>
                      <a:pt x="150" y="292"/>
                    </a:cubicBezTo>
                    <a:cubicBezTo>
                      <a:pt x="151" y="290"/>
                      <a:pt x="156" y="286"/>
                      <a:pt x="159" y="285"/>
                    </a:cubicBezTo>
                    <a:cubicBezTo>
                      <a:pt x="160" y="285"/>
                      <a:pt x="160" y="285"/>
                      <a:pt x="160" y="285"/>
                    </a:cubicBezTo>
                    <a:cubicBezTo>
                      <a:pt x="160" y="283"/>
                      <a:pt x="160" y="283"/>
                      <a:pt x="160" y="283"/>
                    </a:cubicBezTo>
                    <a:cubicBezTo>
                      <a:pt x="160" y="283"/>
                      <a:pt x="163" y="282"/>
                      <a:pt x="163" y="281"/>
                    </a:cubicBezTo>
                    <a:cubicBezTo>
                      <a:pt x="164" y="281"/>
                      <a:pt x="164" y="282"/>
                      <a:pt x="164" y="282"/>
                    </a:cubicBezTo>
                    <a:cubicBezTo>
                      <a:pt x="164" y="282"/>
                      <a:pt x="165" y="283"/>
                      <a:pt x="166" y="283"/>
                    </a:cubicBezTo>
                    <a:cubicBezTo>
                      <a:pt x="166" y="283"/>
                      <a:pt x="167" y="282"/>
                      <a:pt x="167" y="282"/>
                    </a:cubicBezTo>
                    <a:cubicBezTo>
                      <a:pt x="167" y="281"/>
                      <a:pt x="167" y="280"/>
                      <a:pt x="167" y="280"/>
                    </a:cubicBezTo>
                    <a:cubicBezTo>
                      <a:pt x="166" y="279"/>
                      <a:pt x="166" y="278"/>
                      <a:pt x="166" y="278"/>
                    </a:cubicBezTo>
                    <a:cubicBezTo>
                      <a:pt x="166" y="278"/>
                      <a:pt x="166" y="278"/>
                      <a:pt x="166" y="278"/>
                    </a:cubicBezTo>
                    <a:cubicBezTo>
                      <a:pt x="166" y="278"/>
                      <a:pt x="167" y="278"/>
                      <a:pt x="167" y="278"/>
                    </a:cubicBezTo>
                    <a:cubicBezTo>
                      <a:pt x="167" y="278"/>
                      <a:pt x="168" y="277"/>
                      <a:pt x="168" y="277"/>
                    </a:cubicBezTo>
                    <a:cubicBezTo>
                      <a:pt x="170" y="278"/>
                      <a:pt x="170" y="278"/>
                      <a:pt x="170" y="278"/>
                    </a:cubicBezTo>
                    <a:cubicBezTo>
                      <a:pt x="170" y="278"/>
                      <a:pt x="171" y="278"/>
                      <a:pt x="171" y="278"/>
                    </a:cubicBezTo>
                    <a:cubicBezTo>
                      <a:pt x="172" y="279"/>
                      <a:pt x="173" y="277"/>
                      <a:pt x="173" y="277"/>
                    </a:cubicBezTo>
                    <a:cubicBezTo>
                      <a:pt x="174" y="276"/>
                      <a:pt x="174" y="276"/>
                      <a:pt x="174" y="276"/>
                    </a:cubicBezTo>
                    <a:cubicBezTo>
                      <a:pt x="174" y="276"/>
                      <a:pt x="174" y="276"/>
                      <a:pt x="174" y="275"/>
                    </a:cubicBezTo>
                    <a:cubicBezTo>
                      <a:pt x="174" y="275"/>
                      <a:pt x="175" y="275"/>
                      <a:pt x="176" y="275"/>
                    </a:cubicBezTo>
                    <a:cubicBezTo>
                      <a:pt x="176" y="275"/>
                      <a:pt x="178" y="275"/>
                      <a:pt x="179" y="275"/>
                    </a:cubicBezTo>
                    <a:cubicBezTo>
                      <a:pt x="180" y="275"/>
                      <a:pt x="180" y="275"/>
                      <a:pt x="180" y="275"/>
                    </a:cubicBezTo>
                    <a:cubicBezTo>
                      <a:pt x="182" y="274"/>
                      <a:pt x="182" y="274"/>
                      <a:pt x="182" y="274"/>
                    </a:cubicBezTo>
                    <a:cubicBezTo>
                      <a:pt x="182" y="274"/>
                      <a:pt x="183" y="273"/>
                      <a:pt x="183" y="273"/>
                    </a:cubicBezTo>
                    <a:cubicBezTo>
                      <a:pt x="183" y="272"/>
                      <a:pt x="183" y="271"/>
                      <a:pt x="183" y="271"/>
                    </a:cubicBezTo>
                    <a:cubicBezTo>
                      <a:pt x="183" y="270"/>
                      <a:pt x="185" y="270"/>
                      <a:pt x="185" y="270"/>
                    </a:cubicBezTo>
                    <a:cubicBezTo>
                      <a:pt x="185" y="270"/>
                      <a:pt x="185" y="270"/>
                      <a:pt x="185" y="270"/>
                    </a:cubicBezTo>
                    <a:cubicBezTo>
                      <a:pt x="186" y="270"/>
                      <a:pt x="186" y="271"/>
                      <a:pt x="186" y="271"/>
                    </a:cubicBezTo>
                    <a:cubicBezTo>
                      <a:pt x="186" y="271"/>
                      <a:pt x="187" y="270"/>
                      <a:pt x="187" y="270"/>
                    </a:cubicBezTo>
                    <a:cubicBezTo>
                      <a:pt x="187" y="269"/>
                      <a:pt x="188" y="269"/>
                      <a:pt x="188" y="269"/>
                    </a:cubicBezTo>
                    <a:cubicBezTo>
                      <a:pt x="188" y="269"/>
                      <a:pt x="190" y="268"/>
                      <a:pt x="190" y="267"/>
                    </a:cubicBezTo>
                    <a:cubicBezTo>
                      <a:pt x="191" y="266"/>
                      <a:pt x="191" y="267"/>
                      <a:pt x="191" y="265"/>
                    </a:cubicBezTo>
                    <a:cubicBezTo>
                      <a:pt x="191" y="264"/>
                      <a:pt x="192" y="265"/>
                      <a:pt x="192" y="266"/>
                    </a:cubicBezTo>
                    <a:cubicBezTo>
                      <a:pt x="192" y="266"/>
                      <a:pt x="192" y="266"/>
                      <a:pt x="193" y="267"/>
                    </a:cubicBezTo>
                    <a:cubicBezTo>
                      <a:pt x="193" y="267"/>
                      <a:pt x="193" y="267"/>
                      <a:pt x="195" y="267"/>
                    </a:cubicBezTo>
                    <a:cubicBezTo>
                      <a:pt x="196" y="268"/>
                      <a:pt x="196" y="266"/>
                      <a:pt x="198" y="266"/>
                    </a:cubicBezTo>
                    <a:cubicBezTo>
                      <a:pt x="200" y="266"/>
                      <a:pt x="199" y="266"/>
                      <a:pt x="200" y="267"/>
                    </a:cubicBezTo>
                    <a:cubicBezTo>
                      <a:pt x="201" y="267"/>
                      <a:pt x="201" y="267"/>
                      <a:pt x="202" y="267"/>
                    </a:cubicBezTo>
                    <a:cubicBezTo>
                      <a:pt x="203" y="268"/>
                      <a:pt x="203" y="268"/>
                      <a:pt x="203" y="268"/>
                    </a:cubicBezTo>
                    <a:cubicBezTo>
                      <a:pt x="203" y="268"/>
                      <a:pt x="204" y="268"/>
                      <a:pt x="205" y="269"/>
                    </a:cubicBezTo>
                    <a:cubicBezTo>
                      <a:pt x="205" y="270"/>
                      <a:pt x="207" y="270"/>
                      <a:pt x="207" y="270"/>
                    </a:cubicBezTo>
                    <a:cubicBezTo>
                      <a:pt x="207" y="270"/>
                      <a:pt x="207" y="270"/>
                      <a:pt x="207" y="270"/>
                    </a:cubicBezTo>
                    <a:cubicBezTo>
                      <a:pt x="207" y="270"/>
                      <a:pt x="207" y="270"/>
                      <a:pt x="207" y="270"/>
                    </a:cubicBezTo>
                    <a:cubicBezTo>
                      <a:pt x="207" y="270"/>
                      <a:pt x="207" y="270"/>
                      <a:pt x="207" y="270"/>
                    </a:cubicBezTo>
                    <a:cubicBezTo>
                      <a:pt x="207" y="270"/>
                      <a:pt x="207" y="270"/>
                      <a:pt x="207" y="270"/>
                    </a:cubicBezTo>
                    <a:cubicBezTo>
                      <a:pt x="207" y="270"/>
                      <a:pt x="207" y="270"/>
                      <a:pt x="207" y="270"/>
                    </a:cubicBezTo>
                    <a:cubicBezTo>
                      <a:pt x="207" y="270"/>
                      <a:pt x="207" y="270"/>
                      <a:pt x="207" y="270"/>
                    </a:cubicBezTo>
                    <a:cubicBezTo>
                      <a:pt x="207" y="270"/>
                      <a:pt x="207" y="270"/>
                      <a:pt x="207" y="270"/>
                    </a:cubicBezTo>
                    <a:cubicBezTo>
                      <a:pt x="207" y="270"/>
                      <a:pt x="207" y="270"/>
                      <a:pt x="207" y="270"/>
                    </a:cubicBezTo>
                    <a:cubicBezTo>
                      <a:pt x="207" y="270"/>
                      <a:pt x="207" y="270"/>
                      <a:pt x="207" y="270"/>
                    </a:cubicBezTo>
                    <a:cubicBezTo>
                      <a:pt x="208" y="270"/>
                      <a:pt x="208" y="270"/>
                      <a:pt x="208" y="270"/>
                    </a:cubicBezTo>
                    <a:cubicBezTo>
                      <a:pt x="208" y="270"/>
                      <a:pt x="208" y="270"/>
                      <a:pt x="208" y="270"/>
                    </a:cubicBezTo>
                    <a:cubicBezTo>
                      <a:pt x="208" y="270"/>
                      <a:pt x="208" y="270"/>
                      <a:pt x="208" y="270"/>
                    </a:cubicBezTo>
                    <a:cubicBezTo>
                      <a:pt x="208" y="270"/>
                      <a:pt x="208" y="270"/>
                      <a:pt x="208" y="270"/>
                    </a:cubicBezTo>
                    <a:cubicBezTo>
                      <a:pt x="208" y="270"/>
                      <a:pt x="208" y="270"/>
                      <a:pt x="208" y="270"/>
                    </a:cubicBezTo>
                    <a:cubicBezTo>
                      <a:pt x="208" y="270"/>
                      <a:pt x="208" y="270"/>
                      <a:pt x="208" y="270"/>
                    </a:cubicBezTo>
                    <a:cubicBezTo>
                      <a:pt x="208" y="270"/>
                      <a:pt x="208" y="270"/>
                      <a:pt x="208" y="270"/>
                    </a:cubicBezTo>
                    <a:cubicBezTo>
                      <a:pt x="208" y="270"/>
                      <a:pt x="208" y="270"/>
                      <a:pt x="208" y="270"/>
                    </a:cubicBezTo>
                    <a:cubicBezTo>
                      <a:pt x="208" y="270"/>
                      <a:pt x="208" y="270"/>
                      <a:pt x="208" y="270"/>
                    </a:cubicBezTo>
                    <a:cubicBezTo>
                      <a:pt x="208" y="270"/>
                      <a:pt x="208" y="270"/>
                      <a:pt x="208" y="270"/>
                    </a:cubicBezTo>
                    <a:cubicBezTo>
                      <a:pt x="208" y="270"/>
                      <a:pt x="208" y="270"/>
                      <a:pt x="208" y="270"/>
                    </a:cubicBezTo>
                    <a:cubicBezTo>
                      <a:pt x="208" y="270"/>
                      <a:pt x="208" y="270"/>
                      <a:pt x="208" y="270"/>
                    </a:cubicBezTo>
                    <a:cubicBezTo>
                      <a:pt x="208" y="270"/>
                      <a:pt x="208" y="270"/>
                      <a:pt x="208" y="270"/>
                    </a:cubicBezTo>
                    <a:cubicBezTo>
                      <a:pt x="208" y="270"/>
                      <a:pt x="208" y="270"/>
                      <a:pt x="208" y="270"/>
                    </a:cubicBezTo>
                    <a:cubicBezTo>
                      <a:pt x="208" y="270"/>
                      <a:pt x="208" y="270"/>
                      <a:pt x="208" y="270"/>
                    </a:cubicBezTo>
                    <a:cubicBezTo>
                      <a:pt x="209" y="270"/>
                      <a:pt x="209" y="270"/>
                      <a:pt x="209" y="270"/>
                    </a:cubicBezTo>
                    <a:cubicBezTo>
                      <a:pt x="209" y="270"/>
                      <a:pt x="209" y="270"/>
                      <a:pt x="209" y="270"/>
                    </a:cubicBezTo>
                    <a:cubicBezTo>
                      <a:pt x="209" y="270"/>
                      <a:pt x="209" y="270"/>
                      <a:pt x="209" y="270"/>
                    </a:cubicBezTo>
                    <a:cubicBezTo>
                      <a:pt x="209" y="270"/>
                      <a:pt x="209" y="270"/>
                      <a:pt x="209" y="270"/>
                    </a:cubicBezTo>
                    <a:cubicBezTo>
                      <a:pt x="209" y="270"/>
                      <a:pt x="209" y="270"/>
                      <a:pt x="209" y="270"/>
                    </a:cubicBezTo>
                    <a:cubicBezTo>
                      <a:pt x="209" y="270"/>
                      <a:pt x="209" y="270"/>
                      <a:pt x="209" y="270"/>
                    </a:cubicBezTo>
                    <a:cubicBezTo>
                      <a:pt x="209" y="270"/>
                      <a:pt x="209" y="270"/>
                      <a:pt x="209" y="270"/>
                    </a:cubicBezTo>
                    <a:cubicBezTo>
                      <a:pt x="209" y="270"/>
                      <a:pt x="209" y="270"/>
                      <a:pt x="209" y="270"/>
                    </a:cubicBezTo>
                    <a:cubicBezTo>
                      <a:pt x="209" y="270"/>
                      <a:pt x="209" y="270"/>
                      <a:pt x="209" y="270"/>
                    </a:cubicBezTo>
                    <a:cubicBezTo>
                      <a:pt x="209" y="270"/>
                      <a:pt x="209" y="270"/>
                      <a:pt x="209" y="270"/>
                    </a:cubicBezTo>
                    <a:cubicBezTo>
                      <a:pt x="209" y="270"/>
                      <a:pt x="209" y="270"/>
                      <a:pt x="209" y="270"/>
                    </a:cubicBezTo>
                    <a:cubicBezTo>
                      <a:pt x="209" y="270"/>
                      <a:pt x="209" y="270"/>
                      <a:pt x="209" y="270"/>
                    </a:cubicBezTo>
                    <a:cubicBezTo>
                      <a:pt x="209" y="270"/>
                      <a:pt x="209" y="270"/>
                      <a:pt x="209" y="270"/>
                    </a:cubicBezTo>
                    <a:cubicBezTo>
                      <a:pt x="210" y="270"/>
                      <a:pt x="210" y="270"/>
                      <a:pt x="210" y="270"/>
                    </a:cubicBezTo>
                    <a:cubicBezTo>
                      <a:pt x="210" y="270"/>
                      <a:pt x="210" y="270"/>
                      <a:pt x="210" y="270"/>
                    </a:cubicBezTo>
                    <a:cubicBezTo>
                      <a:pt x="210" y="270"/>
                      <a:pt x="210" y="270"/>
                      <a:pt x="210" y="270"/>
                    </a:cubicBezTo>
                    <a:cubicBezTo>
                      <a:pt x="210" y="270"/>
                      <a:pt x="210" y="270"/>
                      <a:pt x="210" y="270"/>
                    </a:cubicBezTo>
                    <a:cubicBezTo>
                      <a:pt x="210" y="270"/>
                      <a:pt x="210" y="270"/>
                      <a:pt x="210" y="270"/>
                    </a:cubicBezTo>
                    <a:cubicBezTo>
                      <a:pt x="210" y="270"/>
                      <a:pt x="210" y="270"/>
                      <a:pt x="210" y="270"/>
                    </a:cubicBezTo>
                    <a:cubicBezTo>
                      <a:pt x="210" y="270"/>
                      <a:pt x="210" y="270"/>
                      <a:pt x="210" y="270"/>
                    </a:cubicBezTo>
                    <a:cubicBezTo>
                      <a:pt x="210" y="270"/>
                      <a:pt x="210" y="270"/>
                      <a:pt x="210" y="270"/>
                    </a:cubicBezTo>
                    <a:cubicBezTo>
                      <a:pt x="210" y="270"/>
                      <a:pt x="210" y="270"/>
                      <a:pt x="210" y="270"/>
                    </a:cubicBezTo>
                    <a:cubicBezTo>
                      <a:pt x="210" y="270"/>
                      <a:pt x="210" y="270"/>
                      <a:pt x="210" y="270"/>
                    </a:cubicBezTo>
                    <a:cubicBezTo>
                      <a:pt x="210" y="270"/>
                      <a:pt x="210" y="270"/>
                      <a:pt x="210" y="270"/>
                    </a:cubicBezTo>
                    <a:cubicBezTo>
                      <a:pt x="210" y="270"/>
                      <a:pt x="210" y="270"/>
                      <a:pt x="210" y="270"/>
                    </a:cubicBezTo>
                    <a:cubicBezTo>
                      <a:pt x="210" y="270"/>
                      <a:pt x="210" y="270"/>
                      <a:pt x="210" y="270"/>
                    </a:cubicBezTo>
                    <a:cubicBezTo>
                      <a:pt x="210" y="270"/>
                      <a:pt x="210" y="270"/>
                      <a:pt x="210" y="270"/>
                    </a:cubicBezTo>
                    <a:cubicBezTo>
                      <a:pt x="210" y="270"/>
                      <a:pt x="210" y="270"/>
                      <a:pt x="210" y="270"/>
                    </a:cubicBezTo>
                    <a:cubicBezTo>
                      <a:pt x="210" y="270"/>
                      <a:pt x="210" y="270"/>
                      <a:pt x="210" y="270"/>
                    </a:cubicBezTo>
                    <a:cubicBezTo>
                      <a:pt x="210" y="270"/>
                      <a:pt x="210" y="270"/>
                      <a:pt x="210" y="270"/>
                    </a:cubicBezTo>
                    <a:cubicBezTo>
                      <a:pt x="210" y="270"/>
                      <a:pt x="210" y="270"/>
                      <a:pt x="210" y="270"/>
                    </a:cubicBezTo>
                    <a:cubicBezTo>
                      <a:pt x="211" y="270"/>
                      <a:pt x="211" y="270"/>
                      <a:pt x="211" y="270"/>
                    </a:cubicBezTo>
                    <a:cubicBezTo>
                      <a:pt x="211" y="270"/>
                      <a:pt x="211" y="270"/>
                      <a:pt x="211" y="270"/>
                    </a:cubicBezTo>
                    <a:cubicBezTo>
                      <a:pt x="211" y="270"/>
                      <a:pt x="211" y="270"/>
                      <a:pt x="211" y="270"/>
                    </a:cubicBezTo>
                    <a:cubicBezTo>
                      <a:pt x="211" y="270"/>
                      <a:pt x="211" y="270"/>
                      <a:pt x="211" y="270"/>
                    </a:cubicBezTo>
                    <a:cubicBezTo>
                      <a:pt x="211" y="270"/>
                      <a:pt x="211" y="270"/>
                      <a:pt x="211" y="270"/>
                    </a:cubicBezTo>
                    <a:cubicBezTo>
                      <a:pt x="211" y="270"/>
                      <a:pt x="211" y="270"/>
                      <a:pt x="211" y="270"/>
                    </a:cubicBezTo>
                    <a:cubicBezTo>
                      <a:pt x="211" y="270"/>
                      <a:pt x="211" y="270"/>
                      <a:pt x="211" y="270"/>
                    </a:cubicBezTo>
                    <a:cubicBezTo>
                      <a:pt x="211" y="270"/>
                      <a:pt x="211" y="270"/>
                      <a:pt x="211" y="270"/>
                    </a:cubicBezTo>
                    <a:cubicBezTo>
                      <a:pt x="211" y="270"/>
                      <a:pt x="211" y="270"/>
                      <a:pt x="211" y="270"/>
                    </a:cubicBezTo>
                    <a:cubicBezTo>
                      <a:pt x="212" y="271"/>
                      <a:pt x="212" y="271"/>
                      <a:pt x="212" y="271"/>
                    </a:cubicBezTo>
                    <a:cubicBezTo>
                      <a:pt x="212" y="271"/>
                      <a:pt x="212" y="273"/>
                      <a:pt x="213" y="273"/>
                    </a:cubicBezTo>
                    <a:cubicBezTo>
                      <a:pt x="213" y="274"/>
                      <a:pt x="213" y="274"/>
                      <a:pt x="214" y="274"/>
                    </a:cubicBezTo>
                    <a:cubicBezTo>
                      <a:pt x="214" y="274"/>
                      <a:pt x="215" y="272"/>
                      <a:pt x="215" y="271"/>
                    </a:cubicBezTo>
                    <a:cubicBezTo>
                      <a:pt x="215" y="271"/>
                      <a:pt x="216" y="272"/>
                      <a:pt x="216" y="272"/>
                    </a:cubicBezTo>
                    <a:cubicBezTo>
                      <a:pt x="216" y="272"/>
                      <a:pt x="216" y="274"/>
                      <a:pt x="217" y="274"/>
                    </a:cubicBezTo>
                    <a:cubicBezTo>
                      <a:pt x="217" y="273"/>
                      <a:pt x="218" y="273"/>
                      <a:pt x="218" y="273"/>
                    </a:cubicBezTo>
                    <a:cubicBezTo>
                      <a:pt x="219" y="273"/>
                      <a:pt x="218" y="272"/>
                      <a:pt x="218" y="272"/>
                    </a:cubicBezTo>
                    <a:cubicBezTo>
                      <a:pt x="218" y="272"/>
                      <a:pt x="219" y="271"/>
                      <a:pt x="219" y="271"/>
                    </a:cubicBezTo>
                    <a:cubicBezTo>
                      <a:pt x="220" y="271"/>
                      <a:pt x="222" y="271"/>
                      <a:pt x="222" y="271"/>
                    </a:cubicBezTo>
                    <a:cubicBezTo>
                      <a:pt x="223" y="271"/>
                      <a:pt x="223" y="273"/>
                      <a:pt x="223" y="273"/>
                    </a:cubicBezTo>
                    <a:cubicBezTo>
                      <a:pt x="223" y="273"/>
                      <a:pt x="222" y="275"/>
                      <a:pt x="222" y="275"/>
                    </a:cubicBezTo>
                    <a:cubicBezTo>
                      <a:pt x="222" y="275"/>
                      <a:pt x="221" y="276"/>
                      <a:pt x="221" y="277"/>
                    </a:cubicBezTo>
                    <a:cubicBezTo>
                      <a:pt x="221" y="277"/>
                      <a:pt x="221" y="277"/>
                      <a:pt x="222" y="276"/>
                    </a:cubicBezTo>
                    <a:cubicBezTo>
                      <a:pt x="224" y="276"/>
                      <a:pt x="223" y="275"/>
                      <a:pt x="223" y="275"/>
                    </a:cubicBezTo>
                    <a:cubicBezTo>
                      <a:pt x="224" y="273"/>
                      <a:pt x="224" y="273"/>
                      <a:pt x="224" y="273"/>
                    </a:cubicBezTo>
                    <a:cubicBezTo>
                      <a:pt x="224" y="273"/>
                      <a:pt x="226" y="274"/>
                      <a:pt x="226" y="275"/>
                    </a:cubicBezTo>
                    <a:cubicBezTo>
                      <a:pt x="226" y="275"/>
                      <a:pt x="226" y="276"/>
                      <a:pt x="226" y="276"/>
                    </a:cubicBezTo>
                    <a:cubicBezTo>
                      <a:pt x="226" y="277"/>
                      <a:pt x="227" y="277"/>
                      <a:pt x="227" y="278"/>
                    </a:cubicBezTo>
                    <a:cubicBezTo>
                      <a:pt x="228" y="279"/>
                      <a:pt x="227" y="278"/>
                      <a:pt x="227" y="278"/>
                    </a:cubicBezTo>
                    <a:cubicBezTo>
                      <a:pt x="227" y="277"/>
                      <a:pt x="228" y="275"/>
                      <a:pt x="228" y="275"/>
                    </a:cubicBezTo>
                    <a:cubicBezTo>
                      <a:pt x="229" y="273"/>
                      <a:pt x="229" y="273"/>
                      <a:pt x="229" y="273"/>
                    </a:cubicBezTo>
                    <a:cubicBezTo>
                      <a:pt x="229" y="273"/>
                      <a:pt x="233" y="273"/>
                      <a:pt x="237" y="273"/>
                    </a:cubicBezTo>
                    <a:cubicBezTo>
                      <a:pt x="241" y="273"/>
                      <a:pt x="238" y="272"/>
                      <a:pt x="238" y="272"/>
                    </a:cubicBezTo>
                    <a:cubicBezTo>
                      <a:pt x="240" y="272"/>
                      <a:pt x="240" y="272"/>
                      <a:pt x="240" y="272"/>
                    </a:cubicBezTo>
                    <a:cubicBezTo>
                      <a:pt x="241" y="276"/>
                      <a:pt x="241" y="276"/>
                      <a:pt x="241" y="276"/>
                    </a:cubicBezTo>
                    <a:cubicBezTo>
                      <a:pt x="241" y="276"/>
                      <a:pt x="243" y="278"/>
                      <a:pt x="244" y="278"/>
                    </a:cubicBezTo>
                    <a:cubicBezTo>
                      <a:pt x="245" y="279"/>
                      <a:pt x="245" y="279"/>
                      <a:pt x="247" y="280"/>
                    </a:cubicBezTo>
                    <a:cubicBezTo>
                      <a:pt x="250" y="280"/>
                      <a:pt x="249" y="280"/>
                      <a:pt x="249" y="280"/>
                    </a:cubicBezTo>
                    <a:cubicBezTo>
                      <a:pt x="250" y="280"/>
                      <a:pt x="250" y="278"/>
                      <a:pt x="251" y="277"/>
                    </a:cubicBezTo>
                    <a:cubicBezTo>
                      <a:pt x="251" y="276"/>
                      <a:pt x="252" y="276"/>
                      <a:pt x="252" y="276"/>
                    </a:cubicBezTo>
                    <a:cubicBezTo>
                      <a:pt x="252" y="276"/>
                      <a:pt x="254" y="278"/>
                      <a:pt x="254" y="278"/>
                    </a:cubicBezTo>
                    <a:cubicBezTo>
                      <a:pt x="255" y="279"/>
                      <a:pt x="255" y="280"/>
                      <a:pt x="255" y="280"/>
                    </a:cubicBezTo>
                    <a:cubicBezTo>
                      <a:pt x="258" y="281"/>
                      <a:pt x="258" y="281"/>
                      <a:pt x="258" y="281"/>
                    </a:cubicBezTo>
                    <a:cubicBezTo>
                      <a:pt x="258" y="282"/>
                      <a:pt x="258" y="282"/>
                      <a:pt x="258" y="282"/>
                    </a:cubicBezTo>
                    <a:cubicBezTo>
                      <a:pt x="258" y="285"/>
                      <a:pt x="258" y="285"/>
                      <a:pt x="258" y="285"/>
                    </a:cubicBezTo>
                    <a:cubicBezTo>
                      <a:pt x="260" y="286"/>
                      <a:pt x="260" y="286"/>
                      <a:pt x="260" y="286"/>
                    </a:cubicBezTo>
                    <a:cubicBezTo>
                      <a:pt x="259" y="288"/>
                      <a:pt x="259" y="288"/>
                      <a:pt x="259" y="288"/>
                    </a:cubicBezTo>
                    <a:cubicBezTo>
                      <a:pt x="259" y="288"/>
                      <a:pt x="260" y="290"/>
                      <a:pt x="260" y="291"/>
                    </a:cubicBezTo>
                    <a:cubicBezTo>
                      <a:pt x="260" y="291"/>
                      <a:pt x="261" y="293"/>
                      <a:pt x="261" y="293"/>
                    </a:cubicBezTo>
                    <a:cubicBezTo>
                      <a:pt x="261" y="296"/>
                      <a:pt x="261" y="296"/>
                      <a:pt x="261" y="296"/>
                    </a:cubicBezTo>
                    <a:cubicBezTo>
                      <a:pt x="260" y="298"/>
                      <a:pt x="260" y="298"/>
                      <a:pt x="260" y="298"/>
                    </a:cubicBezTo>
                    <a:cubicBezTo>
                      <a:pt x="261" y="299"/>
                      <a:pt x="261" y="299"/>
                      <a:pt x="261" y="299"/>
                    </a:cubicBezTo>
                    <a:cubicBezTo>
                      <a:pt x="261" y="299"/>
                      <a:pt x="261" y="302"/>
                      <a:pt x="262" y="303"/>
                    </a:cubicBezTo>
                    <a:cubicBezTo>
                      <a:pt x="263" y="305"/>
                      <a:pt x="264" y="302"/>
                      <a:pt x="264" y="302"/>
                    </a:cubicBezTo>
                    <a:cubicBezTo>
                      <a:pt x="266" y="302"/>
                      <a:pt x="266" y="302"/>
                      <a:pt x="266" y="302"/>
                    </a:cubicBezTo>
                    <a:cubicBezTo>
                      <a:pt x="268" y="305"/>
                      <a:pt x="268" y="305"/>
                      <a:pt x="268" y="305"/>
                    </a:cubicBezTo>
                    <a:cubicBezTo>
                      <a:pt x="269" y="305"/>
                      <a:pt x="269" y="305"/>
                      <a:pt x="269" y="305"/>
                    </a:cubicBezTo>
                    <a:cubicBezTo>
                      <a:pt x="271" y="306"/>
                      <a:pt x="271" y="306"/>
                      <a:pt x="271" y="306"/>
                    </a:cubicBezTo>
                    <a:cubicBezTo>
                      <a:pt x="272" y="309"/>
                      <a:pt x="272" y="309"/>
                      <a:pt x="272" y="309"/>
                    </a:cubicBezTo>
                    <a:cubicBezTo>
                      <a:pt x="274" y="308"/>
                      <a:pt x="274" y="308"/>
                      <a:pt x="274" y="308"/>
                    </a:cubicBezTo>
                    <a:cubicBezTo>
                      <a:pt x="275" y="305"/>
                      <a:pt x="275" y="305"/>
                      <a:pt x="275" y="305"/>
                    </a:cubicBezTo>
                    <a:cubicBezTo>
                      <a:pt x="277" y="306"/>
                      <a:pt x="277" y="306"/>
                      <a:pt x="277" y="306"/>
                    </a:cubicBezTo>
                    <a:cubicBezTo>
                      <a:pt x="279" y="306"/>
                      <a:pt x="279" y="306"/>
                      <a:pt x="279" y="306"/>
                    </a:cubicBezTo>
                    <a:cubicBezTo>
                      <a:pt x="279" y="310"/>
                      <a:pt x="279" y="310"/>
                      <a:pt x="279" y="310"/>
                    </a:cubicBezTo>
                    <a:cubicBezTo>
                      <a:pt x="279" y="310"/>
                      <a:pt x="280" y="311"/>
                      <a:pt x="280" y="312"/>
                    </a:cubicBezTo>
                    <a:cubicBezTo>
                      <a:pt x="280" y="312"/>
                      <a:pt x="280" y="314"/>
                      <a:pt x="280" y="314"/>
                    </a:cubicBezTo>
                    <a:cubicBezTo>
                      <a:pt x="281" y="316"/>
                      <a:pt x="281" y="316"/>
                      <a:pt x="281" y="316"/>
                    </a:cubicBezTo>
                    <a:cubicBezTo>
                      <a:pt x="278" y="317"/>
                      <a:pt x="278" y="317"/>
                      <a:pt x="278" y="317"/>
                    </a:cubicBezTo>
                    <a:cubicBezTo>
                      <a:pt x="280" y="318"/>
                      <a:pt x="280" y="318"/>
                      <a:pt x="280" y="318"/>
                    </a:cubicBezTo>
                    <a:cubicBezTo>
                      <a:pt x="280" y="318"/>
                      <a:pt x="282" y="318"/>
                      <a:pt x="283" y="318"/>
                    </a:cubicBezTo>
                    <a:cubicBezTo>
                      <a:pt x="284" y="318"/>
                      <a:pt x="284" y="321"/>
                      <a:pt x="284" y="321"/>
                    </a:cubicBezTo>
                    <a:cubicBezTo>
                      <a:pt x="284" y="321"/>
                      <a:pt x="284" y="322"/>
                      <a:pt x="283" y="323"/>
                    </a:cubicBezTo>
                    <a:cubicBezTo>
                      <a:pt x="283" y="323"/>
                      <a:pt x="283" y="324"/>
                      <a:pt x="283" y="325"/>
                    </a:cubicBezTo>
                    <a:cubicBezTo>
                      <a:pt x="284" y="325"/>
                      <a:pt x="286" y="326"/>
                      <a:pt x="287" y="326"/>
                    </a:cubicBezTo>
                    <a:cubicBezTo>
                      <a:pt x="289" y="326"/>
                      <a:pt x="289" y="326"/>
                      <a:pt x="289" y="326"/>
                    </a:cubicBezTo>
                    <a:cubicBezTo>
                      <a:pt x="291" y="326"/>
                      <a:pt x="291" y="326"/>
                      <a:pt x="291" y="326"/>
                    </a:cubicBezTo>
                    <a:cubicBezTo>
                      <a:pt x="291" y="326"/>
                      <a:pt x="292" y="327"/>
                      <a:pt x="293" y="327"/>
                    </a:cubicBezTo>
                    <a:cubicBezTo>
                      <a:pt x="293" y="326"/>
                      <a:pt x="295" y="326"/>
                      <a:pt x="295" y="326"/>
                    </a:cubicBezTo>
                    <a:cubicBezTo>
                      <a:pt x="297" y="328"/>
                      <a:pt x="297" y="328"/>
                      <a:pt x="297" y="328"/>
                    </a:cubicBezTo>
                    <a:cubicBezTo>
                      <a:pt x="299" y="327"/>
                      <a:pt x="299" y="327"/>
                      <a:pt x="299" y="327"/>
                    </a:cubicBezTo>
                    <a:cubicBezTo>
                      <a:pt x="299" y="329"/>
                      <a:pt x="299" y="329"/>
                      <a:pt x="299" y="329"/>
                    </a:cubicBezTo>
                    <a:cubicBezTo>
                      <a:pt x="299" y="329"/>
                      <a:pt x="301" y="333"/>
                      <a:pt x="301" y="333"/>
                    </a:cubicBezTo>
                    <a:cubicBezTo>
                      <a:pt x="302" y="334"/>
                      <a:pt x="302" y="336"/>
                      <a:pt x="302" y="337"/>
                    </a:cubicBezTo>
                    <a:cubicBezTo>
                      <a:pt x="302" y="338"/>
                      <a:pt x="303" y="340"/>
                      <a:pt x="303" y="340"/>
                    </a:cubicBezTo>
                    <a:cubicBezTo>
                      <a:pt x="303" y="340"/>
                      <a:pt x="302" y="340"/>
                      <a:pt x="301" y="341"/>
                    </a:cubicBezTo>
                    <a:cubicBezTo>
                      <a:pt x="300" y="342"/>
                      <a:pt x="302" y="343"/>
                      <a:pt x="302" y="343"/>
                    </a:cubicBezTo>
                    <a:cubicBezTo>
                      <a:pt x="304" y="343"/>
                      <a:pt x="304" y="343"/>
                      <a:pt x="304" y="343"/>
                    </a:cubicBezTo>
                    <a:cubicBezTo>
                      <a:pt x="304" y="343"/>
                      <a:pt x="306" y="345"/>
                      <a:pt x="306" y="346"/>
                    </a:cubicBezTo>
                    <a:cubicBezTo>
                      <a:pt x="307" y="347"/>
                      <a:pt x="309" y="346"/>
                      <a:pt x="310" y="346"/>
                    </a:cubicBezTo>
                    <a:cubicBezTo>
                      <a:pt x="311" y="345"/>
                      <a:pt x="313" y="346"/>
                      <a:pt x="313" y="347"/>
                    </a:cubicBezTo>
                    <a:cubicBezTo>
                      <a:pt x="313" y="347"/>
                      <a:pt x="310" y="348"/>
                      <a:pt x="309" y="348"/>
                    </a:cubicBezTo>
                    <a:cubicBezTo>
                      <a:pt x="308" y="349"/>
                      <a:pt x="305" y="349"/>
                      <a:pt x="305" y="349"/>
                    </a:cubicBezTo>
                    <a:cubicBezTo>
                      <a:pt x="304" y="352"/>
                      <a:pt x="304" y="352"/>
                      <a:pt x="304" y="352"/>
                    </a:cubicBezTo>
                    <a:cubicBezTo>
                      <a:pt x="302" y="353"/>
                      <a:pt x="302" y="353"/>
                      <a:pt x="302" y="353"/>
                    </a:cubicBezTo>
                    <a:cubicBezTo>
                      <a:pt x="301" y="350"/>
                      <a:pt x="301" y="350"/>
                      <a:pt x="301" y="350"/>
                    </a:cubicBezTo>
                    <a:cubicBezTo>
                      <a:pt x="297" y="347"/>
                      <a:pt x="297" y="347"/>
                      <a:pt x="297" y="347"/>
                    </a:cubicBezTo>
                    <a:cubicBezTo>
                      <a:pt x="297" y="350"/>
                      <a:pt x="297" y="350"/>
                      <a:pt x="297" y="350"/>
                    </a:cubicBezTo>
                    <a:cubicBezTo>
                      <a:pt x="295" y="351"/>
                      <a:pt x="295" y="351"/>
                      <a:pt x="295" y="351"/>
                    </a:cubicBezTo>
                    <a:cubicBezTo>
                      <a:pt x="295" y="351"/>
                      <a:pt x="295" y="352"/>
                      <a:pt x="295" y="353"/>
                    </a:cubicBezTo>
                    <a:cubicBezTo>
                      <a:pt x="295" y="354"/>
                      <a:pt x="294" y="354"/>
                      <a:pt x="294" y="354"/>
                    </a:cubicBezTo>
                    <a:cubicBezTo>
                      <a:pt x="292" y="353"/>
                      <a:pt x="292" y="353"/>
                      <a:pt x="292" y="353"/>
                    </a:cubicBezTo>
                    <a:cubicBezTo>
                      <a:pt x="292" y="353"/>
                      <a:pt x="290" y="353"/>
                      <a:pt x="289" y="353"/>
                    </a:cubicBezTo>
                    <a:cubicBezTo>
                      <a:pt x="288" y="353"/>
                      <a:pt x="288" y="351"/>
                      <a:pt x="288" y="351"/>
                    </a:cubicBezTo>
                    <a:cubicBezTo>
                      <a:pt x="287" y="352"/>
                      <a:pt x="287" y="352"/>
                      <a:pt x="287" y="352"/>
                    </a:cubicBezTo>
                    <a:cubicBezTo>
                      <a:pt x="287" y="352"/>
                      <a:pt x="287" y="353"/>
                      <a:pt x="286" y="354"/>
                    </a:cubicBezTo>
                    <a:cubicBezTo>
                      <a:pt x="286" y="355"/>
                      <a:pt x="286" y="354"/>
                      <a:pt x="284" y="354"/>
                    </a:cubicBezTo>
                    <a:cubicBezTo>
                      <a:pt x="283" y="355"/>
                      <a:pt x="283" y="353"/>
                      <a:pt x="282" y="352"/>
                    </a:cubicBezTo>
                    <a:cubicBezTo>
                      <a:pt x="282" y="350"/>
                      <a:pt x="282" y="352"/>
                      <a:pt x="281" y="352"/>
                    </a:cubicBezTo>
                    <a:cubicBezTo>
                      <a:pt x="280" y="352"/>
                      <a:pt x="282" y="355"/>
                      <a:pt x="282" y="355"/>
                    </a:cubicBezTo>
                    <a:cubicBezTo>
                      <a:pt x="281" y="356"/>
                      <a:pt x="281" y="356"/>
                      <a:pt x="281" y="356"/>
                    </a:cubicBezTo>
                    <a:cubicBezTo>
                      <a:pt x="281" y="356"/>
                      <a:pt x="281" y="358"/>
                      <a:pt x="279" y="359"/>
                    </a:cubicBezTo>
                    <a:cubicBezTo>
                      <a:pt x="278" y="359"/>
                      <a:pt x="279" y="357"/>
                      <a:pt x="279" y="357"/>
                    </a:cubicBezTo>
                    <a:cubicBezTo>
                      <a:pt x="279" y="353"/>
                      <a:pt x="279" y="353"/>
                      <a:pt x="279" y="353"/>
                    </a:cubicBezTo>
                    <a:cubicBezTo>
                      <a:pt x="277" y="348"/>
                      <a:pt x="277" y="348"/>
                      <a:pt x="277" y="348"/>
                    </a:cubicBezTo>
                    <a:cubicBezTo>
                      <a:pt x="277" y="348"/>
                      <a:pt x="273" y="352"/>
                      <a:pt x="272" y="352"/>
                    </a:cubicBezTo>
                    <a:cubicBezTo>
                      <a:pt x="272" y="353"/>
                      <a:pt x="270" y="357"/>
                      <a:pt x="269" y="357"/>
                    </a:cubicBezTo>
                    <a:cubicBezTo>
                      <a:pt x="269" y="358"/>
                      <a:pt x="269" y="360"/>
                      <a:pt x="269" y="360"/>
                    </a:cubicBezTo>
                    <a:cubicBezTo>
                      <a:pt x="271" y="363"/>
                      <a:pt x="271" y="363"/>
                      <a:pt x="271" y="363"/>
                    </a:cubicBezTo>
                    <a:cubicBezTo>
                      <a:pt x="271" y="366"/>
                      <a:pt x="271" y="366"/>
                      <a:pt x="271" y="366"/>
                    </a:cubicBezTo>
                    <a:cubicBezTo>
                      <a:pt x="273" y="368"/>
                      <a:pt x="273" y="368"/>
                      <a:pt x="273" y="368"/>
                    </a:cubicBezTo>
                    <a:cubicBezTo>
                      <a:pt x="273" y="368"/>
                      <a:pt x="275" y="368"/>
                      <a:pt x="276" y="369"/>
                    </a:cubicBezTo>
                    <a:cubicBezTo>
                      <a:pt x="277" y="369"/>
                      <a:pt x="276" y="371"/>
                      <a:pt x="276" y="371"/>
                    </a:cubicBezTo>
                    <a:cubicBezTo>
                      <a:pt x="275" y="375"/>
                      <a:pt x="275" y="375"/>
                      <a:pt x="275" y="375"/>
                    </a:cubicBezTo>
                    <a:cubicBezTo>
                      <a:pt x="275" y="375"/>
                      <a:pt x="276" y="376"/>
                      <a:pt x="277" y="377"/>
                    </a:cubicBezTo>
                    <a:cubicBezTo>
                      <a:pt x="277" y="378"/>
                      <a:pt x="275" y="380"/>
                      <a:pt x="275" y="380"/>
                    </a:cubicBezTo>
                    <a:cubicBezTo>
                      <a:pt x="274" y="380"/>
                      <a:pt x="271" y="383"/>
                      <a:pt x="271" y="383"/>
                    </a:cubicBezTo>
                    <a:cubicBezTo>
                      <a:pt x="271" y="383"/>
                      <a:pt x="270" y="384"/>
                      <a:pt x="269" y="384"/>
                    </a:cubicBezTo>
                    <a:cubicBezTo>
                      <a:pt x="268" y="384"/>
                      <a:pt x="270" y="387"/>
                      <a:pt x="270" y="387"/>
                    </a:cubicBezTo>
                    <a:cubicBezTo>
                      <a:pt x="271" y="390"/>
                      <a:pt x="271" y="390"/>
                      <a:pt x="271" y="390"/>
                    </a:cubicBezTo>
                    <a:cubicBezTo>
                      <a:pt x="271" y="390"/>
                      <a:pt x="270" y="391"/>
                      <a:pt x="270" y="391"/>
                    </a:cubicBezTo>
                    <a:cubicBezTo>
                      <a:pt x="269" y="392"/>
                      <a:pt x="269" y="394"/>
                      <a:pt x="269" y="394"/>
                    </a:cubicBezTo>
                    <a:cubicBezTo>
                      <a:pt x="267" y="394"/>
                      <a:pt x="267" y="394"/>
                      <a:pt x="267" y="394"/>
                    </a:cubicBezTo>
                    <a:cubicBezTo>
                      <a:pt x="266" y="396"/>
                      <a:pt x="266" y="396"/>
                      <a:pt x="266" y="396"/>
                    </a:cubicBezTo>
                    <a:cubicBezTo>
                      <a:pt x="266" y="396"/>
                      <a:pt x="266" y="399"/>
                      <a:pt x="265" y="399"/>
                    </a:cubicBezTo>
                    <a:cubicBezTo>
                      <a:pt x="264" y="399"/>
                      <a:pt x="265" y="401"/>
                      <a:pt x="265" y="401"/>
                    </a:cubicBezTo>
                    <a:cubicBezTo>
                      <a:pt x="264" y="403"/>
                      <a:pt x="264" y="403"/>
                      <a:pt x="264" y="403"/>
                    </a:cubicBezTo>
                    <a:cubicBezTo>
                      <a:pt x="268" y="405"/>
                      <a:pt x="268" y="405"/>
                      <a:pt x="268" y="405"/>
                    </a:cubicBezTo>
                    <a:cubicBezTo>
                      <a:pt x="267" y="407"/>
                      <a:pt x="267" y="407"/>
                      <a:pt x="267" y="407"/>
                    </a:cubicBezTo>
                    <a:cubicBezTo>
                      <a:pt x="267" y="409"/>
                      <a:pt x="267" y="409"/>
                      <a:pt x="267" y="409"/>
                    </a:cubicBezTo>
                    <a:cubicBezTo>
                      <a:pt x="268" y="409"/>
                      <a:pt x="268" y="409"/>
                      <a:pt x="268" y="409"/>
                    </a:cubicBezTo>
                    <a:cubicBezTo>
                      <a:pt x="268" y="409"/>
                      <a:pt x="266" y="410"/>
                      <a:pt x="265" y="410"/>
                    </a:cubicBezTo>
                    <a:cubicBezTo>
                      <a:pt x="264" y="411"/>
                      <a:pt x="263" y="410"/>
                      <a:pt x="262" y="411"/>
                    </a:cubicBezTo>
                    <a:cubicBezTo>
                      <a:pt x="261" y="411"/>
                      <a:pt x="258" y="412"/>
                      <a:pt x="258" y="412"/>
                    </a:cubicBezTo>
                    <a:cubicBezTo>
                      <a:pt x="257" y="416"/>
                      <a:pt x="257" y="416"/>
                      <a:pt x="257" y="416"/>
                    </a:cubicBezTo>
                    <a:cubicBezTo>
                      <a:pt x="255" y="416"/>
                      <a:pt x="255" y="416"/>
                      <a:pt x="255" y="416"/>
                    </a:cubicBezTo>
                    <a:cubicBezTo>
                      <a:pt x="255" y="414"/>
                      <a:pt x="255" y="414"/>
                      <a:pt x="255" y="414"/>
                    </a:cubicBezTo>
                    <a:cubicBezTo>
                      <a:pt x="254" y="413"/>
                      <a:pt x="254" y="413"/>
                      <a:pt x="254" y="413"/>
                    </a:cubicBezTo>
                    <a:cubicBezTo>
                      <a:pt x="254" y="415"/>
                      <a:pt x="254" y="416"/>
                      <a:pt x="254" y="416"/>
                    </a:cubicBezTo>
                    <a:cubicBezTo>
                      <a:pt x="264" y="423"/>
                      <a:pt x="264" y="423"/>
                      <a:pt x="264" y="423"/>
                    </a:cubicBezTo>
                    <a:cubicBezTo>
                      <a:pt x="281" y="427"/>
                      <a:pt x="281" y="427"/>
                      <a:pt x="281" y="427"/>
                    </a:cubicBezTo>
                    <a:cubicBezTo>
                      <a:pt x="285" y="420"/>
                      <a:pt x="285" y="420"/>
                      <a:pt x="285" y="420"/>
                    </a:cubicBezTo>
                    <a:cubicBezTo>
                      <a:pt x="285" y="420"/>
                      <a:pt x="294" y="404"/>
                      <a:pt x="301" y="405"/>
                    </a:cubicBezTo>
                    <a:cubicBezTo>
                      <a:pt x="306" y="406"/>
                      <a:pt x="313" y="408"/>
                      <a:pt x="314" y="408"/>
                    </a:cubicBezTo>
                    <a:cubicBezTo>
                      <a:pt x="313" y="402"/>
                      <a:pt x="302" y="392"/>
                      <a:pt x="304" y="390"/>
                    </a:cubicBezTo>
                    <a:cubicBezTo>
                      <a:pt x="306" y="387"/>
                      <a:pt x="311" y="380"/>
                      <a:pt x="314" y="376"/>
                    </a:cubicBezTo>
                    <a:cubicBezTo>
                      <a:pt x="316" y="372"/>
                      <a:pt x="326" y="369"/>
                      <a:pt x="326" y="369"/>
                    </a:cubicBezTo>
                    <a:cubicBezTo>
                      <a:pt x="334" y="354"/>
                      <a:pt x="334" y="354"/>
                      <a:pt x="334" y="354"/>
                    </a:cubicBezTo>
                    <a:cubicBezTo>
                      <a:pt x="332" y="331"/>
                      <a:pt x="330" y="325"/>
                      <a:pt x="354" y="322"/>
                    </a:cubicBezTo>
                    <a:cubicBezTo>
                      <a:pt x="358" y="321"/>
                      <a:pt x="363" y="318"/>
                      <a:pt x="363" y="318"/>
                    </a:cubicBezTo>
                    <a:cubicBezTo>
                      <a:pt x="371" y="315"/>
                      <a:pt x="371" y="315"/>
                      <a:pt x="371" y="315"/>
                    </a:cubicBezTo>
                    <a:cubicBezTo>
                      <a:pt x="386" y="313"/>
                      <a:pt x="386" y="313"/>
                      <a:pt x="386" y="313"/>
                    </a:cubicBezTo>
                    <a:cubicBezTo>
                      <a:pt x="374" y="320"/>
                      <a:pt x="374" y="320"/>
                      <a:pt x="374" y="320"/>
                    </a:cubicBezTo>
                    <a:cubicBezTo>
                      <a:pt x="365" y="330"/>
                      <a:pt x="365" y="330"/>
                      <a:pt x="365" y="330"/>
                    </a:cubicBezTo>
                    <a:cubicBezTo>
                      <a:pt x="377" y="333"/>
                      <a:pt x="377" y="333"/>
                      <a:pt x="377" y="333"/>
                    </a:cubicBezTo>
                    <a:cubicBezTo>
                      <a:pt x="377" y="333"/>
                      <a:pt x="377" y="342"/>
                      <a:pt x="383" y="340"/>
                    </a:cubicBezTo>
                    <a:cubicBezTo>
                      <a:pt x="388" y="338"/>
                      <a:pt x="400" y="333"/>
                      <a:pt x="402" y="333"/>
                    </a:cubicBezTo>
                    <a:cubicBezTo>
                      <a:pt x="404" y="332"/>
                      <a:pt x="415" y="329"/>
                      <a:pt x="418" y="329"/>
                    </a:cubicBezTo>
                    <a:cubicBezTo>
                      <a:pt x="421" y="329"/>
                      <a:pt x="437" y="327"/>
                      <a:pt x="437" y="327"/>
                    </a:cubicBezTo>
                    <a:cubicBezTo>
                      <a:pt x="439" y="336"/>
                      <a:pt x="439" y="336"/>
                      <a:pt x="439" y="336"/>
                    </a:cubicBezTo>
                    <a:cubicBezTo>
                      <a:pt x="432" y="345"/>
                      <a:pt x="432" y="345"/>
                      <a:pt x="432" y="345"/>
                    </a:cubicBezTo>
                    <a:cubicBezTo>
                      <a:pt x="423" y="354"/>
                      <a:pt x="423" y="354"/>
                      <a:pt x="423" y="354"/>
                    </a:cubicBezTo>
                    <a:cubicBezTo>
                      <a:pt x="409" y="367"/>
                      <a:pt x="409" y="367"/>
                      <a:pt x="409" y="367"/>
                    </a:cubicBezTo>
                    <a:cubicBezTo>
                      <a:pt x="409" y="367"/>
                      <a:pt x="405" y="374"/>
                      <a:pt x="407" y="375"/>
                    </a:cubicBezTo>
                    <a:cubicBezTo>
                      <a:pt x="409" y="376"/>
                      <a:pt x="424" y="374"/>
                      <a:pt x="424" y="374"/>
                    </a:cubicBezTo>
                    <a:cubicBezTo>
                      <a:pt x="441" y="375"/>
                      <a:pt x="441" y="375"/>
                      <a:pt x="441" y="375"/>
                    </a:cubicBezTo>
                    <a:cubicBezTo>
                      <a:pt x="441" y="375"/>
                      <a:pt x="444" y="376"/>
                      <a:pt x="446" y="382"/>
                    </a:cubicBezTo>
                    <a:cubicBezTo>
                      <a:pt x="449" y="389"/>
                      <a:pt x="451" y="392"/>
                      <a:pt x="452" y="394"/>
                    </a:cubicBezTo>
                    <a:cubicBezTo>
                      <a:pt x="454" y="397"/>
                      <a:pt x="458" y="403"/>
                      <a:pt x="458" y="403"/>
                    </a:cubicBezTo>
                    <a:cubicBezTo>
                      <a:pt x="458" y="403"/>
                      <a:pt x="454" y="407"/>
                      <a:pt x="459" y="406"/>
                    </a:cubicBezTo>
                    <a:cubicBezTo>
                      <a:pt x="465" y="406"/>
                      <a:pt x="469" y="405"/>
                      <a:pt x="469" y="405"/>
                    </a:cubicBezTo>
                    <a:cubicBezTo>
                      <a:pt x="469" y="405"/>
                      <a:pt x="470" y="399"/>
                      <a:pt x="472" y="397"/>
                    </a:cubicBezTo>
                    <a:cubicBezTo>
                      <a:pt x="475" y="396"/>
                      <a:pt x="478" y="393"/>
                      <a:pt x="478" y="393"/>
                    </a:cubicBezTo>
                    <a:cubicBezTo>
                      <a:pt x="478" y="393"/>
                      <a:pt x="477" y="387"/>
                      <a:pt x="480" y="385"/>
                    </a:cubicBezTo>
                    <a:cubicBezTo>
                      <a:pt x="483" y="384"/>
                      <a:pt x="487" y="383"/>
                      <a:pt x="491" y="382"/>
                    </a:cubicBezTo>
                    <a:cubicBezTo>
                      <a:pt x="495" y="380"/>
                      <a:pt x="499" y="373"/>
                      <a:pt x="499" y="373"/>
                    </a:cubicBezTo>
                    <a:cubicBezTo>
                      <a:pt x="504" y="369"/>
                      <a:pt x="504" y="369"/>
                      <a:pt x="504" y="369"/>
                    </a:cubicBezTo>
                    <a:cubicBezTo>
                      <a:pt x="516" y="365"/>
                      <a:pt x="516" y="365"/>
                      <a:pt x="516" y="365"/>
                    </a:cubicBezTo>
                    <a:cubicBezTo>
                      <a:pt x="515" y="355"/>
                      <a:pt x="515" y="355"/>
                      <a:pt x="515" y="355"/>
                    </a:cubicBezTo>
                    <a:cubicBezTo>
                      <a:pt x="515" y="355"/>
                      <a:pt x="516" y="353"/>
                      <a:pt x="519" y="353"/>
                    </a:cubicBezTo>
                    <a:cubicBezTo>
                      <a:pt x="521" y="352"/>
                      <a:pt x="542" y="345"/>
                      <a:pt x="542" y="345"/>
                    </a:cubicBezTo>
                    <a:cubicBezTo>
                      <a:pt x="548" y="335"/>
                      <a:pt x="548" y="335"/>
                      <a:pt x="548" y="335"/>
                    </a:cubicBezTo>
                    <a:cubicBezTo>
                      <a:pt x="548" y="325"/>
                      <a:pt x="548" y="325"/>
                      <a:pt x="548" y="325"/>
                    </a:cubicBezTo>
                    <a:cubicBezTo>
                      <a:pt x="548" y="325"/>
                      <a:pt x="550" y="319"/>
                      <a:pt x="546" y="319"/>
                    </a:cubicBezTo>
                    <a:cubicBezTo>
                      <a:pt x="542" y="319"/>
                      <a:pt x="532" y="329"/>
                      <a:pt x="532" y="329"/>
                    </a:cubicBezTo>
                    <a:cubicBezTo>
                      <a:pt x="521" y="330"/>
                      <a:pt x="521" y="330"/>
                      <a:pt x="521" y="330"/>
                    </a:cubicBezTo>
                    <a:cubicBezTo>
                      <a:pt x="521" y="330"/>
                      <a:pt x="516" y="339"/>
                      <a:pt x="514" y="339"/>
                    </a:cubicBezTo>
                    <a:cubicBezTo>
                      <a:pt x="512" y="340"/>
                      <a:pt x="506" y="342"/>
                      <a:pt x="504" y="341"/>
                    </a:cubicBezTo>
                    <a:cubicBezTo>
                      <a:pt x="502" y="341"/>
                      <a:pt x="505" y="352"/>
                      <a:pt x="498" y="339"/>
                    </a:cubicBezTo>
                    <a:cubicBezTo>
                      <a:pt x="491" y="326"/>
                      <a:pt x="488" y="326"/>
                      <a:pt x="488" y="326"/>
                    </a:cubicBezTo>
                    <a:cubicBezTo>
                      <a:pt x="481" y="326"/>
                      <a:pt x="481" y="326"/>
                      <a:pt x="481" y="326"/>
                    </a:cubicBezTo>
                    <a:cubicBezTo>
                      <a:pt x="481" y="326"/>
                      <a:pt x="475" y="329"/>
                      <a:pt x="474" y="327"/>
                    </a:cubicBezTo>
                    <a:cubicBezTo>
                      <a:pt x="474" y="325"/>
                      <a:pt x="471" y="319"/>
                      <a:pt x="471" y="319"/>
                    </a:cubicBezTo>
                    <a:cubicBezTo>
                      <a:pt x="461" y="319"/>
                      <a:pt x="461" y="319"/>
                      <a:pt x="461" y="319"/>
                    </a:cubicBezTo>
                    <a:cubicBezTo>
                      <a:pt x="457" y="321"/>
                      <a:pt x="457" y="321"/>
                      <a:pt x="457" y="321"/>
                    </a:cubicBezTo>
                    <a:cubicBezTo>
                      <a:pt x="442" y="320"/>
                      <a:pt x="442" y="320"/>
                      <a:pt x="442" y="320"/>
                    </a:cubicBezTo>
                    <a:cubicBezTo>
                      <a:pt x="436" y="316"/>
                      <a:pt x="436" y="316"/>
                      <a:pt x="436" y="316"/>
                    </a:cubicBezTo>
                    <a:cubicBezTo>
                      <a:pt x="444" y="312"/>
                      <a:pt x="444" y="312"/>
                      <a:pt x="444" y="312"/>
                    </a:cubicBezTo>
                    <a:cubicBezTo>
                      <a:pt x="444" y="312"/>
                      <a:pt x="447" y="315"/>
                      <a:pt x="448" y="315"/>
                    </a:cubicBezTo>
                    <a:cubicBezTo>
                      <a:pt x="450" y="314"/>
                      <a:pt x="448" y="311"/>
                      <a:pt x="450" y="310"/>
                    </a:cubicBezTo>
                    <a:cubicBezTo>
                      <a:pt x="453" y="309"/>
                      <a:pt x="456" y="306"/>
                      <a:pt x="459" y="308"/>
                    </a:cubicBezTo>
                    <a:cubicBezTo>
                      <a:pt x="462" y="309"/>
                      <a:pt x="459" y="315"/>
                      <a:pt x="464" y="311"/>
                    </a:cubicBezTo>
                    <a:cubicBezTo>
                      <a:pt x="469" y="307"/>
                      <a:pt x="474" y="308"/>
                      <a:pt x="474" y="308"/>
                    </a:cubicBezTo>
                    <a:cubicBezTo>
                      <a:pt x="480" y="298"/>
                      <a:pt x="480" y="298"/>
                      <a:pt x="480" y="298"/>
                    </a:cubicBezTo>
                    <a:cubicBezTo>
                      <a:pt x="484" y="289"/>
                      <a:pt x="484" y="289"/>
                      <a:pt x="484" y="289"/>
                    </a:cubicBezTo>
                    <a:cubicBezTo>
                      <a:pt x="484" y="289"/>
                      <a:pt x="486" y="290"/>
                      <a:pt x="488" y="291"/>
                    </a:cubicBezTo>
                    <a:cubicBezTo>
                      <a:pt x="491" y="291"/>
                      <a:pt x="498" y="279"/>
                      <a:pt x="498" y="279"/>
                    </a:cubicBezTo>
                    <a:cubicBezTo>
                      <a:pt x="498" y="279"/>
                      <a:pt x="499" y="267"/>
                      <a:pt x="501" y="267"/>
                    </a:cubicBezTo>
                    <a:cubicBezTo>
                      <a:pt x="503" y="266"/>
                      <a:pt x="518" y="261"/>
                      <a:pt x="518" y="261"/>
                    </a:cubicBezTo>
                    <a:cubicBezTo>
                      <a:pt x="528" y="255"/>
                      <a:pt x="528" y="255"/>
                      <a:pt x="528" y="255"/>
                    </a:cubicBezTo>
                    <a:cubicBezTo>
                      <a:pt x="528" y="255"/>
                      <a:pt x="533" y="248"/>
                      <a:pt x="535" y="247"/>
                    </a:cubicBezTo>
                    <a:cubicBezTo>
                      <a:pt x="537" y="247"/>
                      <a:pt x="539" y="243"/>
                      <a:pt x="541" y="238"/>
                    </a:cubicBezTo>
                    <a:cubicBezTo>
                      <a:pt x="544" y="234"/>
                      <a:pt x="546" y="231"/>
                      <a:pt x="546" y="231"/>
                    </a:cubicBezTo>
                    <a:cubicBezTo>
                      <a:pt x="546" y="231"/>
                      <a:pt x="558" y="228"/>
                      <a:pt x="557" y="227"/>
                    </a:cubicBezTo>
                    <a:cubicBezTo>
                      <a:pt x="557" y="225"/>
                      <a:pt x="552" y="221"/>
                      <a:pt x="558" y="221"/>
                    </a:cubicBezTo>
                    <a:cubicBezTo>
                      <a:pt x="564" y="221"/>
                      <a:pt x="564" y="221"/>
                      <a:pt x="567" y="219"/>
                    </a:cubicBezTo>
                    <a:cubicBezTo>
                      <a:pt x="569" y="218"/>
                      <a:pt x="568" y="217"/>
                      <a:pt x="569" y="214"/>
                    </a:cubicBezTo>
                    <a:cubicBezTo>
                      <a:pt x="571" y="212"/>
                      <a:pt x="572" y="209"/>
                      <a:pt x="572" y="207"/>
                    </a:cubicBezTo>
                    <a:cubicBezTo>
                      <a:pt x="571" y="205"/>
                      <a:pt x="566" y="197"/>
                      <a:pt x="566" y="195"/>
                    </a:cubicBezTo>
                    <a:cubicBezTo>
                      <a:pt x="565" y="192"/>
                      <a:pt x="566" y="186"/>
                      <a:pt x="566" y="186"/>
                    </a:cubicBezTo>
                    <a:cubicBezTo>
                      <a:pt x="566" y="186"/>
                      <a:pt x="569" y="185"/>
                      <a:pt x="572" y="184"/>
                    </a:cubicBezTo>
                    <a:cubicBezTo>
                      <a:pt x="574" y="182"/>
                      <a:pt x="578" y="175"/>
                      <a:pt x="578" y="175"/>
                    </a:cubicBezTo>
                    <a:cubicBezTo>
                      <a:pt x="579" y="170"/>
                      <a:pt x="579" y="170"/>
                      <a:pt x="579" y="170"/>
                    </a:cubicBezTo>
                    <a:cubicBezTo>
                      <a:pt x="579" y="170"/>
                      <a:pt x="583" y="167"/>
                      <a:pt x="584" y="167"/>
                    </a:cubicBezTo>
                    <a:cubicBezTo>
                      <a:pt x="586" y="166"/>
                      <a:pt x="602" y="160"/>
                      <a:pt x="603" y="160"/>
                    </a:cubicBezTo>
                    <a:cubicBezTo>
                      <a:pt x="604" y="160"/>
                      <a:pt x="614" y="161"/>
                      <a:pt x="611" y="156"/>
                    </a:cubicBezTo>
                    <a:cubicBezTo>
                      <a:pt x="608" y="152"/>
                      <a:pt x="607" y="150"/>
                      <a:pt x="606" y="147"/>
                    </a:cubicBezTo>
                    <a:cubicBezTo>
                      <a:pt x="605" y="144"/>
                      <a:pt x="605" y="137"/>
                      <a:pt x="605" y="136"/>
                    </a:cubicBezTo>
                    <a:cubicBezTo>
                      <a:pt x="606" y="135"/>
                      <a:pt x="614" y="132"/>
                      <a:pt x="605" y="131"/>
                    </a:cubicBezTo>
                    <a:cubicBezTo>
                      <a:pt x="596" y="130"/>
                      <a:pt x="603" y="127"/>
                      <a:pt x="601" y="125"/>
                    </a:cubicBezTo>
                    <a:cubicBezTo>
                      <a:pt x="598" y="123"/>
                      <a:pt x="592" y="119"/>
                      <a:pt x="592" y="119"/>
                    </a:cubicBezTo>
                    <a:cubicBezTo>
                      <a:pt x="589" y="119"/>
                      <a:pt x="589" y="119"/>
                      <a:pt x="589" y="119"/>
                    </a:cubicBezTo>
                    <a:cubicBezTo>
                      <a:pt x="590" y="109"/>
                      <a:pt x="590" y="109"/>
                      <a:pt x="590" y="109"/>
                    </a:cubicBezTo>
                    <a:cubicBezTo>
                      <a:pt x="590" y="109"/>
                      <a:pt x="593" y="105"/>
                      <a:pt x="594" y="105"/>
                    </a:cubicBezTo>
                    <a:cubicBezTo>
                      <a:pt x="595" y="104"/>
                      <a:pt x="596" y="100"/>
                      <a:pt x="594" y="100"/>
                    </a:cubicBezTo>
                    <a:cubicBezTo>
                      <a:pt x="592" y="101"/>
                      <a:pt x="586" y="102"/>
                      <a:pt x="586" y="102"/>
                    </a:cubicBezTo>
                    <a:cubicBezTo>
                      <a:pt x="586" y="102"/>
                      <a:pt x="581" y="102"/>
                      <a:pt x="582" y="100"/>
                    </a:cubicBezTo>
                    <a:cubicBezTo>
                      <a:pt x="582" y="97"/>
                      <a:pt x="584" y="97"/>
                      <a:pt x="587" y="94"/>
                    </a:cubicBezTo>
                    <a:cubicBezTo>
                      <a:pt x="590" y="91"/>
                      <a:pt x="591" y="89"/>
                      <a:pt x="591" y="89"/>
                    </a:cubicBezTo>
                    <a:cubicBezTo>
                      <a:pt x="590" y="83"/>
                      <a:pt x="590" y="83"/>
                      <a:pt x="590" y="83"/>
                    </a:cubicBezTo>
                    <a:cubicBezTo>
                      <a:pt x="590" y="83"/>
                      <a:pt x="590" y="79"/>
                      <a:pt x="589" y="79"/>
                    </a:cubicBezTo>
                    <a:cubicBezTo>
                      <a:pt x="589" y="78"/>
                      <a:pt x="583" y="66"/>
                      <a:pt x="583" y="66"/>
                    </a:cubicBezTo>
                    <a:cubicBezTo>
                      <a:pt x="583" y="66"/>
                      <a:pt x="577" y="64"/>
                      <a:pt x="576" y="66"/>
                    </a:cubicBezTo>
                    <a:cubicBezTo>
                      <a:pt x="576" y="68"/>
                      <a:pt x="574" y="72"/>
                      <a:pt x="574" y="72"/>
                    </a:cubicBezTo>
                    <a:cubicBezTo>
                      <a:pt x="567" y="72"/>
                      <a:pt x="567" y="72"/>
                      <a:pt x="567" y="72"/>
                    </a:cubicBezTo>
                    <a:cubicBezTo>
                      <a:pt x="563" y="69"/>
                      <a:pt x="563" y="69"/>
                      <a:pt x="563" y="69"/>
                    </a:cubicBezTo>
                    <a:cubicBezTo>
                      <a:pt x="555" y="67"/>
                      <a:pt x="555" y="67"/>
                      <a:pt x="555" y="67"/>
                    </a:cubicBezTo>
                    <a:cubicBezTo>
                      <a:pt x="555" y="67"/>
                      <a:pt x="554" y="68"/>
                      <a:pt x="553" y="69"/>
                    </a:cubicBezTo>
                    <a:cubicBezTo>
                      <a:pt x="553" y="70"/>
                      <a:pt x="545" y="65"/>
                      <a:pt x="545" y="65"/>
                    </a:cubicBezTo>
                    <a:cubicBezTo>
                      <a:pt x="545" y="65"/>
                      <a:pt x="542" y="69"/>
                      <a:pt x="541" y="70"/>
                    </a:cubicBezTo>
                    <a:cubicBezTo>
                      <a:pt x="541" y="70"/>
                      <a:pt x="533" y="68"/>
                      <a:pt x="533" y="68"/>
                    </a:cubicBezTo>
                    <a:cubicBezTo>
                      <a:pt x="525" y="69"/>
                      <a:pt x="525" y="69"/>
                      <a:pt x="525" y="69"/>
                    </a:cubicBezTo>
                    <a:cubicBezTo>
                      <a:pt x="518" y="70"/>
                      <a:pt x="518" y="70"/>
                      <a:pt x="518" y="70"/>
                    </a:cubicBezTo>
                    <a:cubicBezTo>
                      <a:pt x="512" y="67"/>
                      <a:pt x="512" y="67"/>
                      <a:pt x="512" y="67"/>
                    </a:cubicBezTo>
                    <a:cubicBezTo>
                      <a:pt x="510" y="70"/>
                      <a:pt x="510" y="70"/>
                      <a:pt x="510" y="70"/>
                    </a:cubicBezTo>
                    <a:cubicBezTo>
                      <a:pt x="511" y="75"/>
                      <a:pt x="511" y="75"/>
                      <a:pt x="511" y="75"/>
                    </a:cubicBezTo>
                    <a:cubicBezTo>
                      <a:pt x="506" y="78"/>
                      <a:pt x="506" y="78"/>
                      <a:pt x="506" y="78"/>
                    </a:cubicBezTo>
                    <a:cubicBezTo>
                      <a:pt x="500" y="74"/>
                      <a:pt x="500" y="74"/>
                      <a:pt x="500" y="74"/>
                    </a:cubicBezTo>
                    <a:cubicBezTo>
                      <a:pt x="495" y="73"/>
                      <a:pt x="495" y="73"/>
                      <a:pt x="495" y="73"/>
                    </a:cubicBezTo>
                    <a:cubicBezTo>
                      <a:pt x="488" y="66"/>
                      <a:pt x="488" y="66"/>
                      <a:pt x="488" y="66"/>
                    </a:cubicBezTo>
                    <a:cubicBezTo>
                      <a:pt x="482" y="64"/>
                      <a:pt x="482" y="64"/>
                      <a:pt x="482" y="64"/>
                    </a:cubicBezTo>
                    <a:cubicBezTo>
                      <a:pt x="476" y="61"/>
                      <a:pt x="476" y="61"/>
                      <a:pt x="476" y="61"/>
                    </a:cubicBezTo>
                    <a:cubicBezTo>
                      <a:pt x="476" y="61"/>
                      <a:pt x="473" y="69"/>
                      <a:pt x="472" y="70"/>
                    </a:cubicBezTo>
                    <a:cubicBezTo>
                      <a:pt x="471" y="70"/>
                      <a:pt x="466" y="72"/>
                      <a:pt x="465" y="72"/>
                    </a:cubicBezTo>
                    <a:cubicBezTo>
                      <a:pt x="463" y="73"/>
                      <a:pt x="462" y="78"/>
                      <a:pt x="462" y="78"/>
                    </a:cubicBezTo>
                    <a:cubicBezTo>
                      <a:pt x="457" y="81"/>
                      <a:pt x="457" y="81"/>
                      <a:pt x="457" y="81"/>
                    </a:cubicBezTo>
                    <a:cubicBezTo>
                      <a:pt x="457" y="81"/>
                      <a:pt x="454" y="79"/>
                      <a:pt x="452" y="79"/>
                    </a:cubicBezTo>
                    <a:cubicBezTo>
                      <a:pt x="451" y="79"/>
                      <a:pt x="450" y="80"/>
                      <a:pt x="450" y="80"/>
                    </a:cubicBezTo>
                    <a:cubicBezTo>
                      <a:pt x="448" y="83"/>
                      <a:pt x="448" y="83"/>
                      <a:pt x="448" y="83"/>
                    </a:cubicBezTo>
                    <a:cubicBezTo>
                      <a:pt x="448" y="83"/>
                      <a:pt x="447" y="83"/>
                      <a:pt x="444" y="81"/>
                    </a:cubicBezTo>
                    <a:cubicBezTo>
                      <a:pt x="442" y="80"/>
                      <a:pt x="439" y="78"/>
                      <a:pt x="439" y="78"/>
                    </a:cubicBezTo>
                    <a:cubicBezTo>
                      <a:pt x="436" y="77"/>
                      <a:pt x="436" y="77"/>
                      <a:pt x="436" y="77"/>
                    </a:cubicBezTo>
                    <a:cubicBezTo>
                      <a:pt x="436" y="77"/>
                      <a:pt x="427" y="81"/>
                      <a:pt x="426" y="82"/>
                    </a:cubicBezTo>
                    <a:cubicBezTo>
                      <a:pt x="426" y="83"/>
                      <a:pt x="424" y="86"/>
                      <a:pt x="424" y="86"/>
                    </a:cubicBezTo>
                    <a:cubicBezTo>
                      <a:pt x="419" y="82"/>
                      <a:pt x="419" y="82"/>
                      <a:pt x="419" y="82"/>
                    </a:cubicBezTo>
                    <a:cubicBezTo>
                      <a:pt x="413" y="78"/>
                      <a:pt x="413" y="78"/>
                      <a:pt x="413" y="78"/>
                    </a:cubicBezTo>
                    <a:cubicBezTo>
                      <a:pt x="412" y="71"/>
                      <a:pt x="412" y="71"/>
                      <a:pt x="412" y="71"/>
                    </a:cubicBezTo>
                    <a:cubicBezTo>
                      <a:pt x="401" y="61"/>
                      <a:pt x="401" y="61"/>
                      <a:pt x="401" y="61"/>
                    </a:cubicBezTo>
                    <a:cubicBezTo>
                      <a:pt x="399" y="51"/>
                      <a:pt x="399" y="51"/>
                      <a:pt x="399" y="51"/>
                    </a:cubicBezTo>
                    <a:cubicBezTo>
                      <a:pt x="391" y="45"/>
                      <a:pt x="391" y="45"/>
                      <a:pt x="391" y="45"/>
                    </a:cubicBezTo>
                    <a:cubicBezTo>
                      <a:pt x="386" y="51"/>
                      <a:pt x="386" y="51"/>
                      <a:pt x="386" y="51"/>
                    </a:cubicBezTo>
                    <a:cubicBezTo>
                      <a:pt x="378" y="50"/>
                      <a:pt x="378" y="50"/>
                      <a:pt x="378" y="50"/>
                    </a:cubicBezTo>
                    <a:cubicBezTo>
                      <a:pt x="370" y="52"/>
                      <a:pt x="370" y="52"/>
                      <a:pt x="370" y="52"/>
                    </a:cubicBezTo>
                    <a:cubicBezTo>
                      <a:pt x="370" y="52"/>
                      <a:pt x="365" y="57"/>
                      <a:pt x="365" y="55"/>
                    </a:cubicBezTo>
                    <a:cubicBezTo>
                      <a:pt x="364" y="53"/>
                      <a:pt x="366" y="49"/>
                      <a:pt x="366" y="47"/>
                    </a:cubicBezTo>
                    <a:cubicBezTo>
                      <a:pt x="365" y="46"/>
                      <a:pt x="360" y="49"/>
                      <a:pt x="361" y="45"/>
                    </a:cubicBezTo>
                    <a:cubicBezTo>
                      <a:pt x="362" y="43"/>
                      <a:pt x="361" y="40"/>
                      <a:pt x="360" y="39"/>
                    </a:cubicBezTo>
                    <a:cubicBezTo>
                      <a:pt x="358" y="37"/>
                      <a:pt x="352" y="37"/>
                      <a:pt x="354" y="33"/>
                    </a:cubicBezTo>
                    <a:cubicBezTo>
                      <a:pt x="356" y="30"/>
                      <a:pt x="361" y="28"/>
                      <a:pt x="361" y="28"/>
                    </a:cubicBezTo>
                    <a:cubicBezTo>
                      <a:pt x="361" y="26"/>
                      <a:pt x="361" y="26"/>
                      <a:pt x="361" y="26"/>
                    </a:cubicBezTo>
                    <a:cubicBezTo>
                      <a:pt x="357" y="22"/>
                      <a:pt x="357" y="22"/>
                      <a:pt x="357" y="22"/>
                    </a:cubicBezTo>
                    <a:cubicBezTo>
                      <a:pt x="346" y="17"/>
                      <a:pt x="346" y="17"/>
                      <a:pt x="346" y="17"/>
                    </a:cubicBezTo>
                    <a:cubicBezTo>
                      <a:pt x="346" y="17"/>
                      <a:pt x="345" y="11"/>
                      <a:pt x="343" y="11"/>
                    </a:cubicBezTo>
                    <a:cubicBezTo>
                      <a:pt x="342" y="10"/>
                      <a:pt x="339" y="7"/>
                      <a:pt x="339" y="7"/>
                    </a:cubicBezTo>
                    <a:cubicBezTo>
                      <a:pt x="339" y="7"/>
                      <a:pt x="336" y="3"/>
                      <a:pt x="332" y="2"/>
                    </a:cubicBezTo>
                    <a:cubicBezTo>
                      <a:pt x="328" y="0"/>
                      <a:pt x="325" y="9"/>
                      <a:pt x="325" y="9"/>
                    </a:cubicBezTo>
                    <a:cubicBezTo>
                      <a:pt x="321" y="5"/>
                      <a:pt x="321" y="5"/>
                      <a:pt x="321" y="5"/>
                    </a:cubicBezTo>
                    <a:cubicBezTo>
                      <a:pt x="313" y="8"/>
                      <a:pt x="313" y="8"/>
                      <a:pt x="313" y="8"/>
                    </a:cubicBezTo>
                    <a:cubicBezTo>
                      <a:pt x="307" y="17"/>
                      <a:pt x="307" y="17"/>
                      <a:pt x="307" y="17"/>
                    </a:cubicBezTo>
                    <a:cubicBezTo>
                      <a:pt x="303" y="18"/>
                      <a:pt x="303" y="18"/>
                      <a:pt x="303" y="18"/>
                    </a:cubicBezTo>
                    <a:cubicBezTo>
                      <a:pt x="297" y="19"/>
                      <a:pt x="297" y="19"/>
                      <a:pt x="297" y="19"/>
                    </a:cubicBezTo>
                    <a:cubicBezTo>
                      <a:pt x="288" y="21"/>
                      <a:pt x="288" y="21"/>
                      <a:pt x="288" y="21"/>
                    </a:cubicBezTo>
                    <a:cubicBezTo>
                      <a:pt x="286" y="27"/>
                      <a:pt x="286" y="27"/>
                      <a:pt x="286" y="27"/>
                    </a:cubicBezTo>
                    <a:cubicBezTo>
                      <a:pt x="287" y="33"/>
                      <a:pt x="287" y="33"/>
                      <a:pt x="287" y="33"/>
                    </a:cubicBezTo>
                    <a:cubicBezTo>
                      <a:pt x="282" y="37"/>
                      <a:pt x="282" y="37"/>
                      <a:pt x="282" y="37"/>
                    </a:cubicBezTo>
                    <a:cubicBezTo>
                      <a:pt x="270" y="36"/>
                      <a:pt x="270" y="36"/>
                      <a:pt x="270" y="36"/>
                    </a:cubicBezTo>
                    <a:cubicBezTo>
                      <a:pt x="262" y="38"/>
                      <a:pt x="262" y="38"/>
                      <a:pt x="262" y="38"/>
                    </a:cubicBezTo>
                    <a:cubicBezTo>
                      <a:pt x="258" y="44"/>
                      <a:pt x="258" y="44"/>
                      <a:pt x="258" y="44"/>
                    </a:cubicBezTo>
                    <a:cubicBezTo>
                      <a:pt x="246" y="44"/>
                      <a:pt x="246" y="44"/>
                      <a:pt x="246" y="44"/>
                    </a:cubicBezTo>
                    <a:cubicBezTo>
                      <a:pt x="244" y="56"/>
                      <a:pt x="244" y="56"/>
                      <a:pt x="244" y="56"/>
                    </a:cubicBezTo>
                    <a:cubicBezTo>
                      <a:pt x="241" y="64"/>
                      <a:pt x="241" y="64"/>
                      <a:pt x="241" y="64"/>
                    </a:cubicBezTo>
                    <a:cubicBezTo>
                      <a:pt x="238" y="73"/>
                      <a:pt x="238" y="73"/>
                      <a:pt x="238" y="73"/>
                    </a:cubicBezTo>
                    <a:cubicBezTo>
                      <a:pt x="240" y="78"/>
                      <a:pt x="240" y="78"/>
                      <a:pt x="240" y="78"/>
                    </a:cubicBezTo>
                    <a:cubicBezTo>
                      <a:pt x="243" y="85"/>
                      <a:pt x="243" y="85"/>
                      <a:pt x="243" y="85"/>
                    </a:cubicBezTo>
                    <a:cubicBezTo>
                      <a:pt x="249" y="92"/>
                      <a:pt x="249" y="92"/>
                      <a:pt x="249" y="92"/>
                    </a:cubicBezTo>
                    <a:cubicBezTo>
                      <a:pt x="249" y="92"/>
                      <a:pt x="249" y="92"/>
                      <a:pt x="249" y="92"/>
                    </a:cubicBezTo>
                    <a:cubicBezTo>
                      <a:pt x="243" y="94"/>
                      <a:pt x="243" y="94"/>
                      <a:pt x="243" y="94"/>
                    </a:cubicBezTo>
                    <a:cubicBezTo>
                      <a:pt x="239" y="95"/>
                      <a:pt x="239" y="95"/>
                      <a:pt x="239" y="95"/>
                    </a:cubicBezTo>
                    <a:cubicBezTo>
                      <a:pt x="235" y="89"/>
                      <a:pt x="235" y="89"/>
                      <a:pt x="235" y="89"/>
                    </a:cubicBezTo>
                    <a:cubicBezTo>
                      <a:pt x="229" y="87"/>
                      <a:pt x="229" y="87"/>
                      <a:pt x="229" y="87"/>
                    </a:cubicBezTo>
                    <a:cubicBezTo>
                      <a:pt x="222" y="90"/>
                      <a:pt x="222" y="90"/>
                      <a:pt x="222" y="90"/>
                    </a:cubicBezTo>
                    <a:cubicBezTo>
                      <a:pt x="215" y="92"/>
                      <a:pt x="215" y="92"/>
                      <a:pt x="215" y="92"/>
                    </a:cubicBezTo>
                    <a:cubicBezTo>
                      <a:pt x="213" y="92"/>
                      <a:pt x="213" y="92"/>
                      <a:pt x="213" y="92"/>
                    </a:cubicBezTo>
                    <a:cubicBezTo>
                      <a:pt x="211" y="96"/>
                      <a:pt x="211" y="96"/>
                      <a:pt x="211" y="96"/>
                    </a:cubicBezTo>
                    <a:cubicBezTo>
                      <a:pt x="205" y="99"/>
                      <a:pt x="205" y="99"/>
                      <a:pt x="205" y="99"/>
                    </a:cubicBezTo>
                    <a:cubicBezTo>
                      <a:pt x="205" y="99"/>
                      <a:pt x="203" y="97"/>
                      <a:pt x="202" y="96"/>
                    </a:cubicBezTo>
                    <a:cubicBezTo>
                      <a:pt x="201" y="95"/>
                      <a:pt x="198" y="93"/>
                      <a:pt x="198" y="93"/>
                    </a:cubicBezTo>
                    <a:cubicBezTo>
                      <a:pt x="198" y="93"/>
                      <a:pt x="197" y="91"/>
                      <a:pt x="196" y="90"/>
                    </a:cubicBezTo>
                    <a:cubicBezTo>
                      <a:pt x="195" y="90"/>
                      <a:pt x="189" y="94"/>
                      <a:pt x="189" y="94"/>
                    </a:cubicBezTo>
                    <a:cubicBezTo>
                      <a:pt x="189" y="94"/>
                      <a:pt x="184" y="97"/>
                      <a:pt x="184" y="98"/>
                    </a:cubicBezTo>
                    <a:cubicBezTo>
                      <a:pt x="185" y="98"/>
                      <a:pt x="184" y="103"/>
                      <a:pt x="184" y="103"/>
                    </a:cubicBezTo>
                    <a:cubicBezTo>
                      <a:pt x="177" y="97"/>
                      <a:pt x="177" y="97"/>
                      <a:pt x="177" y="97"/>
                    </a:cubicBezTo>
                    <a:cubicBezTo>
                      <a:pt x="172" y="101"/>
                      <a:pt x="172" y="101"/>
                      <a:pt x="172" y="101"/>
                    </a:cubicBezTo>
                    <a:cubicBezTo>
                      <a:pt x="168" y="98"/>
                      <a:pt x="168" y="98"/>
                      <a:pt x="168" y="98"/>
                    </a:cubicBezTo>
                    <a:cubicBezTo>
                      <a:pt x="166" y="97"/>
                      <a:pt x="166" y="97"/>
                      <a:pt x="166" y="97"/>
                    </a:cubicBezTo>
                    <a:cubicBezTo>
                      <a:pt x="160" y="104"/>
                      <a:pt x="160" y="104"/>
                      <a:pt x="160" y="104"/>
                    </a:cubicBezTo>
                    <a:cubicBezTo>
                      <a:pt x="156" y="102"/>
                      <a:pt x="156" y="102"/>
                      <a:pt x="156" y="102"/>
                    </a:cubicBezTo>
                    <a:cubicBezTo>
                      <a:pt x="154" y="109"/>
                      <a:pt x="154" y="109"/>
                      <a:pt x="154" y="109"/>
                    </a:cubicBezTo>
                    <a:cubicBezTo>
                      <a:pt x="149" y="105"/>
                      <a:pt x="149" y="105"/>
                      <a:pt x="149" y="105"/>
                    </a:cubicBezTo>
                    <a:cubicBezTo>
                      <a:pt x="149" y="105"/>
                      <a:pt x="144" y="104"/>
                      <a:pt x="143" y="104"/>
                    </a:cubicBezTo>
                    <a:cubicBezTo>
                      <a:pt x="142" y="104"/>
                      <a:pt x="139" y="108"/>
                      <a:pt x="139" y="108"/>
                    </a:cubicBezTo>
                    <a:cubicBezTo>
                      <a:pt x="134" y="104"/>
                      <a:pt x="134" y="104"/>
                      <a:pt x="134" y="104"/>
                    </a:cubicBezTo>
                    <a:cubicBezTo>
                      <a:pt x="130" y="101"/>
                      <a:pt x="130" y="101"/>
                      <a:pt x="130" y="101"/>
                    </a:cubicBezTo>
                    <a:cubicBezTo>
                      <a:pt x="130" y="101"/>
                      <a:pt x="119" y="102"/>
                      <a:pt x="118" y="102"/>
                    </a:cubicBezTo>
                    <a:cubicBezTo>
                      <a:pt x="117" y="102"/>
                      <a:pt x="110" y="101"/>
                      <a:pt x="110" y="101"/>
                    </a:cubicBezTo>
                    <a:cubicBezTo>
                      <a:pt x="101" y="103"/>
                      <a:pt x="101" y="103"/>
                      <a:pt x="101" y="103"/>
                    </a:cubicBezTo>
                    <a:cubicBezTo>
                      <a:pt x="88" y="103"/>
                      <a:pt x="88" y="103"/>
                      <a:pt x="88" y="103"/>
                    </a:cubicBezTo>
                    <a:cubicBezTo>
                      <a:pt x="76" y="104"/>
                      <a:pt x="76" y="104"/>
                      <a:pt x="76" y="104"/>
                    </a:cubicBezTo>
                    <a:cubicBezTo>
                      <a:pt x="67" y="104"/>
                      <a:pt x="67" y="104"/>
                      <a:pt x="67" y="104"/>
                    </a:cubicBezTo>
                    <a:cubicBezTo>
                      <a:pt x="60" y="109"/>
                      <a:pt x="60" y="109"/>
                      <a:pt x="60" y="109"/>
                    </a:cubicBezTo>
                    <a:cubicBezTo>
                      <a:pt x="53" y="110"/>
                      <a:pt x="53" y="110"/>
                      <a:pt x="53" y="110"/>
                    </a:cubicBezTo>
                    <a:cubicBezTo>
                      <a:pt x="45" y="111"/>
                      <a:pt x="45" y="111"/>
                      <a:pt x="45" y="111"/>
                    </a:cubicBezTo>
                    <a:cubicBezTo>
                      <a:pt x="44" y="111"/>
                      <a:pt x="44" y="111"/>
                      <a:pt x="44" y="111"/>
                    </a:cubicBezTo>
                    <a:cubicBezTo>
                      <a:pt x="43" y="112"/>
                      <a:pt x="43" y="112"/>
                      <a:pt x="43" y="112"/>
                    </a:cubicBezTo>
                    <a:cubicBezTo>
                      <a:pt x="40" y="114"/>
                      <a:pt x="40" y="114"/>
                      <a:pt x="40" y="114"/>
                    </a:cubicBezTo>
                    <a:cubicBezTo>
                      <a:pt x="40" y="115"/>
                      <a:pt x="40" y="115"/>
                      <a:pt x="40" y="115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7" y="122"/>
                      <a:pt x="37" y="122"/>
                      <a:pt x="37" y="122"/>
                    </a:cubicBezTo>
                    <a:cubicBezTo>
                      <a:pt x="36" y="124"/>
                      <a:pt x="34" y="126"/>
                      <a:pt x="33" y="128"/>
                    </a:cubicBezTo>
                    <a:cubicBezTo>
                      <a:pt x="33" y="128"/>
                      <a:pt x="33" y="128"/>
                      <a:pt x="33" y="128"/>
                    </a:cubicBezTo>
                    <a:cubicBezTo>
                      <a:pt x="33" y="128"/>
                      <a:pt x="30" y="127"/>
                      <a:pt x="30" y="129"/>
                    </a:cubicBezTo>
                    <a:cubicBezTo>
                      <a:pt x="30" y="130"/>
                      <a:pt x="30" y="130"/>
                      <a:pt x="30" y="130"/>
                    </a:cubicBezTo>
                    <a:cubicBezTo>
                      <a:pt x="27" y="131"/>
                      <a:pt x="22" y="129"/>
                      <a:pt x="22" y="129"/>
                    </a:cubicBezTo>
                    <a:cubicBezTo>
                      <a:pt x="17" y="132"/>
                      <a:pt x="17" y="132"/>
                      <a:pt x="17" y="132"/>
                    </a:cubicBezTo>
                    <a:cubicBezTo>
                      <a:pt x="17" y="133"/>
                      <a:pt x="17" y="134"/>
                      <a:pt x="18" y="134"/>
                    </a:cubicBezTo>
                    <a:cubicBezTo>
                      <a:pt x="19" y="135"/>
                      <a:pt x="19" y="135"/>
                      <a:pt x="19" y="136"/>
                    </a:cubicBezTo>
                    <a:cubicBezTo>
                      <a:pt x="20" y="136"/>
                      <a:pt x="20" y="137"/>
                      <a:pt x="20" y="137"/>
                    </a:cubicBezTo>
                    <a:cubicBezTo>
                      <a:pt x="22" y="142"/>
                      <a:pt x="22" y="142"/>
                      <a:pt x="22" y="142"/>
                    </a:cubicBezTo>
                    <a:cubicBezTo>
                      <a:pt x="22" y="146"/>
                      <a:pt x="22" y="146"/>
                      <a:pt x="22" y="146"/>
                    </a:cubicBezTo>
                    <a:cubicBezTo>
                      <a:pt x="22" y="146"/>
                      <a:pt x="22" y="149"/>
                      <a:pt x="24" y="149"/>
                    </a:cubicBezTo>
                    <a:cubicBezTo>
                      <a:pt x="26" y="149"/>
                      <a:pt x="27" y="150"/>
                      <a:pt x="27" y="152"/>
                    </a:cubicBezTo>
                    <a:cubicBezTo>
                      <a:pt x="27" y="154"/>
                      <a:pt x="32" y="156"/>
                      <a:pt x="32" y="156"/>
                    </a:cubicBezTo>
                    <a:cubicBezTo>
                      <a:pt x="32" y="156"/>
                      <a:pt x="32" y="160"/>
                      <a:pt x="33" y="161"/>
                    </a:cubicBezTo>
                    <a:cubicBezTo>
                      <a:pt x="35" y="162"/>
                      <a:pt x="37" y="163"/>
                      <a:pt x="40" y="163"/>
                    </a:cubicBezTo>
                    <a:cubicBezTo>
                      <a:pt x="43" y="164"/>
                      <a:pt x="42" y="168"/>
                      <a:pt x="44" y="169"/>
                    </a:cubicBezTo>
                    <a:cubicBezTo>
                      <a:pt x="46" y="170"/>
                      <a:pt x="48" y="172"/>
                      <a:pt x="46" y="172"/>
                    </a:cubicBezTo>
                    <a:cubicBezTo>
                      <a:pt x="45" y="173"/>
                      <a:pt x="42" y="173"/>
                      <a:pt x="42" y="173"/>
                    </a:cubicBezTo>
                    <a:cubicBezTo>
                      <a:pt x="42" y="173"/>
                      <a:pt x="41" y="174"/>
                      <a:pt x="41" y="176"/>
                    </a:cubicBezTo>
                    <a:cubicBezTo>
                      <a:pt x="42" y="177"/>
                      <a:pt x="42" y="177"/>
                      <a:pt x="42" y="177"/>
                    </a:cubicBezTo>
                    <a:cubicBezTo>
                      <a:pt x="46" y="182"/>
                      <a:pt x="46" y="182"/>
                      <a:pt x="46" y="182"/>
                    </a:cubicBezTo>
                    <a:cubicBezTo>
                      <a:pt x="46" y="188"/>
                      <a:pt x="46" y="188"/>
                      <a:pt x="46" y="188"/>
                    </a:cubicBezTo>
                    <a:cubicBezTo>
                      <a:pt x="46" y="188"/>
                      <a:pt x="46" y="190"/>
                      <a:pt x="46" y="192"/>
                    </a:cubicBezTo>
                    <a:cubicBezTo>
                      <a:pt x="46" y="193"/>
                      <a:pt x="45" y="195"/>
                      <a:pt x="43" y="195"/>
                    </a:cubicBezTo>
                    <a:cubicBezTo>
                      <a:pt x="43" y="195"/>
                      <a:pt x="43" y="195"/>
                      <a:pt x="43" y="195"/>
                    </a:cubicBezTo>
                    <a:cubicBezTo>
                      <a:pt x="43" y="195"/>
                      <a:pt x="43" y="195"/>
                      <a:pt x="43" y="195"/>
                    </a:cubicBezTo>
                    <a:cubicBezTo>
                      <a:pt x="42" y="195"/>
                      <a:pt x="42" y="195"/>
                      <a:pt x="42" y="195"/>
                    </a:cubicBezTo>
                    <a:cubicBezTo>
                      <a:pt x="41" y="196"/>
                      <a:pt x="41" y="198"/>
                      <a:pt x="40" y="198"/>
                    </a:cubicBezTo>
                    <a:cubicBezTo>
                      <a:pt x="39" y="199"/>
                      <a:pt x="37" y="196"/>
                      <a:pt x="36" y="199"/>
                    </a:cubicBezTo>
                    <a:cubicBezTo>
                      <a:pt x="35" y="203"/>
                      <a:pt x="33" y="206"/>
                      <a:pt x="33" y="207"/>
                    </a:cubicBezTo>
                    <a:cubicBezTo>
                      <a:pt x="32" y="208"/>
                      <a:pt x="29" y="209"/>
                      <a:pt x="29" y="211"/>
                    </a:cubicBezTo>
                    <a:cubicBezTo>
                      <a:pt x="28" y="213"/>
                      <a:pt x="28" y="211"/>
                      <a:pt x="26" y="216"/>
                    </a:cubicBezTo>
                    <a:cubicBezTo>
                      <a:pt x="24" y="221"/>
                      <a:pt x="23" y="223"/>
                      <a:pt x="23" y="223"/>
                    </a:cubicBezTo>
                    <a:cubicBezTo>
                      <a:pt x="14" y="235"/>
                      <a:pt x="14" y="235"/>
                      <a:pt x="14" y="235"/>
                    </a:cubicBezTo>
                    <a:cubicBezTo>
                      <a:pt x="14" y="235"/>
                      <a:pt x="9" y="243"/>
                      <a:pt x="9" y="244"/>
                    </a:cubicBezTo>
                    <a:cubicBezTo>
                      <a:pt x="9" y="245"/>
                      <a:pt x="9" y="249"/>
                      <a:pt x="9" y="249"/>
                    </a:cubicBezTo>
                    <a:cubicBezTo>
                      <a:pt x="13" y="253"/>
                      <a:pt x="13" y="253"/>
                      <a:pt x="13" y="253"/>
                    </a:cubicBezTo>
                    <a:cubicBezTo>
                      <a:pt x="13" y="257"/>
                      <a:pt x="13" y="257"/>
                      <a:pt x="13" y="257"/>
                    </a:cubicBezTo>
                    <a:cubicBezTo>
                      <a:pt x="13" y="257"/>
                      <a:pt x="13" y="260"/>
                      <a:pt x="14" y="261"/>
                    </a:cubicBezTo>
                    <a:cubicBezTo>
                      <a:pt x="15" y="261"/>
                      <a:pt x="15" y="261"/>
                      <a:pt x="15" y="261"/>
                    </a:cubicBezTo>
                    <a:cubicBezTo>
                      <a:pt x="14" y="264"/>
                      <a:pt x="14" y="264"/>
                      <a:pt x="14" y="264"/>
                    </a:cubicBezTo>
                    <a:cubicBezTo>
                      <a:pt x="14" y="264"/>
                      <a:pt x="15" y="267"/>
                      <a:pt x="16" y="267"/>
                    </a:cubicBezTo>
                    <a:cubicBezTo>
                      <a:pt x="16" y="267"/>
                      <a:pt x="18" y="268"/>
                      <a:pt x="18" y="268"/>
                    </a:cubicBezTo>
                    <a:cubicBezTo>
                      <a:pt x="18" y="268"/>
                      <a:pt x="20" y="270"/>
                      <a:pt x="20" y="270"/>
                    </a:cubicBezTo>
                    <a:cubicBezTo>
                      <a:pt x="21" y="271"/>
                      <a:pt x="20" y="273"/>
                      <a:pt x="20" y="273"/>
                    </a:cubicBezTo>
                    <a:cubicBezTo>
                      <a:pt x="20" y="273"/>
                      <a:pt x="20" y="274"/>
                      <a:pt x="19" y="274"/>
                    </a:cubicBezTo>
                    <a:cubicBezTo>
                      <a:pt x="18" y="274"/>
                      <a:pt x="18" y="274"/>
                      <a:pt x="16" y="274"/>
                    </a:cubicBezTo>
                    <a:cubicBezTo>
                      <a:pt x="16" y="273"/>
                      <a:pt x="16" y="273"/>
                      <a:pt x="15" y="273"/>
                    </a:cubicBezTo>
                    <a:cubicBezTo>
                      <a:pt x="13" y="273"/>
                      <a:pt x="13" y="273"/>
                      <a:pt x="13" y="273"/>
                    </a:cubicBezTo>
                    <a:cubicBezTo>
                      <a:pt x="12" y="273"/>
                      <a:pt x="12" y="273"/>
                      <a:pt x="11" y="273"/>
                    </a:cubicBezTo>
                    <a:cubicBezTo>
                      <a:pt x="10" y="273"/>
                      <a:pt x="10" y="273"/>
                      <a:pt x="10" y="273"/>
                    </a:cubicBezTo>
                    <a:cubicBezTo>
                      <a:pt x="9" y="273"/>
                      <a:pt x="9" y="273"/>
                      <a:pt x="8" y="274"/>
                    </a:cubicBezTo>
                    <a:cubicBezTo>
                      <a:pt x="8" y="275"/>
                      <a:pt x="8" y="275"/>
                      <a:pt x="8" y="275"/>
                    </a:cubicBezTo>
                    <a:cubicBezTo>
                      <a:pt x="8" y="275"/>
                      <a:pt x="7" y="276"/>
                      <a:pt x="7" y="277"/>
                    </a:cubicBezTo>
                    <a:cubicBezTo>
                      <a:pt x="6" y="277"/>
                      <a:pt x="6" y="279"/>
                      <a:pt x="6" y="279"/>
                    </a:cubicBezTo>
                    <a:cubicBezTo>
                      <a:pt x="6" y="279"/>
                      <a:pt x="6" y="280"/>
                      <a:pt x="6" y="280"/>
                    </a:cubicBezTo>
                    <a:cubicBezTo>
                      <a:pt x="6" y="280"/>
                      <a:pt x="6" y="282"/>
                      <a:pt x="6" y="282"/>
                    </a:cubicBezTo>
                    <a:cubicBezTo>
                      <a:pt x="5" y="284"/>
                      <a:pt x="5" y="284"/>
                      <a:pt x="5" y="284"/>
                    </a:cubicBezTo>
                    <a:cubicBezTo>
                      <a:pt x="5" y="284"/>
                      <a:pt x="4" y="285"/>
                      <a:pt x="5" y="286"/>
                    </a:cubicBezTo>
                    <a:cubicBezTo>
                      <a:pt x="5" y="286"/>
                      <a:pt x="5" y="287"/>
                      <a:pt x="5" y="287"/>
                    </a:cubicBezTo>
                    <a:cubicBezTo>
                      <a:pt x="6" y="288"/>
                      <a:pt x="6" y="288"/>
                      <a:pt x="6" y="288"/>
                    </a:cubicBezTo>
                    <a:cubicBezTo>
                      <a:pt x="4" y="290"/>
                      <a:pt x="4" y="290"/>
                      <a:pt x="4" y="290"/>
                    </a:cubicBezTo>
                    <a:cubicBezTo>
                      <a:pt x="4" y="292"/>
                      <a:pt x="4" y="292"/>
                      <a:pt x="4" y="292"/>
                    </a:cubicBezTo>
                    <a:cubicBezTo>
                      <a:pt x="4" y="292"/>
                      <a:pt x="5" y="293"/>
                      <a:pt x="4" y="294"/>
                    </a:cubicBezTo>
                    <a:cubicBezTo>
                      <a:pt x="4" y="294"/>
                      <a:pt x="3" y="295"/>
                      <a:pt x="3" y="295"/>
                    </a:cubicBezTo>
                    <a:cubicBezTo>
                      <a:pt x="3" y="295"/>
                      <a:pt x="1" y="297"/>
                      <a:pt x="1" y="297"/>
                    </a:cubicBezTo>
                    <a:cubicBezTo>
                      <a:pt x="1" y="297"/>
                      <a:pt x="1" y="298"/>
                      <a:pt x="1" y="298"/>
                    </a:cubicBezTo>
                    <a:cubicBezTo>
                      <a:pt x="1" y="298"/>
                      <a:pt x="0" y="300"/>
                      <a:pt x="0" y="300"/>
                    </a:cubicBezTo>
                    <a:cubicBezTo>
                      <a:pt x="0" y="300"/>
                      <a:pt x="0" y="303"/>
                      <a:pt x="0" y="303"/>
                    </a:cubicBezTo>
                    <a:cubicBezTo>
                      <a:pt x="0" y="303"/>
                      <a:pt x="1" y="304"/>
                      <a:pt x="1" y="304"/>
                    </a:cubicBezTo>
                    <a:cubicBezTo>
                      <a:pt x="1" y="304"/>
                      <a:pt x="1" y="305"/>
                      <a:pt x="1" y="306"/>
                    </a:cubicBezTo>
                    <a:cubicBezTo>
                      <a:pt x="0" y="306"/>
                      <a:pt x="1" y="307"/>
                      <a:pt x="1" y="308"/>
                    </a:cubicBezTo>
                    <a:cubicBezTo>
                      <a:pt x="1" y="308"/>
                      <a:pt x="1" y="309"/>
                      <a:pt x="1" y="309"/>
                    </a:cubicBezTo>
                    <a:cubicBezTo>
                      <a:pt x="0" y="311"/>
                      <a:pt x="0" y="311"/>
                      <a:pt x="0" y="311"/>
                    </a:cubicBezTo>
                    <a:cubicBezTo>
                      <a:pt x="0" y="311"/>
                      <a:pt x="0" y="311"/>
                      <a:pt x="0" y="311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0" y="314"/>
                      <a:pt x="0" y="314"/>
                      <a:pt x="0" y="314"/>
                    </a:cubicBezTo>
                    <a:cubicBezTo>
                      <a:pt x="2" y="314"/>
                      <a:pt x="2" y="314"/>
                      <a:pt x="2" y="314"/>
                    </a:cubicBezTo>
                    <a:cubicBezTo>
                      <a:pt x="3" y="313"/>
                      <a:pt x="3" y="313"/>
                      <a:pt x="3" y="313"/>
                    </a:cubicBezTo>
                    <a:cubicBezTo>
                      <a:pt x="8" y="311"/>
                      <a:pt x="8" y="311"/>
                      <a:pt x="8" y="311"/>
                    </a:cubicBezTo>
                    <a:cubicBezTo>
                      <a:pt x="11" y="314"/>
                      <a:pt x="11" y="314"/>
                      <a:pt x="11" y="314"/>
                    </a:cubicBezTo>
                    <a:cubicBezTo>
                      <a:pt x="14" y="317"/>
                      <a:pt x="14" y="317"/>
                      <a:pt x="14" y="317"/>
                    </a:cubicBezTo>
                    <a:cubicBezTo>
                      <a:pt x="19" y="317"/>
                      <a:pt x="19" y="317"/>
                      <a:pt x="19" y="317"/>
                    </a:cubicBezTo>
                    <a:cubicBezTo>
                      <a:pt x="22" y="321"/>
                      <a:pt x="22" y="321"/>
                      <a:pt x="22" y="321"/>
                    </a:cubicBezTo>
                    <a:cubicBezTo>
                      <a:pt x="25" y="324"/>
                      <a:pt x="25" y="324"/>
                      <a:pt x="25" y="324"/>
                    </a:cubicBezTo>
                    <a:cubicBezTo>
                      <a:pt x="30" y="323"/>
                      <a:pt x="30" y="323"/>
                      <a:pt x="30" y="323"/>
                    </a:cubicBezTo>
                    <a:cubicBezTo>
                      <a:pt x="35" y="326"/>
                      <a:pt x="35" y="326"/>
                      <a:pt x="35" y="326"/>
                    </a:cubicBezTo>
                    <a:cubicBezTo>
                      <a:pt x="34" y="329"/>
                      <a:pt x="34" y="329"/>
                      <a:pt x="34" y="329"/>
                    </a:cubicBezTo>
                    <a:cubicBezTo>
                      <a:pt x="34" y="329"/>
                      <a:pt x="38" y="324"/>
                      <a:pt x="39" y="323"/>
                    </a:cubicBezTo>
                    <a:cubicBezTo>
                      <a:pt x="40" y="322"/>
                      <a:pt x="44" y="321"/>
                      <a:pt x="44" y="321"/>
                    </a:cubicBezTo>
                    <a:cubicBezTo>
                      <a:pt x="44" y="321"/>
                      <a:pt x="46" y="323"/>
                      <a:pt x="48" y="324"/>
                    </a:cubicBezTo>
                    <a:cubicBezTo>
                      <a:pt x="51" y="324"/>
                      <a:pt x="51" y="324"/>
                      <a:pt x="51" y="324"/>
                    </a:cubicBezTo>
                    <a:cubicBezTo>
                      <a:pt x="53" y="324"/>
                      <a:pt x="61" y="323"/>
                      <a:pt x="61" y="323"/>
                    </a:cubicBezTo>
                    <a:cubicBezTo>
                      <a:pt x="72" y="324"/>
                      <a:pt x="72" y="324"/>
                      <a:pt x="72" y="324"/>
                    </a:cubicBezTo>
                    <a:cubicBezTo>
                      <a:pt x="78" y="321"/>
                      <a:pt x="78" y="321"/>
                      <a:pt x="78" y="321"/>
                    </a:cubicBezTo>
                    <a:cubicBezTo>
                      <a:pt x="90" y="322"/>
                      <a:pt x="90" y="322"/>
                      <a:pt x="90" y="322"/>
                    </a:cubicBezTo>
                    <a:cubicBezTo>
                      <a:pt x="92" y="321"/>
                      <a:pt x="92" y="321"/>
                      <a:pt x="92" y="321"/>
                    </a:cubicBezTo>
                    <a:cubicBezTo>
                      <a:pt x="93" y="322"/>
                      <a:pt x="93" y="322"/>
                      <a:pt x="93" y="322"/>
                    </a:cubicBezTo>
                    <a:cubicBezTo>
                      <a:pt x="97" y="321"/>
                      <a:pt x="97" y="321"/>
                      <a:pt x="97" y="321"/>
                    </a:cubicBezTo>
                    <a:cubicBezTo>
                      <a:pt x="101" y="325"/>
                      <a:pt x="101" y="325"/>
                      <a:pt x="101" y="325"/>
                    </a:cubicBezTo>
                    <a:cubicBezTo>
                      <a:pt x="109" y="324"/>
                      <a:pt x="109" y="324"/>
                      <a:pt x="109" y="324"/>
                    </a:cubicBezTo>
                    <a:cubicBezTo>
                      <a:pt x="114" y="317"/>
                      <a:pt x="114" y="317"/>
                      <a:pt x="114" y="317"/>
                    </a:cubicBezTo>
                    <a:cubicBezTo>
                      <a:pt x="114" y="317"/>
                      <a:pt x="117" y="314"/>
                      <a:pt x="121" y="313"/>
                    </a:cubicBezTo>
                    <a:cubicBezTo>
                      <a:pt x="125" y="313"/>
                      <a:pt x="132" y="310"/>
                      <a:pt x="132" y="310"/>
                    </a:cubicBezTo>
                    <a:lnTo>
                      <a:pt x="141" y="305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72" name="Freeform 92">
                <a:extLst>
                  <a:ext uri="{FF2B5EF4-FFF2-40B4-BE49-F238E27FC236}">
                    <a16:creationId xmlns:a16="http://schemas.microsoft.com/office/drawing/2014/main" id="{146AD262-07C6-D22B-950B-773143E894E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2434" y="526941"/>
                <a:ext cx="632070" cy="1664788"/>
              </a:xfrm>
              <a:custGeom>
                <a:avLst/>
                <a:gdLst>
                  <a:gd name="T0" fmla="*/ 246 w 282"/>
                  <a:gd name="T1" fmla="*/ 59 h 766"/>
                  <a:gd name="T2" fmla="*/ 210 w 282"/>
                  <a:gd name="T3" fmla="*/ 30 h 766"/>
                  <a:gd name="T4" fmla="*/ 183 w 282"/>
                  <a:gd name="T5" fmla="*/ 8 h 766"/>
                  <a:gd name="T6" fmla="*/ 167 w 282"/>
                  <a:gd name="T7" fmla="*/ 32 h 766"/>
                  <a:gd name="T8" fmla="*/ 123 w 282"/>
                  <a:gd name="T9" fmla="*/ 69 h 766"/>
                  <a:gd name="T10" fmla="*/ 100 w 282"/>
                  <a:gd name="T11" fmla="*/ 111 h 766"/>
                  <a:gd name="T12" fmla="*/ 65 w 282"/>
                  <a:gd name="T13" fmla="*/ 180 h 766"/>
                  <a:gd name="T14" fmla="*/ 52 w 282"/>
                  <a:gd name="T15" fmla="*/ 265 h 766"/>
                  <a:gd name="T16" fmla="*/ 15 w 282"/>
                  <a:gd name="T17" fmla="*/ 333 h 766"/>
                  <a:gd name="T18" fmla="*/ 25 w 282"/>
                  <a:gd name="T19" fmla="*/ 418 h 766"/>
                  <a:gd name="T20" fmla="*/ 27 w 282"/>
                  <a:gd name="T21" fmla="*/ 466 h 766"/>
                  <a:gd name="T22" fmla="*/ 29 w 282"/>
                  <a:gd name="T23" fmla="*/ 515 h 766"/>
                  <a:gd name="T24" fmla="*/ 13 w 282"/>
                  <a:gd name="T25" fmla="*/ 535 h 766"/>
                  <a:gd name="T26" fmla="*/ 8 w 282"/>
                  <a:gd name="T27" fmla="*/ 567 h 766"/>
                  <a:gd name="T28" fmla="*/ 10 w 282"/>
                  <a:gd name="T29" fmla="*/ 603 h 766"/>
                  <a:gd name="T30" fmla="*/ 12 w 282"/>
                  <a:gd name="T31" fmla="*/ 616 h 766"/>
                  <a:gd name="T32" fmla="*/ 19 w 282"/>
                  <a:gd name="T33" fmla="*/ 636 h 766"/>
                  <a:gd name="T34" fmla="*/ 25 w 282"/>
                  <a:gd name="T35" fmla="*/ 655 h 766"/>
                  <a:gd name="T36" fmla="*/ 46 w 282"/>
                  <a:gd name="T37" fmla="*/ 685 h 766"/>
                  <a:gd name="T38" fmla="*/ 50 w 282"/>
                  <a:gd name="T39" fmla="*/ 705 h 766"/>
                  <a:gd name="T40" fmla="*/ 60 w 282"/>
                  <a:gd name="T41" fmla="*/ 739 h 766"/>
                  <a:gd name="T42" fmla="*/ 64 w 282"/>
                  <a:gd name="T43" fmla="*/ 764 h 766"/>
                  <a:gd name="T44" fmla="*/ 93 w 282"/>
                  <a:gd name="T45" fmla="*/ 758 h 766"/>
                  <a:gd name="T46" fmla="*/ 107 w 282"/>
                  <a:gd name="T47" fmla="*/ 752 h 766"/>
                  <a:gd name="T48" fmla="*/ 114 w 282"/>
                  <a:gd name="T49" fmla="*/ 729 h 766"/>
                  <a:gd name="T50" fmla="*/ 122 w 282"/>
                  <a:gd name="T51" fmla="*/ 717 h 766"/>
                  <a:gd name="T52" fmla="*/ 158 w 282"/>
                  <a:gd name="T53" fmla="*/ 688 h 766"/>
                  <a:gd name="T54" fmla="*/ 165 w 282"/>
                  <a:gd name="T55" fmla="*/ 629 h 766"/>
                  <a:gd name="T56" fmla="*/ 163 w 282"/>
                  <a:gd name="T57" fmla="*/ 590 h 766"/>
                  <a:gd name="T58" fmla="*/ 182 w 282"/>
                  <a:gd name="T59" fmla="*/ 559 h 766"/>
                  <a:gd name="T60" fmla="*/ 191 w 282"/>
                  <a:gd name="T61" fmla="*/ 558 h 766"/>
                  <a:gd name="T62" fmla="*/ 205 w 282"/>
                  <a:gd name="T63" fmla="*/ 541 h 766"/>
                  <a:gd name="T64" fmla="*/ 207 w 282"/>
                  <a:gd name="T65" fmla="*/ 514 h 766"/>
                  <a:gd name="T66" fmla="*/ 199 w 282"/>
                  <a:gd name="T67" fmla="*/ 493 h 766"/>
                  <a:gd name="T68" fmla="*/ 180 w 282"/>
                  <a:gd name="T69" fmla="*/ 467 h 766"/>
                  <a:gd name="T70" fmla="*/ 161 w 282"/>
                  <a:gd name="T71" fmla="*/ 459 h 766"/>
                  <a:gd name="T72" fmla="*/ 151 w 282"/>
                  <a:gd name="T73" fmla="*/ 424 h 766"/>
                  <a:gd name="T74" fmla="*/ 157 w 282"/>
                  <a:gd name="T75" fmla="*/ 407 h 766"/>
                  <a:gd name="T76" fmla="*/ 154 w 282"/>
                  <a:gd name="T77" fmla="*/ 369 h 766"/>
                  <a:gd name="T78" fmla="*/ 168 w 282"/>
                  <a:gd name="T79" fmla="*/ 350 h 766"/>
                  <a:gd name="T80" fmla="*/ 182 w 282"/>
                  <a:gd name="T81" fmla="*/ 325 h 766"/>
                  <a:gd name="T82" fmla="*/ 196 w 282"/>
                  <a:gd name="T83" fmla="*/ 307 h 766"/>
                  <a:gd name="T84" fmla="*/ 210 w 282"/>
                  <a:gd name="T85" fmla="*/ 295 h 766"/>
                  <a:gd name="T86" fmla="*/ 225 w 282"/>
                  <a:gd name="T87" fmla="*/ 266 h 766"/>
                  <a:gd name="T88" fmla="*/ 229 w 282"/>
                  <a:gd name="T89" fmla="*/ 238 h 766"/>
                  <a:gd name="T90" fmla="*/ 225 w 282"/>
                  <a:gd name="T91" fmla="*/ 219 h 766"/>
                  <a:gd name="T92" fmla="*/ 229 w 282"/>
                  <a:gd name="T93" fmla="*/ 198 h 766"/>
                  <a:gd name="T94" fmla="*/ 242 w 282"/>
                  <a:gd name="T95" fmla="*/ 187 h 766"/>
                  <a:gd name="T96" fmla="*/ 258 w 282"/>
                  <a:gd name="T97" fmla="*/ 170 h 766"/>
                  <a:gd name="T98" fmla="*/ 269 w 282"/>
                  <a:gd name="T99" fmla="*/ 173 h 766"/>
                  <a:gd name="T100" fmla="*/ 275 w 282"/>
                  <a:gd name="T101" fmla="*/ 169 h 766"/>
                  <a:gd name="T102" fmla="*/ 279 w 282"/>
                  <a:gd name="T103" fmla="*/ 165 h 766"/>
                  <a:gd name="T104" fmla="*/ 266 w 282"/>
                  <a:gd name="T105" fmla="*/ 119 h 766"/>
                  <a:gd name="T106" fmla="*/ 164 w 282"/>
                  <a:gd name="T107" fmla="*/ 699 h 766"/>
                  <a:gd name="T108" fmla="*/ 174 w 282"/>
                  <a:gd name="T109" fmla="*/ 650 h 766"/>
                  <a:gd name="T110" fmla="*/ 175 w 282"/>
                  <a:gd name="T111" fmla="*/ 673 h 766"/>
                  <a:gd name="T112" fmla="*/ 165 w 282"/>
                  <a:gd name="T113" fmla="*/ 710 h 766"/>
                  <a:gd name="T114" fmla="*/ 210 w 282"/>
                  <a:gd name="T115" fmla="*/ 625 h 766"/>
                  <a:gd name="T116" fmla="*/ 229 w 282"/>
                  <a:gd name="T117" fmla="*/ 607 h 766"/>
                  <a:gd name="T118" fmla="*/ 224 w 282"/>
                  <a:gd name="T119" fmla="*/ 631 h 766"/>
                  <a:gd name="T120" fmla="*/ 216 w 282"/>
                  <a:gd name="T121" fmla="*/ 660 h 7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82" h="766">
                    <a:moveTo>
                      <a:pt x="255" y="88"/>
                    </a:moveTo>
                    <a:cubicBezTo>
                      <a:pt x="255" y="87"/>
                      <a:pt x="255" y="87"/>
                      <a:pt x="255" y="87"/>
                    </a:cubicBezTo>
                    <a:cubicBezTo>
                      <a:pt x="255" y="87"/>
                      <a:pt x="253" y="83"/>
                      <a:pt x="254" y="81"/>
                    </a:cubicBezTo>
                    <a:cubicBezTo>
                      <a:pt x="254" y="81"/>
                      <a:pt x="254" y="81"/>
                      <a:pt x="254" y="80"/>
                    </a:cubicBezTo>
                    <a:cubicBezTo>
                      <a:pt x="254" y="79"/>
                      <a:pt x="254" y="79"/>
                      <a:pt x="254" y="79"/>
                    </a:cubicBezTo>
                    <a:cubicBezTo>
                      <a:pt x="250" y="80"/>
                      <a:pt x="250" y="80"/>
                      <a:pt x="250" y="80"/>
                    </a:cubicBezTo>
                    <a:cubicBezTo>
                      <a:pt x="247" y="76"/>
                      <a:pt x="247" y="76"/>
                      <a:pt x="247" y="76"/>
                    </a:cubicBezTo>
                    <a:cubicBezTo>
                      <a:pt x="248" y="71"/>
                      <a:pt x="248" y="71"/>
                      <a:pt x="248" y="71"/>
                    </a:cubicBezTo>
                    <a:cubicBezTo>
                      <a:pt x="246" y="59"/>
                      <a:pt x="246" y="59"/>
                      <a:pt x="246" y="59"/>
                    </a:cubicBezTo>
                    <a:cubicBezTo>
                      <a:pt x="248" y="53"/>
                      <a:pt x="248" y="53"/>
                      <a:pt x="248" y="53"/>
                    </a:cubicBezTo>
                    <a:cubicBezTo>
                      <a:pt x="242" y="50"/>
                      <a:pt x="242" y="50"/>
                      <a:pt x="242" y="50"/>
                    </a:cubicBezTo>
                    <a:cubicBezTo>
                      <a:pt x="238" y="44"/>
                      <a:pt x="238" y="44"/>
                      <a:pt x="238" y="44"/>
                    </a:cubicBezTo>
                    <a:cubicBezTo>
                      <a:pt x="238" y="44"/>
                      <a:pt x="237" y="46"/>
                      <a:pt x="236" y="45"/>
                    </a:cubicBezTo>
                    <a:cubicBezTo>
                      <a:pt x="235" y="44"/>
                      <a:pt x="230" y="36"/>
                      <a:pt x="230" y="36"/>
                    </a:cubicBezTo>
                    <a:cubicBezTo>
                      <a:pt x="221" y="33"/>
                      <a:pt x="221" y="33"/>
                      <a:pt x="221" y="33"/>
                    </a:cubicBezTo>
                    <a:cubicBezTo>
                      <a:pt x="217" y="31"/>
                      <a:pt x="217" y="31"/>
                      <a:pt x="217" y="31"/>
                    </a:cubicBezTo>
                    <a:cubicBezTo>
                      <a:pt x="212" y="30"/>
                      <a:pt x="212" y="30"/>
                      <a:pt x="212" y="30"/>
                    </a:cubicBezTo>
                    <a:cubicBezTo>
                      <a:pt x="212" y="30"/>
                      <a:pt x="211" y="32"/>
                      <a:pt x="210" y="30"/>
                    </a:cubicBezTo>
                    <a:cubicBezTo>
                      <a:pt x="209" y="28"/>
                      <a:pt x="207" y="26"/>
                      <a:pt x="207" y="26"/>
                    </a:cubicBezTo>
                    <a:cubicBezTo>
                      <a:pt x="203" y="27"/>
                      <a:pt x="203" y="27"/>
                      <a:pt x="203" y="27"/>
                    </a:cubicBezTo>
                    <a:cubicBezTo>
                      <a:pt x="200" y="23"/>
                      <a:pt x="200" y="23"/>
                      <a:pt x="200" y="23"/>
                    </a:cubicBezTo>
                    <a:cubicBezTo>
                      <a:pt x="200" y="23"/>
                      <a:pt x="199" y="23"/>
                      <a:pt x="198" y="23"/>
                    </a:cubicBezTo>
                    <a:cubicBezTo>
                      <a:pt x="197" y="22"/>
                      <a:pt x="195" y="21"/>
                      <a:pt x="195" y="21"/>
                    </a:cubicBezTo>
                    <a:cubicBezTo>
                      <a:pt x="192" y="16"/>
                      <a:pt x="192" y="16"/>
                      <a:pt x="192" y="16"/>
                    </a:cubicBezTo>
                    <a:cubicBezTo>
                      <a:pt x="188" y="14"/>
                      <a:pt x="188" y="14"/>
                      <a:pt x="188" y="14"/>
                    </a:cubicBezTo>
                    <a:cubicBezTo>
                      <a:pt x="183" y="12"/>
                      <a:pt x="183" y="12"/>
                      <a:pt x="183" y="12"/>
                    </a:cubicBezTo>
                    <a:cubicBezTo>
                      <a:pt x="183" y="8"/>
                      <a:pt x="183" y="8"/>
                      <a:pt x="183" y="8"/>
                    </a:cubicBezTo>
                    <a:cubicBezTo>
                      <a:pt x="176" y="4"/>
                      <a:pt x="176" y="4"/>
                      <a:pt x="176" y="4"/>
                    </a:cubicBezTo>
                    <a:cubicBezTo>
                      <a:pt x="176" y="4"/>
                      <a:pt x="175" y="2"/>
                      <a:pt x="176" y="2"/>
                    </a:cubicBezTo>
                    <a:cubicBezTo>
                      <a:pt x="177" y="1"/>
                      <a:pt x="180" y="1"/>
                      <a:pt x="182" y="1"/>
                    </a:cubicBezTo>
                    <a:cubicBezTo>
                      <a:pt x="177" y="0"/>
                      <a:pt x="177" y="0"/>
                      <a:pt x="177" y="0"/>
                    </a:cubicBezTo>
                    <a:cubicBezTo>
                      <a:pt x="171" y="5"/>
                      <a:pt x="171" y="5"/>
                      <a:pt x="171" y="5"/>
                    </a:cubicBezTo>
                    <a:cubicBezTo>
                      <a:pt x="168" y="5"/>
                      <a:pt x="168" y="5"/>
                      <a:pt x="168" y="5"/>
                    </a:cubicBezTo>
                    <a:cubicBezTo>
                      <a:pt x="168" y="5"/>
                      <a:pt x="166" y="6"/>
                      <a:pt x="166" y="7"/>
                    </a:cubicBezTo>
                    <a:cubicBezTo>
                      <a:pt x="167" y="8"/>
                      <a:pt x="169" y="17"/>
                      <a:pt x="170" y="19"/>
                    </a:cubicBezTo>
                    <a:cubicBezTo>
                      <a:pt x="171" y="20"/>
                      <a:pt x="171" y="27"/>
                      <a:pt x="167" y="32"/>
                    </a:cubicBezTo>
                    <a:cubicBezTo>
                      <a:pt x="171" y="36"/>
                      <a:pt x="171" y="36"/>
                      <a:pt x="171" y="36"/>
                    </a:cubicBezTo>
                    <a:cubicBezTo>
                      <a:pt x="167" y="41"/>
                      <a:pt x="167" y="41"/>
                      <a:pt x="167" y="41"/>
                    </a:cubicBezTo>
                    <a:cubicBezTo>
                      <a:pt x="161" y="42"/>
                      <a:pt x="161" y="42"/>
                      <a:pt x="161" y="42"/>
                    </a:cubicBezTo>
                    <a:cubicBezTo>
                      <a:pt x="161" y="42"/>
                      <a:pt x="155" y="41"/>
                      <a:pt x="154" y="40"/>
                    </a:cubicBezTo>
                    <a:cubicBezTo>
                      <a:pt x="153" y="39"/>
                      <a:pt x="148" y="37"/>
                      <a:pt x="147" y="37"/>
                    </a:cubicBezTo>
                    <a:cubicBezTo>
                      <a:pt x="145" y="38"/>
                      <a:pt x="131" y="37"/>
                      <a:pt x="131" y="37"/>
                    </a:cubicBezTo>
                    <a:cubicBezTo>
                      <a:pt x="128" y="41"/>
                      <a:pt x="129" y="62"/>
                      <a:pt x="130" y="65"/>
                    </a:cubicBezTo>
                    <a:cubicBezTo>
                      <a:pt x="128" y="69"/>
                      <a:pt x="128" y="69"/>
                      <a:pt x="128" y="69"/>
                    </a:cubicBezTo>
                    <a:cubicBezTo>
                      <a:pt x="123" y="69"/>
                      <a:pt x="123" y="69"/>
                      <a:pt x="123" y="69"/>
                    </a:cubicBezTo>
                    <a:cubicBezTo>
                      <a:pt x="113" y="64"/>
                      <a:pt x="113" y="64"/>
                      <a:pt x="113" y="64"/>
                    </a:cubicBezTo>
                    <a:cubicBezTo>
                      <a:pt x="109" y="72"/>
                      <a:pt x="109" y="72"/>
                      <a:pt x="109" y="72"/>
                    </a:cubicBezTo>
                    <a:cubicBezTo>
                      <a:pt x="109" y="72"/>
                      <a:pt x="105" y="76"/>
                      <a:pt x="105" y="78"/>
                    </a:cubicBezTo>
                    <a:cubicBezTo>
                      <a:pt x="105" y="79"/>
                      <a:pt x="103" y="83"/>
                      <a:pt x="103" y="83"/>
                    </a:cubicBezTo>
                    <a:cubicBezTo>
                      <a:pt x="103" y="84"/>
                      <a:pt x="103" y="91"/>
                      <a:pt x="103" y="91"/>
                    </a:cubicBezTo>
                    <a:cubicBezTo>
                      <a:pt x="101" y="95"/>
                      <a:pt x="101" y="95"/>
                      <a:pt x="101" y="95"/>
                    </a:cubicBezTo>
                    <a:cubicBezTo>
                      <a:pt x="95" y="99"/>
                      <a:pt x="95" y="99"/>
                      <a:pt x="95" y="99"/>
                    </a:cubicBezTo>
                    <a:cubicBezTo>
                      <a:pt x="95" y="104"/>
                      <a:pt x="95" y="104"/>
                      <a:pt x="95" y="104"/>
                    </a:cubicBezTo>
                    <a:cubicBezTo>
                      <a:pt x="95" y="104"/>
                      <a:pt x="98" y="110"/>
                      <a:pt x="100" y="111"/>
                    </a:cubicBezTo>
                    <a:cubicBezTo>
                      <a:pt x="101" y="113"/>
                      <a:pt x="103" y="121"/>
                      <a:pt x="103" y="121"/>
                    </a:cubicBezTo>
                    <a:cubicBezTo>
                      <a:pt x="103" y="121"/>
                      <a:pt x="100" y="128"/>
                      <a:pt x="99" y="130"/>
                    </a:cubicBezTo>
                    <a:cubicBezTo>
                      <a:pt x="98" y="132"/>
                      <a:pt x="90" y="142"/>
                      <a:pt x="90" y="142"/>
                    </a:cubicBezTo>
                    <a:cubicBezTo>
                      <a:pt x="85" y="155"/>
                      <a:pt x="85" y="155"/>
                      <a:pt x="85" y="155"/>
                    </a:cubicBezTo>
                    <a:cubicBezTo>
                      <a:pt x="85" y="164"/>
                      <a:pt x="85" y="164"/>
                      <a:pt x="85" y="164"/>
                    </a:cubicBezTo>
                    <a:cubicBezTo>
                      <a:pt x="84" y="169"/>
                      <a:pt x="84" y="169"/>
                      <a:pt x="84" y="169"/>
                    </a:cubicBezTo>
                    <a:cubicBezTo>
                      <a:pt x="77" y="176"/>
                      <a:pt x="77" y="176"/>
                      <a:pt x="77" y="176"/>
                    </a:cubicBezTo>
                    <a:cubicBezTo>
                      <a:pt x="68" y="177"/>
                      <a:pt x="68" y="177"/>
                      <a:pt x="68" y="177"/>
                    </a:cubicBezTo>
                    <a:cubicBezTo>
                      <a:pt x="65" y="180"/>
                      <a:pt x="65" y="180"/>
                      <a:pt x="65" y="180"/>
                    </a:cubicBezTo>
                    <a:cubicBezTo>
                      <a:pt x="70" y="197"/>
                      <a:pt x="70" y="197"/>
                      <a:pt x="70" y="197"/>
                    </a:cubicBezTo>
                    <a:cubicBezTo>
                      <a:pt x="68" y="205"/>
                      <a:pt x="68" y="205"/>
                      <a:pt x="68" y="205"/>
                    </a:cubicBezTo>
                    <a:cubicBezTo>
                      <a:pt x="67" y="212"/>
                      <a:pt x="67" y="212"/>
                      <a:pt x="67" y="212"/>
                    </a:cubicBezTo>
                    <a:cubicBezTo>
                      <a:pt x="67" y="212"/>
                      <a:pt x="65" y="218"/>
                      <a:pt x="66" y="219"/>
                    </a:cubicBezTo>
                    <a:cubicBezTo>
                      <a:pt x="67" y="221"/>
                      <a:pt x="68" y="225"/>
                      <a:pt x="68" y="225"/>
                    </a:cubicBezTo>
                    <a:cubicBezTo>
                      <a:pt x="64" y="228"/>
                      <a:pt x="64" y="228"/>
                      <a:pt x="64" y="228"/>
                    </a:cubicBezTo>
                    <a:cubicBezTo>
                      <a:pt x="65" y="234"/>
                      <a:pt x="65" y="234"/>
                      <a:pt x="65" y="234"/>
                    </a:cubicBezTo>
                    <a:cubicBezTo>
                      <a:pt x="50" y="260"/>
                      <a:pt x="50" y="260"/>
                      <a:pt x="50" y="260"/>
                    </a:cubicBezTo>
                    <a:cubicBezTo>
                      <a:pt x="52" y="265"/>
                      <a:pt x="52" y="265"/>
                      <a:pt x="52" y="265"/>
                    </a:cubicBezTo>
                    <a:cubicBezTo>
                      <a:pt x="61" y="267"/>
                      <a:pt x="61" y="267"/>
                      <a:pt x="61" y="267"/>
                    </a:cubicBezTo>
                    <a:cubicBezTo>
                      <a:pt x="62" y="283"/>
                      <a:pt x="62" y="283"/>
                      <a:pt x="62" y="283"/>
                    </a:cubicBezTo>
                    <a:cubicBezTo>
                      <a:pt x="59" y="290"/>
                      <a:pt x="59" y="290"/>
                      <a:pt x="59" y="290"/>
                    </a:cubicBezTo>
                    <a:cubicBezTo>
                      <a:pt x="58" y="292"/>
                      <a:pt x="58" y="292"/>
                      <a:pt x="58" y="292"/>
                    </a:cubicBezTo>
                    <a:cubicBezTo>
                      <a:pt x="34" y="293"/>
                      <a:pt x="34" y="293"/>
                      <a:pt x="34" y="293"/>
                    </a:cubicBezTo>
                    <a:cubicBezTo>
                      <a:pt x="21" y="310"/>
                      <a:pt x="21" y="310"/>
                      <a:pt x="21" y="310"/>
                    </a:cubicBezTo>
                    <a:cubicBezTo>
                      <a:pt x="19" y="320"/>
                      <a:pt x="19" y="320"/>
                      <a:pt x="19" y="320"/>
                    </a:cubicBezTo>
                    <a:cubicBezTo>
                      <a:pt x="18" y="327"/>
                      <a:pt x="18" y="327"/>
                      <a:pt x="18" y="327"/>
                    </a:cubicBezTo>
                    <a:cubicBezTo>
                      <a:pt x="18" y="327"/>
                      <a:pt x="15" y="331"/>
                      <a:pt x="15" y="333"/>
                    </a:cubicBezTo>
                    <a:cubicBezTo>
                      <a:pt x="15" y="334"/>
                      <a:pt x="15" y="340"/>
                      <a:pt x="15" y="340"/>
                    </a:cubicBezTo>
                    <a:cubicBezTo>
                      <a:pt x="19" y="348"/>
                      <a:pt x="19" y="348"/>
                      <a:pt x="19" y="348"/>
                    </a:cubicBezTo>
                    <a:cubicBezTo>
                      <a:pt x="19" y="354"/>
                      <a:pt x="19" y="354"/>
                      <a:pt x="19" y="354"/>
                    </a:cubicBezTo>
                    <a:cubicBezTo>
                      <a:pt x="17" y="357"/>
                      <a:pt x="17" y="357"/>
                      <a:pt x="17" y="357"/>
                    </a:cubicBezTo>
                    <a:cubicBezTo>
                      <a:pt x="18" y="364"/>
                      <a:pt x="18" y="364"/>
                      <a:pt x="18" y="364"/>
                    </a:cubicBezTo>
                    <a:cubicBezTo>
                      <a:pt x="18" y="364"/>
                      <a:pt x="19" y="366"/>
                      <a:pt x="18" y="367"/>
                    </a:cubicBezTo>
                    <a:cubicBezTo>
                      <a:pt x="16" y="369"/>
                      <a:pt x="16" y="371"/>
                      <a:pt x="17" y="373"/>
                    </a:cubicBezTo>
                    <a:cubicBezTo>
                      <a:pt x="17" y="374"/>
                      <a:pt x="24" y="387"/>
                      <a:pt x="24" y="387"/>
                    </a:cubicBezTo>
                    <a:cubicBezTo>
                      <a:pt x="25" y="418"/>
                      <a:pt x="25" y="418"/>
                      <a:pt x="25" y="418"/>
                    </a:cubicBezTo>
                    <a:cubicBezTo>
                      <a:pt x="28" y="426"/>
                      <a:pt x="28" y="426"/>
                      <a:pt x="28" y="426"/>
                    </a:cubicBezTo>
                    <a:cubicBezTo>
                      <a:pt x="35" y="431"/>
                      <a:pt x="35" y="431"/>
                      <a:pt x="35" y="431"/>
                    </a:cubicBezTo>
                    <a:cubicBezTo>
                      <a:pt x="41" y="436"/>
                      <a:pt x="41" y="436"/>
                      <a:pt x="41" y="436"/>
                    </a:cubicBezTo>
                    <a:cubicBezTo>
                      <a:pt x="42" y="445"/>
                      <a:pt x="42" y="445"/>
                      <a:pt x="42" y="445"/>
                    </a:cubicBezTo>
                    <a:cubicBezTo>
                      <a:pt x="42" y="445"/>
                      <a:pt x="40" y="452"/>
                      <a:pt x="40" y="453"/>
                    </a:cubicBezTo>
                    <a:cubicBezTo>
                      <a:pt x="41" y="454"/>
                      <a:pt x="35" y="454"/>
                      <a:pt x="35" y="454"/>
                    </a:cubicBezTo>
                    <a:cubicBezTo>
                      <a:pt x="30" y="455"/>
                      <a:pt x="30" y="455"/>
                      <a:pt x="30" y="455"/>
                    </a:cubicBezTo>
                    <a:cubicBezTo>
                      <a:pt x="25" y="460"/>
                      <a:pt x="25" y="460"/>
                      <a:pt x="25" y="460"/>
                    </a:cubicBezTo>
                    <a:cubicBezTo>
                      <a:pt x="27" y="466"/>
                      <a:pt x="27" y="466"/>
                      <a:pt x="27" y="466"/>
                    </a:cubicBezTo>
                    <a:cubicBezTo>
                      <a:pt x="30" y="475"/>
                      <a:pt x="30" y="475"/>
                      <a:pt x="30" y="475"/>
                    </a:cubicBezTo>
                    <a:cubicBezTo>
                      <a:pt x="36" y="482"/>
                      <a:pt x="36" y="482"/>
                      <a:pt x="36" y="482"/>
                    </a:cubicBezTo>
                    <a:cubicBezTo>
                      <a:pt x="38" y="488"/>
                      <a:pt x="38" y="488"/>
                      <a:pt x="38" y="488"/>
                    </a:cubicBezTo>
                    <a:cubicBezTo>
                      <a:pt x="35" y="494"/>
                      <a:pt x="35" y="494"/>
                      <a:pt x="35" y="494"/>
                    </a:cubicBezTo>
                    <a:cubicBezTo>
                      <a:pt x="33" y="497"/>
                      <a:pt x="33" y="497"/>
                      <a:pt x="33" y="497"/>
                    </a:cubicBezTo>
                    <a:cubicBezTo>
                      <a:pt x="35" y="502"/>
                      <a:pt x="35" y="502"/>
                      <a:pt x="35" y="502"/>
                    </a:cubicBezTo>
                    <a:cubicBezTo>
                      <a:pt x="35" y="507"/>
                      <a:pt x="35" y="507"/>
                      <a:pt x="35" y="507"/>
                    </a:cubicBezTo>
                    <a:cubicBezTo>
                      <a:pt x="35" y="507"/>
                      <a:pt x="33" y="510"/>
                      <a:pt x="33" y="511"/>
                    </a:cubicBezTo>
                    <a:cubicBezTo>
                      <a:pt x="33" y="512"/>
                      <a:pt x="29" y="515"/>
                      <a:pt x="29" y="515"/>
                    </a:cubicBezTo>
                    <a:cubicBezTo>
                      <a:pt x="26" y="518"/>
                      <a:pt x="26" y="518"/>
                      <a:pt x="26" y="518"/>
                    </a:cubicBezTo>
                    <a:cubicBezTo>
                      <a:pt x="23" y="519"/>
                      <a:pt x="23" y="519"/>
                      <a:pt x="23" y="519"/>
                    </a:cubicBezTo>
                    <a:cubicBezTo>
                      <a:pt x="23" y="519"/>
                      <a:pt x="21" y="518"/>
                      <a:pt x="20" y="519"/>
                    </a:cubicBezTo>
                    <a:cubicBezTo>
                      <a:pt x="20" y="519"/>
                      <a:pt x="18" y="521"/>
                      <a:pt x="18" y="521"/>
                    </a:cubicBezTo>
                    <a:cubicBezTo>
                      <a:pt x="18" y="524"/>
                      <a:pt x="18" y="524"/>
                      <a:pt x="18" y="524"/>
                    </a:cubicBezTo>
                    <a:cubicBezTo>
                      <a:pt x="20" y="526"/>
                      <a:pt x="20" y="526"/>
                      <a:pt x="20" y="526"/>
                    </a:cubicBezTo>
                    <a:cubicBezTo>
                      <a:pt x="19" y="531"/>
                      <a:pt x="19" y="531"/>
                      <a:pt x="19" y="531"/>
                    </a:cubicBezTo>
                    <a:cubicBezTo>
                      <a:pt x="16" y="534"/>
                      <a:pt x="16" y="534"/>
                      <a:pt x="16" y="534"/>
                    </a:cubicBezTo>
                    <a:cubicBezTo>
                      <a:pt x="13" y="535"/>
                      <a:pt x="13" y="535"/>
                      <a:pt x="13" y="535"/>
                    </a:cubicBezTo>
                    <a:cubicBezTo>
                      <a:pt x="15" y="541"/>
                      <a:pt x="15" y="541"/>
                      <a:pt x="15" y="541"/>
                    </a:cubicBezTo>
                    <a:cubicBezTo>
                      <a:pt x="19" y="548"/>
                      <a:pt x="19" y="548"/>
                      <a:pt x="19" y="548"/>
                    </a:cubicBezTo>
                    <a:cubicBezTo>
                      <a:pt x="19" y="554"/>
                      <a:pt x="19" y="554"/>
                      <a:pt x="19" y="554"/>
                    </a:cubicBezTo>
                    <a:cubicBezTo>
                      <a:pt x="16" y="560"/>
                      <a:pt x="16" y="560"/>
                      <a:pt x="16" y="560"/>
                    </a:cubicBezTo>
                    <a:cubicBezTo>
                      <a:pt x="15" y="567"/>
                      <a:pt x="15" y="567"/>
                      <a:pt x="15" y="567"/>
                    </a:cubicBezTo>
                    <a:cubicBezTo>
                      <a:pt x="14" y="573"/>
                      <a:pt x="14" y="573"/>
                      <a:pt x="14" y="573"/>
                    </a:cubicBezTo>
                    <a:cubicBezTo>
                      <a:pt x="12" y="574"/>
                      <a:pt x="12" y="574"/>
                      <a:pt x="12" y="574"/>
                    </a:cubicBezTo>
                    <a:cubicBezTo>
                      <a:pt x="9" y="574"/>
                      <a:pt x="9" y="574"/>
                      <a:pt x="9" y="574"/>
                    </a:cubicBezTo>
                    <a:cubicBezTo>
                      <a:pt x="9" y="574"/>
                      <a:pt x="9" y="568"/>
                      <a:pt x="8" y="567"/>
                    </a:cubicBezTo>
                    <a:cubicBezTo>
                      <a:pt x="8" y="567"/>
                      <a:pt x="1" y="561"/>
                      <a:pt x="1" y="561"/>
                    </a:cubicBezTo>
                    <a:cubicBezTo>
                      <a:pt x="1" y="567"/>
                      <a:pt x="1" y="567"/>
                      <a:pt x="1" y="567"/>
                    </a:cubicBezTo>
                    <a:cubicBezTo>
                      <a:pt x="0" y="574"/>
                      <a:pt x="0" y="574"/>
                      <a:pt x="0" y="574"/>
                    </a:cubicBezTo>
                    <a:cubicBezTo>
                      <a:pt x="0" y="574"/>
                      <a:pt x="1" y="578"/>
                      <a:pt x="2" y="579"/>
                    </a:cubicBezTo>
                    <a:cubicBezTo>
                      <a:pt x="3" y="580"/>
                      <a:pt x="4" y="587"/>
                      <a:pt x="4" y="587"/>
                    </a:cubicBezTo>
                    <a:cubicBezTo>
                      <a:pt x="3" y="594"/>
                      <a:pt x="3" y="594"/>
                      <a:pt x="3" y="594"/>
                    </a:cubicBezTo>
                    <a:cubicBezTo>
                      <a:pt x="3" y="594"/>
                      <a:pt x="5" y="599"/>
                      <a:pt x="5" y="599"/>
                    </a:cubicBezTo>
                    <a:cubicBezTo>
                      <a:pt x="5" y="600"/>
                      <a:pt x="6" y="604"/>
                      <a:pt x="6" y="604"/>
                    </a:cubicBezTo>
                    <a:cubicBezTo>
                      <a:pt x="10" y="603"/>
                      <a:pt x="10" y="603"/>
                      <a:pt x="10" y="603"/>
                    </a:cubicBezTo>
                    <a:cubicBezTo>
                      <a:pt x="9" y="600"/>
                      <a:pt x="9" y="600"/>
                      <a:pt x="9" y="600"/>
                    </a:cubicBezTo>
                    <a:cubicBezTo>
                      <a:pt x="12" y="604"/>
                      <a:pt x="12" y="604"/>
                      <a:pt x="12" y="604"/>
                    </a:cubicBezTo>
                    <a:cubicBezTo>
                      <a:pt x="12" y="604"/>
                      <a:pt x="10" y="605"/>
                      <a:pt x="12" y="604"/>
                    </a:cubicBezTo>
                    <a:cubicBezTo>
                      <a:pt x="13" y="604"/>
                      <a:pt x="15" y="602"/>
                      <a:pt x="15" y="602"/>
                    </a:cubicBezTo>
                    <a:cubicBezTo>
                      <a:pt x="14" y="605"/>
                      <a:pt x="14" y="605"/>
                      <a:pt x="14" y="605"/>
                    </a:cubicBezTo>
                    <a:cubicBezTo>
                      <a:pt x="12" y="609"/>
                      <a:pt x="12" y="609"/>
                      <a:pt x="12" y="609"/>
                    </a:cubicBezTo>
                    <a:cubicBezTo>
                      <a:pt x="13" y="610"/>
                      <a:pt x="13" y="610"/>
                      <a:pt x="13" y="610"/>
                    </a:cubicBezTo>
                    <a:cubicBezTo>
                      <a:pt x="16" y="611"/>
                      <a:pt x="16" y="611"/>
                      <a:pt x="16" y="611"/>
                    </a:cubicBezTo>
                    <a:cubicBezTo>
                      <a:pt x="12" y="616"/>
                      <a:pt x="12" y="616"/>
                      <a:pt x="12" y="616"/>
                    </a:cubicBezTo>
                    <a:cubicBezTo>
                      <a:pt x="12" y="616"/>
                      <a:pt x="14" y="619"/>
                      <a:pt x="15" y="620"/>
                    </a:cubicBezTo>
                    <a:cubicBezTo>
                      <a:pt x="15" y="620"/>
                      <a:pt x="19" y="617"/>
                      <a:pt x="19" y="617"/>
                    </a:cubicBezTo>
                    <a:cubicBezTo>
                      <a:pt x="19" y="617"/>
                      <a:pt x="19" y="618"/>
                      <a:pt x="19" y="619"/>
                    </a:cubicBezTo>
                    <a:cubicBezTo>
                      <a:pt x="19" y="619"/>
                      <a:pt x="16" y="622"/>
                      <a:pt x="16" y="624"/>
                    </a:cubicBezTo>
                    <a:cubicBezTo>
                      <a:pt x="17" y="625"/>
                      <a:pt x="22" y="623"/>
                      <a:pt x="21" y="624"/>
                    </a:cubicBezTo>
                    <a:cubicBezTo>
                      <a:pt x="20" y="625"/>
                      <a:pt x="20" y="627"/>
                      <a:pt x="20" y="627"/>
                    </a:cubicBezTo>
                    <a:cubicBezTo>
                      <a:pt x="20" y="627"/>
                      <a:pt x="17" y="630"/>
                      <a:pt x="19" y="631"/>
                    </a:cubicBezTo>
                    <a:cubicBezTo>
                      <a:pt x="20" y="632"/>
                      <a:pt x="23" y="633"/>
                      <a:pt x="22" y="633"/>
                    </a:cubicBezTo>
                    <a:cubicBezTo>
                      <a:pt x="22" y="634"/>
                      <a:pt x="19" y="636"/>
                      <a:pt x="19" y="636"/>
                    </a:cubicBezTo>
                    <a:cubicBezTo>
                      <a:pt x="19" y="636"/>
                      <a:pt x="18" y="638"/>
                      <a:pt x="19" y="639"/>
                    </a:cubicBezTo>
                    <a:cubicBezTo>
                      <a:pt x="20" y="640"/>
                      <a:pt x="23" y="640"/>
                      <a:pt x="23" y="640"/>
                    </a:cubicBezTo>
                    <a:cubicBezTo>
                      <a:pt x="23" y="640"/>
                      <a:pt x="23" y="638"/>
                      <a:pt x="23" y="639"/>
                    </a:cubicBezTo>
                    <a:cubicBezTo>
                      <a:pt x="23" y="640"/>
                      <a:pt x="22" y="642"/>
                      <a:pt x="22" y="642"/>
                    </a:cubicBezTo>
                    <a:cubicBezTo>
                      <a:pt x="22" y="642"/>
                      <a:pt x="21" y="644"/>
                      <a:pt x="22" y="645"/>
                    </a:cubicBezTo>
                    <a:cubicBezTo>
                      <a:pt x="23" y="645"/>
                      <a:pt x="25" y="645"/>
                      <a:pt x="25" y="645"/>
                    </a:cubicBezTo>
                    <a:cubicBezTo>
                      <a:pt x="25" y="645"/>
                      <a:pt x="25" y="646"/>
                      <a:pt x="25" y="648"/>
                    </a:cubicBezTo>
                    <a:cubicBezTo>
                      <a:pt x="25" y="649"/>
                      <a:pt x="25" y="652"/>
                      <a:pt x="25" y="652"/>
                    </a:cubicBezTo>
                    <a:cubicBezTo>
                      <a:pt x="25" y="653"/>
                      <a:pt x="25" y="655"/>
                      <a:pt x="25" y="655"/>
                    </a:cubicBezTo>
                    <a:cubicBezTo>
                      <a:pt x="25" y="655"/>
                      <a:pt x="24" y="656"/>
                      <a:pt x="27" y="656"/>
                    </a:cubicBezTo>
                    <a:cubicBezTo>
                      <a:pt x="29" y="656"/>
                      <a:pt x="29" y="655"/>
                      <a:pt x="30" y="655"/>
                    </a:cubicBezTo>
                    <a:cubicBezTo>
                      <a:pt x="31" y="655"/>
                      <a:pt x="31" y="656"/>
                      <a:pt x="32" y="657"/>
                    </a:cubicBezTo>
                    <a:cubicBezTo>
                      <a:pt x="32" y="659"/>
                      <a:pt x="32" y="660"/>
                      <a:pt x="32" y="661"/>
                    </a:cubicBezTo>
                    <a:cubicBezTo>
                      <a:pt x="33" y="662"/>
                      <a:pt x="37" y="672"/>
                      <a:pt x="37" y="672"/>
                    </a:cubicBezTo>
                    <a:cubicBezTo>
                      <a:pt x="37" y="672"/>
                      <a:pt x="38" y="676"/>
                      <a:pt x="39" y="677"/>
                    </a:cubicBezTo>
                    <a:cubicBezTo>
                      <a:pt x="39" y="678"/>
                      <a:pt x="40" y="679"/>
                      <a:pt x="41" y="680"/>
                    </a:cubicBezTo>
                    <a:cubicBezTo>
                      <a:pt x="41" y="680"/>
                      <a:pt x="43" y="683"/>
                      <a:pt x="43" y="683"/>
                    </a:cubicBezTo>
                    <a:cubicBezTo>
                      <a:pt x="46" y="685"/>
                      <a:pt x="46" y="685"/>
                      <a:pt x="46" y="685"/>
                    </a:cubicBezTo>
                    <a:cubicBezTo>
                      <a:pt x="50" y="692"/>
                      <a:pt x="50" y="692"/>
                      <a:pt x="50" y="692"/>
                    </a:cubicBezTo>
                    <a:cubicBezTo>
                      <a:pt x="50" y="692"/>
                      <a:pt x="53" y="695"/>
                      <a:pt x="53" y="695"/>
                    </a:cubicBezTo>
                    <a:cubicBezTo>
                      <a:pt x="54" y="695"/>
                      <a:pt x="56" y="693"/>
                      <a:pt x="56" y="693"/>
                    </a:cubicBezTo>
                    <a:cubicBezTo>
                      <a:pt x="56" y="693"/>
                      <a:pt x="59" y="694"/>
                      <a:pt x="59" y="695"/>
                    </a:cubicBezTo>
                    <a:cubicBezTo>
                      <a:pt x="58" y="695"/>
                      <a:pt x="57" y="699"/>
                      <a:pt x="57" y="700"/>
                    </a:cubicBezTo>
                    <a:cubicBezTo>
                      <a:pt x="58" y="701"/>
                      <a:pt x="58" y="703"/>
                      <a:pt x="58" y="703"/>
                    </a:cubicBezTo>
                    <a:cubicBezTo>
                      <a:pt x="56" y="704"/>
                      <a:pt x="56" y="704"/>
                      <a:pt x="56" y="704"/>
                    </a:cubicBezTo>
                    <a:cubicBezTo>
                      <a:pt x="54" y="705"/>
                      <a:pt x="54" y="705"/>
                      <a:pt x="54" y="705"/>
                    </a:cubicBezTo>
                    <a:cubicBezTo>
                      <a:pt x="50" y="705"/>
                      <a:pt x="50" y="705"/>
                      <a:pt x="50" y="705"/>
                    </a:cubicBezTo>
                    <a:cubicBezTo>
                      <a:pt x="49" y="709"/>
                      <a:pt x="49" y="709"/>
                      <a:pt x="49" y="709"/>
                    </a:cubicBezTo>
                    <a:cubicBezTo>
                      <a:pt x="53" y="711"/>
                      <a:pt x="53" y="711"/>
                      <a:pt x="53" y="711"/>
                    </a:cubicBezTo>
                    <a:cubicBezTo>
                      <a:pt x="53" y="711"/>
                      <a:pt x="55" y="713"/>
                      <a:pt x="56" y="713"/>
                    </a:cubicBezTo>
                    <a:cubicBezTo>
                      <a:pt x="56" y="714"/>
                      <a:pt x="56" y="718"/>
                      <a:pt x="56" y="718"/>
                    </a:cubicBezTo>
                    <a:cubicBezTo>
                      <a:pt x="55" y="718"/>
                      <a:pt x="51" y="718"/>
                      <a:pt x="51" y="718"/>
                    </a:cubicBezTo>
                    <a:cubicBezTo>
                      <a:pt x="51" y="718"/>
                      <a:pt x="49" y="721"/>
                      <a:pt x="49" y="721"/>
                    </a:cubicBezTo>
                    <a:cubicBezTo>
                      <a:pt x="49" y="722"/>
                      <a:pt x="48" y="722"/>
                      <a:pt x="50" y="725"/>
                    </a:cubicBezTo>
                    <a:cubicBezTo>
                      <a:pt x="51" y="727"/>
                      <a:pt x="56" y="733"/>
                      <a:pt x="56" y="733"/>
                    </a:cubicBezTo>
                    <a:cubicBezTo>
                      <a:pt x="56" y="733"/>
                      <a:pt x="60" y="739"/>
                      <a:pt x="60" y="739"/>
                    </a:cubicBezTo>
                    <a:cubicBezTo>
                      <a:pt x="60" y="740"/>
                      <a:pt x="63" y="744"/>
                      <a:pt x="63" y="744"/>
                    </a:cubicBezTo>
                    <a:cubicBezTo>
                      <a:pt x="64" y="744"/>
                      <a:pt x="64" y="748"/>
                      <a:pt x="64" y="748"/>
                    </a:cubicBezTo>
                    <a:cubicBezTo>
                      <a:pt x="63" y="750"/>
                      <a:pt x="63" y="750"/>
                      <a:pt x="63" y="750"/>
                    </a:cubicBezTo>
                    <a:cubicBezTo>
                      <a:pt x="62" y="753"/>
                      <a:pt x="62" y="753"/>
                      <a:pt x="62" y="753"/>
                    </a:cubicBezTo>
                    <a:cubicBezTo>
                      <a:pt x="61" y="756"/>
                      <a:pt x="61" y="756"/>
                      <a:pt x="61" y="756"/>
                    </a:cubicBezTo>
                    <a:cubicBezTo>
                      <a:pt x="62" y="758"/>
                      <a:pt x="62" y="758"/>
                      <a:pt x="62" y="758"/>
                    </a:cubicBezTo>
                    <a:cubicBezTo>
                      <a:pt x="61" y="760"/>
                      <a:pt x="61" y="760"/>
                      <a:pt x="61" y="760"/>
                    </a:cubicBezTo>
                    <a:cubicBezTo>
                      <a:pt x="59" y="763"/>
                      <a:pt x="59" y="763"/>
                      <a:pt x="59" y="763"/>
                    </a:cubicBezTo>
                    <a:cubicBezTo>
                      <a:pt x="64" y="764"/>
                      <a:pt x="64" y="764"/>
                      <a:pt x="64" y="764"/>
                    </a:cubicBezTo>
                    <a:cubicBezTo>
                      <a:pt x="70" y="763"/>
                      <a:pt x="70" y="763"/>
                      <a:pt x="70" y="763"/>
                    </a:cubicBezTo>
                    <a:cubicBezTo>
                      <a:pt x="70" y="763"/>
                      <a:pt x="71" y="765"/>
                      <a:pt x="71" y="765"/>
                    </a:cubicBezTo>
                    <a:cubicBezTo>
                      <a:pt x="72" y="766"/>
                      <a:pt x="77" y="765"/>
                      <a:pt x="77" y="765"/>
                    </a:cubicBezTo>
                    <a:cubicBezTo>
                      <a:pt x="81" y="763"/>
                      <a:pt x="81" y="763"/>
                      <a:pt x="81" y="763"/>
                    </a:cubicBezTo>
                    <a:cubicBezTo>
                      <a:pt x="84" y="761"/>
                      <a:pt x="84" y="761"/>
                      <a:pt x="84" y="761"/>
                    </a:cubicBezTo>
                    <a:cubicBezTo>
                      <a:pt x="84" y="759"/>
                      <a:pt x="84" y="759"/>
                      <a:pt x="84" y="759"/>
                    </a:cubicBezTo>
                    <a:cubicBezTo>
                      <a:pt x="84" y="759"/>
                      <a:pt x="86" y="756"/>
                      <a:pt x="86" y="756"/>
                    </a:cubicBezTo>
                    <a:cubicBezTo>
                      <a:pt x="87" y="756"/>
                      <a:pt x="90" y="757"/>
                      <a:pt x="90" y="757"/>
                    </a:cubicBezTo>
                    <a:cubicBezTo>
                      <a:pt x="90" y="757"/>
                      <a:pt x="93" y="757"/>
                      <a:pt x="93" y="758"/>
                    </a:cubicBezTo>
                    <a:cubicBezTo>
                      <a:pt x="93" y="759"/>
                      <a:pt x="95" y="760"/>
                      <a:pt x="95" y="760"/>
                    </a:cubicBezTo>
                    <a:cubicBezTo>
                      <a:pt x="98" y="760"/>
                      <a:pt x="98" y="760"/>
                      <a:pt x="98" y="760"/>
                    </a:cubicBezTo>
                    <a:cubicBezTo>
                      <a:pt x="101" y="759"/>
                      <a:pt x="101" y="759"/>
                      <a:pt x="101" y="759"/>
                    </a:cubicBezTo>
                    <a:cubicBezTo>
                      <a:pt x="105" y="758"/>
                      <a:pt x="105" y="758"/>
                      <a:pt x="105" y="758"/>
                    </a:cubicBezTo>
                    <a:cubicBezTo>
                      <a:pt x="105" y="758"/>
                      <a:pt x="104" y="756"/>
                      <a:pt x="105" y="756"/>
                    </a:cubicBezTo>
                    <a:cubicBezTo>
                      <a:pt x="106" y="756"/>
                      <a:pt x="109" y="756"/>
                      <a:pt x="109" y="756"/>
                    </a:cubicBezTo>
                    <a:cubicBezTo>
                      <a:pt x="109" y="756"/>
                      <a:pt x="110" y="758"/>
                      <a:pt x="111" y="758"/>
                    </a:cubicBezTo>
                    <a:cubicBezTo>
                      <a:pt x="111" y="758"/>
                      <a:pt x="113" y="756"/>
                      <a:pt x="112" y="755"/>
                    </a:cubicBezTo>
                    <a:cubicBezTo>
                      <a:pt x="111" y="754"/>
                      <a:pt x="107" y="752"/>
                      <a:pt x="107" y="752"/>
                    </a:cubicBezTo>
                    <a:cubicBezTo>
                      <a:pt x="107" y="752"/>
                      <a:pt x="105" y="749"/>
                      <a:pt x="105" y="748"/>
                    </a:cubicBezTo>
                    <a:cubicBezTo>
                      <a:pt x="104" y="747"/>
                      <a:pt x="104" y="744"/>
                      <a:pt x="103" y="743"/>
                    </a:cubicBezTo>
                    <a:cubicBezTo>
                      <a:pt x="102" y="743"/>
                      <a:pt x="101" y="742"/>
                      <a:pt x="101" y="740"/>
                    </a:cubicBezTo>
                    <a:cubicBezTo>
                      <a:pt x="102" y="737"/>
                      <a:pt x="102" y="736"/>
                      <a:pt x="102" y="736"/>
                    </a:cubicBezTo>
                    <a:cubicBezTo>
                      <a:pt x="102" y="735"/>
                      <a:pt x="102" y="731"/>
                      <a:pt x="102" y="731"/>
                    </a:cubicBezTo>
                    <a:cubicBezTo>
                      <a:pt x="102" y="731"/>
                      <a:pt x="101" y="729"/>
                      <a:pt x="104" y="727"/>
                    </a:cubicBezTo>
                    <a:cubicBezTo>
                      <a:pt x="107" y="725"/>
                      <a:pt x="107" y="723"/>
                      <a:pt x="108" y="724"/>
                    </a:cubicBezTo>
                    <a:cubicBezTo>
                      <a:pt x="109" y="725"/>
                      <a:pt x="111" y="727"/>
                      <a:pt x="112" y="727"/>
                    </a:cubicBezTo>
                    <a:cubicBezTo>
                      <a:pt x="112" y="728"/>
                      <a:pt x="113" y="728"/>
                      <a:pt x="114" y="729"/>
                    </a:cubicBezTo>
                    <a:cubicBezTo>
                      <a:pt x="114" y="730"/>
                      <a:pt x="113" y="731"/>
                      <a:pt x="115" y="731"/>
                    </a:cubicBezTo>
                    <a:cubicBezTo>
                      <a:pt x="116" y="731"/>
                      <a:pt x="118" y="731"/>
                      <a:pt x="118" y="731"/>
                    </a:cubicBezTo>
                    <a:cubicBezTo>
                      <a:pt x="118" y="731"/>
                      <a:pt x="119" y="731"/>
                      <a:pt x="119" y="730"/>
                    </a:cubicBezTo>
                    <a:cubicBezTo>
                      <a:pt x="119" y="729"/>
                      <a:pt x="119" y="726"/>
                      <a:pt x="118" y="726"/>
                    </a:cubicBezTo>
                    <a:cubicBezTo>
                      <a:pt x="117" y="725"/>
                      <a:pt x="116" y="724"/>
                      <a:pt x="116" y="724"/>
                    </a:cubicBezTo>
                    <a:cubicBezTo>
                      <a:pt x="116" y="724"/>
                      <a:pt x="118" y="723"/>
                      <a:pt x="115" y="722"/>
                    </a:cubicBezTo>
                    <a:cubicBezTo>
                      <a:pt x="112" y="720"/>
                      <a:pt x="112" y="719"/>
                      <a:pt x="113" y="718"/>
                    </a:cubicBezTo>
                    <a:cubicBezTo>
                      <a:pt x="115" y="717"/>
                      <a:pt x="119" y="718"/>
                      <a:pt x="119" y="718"/>
                    </a:cubicBezTo>
                    <a:cubicBezTo>
                      <a:pt x="122" y="717"/>
                      <a:pt x="122" y="717"/>
                      <a:pt x="122" y="717"/>
                    </a:cubicBezTo>
                    <a:cubicBezTo>
                      <a:pt x="122" y="717"/>
                      <a:pt x="124" y="715"/>
                      <a:pt x="126" y="716"/>
                    </a:cubicBezTo>
                    <a:cubicBezTo>
                      <a:pt x="127" y="717"/>
                      <a:pt x="131" y="716"/>
                      <a:pt x="131" y="716"/>
                    </a:cubicBezTo>
                    <a:cubicBezTo>
                      <a:pt x="136" y="717"/>
                      <a:pt x="136" y="717"/>
                      <a:pt x="136" y="717"/>
                    </a:cubicBezTo>
                    <a:cubicBezTo>
                      <a:pt x="138" y="715"/>
                      <a:pt x="138" y="715"/>
                      <a:pt x="138" y="715"/>
                    </a:cubicBezTo>
                    <a:cubicBezTo>
                      <a:pt x="143" y="717"/>
                      <a:pt x="143" y="717"/>
                      <a:pt x="143" y="717"/>
                    </a:cubicBezTo>
                    <a:cubicBezTo>
                      <a:pt x="143" y="717"/>
                      <a:pt x="142" y="717"/>
                      <a:pt x="145" y="718"/>
                    </a:cubicBezTo>
                    <a:cubicBezTo>
                      <a:pt x="147" y="718"/>
                      <a:pt x="150" y="716"/>
                      <a:pt x="150" y="715"/>
                    </a:cubicBezTo>
                    <a:cubicBezTo>
                      <a:pt x="151" y="715"/>
                      <a:pt x="155" y="708"/>
                      <a:pt x="155" y="708"/>
                    </a:cubicBezTo>
                    <a:cubicBezTo>
                      <a:pt x="158" y="688"/>
                      <a:pt x="158" y="688"/>
                      <a:pt x="158" y="688"/>
                    </a:cubicBezTo>
                    <a:cubicBezTo>
                      <a:pt x="158" y="688"/>
                      <a:pt x="162" y="685"/>
                      <a:pt x="161" y="685"/>
                    </a:cubicBezTo>
                    <a:cubicBezTo>
                      <a:pt x="161" y="684"/>
                      <a:pt x="161" y="677"/>
                      <a:pt x="161" y="676"/>
                    </a:cubicBezTo>
                    <a:cubicBezTo>
                      <a:pt x="161" y="675"/>
                      <a:pt x="163" y="668"/>
                      <a:pt x="163" y="668"/>
                    </a:cubicBezTo>
                    <a:cubicBezTo>
                      <a:pt x="163" y="668"/>
                      <a:pt x="167" y="665"/>
                      <a:pt x="165" y="662"/>
                    </a:cubicBezTo>
                    <a:cubicBezTo>
                      <a:pt x="164" y="659"/>
                      <a:pt x="163" y="654"/>
                      <a:pt x="163" y="654"/>
                    </a:cubicBezTo>
                    <a:cubicBezTo>
                      <a:pt x="163" y="654"/>
                      <a:pt x="162" y="649"/>
                      <a:pt x="162" y="648"/>
                    </a:cubicBezTo>
                    <a:cubicBezTo>
                      <a:pt x="162" y="647"/>
                      <a:pt x="166" y="642"/>
                      <a:pt x="166" y="642"/>
                    </a:cubicBezTo>
                    <a:cubicBezTo>
                      <a:pt x="163" y="633"/>
                      <a:pt x="163" y="633"/>
                      <a:pt x="163" y="633"/>
                    </a:cubicBezTo>
                    <a:cubicBezTo>
                      <a:pt x="163" y="633"/>
                      <a:pt x="165" y="630"/>
                      <a:pt x="165" y="629"/>
                    </a:cubicBezTo>
                    <a:cubicBezTo>
                      <a:pt x="165" y="628"/>
                      <a:pt x="163" y="619"/>
                      <a:pt x="163" y="619"/>
                    </a:cubicBezTo>
                    <a:cubicBezTo>
                      <a:pt x="163" y="617"/>
                      <a:pt x="163" y="617"/>
                      <a:pt x="163" y="617"/>
                    </a:cubicBezTo>
                    <a:cubicBezTo>
                      <a:pt x="163" y="617"/>
                      <a:pt x="166" y="612"/>
                      <a:pt x="165" y="611"/>
                    </a:cubicBezTo>
                    <a:cubicBezTo>
                      <a:pt x="165" y="610"/>
                      <a:pt x="165" y="605"/>
                      <a:pt x="165" y="605"/>
                    </a:cubicBezTo>
                    <a:cubicBezTo>
                      <a:pt x="163" y="599"/>
                      <a:pt x="163" y="599"/>
                      <a:pt x="163" y="599"/>
                    </a:cubicBezTo>
                    <a:cubicBezTo>
                      <a:pt x="163" y="599"/>
                      <a:pt x="165" y="598"/>
                      <a:pt x="164" y="597"/>
                    </a:cubicBezTo>
                    <a:cubicBezTo>
                      <a:pt x="163" y="595"/>
                      <a:pt x="162" y="594"/>
                      <a:pt x="162" y="594"/>
                    </a:cubicBezTo>
                    <a:cubicBezTo>
                      <a:pt x="162" y="592"/>
                      <a:pt x="162" y="592"/>
                      <a:pt x="162" y="592"/>
                    </a:cubicBezTo>
                    <a:cubicBezTo>
                      <a:pt x="163" y="590"/>
                      <a:pt x="163" y="590"/>
                      <a:pt x="163" y="590"/>
                    </a:cubicBezTo>
                    <a:cubicBezTo>
                      <a:pt x="165" y="588"/>
                      <a:pt x="165" y="588"/>
                      <a:pt x="165" y="588"/>
                    </a:cubicBezTo>
                    <a:cubicBezTo>
                      <a:pt x="164" y="582"/>
                      <a:pt x="164" y="582"/>
                      <a:pt x="164" y="582"/>
                    </a:cubicBezTo>
                    <a:cubicBezTo>
                      <a:pt x="160" y="581"/>
                      <a:pt x="160" y="581"/>
                      <a:pt x="160" y="581"/>
                    </a:cubicBezTo>
                    <a:cubicBezTo>
                      <a:pt x="160" y="581"/>
                      <a:pt x="160" y="579"/>
                      <a:pt x="161" y="579"/>
                    </a:cubicBezTo>
                    <a:cubicBezTo>
                      <a:pt x="163" y="578"/>
                      <a:pt x="170" y="575"/>
                      <a:pt x="170" y="575"/>
                    </a:cubicBezTo>
                    <a:cubicBezTo>
                      <a:pt x="170" y="575"/>
                      <a:pt x="172" y="572"/>
                      <a:pt x="173" y="572"/>
                    </a:cubicBezTo>
                    <a:cubicBezTo>
                      <a:pt x="173" y="571"/>
                      <a:pt x="181" y="566"/>
                      <a:pt x="181" y="566"/>
                    </a:cubicBezTo>
                    <a:cubicBezTo>
                      <a:pt x="181" y="566"/>
                      <a:pt x="181" y="563"/>
                      <a:pt x="181" y="562"/>
                    </a:cubicBezTo>
                    <a:cubicBezTo>
                      <a:pt x="182" y="562"/>
                      <a:pt x="182" y="561"/>
                      <a:pt x="182" y="559"/>
                    </a:cubicBezTo>
                    <a:cubicBezTo>
                      <a:pt x="183" y="559"/>
                      <a:pt x="181" y="550"/>
                      <a:pt x="181" y="547"/>
                    </a:cubicBezTo>
                    <a:cubicBezTo>
                      <a:pt x="182" y="545"/>
                      <a:pt x="184" y="549"/>
                      <a:pt x="184" y="549"/>
                    </a:cubicBezTo>
                    <a:cubicBezTo>
                      <a:pt x="185" y="552"/>
                      <a:pt x="185" y="552"/>
                      <a:pt x="185" y="552"/>
                    </a:cubicBezTo>
                    <a:cubicBezTo>
                      <a:pt x="185" y="558"/>
                      <a:pt x="185" y="558"/>
                      <a:pt x="185" y="558"/>
                    </a:cubicBezTo>
                    <a:cubicBezTo>
                      <a:pt x="188" y="559"/>
                      <a:pt x="188" y="559"/>
                      <a:pt x="188" y="559"/>
                    </a:cubicBezTo>
                    <a:cubicBezTo>
                      <a:pt x="189" y="562"/>
                      <a:pt x="189" y="562"/>
                      <a:pt x="189" y="562"/>
                    </a:cubicBezTo>
                    <a:cubicBezTo>
                      <a:pt x="189" y="562"/>
                      <a:pt x="188" y="565"/>
                      <a:pt x="189" y="565"/>
                    </a:cubicBezTo>
                    <a:cubicBezTo>
                      <a:pt x="190" y="564"/>
                      <a:pt x="190" y="564"/>
                      <a:pt x="190" y="564"/>
                    </a:cubicBezTo>
                    <a:cubicBezTo>
                      <a:pt x="191" y="558"/>
                      <a:pt x="191" y="558"/>
                      <a:pt x="191" y="558"/>
                    </a:cubicBezTo>
                    <a:cubicBezTo>
                      <a:pt x="191" y="558"/>
                      <a:pt x="195" y="558"/>
                      <a:pt x="194" y="556"/>
                    </a:cubicBezTo>
                    <a:cubicBezTo>
                      <a:pt x="194" y="555"/>
                      <a:pt x="193" y="553"/>
                      <a:pt x="194" y="553"/>
                    </a:cubicBezTo>
                    <a:cubicBezTo>
                      <a:pt x="200" y="552"/>
                      <a:pt x="198" y="552"/>
                      <a:pt x="201" y="550"/>
                    </a:cubicBezTo>
                    <a:cubicBezTo>
                      <a:pt x="201" y="550"/>
                      <a:pt x="203" y="546"/>
                      <a:pt x="203" y="546"/>
                    </a:cubicBezTo>
                    <a:cubicBezTo>
                      <a:pt x="203" y="545"/>
                      <a:pt x="204" y="543"/>
                      <a:pt x="204" y="543"/>
                    </a:cubicBezTo>
                    <a:cubicBezTo>
                      <a:pt x="202" y="542"/>
                      <a:pt x="202" y="542"/>
                      <a:pt x="202" y="542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1" y="539"/>
                      <a:pt x="202" y="537"/>
                      <a:pt x="203" y="538"/>
                    </a:cubicBezTo>
                    <a:cubicBezTo>
                      <a:pt x="203" y="539"/>
                      <a:pt x="204" y="541"/>
                      <a:pt x="205" y="541"/>
                    </a:cubicBezTo>
                    <a:cubicBezTo>
                      <a:pt x="206" y="541"/>
                      <a:pt x="209" y="538"/>
                      <a:pt x="209" y="538"/>
                    </a:cubicBezTo>
                    <a:cubicBezTo>
                      <a:pt x="209" y="535"/>
                      <a:pt x="202" y="531"/>
                      <a:pt x="200" y="530"/>
                    </a:cubicBezTo>
                    <a:cubicBezTo>
                      <a:pt x="200" y="526"/>
                      <a:pt x="210" y="521"/>
                      <a:pt x="210" y="520"/>
                    </a:cubicBezTo>
                    <a:cubicBezTo>
                      <a:pt x="211" y="519"/>
                      <a:pt x="211" y="519"/>
                      <a:pt x="211" y="518"/>
                    </a:cubicBezTo>
                    <a:cubicBezTo>
                      <a:pt x="211" y="517"/>
                      <a:pt x="210" y="516"/>
                      <a:pt x="209" y="517"/>
                    </a:cubicBezTo>
                    <a:cubicBezTo>
                      <a:pt x="209" y="517"/>
                      <a:pt x="208" y="519"/>
                      <a:pt x="207" y="519"/>
                    </a:cubicBezTo>
                    <a:cubicBezTo>
                      <a:pt x="207" y="519"/>
                      <a:pt x="205" y="519"/>
                      <a:pt x="205" y="519"/>
                    </a:cubicBezTo>
                    <a:cubicBezTo>
                      <a:pt x="205" y="519"/>
                      <a:pt x="204" y="517"/>
                      <a:pt x="205" y="516"/>
                    </a:cubicBezTo>
                    <a:cubicBezTo>
                      <a:pt x="206" y="515"/>
                      <a:pt x="205" y="515"/>
                      <a:pt x="207" y="514"/>
                    </a:cubicBezTo>
                    <a:cubicBezTo>
                      <a:pt x="208" y="513"/>
                      <a:pt x="209" y="513"/>
                      <a:pt x="210" y="513"/>
                    </a:cubicBezTo>
                    <a:cubicBezTo>
                      <a:pt x="210" y="512"/>
                      <a:pt x="211" y="511"/>
                      <a:pt x="212" y="511"/>
                    </a:cubicBezTo>
                    <a:cubicBezTo>
                      <a:pt x="213" y="511"/>
                      <a:pt x="218" y="508"/>
                      <a:pt x="218" y="508"/>
                    </a:cubicBezTo>
                    <a:cubicBezTo>
                      <a:pt x="219" y="506"/>
                      <a:pt x="219" y="506"/>
                      <a:pt x="219" y="506"/>
                    </a:cubicBezTo>
                    <a:cubicBezTo>
                      <a:pt x="219" y="506"/>
                      <a:pt x="216" y="503"/>
                      <a:pt x="216" y="503"/>
                    </a:cubicBezTo>
                    <a:cubicBezTo>
                      <a:pt x="216" y="503"/>
                      <a:pt x="211" y="499"/>
                      <a:pt x="211" y="499"/>
                    </a:cubicBezTo>
                    <a:cubicBezTo>
                      <a:pt x="211" y="499"/>
                      <a:pt x="209" y="499"/>
                      <a:pt x="209" y="498"/>
                    </a:cubicBezTo>
                    <a:cubicBezTo>
                      <a:pt x="209" y="498"/>
                      <a:pt x="207" y="496"/>
                      <a:pt x="207" y="496"/>
                    </a:cubicBezTo>
                    <a:cubicBezTo>
                      <a:pt x="205" y="491"/>
                      <a:pt x="203" y="495"/>
                      <a:pt x="199" y="493"/>
                    </a:cubicBezTo>
                    <a:cubicBezTo>
                      <a:pt x="199" y="493"/>
                      <a:pt x="197" y="489"/>
                      <a:pt x="197" y="489"/>
                    </a:cubicBezTo>
                    <a:cubicBezTo>
                      <a:pt x="197" y="489"/>
                      <a:pt x="199" y="489"/>
                      <a:pt x="199" y="488"/>
                    </a:cubicBezTo>
                    <a:cubicBezTo>
                      <a:pt x="199" y="486"/>
                      <a:pt x="197" y="484"/>
                      <a:pt x="197" y="484"/>
                    </a:cubicBezTo>
                    <a:cubicBezTo>
                      <a:pt x="195" y="482"/>
                      <a:pt x="195" y="482"/>
                      <a:pt x="195" y="482"/>
                    </a:cubicBezTo>
                    <a:cubicBezTo>
                      <a:pt x="191" y="478"/>
                      <a:pt x="192" y="487"/>
                      <a:pt x="189" y="479"/>
                    </a:cubicBezTo>
                    <a:cubicBezTo>
                      <a:pt x="189" y="479"/>
                      <a:pt x="188" y="479"/>
                      <a:pt x="187" y="477"/>
                    </a:cubicBezTo>
                    <a:cubicBezTo>
                      <a:pt x="186" y="476"/>
                      <a:pt x="183" y="473"/>
                      <a:pt x="183" y="473"/>
                    </a:cubicBezTo>
                    <a:cubicBezTo>
                      <a:pt x="183" y="473"/>
                      <a:pt x="182" y="470"/>
                      <a:pt x="182" y="470"/>
                    </a:cubicBezTo>
                    <a:cubicBezTo>
                      <a:pt x="181" y="470"/>
                      <a:pt x="180" y="467"/>
                      <a:pt x="180" y="467"/>
                    </a:cubicBezTo>
                    <a:cubicBezTo>
                      <a:pt x="175" y="470"/>
                      <a:pt x="175" y="470"/>
                      <a:pt x="175" y="470"/>
                    </a:cubicBezTo>
                    <a:cubicBezTo>
                      <a:pt x="172" y="473"/>
                      <a:pt x="172" y="473"/>
                      <a:pt x="172" y="473"/>
                    </a:cubicBezTo>
                    <a:cubicBezTo>
                      <a:pt x="172" y="473"/>
                      <a:pt x="171" y="471"/>
                      <a:pt x="171" y="471"/>
                    </a:cubicBezTo>
                    <a:cubicBezTo>
                      <a:pt x="171" y="471"/>
                      <a:pt x="171" y="467"/>
                      <a:pt x="171" y="467"/>
                    </a:cubicBezTo>
                    <a:cubicBezTo>
                      <a:pt x="171" y="467"/>
                      <a:pt x="168" y="466"/>
                      <a:pt x="167" y="466"/>
                    </a:cubicBezTo>
                    <a:cubicBezTo>
                      <a:pt x="167" y="466"/>
                      <a:pt x="164" y="466"/>
                      <a:pt x="164" y="466"/>
                    </a:cubicBezTo>
                    <a:cubicBezTo>
                      <a:pt x="160" y="465"/>
                      <a:pt x="160" y="465"/>
                      <a:pt x="160" y="465"/>
                    </a:cubicBezTo>
                    <a:cubicBezTo>
                      <a:pt x="160" y="462"/>
                      <a:pt x="160" y="462"/>
                      <a:pt x="160" y="462"/>
                    </a:cubicBezTo>
                    <a:cubicBezTo>
                      <a:pt x="160" y="462"/>
                      <a:pt x="162" y="460"/>
                      <a:pt x="161" y="459"/>
                    </a:cubicBezTo>
                    <a:cubicBezTo>
                      <a:pt x="161" y="458"/>
                      <a:pt x="158" y="456"/>
                      <a:pt x="158" y="456"/>
                    </a:cubicBezTo>
                    <a:cubicBezTo>
                      <a:pt x="158" y="454"/>
                      <a:pt x="158" y="454"/>
                      <a:pt x="158" y="454"/>
                    </a:cubicBezTo>
                    <a:cubicBezTo>
                      <a:pt x="155" y="450"/>
                      <a:pt x="155" y="450"/>
                      <a:pt x="155" y="450"/>
                    </a:cubicBezTo>
                    <a:cubicBezTo>
                      <a:pt x="155" y="450"/>
                      <a:pt x="157" y="447"/>
                      <a:pt x="157" y="447"/>
                    </a:cubicBezTo>
                    <a:cubicBezTo>
                      <a:pt x="157" y="446"/>
                      <a:pt x="153" y="437"/>
                      <a:pt x="153" y="437"/>
                    </a:cubicBezTo>
                    <a:cubicBezTo>
                      <a:pt x="153" y="437"/>
                      <a:pt x="155" y="433"/>
                      <a:pt x="155" y="432"/>
                    </a:cubicBezTo>
                    <a:cubicBezTo>
                      <a:pt x="155" y="432"/>
                      <a:pt x="153" y="428"/>
                      <a:pt x="153" y="428"/>
                    </a:cubicBezTo>
                    <a:cubicBezTo>
                      <a:pt x="151" y="428"/>
                      <a:pt x="151" y="428"/>
                      <a:pt x="151" y="428"/>
                    </a:cubicBezTo>
                    <a:cubicBezTo>
                      <a:pt x="151" y="424"/>
                      <a:pt x="151" y="424"/>
                      <a:pt x="151" y="424"/>
                    </a:cubicBezTo>
                    <a:cubicBezTo>
                      <a:pt x="152" y="421"/>
                      <a:pt x="152" y="421"/>
                      <a:pt x="152" y="421"/>
                    </a:cubicBezTo>
                    <a:cubicBezTo>
                      <a:pt x="150" y="419"/>
                      <a:pt x="150" y="419"/>
                      <a:pt x="150" y="419"/>
                    </a:cubicBezTo>
                    <a:cubicBezTo>
                      <a:pt x="150" y="419"/>
                      <a:pt x="151" y="417"/>
                      <a:pt x="152" y="417"/>
                    </a:cubicBezTo>
                    <a:cubicBezTo>
                      <a:pt x="152" y="417"/>
                      <a:pt x="152" y="413"/>
                      <a:pt x="152" y="413"/>
                    </a:cubicBezTo>
                    <a:cubicBezTo>
                      <a:pt x="152" y="413"/>
                      <a:pt x="153" y="411"/>
                      <a:pt x="154" y="411"/>
                    </a:cubicBezTo>
                    <a:cubicBezTo>
                      <a:pt x="154" y="411"/>
                      <a:pt x="157" y="413"/>
                      <a:pt x="157" y="413"/>
                    </a:cubicBezTo>
                    <a:cubicBezTo>
                      <a:pt x="157" y="413"/>
                      <a:pt x="160" y="414"/>
                      <a:pt x="160" y="413"/>
                    </a:cubicBezTo>
                    <a:cubicBezTo>
                      <a:pt x="160" y="413"/>
                      <a:pt x="159" y="410"/>
                      <a:pt x="159" y="410"/>
                    </a:cubicBezTo>
                    <a:cubicBezTo>
                      <a:pt x="159" y="409"/>
                      <a:pt x="157" y="407"/>
                      <a:pt x="157" y="407"/>
                    </a:cubicBezTo>
                    <a:cubicBezTo>
                      <a:pt x="156" y="406"/>
                      <a:pt x="156" y="401"/>
                      <a:pt x="156" y="401"/>
                    </a:cubicBezTo>
                    <a:cubicBezTo>
                      <a:pt x="156" y="401"/>
                      <a:pt x="154" y="397"/>
                      <a:pt x="155" y="397"/>
                    </a:cubicBezTo>
                    <a:cubicBezTo>
                      <a:pt x="155" y="397"/>
                      <a:pt x="156" y="395"/>
                      <a:pt x="156" y="395"/>
                    </a:cubicBezTo>
                    <a:cubicBezTo>
                      <a:pt x="157" y="388"/>
                      <a:pt x="157" y="388"/>
                      <a:pt x="157" y="388"/>
                    </a:cubicBezTo>
                    <a:cubicBezTo>
                      <a:pt x="158" y="382"/>
                      <a:pt x="158" y="382"/>
                      <a:pt x="158" y="382"/>
                    </a:cubicBezTo>
                    <a:cubicBezTo>
                      <a:pt x="155" y="379"/>
                      <a:pt x="155" y="379"/>
                      <a:pt x="155" y="379"/>
                    </a:cubicBezTo>
                    <a:cubicBezTo>
                      <a:pt x="154" y="377"/>
                      <a:pt x="154" y="377"/>
                      <a:pt x="154" y="377"/>
                    </a:cubicBezTo>
                    <a:cubicBezTo>
                      <a:pt x="152" y="375"/>
                      <a:pt x="152" y="375"/>
                      <a:pt x="152" y="375"/>
                    </a:cubicBezTo>
                    <a:cubicBezTo>
                      <a:pt x="154" y="369"/>
                      <a:pt x="154" y="369"/>
                      <a:pt x="154" y="369"/>
                    </a:cubicBezTo>
                    <a:cubicBezTo>
                      <a:pt x="158" y="369"/>
                      <a:pt x="158" y="369"/>
                      <a:pt x="158" y="369"/>
                    </a:cubicBezTo>
                    <a:cubicBezTo>
                      <a:pt x="160" y="366"/>
                      <a:pt x="160" y="366"/>
                      <a:pt x="160" y="366"/>
                    </a:cubicBezTo>
                    <a:cubicBezTo>
                      <a:pt x="160" y="366"/>
                      <a:pt x="163" y="364"/>
                      <a:pt x="163" y="363"/>
                    </a:cubicBezTo>
                    <a:cubicBezTo>
                      <a:pt x="163" y="363"/>
                      <a:pt x="164" y="359"/>
                      <a:pt x="164" y="359"/>
                    </a:cubicBezTo>
                    <a:cubicBezTo>
                      <a:pt x="163" y="356"/>
                      <a:pt x="163" y="356"/>
                      <a:pt x="163" y="356"/>
                    </a:cubicBezTo>
                    <a:cubicBezTo>
                      <a:pt x="165" y="357"/>
                      <a:pt x="165" y="357"/>
                      <a:pt x="165" y="357"/>
                    </a:cubicBezTo>
                    <a:cubicBezTo>
                      <a:pt x="165" y="354"/>
                      <a:pt x="165" y="354"/>
                      <a:pt x="165" y="354"/>
                    </a:cubicBezTo>
                    <a:cubicBezTo>
                      <a:pt x="165" y="354"/>
                      <a:pt x="166" y="351"/>
                      <a:pt x="166" y="351"/>
                    </a:cubicBezTo>
                    <a:cubicBezTo>
                      <a:pt x="167" y="351"/>
                      <a:pt x="168" y="350"/>
                      <a:pt x="168" y="350"/>
                    </a:cubicBezTo>
                    <a:cubicBezTo>
                      <a:pt x="168" y="350"/>
                      <a:pt x="170" y="346"/>
                      <a:pt x="170" y="346"/>
                    </a:cubicBezTo>
                    <a:cubicBezTo>
                      <a:pt x="170" y="346"/>
                      <a:pt x="171" y="347"/>
                      <a:pt x="172" y="346"/>
                    </a:cubicBezTo>
                    <a:cubicBezTo>
                      <a:pt x="173" y="345"/>
                      <a:pt x="173" y="345"/>
                      <a:pt x="173" y="344"/>
                    </a:cubicBezTo>
                    <a:cubicBezTo>
                      <a:pt x="174" y="342"/>
                      <a:pt x="176" y="338"/>
                      <a:pt x="176" y="338"/>
                    </a:cubicBezTo>
                    <a:cubicBezTo>
                      <a:pt x="176" y="338"/>
                      <a:pt x="176" y="337"/>
                      <a:pt x="176" y="336"/>
                    </a:cubicBezTo>
                    <a:cubicBezTo>
                      <a:pt x="177" y="336"/>
                      <a:pt x="179" y="336"/>
                      <a:pt x="179" y="335"/>
                    </a:cubicBezTo>
                    <a:cubicBezTo>
                      <a:pt x="178" y="334"/>
                      <a:pt x="176" y="331"/>
                      <a:pt x="176" y="331"/>
                    </a:cubicBezTo>
                    <a:cubicBezTo>
                      <a:pt x="179" y="328"/>
                      <a:pt x="179" y="328"/>
                      <a:pt x="179" y="328"/>
                    </a:cubicBezTo>
                    <a:cubicBezTo>
                      <a:pt x="179" y="328"/>
                      <a:pt x="182" y="325"/>
                      <a:pt x="182" y="325"/>
                    </a:cubicBezTo>
                    <a:cubicBezTo>
                      <a:pt x="182" y="326"/>
                      <a:pt x="183" y="326"/>
                      <a:pt x="184" y="325"/>
                    </a:cubicBezTo>
                    <a:cubicBezTo>
                      <a:pt x="184" y="325"/>
                      <a:pt x="185" y="324"/>
                      <a:pt x="186" y="323"/>
                    </a:cubicBezTo>
                    <a:cubicBezTo>
                      <a:pt x="186" y="323"/>
                      <a:pt x="187" y="322"/>
                      <a:pt x="188" y="322"/>
                    </a:cubicBezTo>
                    <a:cubicBezTo>
                      <a:pt x="188" y="321"/>
                      <a:pt x="189" y="319"/>
                      <a:pt x="189" y="318"/>
                    </a:cubicBezTo>
                    <a:cubicBezTo>
                      <a:pt x="189" y="318"/>
                      <a:pt x="191" y="313"/>
                      <a:pt x="191" y="313"/>
                    </a:cubicBezTo>
                    <a:cubicBezTo>
                      <a:pt x="191" y="310"/>
                      <a:pt x="191" y="310"/>
                      <a:pt x="191" y="310"/>
                    </a:cubicBezTo>
                    <a:cubicBezTo>
                      <a:pt x="192" y="309"/>
                      <a:pt x="192" y="309"/>
                      <a:pt x="192" y="309"/>
                    </a:cubicBezTo>
                    <a:cubicBezTo>
                      <a:pt x="194" y="307"/>
                      <a:pt x="194" y="307"/>
                      <a:pt x="194" y="307"/>
                    </a:cubicBezTo>
                    <a:cubicBezTo>
                      <a:pt x="194" y="307"/>
                      <a:pt x="196" y="306"/>
                      <a:pt x="196" y="307"/>
                    </a:cubicBezTo>
                    <a:cubicBezTo>
                      <a:pt x="196" y="307"/>
                      <a:pt x="195" y="309"/>
                      <a:pt x="195" y="309"/>
                    </a:cubicBezTo>
                    <a:cubicBezTo>
                      <a:pt x="198" y="309"/>
                      <a:pt x="198" y="309"/>
                      <a:pt x="198" y="309"/>
                    </a:cubicBezTo>
                    <a:cubicBezTo>
                      <a:pt x="198" y="309"/>
                      <a:pt x="198" y="307"/>
                      <a:pt x="198" y="308"/>
                    </a:cubicBezTo>
                    <a:cubicBezTo>
                      <a:pt x="199" y="308"/>
                      <a:pt x="200" y="309"/>
                      <a:pt x="200" y="309"/>
                    </a:cubicBezTo>
                    <a:cubicBezTo>
                      <a:pt x="200" y="308"/>
                      <a:pt x="201" y="306"/>
                      <a:pt x="201" y="306"/>
                    </a:cubicBezTo>
                    <a:cubicBezTo>
                      <a:pt x="201" y="303"/>
                      <a:pt x="201" y="303"/>
                      <a:pt x="201" y="303"/>
                    </a:cubicBezTo>
                    <a:cubicBezTo>
                      <a:pt x="201" y="303"/>
                      <a:pt x="203" y="301"/>
                      <a:pt x="204" y="300"/>
                    </a:cubicBezTo>
                    <a:cubicBezTo>
                      <a:pt x="204" y="299"/>
                      <a:pt x="207" y="296"/>
                      <a:pt x="207" y="296"/>
                    </a:cubicBezTo>
                    <a:cubicBezTo>
                      <a:pt x="210" y="295"/>
                      <a:pt x="210" y="295"/>
                      <a:pt x="210" y="295"/>
                    </a:cubicBezTo>
                    <a:cubicBezTo>
                      <a:pt x="210" y="295"/>
                      <a:pt x="211" y="294"/>
                      <a:pt x="212" y="294"/>
                    </a:cubicBezTo>
                    <a:cubicBezTo>
                      <a:pt x="212" y="294"/>
                      <a:pt x="215" y="290"/>
                      <a:pt x="215" y="290"/>
                    </a:cubicBezTo>
                    <a:cubicBezTo>
                      <a:pt x="215" y="290"/>
                      <a:pt x="215" y="289"/>
                      <a:pt x="216" y="288"/>
                    </a:cubicBezTo>
                    <a:cubicBezTo>
                      <a:pt x="216" y="287"/>
                      <a:pt x="218" y="287"/>
                      <a:pt x="218" y="286"/>
                    </a:cubicBezTo>
                    <a:cubicBezTo>
                      <a:pt x="219" y="286"/>
                      <a:pt x="221" y="281"/>
                      <a:pt x="221" y="281"/>
                    </a:cubicBezTo>
                    <a:cubicBezTo>
                      <a:pt x="221" y="281"/>
                      <a:pt x="222" y="281"/>
                      <a:pt x="222" y="280"/>
                    </a:cubicBezTo>
                    <a:cubicBezTo>
                      <a:pt x="222" y="278"/>
                      <a:pt x="223" y="276"/>
                      <a:pt x="223" y="276"/>
                    </a:cubicBezTo>
                    <a:cubicBezTo>
                      <a:pt x="225" y="272"/>
                      <a:pt x="225" y="272"/>
                      <a:pt x="225" y="272"/>
                    </a:cubicBezTo>
                    <a:cubicBezTo>
                      <a:pt x="225" y="266"/>
                      <a:pt x="225" y="266"/>
                      <a:pt x="225" y="266"/>
                    </a:cubicBezTo>
                    <a:cubicBezTo>
                      <a:pt x="227" y="261"/>
                      <a:pt x="227" y="261"/>
                      <a:pt x="227" y="261"/>
                    </a:cubicBezTo>
                    <a:cubicBezTo>
                      <a:pt x="227" y="261"/>
                      <a:pt x="228" y="260"/>
                      <a:pt x="228" y="259"/>
                    </a:cubicBezTo>
                    <a:cubicBezTo>
                      <a:pt x="229" y="259"/>
                      <a:pt x="230" y="256"/>
                      <a:pt x="230" y="256"/>
                    </a:cubicBezTo>
                    <a:cubicBezTo>
                      <a:pt x="230" y="256"/>
                      <a:pt x="233" y="252"/>
                      <a:pt x="233" y="252"/>
                    </a:cubicBezTo>
                    <a:cubicBezTo>
                      <a:pt x="233" y="252"/>
                      <a:pt x="234" y="249"/>
                      <a:pt x="234" y="248"/>
                    </a:cubicBezTo>
                    <a:cubicBezTo>
                      <a:pt x="235" y="248"/>
                      <a:pt x="235" y="248"/>
                      <a:pt x="235" y="248"/>
                    </a:cubicBezTo>
                    <a:cubicBezTo>
                      <a:pt x="235" y="245"/>
                      <a:pt x="235" y="245"/>
                      <a:pt x="235" y="245"/>
                    </a:cubicBezTo>
                    <a:cubicBezTo>
                      <a:pt x="233" y="241"/>
                      <a:pt x="233" y="241"/>
                      <a:pt x="233" y="241"/>
                    </a:cubicBezTo>
                    <a:cubicBezTo>
                      <a:pt x="229" y="238"/>
                      <a:pt x="229" y="238"/>
                      <a:pt x="229" y="238"/>
                    </a:cubicBezTo>
                    <a:cubicBezTo>
                      <a:pt x="226" y="238"/>
                      <a:pt x="226" y="238"/>
                      <a:pt x="226" y="238"/>
                    </a:cubicBezTo>
                    <a:cubicBezTo>
                      <a:pt x="224" y="236"/>
                      <a:pt x="224" y="236"/>
                      <a:pt x="224" y="236"/>
                    </a:cubicBezTo>
                    <a:cubicBezTo>
                      <a:pt x="225" y="234"/>
                      <a:pt x="225" y="234"/>
                      <a:pt x="225" y="234"/>
                    </a:cubicBezTo>
                    <a:cubicBezTo>
                      <a:pt x="223" y="231"/>
                      <a:pt x="223" y="231"/>
                      <a:pt x="223" y="231"/>
                    </a:cubicBezTo>
                    <a:cubicBezTo>
                      <a:pt x="222" y="229"/>
                      <a:pt x="222" y="229"/>
                      <a:pt x="222" y="229"/>
                    </a:cubicBezTo>
                    <a:cubicBezTo>
                      <a:pt x="220" y="227"/>
                      <a:pt x="220" y="227"/>
                      <a:pt x="220" y="227"/>
                    </a:cubicBezTo>
                    <a:cubicBezTo>
                      <a:pt x="220" y="227"/>
                      <a:pt x="222" y="224"/>
                      <a:pt x="222" y="224"/>
                    </a:cubicBezTo>
                    <a:cubicBezTo>
                      <a:pt x="222" y="224"/>
                      <a:pt x="223" y="223"/>
                      <a:pt x="223" y="222"/>
                    </a:cubicBezTo>
                    <a:cubicBezTo>
                      <a:pt x="223" y="222"/>
                      <a:pt x="225" y="219"/>
                      <a:pt x="225" y="219"/>
                    </a:cubicBezTo>
                    <a:cubicBezTo>
                      <a:pt x="225" y="219"/>
                      <a:pt x="227" y="216"/>
                      <a:pt x="227" y="216"/>
                    </a:cubicBezTo>
                    <a:cubicBezTo>
                      <a:pt x="227" y="216"/>
                      <a:pt x="228" y="215"/>
                      <a:pt x="228" y="214"/>
                    </a:cubicBezTo>
                    <a:cubicBezTo>
                      <a:pt x="228" y="213"/>
                      <a:pt x="227" y="209"/>
                      <a:pt x="227" y="209"/>
                    </a:cubicBezTo>
                    <a:cubicBezTo>
                      <a:pt x="227" y="209"/>
                      <a:pt x="227" y="206"/>
                      <a:pt x="228" y="206"/>
                    </a:cubicBezTo>
                    <a:cubicBezTo>
                      <a:pt x="228" y="205"/>
                      <a:pt x="229" y="204"/>
                      <a:pt x="229" y="204"/>
                    </a:cubicBezTo>
                    <a:cubicBezTo>
                      <a:pt x="229" y="204"/>
                      <a:pt x="230" y="204"/>
                      <a:pt x="231" y="205"/>
                    </a:cubicBezTo>
                    <a:cubicBezTo>
                      <a:pt x="232" y="205"/>
                      <a:pt x="232" y="203"/>
                      <a:pt x="232" y="203"/>
                    </a:cubicBezTo>
                    <a:cubicBezTo>
                      <a:pt x="232" y="203"/>
                      <a:pt x="232" y="200"/>
                      <a:pt x="231" y="200"/>
                    </a:cubicBezTo>
                    <a:cubicBezTo>
                      <a:pt x="230" y="200"/>
                      <a:pt x="229" y="198"/>
                      <a:pt x="229" y="198"/>
                    </a:cubicBezTo>
                    <a:cubicBezTo>
                      <a:pt x="229" y="198"/>
                      <a:pt x="230" y="197"/>
                      <a:pt x="230" y="197"/>
                    </a:cubicBezTo>
                    <a:cubicBezTo>
                      <a:pt x="230" y="196"/>
                      <a:pt x="232" y="195"/>
                      <a:pt x="232" y="195"/>
                    </a:cubicBezTo>
                    <a:cubicBezTo>
                      <a:pt x="235" y="194"/>
                      <a:pt x="235" y="194"/>
                      <a:pt x="235" y="194"/>
                    </a:cubicBezTo>
                    <a:cubicBezTo>
                      <a:pt x="234" y="191"/>
                      <a:pt x="234" y="191"/>
                      <a:pt x="234" y="191"/>
                    </a:cubicBezTo>
                    <a:cubicBezTo>
                      <a:pt x="234" y="188"/>
                      <a:pt x="234" y="188"/>
                      <a:pt x="234" y="188"/>
                    </a:cubicBezTo>
                    <a:cubicBezTo>
                      <a:pt x="234" y="188"/>
                      <a:pt x="238" y="189"/>
                      <a:pt x="238" y="189"/>
                    </a:cubicBezTo>
                    <a:cubicBezTo>
                      <a:pt x="238" y="190"/>
                      <a:pt x="239" y="192"/>
                      <a:pt x="240" y="192"/>
                    </a:cubicBezTo>
                    <a:cubicBezTo>
                      <a:pt x="240" y="191"/>
                      <a:pt x="240" y="189"/>
                      <a:pt x="240" y="189"/>
                    </a:cubicBezTo>
                    <a:cubicBezTo>
                      <a:pt x="240" y="189"/>
                      <a:pt x="241" y="186"/>
                      <a:pt x="242" y="187"/>
                    </a:cubicBezTo>
                    <a:cubicBezTo>
                      <a:pt x="244" y="188"/>
                      <a:pt x="245" y="186"/>
                      <a:pt x="246" y="186"/>
                    </a:cubicBezTo>
                    <a:cubicBezTo>
                      <a:pt x="246" y="185"/>
                      <a:pt x="247" y="183"/>
                      <a:pt x="247" y="183"/>
                    </a:cubicBezTo>
                    <a:cubicBezTo>
                      <a:pt x="247" y="183"/>
                      <a:pt x="248" y="180"/>
                      <a:pt x="247" y="179"/>
                    </a:cubicBezTo>
                    <a:cubicBezTo>
                      <a:pt x="246" y="179"/>
                      <a:pt x="245" y="179"/>
                      <a:pt x="245" y="178"/>
                    </a:cubicBezTo>
                    <a:cubicBezTo>
                      <a:pt x="245" y="178"/>
                      <a:pt x="246" y="176"/>
                      <a:pt x="247" y="176"/>
                    </a:cubicBezTo>
                    <a:cubicBezTo>
                      <a:pt x="248" y="176"/>
                      <a:pt x="248" y="176"/>
                      <a:pt x="250" y="175"/>
                    </a:cubicBezTo>
                    <a:cubicBezTo>
                      <a:pt x="251" y="174"/>
                      <a:pt x="251" y="173"/>
                      <a:pt x="251" y="173"/>
                    </a:cubicBezTo>
                    <a:cubicBezTo>
                      <a:pt x="251" y="173"/>
                      <a:pt x="254" y="172"/>
                      <a:pt x="254" y="172"/>
                    </a:cubicBezTo>
                    <a:cubicBezTo>
                      <a:pt x="258" y="170"/>
                      <a:pt x="258" y="170"/>
                      <a:pt x="258" y="170"/>
                    </a:cubicBezTo>
                    <a:cubicBezTo>
                      <a:pt x="258" y="168"/>
                      <a:pt x="258" y="168"/>
                      <a:pt x="258" y="168"/>
                    </a:cubicBezTo>
                    <a:cubicBezTo>
                      <a:pt x="258" y="168"/>
                      <a:pt x="260" y="168"/>
                      <a:pt x="260" y="168"/>
                    </a:cubicBezTo>
                    <a:cubicBezTo>
                      <a:pt x="261" y="168"/>
                      <a:pt x="262" y="169"/>
                      <a:pt x="262" y="169"/>
                    </a:cubicBezTo>
                    <a:cubicBezTo>
                      <a:pt x="262" y="169"/>
                      <a:pt x="264" y="169"/>
                      <a:pt x="264" y="169"/>
                    </a:cubicBezTo>
                    <a:cubicBezTo>
                      <a:pt x="264" y="168"/>
                      <a:pt x="263" y="167"/>
                      <a:pt x="264" y="167"/>
                    </a:cubicBezTo>
                    <a:cubicBezTo>
                      <a:pt x="265" y="168"/>
                      <a:pt x="265" y="168"/>
                      <a:pt x="265" y="169"/>
                    </a:cubicBezTo>
                    <a:cubicBezTo>
                      <a:pt x="266" y="169"/>
                      <a:pt x="266" y="169"/>
                      <a:pt x="266" y="169"/>
                    </a:cubicBezTo>
                    <a:cubicBezTo>
                      <a:pt x="267" y="169"/>
                      <a:pt x="268" y="170"/>
                      <a:pt x="269" y="171"/>
                    </a:cubicBezTo>
                    <a:cubicBezTo>
                      <a:pt x="269" y="171"/>
                      <a:pt x="269" y="172"/>
                      <a:pt x="269" y="173"/>
                    </a:cubicBezTo>
                    <a:cubicBezTo>
                      <a:pt x="269" y="174"/>
                      <a:pt x="269" y="174"/>
                      <a:pt x="269" y="175"/>
                    </a:cubicBezTo>
                    <a:cubicBezTo>
                      <a:pt x="269" y="176"/>
                      <a:pt x="269" y="176"/>
                      <a:pt x="269" y="176"/>
                    </a:cubicBezTo>
                    <a:cubicBezTo>
                      <a:pt x="269" y="176"/>
                      <a:pt x="272" y="178"/>
                      <a:pt x="272" y="177"/>
                    </a:cubicBezTo>
                    <a:cubicBezTo>
                      <a:pt x="272" y="176"/>
                      <a:pt x="272" y="177"/>
                      <a:pt x="272" y="175"/>
                    </a:cubicBezTo>
                    <a:cubicBezTo>
                      <a:pt x="271" y="174"/>
                      <a:pt x="272" y="173"/>
                      <a:pt x="272" y="172"/>
                    </a:cubicBezTo>
                    <a:cubicBezTo>
                      <a:pt x="271" y="171"/>
                      <a:pt x="270" y="169"/>
                      <a:pt x="270" y="168"/>
                    </a:cubicBezTo>
                    <a:cubicBezTo>
                      <a:pt x="270" y="168"/>
                      <a:pt x="271" y="167"/>
                      <a:pt x="272" y="167"/>
                    </a:cubicBezTo>
                    <a:cubicBezTo>
                      <a:pt x="273" y="167"/>
                      <a:pt x="272" y="166"/>
                      <a:pt x="273" y="167"/>
                    </a:cubicBezTo>
                    <a:cubicBezTo>
                      <a:pt x="274" y="168"/>
                      <a:pt x="274" y="169"/>
                      <a:pt x="275" y="169"/>
                    </a:cubicBezTo>
                    <a:cubicBezTo>
                      <a:pt x="276" y="169"/>
                      <a:pt x="276" y="169"/>
                      <a:pt x="276" y="169"/>
                    </a:cubicBezTo>
                    <a:cubicBezTo>
                      <a:pt x="276" y="170"/>
                      <a:pt x="277" y="171"/>
                      <a:pt x="277" y="172"/>
                    </a:cubicBezTo>
                    <a:cubicBezTo>
                      <a:pt x="277" y="173"/>
                      <a:pt x="277" y="173"/>
                      <a:pt x="277" y="174"/>
                    </a:cubicBezTo>
                    <a:cubicBezTo>
                      <a:pt x="277" y="174"/>
                      <a:pt x="279" y="177"/>
                      <a:pt x="279" y="177"/>
                    </a:cubicBezTo>
                    <a:cubicBezTo>
                      <a:pt x="279" y="177"/>
                      <a:pt x="281" y="175"/>
                      <a:pt x="281" y="175"/>
                    </a:cubicBezTo>
                    <a:cubicBezTo>
                      <a:pt x="281" y="174"/>
                      <a:pt x="281" y="173"/>
                      <a:pt x="281" y="173"/>
                    </a:cubicBezTo>
                    <a:cubicBezTo>
                      <a:pt x="281" y="172"/>
                      <a:pt x="281" y="171"/>
                      <a:pt x="281" y="171"/>
                    </a:cubicBezTo>
                    <a:cubicBezTo>
                      <a:pt x="281" y="170"/>
                      <a:pt x="278" y="167"/>
                      <a:pt x="278" y="167"/>
                    </a:cubicBezTo>
                    <a:cubicBezTo>
                      <a:pt x="278" y="167"/>
                      <a:pt x="278" y="166"/>
                      <a:pt x="279" y="165"/>
                    </a:cubicBezTo>
                    <a:cubicBezTo>
                      <a:pt x="279" y="165"/>
                      <a:pt x="280" y="164"/>
                      <a:pt x="282" y="163"/>
                    </a:cubicBezTo>
                    <a:cubicBezTo>
                      <a:pt x="276" y="150"/>
                      <a:pt x="276" y="150"/>
                      <a:pt x="276" y="150"/>
                    </a:cubicBezTo>
                    <a:cubicBezTo>
                      <a:pt x="270" y="147"/>
                      <a:pt x="270" y="147"/>
                      <a:pt x="270" y="147"/>
                    </a:cubicBezTo>
                    <a:cubicBezTo>
                      <a:pt x="266" y="143"/>
                      <a:pt x="266" y="143"/>
                      <a:pt x="266" y="143"/>
                    </a:cubicBezTo>
                    <a:cubicBezTo>
                      <a:pt x="266" y="138"/>
                      <a:pt x="266" y="138"/>
                      <a:pt x="266" y="138"/>
                    </a:cubicBezTo>
                    <a:cubicBezTo>
                      <a:pt x="263" y="134"/>
                      <a:pt x="263" y="134"/>
                      <a:pt x="263" y="134"/>
                    </a:cubicBezTo>
                    <a:cubicBezTo>
                      <a:pt x="263" y="134"/>
                      <a:pt x="264" y="131"/>
                      <a:pt x="264" y="130"/>
                    </a:cubicBezTo>
                    <a:cubicBezTo>
                      <a:pt x="265" y="129"/>
                      <a:pt x="267" y="124"/>
                      <a:pt x="267" y="124"/>
                    </a:cubicBezTo>
                    <a:cubicBezTo>
                      <a:pt x="267" y="124"/>
                      <a:pt x="266" y="120"/>
                      <a:pt x="266" y="119"/>
                    </a:cubicBezTo>
                    <a:cubicBezTo>
                      <a:pt x="266" y="118"/>
                      <a:pt x="267" y="113"/>
                      <a:pt x="267" y="113"/>
                    </a:cubicBezTo>
                    <a:cubicBezTo>
                      <a:pt x="266" y="108"/>
                      <a:pt x="266" y="108"/>
                      <a:pt x="266" y="108"/>
                    </a:cubicBezTo>
                    <a:cubicBezTo>
                      <a:pt x="254" y="94"/>
                      <a:pt x="254" y="94"/>
                      <a:pt x="254" y="94"/>
                    </a:cubicBezTo>
                    <a:cubicBezTo>
                      <a:pt x="255" y="88"/>
                      <a:pt x="255" y="88"/>
                      <a:pt x="255" y="88"/>
                    </a:cubicBezTo>
                    <a:cubicBezTo>
                      <a:pt x="255" y="88"/>
                      <a:pt x="255" y="88"/>
                      <a:pt x="255" y="88"/>
                    </a:cubicBezTo>
                    <a:close/>
                    <a:moveTo>
                      <a:pt x="165" y="710"/>
                    </a:moveTo>
                    <a:cubicBezTo>
                      <a:pt x="165" y="710"/>
                      <a:pt x="165" y="710"/>
                      <a:pt x="165" y="710"/>
                    </a:cubicBezTo>
                    <a:cubicBezTo>
                      <a:pt x="166" y="702"/>
                      <a:pt x="166" y="702"/>
                      <a:pt x="166" y="702"/>
                    </a:cubicBezTo>
                    <a:cubicBezTo>
                      <a:pt x="166" y="702"/>
                      <a:pt x="164" y="699"/>
                      <a:pt x="164" y="699"/>
                    </a:cubicBezTo>
                    <a:cubicBezTo>
                      <a:pt x="164" y="698"/>
                      <a:pt x="163" y="696"/>
                      <a:pt x="163" y="693"/>
                    </a:cubicBezTo>
                    <a:cubicBezTo>
                      <a:pt x="164" y="690"/>
                      <a:pt x="164" y="689"/>
                      <a:pt x="165" y="687"/>
                    </a:cubicBezTo>
                    <a:cubicBezTo>
                      <a:pt x="165" y="685"/>
                      <a:pt x="167" y="684"/>
                      <a:pt x="167" y="682"/>
                    </a:cubicBezTo>
                    <a:cubicBezTo>
                      <a:pt x="167" y="679"/>
                      <a:pt x="167" y="678"/>
                      <a:pt x="168" y="676"/>
                    </a:cubicBezTo>
                    <a:cubicBezTo>
                      <a:pt x="168" y="674"/>
                      <a:pt x="169" y="672"/>
                      <a:pt x="170" y="672"/>
                    </a:cubicBezTo>
                    <a:cubicBezTo>
                      <a:pt x="170" y="671"/>
                      <a:pt x="172" y="667"/>
                      <a:pt x="172" y="667"/>
                    </a:cubicBezTo>
                    <a:cubicBezTo>
                      <a:pt x="173" y="662"/>
                      <a:pt x="173" y="662"/>
                      <a:pt x="173" y="662"/>
                    </a:cubicBezTo>
                    <a:cubicBezTo>
                      <a:pt x="173" y="662"/>
                      <a:pt x="175" y="657"/>
                      <a:pt x="175" y="656"/>
                    </a:cubicBezTo>
                    <a:cubicBezTo>
                      <a:pt x="175" y="655"/>
                      <a:pt x="174" y="651"/>
                      <a:pt x="174" y="650"/>
                    </a:cubicBezTo>
                    <a:cubicBezTo>
                      <a:pt x="175" y="649"/>
                      <a:pt x="177" y="647"/>
                      <a:pt x="177" y="647"/>
                    </a:cubicBezTo>
                    <a:cubicBezTo>
                      <a:pt x="180" y="647"/>
                      <a:pt x="180" y="647"/>
                      <a:pt x="180" y="647"/>
                    </a:cubicBezTo>
                    <a:cubicBezTo>
                      <a:pt x="180" y="647"/>
                      <a:pt x="180" y="650"/>
                      <a:pt x="179" y="651"/>
                    </a:cubicBezTo>
                    <a:cubicBezTo>
                      <a:pt x="178" y="651"/>
                      <a:pt x="177" y="652"/>
                      <a:pt x="177" y="652"/>
                    </a:cubicBezTo>
                    <a:cubicBezTo>
                      <a:pt x="177" y="653"/>
                      <a:pt x="179" y="655"/>
                      <a:pt x="179" y="655"/>
                    </a:cubicBezTo>
                    <a:cubicBezTo>
                      <a:pt x="179" y="659"/>
                      <a:pt x="179" y="659"/>
                      <a:pt x="179" y="659"/>
                    </a:cubicBezTo>
                    <a:cubicBezTo>
                      <a:pt x="177" y="663"/>
                      <a:pt x="177" y="663"/>
                      <a:pt x="177" y="663"/>
                    </a:cubicBezTo>
                    <a:cubicBezTo>
                      <a:pt x="175" y="668"/>
                      <a:pt x="175" y="668"/>
                      <a:pt x="175" y="668"/>
                    </a:cubicBezTo>
                    <a:cubicBezTo>
                      <a:pt x="175" y="673"/>
                      <a:pt x="175" y="673"/>
                      <a:pt x="175" y="673"/>
                    </a:cubicBezTo>
                    <a:cubicBezTo>
                      <a:pt x="174" y="676"/>
                      <a:pt x="174" y="676"/>
                      <a:pt x="174" y="676"/>
                    </a:cubicBezTo>
                    <a:cubicBezTo>
                      <a:pt x="173" y="679"/>
                      <a:pt x="173" y="679"/>
                      <a:pt x="173" y="679"/>
                    </a:cubicBezTo>
                    <a:cubicBezTo>
                      <a:pt x="171" y="685"/>
                      <a:pt x="171" y="685"/>
                      <a:pt x="171" y="685"/>
                    </a:cubicBezTo>
                    <a:cubicBezTo>
                      <a:pt x="172" y="690"/>
                      <a:pt x="172" y="690"/>
                      <a:pt x="172" y="690"/>
                    </a:cubicBezTo>
                    <a:cubicBezTo>
                      <a:pt x="169" y="696"/>
                      <a:pt x="169" y="696"/>
                      <a:pt x="169" y="696"/>
                    </a:cubicBezTo>
                    <a:cubicBezTo>
                      <a:pt x="169" y="696"/>
                      <a:pt x="169" y="699"/>
                      <a:pt x="169" y="700"/>
                    </a:cubicBezTo>
                    <a:cubicBezTo>
                      <a:pt x="169" y="701"/>
                      <a:pt x="169" y="707"/>
                      <a:pt x="169" y="707"/>
                    </a:cubicBezTo>
                    <a:cubicBezTo>
                      <a:pt x="169" y="707"/>
                      <a:pt x="169" y="710"/>
                      <a:pt x="168" y="710"/>
                    </a:cubicBezTo>
                    <a:cubicBezTo>
                      <a:pt x="167" y="710"/>
                      <a:pt x="165" y="710"/>
                      <a:pt x="165" y="710"/>
                    </a:cubicBezTo>
                    <a:close/>
                    <a:moveTo>
                      <a:pt x="206" y="649"/>
                    </a:moveTo>
                    <a:cubicBezTo>
                      <a:pt x="206" y="649"/>
                      <a:pt x="206" y="649"/>
                      <a:pt x="206" y="649"/>
                    </a:cubicBezTo>
                    <a:cubicBezTo>
                      <a:pt x="205" y="647"/>
                      <a:pt x="205" y="647"/>
                      <a:pt x="205" y="647"/>
                    </a:cubicBezTo>
                    <a:cubicBezTo>
                      <a:pt x="208" y="646"/>
                      <a:pt x="208" y="646"/>
                      <a:pt x="208" y="646"/>
                    </a:cubicBezTo>
                    <a:cubicBezTo>
                      <a:pt x="208" y="646"/>
                      <a:pt x="207" y="642"/>
                      <a:pt x="207" y="641"/>
                    </a:cubicBezTo>
                    <a:cubicBezTo>
                      <a:pt x="207" y="640"/>
                      <a:pt x="206" y="641"/>
                      <a:pt x="205" y="639"/>
                    </a:cubicBezTo>
                    <a:cubicBezTo>
                      <a:pt x="204" y="638"/>
                      <a:pt x="204" y="635"/>
                      <a:pt x="204" y="635"/>
                    </a:cubicBezTo>
                    <a:cubicBezTo>
                      <a:pt x="204" y="634"/>
                      <a:pt x="205" y="631"/>
                      <a:pt x="205" y="631"/>
                    </a:cubicBezTo>
                    <a:cubicBezTo>
                      <a:pt x="205" y="631"/>
                      <a:pt x="208" y="627"/>
                      <a:pt x="210" y="625"/>
                    </a:cubicBezTo>
                    <a:cubicBezTo>
                      <a:pt x="213" y="622"/>
                      <a:pt x="212" y="622"/>
                      <a:pt x="212" y="620"/>
                    </a:cubicBezTo>
                    <a:cubicBezTo>
                      <a:pt x="211" y="619"/>
                      <a:pt x="213" y="618"/>
                      <a:pt x="213" y="618"/>
                    </a:cubicBezTo>
                    <a:cubicBezTo>
                      <a:pt x="216" y="615"/>
                      <a:pt x="216" y="615"/>
                      <a:pt x="216" y="615"/>
                    </a:cubicBezTo>
                    <a:cubicBezTo>
                      <a:pt x="218" y="610"/>
                      <a:pt x="218" y="610"/>
                      <a:pt x="218" y="610"/>
                    </a:cubicBezTo>
                    <a:cubicBezTo>
                      <a:pt x="218" y="610"/>
                      <a:pt x="221" y="613"/>
                      <a:pt x="221" y="613"/>
                    </a:cubicBezTo>
                    <a:cubicBezTo>
                      <a:pt x="222" y="613"/>
                      <a:pt x="222" y="612"/>
                      <a:pt x="222" y="611"/>
                    </a:cubicBezTo>
                    <a:cubicBezTo>
                      <a:pt x="222" y="610"/>
                      <a:pt x="224" y="610"/>
                      <a:pt x="224" y="610"/>
                    </a:cubicBezTo>
                    <a:cubicBezTo>
                      <a:pt x="225" y="610"/>
                      <a:pt x="228" y="609"/>
                      <a:pt x="228" y="609"/>
                    </a:cubicBezTo>
                    <a:cubicBezTo>
                      <a:pt x="229" y="607"/>
                      <a:pt x="229" y="607"/>
                      <a:pt x="229" y="607"/>
                    </a:cubicBezTo>
                    <a:cubicBezTo>
                      <a:pt x="229" y="607"/>
                      <a:pt x="233" y="606"/>
                      <a:pt x="235" y="607"/>
                    </a:cubicBezTo>
                    <a:cubicBezTo>
                      <a:pt x="236" y="608"/>
                      <a:pt x="234" y="608"/>
                      <a:pt x="234" y="609"/>
                    </a:cubicBezTo>
                    <a:cubicBezTo>
                      <a:pt x="234" y="610"/>
                      <a:pt x="234" y="610"/>
                      <a:pt x="234" y="611"/>
                    </a:cubicBezTo>
                    <a:cubicBezTo>
                      <a:pt x="234" y="612"/>
                      <a:pt x="233" y="613"/>
                      <a:pt x="230" y="613"/>
                    </a:cubicBezTo>
                    <a:cubicBezTo>
                      <a:pt x="227" y="614"/>
                      <a:pt x="229" y="616"/>
                      <a:pt x="229" y="616"/>
                    </a:cubicBezTo>
                    <a:cubicBezTo>
                      <a:pt x="229" y="616"/>
                      <a:pt x="229" y="620"/>
                      <a:pt x="229" y="620"/>
                    </a:cubicBezTo>
                    <a:cubicBezTo>
                      <a:pt x="228" y="621"/>
                      <a:pt x="226" y="623"/>
                      <a:pt x="224" y="623"/>
                    </a:cubicBezTo>
                    <a:cubicBezTo>
                      <a:pt x="223" y="624"/>
                      <a:pt x="223" y="626"/>
                      <a:pt x="223" y="626"/>
                    </a:cubicBezTo>
                    <a:cubicBezTo>
                      <a:pt x="223" y="627"/>
                      <a:pt x="224" y="629"/>
                      <a:pt x="224" y="631"/>
                    </a:cubicBezTo>
                    <a:cubicBezTo>
                      <a:pt x="224" y="632"/>
                      <a:pt x="224" y="632"/>
                      <a:pt x="225" y="634"/>
                    </a:cubicBezTo>
                    <a:cubicBezTo>
                      <a:pt x="225" y="635"/>
                      <a:pt x="227" y="635"/>
                      <a:pt x="228" y="635"/>
                    </a:cubicBezTo>
                    <a:cubicBezTo>
                      <a:pt x="228" y="636"/>
                      <a:pt x="230" y="638"/>
                      <a:pt x="229" y="639"/>
                    </a:cubicBezTo>
                    <a:cubicBezTo>
                      <a:pt x="228" y="640"/>
                      <a:pt x="227" y="641"/>
                      <a:pt x="226" y="641"/>
                    </a:cubicBezTo>
                    <a:cubicBezTo>
                      <a:pt x="226" y="642"/>
                      <a:pt x="224" y="645"/>
                      <a:pt x="224" y="645"/>
                    </a:cubicBezTo>
                    <a:cubicBezTo>
                      <a:pt x="224" y="645"/>
                      <a:pt x="225" y="647"/>
                      <a:pt x="224" y="649"/>
                    </a:cubicBezTo>
                    <a:cubicBezTo>
                      <a:pt x="224" y="651"/>
                      <a:pt x="222" y="650"/>
                      <a:pt x="221" y="651"/>
                    </a:cubicBezTo>
                    <a:cubicBezTo>
                      <a:pt x="221" y="651"/>
                      <a:pt x="218" y="654"/>
                      <a:pt x="218" y="654"/>
                    </a:cubicBezTo>
                    <a:cubicBezTo>
                      <a:pt x="217" y="654"/>
                      <a:pt x="216" y="658"/>
                      <a:pt x="216" y="660"/>
                    </a:cubicBezTo>
                    <a:cubicBezTo>
                      <a:pt x="216" y="661"/>
                      <a:pt x="216" y="663"/>
                      <a:pt x="216" y="664"/>
                    </a:cubicBezTo>
                    <a:cubicBezTo>
                      <a:pt x="216" y="665"/>
                      <a:pt x="216" y="664"/>
                      <a:pt x="214" y="667"/>
                    </a:cubicBezTo>
                    <a:cubicBezTo>
                      <a:pt x="211" y="670"/>
                      <a:pt x="212" y="668"/>
                      <a:pt x="209" y="667"/>
                    </a:cubicBezTo>
                    <a:cubicBezTo>
                      <a:pt x="205" y="667"/>
                      <a:pt x="209" y="666"/>
                      <a:pt x="210" y="664"/>
                    </a:cubicBezTo>
                    <a:cubicBezTo>
                      <a:pt x="211" y="662"/>
                      <a:pt x="212" y="660"/>
                      <a:pt x="212" y="660"/>
                    </a:cubicBezTo>
                    <a:cubicBezTo>
                      <a:pt x="211" y="656"/>
                      <a:pt x="211" y="656"/>
                      <a:pt x="211" y="656"/>
                    </a:cubicBezTo>
                    <a:cubicBezTo>
                      <a:pt x="209" y="653"/>
                      <a:pt x="209" y="653"/>
                      <a:pt x="209" y="653"/>
                    </a:cubicBezTo>
                    <a:lnTo>
                      <a:pt x="206" y="649"/>
                    </a:ln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73" name="Freeform 96">
                <a:extLst>
                  <a:ext uri="{FF2B5EF4-FFF2-40B4-BE49-F238E27FC236}">
                    <a16:creationId xmlns:a16="http://schemas.microsoft.com/office/drawing/2014/main" id="{EF0B6D93-D7F9-5FBB-ABAA-8E4EC929FF5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36710" y="229582"/>
                <a:ext cx="1205795" cy="1651177"/>
              </a:xfrm>
              <a:custGeom>
                <a:avLst/>
                <a:gdLst>
                  <a:gd name="T0" fmla="*/ 383 w 538"/>
                  <a:gd name="T1" fmla="*/ 61 h 760"/>
                  <a:gd name="T2" fmla="*/ 367 w 538"/>
                  <a:gd name="T3" fmla="*/ 127 h 760"/>
                  <a:gd name="T4" fmla="*/ 435 w 538"/>
                  <a:gd name="T5" fmla="*/ 150 h 760"/>
                  <a:gd name="T6" fmla="*/ 438 w 538"/>
                  <a:gd name="T7" fmla="*/ 149 h 760"/>
                  <a:gd name="T8" fmla="*/ 438 w 538"/>
                  <a:gd name="T9" fmla="*/ 148 h 760"/>
                  <a:gd name="T10" fmla="*/ 443 w 538"/>
                  <a:gd name="T11" fmla="*/ 86 h 760"/>
                  <a:gd name="T12" fmla="*/ 500 w 538"/>
                  <a:gd name="T13" fmla="*/ 70 h 760"/>
                  <a:gd name="T14" fmla="*/ 509 w 538"/>
                  <a:gd name="T15" fmla="*/ 106 h 760"/>
                  <a:gd name="T16" fmla="*/ 499 w 538"/>
                  <a:gd name="T17" fmla="*/ 50 h 760"/>
                  <a:gd name="T18" fmla="*/ 468 w 538"/>
                  <a:gd name="T19" fmla="*/ 9 h 760"/>
                  <a:gd name="T20" fmla="*/ 444 w 538"/>
                  <a:gd name="T21" fmla="*/ 21 h 760"/>
                  <a:gd name="T22" fmla="*/ 425 w 538"/>
                  <a:gd name="T23" fmla="*/ 23 h 760"/>
                  <a:gd name="T24" fmla="*/ 400 w 538"/>
                  <a:gd name="T25" fmla="*/ 33 h 760"/>
                  <a:gd name="T26" fmla="*/ 377 w 538"/>
                  <a:gd name="T27" fmla="*/ 69 h 760"/>
                  <a:gd name="T28" fmla="*/ 361 w 538"/>
                  <a:gd name="T29" fmla="*/ 85 h 760"/>
                  <a:gd name="T30" fmla="*/ 328 w 538"/>
                  <a:gd name="T31" fmla="*/ 96 h 760"/>
                  <a:gd name="T32" fmla="*/ 298 w 538"/>
                  <a:gd name="T33" fmla="*/ 115 h 760"/>
                  <a:gd name="T34" fmla="*/ 281 w 538"/>
                  <a:gd name="T35" fmla="*/ 161 h 760"/>
                  <a:gd name="T36" fmla="*/ 241 w 538"/>
                  <a:gd name="T37" fmla="*/ 187 h 760"/>
                  <a:gd name="T38" fmla="*/ 235 w 538"/>
                  <a:gd name="T39" fmla="*/ 201 h 760"/>
                  <a:gd name="T40" fmla="*/ 241 w 538"/>
                  <a:gd name="T41" fmla="*/ 223 h 760"/>
                  <a:gd name="T42" fmla="*/ 235 w 538"/>
                  <a:gd name="T43" fmla="*/ 256 h 760"/>
                  <a:gd name="T44" fmla="*/ 219 w 538"/>
                  <a:gd name="T45" fmla="*/ 306 h 760"/>
                  <a:gd name="T46" fmla="*/ 193 w 538"/>
                  <a:gd name="T47" fmla="*/ 362 h 760"/>
                  <a:gd name="T48" fmla="*/ 174 w 538"/>
                  <a:gd name="T49" fmla="*/ 390 h 760"/>
                  <a:gd name="T50" fmla="*/ 145 w 538"/>
                  <a:gd name="T51" fmla="*/ 436 h 760"/>
                  <a:gd name="T52" fmla="*/ 139 w 538"/>
                  <a:gd name="T53" fmla="*/ 456 h 760"/>
                  <a:gd name="T54" fmla="*/ 97 w 538"/>
                  <a:gd name="T55" fmla="*/ 474 h 760"/>
                  <a:gd name="T56" fmla="*/ 59 w 538"/>
                  <a:gd name="T57" fmla="*/ 500 h 760"/>
                  <a:gd name="T58" fmla="*/ 24 w 538"/>
                  <a:gd name="T59" fmla="*/ 527 h 760"/>
                  <a:gd name="T60" fmla="*/ 14 w 538"/>
                  <a:gd name="T61" fmla="*/ 551 h 760"/>
                  <a:gd name="T62" fmla="*/ 4 w 538"/>
                  <a:gd name="T63" fmla="*/ 599 h 760"/>
                  <a:gd name="T64" fmla="*/ 13 w 538"/>
                  <a:gd name="T65" fmla="*/ 650 h 760"/>
                  <a:gd name="T66" fmla="*/ 22 w 538"/>
                  <a:gd name="T67" fmla="*/ 686 h 760"/>
                  <a:gd name="T68" fmla="*/ 33 w 538"/>
                  <a:gd name="T69" fmla="*/ 742 h 760"/>
                  <a:gd name="T70" fmla="*/ 96 w 538"/>
                  <a:gd name="T71" fmla="*/ 747 h 760"/>
                  <a:gd name="T72" fmla="*/ 173 w 538"/>
                  <a:gd name="T73" fmla="*/ 704 h 760"/>
                  <a:gd name="T74" fmla="*/ 188 w 538"/>
                  <a:gd name="T75" fmla="*/ 671 h 760"/>
                  <a:gd name="T76" fmla="*/ 193 w 538"/>
                  <a:gd name="T77" fmla="*/ 655 h 760"/>
                  <a:gd name="T78" fmla="*/ 193 w 538"/>
                  <a:gd name="T79" fmla="*/ 655 h 760"/>
                  <a:gd name="T80" fmla="*/ 207 w 538"/>
                  <a:gd name="T81" fmla="*/ 644 h 760"/>
                  <a:gd name="T82" fmla="*/ 212 w 538"/>
                  <a:gd name="T83" fmla="*/ 590 h 760"/>
                  <a:gd name="T84" fmla="*/ 213 w 538"/>
                  <a:gd name="T85" fmla="*/ 589 h 760"/>
                  <a:gd name="T86" fmla="*/ 213 w 538"/>
                  <a:gd name="T87" fmla="*/ 586 h 760"/>
                  <a:gd name="T88" fmla="*/ 213 w 538"/>
                  <a:gd name="T89" fmla="*/ 584 h 760"/>
                  <a:gd name="T90" fmla="*/ 214 w 538"/>
                  <a:gd name="T91" fmla="*/ 582 h 760"/>
                  <a:gd name="T92" fmla="*/ 189 w 538"/>
                  <a:gd name="T93" fmla="*/ 510 h 760"/>
                  <a:gd name="T94" fmla="*/ 231 w 538"/>
                  <a:gd name="T95" fmla="*/ 427 h 760"/>
                  <a:gd name="T96" fmla="*/ 240 w 538"/>
                  <a:gd name="T97" fmla="*/ 314 h 760"/>
                  <a:gd name="T98" fmla="*/ 275 w 538"/>
                  <a:gd name="T99" fmla="*/ 228 h 760"/>
                  <a:gd name="T100" fmla="*/ 275 w 538"/>
                  <a:gd name="T101" fmla="*/ 220 h 760"/>
                  <a:gd name="T102" fmla="*/ 275 w 538"/>
                  <a:gd name="T103" fmla="*/ 218 h 760"/>
                  <a:gd name="T104" fmla="*/ 276 w 538"/>
                  <a:gd name="T105" fmla="*/ 217 h 760"/>
                  <a:gd name="T106" fmla="*/ 277 w 538"/>
                  <a:gd name="T107" fmla="*/ 215 h 760"/>
                  <a:gd name="T108" fmla="*/ 302 w 538"/>
                  <a:gd name="T109" fmla="*/ 202 h 760"/>
                  <a:gd name="T110" fmla="*/ 342 w 538"/>
                  <a:gd name="T111" fmla="*/ 142 h 760"/>
                  <a:gd name="T112" fmla="*/ 360 w 538"/>
                  <a:gd name="T113" fmla="*/ 125 h 760"/>
                  <a:gd name="T114" fmla="*/ 361 w 538"/>
                  <a:gd name="T115" fmla="*/ 125 h 760"/>
                  <a:gd name="T116" fmla="*/ 363 w 538"/>
                  <a:gd name="T117" fmla="*/ 125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38" h="760">
                    <a:moveTo>
                      <a:pt x="370" y="57"/>
                    </a:moveTo>
                    <a:cubicBezTo>
                      <a:pt x="368" y="57"/>
                      <a:pt x="365" y="58"/>
                      <a:pt x="365" y="56"/>
                    </a:cubicBezTo>
                    <a:cubicBezTo>
                      <a:pt x="365" y="55"/>
                      <a:pt x="362" y="52"/>
                      <a:pt x="362" y="52"/>
                    </a:cubicBezTo>
                    <a:cubicBezTo>
                      <a:pt x="362" y="51"/>
                      <a:pt x="360" y="49"/>
                      <a:pt x="363" y="48"/>
                    </a:cubicBezTo>
                    <a:cubicBezTo>
                      <a:pt x="365" y="46"/>
                      <a:pt x="372" y="43"/>
                      <a:pt x="373" y="43"/>
                    </a:cubicBezTo>
                    <a:cubicBezTo>
                      <a:pt x="373" y="43"/>
                      <a:pt x="376" y="38"/>
                      <a:pt x="377" y="37"/>
                    </a:cubicBezTo>
                    <a:cubicBezTo>
                      <a:pt x="378" y="37"/>
                      <a:pt x="384" y="37"/>
                      <a:pt x="384" y="37"/>
                    </a:cubicBezTo>
                    <a:cubicBezTo>
                      <a:pt x="384" y="37"/>
                      <a:pt x="385" y="38"/>
                      <a:pt x="387" y="38"/>
                    </a:cubicBezTo>
                    <a:cubicBezTo>
                      <a:pt x="389" y="39"/>
                      <a:pt x="393" y="36"/>
                      <a:pt x="391" y="39"/>
                    </a:cubicBezTo>
                    <a:cubicBezTo>
                      <a:pt x="388" y="41"/>
                      <a:pt x="387" y="42"/>
                      <a:pt x="386" y="42"/>
                    </a:cubicBezTo>
                    <a:cubicBezTo>
                      <a:pt x="385" y="43"/>
                      <a:pt x="380" y="47"/>
                      <a:pt x="380" y="49"/>
                    </a:cubicBezTo>
                    <a:cubicBezTo>
                      <a:pt x="379" y="51"/>
                      <a:pt x="380" y="51"/>
                      <a:pt x="379" y="52"/>
                    </a:cubicBezTo>
                    <a:cubicBezTo>
                      <a:pt x="377" y="53"/>
                      <a:pt x="371" y="56"/>
                      <a:pt x="370" y="57"/>
                    </a:cubicBezTo>
                    <a:close/>
                    <a:moveTo>
                      <a:pt x="383" y="61"/>
                    </a:moveTo>
                    <a:cubicBezTo>
                      <a:pt x="383" y="61"/>
                      <a:pt x="383" y="61"/>
                      <a:pt x="383" y="61"/>
                    </a:cubicBezTo>
                    <a:cubicBezTo>
                      <a:pt x="383" y="61"/>
                      <a:pt x="386" y="62"/>
                      <a:pt x="386" y="61"/>
                    </a:cubicBezTo>
                    <a:cubicBezTo>
                      <a:pt x="386" y="61"/>
                      <a:pt x="387" y="59"/>
                      <a:pt x="387" y="56"/>
                    </a:cubicBezTo>
                    <a:cubicBezTo>
                      <a:pt x="388" y="53"/>
                      <a:pt x="390" y="53"/>
                      <a:pt x="391" y="52"/>
                    </a:cubicBezTo>
                    <a:cubicBezTo>
                      <a:pt x="392" y="51"/>
                      <a:pt x="391" y="51"/>
                      <a:pt x="392" y="49"/>
                    </a:cubicBezTo>
                    <a:cubicBezTo>
                      <a:pt x="392" y="47"/>
                      <a:pt x="391" y="47"/>
                      <a:pt x="389" y="46"/>
                    </a:cubicBezTo>
                    <a:cubicBezTo>
                      <a:pt x="386" y="46"/>
                      <a:pt x="386" y="48"/>
                      <a:pt x="384" y="48"/>
                    </a:cubicBezTo>
                    <a:cubicBezTo>
                      <a:pt x="383" y="49"/>
                      <a:pt x="383" y="51"/>
                      <a:pt x="384" y="52"/>
                    </a:cubicBezTo>
                    <a:cubicBezTo>
                      <a:pt x="384" y="53"/>
                      <a:pt x="382" y="54"/>
                      <a:pt x="380" y="55"/>
                    </a:cubicBezTo>
                    <a:cubicBezTo>
                      <a:pt x="378" y="57"/>
                      <a:pt x="378" y="59"/>
                      <a:pt x="378" y="59"/>
                    </a:cubicBezTo>
                    <a:cubicBezTo>
                      <a:pt x="383" y="61"/>
                      <a:pt x="383" y="61"/>
                      <a:pt x="383" y="61"/>
                    </a:cubicBezTo>
                    <a:close/>
                    <a:moveTo>
                      <a:pt x="363" y="126"/>
                    </a:moveTo>
                    <a:cubicBezTo>
                      <a:pt x="363" y="126"/>
                      <a:pt x="363" y="126"/>
                      <a:pt x="363" y="126"/>
                    </a:cubicBezTo>
                    <a:cubicBezTo>
                      <a:pt x="367" y="127"/>
                      <a:pt x="367" y="127"/>
                      <a:pt x="367" y="127"/>
                    </a:cubicBezTo>
                    <a:cubicBezTo>
                      <a:pt x="374" y="135"/>
                      <a:pt x="374" y="135"/>
                      <a:pt x="374" y="135"/>
                    </a:cubicBezTo>
                    <a:cubicBezTo>
                      <a:pt x="380" y="142"/>
                      <a:pt x="380" y="142"/>
                      <a:pt x="380" y="142"/>
                    </a:cubicBezTo>
                    <a:cubicBezTo>
                      <a:pt x="380" y="142"/>
                      <a:pt x="389" y="149"/>
                      <a:pt x="391" y="150"/>
                    </a:cubicBezTo>
                    <a:cubicBezTo>
                      <a:pt x="393" y="151"/>
                      <a:pt x="404" y="153"/>
                      <a:pt x="405" y="154"/>
                    </a:cubicBezTo>
                    <a:cubicBezTo>
                      <a:pt x="408" y="150"/>
                      <a:pt x="408" y="150"/>
                      <a:pt x="408" y="150"/>
                    </a:cubicBezTo>
                    <a:cubicBezTo>
                      <a:pt x="412" y="147"/>
                      <a:pt x="412" y="147"/>
                      <a:pt x="412" y="147"/>
                    </a:cubicBezTo>
                    <a:cubicBezTo>
                      <a:pt x="411" y="145"/>
                      <a:pt x="411" y="145"/>
                      <a:pt x="411" y="145"/>
                    </a:cubicBezTo>
                    <a:cubicBezTo>
                      <a:pt x="416" y="142"/>
                      <a:pt x="416" y="142"/>
                      <a:pt x="416" y="142"/>
                    </a:cubicBezTo>
                    <a:cubicBezTo>
                      <a:pt x="420" y="145"/>
                      <a:pt x="420" y="145"/>
                      <a:pt x="420" y="145"/>
                    </a:cubicBezTo>
                    <a:cubicBezTo>
                      <a:pt x="430" y="147"/>
                      <a:pt x="430" y="147"/>
                      <a:pt x="430" y="147"/>
                    </a:cubicBezTo>
                    <a:cubicBezTo>
                      <a:pt x="434" y="150"/>
                      <a:pt x="434" y="150"/>
                      <a:pt x="434" y="150"/>
                    </a:cubicBezTo>
                    <a:cubicBezTo>
                      <a:pt x="434" y="150"/>
                      <a:pt x="434" y="150"/>
                      <a:pt x="435" y="150"/>
                    </a:cubicBezTo>
                    <a:cubicBezTo>
                      <a:pt x="435" y="150"/>
                      <a:pt x="435" y="150"/>
                      <a:pt x="435" y="150"/>
                    </a:cubicBezTo>
                    <a:cubicBezTo>
                      <a:pt x="435" y="150"/>
                      <a:pt x="435" y="150"/>
                      <a:pt x="435" y="150"/>
                    </a:cubicBezTo>
                    <a:cubicBezTo>
                      <a:pt x="436" y="149"/>
                      <a:pt x="436" y="149"/>
                      <a:pt x="436" y="149"/>
                    </a:cubicBezTo>
                    <a:cubicBezTo>
                      <a:pt x="436" y="149"/>
                      <a:pt x="436" y="149"/>
                      <a:pt x="436" y="149"/>
                    </a:cubicBezTo>
                    <a:cubicBezTo>
                      <a:pt x="436" y="149"/>
                      <a:pt x="436" y="149"/>
                      <a:pt x="436" y="149"/>
                    </a:cubicBezTo>
                    <a:cubicBezTo>
                      <a:pt x="436" y="149"/>
                      <a:pt x="436" y="149"/>
                      <a:pt x="436" y="149"/>
                    </a:cubicBezTo>
                    <a:cubicBezTo>
                      <a:pt x="436" y="149"/>
                      <a:pt x="437" y="149"/>
                      <a:pt x="437" y="149"/>
                    </a:cubicBezTo>
                    <a:cubicBezTo>
                      <a:pt x="437" y="149"/>
                      <a:pt x="437" y="149"/>
                      <a:pt x="437" y="149"/>
                    </a:cubicBezTo>
                    <a:cubicBezTo>
                      <a:pt x="437" y="149"/>
                      <a:pt x="437" y="149"/>
                      <a:pt x="437" y="149"/>
                    </a:cubicBezTo>
                    <a:cubicBezTo>
                      <a:pt x="437" y="149"/>
                      <a:pt x="437" y="149"/>
                      <a:pt x="437" y="149"/>
                    </a:cubicBezTo>
                    <a:cubicBezTo>
                      <a:pt x="437" y="149"/>
                      <a:pt x="437" y="149"/>
                      <a:pt x="437" y="149"/>
                    </a:cubicBezTo>
                    <a:cubicBezTo>
                      <a:pt x="438" y="149"/>
                      <a:pt x="438" y="149"/>
                      <a:pt x="438" y="149"/>
                    </a:cubicBezTo>
                    <a:cubicBezTo>
                      <a:pt x="438" y="149"/>
                      <a:pt x="438" y="149"/>
                      <a:pt x="438" y="149"/>
                    </a:cubicBezTo>
                    <a:cubicBezTo>
                      <a:pt x="438" y="149"/>
                      <a:pt x="438" y="149"/>
                      <a:pt x="438" y="149"/>
                    </a:cubicBezTo>
                    <a:cubicBezTo>
                      <a:pt x="438" y="149"/>
                      <a:pt x="438" y="149"/>
                      <a:pt x="438" y="149"/>
                    </a:cubicBezTo>
                    <a:cubicBezTo>
                      <a:pt x="438" y="149"/>
                      <a:pt x="438" y="149"/>
                      <a:pt x="438" y="149"/>
                    </a:cubicBezTo>
                    <a:cubicBezTo>
                      <a:pt x="438" y="149"/>
                      <a:pt x="438" y="149"/>
                      <a:pt x="438" y="149"/>
                    </a:cubicBezTo>
                    <a:cubicBezTo>
                      <a:pt x="438" y="149"/>
                      <a:pt x="438" y="149"/>
                      <a:pt x="438" y="149"/>
                    </a:cubicBezTo>
                    <a:cubicBezTo>
                      <a:pt x="438" y="149"/>
                      <a:pt x="438" y="149"/>
                      <a:pt x="438" y="149"/>
                    </a:cubicBezTo>
                    <a:cubicBezTo>
                      <a:pt x="438" y="149"/>
                      <a:pt x="438" y="149"/>
                      <a:pt x="438" y="149"/>
                    </a:cubicBezTo>
                    <a:cubicBezTo>
                      <a:pt x="438" y="148"/>
                      <a:pt x="438" y="148"/>
                      <a:pt x="438" y="148"/>
                    </a:cubicBezTo>
                    <a:cubicBezTo>
                      <a:pt x="438" y="148"/>
                      <a:pt x="438" y="148"/>
                      <a:pt x="438" y="148"/>
                    </a:cubicBezTo>
                    <a:cubicBezTo>
                      <a:pt x="438" y="148"/>
                      <a:pt x="438" y="148"/>
                      <a:pt x="438" y="148"/>
                    </a:cubicBezTo>
                    <a:cubicBezTo>
                      <a:pt x="438" y="148"/>
                      <a:pt x="438" y="148"/>
                      <a:pt x="438" y="148"/>
                    </a:cubicBezTo>
                    <a:cubicBezTo>
                      <a:pt x="438" y="148"/>
                      <a:pt x="438" y="148"/>
                      <a:pt x="438" y="148"/>
                    </a:cubicBezTo>
                    <a:cubicBezTo>
                      <a:pt x="438" y="148"/>
                      <a:pt x="438" y="148"/>
                      <a:pt x="438" y="148"/>
                    </a:cubicBezTo>
                    <a:cubicBezTo>
                      <a:pt x="438" y="148"/>
                      <a:pt x="438" y="148"/>
                      <a:pt x="438" y="148"/>
                    </a:cubicBezTo>
                    <a:cubicBezTo>
                      <a:pt x="438" y="148"/>
                      <a:pt x="438" y="148"/>
                      <a:pt x="438" y="148"/>
                    </a:cubicBezTo>
                    <a:cubicBezTo>
                      <a:pt x="438" y="148"/>
                      <a:pt x="438" y="148"/>
                      <a:pt x="438" y="148"/>
                    </a:cubicBezTo>
                    <a:cubicBezTo>
                      <a:pt x="438" y="148"/>
                      <a:pt x="438" y="148"/>
                      <a:pt x="438" y="148"/>
                    </a:cubicBezTo>
                    <a:cubicBezTo>
                      <a:pt x="438" y="148"/>
                      <a:pt x="438" y="148"/>
                      <a:pt x="438" y="148"/>
                    </a:cubicBezTo>
                    <a:cubicBezTo>
                      <a:pt x="438" y="148"/>
                      <a:pt x="438" y="148"/>
                      <a:pt x="438" y="148"/>
                    </a:cubicBezTo>
                    <a:cubicBezTo>
                      <a:pt x="438" y="148"/>
                      <a:pt x="438" y="148"/>
                      <a:pt x="438" y="148"/>
                    </a:cubicBezTo>
                    <a:cubicBezTo>
                      <a:pt x="438" y="148"/>
                      <a:pt x="438" y="148"/>
                      <a:pt x="438" y="148"/>
                    </a:cubicBezTo>
                    <a:cubicBezTo>
                      <a:pt x="438" y="148"/>
                      <a:pt x="438" y="148"/>
                      <a:pt x="438" y="148"/>
                    </a:cubicBezTo>
                    <a:cubicBezTo>
                      <a:pt x="438" y="147"/>
                      <a:pt x="438" y="147"/>
                      <a:pt x="438" y="147"/>
                    </a:cubicBezTo>
                    <a:cubicBezTo>
                      <a:pt x="438" y="146"/>
                      <a:pt x="438" y="140"/>
                      <a:pt x="438" y="140"/>
                    </a:cubicBezTo>
                    <a:cubicBezTo>
                      <a:pt x="438" y="140"/>
                      <a:pt x="435" y="138"/>
                      <a:pt x="438" y="136"/>
                    </a:cubicBezTo>
                    <a:cubicBezTo>
                      <a:pt x="441" y="133"/>
                      <a:pt x="445" y="130"/>
                      <a:pt x="445" y="130"/>
                    </a:cubicBezTo>
                    <a:cubicBezTo>
                      <a:pt x="445" y="130"/>
                      <a:pt x="447" y="129"/>
                      <a:pt x="447" y="126"/>
                    </a:cubicBezTo>
                    <a:cubicBezTo>
                      <a:pt x="447" y="123"/>
                      <a:pt x="445" y="115"/>
                      <a:pt x="445" y="115"/>
                    </a:cubicBezTo>
                    <a:cubicBezTo>
                      <a:pt x="445" y="115"/>
                      <a:pt x="443" y="110"/>
                      <a:pt x="443" y="108"/>
                    </a:cubicBezTo>
                    <a:cubicBezTo>
                      <a:pt x="445" y="96"/>
                      <a:pt x="440" y="88"/>
                      <a:pt x="443" y="86"/>
                    </a:cubicBezTo>
                    <a:cubicBezTo>
                      <a:pt x="443" y="86"/>
                      <a:pt x="443" y="86"/>
                      <a:pt x="443" y="86"/>
                    </a:cubicBezTo>
                    <a:cubicBezTo>
                      <a:pt x="443" y="86"/>
                      <a:pt x="443" y="86"/>
                      <a:pt x="443" y="86"/>
                    </a:cubicBezTo>
                    <a:cubicBezTo>
                      <a:pt x="445" y="85"/>
                      <a:pt x="445" y="85"/>
                      <a:pt x="445" y="85"/>
                    </a:cubicBezTo>
                    <a:cubicBezTo>
                      <a:pt x="448" y="83"/>
                      <a:pt x="448" y="83"/>
                      <a:pt x="448" y="83"/>
                    </a:cubicBezTo>
                    <a:cubicBezTo>
                      <a:pt x="448" y="83"/>
                      <a:pt x="448" y="82"/>
                      <a:pt x="448" y="82"/>
                    </a:cubicBezTo>
                    <a:cubicBezTo>
                      <a:pt x="448" y="77"/>
                      <a:pt x="442" y="72"/>
                      <a:pt x="449" y="71"/>
                    </a:cubicBezTo>
                    <a:cubicBezTo>
                      <a:pt x="452" y="69"/>
                      <a:pt x="452" y="69"/>
                      <a:pt x="452" y="69"/>
                    </a:cubicBezTo>
                    <a:cubicBezTo>
                      <a:pt x="461" y="69"/>
                      <a:pt x="461" y="69"/>
                      <a:pt x="461" y="69"/>
                    </a:cubicBezTo>
                    <a:cubicBezTo>
                      <a:pt x="463" y="63"/>
                      <a:pt x="463" y="63"/>
                      <a:pt x="463" y="63"/>
                    </a:cubicBezTo>
                    <a:cubicBezTo>
                      <a:pt x="467" y="59"/>
                      <a:pt x="467" y="59"/>
                      <a:pt x="467" y="59"/>
                    </a:cubicBezTo>
                    <a:cubicBezTo>
                      <a:pt x="470" y="59"/>
                      <a:pt x="474" y="58"/>
                      <a:pt x="476" y="59"/>
                    </a:cubicBezTo>
                    <a:cubicBezTo>
                      <a:pt x="478" y="62"/>
                      <a:pt x="478" y="64"/>
                      <a:pt x="482" y="65"/>
                    </a:cubicBezTo>
                    <a:cubicBezTo>
                      <a:pt x="494" y="69"/>
                      <a:pt x="494" y="69"/>
                      <a:pt x="494" y="69"/>
                    </a:cubicBezTo>
                    <a:cubicBezTo>
                      <a:pt x="500" y="70"/>
                      <a:pt x="500" y="70"/>
                      <a:pt x="500" y="70"/>
                    </a:cubicBezTo>
                    <a:cubicBezTo>
                      <a:pt x="500" y="70"/>
                      <a:pt x="500" y="70"/>
                      <a:pt x="500" y="70"/>
                    </a:cubicBezTo>
                    <a:cubicBezTo>
                      <a:pt x="501" y="70"/>
                      <a:pt x="501" y="70"/>
                      <a:pt x="501" y="70"/>
                    </a:cubicBezTo>
                    <a:cubicBezTo>
                      <a:pt x="501" y="70"/>
                      <a:pt x="501" y="70"/>
                      <a:pt x="501" y="70"/>
                    </a:cubicBezTo>
                    <a:cubicBezTo>
                      <a:pt x="503" y="72"/>
                      <a:pt x="503" y="72"/>
                      <a:pt x="503" y="72"/>
                    </a:cubicBezTo>
                    <a:cubicBezTo>
                      <a:pt x="503" y="72"/>
                      <a:pt x="503" y="72"/>
                      <a:pt x="503" y="72"/>
                    </a:cubicBezTo>
                    <a:cubicBezTo>
                      <a:pt x="503" y="72"/>
                      <a:pt x="503" y="72"/>
                      <a:pt x="503" y="72"/>
                    </a:cubicBezTo>
                    <a:cubicBezTo>
                      <a:pt x="503" y="72"/>
                      <a:pt x="503" y="72"/>
                      <a:pt x="503" y="72"/>
                    </a:cubicBezTo>
                    <a:cubicBezTo>
                      <a:pt x="503" y="74"/>
                      <a:pt x="503" y="76"/>
                      <a:pt x="504" y="77"/>
                    </a:cubicBezTo>
                    <a:cubicBezTo>
                      <a:pt x="504" y="79"/>
                      <a:pt x="505" y="82"/>
                      <a:pt x="505" y="82"/>
                    </a:cubicBezTo>
                    <a:cubicBezTo>
                      <a:pt x="505" y="82"/>
                      <a:pt x="504" y="85"/>
                      <a:pt x="504" y="87"/>
                    </a:cubicBezTo>
                    <a:cubicBezTo>
                      <a:pt x="503" y="88"/>
                      <a:pt x="503" y="91"/>
                      <a:pt x="503" y="92"/>
                    </a:cubicBezTo>
                    <a:cubicBezTo>
                      <a:pt x="503" y="93"/>
                      <a:pt x="503" y="94"/>
                      <a:pt x="503" y="95"/>
                    </a:cubicBezTo>
                    <a:cubicBezTo>
                      <a:pt x="503" y="97"/>
                      <a:pt x="504" y="100"/>
                      <a:pt x="505" y="101"/>
                    </a:cubicBezTo>
                    <a:cubicBezTo>
                      <a:pt x="505" y="102"/>
                      <a:pt x="510" y="105"/>
                      <a:pt x="510" y="105"/>
                    </a:cubicBezTo>
                    <a:cubicBezTo>
                      <a:pt x="510" y="105"/>
                      <a:pt x="510" y="105"/>
                      <a:pt x="509" y="106"/>
                    </a:cubicBezTo>
                    <a:cubicBezTo>
                      <a:pt x="509" y="106"/>
                      <a:pt x="509" y="107"/>
                      <a:pt x="510" y="107"/>
                    </a:cubicBezTo>
                    <a:cubicBezTo>
                      <a:pt x="512" y="107"/>
                      <a:pt x="515" y="106"/>
                      <a:pt x="515" y="106"/>
                    </a:cubicBezTo>
                    <a:cubicBezTo>
                      <a:pt x="515" y="106"/>
                      <a:pt x="515" y="97"/>
                      <a:pt x="514" y="94"/>
                    </a:cubicBezTo>
                    <a:cubicBezTo>
                      <a:pt x="513" y="90"/>
                      <a:pt x="518" y="86"/>
                      <a:pt x="518" y="86"/>
                    </a:cubicBezTo>
                    <a:cubicBezTo>
                      <a:pt x="525" y="79"/>
                      <a:pt x="525" y="79"/>
                      <a:pt x="525" y="79"/>
                    </a:cubicBezTo>
                    <a:cubicBezTo>
                      <a:pt x="524" y="71"/>
                      <a:pt x="524" y="71"/>
                      <a:pt x="524" y="71"/>
                    </a:cubicBezTo>
                    <a:cubicBezTo>
                      <a:pt x="532" y="72"/>
                      <a:pt x="532" y="72"/>
                      <a:pt x="532" y="72"/>
                    </a:cubicBezTo>
                    <a:cubicBezTo>
                      <a:pt x="532" y="72"/>
                      <a:pt x="538" y="69"/>
                      <a:pt x="536" y="65"/>
                    </a:cubicBezTo>
                    <a:cubicBezTo>
                      <a:pt x="534" y="60"/>
                      <a:pt x="532" y="52"/>
                      <a:pt x="530" y="54"/>
                    </a:cubicBezTo>
                    <a:cubicBezTo>
                      <a:pt x="527" y="56"/>
                      <a:pt x="522" y="62"/>
                      <a:pt x="522" y="62"/>
                    </a:cubicBezTo>
                    <a:cubicBezTo>
                      <a:pt x="521" y="52"/>
                      <a:pt x="521" y="52"/>
                      <a:pt x="521" y="52"/>
                    </a:cubicBezTo>
                    <a:cubicBezTo>
                      <a:pt x="513" y="55"/>
                      <a:pt x="513" y="55"/>
                      <a:pt x="513" y="55"/>
                    </a:cubicBezTo>
                    <a:cubicBezTo>
                      <a:pt x="505" y="53"/>
                      <a:pt x="505" y="53"/>
                      <a:pt x="505" y="53"/>
                    </a:cubicBezTo>
                    <a:cubicBezTo>
                      <a:pt x="505" y="53"/>
                      <a:pt x="502" y="49"/>
                      <a:pt x="499" y="50"/>
                    </a:cubicBezTo>
                    <a:cubicBezTo>
                      <a:pt x="496" y="50"/>
                      <a:pt x="491" y="50"/>
                      <a:pt x="491" y="50"/>
                    </a:cubicBezTo>
                    <a:cubicBezTo>
                      <a:pt x="491" y="50"/>
                      <a:pt x="487" y="47"/>
                      <a:pt x="489" y="46"/>
                    </a:cubicBezTo>
                    <a:cubicBezTo>
                      <a:pt x="492" y="46"/>
                      <a:pt x="498" y="47"/>
                      <a:pt x="501" y="46"/>
                    </a:cubicBezTo>
                    <a:cubicBezTo>
                      <a:pt x="503" y="46"/>
                      <a:pt x="519" y="42"/>
                      <a:pt x="519" y="42"/>
                    </a:cubicBezTo>
                    <a:cubicBezTo>
                      <a:pt x="520" y="35"/>
                      <a:pt x="520" y="35"/>
                      <a:pt x="520" y="35"/>
                    </a:cubicBezTo>
                    <a:cubicBezTo>
                      <a:pt x="527" y="29"/>
                      <a:pt x="527" y="29"/>
                      <a:pt x="527" y="29"/>
                    </a:cubicBezTo>
                    <a:cubicBezTo>
                      <a:pt x="515" y="20"/>
                      <a:pt x="515" y="20"/>
                      <a:pt x="515" y="20"/>
                    </a:cubicBezTo>
                    <a:cubicBezTo>
                      <a:pt x="510" y="12"/>
                      <a:pt x="510" y="12"/>
                      <a:pt x="510" y="12"/>
                    </a:cubicBezTo>
                    <a:cubicBezTo>
                      <a:pt x="510" y="12"/>
                      <a:pt x="509" y="9"/>
                      <a:pt x="507" y="9"/>
                    </a:cubicBezTo>
                    <a:cubicBezTo>
                      <a:pt x="504" y="9"/>
                      <a:pt x="496" y="13"/>
                      <a:pt x="496" y="13"/>
                    </a:cubicBezTo>
                    <a:cubicBezTo>
                      <a:pt x="490" y="9"/>
                      <a:pt x="490" y="9"/>
                      <a:pt x="490" y="9"/>
                    </a:cubicBezTo>
                    <a:cubicBezTo>
                      <a:pt x="481" y="10"/>
                      <a:pt x="481" y="10"/>
                      <a:pt x="481" y="10"/>
                    </a:cubicBezTo>
                    <a:cubicBezTo>
                      <a:pt x="468" y="6"/>
                      <a:pt x="468" y="6"/>
                      <a:pt x="468" y="6"/>
                    </a:cubicBezTo>
                    <a:cubicBezTo>
                      <a:pt x="468" y="9"/>
                      <a:pt x="468" y="9"/>
                      <a:pt x="468" y="9"/>
                    </a:cubicBezTo>
                    <a:cubicBezTo>
                      <a:pt x="468" y="9"/>
                      <a:pt x="464" y="8"/>
                      <a:pt x="463" y="6"/>
                    </a:cubicBezTo>
                    <a:cubicBezTo>
                      <a:pt x="463" y="4"/>
                      <a:pt x="463" y="2"/>
                      <a:pt x="463" y="2"/>
                    </a:cubicBezTo>
                    <a:cubicBezTo>
                      <a:pt x="458" y="3"/>
                      <a:pt x="458" y="3"/>
                      <a:pt x="458" y="3"/>
                    </a:cubicBezTo>
                    <a:cubicBezTo>
                      <a:pt x="456" y="3"/>
                      <a:pt x="456" y="3"/>
                      <a:pt x="456" y="3"/>
                    </a:cubicBezTo>
                    <a:cubicBezTo>
                      <a:pt x="450" y="0"/>
                      <a:pt x="450" y="0"/>
                      <a:pt x="450" y="0"/>
                    </a:cubicBezTo>
                    <a:cubicBezTo>
                      <a:pt x="447" y="6"/>
                      <a:pt x="447" y="6"/>
                      <a:pt x="447" y="6"/>
                    </a:cubicBezTo>
                    <a:cubicBezTo>
                      <a:pt x="451" y="13"/>
                      <a:pt x="451" y="13"/>
                      <a:pt x="451" y="13"/>
                    </a:cubicBezTo>
                    <a:cubicBezTo>
                      <a:pt x="447" y="21"/>
                      <a:pt x="447" y="21"/>
                      <a:pt x="447" y="21"/>
                    </a:cubicBezTo>
                    <a:cubicBezTo>
                      <a:pt x="450" y="26"/>
                      <a:pt x="450" y="26"/>
                      <a:pt x="450" y="26"/>
                    </a:cubicBezTo>
                    <a:cubicBezTo>
                      <a:pt x="450" y="33"/>
                      <a:pt x="450" y="33"/>
                      <a:pt x="450" y="33"/>
                    </a:cubicBezTo>
                    <a:cubicBezTo>
                      <a:pt x="446" y="41"/>
                      <a:pt x="446" y="41"/>
                      <a:pt x="446" y="41"/>
                    </a:cubicBezTo>
                    <a:cubicBezTo>
                      <a:pt x="440" y="36"/>
                      <a:pt x="440" y="36"/>
                      <a:pt x="440" y="36"/>
                    </a:cubicBezTo>
                    <a:cubicBezTo>
                      <a:pt x="441" y="29"/>
                      <a:pt x="441" y="29"/>
                      <a:pt x="441" y="29"/>
                    </a:cubicBezTo>
                    <a:cubicBezTo>
                      <a:pt x="444" y="21"/>
                      <a:pt x="444" y="21"/>
                      <a:pt x="444" y="21"/>
                    </a:cubicBezTo>
                    <a:cubicBezTo>
                      <a:pt x="440" y="13"/>
                      <a:pt x="440" y="13"/>
                      <a:pt x="440" y="13"/>
                    </a:cubicBezTo>
                    <a:cubicBezTo>
                      <a:pt x="432" y="20"/>
                      <a:pt x="432" y="20"/>
                      <a:pt x="432" y="20"/>
                    </a:cubicBezTo>
                    <a:cubicBezTo>
                      <a:pt x="432" y="30"/>
                      <a:pt x="432" y="30"/>
                      <a:pt x="432" y="30"/>
                    </a:cubicBezTo>
                    <a:cubicBezTo>
                      <a:pt x="428" y="37"/>
                      <a:pt x="428" y="37"/>
                      <a:pt x="428" y="37"/>
                    </a:cubicBezTo>
                    <a:cubicBezTo>
                      <a:pt x="428" y="46"/>
                      <a:pt x="428" y="46"/>
                      <a:pt x="428" y="46"/>
                    </a:cubicBezTo>
                    <a:cubicBezTo>
                      <a:pt x="426" y="53"/>
                      <a:pt x="426" y="53"/>
                      <a:pt x="426" y="53"/>
                    </a:cubicBezTo>
                    <a:cubicBezTo>
                      <a:pt x="425" y="62"/>
                      <a:pt x="425" y="62"/>
                      <a:pt x="425" y="62"/>
                    </a:cubicBezTo>
                    <a:cubicBezTo>
                      <a:pt x="425" y="62"/>
                      <a:pt x="425" y="64"/>
                      <a:pt x="423" y="64"/>
                    </a:cubicBezTo>
                    <a:cubicBezTo>
                      <a:pt x="421" y="65"/>
                      <a:pt x="417" y="63"/>
                      <a:pt x="417" y="63"/>
                    </a:cubicBezTo>
                    <a:cubicBezTo>
                      <a:pt x="417" y="50"/>
                      <a:pt x="417" y="50"/>
                      <a:pt x="417" y="50"/>
                    </a:cubicBezTo>
                    <a:cubicBezTo>
                      <a:pt x="419" y="43"/>
                      <a:pt x="419" y="43"/>
                      <a:pt x="419" y="43"/>
                    </a:cubicBezTo>
                    <a:cubicBezTo>
                      <a:pt x="422" y="37"/>
                      <a:pt x="422" y="37"/>
                      <a:pt x="422" y="37"/>
                    </a:cubicBezTo>
                    <a:cubicBezTo>
                      <a:pt x="426" y="29"/>
                      <a:pt x="426" y="29"/>
                      <a:pt x="426" y="29"/>
                    </a:cubicBezTo>
                    <a:cubicBezTo>
                      <a:pt x="426" y="29"/>
                      <a:pt x="426" y="24"/>
                      <a:pt x="425" y="23"/>
                    </a:cubicBezTo>
                    <a:cubicBezTo>
                      <a:pt x="425" y="23"/>
                      <a:pt x="423" y="22"/>
                      <a:pt x="424" y="22"/>
                    </a:cubicBezTo>
                    <a:cubicBezTo>
                      <a:pt x="424" y="21"/>
                      <a:pt x="428" y="17"/>
                      <a:pt x="428" y="17"/>
                    </a:cubicBezTo>
                    <a:cubicBezTo>
                      <a:pt x="428" y="17"/>
                      <a:pt x="428" y="14"/>
                      <a:pt x="425" y="12"/>
                    </a:cubicBezTo>
                    <a:cubicBezTo>
                      <a:pt x="423" y="11"/>
                      <a:pt x="421" y="9"/>
                      <a:pt x="419" y="10"/>
                    </a:cubicBezTo>
                    <a:cubicBezTo>
                      <a:pt x="418" y="11"/>
                      <a:pt x="413" y="13"/>
                      <a:pt x="413" y="14"/>
                    </a:cubicBezTo>
                    <a:cubicBezTo>
                      <a:pt x="412" y="15"/>
                      <a:pt x="413" y="17"/>
                      <a:pt x="414" y="18"/>
                    </a:cubicBezTo>
                    <a:cubicBezTo>
                      <a:pt x="415" y="18"/>
                      <a:pt x="416" y="19"/>
                      <a:pt x="417" y="19"/>
                    </a:cubicBezTo>
                    <a:cubicBezTo>
                      <a:pt x="417" y="20"/>
                      <a:pt x="418" y="23"/>
                      <a:pt x="417" y="24"/>
                    </a:cubicBezTo>
                    <a:cubicBezTo>
                      <a:pt x="416" y="25"/>
                      <a:pt x="417" y="28"/>
                      <a:pt x="414" y="27"/>
                    </a:cubicBezTo>
                    <a:cubicBezTo>
                      <a:pt x="412" y="26"/>
                      <a:pt x="406" y="22"/>
                      <a:pt x="406" y="22"/>
                    </a:cubicBezTo>
                    <a:cubicBezTo>
                      <a:pt x="405" y="22"/>
                      <a:pt x="406" y="18"/>
                      <a:pt x="404" y="22"/>
                    </a:cubicBezTo>
                    <a:cubicBezTo>
                      <a:pt x="402" y="25"/>
                      <a:pt x="401" y="26"/>
                      <a:pt x="402" y="28"/>
                    </a:cubicBezTo>
                    <a:cubicBezTo>
                      <a:pt x="403" y="30"/>
                      <a:pt x="404" y="30"/>
                      <a:pt x="404" y="31"/>
                    </a:cubicBezTo>
                    <a:cubicBezTo>
                      <a:pt x="404" y="32"/>
                      <a:pt x="400" y="32"/>
                      <a:pt x="400" y="33"/>
                    </a:cubicBezTo>
                    <a:cubicBezTo>
                      <a:pt x="400" y="34"/>
                      <a:pt x="399" y="35"/>
                      <a:pt x="401" y="37"/>
                    </a:cubicBezTo>
                    <a:cubicBezTo>
                      <a:pt x="403" y="38"/>
                      <a:pt x="405" y="39"/>
                      <a:pt x="405" y="39"/>
                    </a:cubicBezTo>
                    <a:cubicBezTo>
                      <a:pt x="405" y="39"/>
                      <a:pt x="407" y="42"/>
                      <a:pt x="406" y="42"/>
                    </a:cubicBezTo>
                    <a:cubicBezTo>
                      <a:pt x="406" y="43"/>
                      <a:pt x="400" y="42"/>
                      <a:pt x="400" y="43"/>
                    </a:cubicBezTo>
                    <a:cubicBezTo>
                      <a:pt x="400" y="44"/>
                      <a:pt x="400" y="46"/>
                      <a:pt x="400" y="47"/>
                    </a:cubicBezTo>
                    <a:cubicBezTo>
                      <a:pt x="400" y="48"/>
                      <a:pt x="400" y="50"/>
                      <a:pt x="400" y="50"/>
                    </a:cubicBezTo>
                    <a:cubicBezTo>
                      <a:pt x="400" y="51"/>
                      <a:pt x="396" y="51"/>
                      <a:pt x="395" y="52"/>
                    </a:cubicBezTo>
                    <a:cubicBezTo>
                      <a:pt x="393" y="53"/>
                      <a:pt x="392" y="56"/>
                      <a:pt x="392" y="58"/>
                    </a:cubicBezTo>
                    <a:cubicBezTo>
                      <a:pt x="391" y="60"/>
                      <a:pt x="391" y="62"/>
                      <a:pt x="391" y="63"/>
                    </a:cubicBezTo>
                    <a:cubicBezTo>
                      <a:pt x="391" y="64"/>
                      <a:pt x="389" y="66"/>
                      <a:pt x="389" y="66"/>
                    </a:cubicBezTo>
                    <a:cubicBezTo>
                      <a:pt x="389" y="66"/>
                      <a:pt x="389" y="67"/>
                      <a:pt x="387" y="66"/>
                    </a:cubicBezTo>
                    <a:cubicBezTo>
                      <a:pt x="385" y="66"/>
                      <a:pt x="378" y="62"/>
                      <a:pt x="377" y="62"/>
                    </a:cubicBezTo>
                    <a:cubicBezTo>
                      <a:pt x="375" y="62"/>
                      <a:pt x="373" y="63"/>
                      <a:pt x="373" y="65"/>
                    </a:cubicBezTo>
                    <a:cubicBezTo>
                      <a:pt x="373" y="66"/>
                      <a:pt x="376" y="69"/>
                      <a:pt x="377" y="69"/>
                    </a:cubicBezTo>
                    <a:cubicBezTo>
                      <a:pt x="377" y="69"/>
                      <a:pt x="382" y="70"/>
                      <a:pt x="383" y="71"/>
                    </a:cubicBezTo>
                    <a:cubicBezTo>
                      <a:pt x="383" y="72"/>
                      <a:pt x="383" y="79"/>
                      <a:pt x="383" y="79"/>
                    </a:cubicBezTo>
                    <a:cubicBezTo>
                      <a:pt x="383" y="79"/>
                      <a:pt x="387" y="87"/>
                      <a:pt x="380" y="80"/>
                    </a:cubicBezTo>
                    <a:cubicBezTo>
                      <a:pt x="372" y="73"/>
                      <a:pt x="372" y="72"/>
                      <a:pt x="371" y="71"/>
                    </a:cubicBezTo>
                    <a:cubicBezTo>
                      <a:pt x="370" y="71"/>
                      <a:pt x="363" y="69"/>
                      <a:pt x="363" y="69"/>
                    </a:cubicBezTo>
                    <a:cubicBezTo>
                      <a:pt x="363" y="69"/>
                      <a:pt x="362" y="66"/>
                      <a:pt x="361" y="69"/>
                    </a:cubicBezTo>
                    <a:cubicBezTo>
                      <a:pt x="360" y="71"/>
                      <a:pt x="363" y="76"/>
                      <a:pt x="363" y="76"/>
                    </a:cubicBezTo>
                    <a:cubicBezTo>
                      <a:pt x="362" y="75"/>
                      <a:pt x="362" y="75"/>
                      <a:pt x="362" y="75"/>
                    </a:cubicBezTo>
                    <a:cubicBezTo>
                      <a:pt x="362" y="75"/>
                      <a:pt x="359" y="73"/>
                      <a:pt x="357" y="72"/>
                    </a:cubicBezTo>
                    <a:cubicBezTo>
                      <a:pt x="356" y="70"/>
                      <a:pt x="353" y="72"/>
                      <a:pt x="353" y="72"/>
                    </a:cubicBezTo>
                    <a:cubicBezTo>
                      <a:pt x="353" y="72"/>
                      <a:pt x="352" y="73"/>
                      <a:pt x="350" y="75"/>
                    </a:cubicBezTo>
                    <a:cubicBezTo>
                      <a:pt x="349" y="76"/>
                      <a:pt x="345" y="72"/>
                      <a:pt x="349" y="77"/>
                    </a:cubicBezTo>
                    <a:cubicBezTo>
                      <a:pt x="352" y="81"/>
                      <a:pt x="355" y="82"/>
                      <a:pt x="356" y="83"/>
                    </a:cubicBezTo>
                    <a:cubicBezTo>
                      <a:pt x="356" y="83"/>
                      <a:pt x="360" y="84"/>
                      <a:pt x="361" y="85"/>
                    </a:cubicBezTo>
                    <a:cubicBezTo>
                      <a:pt x="362" y="86"/>
                      <a:pt x="362" y="89"/>
                      <a:pt x="362" y="90"/>
                    </a:cubicBezTo>
                    <a:cubicBezTo>
                      <a:pt x="362" y="90"/>
                      <a:pt x="365" y="94"/>
                      <a:pt x="360" y="91"/>
                    </a:cubicBezTo>
                    <a:cubicBezTo>
                      <a:pt x="355" y="87"/>
                      <a:pt x="355" y="86"/>
                      <a:pt x="353" y="86"/>
                    </a:cubicBezTo>
                    <a:cubicBezTo>
                      <a:pt x="352" y="86"/>
                      <a:pt x="350" y="88"/>
                      <a:pt x="350" y="88"/>
                    </a:cubicBezTo>
                    <a:cubicBezTo>
                      <a:pt x="350" y="88"/>
                      <a:pt x="344" y="87"/>
                      <a:pt x="344" y="84"/>
                    </a:cubicBezTo>
                    <a:cubicBezTo>
                      <a:pt x="343" y="81"/>
                      <a:pt x="345" y="76"/>
                      <a:pt x="341" y="77"/>
                    </a:cubicBezTo>
                    <a:cubicBezTo>
                      <a:pt x="336" y="77"/>
                      <a:pt x="335" y="79"/>
                      <a:pt x="335" y="80"/>
                    </a:cubicBezTo>
                    <a:cubicBezTo>
                      <a:pt x="335" y="81"/>
                      <a:pt x="332" y="82"/>
                      <a:pt x="335" y="85"/>
                    </a:cubicBezTo>
                    <a:cubicBezTo>
                      <a:pt x="338" y="88"/>
                      <a:pt x="340" y="90"/>
                      <a:pt x="341" y="90"/>
                    </a:cubicBezTo>
                    <a:cubicBezTo>
                      <a:pt x="341" y="90"/>
                      <a:pt x="347" y="90"/>
                      <a:pt x="344" y="91"/>
                    </a:cubicBezTo>
                    <a:cubicBezTo>
                      <a:pt x="342" y="93"/>
                      <a:pt x="338" y="93"/>
                      <a:pt x="337" y="93"/>
                    </a:cubicBezTo>
                    <a:cubicBezTo>
                      <a:pt x="336" y="93"/>
                      <a:pt x="337" y="92"/>
                      <a:pt x="336" y="93"/>
                    </a:cubicBezTo>
                    <a:cubicBezTo>
                      <a:pt x="334" y="94"/>
                      <a:pt x="329" y="99"/>
                      <a:pt x="329" y="99"/>
                    </a:cubicBezTo>
                    <a:cubicBezTo>
                      <a:pt x="329" y="99"/>
                      <a:pt x="328" y="97"/>
                      <a:pt x="328" y="96"/>
                    </a:cubicBezTo>
                    <a:cubicBezTo>
                      <a:pt x="328" y="95"/>
                      <a:pt x="332" y="93"/>
                      <a:pt x="332" y="91"/>
                    </a:cubicBezTo>
                    <a:cubicBezTo>
                      <a:pt x="332" y="89"/>
                      <a:pt x="330" y="82"/>
                      <a:pt x="330" y="82"/>
                    </a:cubicBezTo>
                    <a:cubicBezTo>
                      <a:pt x="330" y="82"/>
                      <a:pt x="326" y="80"/>
                      <a:pt x="326" y="80"/>
                    </a:cubicBezTo>
                    <a:cubicBezTo>
                      <a:pt x="325" y="79"/>
                      <a:pt x="322" y="77"/>
                      <a:pt x="321" y="78"/>
                    </a:cubicBezTo>
                    <a:cubicBezTo>
                      <a:pt x="320" y="79"/>
                      <a:pt x="318" y="82"/>
                      <a:pt x="320" y="84"/>
                    </a:cubicBezTo>
                    <a:cubicBezTo>
                      <a:pt x="322" y="87"/>
                      <a:pt x="324" y="89"/>
                      <a:pt x="323" y="89"/>
                    </a:cubicBezTo>
                    <a:cubicBezTo>
                      <a:pt x="321" y="90"/>
                      <a:pt x="320" y="91"/>
                      <a:pt x="319" y="90"/>
                    </a:cubicBezTo>
                    <a:cubicBezTo>
                      <a:pt x="318" y="90"/>
                      <a:pt x="316" y="88"/>
                      <a:pt x="313" y="89"/>
                    </a:cubicBezTo>
                    <a:cubicBezTo>
                      <a:pt x="310" y="90"/>
                      <a:pt x="307" y="96"/>
                      <a:pt x="307" y="96"/>
                    </a:cubicBezTo>
                    <a:cubicBezTo>
                      <a:pt x="307" y="96"/>
                      <a:pt x="310" y="102"/>
                      <a:pt x="311" y="103"/>
                    </a:cubicBezTo>
                    <a:cubicBezTo>
                      <a:pt x="312" y="103"/>
                      <a:pt x="313" y="105"/>
                      <a:pt x="313" y="107"/>
                    </a:cubicBezTo>
                    <a:cubicBezTo>
                      <a:pt x="312" y="109"/>
                      <a:pt x="313" y="106"/>
                      <a:pt x="311" y="107"/>
                    </a:cubicBezTo>
                    <a:cubicBezTo>
                      <a:pt x="308" y="108"/>
                      <a:pt x="307" y="109"/>
                      <a:pt x="305" y="109"/>
                    </a:cubicBezTo>
                    <a:cubicBezTo>
                      <a:pt x="303" y="109"/>
                      <a:pt x="298" y="115"/>
                      <a:pt x="298" y="115"/>
                    </a:cubicBezTo>
                    <a:cubicBezTo>
                      <a:pt x="301" y="119"/>
                      <a:pt x="301" y="119"/>
                      <a:pt x="301" y="119"/>
                    </a:cubicBezTo>
                    <a:cubicBezTo>
                      <a:pt x="301" y="119"/>
                      <a:pt x="293" y="122"/>
                      <a:pt x="291" y="123"/>
                    </a:cubicBezTo>
                    <a:cubicBezTo>
                      <a:pt x="290" y="123"/>
                      <a:pt x="294" y="122"/>
                      <a:pt x="289" y="123"/>
                    </a:cubicBezTo>
                    <a:cubicBezTo>
                      <a:pt x="285" y="125"/>
                      <a:pt x="282" y="129"/>
                      <a:pt x="281" y="131"/>
                    </a:cubicBezTo>
                    <a:cubicBezTo>
                      <a:pt x="281" y="132"/>
                      <a:pt x="277" y="132"/>
                      <a:pt x="277" y="135"/>
                    </a:cubicBezTo>
                    <a:cubicBezTo>
                      <a:pt x="277" y="137"/>
                      <a:pt x="278" y="141"/>
                      <a:pt x="277" y="142"/>
                    </a:cubicBezTo>
                    <a:cubicBezTo>
                      <a:pt x="277" y="143"/>
                      <a:pt x="277" y="143"/>
                      <a:pt x="277" y="145"/>
                    </a:cubicBezTo>
                    <a:cubicBezTo>
                      <a:pt x="277" y="147"/>
                      <a:pt x="276" y="149"/>
                      <a:pt x="279" y="149"/>
                    </a:cubicBezTo>
                    <a:cubicBezTo>
                      <a:pt x="282" y="149"/>
                      <a:pt x="286" y="147"/>
                      <a:pt x="287" y="146"/>
                    </a:cubicBezTo>
                    <a:cubicBezTo>
                      <a:pt x="287" y="145"/>
                      <a:pt x="288" y="141"/>
                      <a:pt x="289" y="143"/>
                    </a:cubicBezTo>
                    <a:cubicBezTo>
                      <a:pt x="291" y="144"/>
                      <a:pt x="291" y="148"/>
                      <a:pt x="291" y="148"/>
                    </a:cubicBezTo>
                    <a:cubicBezTo>
                      <a:pt x="291" y="148"/>
                      <a:pt x="291" y="152"/>
                      <a:pt x="291" y="153"/>
                    </a:cubicBezTo>
                    <a:cubicBezTo>
                      <a:pt x="290" y="155"/>
                      <a:pt x="297" y="153"/>
                      <a:pt x="290" y="156"/>
                    </a:cubicBezTo>
                    <a:cubicBezTo>
                      <a:pt x="283" y="160"/>
                      <a:pt x="281" y="160"/>
                      <a:pt x="281" y="161"/>
                    </a:cubicBezTo>
                    <a:cubicBezTo>
                      <a:pt x="281" y="163"/>
                      <a:pt x="285" y="168"/>
                      <a:pt x="280" y="166"/>
                    </a:cubicBezTo>
                    <a:cubicBezTo>
                      <a:pt x="275" y="165"/>
                      <a:pt x="275" y="166"/>
                      <a:pt x="275" y="165"/>
                    </a:cubicBezTo>
                    <a:cubicBezTo>
                      <a:pt x="274" y="164"/>
                      <a:pt x="276" y="170"/>
                      <a:pt x="270" y="161"/>
                    </a:cubicBezTo>
                    <a:cubicBezTo>
                      <a:pt x="264" y="152"/>
                      <a:pt x="264" y="153"/>
                      <a:pt x="264" y="151"/>
                    </a:cubicBezTo>
                    <a:cubicBezTo>
                      <a:pt x="264" y="149"/>
                      <a:pt x="263" y="142"/>
                      <a:pt x="263" y="142"/>
                    </a:cubicBezTo>
                    <a:cubicBezTo>
                      <a:pt x="263" y="142"/>
                      <a:pt x="262" y="135"/>
                      <a:pt x="259" y="138"/>
                    </a:cubicBezTo>
                    <a:cubicBezTo>
                      <a:pt x="255" y="141"/>
                      <a:pt x="255" y="146"/>
                      <a:pt x="255" y="146"/>
                    </a:cubicBezTo>
                    <a:cubicBezTo>
                      <a:pt x="255" y="146"/>
                      <a:pt x="250" y="151"/>
                      <a:pt x="249" y="152"/>
                    </a:cubicBezTo>
                    <a:cubicBezTo>
                      <a:pt x="248" y="152"/>
                      <a:pt x="246" y="152"/>
                      <a:pt x="243" y="154"/>
                    </a:cubicBezTo>
                    <a:cubicBezTo>
                      <a:pt x="241" y="157"/>
                      <a:pt x="234" y="167"/>
                      <a:pt x="234" y="167"/>
                    </a:cubicBezTo>
                    <a:cubicBezTo>
                      <a:pt x="234" y="167"/>
                      <a:pt x="230" y="174"/>
                      <a:pt x="231" y="176"/>
                    </a:cubicBezTo>
                    <a:cubicBezTo>
                      <a:pt x="232" y="178"/>
                      <a:pt x="235" y="181"/>
                      <a:pt x="235" y="181"/>
                    </a:cubicBezTo>
                    <a:cubicBezTo>
                      <a:pt x="235" y="181"/>
                      <a:pt x="236" y="180"/>
                      <a:pt x="236" y="183"/>
                    </a:cubicBezTo>
                    <a:cubicBezTo>
                      <a:pt x="236" y="186"/>
                      <a:pt x="241" y="187"/>
                      <a:pt x="241" y="187"/>
                    </a:cubicBezTo>
                    <a:cubicBezTo>
                      <a:pt x="241" y="187"/>
                      <a:pt x="243" y="188"/>
                      <a:pt x="241" y="190"/>
                    </a:cubicBezTo>
                    <a:cubicBezTo>
                      <a:pt x="238" y="192"/>
                      <a:pt x="230" y="193"/>
                      <a:pt x="230" y="193"/>
                    </a:cubicBezTo>
                    <a:cubicBezTo>
                      <a:pt x="222" y="193"/>
                      <a:pt x="222" y="193"/>
                      <a:pt x="222" y="193"/>
                    </a:cubicBezTo>
                    <a:cubicBezTo>
                      <a:pt x="222" y="193"/>
                      <a:pt x="218" y="198"/>
                      <a:pt x="217" y="198"/>
                    </a:cubicBezTo>
                    <a:cubicBezTo>
                      <a:pt x="215" y="199"/>
                      <a:pt x="212" y="201"/>
                      <a:pt x="211" y="204"/>
                    </a:cubicBezTo>
                    <a:cubicBezTo>
                      <a:pt x="211" y="206"/>
                      <a:pt x="202" y="214"/>
                      <a:pt x="202" y="214"/>
                    </a:cubicBezTo>
                    <a:cubicBezTo>
                      <a:pt x="202" y="214"/>
                      <a:pt x="202" y="217"/>
                      <a:pt x="202" y="218"/>
                    </a:cubicBezTo>
                    <a:cubicBezTo>
                      <a:pt x="202" y="219"/>
                      <a:pt x="198" y="221"/>
                      <a:pt x="200" y="222"/>
                    </a:cubicBezTo>
                    <a:cubicBezTo>
                      <a:pt x="202" y="223"/>
                      <a:pt x="205" y="224"/>
                      <a:pt x="207" y="220"/>
                    </a:cubicBezTo>
                    <a:cubicBezTo>
                      <a:pt x="209" y="217"/>
                      <a:pt x="209" y="212"/>
                      <a:pt x="209" y="212"/>
                    </a:cubicBezTo>
                    <a:cubicBezTo>
                      <a:pt x="209" y="212"/>
                      <a:pt x="211" y="210"/>
                      <a:pt x="213" y="210"/>
                    </a:cubicBezTo>
                    <a:cubicBezTo>
                      <a:pt x="216" y="210"/>
                      <a:pt x="219" y="207"/>
                      <a:pt x="222" y="206"/>
                    </a:cubicBezTo>
                    <a:cubicBezTo>
                      <a:pt x="225" y="206"/>
                      <a:pt x="229" y="201"/>
                      <a:pt x="230" y="201"/>
                    </a:cubicBezTo>
                    <a:cubicBezTo>
                      <a:pt x="232" y="201"/>
                      <a:pt x="231" y="202"/>
                      <a:pt x="235" y="201"/>
                    </a:cubicBezTo>
                    <a:cubicBezTo>
                      <a:pt x="239" y="201"/>
                      <a:pt x="243" y="201"/>
                      <a:pt x="244" y="200"/>
                    </a:cubicBezTo>
                    <a:cubicBezTo>
                      <a:pt x="246" y="199"/>
                      <a:pt x="254" y="204"/>
                      <a:pt x="255" y="205"/>
                    </a:cubicBezTo>
                    <a:cubicBezTo>
                      <a:pt x="255" y="206"/>
                      <a:pt x="248" y="207"/>
                      <a:pt x="251" y="209"/>
                    </a:cubicBezTo>
                    <a:cubicBezTo>
                      <a:pt x="255" y="211"/>
                      <a:pt x="255" y="212"/>
                      <a:pt x="256" y="212"/>
                    </a:cubicBezTo>
                    <a:cubicBezTo>
                      <a:pt x="257" y="212"/>
                      <a:pt x="259" y="211"/>
                      <a:pt x="262" y="210"/>
                    </a:cubicBezTo>
                    <a:cubicBezTo>
                      <a:pt x="264" y="208"/>
                      <a:pt x="260" y="205"/>
                      <a:pt x="266" y="207"/>
                    </a:cubicBezTo>
                    <a:cubicBezTo>
                      <a:pt x="271" y="209"/>
                      <a:pt x="271" y="211"/>
                      <a:pt x="271" y="211"/>
                    </a:cubicBezTo>
                    <a:cubicBezTo>
                      <a:pt x="270" y="213"/>
                      <a:pt x="270" y="213"/>
                      <a:pt x="270" y="213"/>
                    </a:cubicBezTo>
                    <a:cubicBezTo>
                      <a:pt x="266" y="214"/>
                      <a:pt x="266" y="214"/>
                      <a:pt x="266" y="214"/>
                    </a:cubicBezTo>
                    <a:cubicBezTo>
                      <a:pt x="260" y="213"/>
                      <a:pt x="260" y="213"/>
                      <a:pt x="260" y="213"/>
                    </a:cubicBezTo>
                    <a:cubicBezTo>
                      <a:pt x="256" y="215"/>
                      <a:pt x="256" y="215"/>
                      <a:pt x="256" y="215"/>
                    </a:cubicBezTo>
                    <a:cubicBezTo>
                      <a:pt x="256" y="215"/>
                      <a:pt x="255" y="216"/>
                      <a:pt x="254" y="216"/>
                    </a:cubicBezTo>
                    <a:cubicBezTo>
                      <a:pt x="254" y="216"/>
                      <a:pt x="245" y="217"/>
                      <a:pt x="245" y="217"/>
                    </a:cubicBezTo>
                    <a:cubicBezTo>
                      <a:pt x="241" y="223"/>
                      <a:pt x="241" y="223"/>
                      <a:pt x="241" y="223"/>
                    </a:cubicBezTo>
                    <a:cubicBezTo>
                      <a:pt x="241" y="223"/>
                      <a:pt x="244" y="227"/>
                      <a:pt x="244" y="227"/>
                    </a:cubicBezTo>
                    <a:cubicBezTo>
                      <a:pt x="245" y="227"/>
                      <a:pt x="251" y="225"/>
                      <a:pt x="251" y="226"/>
                    </a:cubicBezTo>
                    <a:cubicBezTo>
                      <a:pt x="252" y="226"/>
                      <a:pt x="253" y="228"/>
                      <a:pt x="252" y="229"/>
                    </a:cubicBezTo>
                    <a:cubicBezTo>
                      <a:pt x="252" y="230"/>
                      <a:pt x="248" y="233"/>
                      <a:pt x="248" y="233"/>
                    </a:cubicBezTo>
                    <a:cubicBezTo>
                      <a:pt x="246" y="237"/>
                      <a:pt x="246" y="237"/>
                      <a:pt x="246" y="237"/>
                    </a:cubicBezTo>
                    <a:cubicBezTo>
                      <a:pt x="246" y="237"/>
                      <a:pt x="250" y="238"/>
                      <a:pt x="251" y="238"/>
                    </a:cubicBezTo>
                    <a:cubicBezTo>
                      <a:pt x="251" y="238"/>
                      <a:pt x="257" y="238"/>
                      <a:pt x="256" y="239"/>
                    </a:cubicBezTo>
                    <a:cubicBezTo>
                      <a:pt x="256" y="239"/>
                      <a:pt x="247" y="240"/>
                      <a:pt x="247" y="240"/>
                    </a:cubicBezTo>
                    <a:cubicBezTo>
                      <a:pt x="247" y="240"/>
                      <a:pt x="239" y="239"/>
                      <a:pt x="240" y="239"/>
                    </a:cubicBezTo>
                    <a:cubicBezTo>
                      <a:pt x="240" y="240"/>
                      <a:pt x="239" y="242"/>
                      <a:pt x="239" y="243"/>
                    </a:cubicBezTo>
                    <a:cubicBezTo>
                      <a:pt x="239" y="243"/>
                      <a:pt x="237" y="246"/>
                      <a:pt x="237" y="246"/>
                    </a:cubicBezTo>
                    <a:cubicBezTo>
                      <a:pt x="236" y="246"/>
                      <a:pt x="234" y="246"/>
                      <a:pt x="233" y="247"/>
                    </a:cubicBezTo>
                    <a:cubicBezTo>
                      <a:pt x="233" y="248"/>
                      <a:pt x="232" y="250"/>
                      <a:pt x="232" y="252"/>
                    </a:cubicBezTo>
                    <a:cubicBezTo>
                      <a:pt x="232" y="253"/>
                      <a:pt x="235" y="256"/>
                      <a:pt x="235" y="256"/>
                    </a:cubicBezTo>
                    <a:cubicBezTo>
                      <a:pt x="234" y="258"/>
                      <a:pt x="234" y="258"/>
                      <a:pt x="234" y="258"/>
                    </a:cubicBezTo>
                    <a:cubicBezTo>
                      <a:pt x="230" y="262"/>
                      <a:pt x="230" y="262"/>
                      <a:pt x="230" y="262"/>
                    </a:cubicBezTo>
                    <a:cubicBezTo>
                      <a:pt x="230" y="262"/>
                      <a:pt x="228" y="263"/>
                      <a:pt x="228" y="264"/>
                    </a:cubicBezTo>
                    <a:cubicBezTo>
                      <a:pt x="229" y="264"/>
                      <a:pt x="225" y="266"/>
                      <a:pt x="225" y="266"/>
                    </a:cubicBezTo>
                    <a:cubicBezTo>
                      <a:pt x="218" y="270"/>
                      <a:pt x="218" y="270"/>
                      <a:pt x="218" y="270"/>
                    </a:cubicBezTo>
                    <a:cubicBezTo>
                      <a:pt x="218" y="270"/>
                      <a:pt x="219" y="273"/>
                      <a:pt x="219" y="274"/>
                    </a:cubicBezTo>
                    <a:cubicBezTo>
                      <a:pt x="219" y="274"/>
                      <a:pt x="222" y="276"/>
                      <a:pt x="220" y="278"/>
                    </a:cubicBezTo>
                    <a:cubicBezTo>
                      <a:pt x="218" y="279"/>
                      <a:pt x="216" y="280"/>
                      <a:pt x="215" y="281"/>
                    </a:cubicBezTo>
                    <a:cubicBezTo>
                      <a:pt x="215" y="281"/>
                      <a:pt x="213" y="282"/>
                      <a:pt x="213" y="285"/>
                    </a:cubicBezTo>
                    <a:cubicBezTo>
                      <a:pt x="214" y="287"/>
                      <a:pt x="212" y="290"/>
                      <a:pt x="211" y="290"/>
                    </a:cubicBezTo>
                    <a:cubicBezTo>
                      <a:pt x="211" y="290"/>
                      <a:pt x="209" y="291"/>
                      <a:pt x="209" y="294"/>
                    </a:cubicBezTo>
                    <a:cubicBezTo>
                      <a:pt x="210" y="296"/>
                      <a:pt x="209" y="303"/>
                      <a:pt x="209" y="303"/>
                    </a:cubicBezTo>
                    <a:cubicBezTo>
                      <a:pt x="209" y="303"/>
                      <a:pt x="212" y="307"/>
                      <a:pt x="213" y="307"/>
                    </a:cubicBezTo>
                    <a:cubicBezTo>
                      <a:pt x="213" y="307"/>
                      <a:pt x="218" y="305"/>
                      <a:pt x="219" y="306"/>
                    </a:cubicBezTo>
                    <a:cubicBezTo>
                      <a:pt x="221" y="306"/>
                      <a:pt x="224" y="308"/>
                      <a:pt x="224" y="308"/>
                    </a:cubicBezTo>
                    <a:cubicBezTo>
                      <a:pt x="224" y="308"/>
                      <a:pt x="223" y="313"/>
                      <a:pt x="222" y="314"/>
                    </a:cubicBezTo>
                    <a:cubicBezTo>
                      <a:pt x="221" y="314"/>
                      <a:pt x="215" y="315"/>
                      <a:pt x="215" y="315"/>
                    </a:cubicBezTo>
                    <a:cubicBezTo>
                      <a:pt x="215" y="315"/>
                      <a:pt x="212" y="313"/>
                      <a:pt x="211" y="313"/>
                    </a:cubicBezTo>
                    <a:cubicBezTo>
                      <a:pt x="210" y="314"/>
                      <a:pt x="205" y="319"/>
                      <a:pt x="205" y="319"/>
                    </a:cubicBezTo>
                    <a:cubicBezTo>
                      <a:pt x="205" y="319"/>
                      <a:pt x="205" y="322"/>
                      <a:pt x="204" y="322"/>
                    </a:cubicBezTo>
                    <a:cubicBezTo>
                      <a:pt x="202" y="323"/>
                      <a:pt x="201" y="321"/>
                      <a:pt x="201" y="323"/>
                    </a:cubicBezTo>
                    <a:cubicBezTo>
                      <a:pt x="201" y="324"/>
                      <a:pt x="201" y="327"/>
                      <a:pt x="201" y="328"/>
                    </a:cubicBezTo>
                    <a:cubicBezTo>
                      <a:pt x="201" y="330"/>
                      <a:pt x="201" y="333"/>
                      <a:pt x="201" y="333"/>
                    </a:cubicBezTo>
                    <a:cubicBezTo>
                      <a:pt x="201" y="333"/>
                      <a:pt x="199" y="337"/>
                      <a:pt x="198" y="339"/>
                    </a:cubicBezTo>
                    <a:cubicBezTo>
                      <a:pt x="197" y="341"/>
                      <a:pt x="195" y="346"/>
                      <a:pt x="195" y="347"/>
                    </a:cubicBezTo>
                    <a:cubicBezTo>
                      <a:pt x="196" y="348"/>
                      <a:pt x="198" y="353"/>
                      <a:pt x="198" y="353"/>
                    </a:cubicBezTo>
                    <a:cubicBezTo>
                      <a:pt x="191" y="357"/>
                      <a:pt x="191" y="357"/>
                      <a:pt x="191" y="357"/>
                    </a:cubicBezTo>
                    <a:cubicBezTo>
                      <a:pt x="193" y="362"/>
                      <a:pt x="193" y="362"/>
                      <a:pt x="193" y="362"/>
                    </a:cubicBezTo>
                    <a:cubicBezTo>
                      <a:pt x="193" y="362"/>
                      <a:pt x="194" y="362"/>
                      <a:pt x="194" y="363"/>
                    </a:cubicBezTo>
                    <a:cubicBezTo>
                      <a:pt x="194" y="365"/>
                      <a:pt x="189" y="368"/>
                      <a:pt x="189" y="368"/>
                    </a:cubicBezTo>
                    <a:cubicBezTo>
                      <a:pt x="189" y="368"/>
                      <a:pt x="189" y="373"/>
                      <a:pt x="189" y="374"/>
                    </a:cubicBezTo>
                    <a:cubicBezTo>
                      <a:pt x="189" y="375"/>
                      <a:pt x="184" y="371"/>
                      <a:pt x="184" y="371"/>
                    </a:cubicBezTo>
                    <a:cubicBezTo>
                      <a:pt x="180" y="372"/>
                      <a:pt x="180" y="372"/>
                      <a:pt x="180" y="372"/>
                    </a:cubicBezTo>
                    <a:cubicBezTo>
                      <a:pt x="180" y="376"/>
                      <a:pt x="180" y="376"/>
                      <a:pt x="180" y="376"/>
                    </a:cubicBezTo>
                    <a:cubicBezTo>
                      <a:pt x="178" y="380"/>
                      <a:pt x="178" y="380"/>
                      <a:pt x="178" y="380"/>
                    </a:cubicBezTo>
                    <a:cubicBezTo>
                      <a:pt x="171" y="380"/>
                      <a:pt x="171" y="380"/>
                      <a:pt x="171" y="380"/>
                    </a:cubicBezTo>
                    <a:cubicBezTo>
                      <a:pt x="171" y="380"/>
                      <a:pt x="165" y="384"/>
                      <a:pt x="165" y="384"/>
                    </a:cubicBezTo>
                    <a:cubicBezTo>
                      <a:pt x="166" y="385"/>
                      <a:pt x="163" y="388"/>
                      <a:pt x="166" y="388"/>
                    </a:cubicBezTo>
                    <a:cubicBezTo>
                      <a:pt x="168" y="388"/>
                      <a:pt x="169" y="388"/>
                      <a:pt x="170" y="388"/>
                    </a:cubicBezTo>
                    <a:cubicBezTo>
                      <a:pt x="172" y="387"/>
                      <a:pt x="176" y="385"/>
                      <a:pt x="177" y="385"/>
                    </a:cubicBezTo>
                    <a:cubicBezTo>
                      <a:pt x="178" y="385"/>
                      <a:pt x="181" y="385"/>
                      <a:pt x="179" y="387"/>
                    </a:cubicBezTo>
                    <a:cubicBezTo>
                      <a:pt x="177" y="389"/>
                      <a:pt x="175" y="389"/>
                      <a:pt x="174" y="390"/>
                    </a:cubicBezTo>
                    <a:cubicBezTo>
                      <a:pt x="172" y="391"/>
                      <a:pt x="169" y="391"/>
                      <a:pt x="169" y="394"/>
                    </a:cubicBezTo>
                    <a:cubicBezTo>
                      <a:pt x="169" y="397"/>
                      <a:pt x="168" y="400"/>
                      <a:pt x="168" y="400"/>
                    </a:cubicBezTo>
                    <a:cubicBezTo>
                      <a:pt x="175" y="398"/>
                      <a:pt x="175" y="398"/>
                      <a:pt x="175" y="398"/>
                    </a:cubicBezTo>
                    <a:cubicBezTo>
                      <a:pt x="175" y="398"/>
                      <a:pt x="177" y="397"/>
                      <a:pt x="177" y="400"/>
                    </a:cubicBezTo>
                    <a:cubicBezTo>
                      <a:pt x="178" y="404"/>
                      <a:pt x="175" y="405"/>
                      <a:pt x="173" y="405"/>
                    </a:cubicBezTo>
                    <a:cubicBezTo>
                      <a:pt x="172" y="405"/>
                      <a:pt x="167" y="401"/>
                      <a:pt x="167" y="401"/>
                    </a:cubicBezTo>
                    <a:cubicBezTo>
                      <a:pt x="163" y="404"/>
                      <a:pt x="163" y="404"/>
                      <a:pt x="163" y="404"/>
                    </a:cubicBezTo>
                    <a:cubicBezTo>
                      <a:pt x="163" y="404"/>
                      <a:pt x="162" y="403"/>
                      <a:pt x="158" y="406"/>
                    </a:cubicBezTo>
                    <a:cubicBezTo>
                      <a:pt x="154" y="410"/>
                      <a:pt x="152" y="415"/>
                      <a:pt x="152" y="416"/>
                    </a:cubicBezTo>
                    <a:cubicBezTo>
                      <a:pt x="152" y="417"/>
                      <a:pt x="152" y="419"/>
                      <a:pt x="149" y="421"/>
                    </a:cubicBezTo>
                    <a:cubicBezTo>
                      <a:pt x="147" y="422"/>
                      <a:pt x="144" y="425"/>
                      <a:pt x="144" y="425"/>
                    </a:cubicBezTo>
                    <a:cubicBezTo>
                      <a:pt x="144" y="425"/>
                      <a:pt x="143" y="428"/>
                      <a:pt x="142" y="430"/>
                    </a:cubicBezTo>
                    <a:cubicBezTo>
                      <a:pt x="141" y="432"/>
                      <a:pt x="141" y="432"/>
                      <a:pt x="141" y="432"/>
                    </a:cubicBezTo>
                    <a:cubicBezTo>
                      <a:pt x="145" y="436"/>
                      <a:pt x="145" y="436"/>
                      <a:pt x="145" y="436"/>
                    </a:cubicBezTo>
                    <a:cubicBezTo>
                      <a:pt x="138" y="440"/>
                      <a:pt x="138" y="440"/>
                      <a:pt x="138" y="440"/>
                    </a:cubicBezTo>
                    <a:cubicBezTo>
                      <a:pt x="135" y="442"/>
                      <a:pt x="135" y="442"/>
                      <a:pt x="135" y="442"/>
                    </a:cubicBezTo>
                    <a:cubicBezTo>
                      <a:pt x="135" y="442"/>
                      <a:pt x="129" y="448"/>
                      <a:pt x="133" y="449"/>
                    </a:cubicBezTo>
                    <a:cubicBezTo>
                      <a:pt x="138" y="450"/>
                      <a:pt x="141" y="450"/>
                      <a:pt x="141" y="450"/>
                    </a:cubicBezTo>
                    <a:cubicBezTo>
                      <a:pt x="141" y="450"/>
                      <a:pt x="140" y="456"/>
                      <a:pt x="141" y="456"/>
                    </a:cubicBezTo>
                    <a:cubicBezTo>
                      <a:pt x="142" y="456"/>
                      <a:pt x="151" y="456"/>
                      <a:pt x="151" y="456"/>
                    </a:cubicBezTo>
                    <a:cubicBezTo>
                      <a:pt x="156" y="452"/>
                      <a:pt x="156" y="452"/>
                      <a:pt x="156" y="452"/>
                    </a:cubicBezTo>
                    <a:cubicBezTo>
                      <a:pt x="159" y="450"/>
                      <a:pt x="159" y="450"/>
                      <a:pt x="159" y="450"/>
                    </a:cubicBezTo>
                    <a:cubicBezTo>
                      <a:pt x="161" y="454"/>
                      <a:pt x="161" y="454"/>
                      <a:pt x="161" y="454"/>
                    </a:cubicBezTo>
                    <a:cubicBezTo>
                      <a:pt x="161" y="454"/>
                      <a:pt x="159" y="457"/>
                      <a:pt x="157" y="457"/>
                    </a:cubicBezTo>
                    <a:cubicBezTo>
                      <a:pt x="154" y="457"/>
                      <a:pt x="155" y="457"/>
                      <a:pt x="153" y="459"/>
                    </a:cubicBezTo>
                    <a:cubicBezTo>
                      <a:pt x="150" y="462"/>
                      <a:pt x="149" y="463"/>
                      <a:pt x="147" y="463"/>
                    </a:cubicBezTo>
                    <a:cubicBezTo>
                      <a:pt x="146" y="463"/>
                      <a:pt x="144" y="466"/>
                      <a:pt x="142" y="462"/>
                    </a:cubicBezTo>
                    <a:cubicBezTo>
                      <a:pt x="141" y="459"/>
                      <a:pt x="139" y="456"/>
                      <a:pt x="139" y="456"/>
                    </a:cubicBezTo>
                    <a:cubicBezTo>
                      <a:pt x="130" y="452"/>
                      <a:pt x="130" y="452"/>
                      <a:pt x="130" y="452"/>
                    </a:cubicBezTo>
                    <a:cubicBezTo>
                      <a:pt x="128" y="453"/>
                      <a:pt x="128" y="453"/>
                      <a:pt x="128" y="453"/>
                    </a:cubicBezTo>
                    <a:cubicBezTo>
                      <a:pt x="128" y="453"/>
                      <a:pt x="127" y="457"/>
                      <a:pt x="126" y="457"/>
                    </a:cubicBezTo>
                    <a:cubicBezTo>
                      <a:pt x="125" y="457"/>
                      <a:pt x="119" y="457"/>
                      <a:pt x="117" y="457"/>
                    </a:cubicBezTo>
                    <a:cubicBezTo>
                      <a:pt x="116" y="457"/>
                      <a:pt x="114" y="457"/>
                      <a:pt x="114" y="456"/>
                    </a:cubicBezTo>
                    <a:cubicBezTo>
                      <a:pt x="113" y="454"/>
                      <a:pt x="114" y="454"/>
                      <a:pt x="113" y="453"/>
                    </a:cubicBezTo>
                    <a:cubicBezTo>
                      <a:pt x="112" y="452"/>
                      <a:pt x="110" y="448"/>
                      <a:pt x="108" y="449"/>
                    </a:cubicBezTo>
                    <a:cubicBezTo>
                      <a:pt x="107" y="449"/>
                      <a:pt x="102" y="451"/>
                      <a:pt x="102" y="451"/>
                    </a:cubicBezTo>
                    <a:cubicBezTo>
                      <a:pt x="101" y="459"/>
                      <a:pt x="101" y="459"/>
                      <a:pt x="101" y="459"/>
                    </a:cubicBezTo>
                    <a:cubicBezTo>
                      <a:pt x="101" y="459"/>
                      <a:pt x="98" y="459"/>
                      <a:pt x="99" y="461"/>
                    </a:cubicBezTo>
                    <a:cubicBezTo>
                      <a:pt x="99" y="463"/>
                      <a:pt x="103" y="465"/>
                      <a:pt x="103" y="465"/>
                    </a:cubicBezTo>
                    <a:cubicBezTo>
                      <a:pt x="103" y="465"/>
                      <a:pt x="105" y="467"/>
                      <a:pt x="105" y="468"/>
                    </a:cubicBezTo>
                    <a:cubicBezTo>
                      <a:pt x="106" y="470"/>
                      <a:pt x="103" y="472"/>
                      <a:pt x="103" y="472"/>
                    </a:cubicBezTo>
                    <a:cubicBezTo>
                      <a:pt x="103" y="472"/>
                      <a:pt x="98" y="472"/>
                      <a:pt x="97" y="474"/>
                    </a:cubicBezTo>
                    <a:cubicBezTo>
                      <a:pt x="97" y="475"/>
                      <a:pt x="98" y="478"/>
                      <a:pt x="97" y="478"/>
                    </a:cubicBezTo>
                    <a:cubicBezTo>
                      <a:pt x="96" y="479"/>
                      <a:pt x="95" y="481"/>
                      <a:pt x="95" y="482"/>
                    </a:cubicBezTo>
                    <a:cubicBezTo>
                      <a:pt x="95" y="482"/>
                      <a:pt x="97" y="487"/>
                      <a:pt x="97" y="487"/>
                    </a:cubicBezTo>
                    <a:cubicBezTo>
                      <a:pt x="97" y="487"/>
                      <a:pt x="97" y="491"/>
                      <a:pt x="95" y="489"/>
                    </a:cubicBezTo>
                    <a:cubicBezTo>
                      <a:pt x="93" y="487"/>
                      <a:pt x="87" y="484"/>
                      <a:pt x="87" y="484"/>
                    </a:cubicBezTo>
                    <a:cubicBezTo>
                      <a:pt x="83" y="481"/>
                      <a:pt x="83" y="481"/>
                      <a:pt x="83" y="481"/>
                    </a:cubicBezTo>
                    <a:cubicBezTo>
                      <a:pt x="83" y="481"/>
                      <a:pt x="79" y="484"/>
                      <a:pt x="78" y="484"/>
                    </a:cubicBezTo>
                    <a:cubicBezTo>
                      <a:pt x="78" y="485"/>
                      <a:pt x="71" y="484"/>
                      <a:pt x="69" y="485"/>
                    </a:cubicBezTo>
                    <a:cubicBezTo>
                      <a:pt x="68" y="486"/>
                      <a:pt x="68" y="487"/>
                      <a:pt x="67" y="489"/>
                    </a:cubicBezTo>
                    <a:cubicBezTo>
                      <a:pt x="65" y="491"/>
                      <a:pt x="62" y="491"/>
                      <a:pt x="65" y="494"/>
                    </a:cubicBezTo>
                    <a:cubicBezTo>
                      <a:pt x="67" y="497"/>
                      <a:pt x="72" y="498"/>
                      <a:pt x="72" y="498"/>
                    </a:cubicBezTo>
                    <a:cubicBezTo>
                      <a:pt x="72" y="498"/>
                      <a:pt x="74" y="499"/>
                      <a:pt x="72" y="502"/>
                    </a:cubicBezTo>
                    <a:cubicBezTo>
                      <a:pt x="70" y="506"/>
                      <a:pt x="66" y="503"/>
                      <a:pt x="65" y="503"/>
                    </a:cubicBezTo>
                    <a:cubicBezTo>
                      <a:pt x="64" y="502"/>
                      <a:pt x="60" y="499"/>
                      <a:pt x="59" y="500"/>
                    </a:cubicBezTo>
                    <a:cubicBezTo>
                      <a:pt x="58" y="501"/>
                      <a:pt x="55" y="506"/>
                      <a:pt x="55" y="506"/>
                    </a:cubicBezTo>
                    <a:cubicBezTo>
                      <a:pt x="55" y="506"/>
                      <a:pt x="52" y="507"/>
                      <a:pt x="51" y="506"/>
                    </a:cubicBezTo>
                    <a:cubicBezTo>
                      <a:pt x="50" y="506"/>
                      <a:pt x="47" y="501"/>
                      <a:pt x="46" y="502"/>
                    </a:cubicBezTo>
                    <a:cubicBezTo>
                      <a:pt x="45" y="503"/>
                      <a:pt x="44" y="505"/>
                      <a:pt x="44" y="506"/>
                    </a:cubicBezTo>
                    <a:cubicBezTo>
                      <a:pt x="44" y="507"/>
                      <a:pt x="46" y="509"/>
                      <a:pt x="45" y="510"/>
                    </a:cubicBezTo>
                    <a:cubicBezTo>
                      <a:pt x="45" y="511"/>
                      <a:pt x="40" y="512"/>
                      <a:pt x="39" y="513"/>
                    </a:cubicBezTo>
                    <a:cubicBezTo>
                      <a:pt x="39" y="514"/>
                      <a:pt x="39" y="512"/>
                      <a:pt x="37" y="516"/>
                    </a:cubicBezTo>
                    <a:cubicBezTo>
                      <a:pt x="36" y="520"/>
                      <a:pt x="37" y="520"/>
                      <a:pt x="36" y="520"/>
                    </a:cubicBezTo>
                    <a:cubicBezTo>
                      <a:pt x="34" y="521"/>
                      <a:pt x="30" y="518"/>
                      <a:pt x="30" y="518"/>
                    </a:cubicBezTo>
                    <a:cubicBezTo>
                      <a:pt x="30" y="518"/>
                      <a:pt x="27" y="515"/>
                      <a:pt x="27" y="518"/>
                    </a:cubicBezTo>
                    <a:cubicBezTo>
                      <a:pt x="27" y="522"/>
                      <a:pt x="26" y="526"/>
                      <a:pt x="26" y="526"/>
                    </a:cubicBezTo>
                    <a:cubicBezTo>
                      <a:pt x="29" y="528"/>
                      <a:pt x="29" y="528"/>
                      <a:pt x="29" y="528"/>
                    </a:cubicBezTo>
                    <a:cubicBezTo>
                      <a:pt x="29" y="528"/>
                      <a:pt x="28" y="530"/>
                      <a:pt x="27" y="530"/>
                    </a:cubicBezTo>
                    <a:cubicBezTo>
                      <a:pt x="27" y="530"/>
                      <a:pt x="25" y="529"/>
                      <a:pt x="24" y="527"/>
                    </a:cubicBezTo>
                    <a:cubicBezTo>
                      <a:pt x="23" y="526"/>
                      <a:pt x="24" y="526"/>
                      <a:pt x="21" y="525"/>
                    </a:cubicBezTo>
                    <a:cubicBezTo>
                      <a:pt x="18" y="524"/>
                      <a:pt x="16" y="522"/>
                      <a:pt x="16" y="524"/>
                    </a:cubicBezTo>
                    <a:cubicBezTo>
                      <a:pt x="16" y="525"/>
                      <a:pt x="15" y="527"/>
                      <a:pt x="16" y="528"/>
                    </a:cubicBezTo>
                    <a:cubicBezTo>
                      <a:pt x="17" y="530"/>
                      <a:pt x="19" y="532"/>
                      <a:pt x="19" y="532"/>
                    </a:cubicBezTo>
                    <a:cubicBezTo>
                      <a:pt x="20" y="532"/>
                      <a:pt x="20" y="532"/>
                      <a:pt x="20" y="532"/>
                    </a:cubicBezTo>
                    <a:cubicBezTo>
                      <a:pt x="20" y="532"/>
                      <a:pt x="19" y="535"/>
                      <a:pt x="18" y="535"/>
                    </a:cubicBezTo>
                    <a:cubicBezTo>
                      <a:pt x="17" y="536"/>
                      <a:pt x="16" y="534"/>
                      <a:pt x="15" y="534"/>
                    </a:cubicBezTo>
                    <a:cubicBezTo>
                      <a:pt x="15" y="534"/>
                      <a:pt x="12" y="536"/>
                      <a:pt x="12" y="536"/>
                    </a:cubicBezTo>
                    <a:cubicBezTo>
                      <a:pt x="12" y="536"/>
                      <a:pt x="13" y="538"/>
                      <a:pt x="13" y="539"/>
                    </a:cubicBezTo>
                    <a:cubicBezTo>
                      <a:pt x="13" y="540"/>
                      <a:pt x="10" y="541"/>
                      <a:pt x="10" y="542"/>
                    </a:cubicBezTo>
                    <a:cubicBezTo>
                      <a:pt x="9" y="542"/>
                      <a:pt x="8" y="543"/>
                      <a:pt x="8" y="544"/>
                    </a:cubicBezTo>
                    <a:cubicBezTo>
                      <a:pt x="8" y="545"/>
                      <a:pt x="9" y="548"/>
                      <a:pt x="10" y="547"/>
                    </a:cubicBezTo>
                    <a:cubicBezTo>
                      <a:pt x="11" y="547"/>
                      <a:pt x="16" y="548"/>
                      <a:pt x="16" y="548"/>
                    </a:cubicBezTo>
                    <a:cubicBezTo>
                      <a:pt x="16" y="548"/>
                      <a:pt x="15" y="550"/>
                      <a:pt x="14" y="551"/>
                    </a:cubicBezTo>
                    <a:cubicBezTo>
                      <a:pt x="13" y="551"/>
                      <a:pt x="12" y="553"/>
                      <a:pt x="11" y="554"/>
                    </a:cubicBezTo>
                    <a:cubicBezTo>
                      <a:pt x="10" y="556"/>
                      <a:pt x="12" y="560"/>
                      <a:pt x="14" y="561"/>
                    </a:cubicBezTo>
                    <a:cubicBezTo>
                      <a:pt x="17" y="562"/>
                      <a:pt x="20" y="562"/>
                      <a:pt x="20" y="564"/>
                    </a:cubicBezTo>
                    <a:cubicBezTo>
                      <a:pt x="19" y="565"/>
                      <a:pt x="14" y="569"/>
                      <a:pt x="13" y="570"/>
                    </a:cubicBezTo>
                    <a:cubicBezTo>
                      <a:pt x="12" y="570"/>
                      <a:pt x="10" y="571"/>
                      <a:pt x="10" y="573"/>
                    </a:cubicBezTo>
                    <a:cubicBezTo>
                      <a:pt x="10" y="575"/>
                      <a:pt x="10" y="576"/>
                      <a:pt x="8" y="577"/>
                    </a:cubicBezTo>
                    <a:cubicBezTo>
                      <a:pt x="6" y="578"/>
                      <a:pt x="5" y="577"/>
                      <a:pt x="5" y="580"/>
                    </a:cubicBezTo>
                    <a:cubicBezTo>
                      <a:pt x="5" y="582"/>
                      <a:pt x="6" y="583"/>
                      <a:pt x="7" y="583"/>
                    </a:cubicBezTo>
                    <a:cubicBezTo>
                      <a:pt x="8" y="583"/>
                      <a:pt x="8" y="583"/>
                      <a:pt x="8" y="583"/>
                    </a:cubicBezTo>
                    <a:cubicBezTo>
                      <a:pt x="16" y="582"/>
                      <a:pt x="16" y="582"/>
                      <a:pt x="16" y="582"/>
                    </a:cubicBezTo>
                    <a:cubicBezTo>
                      <a:pt x="16" y="582"/>
                      <a:pt x="15" y="585"/>
                      <a:pt x="15" y="586"/>
                    </a:cubicBezTo>
                    <a:cubicBezTo>
                      <a:pt x="15" y="587"/>
                      <a:pt x="9" y="593"/>
                      <a:pt x="9" y="593"/>
                    </a:cubicBezTo>
                    <a:cubicBezTo>
                      <a:pt x="9" y="593"/>
                      <a:pt x="10" y="596"/>
                      <a:pt x="9" y="596"/>
                    </a:cubicBezTo>
                    <a:cubicBezTo>
                      <a:pt x="7" y="597"/>
                      <a:pt x="5" y="598"/>
                      <a:pt x="4" y="599"/>
                    </a:cubicBezTo>
                    <a:cubicBezTo>
                      <a:pt x="4" y="600"/>
                      <a:pt x="4" y="602"/>
                      <a:pt x="4" y="603"/>
                    </a:cubicBezTo>
                    <a:cubicBezTo>
                      <a:pt x="5" y="605"/>
                      <a:pt x="7" y="608"/>
                      <a:pt x="7" y="609"/>
                    </a:cubicBezTo>
                    <a:cubicBezTo>
                      <a:pt x="8" y="610"/>
                      <a:pt x="6" y="612"/>
                      <a:pt x="6" y="612"/>
                    </a:cubicBezTo>
                    <a:cubicBezTo>
                      <a:pt x="4" y="620"/>
                      <a:pt x="4" y="620"/>
                      <a:pt x="4" y="620"/>
                    </a:cubicBezTo>
                    <a:cubicBezTo>
                      <a:pt x="4" y="620"/>
                      <a:pt x="4" y="624"/>
                      <a:pt x="4" y="625"/>
                    </a:cubicBezTo>
                    <a:cubicBezTo>
                      <a:pt x="4" y="626"/>
                      <a:pt x="0" y="627"/>
                      <a:pt x="2" y="630"/>
                    </a:cubicBezTo>
                    <a:cubicBezTo>
                      <a:pt x="4" y="632"/>
                      <a:pt x="5" y="633"/>
                      <a:pt x="6" y="634"/>
                    </a:cubicBezTo>
                    <a:cubicBezTo>
                      <a:pt x="8" y="634"/>
                      <a:pt x="13" y="634"/>
                      <a:pt x="13" y="635"/>
                    </a:cubicBezTo>
                    <a:cubicBezTo>
                      <a:pt x="13" y="635"/>
                      <a:pt x="13" y="636"/>
                      <a:pt x="10" y="637"/>
                    </a:cubicBezTo>
                    <a:cubicBezTo>
                      <a:pt x="8" y="637"/>
                      <a:pt x="6" y="636"/>
                      <a:pt x="6" y="638"/>
                    </a:cubicBezTo>
                    <a:cubicBezTo>
                      <a:pt x="5" y="639"/>
                      <a:pt x="1" y="645"/>
                      <a:pt x="1" y="645"/>
                    </a:cubicBezTo>
                    <a:cubicBezTo>
                      <a:pt x="6" y="651"/>
                      <a:pt x="6" y="651"/>
                      <a:pt x="6" y="651"/>
                    </a:cubicBezTo>
                    <a:cubicBezTo>
                      <a:pt x="6" y="651"/>
                      <a:pt x="8" y="649"/>
                      <a:pt x="9" y="649"/>
                    </a:cubicBezTo>
                    <a:cubicBezTo>
                      <a:pt x="10" y="648"/>
                      <a:pt x="13" y="649"/>
                      <a:pt x="13" y="650"/>
                    </a:cubicBezTo>
                    <a:cubicBezTo>
                      <a:pt x="13" y="650"/>
                      <a:pt x="11" y="653"/>
                      <a:pt x="10" y="653"/>
                    </a:cubicBezTo>
                    <a:cubicBezTo>
                      <a:pt x="10" y="654"/>
                      <a:pt x="7" y="655"/>
                      <a:pt x="7" y="656"/>
                    </a:cubicBezTo>
                    <a:cubicBezTo>
                      <a:pt x="7" y="656"/>
                      <a:pt x="10" y="660"/>
                      <a:pt x="10" y="660"/>
                    </a:cubicBezTo>
                    <a:cubicBezTo>
                      <a:pt x="10" y="660"/>
                      <a:pt x="12" y="660"/>
                      <a:pt x="12" y="662"/>
                    </a:cubicBezTo>
                    <a:cubicBezTo>
                      <a:pt x="12" y="663"/>
                      <a:pt x="8" y="665"/>
                      <a:pt x="8" y="665"/>
                    </a:cubicBezTo>
                    <a:cubicBezTo>
                      <a:pt x="9" y="668"/>
                      <a:pt x="9" y="668"/>
                      <a:pt x="9" y="668"/>
                    </a:cubicBezTo>
                    <a:cubicBezTo>
                      <a:pt x="6" y="674"/>
                      <a:pt x="6" y="674"/>
                      <a:pt x="6" y="674"/>
                    </a:cubicBezTo>
                    <a:cubicBezTo>
                      <a:pt x="11" y="677"/>
                      <a:pt x="11" y="677"/>
                      <a:pt x="11" y="677"/>
                    </a:cubicBezTo>
                    <a:cubicBezTo>
                      <a:pt x="11" y="677"/>
                      <a:pt x="15" y="677"/>
                      <a:pt x="14" y="680"/>
                    </a:cubicBezTo>
                    <a:cubicBezTo>
                      <a:pt x="12" y="682"/>
                      <a:pt x="9" y="684"/>
                      <a:pt x="9" y="685"/>
                    </a:cubicBezTo>
                    <a:cubicBezTo>
                      <a:pt x="9" y="687"/>
                      <a:pt x="8" y="689"/>
                      <a:pt x="10" y="690"/>
                    </a:cubicBezTo>
                    <a:cubicBezTo>
                      <a:pt x="12" y="690"/>
                      <a:pt x="12" y="691"/>
                      <a:pt x="13" y="690"/>
                    </a:cubicBezTo>
                    <a:cubicBezTo>
                      <a:pt x="15" y="689"/>
                      <a:pt x="17" y="688"/>
                      <a:pt x="17" y="688"/>
                    </a:cubicBezTo>
                    <a:cubicBezTo>
                      <a:pt x="17" y="688"/>
                      <a:pt x="20" y="686"/>
                      <a:pt x="22" y="686"/>
                    </a:cubicBezTo>
                    <a:cubicBezTo>
                      <a:pt x="23" y="686"/>
                      <a:pt x="25" y="687"/>
                      <a:pt x="26" y="688"/>
                    </a:cubicBezTo>
                    <a:cubicBezTo>
                      <a:pt x="26" y="689"/>
                      <a:pt x="26" y="690"/>
                      <a:pt x="27" y="691"/>
                    </a:cubicBezTo>
                    <a:cubicBezTo>
                      <a:pt x="28" y="691"/>
                      <a:pt x="26" y="696"/>
                      <a:pt x="26" y="696"/>
                    </a:cubicBezTo>
                    <a:cubicBezTo>
                      <a:pt x="23" y="700"/>
                      <a:pt x="23" y="700"/>
                      <a:pt x="23" y="700"/>
                    </a:cubicBezTo>
                    <a:cubicBezTo>
                      <a:pt x="23" y="700"/>
                      <a:pt x="26" y="704"/>
                      <a:pt x="25" y="704"/>
                    </a:cubicBezTo>
                    <a:cubicBezTo>
                      <a:pt x="25" y="704"/>
                      <a:pt x="20" y="705"/>
                      <a:pt x="19" y="705"/>
                    </a:cubicBezTo>
                    <a:cubicBezTo>
                      <a:pt x="18" y="705"/>
                      <a:pt x="17" y="704"/>
                      <a:pt x="17" y="706"/>
                    </a:cubicBezTo>
                    <a:cubicBezTo>
                      <a:pt x="16" y="708"/>
                      <a:pt x="13" y="713"/>
                      <a:pt x="13" y="713"/>
                    </a:cubicBezTo>
                    <a:cubicBezTo>
                      <a:pt x="13" y="713"/>
                      <a:pt x="12" y="715"/>
                      <a:pt x="13" y="717"/>
                    </a:cubicBezTo>
                    <a:cubicBezTo>
                      <a:pt x="14" y="719"/>
                      <a:pt x="18" y="726"/>
                      <a:pt x="18" y="726"/>
                    </a:cubicBezTo>
                    <a:cubicBezTo>
                      <a:pt x="18" y="727"/>
                      <a:pt x="20" y="730"/>
                      <a:pt x="23" y="732"/>
                    </a:cubicBezTo>
                    <a:cubicBezTo>
                      <a:pt x="26" y="734"/>
                      <a:pt x="28" y="734"/>
                      <a:pt x="28" y="736"/>
                    </a:cubicBezTo>
                    <a:cubicBezTo>
                      <a:pt x="29" y="738"/>
                      <a:pt x="29" y="738"/>
                      <a:pt x="29" y="738"/>
                    </a:cubicBezTo>
                    <a:cubicBezTo>
                      <a:pt x="33" y="742"/>
                      <a:pt x="33" y="742"/>
                      <a:pt x="33" y="742"/>
                    </a:cubicBezTo>
                    <a:cubicBezTo>
                      <a:pt x="33" y="742"/>
                      <a:pt x="35" y="743"/>
                      <a:pt x="38" y="743"/>
                    </a:cubicBezTo>
                    <a:cubicBezTo>
                      <a:pt x="41" y="744"/>
                      <a:pt x="45" y="744"/>
                      <a:pt x="45" y="745"/>
                    </a:cubicBezTo>
                    <a:cubicBezTo>
                      <a:pt x="46" y="745"/>
                      <a:pt x="42" y="748"/>
                      <a:pt x="42" y="748"/>
                    </a:cubicBezTo>
                    <a:cubicBezTo>
                      <a:pt x="42" y="748"/>
                      <a:pt x="37" y="752"/>
                      <a:pt x="39" y="753"/>
                    </a:cubicBezTo>
                    <a:cubicBezTo>
                      <a:pt x="41" y="754"/>
                      <a:pt x="55" y="757"/>
                      <a:pt x="55" y="757"/>
                    </a:cubicBezTo>
                    <a:cubicBezTo>
                      <a:pt x="55" y="757"/>
                      <a:pt x="57" y="758"/>
                      <a:pt x="57" y="759"/>
                    </a:cubicBezTo>
                    <a:cubicBezTo>
                      <a:pt x="57" y="760"/>
                      <a:pt x="60" y="758"/>
                      <a:pt x="60" y="758"/>
                    </a:cubicBezTo>
                    <a:cubicBezTo>
                      <a:pt x="61" y="757"/>
                      <a:pt x="65" y="759"/>
                      <a:pt x="66" y="759"/>
                    </a:cubicBezTo>
                    <a:cubicBezTo>
                      <a:pt x="66" y="759"/>
                      <a:pt x="72" y="758"/>
                      <a:pt x="72" y="758"/>
                    </a:cubicBezTo>
                    <a:cubicBezTo>
                      <a:pt x="77" y="756"/>
                      <a:pt x="77" y="756"/>
                      <a:pt x="77" y="756"/>
                    </a:cubicBezTo>
                    <a:cubicBezTo>
                      <a:pt x="77" y="756"/>
                      <a:pt x="80" y="751"/>
                      <a:pt x="82" y="752"/>
                    </a:cubicBezTo>
                    <a:cubicBezTo>
                      <a:pt x="85" y="753"/>
                      <a:pt x="84" y="755"/>
                      <a:pt x="86" y="755"/>
                    </a:cubicBezTo>
                    <a:cubicBezTo>
                      <a:pt x="87" y="755"/>
                      <a:pt x="89" y="755"/>
                      <a:pt x="91" y="752"/>
                    </a:cubicBezTo>
                    <a:cubicBezTo>
                      <a:pt x="93" y="750"/>
                      <a:pt x="95" y="748"/>
                      <a:pt x="96" y="747"/>
                    </a:cubicBezTo>
                    <a:cubicBezTo>
                      <a:pt x="97" y="747"/>
                      <a:pt x="109" y="740"/>
                      <a:pt x="109" y="740"/>
                    </a:cubicBezTo>
                    <a:cubicBezTo>
                      <a:pt x="117" y="726"/>
                      <a:pt x="117" y="726"/>
                      <a:pt x="117" y="726"/>
                    </a:cubicBezTo>
                    <a:cubicBezTo>
                      <a:pt x="120" y="716"/>
                      <a:pt x="120" y="716"/>
                      <a:pt x="120" y="716"/>
                    </a:cubicBezTo>
                    <a:cubicBezTo>
                      <a:pt x="120" y="716"/>
                      <a:pt x="124" y="711"/>
                      <a:pt x="127" y="711"/>
                    </a:cubicBezTo>
                    <a:cubicBezTo>
                      <a:pt x="129" y="711"/>
                      <a:pt x="136" y="708"/>
                      <a:pt x="135" y="706"/>
                    </a:cubicBezTo>
                    <a:cubicBezTo>
                      <a:pt x="135" y="703"/>
                      <a:pt x="138" y="702"/>
                      <a:pt x="138" y="706"/>
                    </a:cubicBezTo>
                    <a:cubicBezTo>
                      <a:pt x="139" y="710"/>
                      <a:pt x="138" y="714"/>
                      <a:pt x="140" y="712"/>
                    </a:cubicBezTo>
                    <a:cubicBezTo>
                      <a:pt x="143" y="710"/>
                      <a:pt x="148" y="704"/>
                      <a:pt x="148" y="704"/>
                    </a:cubicBezTo>
                    <a:cubicBezTo>
                      <a:pt x="148" y="704"/>
                      <a:pt x="151" y="701"/>
                      <a:pt x="153" y="700"/>
                    </a:cubicBezTo>
                    <a:cubicBezTo>
                      <a:pt x="155" y="700"/>
                      <a:pt x="158" y="693"/>
                      <a:pt x="158" y="693"/>
                    </a:cubicBezTo>
                    <a:cubicBezTo>
                      <a:pt x="158" y="693"/>
                      <a:pt x="162" y="690"/>
                      <a:pt x="164" y="693"/>
                    </a:cubicBezTo>
                    <a:cubicBezTo>
                      <a:pt x="165" y="697"/>
                      <a:pt x="169" y="702"/>
                      <a:pt x="169" y="704"/>
                    </a:cubicBezTo>
                    <a:cubicBezTo>
                      <a:pt x="169" y="704"/>
                      <a:pt x="171" y="705"/>
                      <a:pt x="173" y="706"/>
                    </a:cubicBezTo>
                    <a:cubicBezTo>
                      <a:pt x="173" y="704"/>
                      <a:pt x="173" y="704"/>
                      <a:pt x="173" y="704"/>
                    </a:cubicBezTo>
                    <a:cubicBezTo>
                      <a:pt x="173" y="698"/>
                      <a:pt x="173" y="698"/>
                      <a:pt x="173" y="698"/>
                    </a:cubicBezTo>
                    <a:cubicBezTo>
                      <a:pt x="173" y="698"/>
                      <a:pt x="180" y="704"/>
                      <a:pt x="180" y="704"/>
                    </a:cubicBezTo>
                    <a:cubicBezTo>
                      <a:pt x="181" y="705"/>
                      <a:pt x="181" y="711"/>
                      <a:pt x="181" y="711"/>
                    </a:cubicBezTo>
                    <a:cubicBezTo>
                      <a:pt x="183" y="711"/>
                      <a:pt x="183" y="711"/>
                      <a:pt x="183" y="711"/>
                    </a:cubicBezTo>
                    <a:cubicBezTo>
                      <a:pt x="183" y="710"/>
                      <a:pt x="183" y="710"/>
                      <a:pt x="183" y="710"/>
                    </a:cubicBezTo>
                    <a:cubicBezTo>
                      <a:pt x="185" y="711"/>
                      <a:pt x="185" y="711"/>
                      <a:pt x="185" y="711"/>
                    </a:cubicBezTo>
                    <a:cubicBezTo>
                      <a:pt x="186" y="710"/>
                      <a:pt x="186" y="710"/>
                      <a:pt x="186" y="710"/>
                    </a:cubicBezTo>
                    <a:cubicBezTo>
                      <a:pt x="187" y="704"/>
                      <a:pt x="187" y="704"/>
                      <a:pt x="187" y="704"/>
                    </a:cubicBezTo>
                    <a:cubicBezTo>
                      <a:pt x="188" y="697"/>
                      <a:pt x="188" y="697"/>
                      <a:pt x="188" y="697"/>
                    </a:cubicBezTo>
                    <a:cubicBezTo>
                      <a:pt x="191" y="691"/>
                      <a:pt x="191" y="691"/>
                      <a:pt x="191" y="691"/>
                    </a:cubicBezTo>
                    <a:cubicBezTo>
                      <a:pt x="191" y="685"/>
                      <a:pt x="191" y="685"/>
                      <a:pt x="191" y="685"/>
                    </a:cubicBezTo>
                    <a:cubicBezTo>
                      <a:pt x="187" y="678"/>
                      <a:pt x="187" y="678"/>
                      <a:pt x="187" y="678"/>
                    </a:cubicBezTo>
                    <a:cubicBezTo>
                      <a:pt x="185" y="672"/>
                      <a:pt x="185" y="672"/>
                      <a:pt x="185" y="672"/>
                    </a:cubicBezTo>
                    <a:cubicBezTo>
                      <a:pt x="188" y="671"/>
                      <a:pt x="188" y="671"/>
                      <a:pt x="188" y="671"/>
                    </a:cubicBezTo>
                    <a:cubicBezTo>
                      <a:pt x="188" y="670"/>
                      <a:pt x="188" y="670"/>
                      <a:pt x="188" y="670"/>
                    </a:cubicBezTo>
                    <a:cubicBezTo>
                      <a:pt x="189" y="670"/>
                      <a:pt x="189" y="670"/>
                      <a:pt x="189" y="670"/>
                    </a:cubicBezTo>
                    <a:cubicBezTo>
                      <a:pt x="191" y="668"/>
                      <a:pt x="191" y="668"/>
                      <a:pt x="191" y="668"/>
                    </a:cubicBezTo>
                    <a:cubicBezTo>
                      <a:pt x="192" y="663"/>
                      <a:pt x="192" y="663"/>
                      <a:pt x="192" y="663"/>
                    </a:cubicBezTo>
                    <a:cubicBezTo>
                      <a:pt x="190" y="661"/>
                      <a:pt x="190" y="661"/>
                      <a:pt x="190" y="661"/>
                    </a:cubicBezTo>
                    <a:cubicBezTo>
                      <a:pt x="190" y="658"/>
                      <a:pt x="190" y="658"/>
                      <a:pt x="190" y="658"/>
                    </a:cubicBezTo>
                    <a:cubicBezTo>
                      <a:pt x="190" y="658"/>
                      <a:pt x="192" y="656"/>
                      <a:pt x="192" y="656"/>
                    </a:cubicBezTo>
                    <a:cubicBezTo>
                      <a:pt x="192" y="656"/>
                      <a:pt x="192" y="656"/>
                      <a:pt x="192" y="656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3" y="655"/>
                      <a:pt x="193" y="655"/>
                      <a:pt x="193" y="655"/>
                    </a:cubicBezTo>
                    <a:cubicBezTo>
                      <a:pt x="194" y="655"/>
                      <a:pt x="194" y="655"/>
                      <a:pt x="194" y="655"/>
                    </a:cubicBezTo>
                    <a:cubicBezTo>
                      <a:pt x="194" y="655"/>
                      <a:pt x="194" y="655"/>
                      <a:pt x="194" y="655"/>
                    </a:cubicBezTo>
                    <a:cubicBezTo>
                      <a:pt x="194" y="655"/>
                      <a:pt x="194" y="655"/>
                      <a:pt x="194" y="655"/>
                    </a:cubicBezTo>
                    <a:cubicBezTo>
                      <a:pt x="194" y="655"/>
                      <a:pt x="194" y="655"/>
                      <a:pt x="194" y="655"/>
                    </a:cubicBezTo>
                    <a:cubicBezTo>
                      <a:pt x="194" y="655"/>
                      <a:pt x="195" y="654"/>
                      <a:pt x="195" y="654"/>
                    </a:cubicBezTo>
                    <a:cubicBezTo>
                      <a:pt x="196" y="654"/>
                      <a:pt x="198" y="654"/>
                      <a:pt x="198" y="654"/>
                    </a:cubicBezTo>
                    <a:cubicBezTo>
                      <a:pt x="199" y="654"/>
                      <a:pt x="199" y="654"/>
                      <a:pt x="199" y="654"/>
                    </a:cubicBezTo>
                    <a:cubicBezTo>
                      <a:pt x="201" y="652"/>
                      <a:pt x="201" y="652"/>
                      <a:pt x="201" y="652"/>
                    </a:cubicBezTo>
                    <a:cubicBezTo>
                      <a:pt x="201" y="652"/>
                      <a:pt x="205" y="649"/>
                      <a:pt x="205" y="648"/>
                    </a:cubicBezTo>
                    <a:cubicBezTo>
                      <a:pt x="205" y="647"/>
                      <a:pt x="207" y="644"/>
                      <a:pt x="207" y="644"/>
                    </a:cubicBezTo>
                    <a:cubicBezTo>
                      <a:pt x="207" y="639"/>
                      <a:pt x="207" y="639"/>
                      <a:pt x="207" y="639"/>
                    </a:cubicBezTo>
                    <a:cubicBezTo>
                      <a:pt x="205" y="634"/>
                      <a:pt x="205" y="634"/>
                      <a:pt x="205" y="634"/>
                    </a:cubicBezTo>
                    <a:cubicBezTo>
                      <a:pt x="207" y="631"/>
                      <a:pt x="207" y="631"/>
                      <a:pt x="207" y="631"/>
                    </a:cubicBezTo>
                    <a:cubicBezTo>
                      <a:pt x="210" y="625"/>
                      <a:pt x="210" y="625"/>
                      <a:pt x="210" y="625"/>
                    </a:cubicBezTo>
                    <a:cubicBezTo>
                      <a:pt x="208" y="619"/>
                      <a:pt x="208" y="619"/>
                      <a:pt x="208" y="619"/>
                    </a:cubicBezTo>
                    <a:cubicBezTo>
                      <a:pt x="202" y="612"/>
                      <a:pt x="202" y="612"/>
                      <a:pt x="202" y="612"/>
                    </a:cubicBezTo>
                    <a:cubicBezTo>
                      <a:pt x="199" y="603"/>
                      <a:pt x="199" y="603"/>
                      <a:pt x="199" y="603"/>
                    </a:cubicBezTo>
                    <a:cubicBezTo>
                      <a:pt x="197" y="597"/>
                      <a:pt x="197" y="597"/>
                      <a:pt x="197" y="597"/>
                    </a:cubicBezTo>
                    <a:cubicBezTo>
                      <a:pt x="202" y="592"/>
                      <a:pt x="202" y="592"/>
                      <a:pt x="202" y="592"/>
                    </a:cubicBezTo>
                    <a:cubicBezTo>
                      <a:pt x="203" y="591"/>
                      <a:pt x="203" y="591"/>
                      <a:pt x="203" y="591"/>
                    </a:cubicBezTo>
                    <a:cubicBezTo>
                      <a:pt x="203" y="591"/>
                      <a:pt x="203" y="591"/>
                      <a:pt x="203" y="591"/>
                    </a:cubicBezTo>
                    <a:cubicBezTo>
                      <a:pt x="204" y="591"/>
                      <a:pt x="204" y="591"/>
                      <a:pt x="204" y="591"/>
                    </a:cubicBezTo>
                    <a:cubicBezTo>
                      <a:pt x="207" y="591"/>
                      <a:pt x="207" y="591"/>
                      <a:pt x="207" y="591"/>
                    </a:cubicBezTo>
                    <a:cubicBezTo>
                      <a:pt x="207" y="591"/>
                      <a:pt x="212" y="591"/>
                      <a:pt x="212" y="590"/>
                    </a:cubicBezTo>
                    <a:cubicBezTo>
                      <a:pt x="212" y="590"/>
                      <a:pt x="212" y="590"/>
                      <a:pt x="212" y="590"/>
                    </a:cubicBezTo>
                    <a:cubicBezTo>
                      <a:pt x="212" y="590"/>
                      <a:pt x="212" y="590"/>
                      <a:pt x="212" y="590"/>
                    </a:cubicBezTo>
                    <a:cubicBezTo>
                      <a:pt x="212" y="590"/>
                      <a:pt x="212" y="590"/>
                      <a:pt x="212" y="590"/>
                    </a:cubicBezTo>
                    <a:cubicBezTo>
                      <a:pt x="212" y="590"/>
                      <a:pt x="212" y="590"/>
                      <a:pt x="212" y="590"/>
                    </a:cubicBezTo>
                    <a:cubicBezTo>
                      <a:pt x="212" y="590"/>
                      <a:pt x="212" y="590"/>
                      <a:pt x="212" y="590"/>
                    </a:cubicBezTo>
                    <a:cubicBezTo>
                      <a:pt x="212" y="589"/>
                      <a:pt x="212" y="589"/>
                      <a:pt x="212" y="589"/>
                    </a:cubicBezTo>
                    <a:cubicBezTo>
                      <a:pt x="212" y="589"/>
                      <a:pt x="212" y="589"/>
                      <a:pt x="212" y="589"/>
                    </a:cubicBezTo>
                    <a:cubicBezTo>
                      <a:pt x="212" y="589"/>
                      <a:pt x="212" y="589"/>
                      <a:pt x="212" y="589"/>
                    </a:cubicBezTo>
                    <a:cubicBezTo>
                      <a:pt x="212" y="589"/>
                      <a:pt x="212" y="589"/>
                      <a:pt x="212" y="589"/>
                    </a:cubicBezTo>
                    <a:cubicBezTo>
                      <a:pt x="213" y="589"/>
                      <a:pt x="213" y="589"/>
                      <a:pt x="213" y="589"/>
                    </a:cubicBezTo>
                    <a:cubicBezTo>
                      <a:pt x="213" y="589"/>
                      <a:pt x="213" y="589"/>
                      <a:pt x="213" y="589"/>
                    </a:cubicBezTo>
                    <a:cubicBezTo>
                      <a:pt x="213" y="589"/>
                      <a:pt x="213" y="589"/>
                      <a:pt x="213" y="589"/>
                    </a:cubicBezTo>
                    <a:cubicBezTo>
                      <a:pt x="213" y="589"/>
                      <a:pt x="213" y="589"/>
                      <a:pt x="213" y="589"/>
                    </a:cubicBezTo>
                    <a:cubicBezTo>
                      <a:pt x="213" y="589"/>
                      <a:pt x="213" y="589"/>
                      <a:pt x="213" y="589"/>
                    </a:cubicBezTo>
                    <a:cubicBezTo>
                      <a:pt x="213" y="588"/>
                      <a:pt x="213" y="588"/>
                      <a:pt x="213" y="588"/>
                    </a:cubicBezTo>
                    <a:cubicBezTo>
                      <a:pt x="213" y="588"/>
                      <a:pt x="213" y="588"/>
                      <a:pt x="213" y="588"/>
                    </a:cubicBezTo>
                    <a:cubicBezTo>
                      <a:pt x="213" y="588"/>
                      <a:pt x="213" y="588"/>
                      <a:pt x="213" y="588"/>
                    </a:cubicBezTo>
                    <a:cubicBezTo>
                      <a:pt x="213" y="588"/>
                      <a:pt x="213" y="588"/>
                      <a:pt x="213" y="588"/>
                    </a:cubicBezTo>
                    <a:cubicBezTo>
                      <a:pt x="213" y="588"/>
                      <a:pt x="213" y="588"/>
                      <a:pt x="213" y="588"/>
                    </a:cubicBezTo>
                    <a:cubicBezTo>
                      <a:pt x="213" y="588"/>
                      <a:pt x="213" y="588"/>
                      <a:pt x="213" y="588"/>
                    </a:cubicBezTo>
                    <a:cubicBezTo>
                      <a:pt x="213" y="588"/>
                      <a:pt x="213" y="588"/>
                      <a:pt x="213" y="588"/>
                    </a:cubicBezTo>
                    <a:cubicBezTo>
                      <a:pt x="213" y="587"/>
                      <a:pt x="213" y="587"/>
                      <a:pt x="213" y="587"/>
                    </a:cubicBezTo>
                    <a:cubicBezTo>
                      <a:pt x="213" y="587"/>
                      <a:pt x="213" y="587"/>
                      <a:pt x="213" y="587"/>
                    </a:cubicBezTo>
                    <a:cubicBezTo>
                      <a:pt x="213" y="587"/>
                      <a:pt x="213" y="587"/>
                      <a:pt x="213" y="587"/>
                    </a:cubicBezTo>
                    <a:cubicBezTo>
                      <a:pt x="213" y="587"/>
                      <a:pt x="213" y="587"/>
                      <a:pt x="213" y="587"/>
                    </a:cubicBezTo>
                    <a:cubicBezTo>
                      <a:pt x="213" y="587"/>
                      <a:pt x="213" y="587"/>
                      <a:pt x="213" y="587"/>
                    </a:cubicBezTo>
                    <a:cubicBezTo>
                      <a:pt x="213" y="587"/>
                      <a:pt x="213" y="587"/>
                      <a:pt x="213" y="587"/>
                    </a:cubicBezTo>
                    <a:cubicBezTo>
                      <a:pt x="213" y="586"/>
                      <a:pt x="213" y="586"/>
                      <a:pt x="213" y="586"/>
                    </a:cubicBezTo>
                    <a:cubicBezTo>
                      <a:pt x="213" y="586"/>
                      <a:pt x="213" y="586"/>
                      <a:pt x="213" y="586"/>
                    </a:cubicBezTo>
                    <a:cubicBezTo>
                      <a:pt x="213" y="586"/>
                      <a:pt x="213" y="586"/>
                      <a:pt x="213" y="586"/>
                    </a:cubicBezTo>
                    <a:cubicBezTo>
                      <a:pt x="213" y="586"/>
                      <a:pt x="213" y="586"/>
                      <a:pt x="213" y="586"/>
                    </a:cubicBezTo>
                    <a:cubicBezTo>
                      <a:pt x="213" y="586"/>
                      <a:pt x="213" y="586"/>
                      <a:pt x="213" y="586"/>
                    </a:cubicBezTo>
                    <a:cubicBezTo>
                      <a:pt x="213" y="585"/>
                      <a:pt x="213" y="585"/>
                      <a:pt x="213" y="585"/>
                    </a:cubicBezTo>
                    <a:cubicBezTo>
                      <a:pt x="213" y="585"/>
                      <a:pt x="213" y="585"/>
                      <a:pt x="213" y="585"/>
                    </a:cubicBezTo>
                    <a:cubicBezTo>
                      <a:pt x="213" y="585"/>
                      <a:pt x="213" y="585"/>
                      <a:pt x="213" y="585"/>
                    </a:cubicBezTo>
                    <a:cubicBezTo>
                      <a:pt x="213" y="585"/>
                      <a:pt x="213" y="585"/>
                      <a:pt x="213" y="585"/>
                    </a:cubicBezTo>
                    <a:cubicBezTo>
                      <a:pt x="213" y="585"/>
                      <a:pt x="213" y="585"/>
                      <a:pt x="213" y="585"/>
                    </a:cubicBezTo>
                    <a:cubicBezTo>
                      <a:pt x="213" y="585"/>
                      <a:pt x="213" y="585"/>
                      <a:pt x="213" y="585"/>
                    </a:cubicBezTo>
                    <a:cubicBezTo>
                      <a:pt x="213" y="584"/>
                      <a:pt x="213" y="584"/>
                      <a:pt x="213" y="584"/>
                    </a:cubicBezTo>
                    <a:cubicBezTo>
                      <a:pt x="213" y="584"/>
                      <a:pt x="213" y="584"/>
                      <a:pt x="213" y="584"/>
                    </a:cubicBezTo>
                    <a:cubicBezTo>
                      <a:pt x="213" y="584"/>
                      <a:pt x="213" y="584"/>
                      <a:pt x="213" y="584"/>
                    </a:cubicBezTo>
                    <a:cubicBezTo>
                      <a:pt x="213" y="584"/>
                      <a:pt x="213" y="584"/>
                      <a:pt x="213" y="584"/>
                    </a:cubicBezTo>
                    <a:cubicBezTo>
                      <a:pt x="213" y="584"/>
                      <a:pt x="213" y="584"/>
                      <a:pt x="213" y="584"/>
                    </a:cubicBezTo>
                    <a:cubicBezTo>
                      <a:pt x="213" y="584"/>
                      <a:pt x="213" y="584"/>
                      <a:pt x="213" y="584"/>
                    </a:cubicBezTo>
                    <a:cubicBezTo>
                      <a:pt x="213" y="584"/>
                      <a:pt x="213" y="584"/>
                      <a:pt x="213" y="584"/>
                    </a:cubicBezTo>
                    <a:cubicBezTo>
                      <a:pt x="213" y="583"/>
                      <a:pt x="213" y="583"/>
                      <a:pt x="213" y="583"/>
                    </a:cubicBezTo>
                    <a:cubicBezTo>
                      <a:pt x="213" y="583"/>
                      <a:pt x="213" y="583"/>
                      <a:pt x="213" y="583"/>
                    </a:cubicBezTo>
                    <a:cubicBezTo>
                      <a:pt x="213" y="583"/>
                      <a:pt x="213" y="583"/>
                      <a:pt x="213" y="583"/>
                    </a:cubicBezTo>
                    <a:cubicBezTo>
                      <a:pt x="213" y="583"/>
                      <a:pt x="213" y="583"/>
                      <a:pt x="213" y="583"/>
                    </a:cubicBezTo>
                    <a:cubicBezTo>
                      <a:pt x="213" y="583"/>
                      <a:pt x="213" y="583"/>
                      <a:pt x="213" y="583"/>
                    </a:cubicBezTo>
                    <a:cubicBezTo>
                      <a:pt x="213" y="583"/>
                      <a:pt x="213" y="583"/>
                      <a:pt x="213" y="583"/>
                    </a:cubicBezTo>
                    <a:cubicBezTo>
                      <a:pt x="213" y="583"/>
                      <a:pt x="213" y="583"/>
                      <a:pt x="213" y="583"/>
                    </a:cubicBezTo>
                    <a:cubicBezTo>
                      <a:pt x="214" y="583"/>
                      <a:pt x="214" y="583"/>
                      <a:pt x="214" y="583"/>
                    </a:cubicBezTo>
                    <a:cubicBezTo>
                      <a:pt x="214" y="583"/>
                      <a:pt x="214" y="583"/>
                      <a:pt x="214" y="583"/>
                    </a:cubicBezTo>
                    <a:cubicBezTo>
                      <a:pt x="214" y="582"/>
                      <a:pt x="214" y="582"/>
                      <a:pt x="214" y="582"/>
                    </a:cubicBezTo>
                    <a:cubicBezTo>
                      <a:pt x="214" y="582"/>
                      <a:pt x="214" y="582"/>
                      <a:pt x="214" y="582"/>
                    </a:cubicBezTo>
                    <a:cubicBezTo>
                      <a:pt x="214" y="582"/>
                      <a:pt x="214" y="582"/>
                      <a:pt x="214" y="582"/>
                    </a:cubicBezTo>
                    <a:cubicBezTo>
                      <a:pt x="214" y="582"/>
                      <a:pt x="214" y="582"/>
                      <a:pt x="214" y="582"/>
                    </a:cubicBezTo>
                    <a:cubicBezTo>
                      <a:pt x="214" y="582"/>
                      <a:pt x="214" y="582"/>
                      <a:pt x="214" y="582"/>
                    </a:cubicBezTo>
                    <a:cubicBezTo>
                      <a:pt x="214" y="582"/>
                      <a:pt x="214" y="582"/>
                      <a:pt x="214" y="582"/>
                    </a:cubicBezTo>
                    <a:cubicBezTo>
                      <a:pt x="214" y="582"/>
                      <a:pt x="214" y="582"/>
                      <a:pt x="214" y="582"/>
                    </a:cubicBezTo>
                    <a:cubicBezTo>
                      <a:pt x="214" y="582"/>
                      <a:pt x="214" y="582"/>
                      <a:pt x="214" y="582"/>
                    </a:cubicBezTo>
                    <a:cubicBezTo>
                      <a:pt x="214" y="582"/>
                      <a:pt x="214" y="582"/>
                      <a:pt x="214" y="582"/>
                    </a:cubicBezTo>
                    <a:cubicBezTo>
                      <a:pt x="214" y="582"/>
                      <a:pt x="214" y="582"/>
                      <a:pt x="214" y="582"/>
                    </a:cubicBezTo>
                    <a:cubicBezTo>
                      <a:pt x="213" y="573"/>
                      <a:pt x="213" y="573"/>
                      <a:pt x="213" y="573"/>
                    </a:cubicBezTo>
                    <a:cubicBezTo>
                      <a:pt x="207" y="568"/>
                      <a:pt x="207" y="568"/>
                      <a:pt x="207" y="568"/>
                    </a:cubicBezTo>
                    <a:cubicBezTo>
                      <a:pt x="200" y="563"/>
                      <a:pt x="200" y="563"/>
                      <a:pt x="200" y="563"/>
                    </a:cubicBezTo>
                    <a:cubicBezTo>
                      <a:pt x="197" y="555"/>
                      <a:pt x="197" y="555"/>
                      <a:pt x="197" y="555"/>
                    </a:cubicBezTo>
                    <a:cubicBezTo>
                      <a:pt x="196" y="524"/>
                      <a:pt x="196" y="524"/>
                      <a:pt x="196" y="524"/>
                    </a:cubicBezTo>
                    <a:cubicBezTo>
                      <a:pt x="196" y="524"/>
                      <a:pt x="189" y="511"/>
                      <a:pt x="189" y="510"/>
                    </a:cubicBezTo>
                    <a:cubicBezTo>
                      <a:pt x="188" y="508"/>
                      <a:pt x="188" y="506"/>
                      <a:pt x="190" y="504"/>
                    </a:cubicBezTo>
                    <a:cubicBezTo>
                      <a:pt x="191" y="503"/>
                      <a:pt x="190" y="501"/>
                      <a:pt x="190" y="501"/>
                    </a:cubicBezTo>
                    <a:cubicBezTo>
                      <a:pt x="189" y="494"/>
                      <a:pt x="189" y="494"/>
                      <a:pt x="189" y="494"/>
                    </a:cubicBezTo>
                    <a:cubicBezTo>
                      <a:pt x="191" y="491"/>
                      <a:pt x="191" y="491"/>
                      <a:pt x="191" y="491"/>
                    </a:cubicBezTo>
                    <a:cubicBezTo>
                      <a:pt x="191" y="485"/>
                      <a:pt x="191" y="485"/>
                      <a:pt x="191" y="485"/>
                    </a:cubicBezTo>
                    <a:cubicBezTo>
                      <a:pt x="187" y="477"/>
                      <a:pt x="187" y="477"/>
                      <a:pt x="187" y="477"/>
                    </a:cubicBezTo>
                    <a:cubicBezTo>
                      <a:pt x="187" y="477"/>
                      <a:pt x="187" y="471"/>
                      <a:pt x="187" y="470"/>
                    </a:cubicBezTo>
                    <a:cubicBezTo>
                      <a:pt x="187" y="468"/>
                      <a:pt x="190" y="464"/>
                      <a:pt x="190" y="464"/>
                    </a:cubicBezTo>
                    <a:cubicBezTo>
                      <a:pt x="191" y="457"/>
                      <a:pt x="191" y="457"/>
                      <a:pt x="191" y="457"/>
                    </a:cubicBezTo>
                    <a:cubicBezTo>
                      <a:pt x="193" y="447"/>
                      <a:pt x="193" y="447"/>
                      <a:pt x="193" y="447"/>
                    </a:cubicBezTo>
                    <a:cubicBezTo>
                      <a:pt x="206" y="430"/>
                      <a:pt x="206" y="430"/>
                      <a:pt x="206" y="430"/>
                    </a:cubicBezTo>
                    <a:cubicBezTo>
                      <a:pt x="209" y="430"/>
                      <a:pt x="209" y="430"/>
                      <a:pt x="209" y="430"/>
                    </a:cubicBezTo>
                    <a:cubicBezTo>
                      <a:pt x="230" y="429"/>
                      <a:pt x="230" y="429"/>
                      <a:pt x="230" y="429"/>
                    </a:cubicBezTo>
                    <a:cubicBezTo>
                      <a:pt x="231" y="427"/>
                      <a:pt x="231" y="427"/>
                      <a:pt x="231" y="427"/>
                    </a:cubicBezTo>
                    <a:cubicBezTo>
                      <a:pt x="232" y="426"/>
                      <a:pt x="232" y="426"/>
                      <a:pt x="232" y="426"/>
                    </a:cubicBezTo>
                    <a:cubicBezTo>
                      <a:pt x="234" y="420"/>
                      <a:pt x="234" y="420"/>
                      <a:pt x="234" y="420"/>
                    </a:cubicBezTo>
                    <a:cubicBezTo>
                      <a:pt x="233" y="404"/>
                      <a:pt x="233" y="404"/>
                      <a:pt x="233" y="404"/>
                    </a:cubicBezTo>
                    <a:cubicBezTo>
                      <a:pt x="224" y="402"/>
                      <a:pt x="224" y="402"/>
                      <a:pt x="224" y="402"/>
                    </a:cubicBezTo>
                    <a:cubicBezTo>
                      <a:pt x="222" y="397"/>
                      <a:pt x="222" y="397"/>
                      <a:pt x="222" y="397"/>
                    </a:cubicBezTo>
                    <a:cubicBezTo>
                      <a:pt x="237" y="371"/>
                      <a:pt x="237" y="371"/>
                      <a:pt x="237" y="371"/>
                    </a:cubicBezTo>
                    <a:cubicBezTo>
                      <a:pt x="236" y="365"/>
                      <a:pt x="236" y="365"/>
                      <a:pt x="236" y="365"/>
                    </a:cubicBezTo>
                    <a:cubicBezTo>
                      <a:pt x="240" y="362"/>
                      <a:pt x="240" y="362"/>
                      <a:pt x="240" y="362"/>
                    </a:cubicBezTo>
                    <a:cubicBezTo>
                      <a:pt x="240" y="362"/>
                      <a:pt x="239" y="358"/>
                      <a:pt x="238" y="356"/>
                    </a:cubicBezTo>
                    <a:cubicBezTo>
                      <a:pt x="237" y="355"/>
                      <a:pt x="239" y="349"/>
                      <a:pt x="239" y="349"/>
                    </a:cubicBezTo>
                    <a:cubicBezTo>
                      <a:pt x="240" y="342"/>
                      <a:pt x="240" y="342"/>
                      <a:pt x="240" y="34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37" y="317"/>
                      <a:pt x="237" y="317"/>
                      <a:pt x="237" y="317"/>
                    </a:cubicBezTo>
                    <a:cubicBezTo>
                      <a:pt x="240" y="314"/>
                      <a:pt x="240" y="314"/>
                      <a:pt x="240" y="314"/>
                    </a:cubicBezTo>
                    <a:cubicBezTo>
                      <a:pt x="244" y="314"/>
                      <a:pt x="244" y="314"/>
                      <a:pt x="244" y="314"/>
                    </a:cubicBezTo>
                    <a:cubicBezTo>
                      <a:pt x="245" y="314"/>
                      <a:pt x="247" y="313"/>
                      <a:pt x="249" y="313"/>
                    </a:cubicBezTo>
                    <a:cubicBezTo>
                      <a:pt x="251" y="312"/>
                      <a:pt x="252" y="311"/>
                      <a:pt x="255" y="308"/>
                    </a:cubicBezTo>
                    <a:cubicBezTo>
                      <a:pt x="256" y="306"/>
                      <a:pt x="256" y="306"/>
                      <a:pt x="256" y="306"/>
                    </a:cubicBezTo>
                    <a:cubicBezTo>
                      <a:pt x="257" y="301"/>
                      <a:pt x="257" y="301"/>
                      <a:pt x="257" y="301"/>
                    </a:cubicBezTo>
                    <a:cubicBezTo>
                      <a:pt x="257" y="292"/>
                      <a:pt x="257" y="292"/>
                      <a:pt x="257" y="292"/>
                    </a:cubicBezTo>
                    <a:cubicBezTo>
                      <a:pt x="262" y="279"/>
                      <a:pt x="262" y="279"/>
                      <a:pt x="262" y="279"/>
                    </a:cubicBezTo>
                    <a:cubicBezTo>
                      <a:pt x="262" y="279"/>
                      <a:pt x="270" y="269"/>
                      <a:pt x="271" y="267"/>
                    </a:cubicBezTo>
                    <a:cubicBezTo>
                      <a:pt x="272" y="265"/>
                      <a:pt x="275" y="258"/>
                      <a:pt x="275" y="258"/>
                    </a:cubicBezTo>
                    <a:cubicBezTo>
                      <a:pt x="275" y="258"/>
                      <a:pt x="273" y="250"/>
                      <a:pt x="272" y="248"/>
                    </a:cubicBezTo>
                    <a:cubicBezTo>
                      <a:pt x="270" y="247"/>
                      <a:pt x="267" y="241"/>
                      <a:pt x="267" y="241"/>
                    </a:cubicBezTo>
                    <a:cubicBezTo>
                      <a:pt x="267" y="236"/>
                      <a:pt x="267" y="236"/>
                      <a:pt x="267" y="236"/>
                    </a:cubicBezTo>
                    <a:cubicBezTo>
                      <a:pt x="273" y="232"/>
                      <a:pt x="273" y="232"/>
                      <a:pt x="273" y="232"/>
                    </a:cubicBezTo>
                    <a:cubicBezTo>
                      <a:pt x="275" y="228"/>
                      <a:pt x="275" y="228"/>
                      <a:pt x="275" y="228"/>
                    </a:cubicBezTo>
                    <a:cubicBezTo>
                      <a:pt x="275" y="228"/>
                      <a:pt x="275" y="221"/>
                      <a:pt x="275" y="220"/>
                    </a:cubicBezTo>
                    <a:cubicBezTo>
                      <a:pt x="275" y="220"/>
                      <a:pt x="275" y="220"/>
                      <a:pt x="275" y="220"/>
                    </a:cubicBezTo>
                    <a:cubicBezTo>
                      <a:pt x="275" y="220"/>
                      <a:pt x="275" y="220"/>
                      <a:pt x="275" y="220"/>
                    </a:cubicBezTo>
                    <a:cubicBezTo>
                      <a:pt x="275" y="220"/>
                      <a:pt x="275" y="220"/>
                      <a:pt x="275" y="220"/>
                    </a:cubicBezTo>
                    <a:cubicBezTo>
                      <a:pt x="275" y="220"/>
                      <a:pt x="275" y="220"/>
                      <a:pt x="275" y="220"/>
                    </a:cubicBezTo>
                    <a:cubicBezTo>
                      <a:pt x="275" y="220"/>
                      <a:pt x="275" y="220"/>
                      <a:pt x="275" y="220"/>
                    </a:cubicBezTo>
                    <a:cubicBezTo>
                      <a:pt x="275" y="220"/>
                      <a:pt x="275" y="220"/>
                      <a:pt x="275" y="220"/>
                    </a:cubicBezTo>
                    <a:cubicBezTo>
                      <a:pt x="275" y="220"/>
                      <a:pt x="275" y="220"/>
                      <a:pt x="275" y="220"/>
                    </a:cubicBezTo>
                    <a:cubicBezTo>
                      <a:pt x="275" y="220"/>
                      <a:pt x="275" y="220"/>
                      <a:pt x="275" y="220"/>
                    </a:cubicBezTo>
                    <a:cubicBezTo>
                      <a:pt x="275" y="220"/>
                      <a:pt x="275" y="220"/>
                      <a:pt x="275" y="220"/>
                    </a:cubicBezTo>
                    <a:cubicBezTo>
                      <a:pt x="275" y="220"/>
                      <a:pt x="275" y="220"/>
                      <a:pt x="275" y="220"/>
                    </a:cubicBezTo>
                    <a:cubicBezTo>
                      <a:pt x="275" y="220"/>
                      <a:pt x="275" y="220"/>
                      <a:pt x="275" y="220"/>
                    </a:cubicBezTo>
                    <a:cubicBezTo>
                      <a:pt x="275" y="220"/>
                      <a:pt x="275" y="220"/>
                      <a:pt x="275" y="220"/>
                    </a:cubicBezTo>
                    <a:cubicBezTo>
                      <a:pt x="275" y="220"/>
                      <a:pt x="275" y="220"/>
                      <a:pt x="275" y="220"/>
                    </a:cubicBezTo>
                    <a:cubicBezTo>
                      <a:pt x="275" y="220"/>
                      <a:pt x="275" y="220"/>
                      <a:pt x="275" y="220"/>
                    </a:cubicBezTo>
                    <a:cubicBezTo>
                      <a:pt x="275" y="220"/>
                      <a:pt x="275" y="220"/>
                      <a:pt x="275" y="220"/>
                    </a:cubicBezTo>
                    <a:cubicBezTo>
                      <a:pt x="275" y="219"/>
                      <a:pt x="275" y="219"/>
                      <a:pt x="275" y="219"/>
                    </a:cubicBezTo>
                    <a:cubicBezTo>
                      <a:pt x="275" y="219"/>
                      <a:pt x="275" y="219"/>
                      <a:pt x="275" y="219"/>
                    </a:cubicBezTo>
                    <a:cubicBezTo>
                      <a:pt x="275" y="219"/>
                      <a:pt x="275" y="219"/>
                      <a:pt x="275" y="219"/>
                    </a:cubicBezTo>
                    <a:cubicBezTo>
                      <a:pt x="275" y="219"/>
                      <a:pt x="275" y="219"/>
                      <a:pt x="275" y="219"/>
                    </a:cubicBezTo>
                    <a:cubicBezTo>
                      <a:pt x="275" y="219"/>
                      <a:pt x="275" y="219"/>
                      <a:pt x="275" y="219"/>
                    </a:cubicBezTo>
                    <a:cubicBezTo>
                      <a:pt x="275" y="219"/>
                      <a:pt x="275" y="219"/>
                      <a:pt x="275" y="219"/>
                    </a:cubicBezTo>
                    <a:cubicBezTo>
                      <a:pt x="275" y="219"/>
                      <a:pt x="275" y="219"/>
                      <a:pt x="275" y="219"/>
                    </a:cubicBezTo>
                    <a:cubicBezTo>
                      <a:pt x="275" y="219"/>
                      <a:pt x="275" y="219"/>
                      <a:pt x="275" y="219"/>
                    </a:cubicBezTo>
                    <a:cubicBezTo>
                      <a:pt x="275" y="219"/>
                      <a:pt x="275" y="219"/>
                      <a:pt x="275" y="219"/>
                    </a:cubicBezTo>
                    <a:cubicBezTo>
                      <a:pt x="275" y="218"/>
                      <a:pt x="275" y="218"/>
                      <a:pt x="275" y="218"/>
                    </a:cubicBezTo>
                    <a:cubicBezTo>
                      <a:pt x="275" y="218"/>
                      <a:pt x="275" y="218"/>
                      <a:pt x="275" y="218"/>
                    </a:cubicBezTo>
                    <a:cubicBezTo>
                      <a:pt x="275" y="218"/>
                      <a:pt x="275" y="218"/>
                      <a:pt x="275" y="218"/>
                    </a:cubicBezTo>
                    <a:cubicBezTo>
                      <a:pt x="275" y="218"/>
                      <a:pt x="275" y="218"/>
                      <a:pt x="275" y="218"/>
                    </a:cubicBezTo>
                    <a:cubicBezTo>
                      <a:pt x="276" y="218"/>
                      <a:pt x="276" y="218"/>
                      <a:pt x="276" y="218"/>
                    </a:cubicBezTo>
                    <a:cubicBezTo>
                      <a:pt x="276" y="218"/>
                      <a:pt x="276" y="218"/>
                      <a:pt x="276" y="218"/>
                    </a:cubicBezTo>
                    <a:cubicBezTo>
                      <a:pt x="276" y="218"/>
                      <a:pt x="276" y="218"/>
                      <a:pt x="276" y="218"/>
                    </a:cubicBezTo>
                    <a:cubicBezTo>
                      <a:pt x="276" y="218"/>
                      <a:pt x="276" y="218"/>
                      <a:pt x="276" y="218"/>
                    </a:cubicBezTo>
                    <a:cubicBezTo>
                      <a:pt x="276" y="218"/>
                      <a:pt x="276" y="218"/>
                      <a:pt x="276" y="218"/>
                    </a:cubicBezTo>
                    <a:cubicBezTo>
                      <a:pt x="276" y="217"/>
                      <a:pt x="276" y="217"/>
                      <a:pt x="276" y="217"/>
                    </a:cubicBezTo>
                    <a:cubicBezTo>
                      <a:pt x="276" y="217"/>
                      <a:pt x="276" y="217"/>
                      <a:pt x="276" y="217"/>
                    </a:cubicBezTo>
                    <a:cubicBezTo>
                      <a:pt x="276" y="217"/>
                      <a:pt x="276" y="217"/>
                      <a:pt x="276" y="217"/>
                    </a:cubicBezTo>
                    <a:cubicBezTo>
                      <a:pt x="276" y="217"/>
                      <a:pt x="276" y="217"/>
                      <a:pt x="276" y="217"/>
                    </a:cubicBezTo>
                    <a:cubicBezTo>
                      <a:pt x="276" y="217"/>
                      <a:pt x="276" y="217"/>
                      <a:pt x="276" y="217"/>
                    </a:cubicBezTo>
                    <a:cubicBezTo>
                      <a:pt x="276" y="217"/>
                      <a:pt x="276" y="217"/>
                      <a:pt x="276" y="217"/>
                    </a:cubicBezTo>
                    <a:cubicBezTo>
                      <a:pt x="276" y="217"/>
                      <a:pt x="276" y="217"/>
                      <a:pt x="276" y="217"/>
                    </a:cubicBezTo>
                    <a:cubicBezTo>
                      <a:pt x="276" y="217"/>
                      <a:pt x="276" y="217"/>
                      <a:pt x="276" y="217"/>
                    </a:cubicBezTo>
                    <a:cubicBezTo>
                      <a:pt x="276" y="216"/>
                      <a:pt x="276" y="216"/>
                      <a:pt x="276" y="216"/>
                    </a:cubicBezTo>
                    <a:cubicBezTo>
                      <a:pt x="276" y="216"/>
                      <a:pt x="276" y="216"/>
                      <a:pt x="276" y="216"/>
                    </a:cubicBezTo>
                    <a:cubicBezTo>
                      <a:pt x="276" y="216"/>
                      <a:pt x="276" y="216"/>
                      <a:pt x="276" y="216"/>
                    </a:cubicBezTo>
                    <a:cubicBezTo>
                      <a:pt x="276" y="216"/>
                      <a:pt x="276" y="216"/>
                      <a:pt x="276" y="216"/>
                    </a:cubicBezTo>
                    <a:cubicBezTo>
                      <a:pt x="276" y="216"/>
                      <a:pt x="276" y="216"/>
                      <a:pt x="276" y="216"/>
                    </a:cubicBezTo>
                    <a:cubicBezTo>
                      <a:pt x="276" y="216"/>
                      <a:pt x="276" y="216"/>
                      <a:pt x="276" y="216"/>
                    </a:cubicBezTo>
                    <a:cubicBezTo>
                      <a:pt x="276" y="216"/>
                      <a:pt x="276" y="216"/>
                      <a:pt x="276" y="216"/>
                    </a:cubicBezTo>
                    <a:cubicBezTo>
                      <a:pt x="277" y="216"/>
                      <a:pt x="277" y="216"/>
                      <a:pt x="277" y="216"/>
                    </a:cubicBezTo>
                    <a:cubicBezTo>
                      <a:pt x="277" y="216"/>
                      <a:pt x="277" y="216"/>
                      <a:pt x="277" y="216"/>
                    </a:cubicBezTo>
                    <a:cubicBezTo>
                      <a:pt x="277" y="215"/>
                      <a:pt x="277" y="215"/>
                      <a:pt x="277" y="215"/>
                    </a:cubicBezTo>
                    <a:cubicBezTo>
                      <a:pt x="277" y="215"/>
                      <a:pt x="277" y="215"/>
                      <a:pt x="277" y="215"/>
                    </a:cubicBezTo>
                    <a:cubicBezTo>
                      <a:pt x="277" y="215"/>
                      <a:pt x="277" y="215"/>
                      <a:pt x="277" y="215"/>
                    </a:cubicBezTo>
                    <a:cubicBezTo>
                      <a:pt x="277" y="215"/>
                      <a:pt x="277" y="215"/>
                      <a:pt x="277" y="215"/>
                    </a:cubicBezTo>
                    <a:cubicBezTo>
                      <a:pt x="277" y="215"/>
                      <a:pt x="277" y="215"/>
                      <a:pt x="277" y="215"/>
                    </a:cubicBezTo>
                    <a:cubicBezTo>
                      <a:pt x="277" y="215"/>
                      <a:pt x="277" y="215"/>
                      <a:pt x="277" y="215"/>
                    </a:cubicBezTo>
                    <a:cubicBezTo>
                      <a:pt x="277" y="215"/>
                      <a:pt x="277" y="215"/>
                      <a:pt x="277" y="215"/>
                    </a:cubicBezTo>
                    <a:cubicBezTo>
                      <a:pt x="277" y="215"/>
                      <a:pt x="277" y="215"/>
                      <a:pt x="277" y="215"/>
                    </a:cubicBezTo>
                    <a:cubicBezTo>
                      <a:pt x="277" y="215"/>
                      <a:pt x="277" y="215"/>
                      <a:pt x="277" y="215"/>
                    </a:cubicBezTo>
                    <a:cubicBezTo>
                      <a:pt x="277" y="215"/>
                      <a:pt x="277" y="215"/>
                      <a:pt x="277" y="215"/>
                    </a:cubicBezTo>
                    <a:cubicBezTo>
                      <a:pt x="277" y="215"/>
                      <a:pt x="277" y="215"/>
                      <a:pt x="277" y="215"/>
                    </a:cubicBezTo>
                    <a:cubicBezTo>
                      <a:pt x="277" y="215"/>
                      <a:pt x="277" y="215"/>
                      <a:pt x="277" y="215"/>
                    </a:cubicBezTo>
                    <a:cubicBezTo>
                      <a:pt x="277" y="215"/>
                      <a:pt x="277" y="215"/>
                      <a:pt x="277" y="215"/>
                    </a:cubicBezTo>
                    <a:cubicBezTo>
                      <a:pt x="277" y="215"/>
                      <a:pt x="277" y="215"/>
                      <a:pt x="277" y="215"/>
                    </a:cubicBezTo>
                    <a:cubicBezTo>
                      <a:pt x="277" y="213"/>
                      <a:pt x="281" y="209"/>
                      <a:pt x="281" y="209"/>
                    </a:cubicBezTo>
                    <a:cubicBezTo>
                      <a:pt x="285" y="201"/>
                      <a:pt x="285" y="201"/>
                      <a:pt x="285" y="201"/>
                    </a:cubicBezTo>
                    <a:cubicBezTo>
                      <a:pt x="295" y="206"/>
                      <a:pt x="295" y="206"/>
                      <a:pt x="295" y="206"/>
                    </a:cubicBezTo>
                    <a:cubicBezTo>
                      <a:pt x="300" y="206"/>
                      <a:pt x="300" y="206"/>
                      <a:pt x="300" y="206"/>
                    </a:cubicBezTo>
                    <a:cubicBezTo>
                      <a:pt x="302" y="202"/>
                      <a:pt x="302" y="202"/>
                      <a:pt x="302" y="202"/>
                    </a:cubicBezTo>
                    <a:cubicBezTo>
                      <a:pt x="301" y="199"/>
                      <a:pt x="300" y="178"/>
                      <a:pt x="303" y="174"/>
                    </a:cubicBezTo>
                    <a:cubicBezTo>
                      <a:pt x="303" y="174"/>
                      <a:pt x="317" y="175"/>
                      <a:pt x="319" y="174"/>
                    </a:cubicBezTo>
                    <a:cubicBezTo>
                      <a:pt x="320" y="174"/>
                      <a:pt x="325" y="176"/>
                      <a:pt x="326" y="177"/>
                    </a:cubicBezTo>
                    <a:cubicBezTo>
                      <a:pt x="326" y="177"/>
                      <a:pt x="326" y="177"/>
                      <a:pt x="326" y="177"/>
                    </a:cubicBezTo>
                    <a:cubicBezTo>
                      <a:pt x="326" y="177"/>
                      <a:pt x="326" y="177"/>
                      <a:pt x="326" y="177"/>
                    </a:cubicBezTo>
                    <a:cubicBezTo>
                      <a:pt x="327" y="178"/>
                      <a:pt x="328" y="178"/>
                      <a:pt x="329" y="178"/>
                    </a:cubicBezTo>
                    <a:cubicBezTo>
                      <a:pt x="331" y="179"/>
                      <a:pt x="333" y="179"/>
                      <a:pt x="333" y="179"/>
                    </a:cubicBezTo>
                    <a:cubicBezTo>
                      <a:pt x="339" y="178"/>
                      <a:pt x="339" y="178"/>
                      <a:pt x="339" y="178"/>
                    </a:cubicBezTo>
                    <a:cubicBezTo>
                      <a:pt x="343" y="173"/>
                      <a:pt x="343" y="173"/>
                      <a:pt x="343" y="173"/>
                    </a:cubicBezTo>
                    <a:cubicBezTo>
                      <a:pt x="339" y="169"/>
                      <a:pt x="339" y="169"/>
                      <a:pt x="339" y="169"/>
                    </a:cubicBezTo>
                    <a:cubicBezTo>
                      <a:pt x="343" y="164"/>
                      <a:pt x="343" y="157"/>
                      <a:pt x="342" y="156"/>
                    </a:cubicBezTo>
                    <a:cubicBezTo>
                      <a:pt x="341" y="154"/>
                      <a:pt x="339" y="145"/>
                      <a:pt x="338" y="144"/>
                    </a:cubicBezTo>
                    <a:cubicBezTo>
                      <a:pt x="338" y="143"/>
                      <a:pt x="340" y="142"/>
                      <a:pt x="340" y="142"/>
                    </a:cubicBezTo>
                    <a:cubicBezTo>
                      <a:pt x="342" y="142"/>
                      <a:pt x="342" y="142"/>
                      <a:pt x="342" y="142"/>
                    </a:cubicBezTo>
                    <a:cubicBezTo>
                      <a:pt x="342" y="142"/>
                      <a:pt x="343" y="141"/>
                      <a:pt x="344" y="141"/>
                    </a:cubicBezTo>
                    <a:cubicBezTo>
                      <a:pt x="349" y="137"/>
                      <a:pt x="349" y="137"/>
                      <a:pt x="349" y="137"/>
                    </a:cubicBezTo>
                    <a:cubicBezTo>
                      <a:pt x="354" y="138"/>
                      <a:pt x="354" y="138"/>
                      <a:pt x="354" y="138"/>
                    </a:cubicBezTo>
                    <a:cubicBezTo>
                      <a:pt x="354" y="138"/>
                      <a:pt x="354" y="137"/>
                      <a:pt x="355" y="137"/>
                    </a:cubicBezTo>
                    <a:cubicBezTo>
                      <a:pt x="356" y="137"/>
                      <a:pt x="356" y="136"/>
                      <a:pt x="356" y="136"/>
                    </a:cubicBezTo>
                    <a:cubicBezTo>
                      <a:pt x="356" y="136"/>
                      <a:pt x="353" y="130"/>
                      <a:pt x="355" y="127"/>
                    </a:cubicBezTo>
                    <a:cubicBezTo>
                      <a:pt x="356" y="125"/>
                      <a:pt x="357" y="125"/>
                      <a:pt x="359" y="125"/>
                    </a:cubicBezTo>
                    <a:cubicBezTo>
                      <a:pt x="359" y="125"/>
                      <a:pt x="359" y="125"/>
                      <a:pt x="359" y="125"/>
                    </a:cubicBezTo>
                    <a:cubicBezTo>
                      <a:pt x="359" y="125"/>
                      <a:pt x="359" y="125"/>
                      <a:pt x="359" y="125"/>
                    </a:cubicBezTo>
                    <a:cubicBezTo>
                      <a:pt x="359" y="125"/>
                      <a:pt x="359" y="125"/>
                      <a:pt x="359" y="125"/>
                    </a:cubicBezTo>
                    <a:cubicBezTo>
                      <a:pt x="359" y="125"/>
                      <a:pt x="359" y="125"/>
                      <a:pt x="359" y="125"/>
                    </a:cubicBezTo>
                    <a:cubicBezTo>
                      <a:pt x="359" y="125"/>
                      <a:pt x="359" y="125"/>
                      <a:pt x="359" y="125"/>
                    </a:cubicBezTo>
                    <a:cubicBezTo>
                      <a:pt x="359" y="125"/>
                      <a:pt x="359" y="125"/>
                      <a:pt x="359" y="125"/>
                    </a:cubicBezTo>
                    <a:cubicBezTo>
                      <a:pt x="360" y="125"/>
                      <a:pt x="360" y="125"/>
                      <a:pt x="360" y="125"/>
                    </a:cubicBezTo>
                    <a:cubicBezTo>
                      <a:pt x="360" y="125"/>
                      <a:pt x="360" y="125"/>
                      <a:pt x="360" y="125"/>
                    </a:cubicBezTo>
                    <a:cubicBezTo>
                      <a:pt x="360" y="125"/>
                      <a:pt x="360" y="125"/>
                      <a:pt x="360" y="125"/>
                    </a:cubicBezTo>
                    <a:cubicBezTo>
                      <a:pt x="360" y="125"/>
                      <a:pt x="360" y="125"/>
                      <a:pt x="360" y="125"/>
                    </a:cubicBezTo>
                    <a:cubicBezTo>
                      <a:pt x="360" y="125"/>
                      <a:pt x="360" y="125"/>
                      <a:pt x="360" y="125"/>
                    </a:cubicBezTo>
                    <a:cubicBezTo>
                      <a:pt x="360" y="125"/>
                      <a:pt x="360" y="125"/>
                      <a:pt x="360" y="125"/>
                    </a:cubicBezTo>
                    <a:cubicBezTo>
                      <a:pt x="360" y="125"/>
                      <a:pt x="360" y="125"/>
                      <a:pt x="360" y="125"/>
                    </a:cubicBezTo>
                    <a:cubicBezTo>
                      <a:pt x="360" y="125"/>
                      <a:pt x="360" y="125"/>
                      <a:pt x="360" y="125"/>
                    </a:cubicBezTo>
                    <a:cubicBezTo>
                      <a:pt x="361" y="125"/>
                      <a:pt x="361" y="125"/>
                      <a:pt x="361" y="125"/>
                    </a:cubicBezTo>
                    <a:cubicBezTo>
                      <a:pt x="361" y="125"/>
                      <a:pt x="361" y="125"/>
                      <a:pt x="361" y="125"/>
                    </a:cubicBezTo>
                    <a:cubicBezTo>
                      <a:pt x="361" y="125"/>
                      <a:pt x="361" y="125"/>
                      <a:pt x="361" y="125"/>
                    </a:cubicBezTo>
                    <a:cubicBezTo>
                      <a:pt x="361" y="125"/>
                      <a:pt x="361" y="125"/>
                      <a:pt x="361" y="125"/>
                    </a:cubicBezTo>
                    <a:cubicBezTo>
                      <a:pt x="361" y="125"/>
                      <a:pt x="361" y="125"/>
                      <a:pt x="361" y="125"/>
                    </a:cubicBezTo>
                    <a:cubicBezTo>
                      <a:pt x="361" y="125"/>
                      <a:pt x="361" y="125"/>
                      <a:pt x="361" y="125"/>
                    </a:cubicBezTo>
                    <a:cubicBezTo>
                      <a:pt x="361" y="125"/>
                      <a:pt x="361" y="125"/>
                      <a:pt x="361" y="125"/>
                    </a:cubicBezTo>
                    <a:cubicBezTo>
                      <a:pt x="361" y="125"/>
                      <a:pt x="361" y="125"/>
                      <a:pt x="361" y="125"/>
                    </a:cubicBezTo>
                    <a:cubicBezTo>
                      <a:pt x="361" y="125"/>
                      <a:pt x="361" y="125"/>
                      <a:pt x="361" y="125"/>
                    </a:cubicBezTo>
                    <a:cubicBezTo>
                      <a:pt x="361" y="125"/>
                      <a:pt x="361" y="125"/>
                      <a:pt x="361" y="125"/>
                    </a:cubicBezTo>
                    <a:cubicBezTo>
                      <a:pt x="361" y="125"/>
                      <a:pt x="361" y="125"/>
                      <a:pt x="361" y="125"/>
                    </a:cubicBezTo>
                    <a:cubicBezTo>
                      <a:pt x="361" y="125"/>
                      <a:pt x="361" y="125"/>
                      <a:pt x="361" y="125"/>
                    </a:cubicBezTo>
                    <a:cubicBezTo>
                      <a:pt x="361" y="125"/>
                      <a:pt x="361" y="125"/>
                      <a:pt x="361" y="125"/>
                    </a:cubicBezTo>
                    <a:cubicBezTo>
                      <a:pt x="361" y="125"/>
                      <a:pt x="361" y="125"/>
                      <a:pt x="361" y="125"/>
                    </a:cubicBezTo>
                    <a:cubicBezTo>
                      <a:pt x="362" y="125"/>
                      <a:pt x="362" y="125"/>
                      <a:pt x="362" y="125"/>
                    </a:cubicBezTo>
                    <a:cubicBezTo>
                      <a:pt x="362" y="125"/>
                      <a:pt x="362" y="125"/>
                      <a:pt x="362" y="125"/>
                    </a:cubicBezTo>
                    <a:cubicBezTo>
                      <a:pt x="362" y="125"/>
                      <a:pt x="362" y="125"/>
                      <a:pt x="362" y="125"/>
                    </a:cubicBezTo>
                    <a:cubicBezTo>
                      <a:pt x="362" y="125"/>
                      <a:pt x="362" y="125"/>
                      <a:pt x="362" y="125"/>
                    </a:cubicBezTo>
                    <a:cubicBezTo>
                      <a:pt x="363" y="125"/>
                      <a:pt x="363" y="125"/>
                      <a:pt x="363" y="125"/>
                    </a:cubicBezTo>
                    <a:cubicBezTo>
                      <a:pt x="363" y="125"/>
                      <a:pt x="363" y="125"/>
                      <a:pt x="363" y="125"/>
                    </a:cubicBezTo>
                    <a:cubicBezTo>
                      <a:pt x="363" y="125"/>
                      <a:pt x="363" y="125"/>
                      <a:pt x="363" y="125"/>
                    </a:cubicBezTo>
                    <a:cubicBezTo>
                      <a:pt x="363" y="125"/>
                      <a:pt x="363" y="125"/>
                      <a:pt x="363" y="125"/>
                    </a:cubicBezTo>
                    <a:cubicBezTo>
                      <a:pt x="363" y="126"/>
                      <a:pt x="363" y="126"/>
                      <a:pt x="363" y="126"/>
                    </a:cubicBezTo>
                    <a:cubicBezTo>
                      <a:pt x="363" y="126"/>
                      <a:pt x="363" y="126"/>
                      <a:pt x="363" y="126"/>
                    </a:cubicBezTo>
                    <a:cubicBezTo>
                      <a:pt x="363" y="126"/>
                      <a:pt x="363" y="126"/>
                      <a:pt x="363" y="126"/>
                    </a:cubicBezTo>
                    <a:cubicBezTo>
                      <a:pt x="363" y="126"/>
                      <a:pt x="363" y="126"/>
                      <a:pt x="363" y="126"/>
                    </a:cubicBezTo>
                    <a:cubicBezTo>
                      <a:pt x="363" y="126"/>
                      <a:pt x="363" y="126"/>
                      <a:pt x="363" y="126"/>
                    </a:cubicBezTo>
                    <a:cubicBezTo>
                      <a:pt x="363" y="126"/>
                      <a:pt x="363" y="126"/>
                      <a:pt x="363" y="126"/>
                    </a:cubicBezTo>
                    <a:cubicBezTo>
                      <a:pt x="363" y="126"/>
                      <a:pt x="363" y="126"/>
                      <a:pt x="363" y="126"/>
                    </a:cubicBezTo>
                    <a:cubicBezTo>
                      <a:pt x="363" y="126"/>
                      <a:pt x="363" y="126"/>
                      <a:pt x="363" y="126"/>
                    </a:cubicBez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74" name="Freeform 109">
                <a:extLst>
                  <a:ext uri="{FF2B5EF4-FFF2-40B4-BE49-F238E27FC236}">
                    <a16:creationId xmlns:a16="http://schemas.microsoft.com/office/drawing/2014/main" id="{61FE61A5-28B8-DE32-2169-E67859D2E0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799949" y="1513249"/>
                <a:ext cx="652599" cy="1195716"/>
              </a:xfrm>
              <a:custGeom>
                <a:avLst/>
                <a:gdLst>
                  <a:gd name="T0" fmla="*/ 29 w 291"/>
                  <a:gd name="T1" fmla="*/ 540 h 550"/>
                  <a:gd name="T2" fmla="*/ 96 w 291"/>
                  <a:gd name="T3" fmla="*/ 541 h 550"/>
                  <a:gd name="T4" fmla="*/ 173 w 291"/>
                  <a:gd name="T5" fmla="*/ 531 h 550"/>
                  <a:gd name="T6" fmla="*/ 212 w 291"/>
                  <a:gd name="T7" fmla="*/ 534 h 550"/>
                  <a:gd name="T8" fmla="*/ 254 w 291"/>
                  <a:gd name="T9" fmla="*/ 506 h 550"/>
                  <a:gd name="T10" fmla="*/ 285 w 291"/>
                  <a:gd name="T11" fmla="*/ 469 h 550"/>
                  <a:gd name="T12" fmla="*/ 250 w 291"/>
                  <a:gd name="T13" fmla="*/ 407 h 550"/>
                  <a:gd name="T14" fmla="*/ 238 w 291"/>
                  <a:gd name="T15" fmla="*/ 368 h 550"/>
                  <a:gd name="T16" fmla="*/ 207 w 291"/>
                  <a:gd name="T17" fmla="*/ 282 h 550"/>
                  <a:gd name="T18" fmla="*/ 158 w 291"/>
                  <a:gd name="T19" fmla="*/ 243 h 550"/>
                  <a:gd name="T20" fmla="*/ 165 w 291"/>
                  <a:gd name="T21" fmla="*/ 227 h 550"/>
                  <a:gd name="T22" fmla="*/ 220 w 291"/>
                  <a:gd name="T23" fmla="*/ 173 h 550"/>
                  <a:gd name="T24" fmla="*/ 167 w 291"/>
                  <a:gd name="T25" fmla="*/ 157 h 550"/>
                  <a:gd name="T26" fmla="*/ 143 w 291"/>
                  <a:gd name="T27" fmla="*/ 156 h 550"/>
                  <a:gd name="T28" fmla="*/ 166 w 291"/>
                  <a:gd name="T29" fmla="*/ 136 h 550"/>
                  <a:gd name="T30" fmla="*/ 157 w 291"/>
                  <a:gd name="T31" fmla="*/ 107 h 550"/>
                  <a:gd name="T32" fmla="*/ 136 w 291"/>
                  <a:gd name="T33" fmla="*/ 106 h 550"/>
                  <a:gd name="T34" fmla="*/ 128 w 291"/>
                  <a:gd name="T35" fmla="*/ 138 h 550"/>
                  <a:gd name="T36" fmla="*/ 111 w 291"/>
                  <a:gd name="T37" fmla="*/ 142 h 550"/>
                  <a:gd name="T38" fmla="*/ 107 w 291"/>
                  <a:gd name="T39" fmla="*/ 165 h 550"/>
                  <a:gd name="T40" fmla="*/ 90 w 291"/>
                  <a:gd name="T41" fmla="*/ 144 h 550"/>
                  <a:gd name="T42" fmla="*/ 84 w 291"/>
                  <a:gd name="T43" fmla="*/ 159 h 550"/>
                  <a:gd name="T44" fmla="*/ 104 w 291"/>
                  <a:gd name="T45" fmla="*/ 172 h 550"/>
                  <a:gd name="T46" fmla="*/ 84 w 291"/>
                  <a:gd name="T47" fmla="*/ 191 h 550"/>
                  <a:gd name="T48" fmla="*/ 95 w 291"/>
                  <a:gd name="T49" fmla="*/ 210 h 550"/>
                  <a:gd name="T50" fmla="*/ 65 w 291"/>
                  <a:gd name="T51" fmla="*/ 241 h 550"/>
                  <a:gd name="T52" fmla="*/ 87 w 291"/>
                  <a:gd name="T53" fmla="*/ 231 h 550"/>
                  <a:gd name="T54" fmla="*/ 83 w 291"/>
                  <a:gd name="T55" fmla="*/ 256 h 550"/>
                  <a:gd name="T56" fmla="*/ 101 w 291"/>
                  <a:gd name="T57" fmla="*/ 237 h 550"/>
                  <a:gd name="T58" fmla="*/ 98 w 291"/>
                  <a:gd name="T59" fmla="*/ 306 h 550"/>
                  <a:gd name="T60" fmla="*/ 133 w 291"/>
                  <a:gd name="T61" fmla="*/ 306 h 550"/>
                  <a:gd name="T62" fmla="*/ 142 w 291"/>
                  <a:gd name="T63" fmla="*/ 337 h 550"/>
                  <a:gd name="T64" fmla="*/ 144 w 291"/>
                  <a:gd name="T65" fmla="*/ 382 h 550"/>
                  <a:gd name="T66" fmla="*/ 97 w 291"/>
                  <a:gd name="T67" fmla="*/ 376 h 550"/>
                  <a:gd name="T68" fmla="*/ 103 w 291"/>
                  <a:gd name="T69" fmla="*/ 422 h 550"/>
                  <a:gd name="T70" fmla="*/ 62 w 291"/>
                  <a:gd name="T71" fmla="*/ 461 h 550"/>
                  <a:gd name="T72" fmla="*/ 101 w 291"/>
                  <a:gd name="T73" fmla="*/ 472 h 550"/>
                  <a:gd name="T74" fmla="*/ 139 w 291"/>
                  <a:gd name="T75" fmla="*/ 482 h 550"/>
                  <a:gd name="T76" fmla="*/ 50 w 291"/>
                  <a:gd name="T77" fmla="*/ 266 h 550"/>
                  <a:gd name="T78" fmla="*/ 80 w 291"/>
                  <a:gd name="T79" fmla="*/ 314 h 550"/>
                  <a:gd name="T80" fmla="*/ 41 w 291"/>
                  <a:gd name="T81" fmla="*/ 324 h 550"/>
                  <a:gd name="T82" fmla="*/ 13 w 291"/>
                  <a:gd name="T83" fmla="*/ 287 h 550"/>
                  <a:gd name="T84" fmla="*/ 75 w 291"/>
                  <a:gd name="T85" fmla="*/ 227 h 550"/>
                  <a:gd name="T86" fmla="*/ 103 w 291"/>
                  <a:gd name="T87" fmla="*/ 263 h 550"/>
                  <a:gd name="T88" fmla="*/ 65 w 291"/>
                  <a:gd name="T89" fmla="*/ 199 h 550"/>
                  <a:gd name="T90" fmla="*/ 78 w 291"/>
                  <a:gd name="T91" fmla="*/ 171 h 550"/>
                  <a:gd name="T92" fmla="*/ 46 w 291"/>
                  <a:gd name="T93" fmla="*/ 177 h 550"/>
                  <a:gd name="T94" fmla="*/ 59 w 291"/>
                  <a:gd name="T95" fmla="*/ 158 h 550"/>
                  <a:gd name="T96" fmla="*/ 69 w 291"/>
                  <a:gd name="T97" fmla="*/ 132 h 550"/>
                  <a:gd name="T98" fmla="*/ 80 w 291"/>
                  <a:gd name="T99" fmla="*/ 106 h 550"/>
                  <a:gd name="T100" fmla="*/ 94 w 291"/>
                  <a:gd name="T101" fmla="*/ 116 h 550"/>
                  <a:gd name="T102" fmla="*/ 267 w 291"/>
                  <a:gd name="T103" fmla="*/ 15 h 550"/>
                  <a:gd name="T104" fmla="*/ 245 w 291"/>
                  <a:gd name="T105" fmla="*/ 27 h 550"/>
                  <a:gd name="T106" fmla="*/ 269 w 291"/>
                  <a:gd name="T107" fmla="*/ 2 h 550"/>
                  <a:gd name="T108" fmla="*/ 259 w 291"/>
                  <a:gd name="T109" fmla="*/ 29 h 550"/>
                  <a:gd name="T110" fmla="*/ 243 w 291"/>
                  <a:gd name="T111" fmla="*/ 64 h 550"/>
                  <a:gd name="T112" fmla="*/ 221 w 291"/>
                  <a:gd name="T113" fmla="*/ 72 h 550"/>
                  <a:gd name="T114" fmla="*/ 205 w 291"/>
                  <a:gd name="T115" fmla="*/ 80 h 550"/>
                  <a:gd name="T116" fmla="*/ 204 w 291"/>
                  <a:gd name="T117" fmla="*/ 75 h 550"/>
                  <a:gd name="T118" fmla="*/ 191 w 291"/>
                  <a:gd name="T119" fmla="*/ 91 h 550"/>
                  <a:gd name="T120" fmla="*/ 187 w 291"/>
                  <a:gd name="T121" fmla="*/ 92 h 5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91" h="550">
                    <a:moveTo>
                      <a:pt x="73" y="501"/>
                    </a:moveTo>
                    <a:cubicBezTo>
                      <a:pt x="69" y="504"/>
                      <a:pt x="69" y="504"/>
                      <a:pt x="69" y="504"/>
                    </a:cubicBezTo>
                    <a:cubicBezTo>
                      <a:pt x="69" y="508"/>
                      <a:pt x="69" y="508"/>
                      <a:pt x="69" y="508"/>
                    </a:cubicBezTo>
                    <a:cubicBezTo>
                      <a:pt x="67" y="512"/>
                      <a:pt x="67" y="512"/>
                      <a:pt x="67" y="512"/>
                    </a:cubicBezTo>
                    <a:cubicBezTo>
                      <a:pt x="67" y="512"/>
                      <a:pt x="65" y="513"/>
                      <a:pt x="65" y="514"/>
                    </a:cubicBezTo>
                    <a:cubicBezTo>
                      <a:pt x="64" y="515"/>
                      <a:pt x="60" y="518"/>
                      <a:pt x="60" y="518"/>
                    </a:cubicBezTo>
                    <a:cubicBezTo>
                      <a:pt x="60" y="518"/>
                      <a:pt x="60" y="519"/>
                      <a:pt x="59" y="519"/>
                    </a:cubicBezTo>
                    <a:cubicBezTo>
                      <a:pt x="58" y="519"/>
                      <a:pt x="51" y="522"/>
                      <a:pt x="51" y="522"/>
                    </a:cubicBezTo>
                    <a:cubicBezTo>
                      <a:pt x="49" y="526"/>
                      <a:pt x="49" y="526"/>
                      <a:pt x="49" y="526"/>
                    </a:cubicBezTo>
                    <a:cubicBezTo>
                      <a:pt x="45" y="527"/>
                      <a:pt x="45" y="527"/>
                      <a:pt x="45" y="527"/>
                    </a:cubicBezTo>
                    <a:cubicBezTo>
                      <a:pt x="42" y="532"/>
                      <a:pt x="42" y="532"/>
                      <a:pt x="42" y="532"/>
                    </a:cubicBezTo>
                    <a:cubicBezTo>
                      <a:pt x="37" y="534"/>
                      <a:pt x="37" y="534"/>
                      <a:pt x="37" y="534"/>
                    </a:cubicBezTo>
                    <a:cubicBezTo>
                      <a:pt x="33" y="535"/>
                      <a:pt x="33" y="535"/>
                      <a:pt x="33" y="535"/>
                    </a:cubicBezTo>
                    <a:cubicBezTo>
                      <a:pt x="29" y="533"/>
                      <a:pt x="29" y="533"/>
                      <a:pt x="29" y="533"/>
                    </a:cubicBezTo>
                    <a:cubicBezTo>
                      <a:pt x="26" y="535"/>
                      <a:pt x="26" y="535"/>
                      <a:pt x="26" y="535"/>
                    </a:cubicBezTo>
                    <a:cubicBezTo>
                      <a:pt x="23" y="537"/>
                      <a:pt x="23" y="537"/>
                      <a:pt x="23" y="537"/>
                    </a:cubicBezTo>
                    <a:cubicBezTo>
                      <a:pt x="24" y="541"/>
                      <a:pt x="24" y="541"/>
                      <a:pt x="24" y="541"/>
                    </a:cubicBezTo>
                    <a:cubicBezTo>
                      <a:pt x="27" y="543"/>
                      <a:pt x="27" y="543"/>
                      <a:pt x="27" y="543"/>
                    </a:cubicBezTo>
                    <a:cubicBezTo>
                      <a:pt x="29" y="540"/>
                      <a:pt x="29" y="540"/>
                      <a:pt x="29" y="540"/>
                    </a:cubicBezTo>
                    <a:cubicBezTo>
                      <a:pt x="35" y="542"/>
                      <a:pt x="35" y="542"/>
                      <a:pt x="35" y="542"/>
                    </a:cubicBezTo>
                    <a:cubicBezTo>
                      <a:pt x="35" y="542"/>
                      <a:pt x="37" y="545"/>
                      <a:pt x="38" y="546"/>
                    </a:cubicBezTo>
                    <a:cubicBezTo>
                      <a:pt x="38" y="547"/>
                      <a:pt x="38" y="550"/>
                      <a:pt x="39" y="550"/>
                    </a:cubicBezTo>
                    <a:cubicBezTo>
                      <a:pt x="40" y="549"/>
                      <a:pt x="45" y="546"/>
                      <a:pt x="45" y="546"/>
                    </a:cubicBezTo>
                    <a:cubicBezTo>
                      <a:pt x="43" y="542"/>
                      <a:pt x="43" y="542"/>
                      <a:pt x="43" y="542"/>
                    </a:cubicBezTo>
                    <a:cubicBezTo>
                      <a:pt x="43" y="542"/>
                      <a:pt x="46" y="541"/>
                      <a:pt x="48" y="541"/>
                    </a:cubicBezTo>
                    <a:cubicBezTo>
                      <a:pt x="50" y="541"/>
                      <a:pt x="52" y="542"/>
                      <a:pt x="53" y="540"/>
                    </a:cubicBezTo>
                    <a:cubicBezTo>
                      <a:pt x="53" y="539"/>
                      <a:pt x="56" y="539"/>
                      <a:pt x="56" y="539"/>
                    </a:cubicBezTo>
                    <a:cubicBezTo>
                      <a:pt x="56" y="539"/>
                      <a:pt x="58" y="536"/>
                      <a:pt x="58" y="536"/>
                    </a:cubicBezTo>
                    <a:cubicBezTo>
                      <a:pt x="58" y="535"/>
                      <a:pt x="61" y="533"/>
                      <a:pt x="61" y="533"/>
                    </a:cubicBezTo>
                    <a:cubicBezTo>
                      <a:pt x="61" y="533"/>
                      <a:pt x="68" y="536"/>
                      <a:pt x="69" y="536"/>
                    </a:cubicBezTo>
                    <a:cubicBezTo>
                      <a:pt x="70" y="536"/>
                      <a:pt x="77" y="534"/>
                      <a:pt x="77" y="534"/>
                    </a:cubicBezTo>
                    <a:cubicBezTo>
                      <a:pt x="80" y="537"/>
                      <a:pt x="80" y="537"/>
                      <a:pt x="80" y="537"/>
                    </a:cubicBezTo>
                    <a:cubicBezTo>
                      <a:pt x="80" y="537"/>
                      <a:pt x="80" y="539"/>
                      <a:pt x="82" y="540"/>
                    </a:cubicBezTo>
                    <a:cubicBezTo>
                      <a:pt x="84" y="540"/>
                      <a:pt x="85" y="540"/>
                      <a:pt x="85" y="540"/>
                    </a:cubicBezTo>
                    <a:cubicBezTo>
                      <a:pt x="88" y="544"/>
                      <a:pt x="88" y="544"/>
                      <a:pt x="88" y="544"/>
                    </a:cubicBezTo>
                    <a:cubicBezTo>
                      <a:pt x="91" y="546"/>
                      <a:pt x="91" y="546"/>
                      <a:pt x="91" y="546"/>
                    </a:cubicBezTo>
                    <a:cubicBezTo>
                      <a:pt x="91" y="546"/>
                      <a:pt x="94" y="546"/>
                      <a:pt x="94" y="545"/>
                    </a:cubicBezTo>
                    <a:cubicBezTo>
                      <a:pt x="94" y="544"/>
                      <a:pt x="95" y="542"/>
                      <a:pt x="96" y="541"/>
                    </a:cubicBezTo>
                    <a:cubicBezTo>
                      <a:pt x="97" y="541"/>
                      <a:pt x="100" y="540"/>
                      <a:pt x="100" y="540"/>
                    </a:cubicBezTo>
                    <a:cubicBezTo>
                      <a:pt x="100" y="540"/>
                      <a:pt x="100" y="538"/>
                      <a:pt x="100" y="537"/>
                    </a:cubicBezTo>
                    <a:cubicBezTo>
                      <a:pt x="100" y="535"/>
                      <a:pt x="100" y="532"/>
                      <a:pt x="101" y="531"/>
                    </a:cubicBezTo>
                    <a:cubicBezTo>
                      <a:pt x="101" y="531"/>
                      <a:pt x="104" y="527"/>
                      <a:pt x="104" y="527"/>
                    </a:cubicBezTo>
                    <a:cubicBezTo>
                      <a:pt x="109" y="526"/>
                      <a:pt x="109" y="526"/>
                      <a:pt x="109" y="526"/>
                    </a:cubicBezTo>
                    <a:cubicBezTo>
                      <a:pt x="121" y="525"/>
                      <a:pt x="121" y="525"/>
                      <a:pt x="121" y="525"/>
                    </a:cubicBezTo>
                    <a:cubicBezTo>
                      <a:pt x="125" y="525"/>
                      <a:pt x="125" y="525"/>
                      <a:pt x="125" y="525"/>
                    </a:cubicBezTo>
                    <a:cubicBezTo>
                      <a:pt x="130" y="529"/>
                      <a:pt x="130" y="529"/>
                      <a:pt x="130" y="529"/>
                    </a:cubicBezTo>
                    <a:cubicBezTo>
                      <a:pt x="135" y="534"/>
                      <a:pt x="135" y="534"/>
                      <a:pt x="135" y="534"/>
                    </a:cubicBezTo>
                    <a:cubicBezTo>
                      <a:pt x="135" y="534"/>
                      <a:pt x="138" y="538"/>
                      <a:pt x="138" y="537"/>
                    </a:cubicBezTo>
                    <a:cubicBezTo>
                      <a:pt x="139" y="535"/>
                      <a:pt x="140" y="531"/>
                      <a:pt x="141" y="531"/>
                    </a:cubicBezTo>
                    <a:cubicBezTo>
                      <a:pt x="142" y="531"/>
                      <a:pt x="145" y="535"/>
                      <a:pt x="145" y="535"/>
                    </a:cubicBezTo>
                    <a:cubicBezTo>
                      <a:pt x="149" y="536"/>
                      <a:pt x="149" y="536"/>
                      <a:pt x="149" y="536"/>
                    </a:cubicBezTo>
                    <a:cubicBezTo>
                      <a:pt x="152" y="536"/>
                      <a:pt x="152" y="536"/>
                      <a:pt x="152" y="536"/>
                    </a:cubicBezTo>
                    <a:cubicBezTo>
                      <a:pt x="155" y="533"/>
                      <a:pt x="155" y="533"/>
                      <a:pt x="155" y="533"/>
                    </a:cubicBezTo>
                    <a:cubicBezTo>
                      <a:pt x="153" y="530"/>
                      <a:pt x="153" y="530"/>
                      <a:pt x="153" y="530"/>
                    </a:cubicBezTo>
                    <a:cubicBezTo>
                      <a:pt x="157" y="531"/>
                      <a:pt x="157" y="531"/>
                      <a:pt x="157" y="531"/>
                    </a:cubicBezTo>
                    <a:cubicBezTo>
                      <a:pt x="168" y="532"/>
                      <a:pt x="168" y="532"/>
                      <a:pt x="168" y="532"/>
                    </a:cubicBezTo>
                    <a:cubicBezTo>
                      <a:pt x="173" y="531"/>
                      <a:pt x="173" y="531"/>
                      <a:pt x="173" y="531"/>
                    </a:cubicBezTo>
                    <a:cubicBezTo>
                      <a:pt x="177" y="530"/>
                      <a:pt x="177" y="530"/>
                      <a:pt x="177" y="530"/>
                    </a:cubicBezTo>
                    <a:cubicBezTo>
                      <a:pt x="177" y="532"/>
                      <a:pt x="177" y="532"/>
                      <a:pt x="177" y="532"/>
                    </a:cubicBezTo>
                    <a:cubicBezTo>
                      <a:pt x="171" y="534"/>
                      <a:pt x="171" y="534"/>
                      <a:pt x="171" y="534"/>
                    </a:cubicBezTo>
                    <a:cubicBezTo>
                      <a:pt x="171" y="534"/>
                      <a:pt x="168" y="534"/>
                      <a:pt x="169" y="535"/>
                    </a:cubicBezTo>
                    <a:cubicBezTo>
                      <a:pt x="170" y="537"/>
                      <a:pt x="175" y="539"/>
                      <a:pt x="175" y="539"/>
                    </a:cubicBezTo>
                    <a:cubicBezTo>
                      <a:pt x="175" y="539"/>
                      <a:pt x="172" y="540"/>
                      <a:pt x="176" y="540"/>
                    </a:cubicBezTo>
                    <a:cubicBezTo>
                      <a:pt x="180" y="540"/>
                      <a:pt x="182" y="539"/>
                      <a:pt x="182" y="539"/>
                    </a:cubicBezTo>
                    <a:cubicBezTo>
                      <a:pt x="185" y="536"/>
                      <a:pt x="185" y="536"/>
                      <a:pt x="185" y="536"/>
                    </a:cubicBezTo>
                    <a:cubicBezTo>
                      <a:pt x="183" y="534"/>
                      <a:pt x="183" y="534"/>
                      <a:pt x="183" y="534"/>
                    </a:cubicBezTo>
                    <a:cubicBezTo>
                      <a:pt x="178" y="533"/>
                      <a:pt x="178" y="533"/>
                      <a:pt x="178" y="533"/>
                    </a:cubicBezTo>
                    <a:cubicBezTo>
                      <a:pt x="179" y="529"/>
                      <a:pt x="179" y="529"/>
                      <a:pt x="179" y="529"/>
                    </a:cubicBezTo>
                    <a:cubicBezTo>
                      <a:pt x="180" y="529"/>
                      <a:pt x="180" y="529"/>
                      <a:pt x="180" y="529"/>
                    </a:cubicBezTo>
                    <a:cubicBezTo>
                      <a:pt x="183" y="532"/>
                      <a:pt x="183" y="532"/>
                      <a:pt x="183" y="532"/>
                    </a:cubicBezTo>
                    <a:cubicBezTo>
                      <a:pt x="186" y="530"/>
                      <a:pt x="186" y="530"/>
                      <a:pt x="186" y="530"/>
                    </a:cubicBezTo>
                    <a:cubicBezTo>
                      <a:pt x="190" y="531"/>
                      <a:pt x="190" y="531"/>
                      <a:pt x="190" y="531"/>
                    </a:cubicBezTo>
                    <a:cubicBezTo>
                      <a:pt x="192" y="535"/>
                      <a:pt x="192" y="535"/>
                      <a:pt x="192" y="535"/>
                    </a:cubicBezTo>
                    <a:cubicBezTo>
                      <a:pt x="192" y="535"/>
                      <a:pt x="194" y="537"/>
                      <a:pt x="196" y="535"/>
                    </a:cubicBezTo>
                    <a:cubicBezTo>
                      <a:pt x="198" y="534"/>
                      <a:pt x="200" y="533"/>
                      <a:pt x="200" y="533"/>
                    </a:cubicBezTo>
                    <a:cubicBezTo>
                      <a:pt x="212" y="534"/>
                      <a:pt x="212" y="534"/>
                      <a:pt x="212" y="534"/>
                    </a:cubicBezTo>
                    <a:cubicBezTo>
                      <a:pt x="212" y="534"/>
                      <a:pt x="218" y="533"/>
                      <a:pt x="219" y="535"/>
                    </a:cubicBezTo>
                    <a:cubicBezTo>
                      <a:pt x="220" y="536"/>
                      <a:pt x="223" y="538"/>
                      <a:pt x="223" y="538"/>
                    </a:cubicBezTo>
                    <a:cubicBezTo>
                      <a:pt x="228" y="539"/>
                      <a:pt x="228" y="539"/>
                      <a:pt x="228" y="539"/>
                    </a:cubicBezTo>
                    <a:cubicBezTo>
                      <a:pt x="233" y="539"/>
                      <a:pt x="233" y="539"/>
                      <a:pt x="233" y="539"/>
                    </a:cubicBezTo>
                    <a:cubicBezTo>
                      <a:pt x="233" y="539"/>
                      <a:pt x="235" y="537"/>
                      <a:pt x="236" y="536"/>
                    </a:cubicBezTo>
                    <a:cubicBezTo>
                      <a:pt x="238" y="536"/>
                      <a:pt x="241" y="534"/>
                      <a:pt x="242" y="534"/>
                    </a:cubicBezTo>
                    <a:cubicBezTo>
                      <a:pt x="244" y="534"/>
                      <a:pt x="249" y="533"/>
                      <a:pt x="249" y="533"/>
                    </a:cubicBezTo>
                    <a:cubicBezTo>
                      <a:pt x="250" y="533"/>
                      <a:pt x="251" y="534"/>
                      <a:pt x="253" y="533"/>
                    </a:cubicBezTo>
                    <a:cubicBezTo>
                      <a:pt x="254" y="533"/>
                      <a:pt x="257" y="528"/>
                      <a:pt x="257" y="528"/>
                    </a:cubicBezTo>
                    <a:cubicBezTo>
                      <a:pt x="257" y="528"/>
                      <a:pt x="258" y="526"/>
                      <a:pt x="260" y="526"/>
                    </a:cubicBezTo>
                    <a:cubicBezTo>
                      <a:pt x="262" y="526"/>
                      <a:pt x="265" y="526"/>
                      <a:pt x="266" y="525"/>
                    </a:cubicBezTo>
                    <a:cubicBezTo>
                      <a:pt x="267" y="523"/>
                      <a:pt x="268" y="522"/>
                      <a:pt x="269" y="521"/>
                    </a:cubicBezTo>
                    <a:cubicBezTo>
                      <a:pt x="270" y="520"/>
                      <a:pt x="272" y="517"/>
                      <a:pt x="271" y="516"/>
                    </a:cubicBezTo>
                    <a:cubicBezTo>
                      <a:pt x="271" y="515"/>
                      <a:pt x="272" y="511"/>
                      <a:pt x="272" y="511"/>
                    </a:cubicBezTo>
                    <a:cubicBezTo>
                      <a:pt x="272" y="511"/>
                      <a:pt x="269" y="511"/>
                      <a:pt x="268" y="511"/>
                    </a:cubicBezTo>
                    <a:cubicBezTo>
                      <a:pt x="267" y="510"/>
                      <a:pt x="263" y="511"/>
                      <a:pt x="262" y="510"/>
                    </a:cubicBezTo>
                    <a:cubicBezTo>
                      <a:pt x="261" y="510"/>
                      <a:pt x="257" y="510"/>
                      <a:pt x="257" y="510"/>
                    </a:cubicBezTo>
                    <a:cubicBezTo>
                      <a:pt x="256" y="508"/>
                      <a:pt x="256" y="508"/>
                      <a:pt x="256" y="508"/>
                    </a:cubicBezTo>
                    <a:cubicBezTo>
                      <a:pt x="256" y="508"/>
                      <a:pt x="255" y="507"/>
                      <a:pt x="254" y="506"/>
                    </a:cubicBezTo>
                    <a:cubicBezTo>
                      <a:pt x="253" y="506"/>
                      <a:pt x="254" y="506"/>
                      <a:pt x="252" y="505"/>
                    </a:cubicBezTo>
                    <a:cubicBezTo>
                      <a:pt x="251" y="505"/>
                      <a:pt x="249" y="503"/>
                      <a:pt x="249" y="503"/>
                    </a:cubicBezTo>
                    <a:cubicBezTo>
                      <a:pt x="246" y="502"/>
                      <a:pt x="246" y="502"/>
                      <a:pt x="246" y="502"/>
                    </a:cubicBezTo>
                    <a:cubicBezTo>
                      <a:pt x="242" y="502"/>
                      <a:pt x="242" y="502"/>
                      <a:pt x="242" y="502"/>
                    </a:cubicBezTo>
                    <a:cubicBezTo>
                      <a:pt x="246" y="500"/>
                      <a:pt x="246" y="500"/>
                      <a:pt x="246" y="500"/>
                    </a:cubicBezTo>
                    <a:cubicBezTo>
                      <a:pt x="246" y="500"/>
                      <a:pt x="250" y="500"/>
                      <a:pt x="251" y="500"/>
                    </a:cubicBezTo>
                    <a:cubicBezTo>
                      <a:pt x="252" y="501"/>
                      <a:pt x="256" y="501"/>
                      <a:pt x="256" y="500"/>
                    </a:cubicBezTo>
                    <a:cubicBezTo>
                      <a:pt x="257" y="500"/>
                      <a:pt x="260" y="495"/>
                      <a:pt x="260" y="495"/>
                    </a:cubicBezTo>
                    <a:cubicBezTo>
                      <a:pt x="259" y="492"/>
                      <a:pt x="259" y="492"/>
                      <a:pt x="259" y="492"/>
                    </a:cubicBezTo>
                    <a:cubicBezTo>
                      <a:pt x="257" y="490"/>
                      <a:pt x="257" y="490"/>
                      <a:pt x="257" y="490"/>
                    </a:cubicBezTo>
                    <a:cubicBezTo>
                      <a:pt x="253" y="491"/>
                      <a:pt x="253" y="491"/>
                      <a:pt x="253" y="491"/>
                    </a:cubicBezTo>
                    <a:cubicBezTo>
                      <a:pt x="259" y="488"/>
                      <a:pt x="259" y="488"/>
                      <a:pt x="259" y="488"/>
                    </a:cubicBezTo>
                    <a:cubicBezTo>
                      <a:pt x="261" y="486"/>
                      <a:pt x="261" y="486"/>
                      <a:pt x="261" y="486"/>
                    </a:cubicBezTo>
                    <a:cubicBezTo>
                      <a:pt x="264" y="488"/>
                      <a:pt x="264" y="488"/>
                      <a:pt x="264" y="488"/>
                    </a:cubicBezTo>
                    <a:cubicBezTo>
                      <a:pt x="264" y="488"/>
                      <a:pt x="269" y="489"/>
                      <a:pt x="269" y="488"/>
                    </a:cubicBezTo>
                    <a:cubicBezTo>
                      <a:pt x="270" y="487"/>
                      <a:pt x="271" y="485"/>
                      <a:pt x="271" y="485"/>
                    </a:cubicBezTo>
                    <a:cubicBezTo>
                      <a:pt x="271" y="482"/>
                      <a:pt x="271" y="482"/>
                      <a:pt x="271" y="482"/>
                    </a:cubicBezTo>
                    <a:cubicBezTo>
                      <a:pt x="281" y="475"/>
                      <a:pt x="281" y="475"/>
                      <a:pt x="281" y="475"/>
                    </a:cubicBezTo>
                    <a:cubicBezTo>
                      <a:pt x="285" y="469"/>
                      <a:pt x="285" y="469"/>
                      <a:pt x="285" y="469"/>
                    </a:cubicBezTo>
                    <a:cubicBezTo>
                      <a:pt x="286" y="463"/>
                      <a:pt x="286" y="463"/>
                      <a:pt x="286" y="463"/>
                    </a:cubicBezTo>
                    <a:cubicBezTo>
                      <a:pt x="291" y="454"/>
                      <a:pt x="291" y="454"/>
                      <a:pt x="291" y="454"/>
                    </a:cubicBezTo>
                    <a:cubicBezTo>
                      <a:pt x="290" y="442"/>
                      <a:pt x="290" y="442"/>
                      <a:pt x="290" y="442"/>
                    </a:cubicBezTo>
                    <a:cubicBezTo>
                      <a:pt x="285" y="434"/>
                      <a:pt x="285" y="434"/>
                      <a:pt x="285" y="434"/>
                    </a:cubicBezTo>
                    <a:cubicBezTo>
                      <a:pt x="285" y="434"/>
                      <a:pt x="279" y="429"/>
                      <a:pt x="277" y="428"/>
                    </a:cubicBezTo>
                    <a:cubicBezTo>
                      <a:pt x="275" y="428"/>
                      <a:pt x="264" y="425"/>
                      <a:pt x="264" y="425"/>
                    </a:cubicBezTo>
                    <a:cubicBezTo>
                      <a:pt x="256" y="423"/>
                      <a:pt x="256" y="423"/>
                      <a:pt x="256" y="423"/>
                    </a:cubicBezTo>
                    <a:cubicBezTo>
                      <a:pt x="252" y="425"/>
                      <a:pt x="252" y="425"/>
                      <a:pt x="252" y="425"/>
                    </a:cubicBezTo>
                    <a:cubicBezTo>
                      <a:pt x="251" y="428"/>
                      <a:pt x="251" y="428"/>
                      <a:pt x="251" y="428"/>
                    </a:cubicBezTo>
                    <a:cubicBezTo>
                      <a:pt x="248" y="430"/>
                      <a:pt x="248" y="430"/>
                      <a:pt x="248" y="430"/>
                    </a:cubicBezTo>
                    <a:cubicBezTo>
                      <a:pt x="248" y="430"/>
                      <a:pt x="245" y="432"/>
                      <a:pt x="245" y="432"/>
                    </a:cubicBezTo>
                    <a:cubicBezTo>
                      <a:pt x="244" y="432"/>
                      <a:pt x="242" y="429"/>
                      <a:pt x="242" y="429"/>
                    </a:cubicBezTo>
                    <a:cubicBezTo>
                      <a:pt x="242" y="429"/>
                      <a:pt x="239" y="426"/>
                      <a:pt x="239" y="426"/>
                    </a:cubicBezTo>
                    <a:cubicBezTo>
                      <a:pt x="238" y="426"/>
                      <a:pt x="235" y="425"/>
                      <a:pt x="235" y="425"/>
                    </a:cubicBezTo>
                    <a:cubicBezTo>
                      <a:pt x="239" y="422"/>
                      <a:pt x="239" y="422"/>
                      <a:pt x="239" y="422"/>
                    </a:cubicBezTo>
                    <a:cubicBezTo>
                      <a:pt x="244" y="420"/>
                      <a:pt x="244" y="420"/>
                      <a:pt x="244" y="420"/>
                    </a:cubicBezTo>
                    <a:cubicBezTo>
                      <a:pt x="244" y="420"/>
                      <a:pt x="246" y="418"/>
                      <a:pt x="246" y="417"/>
                    </a:cubicBezTo>
                    <a:cubicBezTo>
                      <a:pt x="247" y="417"/>
                      <a:pt x="249" y="415"/>
                      <a:pt x="249" y="415"/>
                    </a:cubicBezTo>
                    <a:cubicBezTo>
                      <a:pt x="250" y="407"/>
                      <a:pt x="250" y="407"/>
                      <a:pt x="250" y="407"/>
                    </a:cubicBezTo>
                    <a:cubicBezTo>
                      <a:pt x="248" y="399"/>
                      <a:pt x="248" y="399"/>
                      <a:pt x="248" y="399"/>
                    </a:cubicBezTo>
                    <a:cubicBezTo>
                      <a:pt x="245" y="395"/>
                      <a:pt x="245" y="395"/>
                      <a:pt x="245" y="395"/>
                    </a:cubicBezTo>
                    <a:cubicBezTo>
                      <a:pt x="243" y="391"/>
                      <a:pt x="243" y="391"/>
                      <a:pt x="243" y="391"/>
                    </a:cubicBezTo>
                    <a:cubicBezTo>
                      <a:pt x="241" y="391"/>
                      <a:pt x="241" y="391"/>
                      <a:pt x="241" y="391"/>
                    </a:cubicBezTo>
                    <a:cubicBezTo>
                      <a:pt x="237" y="388"/>
                      <a:pt x="237" y="388"/>
                      <a:pt x="237" y="388"/>
                    </a:cubicBezTo>
                    <a:cubicBezTo>
                      <a:pt x="234" y="384"/>
                      <a:pt x="234" y="384"/>
                      <a:pt x="234" y="384"/>
                    </a:cubicBezTo>
                    <a:cubicBezTo>
                      <a:pt x="233" y="381"/>
                      <a:pt x="233" y="381"/>
                      <a:pt x="233" y="381"/>
                    </a:cubicBezTo>
                    <a:cubicBezTo>
                      <a:pt x="234" y="379"/>
                      <a:pt x="234" y="379"/>
                      <a:pt x="234" y="379"/>
                    </a:cubicBezTo>
                    <a:cubicBezTo>
                      <a:pt x="235" y="380"/>
                      <a:pt x="235" y="380"/>
                      <a:pt x="235" y="380"/>
                    </a:cubicBezTo>
                    <a:cubicBezTo>
                      <a:pt x="235" y="380"/>
                      <a:pt x="235" y="382"/>
                      <a:pt x="236" y="382"/>
                    </a:cubicBezTo>
                    <a:cubicBezTo>
                      <a:pt x="236" y="383"/>
                      <a:pt x="237" y="384"/>
                      <a:pt x="237" y="384"/>
                    </a:cubicBezTo>
                    <a:cubicBezTo>
                      <a:pt x="238" y="385"/>
                      <a:pt x="242" y="387"/>
                      <a:pt x="242" y="387"/>
                    </a:cubicBezTo>
                    <a:cubicBezTo>
                      <a:pt x="244" y="387"/>
                      <a:pt x="244" y="387"/>
                      <a:pt x="244" y="387"/>
                    </a:cubicBezTo>
                    <a:cubicBezTo>
                      <a:pt x="246" y="390"/>
                      <a:pt x="246" y="390"/>
                      <a:pt x="246" y="390"/>
                    </a:cubicBezTo>
                    <a:cubicBezTo>
                      <a:pt x="246" y="390"/>
                      <a:pt x="247" y="387"/>
                      <a:pt x="247" y="387"/>
                    </a:cubicBezTo>
                    <a:cubicBezTo>
                      <a:pt x="247" y="386"/>
                      <a:pt x="244" y="382"/>
                      <a:pt x="244" y="382"/>
                    </a:cubicBezTo>
                    <a:cubicBezTo>
                      <a:pt x="243" y="382"/>
                      <a:pt x="242" y="378"/>
                      <a:pt x="242" y="378"/>
                    </a:cubicBezTo>
                    <a:cubicBezTo>
                      <a:pt x="241" y="377"/>
                      <a:pt x="239" y="371"/>
                      <a:pt x="239" y="371"/>
                    </a:cubicBezTo>
                    <a:cubicBezTo>
                      <a:pt x="239" y="371"/>
                      <a:pt x="238" y="369"/>
                      <a:pt x="238" y="368"/>
                    </a:cubicBezTo>
                    <a:cubicBezTo>
                      <a:pt x="238" y="368"/>
                      <a:pt x="238" y="363"/>
                      <a:pt x="238" y="363"/>
                    </a:cubicBezTo>
                    <a:cubicBezTo>
                      <a:pt x="240" y="362"/>
                      <a:pt x="240" y="362"/>
                      <a:pt x="240" y="362"/>
                    </a:cubicBezTo>
                    <a:cubicBezTo>
                      <a:pt x="242" y="360"/>
                      <a:pt x="242" y="360"/>
                      <a:pt x="242" y="360"/>
                    </a:cubicBezTo>
                    <a:cubicBezTo>
                      <a:pt x="242" y="360"/>
                      <a:pt x="241" y="360"/>
                      <a:pt x="241" y="359"/>
                    </a:cubicBezTo>
                    <a:cubicBezTo>
                      <a:pt x="240" y="357"/>
                      <a:pt x="238" y="355"/>
                      <a:pt x="238" y="355"/>
                    </a:cubicBezTo>
                    <a:cubicBezTo>
                      <a:pt x="238" y="355"/>
                      <a:pt x="236" y="354"/>
                      <a:pt x="235" y="353"/>
                    </a:cubicBezTo>
                    <a:cubicBezTo>
                      <a:pt x="235" y="351"/>
                      <a:pt x="234" y="349"/>
                      <a:pt x="234" y="349"/>
                    </a:cubicBezTo>
                    <a:cubicBezTo>
                      <a:pt x="234" y="348"/>
                      <a:pt x="233" y="342"/>
                      <a:pt x="233" y="342"/>
                    </a:cubicBezTo>
                    <a:cubicBezTo>
                      <a:pt x="228" y="337"/>
                      <a:pt x="228" y="337"/>
                      <a:pt x="228" y="337"/>
                    </a:cubicBezTo>
                    <a:cubicBezTo>
                      <a:pt x="228" y="337"/>
                      <a:pt x="226" y="335"/>
                      <a:pt x="225" y="334"/>
                    </a:cubicBezTo>
                    <a:cubicBezTo>
                      <a:pt x="225" y="334"/>
                      <a:pt x="222" y="333"/>
                      <a:pt x="222" y="333"/>
                    </a:cubicBezTo>
                    <a:cubicBezTo>
                      <a:pt x="221" y="333"/>
                      <a:pt x="216" y="330"/>
                      <a:pt x="216" y="330"/>
                    </a:cubicBezTo>
                    <a:cubicBezTo>
                      <a:pt x="216" y="330"/>
                      <a:pt x="212" y="325"/>
                      <a:pt x="212" y="324"/>
                    </a:cubicBezTo>
                    <a:cubicBezTo>
                      <a:pt x="212" y="323"/>
                      <a:pt x="210" y="317"/>
                      <a:pt x="210" y="317"/>
                    </a:cubicBezTo>
                    <a:cubicBezTo>
                      <a:pt x="210" y="313"/>
                      <a:pt x="210" y="313"/>
                      <a:pt x="210" y="313"/>
                    </a:cubicBezTo>
                    <a:cubicBezTo>
                      <a:pt x="208" y="305"/>
                      <a:pt x="208" y="305"/>
                      <a:pt x="208" y="305"/>
                    </a:cubicBezTo>
                    <a:cubicBezTo>
                      <a:pt x="207" y="297"/>
                      <a:pt x="207" y="297"/>
                      <a:pt x="207" y="297"/>
                    </a:cubicBezTo>
                    <a:cubicBezTo>
                      <a:pt x="207" y="289"/>
                      <a:pt x="207" y="289"/>
                      <a:pt x="207" y="289"/>
                    </a:cubicBezTo>
                    <a:cubicBezTo>
                      <a:pt x="207" y="282"/>
                      <a:pt x="207" y="282"/>
                      <a:pt x="207" y="282"/>
                    </a:cubicBezTo>
                    <a:cubicBezTo>
                      <a:pt x="207" y="276"/>
                      <a:pt x="207" y="276"/>
                      <a:pt x="207" y="276"/>
                    </a:cubicBezTo>
                    <a:cubicBezTo>
                      <a:pt x="202" y="270"/>
                      <a:pt x="202" y="270"/>
                      <a:pt x="202" y="270"/>
                    </a:cubicBezTo>
                    <a:cubicBezTo>
                      <a:pt x="200" y="264"/>
                      <a:pt x="200" y="264"/>
                      <a:pt x="200" y="264"/>
                    </a:cubicBezTo>
                    <a:cubicBezTo>
                      <a:pt x="194" y="258"/>
                      <a:pt x="194" y="258"/>
                      <a:pt x="194" y="258"/>
                    </a:cubicBezTo>
                    <a:cubicBezTo>
                      <a:pt x="190" y="253"/>
                      <a:pt x="190" y="253"/>
                      <a:pt x="190" y="253"/>
                    </a:cubicBezTo>
                    <a:cubicBezTo>
                      <a:pt x="187" y="252"/>
                      <a:pt x="187" y="252"/>
                      <a:pt x="187" y="252"/>
                    </a:cubicBezTo>
                    <a:cubicBezTo>
                      <a:pt x="182" y="246"/>
                      <a:pt x="182" y="246"/>
                      <a:pt x="182" y="246"/>
                    </a:cubicBezTo>
                    <a:cubicBezTo>
                      <a:pt x="178" y="245"/>
                      <a:pt x="178" y="245"/>
                      <a:pt x="178" y="245"/>
                    </a:cubicBezTo>
                    <a:cubicBezTo>
                      <a:pt x="174" y="247"/>
                      <a:pt x="174" y="247"/>
                      <a:pt x="174" y="247"/>
                    </a:cubicBezTo>
                    <a:cubicBezTo>
                      <a:pt x="170" y="248"/>
                      <a:pt x="170" y="248"/>
                      <a:pt x="170" y="248"/>
                    </a:cubicBezTo>
                    <a:cubicBezTo>
                      <a:pt x="166" y="249"/>
                      <a:pt x="166" y="249"/>
                      <a:pt x="166" y="249"/>
                    </a:cubicBezTo>
                    <a:cubicBezTo>
                      <a:pt x="159" y="246"/>
                      <a:pt x="159" y="246"/>
                      <a:pt x="159" y="246"/>
                    </a:cubicBezTo>
                    <a:cubicBezTo>
                      <a:pt x="156" y="243"/>
                      <a:pt x="156" y="243"/>
                      <a:pt x="156" y="243"/>
                    </a:cubicBezTo>
                    <a:cubicBezTo>
                      <a:pt x="152" y="242"/>
                      <a:pt x="152" y="242"/>
                      <a:pt x="152" y="242"/>
                    </a:cubicBezTo>
                    <a:cubicBezTo>
                      <a:pt x="150" y="242"/>
                      <a:pt x="150" y="242"/>
                      <a:pt x="150" y="242"/>
                    </a:cubicBezTo>
                    <a:cubicBezTo>
                      <a:pt x="150" y="242"/>
                      <a:pt x="150" y="241"/>
                      <a:pt x="150" y="241"/>
                    </a:cubicBezTo>
                    <a:cubicBezTo>
                      <a:pt x="150" y="241"/>
                      <a:pt x="152" y="241"/>
                      <a:pt x="152" y="241"/>
                    </a:cubicBezTo>
                    <a:cubicBezTo>
                      <a:pt x="152" y="241"/>
                      <a:pt x="154" y="242"/>
                      <a:pt x="155" y="242"/>
                    </a:cubicBezTo>
                    <a:cubicBezTo>
                      <a:pt x="155" y="242"/>
                      <a:pt x="158" y="243"/>
                      <a:pt x="158" y="243"/>
                    </a:cubicBezTo>
                    <a:cubicBezTo>
                      <a:pt x="158" y="243"/>
                      <a:pt x="159" y="244"/>
                      <a:pt x="160" y="244"/>
                    </a:cubicBezTo>
                    <a:cubicBezTo>
                      <a:pt x="161" y="244"/>
                      <a:pt x="164" y="244"/>
                      <a:pt x="164" y="244"/>
                    </a:cubicBezTo>
                    <a:cubicBezTo>
                      <a:pt x="167" y="242"/>
                      <a:pt x="167" y="242"/>
                      <a:pt x="167" y="242"/>
                    </a:cubicBezTo>
                    <a:cubicBezTo>
                      <a:pt x="168" y="239"/>
                      <a:pt x="168" y="239"/>
                      <a:pt x="168" y="239"/>
                    </a:cubicBezTo>
                    <a:cubicBezTo>
                      <a:pt x="171" y="238"/>
                      <a:pt x="171" y="238"/>
                      <a:pt x="171" y="238"/>
                    </a:cubicBezTo>
                    <a:cubicBezTo>
                      <a:pt x="173" y="237"/>
                      <a:pt x="173" y="237"/>
                      <a:pt x="173" y="237"/>
                    </a:cubicBezTo>
                    <a:cubicBezTo>
                      <a:pt x="175" y="237"/>
                      <a:pt x="175" y="237"/>
                      <a:pt x="175" y="237"/>
                    </a:cubicBezTo>
                    <a:cubicBezTo>
                      <a:pt x="175" y="237"/>
                      <a:pt x="176" y="239"/>
                      <a:pt x="178" y="238"/>
                    </a:cubicBezTo>
                    <a:cubicBezTo>
                      <a:pt x="180" y="238"/>
                      <a:pt x="181" y="237"/>
                      <a:pt x="181" y="237"/>
                    </a:cubicBezTo>
                    <a:cubicBezTo>
                      <a:pt x="181" y="237"/>
                      <a:pt x="185" y="235"/>
                      <a:pt x="184" y="235"/>
                    </a:cubicBezTo>
                    <a:cubicBezTo>
                      <a:pt x="184" y="234"/>
                      <a:pt x="184" y="233"/>
                      <a:pt x="183" y="233"/>
                    </a:cubicBezTo>
                    <a:cubicBezTo>
                      <a:pt x="183" y="232"/>
                      <a:pt x="181" y="230"/>
                      <a:pt x="181" y="230"/>
                    </a:cubicBezTo>
                    <a:cubicBezTo>
                      <a:pt x="181" y="230"/>
                      <a:pt x="180" y="230"/>
                      <a:pt x="180" y="229"/>
                    </a:cubicBezTo>
                    <a:cubicBezTo>
                      <a:pt x="180" y="228"/>
                      <a:pt x="180" y="226"/>
                      <a:pt x="180" y="226"/>
                    </a:cubicBezTo>
                    <a:cubicBezTo>
                      <a:pt x="178" y="224"/>
                      <a:pt x="178" y="224"/>
                      <a:pt x="178" y="224"/>
                    </a:cubicBezTo>
                    <a:cubicBezTo>
                      <a:pt x="178" y="224"/>
                      <a:pt x="177" y="224"/>
                      <a:pt x="176" y="224"/>
                    </a:cubicBezTo>
                    <a:cubicBezTo>
                      <a:pt x="175" y="224"/>
                      <a:pt x="174" y="225"/>
                      <a:pt x="174" y="225"/>
                    </a:cubicBezTo>
                    <a:cubicBezTo>
                      <a:pt x="170" y="226"/>
                      <a:pt x="170" y="226"/>
                      <a:pt x="170" y="226"/>
                    </a:cubicBezTo>
                    <a:cubicBezTo>
                      <a:pt x="165" y="227"/>
                      <a:pt x="165" y="227"/>
                      <a:pt x="165" y="227"/>
                    </a:cubicBezTo>
                    <a:cubicBezTo>
                      <a:pt x="165" y="226"/>
                      <a:pt x="165" y="226"/>
                      <a:pt x="165" y="226"/>
                    </a:cubicBezTo>
                    <a:cubicBezTo>
                      <a:pt x="170" y="225"/>
                      <a:pt x="170" y="225"/>
                      <a:pt x="170" y="225"/>
                    </a:cubicBezTo>
                    <a:cubicBezTo>
                      <a:pt x="173" y="223"/>
                      <a:pt x="173" y="223"/>
                      <a:pt x="173" y="223"/>
                    </a:cubicBezTo>
                    <a:cubicBezTo>
                      <a:pt x="173" y="223"/>
                      <a:pt x="173" y="222"/>
                      <a:pt x="174" y="222"/>
                    </a:cubicBezTo>
                    <a:cubicBezTo>
                      <a:pt x="175" y="222"/>
                      <a:pt x="178" y="223"/>
                      <a:pt x="178" y="223"/>
                    </a:cubicBezTo>
                    <a:cubicBezTo>
                      <a:pt x="179" y="223"/>
                      <a:pt x="183" y="223"/>
                      <a:pt x="183" y="223"/>
                    </a:cubicBezTo>
                    <a:cubicBezTo>
                      <a:pt x="183" y="223"/>
                      <a:pt x="186" y="221"/>
                      <a:pt x="186" y="220"/>
                    </a:cubicBezTo>
                    <a:cubicBezTo>
                      <a:pt x="187" y="220"/>
                      <a:pt x="191" y="218"/>
                      <a:pt x="191" y="218"/>
                    </a:cubicBezTo>
                    <a:cubicBezTo>
                      <a:pt x="191" y="215"/>
                      <a:pt x="191" y="215"/>
                      <a:pt x="191" y="215"/>
                    </a:cubicBezTo>
                    <a:cubicBezTo>
                      <a:pt x="191" y="215"/>
                      <a:pt x="192" y="212"/>
                      <a:pt x="193" y="212"/>
                    </a:cubicBezTo>
                    <a:cubicBezTo>
                      <a:pt x="193" y="212"/>
                      <a:pt x="197" y="209"/>
                      <a:pt x="197" y="209"/>
                    </a:cubicBezTo>
                    <a:cubicBezTo>
                      <a:pt x="201" y="205"/>
                      <a:pt x="201" y="205"/>
                      <a:pt x="201" y="205"/>
                    </a:cubicBezTo>
                    <a:cubicBezTo>
                      <a:pt x="203" y="200"/>
                      <a:pt x="203" y="200"/>
                      <a:pt x="203" y="200"/>
                    </a:cubicBezTo>
                    <a:cubicBezTo>
                      <a:pt x="205" y="196"/>
                      <a:pt x="205" y="196"/>
                      <a:pt x="205" y="196"/>
                    </a:cubicBezTo>
                    <a:cubicBezTo>
                      <a:pt x="205" y="196"/>
                      <a:pt x="209" y="193"/>
                      <a:pt x="208" y="192"/>
                    </a:cubicBezTo>
                    <a:cubicBezTo>
                      <a:pt x="208" y="190"/>
                      <a:pt x="208" y="187"/>
                      <a:pt x="208" y="187"/>
                    </a:cubicBezTo>
                    <a:cubicBezTo>
                      <a:pt x="208" y="187"/>
                      <a:pt x="211" y="185"/>
                      <a:pt x="212" y="184"/>
                    </a:cubicBezTo>
                    <a:cubicBezTo>
                      <a:pt x="212" y="183"/>
                      <a:pt x="219" y="178"/>
                      <a:pt x="219" y="178"/>
                    </a:cubicBezTo>
                    <a:cubicBezTo>
                      <a:pt x="220" y="173"/>
                      <a:pt x="220" y="173"/>
                      <a:pt x="220" y="173"/>
                    </a:cubicBezTo>
                    <a:cubicBezTo>
                      <a:pt x="219" y="171"/>
                      <a:pt x="219" y="171"/>
                      <a:pt x="219" y="171"/>
                    </a:cubicBezTo>
                    <a:cubicBezTo>
                      <a:pt x="218" y="168"/>
                      <a:pt x="218" y="168"/>
                      <a:pt x="218" y="168"/>
                    </a:cubicBezTo>
                    <a:cubicBezTo>
                      <a:pt x="216" y="165"/>
                      <a:pt x="216" y="165"/>
                      <a:pt x="216" y="165"/>
                    </a:cubicBezTo>
                    <a:cubicBezTo>
                      <a:pt x="214" y="162"/>
                      <a:pt x="214" y="162"/>
                      <a:pt x="214" y="162"/>
                    </a:cubicBezTo>
                    <a:cubicBezTo>
                      <a:pt x="210" y="162"/>
                      <a:pt x="210" y="162"/>
                      <a:pt x="210" y="162"/>
                    </a:cubicBezTo>
                    <a:cubicBezTo>
                      <a:pt x="210" y="162"/>
                      <a:pt x="209" y="164"/>
                      <a:pt x="209" y="163"/>
                    </a:cubicBezTo>
                    <a:cubicBezTo>
                      <a:pt x="208" y="163"/>
                      <a:pt x="206" y="161"/>
                      <a:pt x="206" y="161"/>
                    </a:cubicBezTo>
                    <a:cubicBezTo>
                      <a:pt x="202" y="162"/>
                      <a:pt x="202" y="162"/>
                      <a:pt x="202" y="162"/>
                    </a:cubicBezTo>
                    <a:cubicBezTo>
                      <a:pt x="197" y="161"/>
                      <a:pt x="197" y="161"/>
                      <a:pt x="197" y="161"/>
                    </a:cubicBezTo>
                    <a:cubicBezTo>
                      <a:pt x="196" y="159"/>
                      <a:pt x="196" y="159"/>
                      <a:pt x="196" y="159"/>
                    </a:cubicBezTo>
                    <a:cubicBezTo>
                      <a:pt x="192" y="159"/>
                      <a:pt x="192" y="159"/>
                      <a:pt x="192" y="159"/>
                    </a:cubicBezTo>
                    <a:cubicBezTo>
                      <a:pt x="190" y="158"/>
                      <a:pt x="190" y="158"/>
                      <a:pt x="190" y="158"/>
                    </a:cubicBezTo>
                    <a:cubicBezTo>
                      <a:pt x="186" y="159"/>
                      <a:pt x="186" y="159"/>
                      <a:pt x="186" y="159"/>
                    </a:cubicBezTo>
                    <a:cubicBezTo>
                      <a:pt x="183" y="159"/>
                      <a:pt x="183" y="159"/>
                      <a:pt x="183" y="159"/>
                    </a:cubicBezTo>
                    <a:cubicBezTo>
                      <a:pt x="181" y="158"/>
                      <a:pt x="181" y="158"/>
                      <a:pt x="181" y="158"/>
                    </a:cubicBezTo>
                    <a:cubicBezTo>
                      <a:pt x="178" y="155"/>
                      <a:pt x="178" y="155"/>
                      <a:pt x="178" y="155"/>
                    </a:cubicBezTo>
                    <a:cubicBezTo>
                      <a:pt x="172" y="155"/>
                      <a:pt x="172" y="155"/>
                      <a:pt x="172" y="155"/>
                    </a:cubicBezTo>
                    <a:cubicBezTo>
                      <a:pt x="171" y="157"/>
                      <a:pt x="171" y="157"/>
                      <a:pt x="171" y="157"/>
                    </a:cubicBezTo>
                    <a:cubicBezTo>
                      <a:pt x="167" y="157"/>
                      <a:pt x="167" y="157"/>
                      <a:pt x="167" y="157"/>
                    </a:cubicBezTo>
                    <a:cubicBezTo>
                      <a:pt x="167" y="157"/>
                      <a:pt x="166" y="157"/>
                      <a:pt x="165" y="157"/>
                    </a:cubicBezTo>
                    <a:cubicBezTo>
                      <a:pt x="165" y="157"/>
                      <a:pt x="163" y="158"/>
                      <a:pt x="163" y="158"/>
                    </a:cubicBezTo>
                    <a:cubicBezTo>
                      <a:pt x="161" y="159"/>
                      <a:pt x="161" y="159"/>
                      <a:pt x="161" y="159"/>
                    </a:cubicBezTo>
                    <a:cubicBezTo>
                      <a:pt x="159" y="159"/>
                      <a:pt x="159" y="159"/>
                      <a:pt x="159" y="159"/>
                    </a:cubicBezTo>
                    <a:cubicBezTo>
                      <a:pt x="155" y="158"/>
                      <a:pt x="155" y="158"/>
                      <a:pt x="155" y="158"/>
                    </a:cubicBezTo>
                    <a:cubicBezTo>
                      <a:pt x="153" y="161"/>
                      <a:pt x="153" y="161"/>
                      <a:pt x="153" y="161"/>
                    </a:cubicBezTo>
                    <a:cubicBezTo>
                      <a:pt x="150" y="162"/>
                      <a:pt x="150" y="162"/>
                      <a:pt x="150" y="162"/>
                    </a:cubicBezTo>
                    <a:cubicBezTo>
                      <a:pt x="147" y="165"/>
                      <a:pt x="147" y="165"/>
                      <a:pt x="147" y="165"/>
                    </a:cubicBezTo>
                    <a:cubicBezTo>
                      <a:pt x="148" y="162"/>
                      <a:pt x="148" y="162"/>
                      <a:pt x="148" y="162"/>
                    </a:cubicBezTo>
                    <a:cubicBezTo>
                      <a:pt x="150" y="160"/>
                      <a:pt x="150" y="160"/>
                      <a:pt x="150" y="160"/>
                    </a:cubicBezTo>
                    <a:cubicBezTo>
                      <a:pt x="153" y="159"/>
                      <a:pt x="153" y="159"/>
                      <a:pt x="153" y="159"/>
                    </a:cubicBezTo>
                    <a:cubicBezTo>
                      <a:pt x="155" y="156"/>
                      <a:pt x="155" y="156"/>
                      <a:pt x="155" y="156"/>
                    </a:cubicBezTo>
                    <a:cubicBezTo>
                      <a:pt x="155" y="156"/>
                      <a:pt x="157" y="155"/>
                      <a:pt x="157" y="154"/>
                    </a:cubicBezTo>
                    <a:cubicBezTo>
                      <a:pt x="158" y="154"/>
                      <a:pt x="160" y="152"/>
                      <a:pt x="160" y="152"/>
                    </a:cubicBezTo>
                    <a:cubicBezTo>
                      <a:pt x="157" y="151"/>
                      <a:pt x="157" y="151"/>
                      <a:pt x="157" y="151"/>
                    </a:cubicBezTo>
                    <a:cubicBezTo>
                      <a:pt x="154" y="153"/>
                      <a:pt x="154" y="153"/>
                      <a:pt x="154" y="153"/>
                    </a:cubicBezTo>
                    <a:cubicBezTo>
                      <a:pt x="154" y="153"/>
                      <a:pt x="153" y="153"/>
                      <a:pt x="152" y="153"/>
                    </a:cubicBezTo>
                    <a:cubicBezTo>
                      <a:pt x="152" y="153"/>
                      <a:pt x="149" y="154"/>
                      <a:pt x="149" y="154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9" y="153"/>
                      <a:pt x="149" y="153"/>
                      <a:pt x="149" y="153"/>
                    </a:cubicBezTo>
                    <a:cubicBezTo>
                      <a:pt x="149" y="153"/>
                      <a:pt x="151" y="152"/>
                      <a:pt x="152" y="151"/>
                    </a:cubicBezTo>
                    <a:cubicBezTo>
                      <a:pt x="153" y="151"/>
                      <a:pt x="155" y="150"/>
                      <a:pt x="155" y="150"/>
                    </a:cubicBezTo>
                    <a:cubicBezTo>
                      <a:pt x="156" y="150"/>
                      <a:pt x="158" y="149"/>
                      <a:pt x="158" y="149"/>
                    </a:cubicBezTo>
                    <a:cubicBezTo>
                      <a:pt x="159" y="150"/>
                      <a:pt x="161" y="151"/>
                      <a:pt x="162" y="150"/>
                    </a:cubicBezTo>
                    <a:cubicBezTo>
                      <a:pt x="162" y="150"/>
                      <a:pt x="163" y="148"/>
                      <a:pt x="164" y="148"/>
                    </a:cubicBezTo>
                    <a:cubicBezTo>
                      <a:pt x="164" y="147"/>
                      <a:pt x="166" y="145"/>
                      <a:pt x="166" y="145"/>
                    </a:cubicBezTo>
                    <a:cubicBezTo>
                      <a:pt x="160" y="145"/>
                      <a:pt x="160" y="145"/>
                      <a:pt x="160" y="145"/>
                    </a:cubicBezTo>
                    <a:cubicBezTo>
                      <a:pt x="160" y="145"/>
                      <a:pt x="159" y="146"/>
                      <a:pt x="158" y="146"/>
                    </a:cubicBezTo>
                    <a:cubicBezTo>
                      <a:pt x="157" y="145"/>
                      <a:pt x="155" y="145"/>
                      <a:pt x="154" y="144"/>
                    </a:cubicBezTo>
                    <a:cubicBezTo>
                      <a:pt x="154" y="144"/>
                      <a:pt x="153" y="143"/>
                      <a:pt x="153" y="143"/>
                    </a:cubicBezTo>
                    <a:cubicBezTo>
                      <a:pt x="152" y="143"/>
                      <a:pt x="150" y="141"/>
                      <a:pt x="150" y="141"/>
                    </a:cubicBezTo>
                    <a:cubicBezTo>
                      <a:pt x="151" y="140"/>
                      <a:pt x="151" y="140"/>
                      <a:pt x="151" y="140"/>
                    </a:cubicBezTo>
                    <a:cubicBezTo>
                      <a:pt x="153" y="142"/>
                      <a:pt x="153" y="142"/>
                      <a:pt x="153" y="142"/>
                    </a:cubicBezTo>
                    <a:cubicBezTo>
                      <a:pt x="153" y="142"/>
                      <a:pt x="154" y="143"/>
                      <a:pt x="155" y="143"/>
                    </a:cubicBezTo>
                    <a:cubicBezTo>
                      <a:pt x="156" y="143"/>
                      <a:pt x="157" y="142"/>
                      <a:pt x="159" y="142"/>
                    </a:cubicBezTo>
                    <a:cubicBezTo>
                      <a:pt x="160" y="143"/>
                      <a:pt x="162" y="140"/>
                      <a:pt x="162" y="140"/>
                    </a:cubicBezTo>
                    <a:cubicBezTo>
                      <a:pt x="162" y="140"/>
                      <a:pt x="160" y="140"/>
                      <a:pt x="163" y="139"/>
                    </a:cubicBezTo>
                    <a:cubicBezTo>
                      <a:pt x="165" y="137"/>
                      <a:pt x="164" y="138"/>
                      <a:pt x="166" y="136"/>
                    </a:cubicBezTo>
                    <a:cubicBezTo>
                      <a:pt x="168" y="135"/>
                      <a:pt x="173" y="132"/>
                      <a:pt x="173" y="132"/>
                    </a:cubicBezTo>
                    <a:cubicBezTo>
                      <a:pt x="179" y="130"/>
                      <a:pt x="179" y="130"/>
                      <a:pt x="179" y="130"/>
                    </a:cubicBezTo>
                    <a:cubicBezTo>
                      <a:pt x="183" y="125"/>
                      <a:pt x="183" y="125"/>
                      <a:pt x="183" y="125"/>
                    </a:cubicBezTo>
                    <a:cubicBezTo>
                      <a:pt x="186" y="125"/>
                      <a:pt x="186" y="125"/>
                      <a:pt x="186" y="125"/>
                    </a:cubicBezTo>
                    <a:cubicBezTo>
                      <a:pt x="190" y="121"/>
                      <a:pt x="190" y="121"/>
                      <a:pt x="190" y="121"/>
                    </a:cubicBezTo>
                    <a:cubicBezTo>
                      <a:pt x="192" y="119"/>
                      <a:pt x="192" y="119"/>
                      <a:pt x="192" y="119"/>
                    </a:cubicBezTo>
                    <a:cubicBezTo>
                      <a:pt x="191" y="114"/>
                      <a:pt x="191" y="114"/>
                      <a:pt x="191" y="114"/>
                    </a:cubicBezTo>
                    <a:cubicBezTo>
                      <a:pt x="193" y="110"/>
                      <a:pt x="193" y="110"/>
                      <a:pt x="193" y="110"/>
                    </a:cubicBezTo>
                    <a:cubicBezTo>
                      <a:pt x="193" y="107"/>
                      <a:pt x="193" y="107"/>
                      <a:pt x="193" y="107"/>
                    </a:cubicBezTo>
                    <a:cubicBezTo>
                      <a:pt x="190" y="106"/>
                      <a:pt x="190" y="106"/>
                      <a:pt x="190" y="106"/>
                    </a:cubicBezTo>
                    <a:cubicBezTo>
                      <a:pt x="184" y="106"/>
                      <a:pt x="184" y="106"/>
                      <a:pt x="184" y="106"/>
                    </a:cubicBezTo>
                    <a:cubicBezTo>
                      <a:pt x="184" y="106"/>
                      <a:pt x="183" y="109"/>
                      <a:pt x="182" y="108"/>
                    </a:cubicBezTo>
                    <a:cubicBezTo>
                      <a:pt x="182" y="108"/>
                      <a:pt x="178" y="105"/>
                      <a:pt x="177" y="105"/>
                    </a:cubicBezTo>
                    <a:cubicBezTo>
                      <a:pt x="177" y="105"/>
                      <a:pt x="173" y="108"/>
                      <a:pt x="173" y="108"/>
                    </a:cubicBezTo>
                    <a:cubicBezTo>
                      <a:pt x="171" y="108"/>
                      <a:pt x="171" y="108"/>
                      <a:pt x="171" y="108"/>
                    </a:cubicBezTo>
                    <a:cubicBezTo>
                      <a:pt x="171" y="108"/>
                      <a:pt x="170" y="108"/>
                      <a:pt x="168" y="108"/>
                    </a:cubicBezTo>
                    <a:cubicBezTo>
                      <a:pt x="166" y="107"/>
                      <a:pt x="162" y="106"/>
                      <a:pt x="162" y="106"/>
                    </a:cubicBezTo>
                    <a:cubicBezTo>
                      <a:pt x="159" y="108"/>
                      <a:pt x="159" y="108"/>
                      <a:pt x="159" y="108"/>
                    </a:cubicBezTo>
                    <a:cubicBezTo>
                      <a:pt x="157" y="107"/>
                      <a:pt x="157" y="107"/>
                      <a:pt x="157" y="107"/>
                    </a:cubicBezTo>
                    <a:cubicBezTo>
                      <a:pt x="153" y="110"/>
                      <a:pt x="153" y="110"/>
                      <a:pt x="153" y="110"/>
                    </a:cubicBezTo>
                    <a:cubicBezTo>
                      <a:pt x="153" y="108"/>
                      <a:pt x="153" y="108"/>
                      <a:pt x="153" y="108"/>
                    </a:cubicBezTo>
                    <a:cubicBezTo>
                      <a:pt x="155" y="105"/>
                      <a:pt x="155" y="105"/>
                      <a:pt x="155" y="105"/>
                    </a:cubicBezTo>
                    <a:cubicBezTo>
                      <a:pt x="155" y="105"/>
                      <a:pt x="154" y="104"/>
                      <a:pt x="153" y="104"/>
                    </a:cubicBezTo>
                    <a:cubicBezTo>
                      <a:pt x="153" y="104"/>
                      <a:pt x="151" y="103"/>
                      <a:pt x="151" y="103"/>
                    </a:cubicBezTo>
                    <a:cubicBezTo>
                      <a:pt x="149" y="106"/>
                      <a:pt x="149" y="106"/>
                      <a:pt x="149" y="106"/>
                    </a:cubicBezTo>
                    <a:cubicBezTo>
                      <a:pt x="145" y="108"/>
                      <a:pt x="145" y="108"/>
                      <a:pt x="145" y="108"/>
                    </a:cubicBezTo>
                    <a:cubicBezTo>
                      <a:pt x="146" y="107"/>
                      <a:pt x="146" y="107"/>
                      <a:pt x="146" y="107"/>
                    </a:cubicBezTo>
                    <a:cubicBezTo>
                      <a:pt x="149" y="105"/>
                      <a:pt x="149" y="105"/>
                      <a:pt x="149" y="105"/>
                    </a:cubicBezTo>
                    <a:cubicBezTo>
                      <a:pt x="149" y="103"/>
                      <a:pt x="149" y="103"/>
                      <a:pt x="149" y="103"/>
                    </a:cubicBezTo>
                    <a:cubicBezTo>
                      <a:pt x="149" y="103"/>
                      <a:pt x="148" y="103"/>
                      <a:pt x="148" y="103"/>
                    </a:cubicBezTo>
                    <a:cubicBezTo>
                      <a:pt x="147" y="103"/>
                      <a:pt x="146" y="102"/>
                      <a:pt x="146" y="102"/>
                    </a:cubicBezTo>
                    <a:cubicBezTo>
                      <a:pt x="144" y="101"/>
                      <a:pt x="144" y="101"/>
                      <a:pt x="144" y="101"/>
                    </a:cubicBezTo>
                    <a:cubicBezTo>
                      <a:pt x="143" y="99"/>
                      <a:pt x="143" y="99"/>
                      <a:pt x="143" y="99"/>
                    </a:cubicBezTo>
                    <a:cubicBezTo>
                      <a:pt x="140" y="100"/>
                      <a:pt x="140" y="100"/>
                      <a:pt x="140" y="100"/>
                    </a:cubicBezTo>
                    <a:cubicBezTo>
                      <a:pt x="139" y="102"/>
                      <a:pt x="139" y="102"/>
                      <a:pt x="139" y="102"/>
                    </a:cubicBezTo>
                    <a:cubicBezTo>
                      <a:pt x="137" y="103"/>
                      <a:pt x="137" y="103"/>
                      <a:pt x="137" y="103"/>
                    </a:cubicBezTo>
                    <a:cubicBezTo>
                      <a:pt x="135" y="103"/>
                      <a:pt x="135" y="103"/>
                      <a:pt x="135" y="103"/>
                    </a:cubicBezTo>
                    <a:cubicBezTo>
                      <a:pt x="136" y="106"/>
                      <a:pt x="136" y="106"/>
                      <a:pt x="136" y="106"/>
                    </a:cubicBezTo>
                    <a:cubicBezTo>
                      <a:pt x="135" y="109"/>
                      <a:pt x="135" y="109"/>
                      <a:pt x="135" y="109"/>
                    </a:cubicBezTo>
                    <a:cubicBezTo>
                      <a:pt x="132" y="109"/>
                      <a:pt x="132" y="109"/>
                      <a:pt x="132" y="109"/>
                    </a:cubicBezTo>
                    <a:cubicBezTo>
                      <a:pt x="132" y="109"/>
                      <a:pt x="132" y="113"/>
                      <a:pt x="133" y="113"/>
                    </a:cubicBezTo>
                    <a:cubicBezTo>
                      <a:pt x="133" y="113"/>
                      <a:pt x="134" y="115"/>
                      <a:pt x="134" y="115"/>
                    </a:cubicBezTo>
                    <a:cubicBezTo>
                      <a:pt x="134" y="117"/>
                      <a:pt x="134" y="117"/>
                      <a:pt x="134" y="117"/>
                    </a:cubicBezTo>
                    <a:cubicBezTo>
                      <a:pt x="135" y="118"/>
                      <a:pt x="135" y="118"/>
                      <a:pt x="135" y="118"/>
                    </a:cubicBezTo>
                    <a:cubicBezTo>
                      <a:pt x="135" y="118"/>
                      <a:pt x="134" y="118"/>
                      <a:pt x="133" y="118"/>
                    </a:cubicBezTo>
                    <a:cubicBezTo>
                      <a:pt x="133" y="118"/>
                      <a:pt x="132" y="116"/>
                      <a:pt x="132" y="116"/>
                    </a:cubicBezTo>
                    <a:cubicBezTo>
                      <a:pt x="128" y="116"/>
                      <a:pt x="128" y="116"/>
                      <a:pt x="128" y="116"/>
                    </a:cubicBezTo>
                    <a:cubicBezTo>
                      <a:pt x="127" y="116"/>
                      <a:pt x="127" y="116"/>
                      <a:pt x="127" y="116"/>
                    </a:cubicBezTo>
                    <a:cubicBezTo>
                      <a:pt x="126" y="119"/>
                      <a:pt x="126" y="119"/>
                      <a:pt x="126" y="119"/>
                    </a:cubicBezTo>
                    <a:cubicBezTo>
                      <a:pt x="127" y="122"/>
                      <a:pt x="127" y="122"/>
                      <a:pt x="127" y="122"/>
                    </a:cubicBezTo>
                    <a:cubicBezTo>
                      <a:pt x="126" y="124"/>
                      <a:pt x="126" y="124"/>
                      <a:pt x="126" y="124"/>
                    </a:cubicBezTo>
                    <a:cubicBezTo>
                      <a:pt x="125" y="125"/>
                      <a:pt x="125" y="125"/>
                      <a:pt x="125" y="125"/>
                    </a:cubicBezTo>
                    <a:cubicBezTo>
                      <a:pt x="125" y="125"/>
                      <a:pt x="123" y="127"/>
                      <a:pt x="123" y="127"/>
                    </a:cubicBezTo>
                    <a:cubicBezTo>
                      <a:pt x="123" y="128"/>
                      <a:pt x="124" y="131"/>
                      <a:pt x="124" y="131"/>
                    </a:cubicBezTo>
                    <a:cubicBezTo>
                      <a:pt x="124" y="131"/>
                      <a:pt x="125" y="133"/>
                      <a:pt x="126" y="133"/>
                    </a:cubicBezTo>
                    <a:cubicBezTo>
                      <a:pt x="126" y="134"/>
                      <a:pt x="128" y="135"/>
                      <a:pt x="128" y="135"/>
                    </a:cubicBezTo>
                    <a:cubicBezTo>
                      <a:pt x="128" y="138"/>
                      <a:pt x="128" y="138"/>
                      <a:pt x="128" y="138"/>
                    </a:cubicBezTo>
                    <a:cubicBezTo>
                      <a:pt x="126" y="135"/>
                      <a:pt x="126" y="135"/>
                      <a:pt x="126" y="135"/>
                    </a:cubicBezTo>
                    <a:cubicBezTo>
                      <a:pt x="126" y="135"/>
                      <a:pt x="125" y="134"/>
                      <a:pt x="124" y="133"/>
                    </a:cubicBezTo>
                    <a:cubicBezTo>
                      <a:pt x="124" y="133"/>
                      <a:pt x="123" y="131"/>
                      <a:pt x="123" y="131"/>
                    </a:cubicBezTo>
                    <a:cubicBezTo>
                      <a:pt x="123" y="131"/>
                      <a:pt x="121" y="132"/>
                      <a:pt x="121" y="132"/>
                    </a:cubicBezTo>
                    <a:cubicBezTo>
                      <a:pt x="121" y="132"/>
                      <a:pt x="120" y="132"/>
                      <a:pt x="121" y="133"/>
                    </a:cubicBezTo>
                    <a:cubicBezTo>
                      <a:pt x="121" y="134"/>
                      <a:pt x="119" y="135"/>
                      <a:pt x="119" y="135"/>
                    </a:cubicBezTo>
                    <a:cubicBezTo>
                      <a:pt x="119" y="135"/>
                      <a:pt x="116" y="136"/>
                      <a:pt x="116" y="135"/>
                    </a:cubicBezTo>
                    <a:cubicBezTo>
                      <a:pt x="116" y="134"/>
                      <a:pt x="116" y="133"/>
                      <a:pt x="115" y="132"/>
                    </a:cubicBezTo>
                    <a:cubicBezTo>
                      <a:pt x="115" y="132"/>
                      <a:pt x="114" y="132"/>
                      <a:pt x="114" y="132"/>
                    </a:cubicBezTo>
                    <a:cubicBezTo>
                      <a:pt x="114" y="133"/>
                      <a:pt x="113" y="134"/>
                      <a:pt x="113" y="134"/>
                    </a:cubicBezTo>
                    <a:cubicBezTo>
                      <a:pt x="114" y="137"/>
                      <a:pt x="114" y="137"/>
                      <a:pt x="114" y="137"/>
                    </a:cubicBezTo>
                    <a:cubicBezTo>
                      <a:pt x="114" y="137"/>
                      <a:pt x="113" y="139"/>
                      <a:pt x="113" y="139"/>
                    </a:cubicBezTo>
                    <a:cubicBezTo>
                      <a:pt x="113" y="138"/>
                      <a:pt x="112" y="136"/>
                      <a:pt x="112" y="135"/>
                    </a:cubicBezTo>
                    <a:cubicBezTo>
                      <a:pt x="112" y="135"/>
                      <a:pt x="112" y="133"/>
                      <a:pt x="111" y="133"/>
                    </a:cubicBezTo>
                    <a:cubicBezTo>
                      <a:pt x="111" y="133"/>
                      <a:pt x="109" y="135"/>
                      <a:pt x="109" y="135"/>
                    </a:cubicBezTo>
                    <a:cubicBezTo>
                      <a:pt x="109" y="135"/>
                      <a:pt x="108" y="135"/>
                      <a:pt x="108" y="136"/>
                    </a:cubicBezTo>
                    <a:cubicBezTo>
                      <a:pt x="108" y="136"/>
                      <a:pt x="107" y="139"/>
                      <a:pt x="108" y="140"/>
                    </a:cubicBezTo>
                    <a:cubicBezTo>
                      <a:pt x="109" y="141"/>
                      <a:pt x="109" y="141"/>
                      <a:pt x="110" y="141"/>
                    </a:cubicBezTo>
                    <a:cubicBezTo>
                      <a:pt x="111" y="141"/>
                      <a:pt x="111" y="142"/>
                      <a:pt x="111" y="142"/>
                    </a:cubicBezTo>
                    <a:cubicBezTo>
                      <a:pt x="107" y="142"/>
                      <a:pt x="107" y="142"/>
                      <a:pt x="107" y="142"/>
                    </a:cubicBezTo>
                    <a:cubicBezTo>
                      <a:pt x="107" y="142"/>
                      <a:pt x="106" y="143"/>
                      <a:pt x="107" y="144"/>
                    </a:cubicBezTo>
                    <a:cubicBezTo>
                      <a:pt x="107" y="144"/>
                      <a:pt x="107" y="146"/>
                      <a:pt x="107" y="146"/>
                    </a:cubicBezTo>
                    <a:cubicBezTo>
                      <a:pt x="107" y="146"/>
                      <a:pt x="109" y="148"/>
                      <a:pt x="109" y="148"/>
                    </a:cubicBezTo>
                    <a:cubicBezTo>
                      <a:pt x="109" y="148"/>
                      <a:pt x="108" y="150"/>
                      <a:pt x="108" y="150"/>
                    </a:cubicBezTo>
                    <a:cubicBezTo>
                      <a:pt x="108" y="150"/>
                      <a:pt x="106" y="149"/>
                      <a:pt x="106" y="149"/>
                    </a:cubicBezTo>
                    <a:cubicBezTo>
                      <a:pt x="105" y="148"/>
                      <a:pt x="105" y="149"/>
                      <a:pt x="104" y="149"/>
                    </a:cubicBezTo>
                    <a:cubicBezTo>
                      <a:pt x="104" y="150"/>
                      <a:pt x="103" y="151"/>
                      <a:pt x="103" y="152"/>
                    </a:cubicBezTo>
                    <a:cubicBezTo>
                      <a:pt x="103" y="152"/>
                      <a:pt x="104" y="153"/>
                      <a:pt x="104" y="154"/>
                    </a:cubicBezTo>
                    <a:cubicBezTo>
                      <a:pt x="103" y="156"/>
                      <a:pt x="103" y="158"/>
                      <a:pt x="103" y="158"/>
                    </a:cubicBezTo>
                    <a:cubicBezTo>
                      <a:pt x="103" y="158"/>
                      <a:pt x="102" y="158"/>
                      <a:pt x="103" y="159"/>
                    </a:cubicBezTo>
                    <a:cubicBezTo>
                      <a:pt x="104" y="160"/>
                      <a:pt x="106" y="160"/>
                      <a:pt x="107" y="160"/>
                    </a:cubicBezTo>
                    <a:cubicBezTo>
                      <a:pt x="108" y="160"/>
                      <a:pt x="108" y="160"/>
                      <a:pt x="108" y="160"/>
                    </a:cubicBezTo>
                    <a:cubicBezTo>
                      <a:pt x="109" y="160"/>
                      <a:pt x="110" y="160"/>
                      <a:pt x="111" y="161"/>
                    </a:cubicBezTo>
                    <a:cubicBezTo>
                      <a:pt x="111" y="161"/>
                      <a:pt x="112" y="161"/>
                      <a:pt x="112" y="161"/>
                    </a:cubicBezTo>
                    <a:cubicBezTo>
                      <a:pt x="112" y="161"/>
                      <a:pt x="111" y="163"/>
                      <a:pt x="110" y="162"/>
                    </a:cubicBezTo>
                    <a:cubicBezTo>
                      <a:pt x="109" y="161"/>
                      <a:pt x="107" y="161"/>
                      <a:pt x="106" y="161"/>
                    </a:cubicBezTo>
                    <a:cubicBezTo>
                      <a:pt x="105" y="161"/>
                      <a:pt x="106" y="163"/>
                      <a:pt x="106" y="163"/>
                    </a:cubicBezTo>
                    <a:cubicBezTo>
                      <a:pt x="107" y="165"/>
                      <a:pt x="107" y="165"/>
                      <a:pt x="107" y="165"/>
                    </a:cubicBezTo>
                    <a:cubicBezTo>
                      <a:pt x="107" y="165"/>
                      <a:pt x="108" y="166"/>
                      <a:pt x="107" y="166"/>
                    </a:cubicBezTo>
                    <a:cubicBezTo>
                      <a:pt x="106" y="166"/>
                      <a:pt x="104" y="165"/>
                      <a:pt x="104" y="165"/>
                    </a:cubicBezTo>
                    <a:cubicBezTo>
                      <a:pt x="104" y="165"/>
                      <a:pt x="104" y="165"/>
                      <a:pt x="103" y="165"/>
                    </a:cubicBezTo>
                    <a:cubicBezTo>
                      <a:pt x="103" y="165"/>
                      <a:pt x="102" y="166"/>
                      <a:pt x="101" y="166"/>
                    </a:cubicBezTo>
                    <a:cubicBezTo>
                      <a:pt x="100" y="166"/>
                      <a:pt x="100" y="166"/>
                      <a:pt x="99" y="165"/>
                    </a:cubicBezTo>
                    <a:cubicBezTo>
                      <a:pt x="98" y="165"/>
                      <a:pt x="96" y="163"/>
                      <a:pt x="96" y="163"/>
                    </a:cubicBezTo>
                    <a:cubicBezTo>
                      <a:pt x="96" y="163"/>
                      <a:pt x="95" y="163"/>
                      <a:pt x="95" y="162"/>
                    </a:cubicBezTo>
                    <a:cubicBezTo>
                      <a:pt x="95" y="161"/>
                      <a:pt x="96" y="159"/>
                      <a:pt x="96" y="159"/>
                    </a:cubicBezTo>
                    <a:cubicBezTo>
                      <a:pt x="97" y="158"/>
                      <a:pt x="96" y="158"/>
                      <a:pt x="97" y="158"/>
                    </a:cubicBezTo>
                    <a:cubicBezTo>
                      <a:pt x="98" y="158"/>
                      <a:pt x="101" y="158"/>
                      <a:pt x="99" y="156"/>
                    </a:cubicBezTo>
                    <a:cubicBezTo>
                      <a:pt x="98" y="154"/>
                      <a:pt x="98" y="154"/>
                      <a:pt x="97" y="154"/>
                    </a:cubicBezTo>
                    <a:cubicBezTo>
                      <a:pt x="96" y="155"/>
                      <a:pt x="94" y="156"/>
                      <a:pt x="94" y="156"/>
                    </a:cubicBezTo>
                    <a:cubicBezTo>
                      <a:pt x="94" y="156"/>
                      <a:pt x="93" y="155"/>
                      <a:pt x="94" y="152"/>
                    </a:cubicBezTo>
                    <a:cubicBezTo>
                      <a:pt x="95" y="149"/>
                      <a:pt x="94" y="149"/>
                      <a:pt x="95" y="148"/>
                    </a:cubicBezTo>
                    <a:cubicBezTo>
                      <a:pt x="96" y="147"/>
                      <a:pt x="97" y="146"/>
                      <a:pt x="97" y="146"/>
                    </a:cubicBezTo>
                    <a:cubicBezTo>
                      <a:pt x="97" y="146"/>
                      <a:pt x="97" y="145"/>
                      <a:pt x="95" y="143"/>
                    </a:cubicBezTo>
                    <a:cubicBezTo>
                      <a:pt x="94" y="141"/>
                      <a:pt x="93" y="139"/>
                      <a:pt x="93" y="139"/>
                    </a:cubicBezTo>
                    <a:cubicBezTo>
                      <a:pt x="92" y="138"/>
                      <a:pt x="90" y="140"/>
                      <a:pt x="90" y="140"/>
                    </a:cubicBezTo>
                    <a:cubicBezTo>
                      <a:pt x="90" y="141"/>
                      <a:pt x="89" y="143"/>
                      <a:pt x="90" y="144"/>
                    </a:cubicBezTo>
                    <a:cubicBezTo>
                      <a:pt x="90" y="145"/>
                      <a:pt x="90" y="146"/>
                      <a:pt x="89" y="147"/>
                    </a:cubicBezTo>
                    <a:cubicBezTo>
                      <a:pt x="88" y="147"/>
                      <a:pt x="88" y="148"/>
                      <a:pt x="87" y="147"/>
                    </a:cubicBezTo>
                    <a:cubicBezTo>
                      <a:pt x="86" y="146"/>
                      <a:pt x="87" y="147"/>
                      <a:pt x="86" y="145"/>
                    </a:cubicBezTo>
                    <a:cubicBezTo>
                      <a:pt x="85" y="144"/>
                      <a:pt x="86" y="144"/>
                      <a:pt x="85" y="144"/>
                    </a:cubicBezTo>
                    <a:cubicBezTo>
                      <a:pt x="84" y="143"/>
                      <a:pt x="83" y="142"/>
                      <a:pt x="83" y="142"/>
                    </a:cubicBezTo>
                    <a:cubicBezTo>
                      <a:pt x="83" y="142"/>
                      <a:pt x="80" y="141"/>
                      <a:pt x="80" y="142"/>
                    </a:cubicBezTo>
                    <a:cubicBezTo>
                      <a:pt x="80" y="143"/>
                      <a:pt x="80" y="143"/>
                      <a:pt x="81" y="144"/>
                    </a:cubicBezTo>
                    <a:cubicBezTo>
                      <a:pt x="81" y="145"/>
                      <a:pt x="82" y="145"/>
                      <a:pt x="82" y="146"/>
                    </a:cubicBezTo>
                    <a:cubicBezTo>
                      <a:pt x="82" y="147"/>
                      <a:pt x="81" y="147"/>
                      <a:pt x="81" y="147"/>
                    </a:cubicBezTo>
                    <a:cubicBezTo>
                      <a:pt x="81" y="147"/>
                      <a:pt x="80" y="146"/>
                      <a:pt x="79" y="146"/>
                    </a:cubicBezTo>
                    <a:cubicBezTo>
                      <a:pt x="79" y="146"/>
                      <a:pt x="77" y="148"/>
                      <a:pt x="77" y="148"/>
                    </a:cubicBezTo>
                    <a:cubicBezTo>
                      <a:pt x="77" y="148"/>
                      <a:pt x="77" y="149"/>
                      <a:pt x="77" y="150"/>
                    </a:cubicBezTo>
                    <a:cubicBezTo>
                      <a:pt x="77" y="150"/>
                      <a:pt x="77" y="151"/>
                      <a:pt x="77" y="152"/>
                    </a:cubicBezTo>
                    <a:cubicBezTo>
                      <a:pt x="78" y="153"/>
                      <a:pt x="78" y="155"/>
                      <a:pt x="79" y="155"/>
                    </a:cubicBezTo>
                    <a:cubicBezTo>
                      <a:pt x="81" y="155"/>
                      <a:pt x="85" y="153"/>
                      <a:pt x="85" y="153"/>
                    </a:cubicBezTo>
                    <a:cubicBezTo>
                      <a:pt x="85" y="154"/>
                      <a:pt x="87" y="155"/>
                      <a:pt x="88" y="156"/>
                    </a:cubicBezTo>
                    <a:cubicBezTo>
                      <a:pt x="88" y="156"/>
                      <a:pt x="88" y="158"/>
                      <a:pt x="88" y="158"/>
                    </a:cubicBezTo>
                    <a:cubicBezTo>
                      <a:pt x="88" y="158"/>
                      <a:pt x="87" y="159"/>
                      <a:pt x="86" y="159"/>
                    </a:cubicBezTo>
                    <a:cubicBezTo>
                      <a:pt x="85" y="159"/>
                      <a:pt x="84" y="157"/>
                      <a:pt x="84" y="159"/>
                    </a:cubicBezTo>
                    <a:cubicBezTo>
                      <a:pt x="84" y="160"/>
                      <a:pt x="83" y="162"/>
                      <a:pt x="84" y="163"/>
                    </a:cubicBezTo>
                    <a:cubicBezTo>
                      <a:pt x="85" y="164"/>
                      <a:pt x="85" y="166"/>
                      <a:pt x="87" y="166"/>
                    </a:cubicBezTo>
                    <a:cubicBezTo>
                      <a:pt x="89" y="167"/>
                      <a:pt x="89" y="168"/>
                      <a:pt x="90" y="167"/>
                    </a:cubicBezTo>
                    <a:cubicBezTo>
                      <a:pt x="91" y="166"/>
                      <a:pt x="91" y="165"/>
                      <a:pt x="92" y="166"/>
                    </a:cubicBezTo>
                    <a:cubicBezTo>
                      <a:pt x="93" y="166"/>
                      <a:pt x="94" y="166"/>
                      <a:pt x="95" y="167"/>
                    </a:cubicBezTo>
                    <a:cubicBezTo>
                      <a:pt x="95" y="168"/>
                      <a:pt x="94" y="168"/>
                      <a:pt x="94" y="168"/>
                    </a:cubicBezTo>
                    <a:cubicBezTo>
                      <a:pt x="94" y="168"/>
                      <a:pt x="93" y="168"/>
                      <a:pt x="93" y="169"/>
                    </a:cubicBezTo>
                    <a:cubicBezTo>
                      <a:pt x="93" y="169"/>
                      <a:pt x="92" y="170"/>
                      <a:pt x="93" y="170"/>
                    </a:cubicBezTo>
                    <a:cubicBezTo>
                      <a:pt x="95" y="170"/>
                      <a:pt x="96" y="170"/>
                      <a:pt x="96" y="170"/>
                    </a:cubicBezTo>
                    <a:cubicBezTo>
                      <a:pt x="96" y="170"/>
                      <a:pt x="97" y="168"/>
                      <a:pt x="98" y="169"/>
                    </a:cubicBezTo>
                    <a:cubicBezTo>
                      <a:pt x="98" y="170"/>
                      <a:pt x="97" y="170"/>
                      <a:pt x="96" y="171"/>
                    </a:cubicBezTo>
                    <a:cubicBezTo>
                      <a:pt x="95" y="172"/>
                      <a:pt x="95" y="172"/>
                      <a:pt x="95" y="173"/>
                    </a:cubicBezTo>
                    <a:cubicBezTo>
                      <a:pt x="95" y="174"/>
                      <a:pt x="94" y="174"/>
                      <a:pt x="94" y="175"/>
                    </a:cubicBezTo>
                    <a:cubicBezTo>
                      <a:pt x="94" y="176"/>
                      <a:pt x="92" y="180"/>
                      <a:pt x="95" y="177"/>
                    </a:cubicBezTo>
                    <a:cubicBezTo>
                      <a:pt x="99" y="174"/>
                      <a:pt x="99" y="175"/>
                      <a:pt x="99" y="174"/>
                    </a:cubicBezTo>
                    <a:cubicBezTo>
                      <a:pt x="99" y="173"/>
                      <a:pt x="99" y="173"/>
                      <a:pt x="101" y="172"/>
                    </a:cubicBezTo>
                    <a:cubicBezTo>
                      <a:pt x="102" y="171"/>
                      <a:pt x="103" y="171"/>
                      <a:pt x="104" y="171"/>
                    </a:cubicBezTo>
                    <a:cubicBezTo>
                      <a:pt x="104" y="170"/>
                      <a:pt x="106" y="170"/>
                      <a:pt x="105" y="171"/>
                    </a:cubicBezTo>
                    <a:cubicBezTo>
                      <a:pt x="104" y="172"/>
                      <a:pt x="103" y="171"/>
                      <a:pt x="104" y="172"/>
                    </a:cubicBezTo>
                    <a:cubicBezTo>
                      <a:pt x="105" y="173"/>
                      <a:pt x="105" y="174"/>
                      <a:pt x="106" y="174"/>
                    </a:cubicBezTo>
                    <a:cubicBezTo>
                      <a:pt x="107" y="174"/>
                      <a:pt x="107" y="174"/>
                      <a:pt x="107" y="174"/>
                    </a:cubicBezTo>
                    <a:cubicBezTo>
                      <a:pt x="107" y="174"/>
                      <a:pt x="105" y="174"/>
                      <a:pt x="104" y="174"/>
                    </a:cubicBezTo>
                    <a:cubicBezTo>
                      <a:pt x="104" y="174"/>
                      <a:pt x="103" y="174"/>
                      <a:pt x="103" y="174"/>
                    </a:cubicBezTo>
                    <a:cubicBezTo>
                      <a:pt x="102" y="174"/>
                      <a:pt x="102" y="175"/>
                      <a:pt x="102" y="175"/>
                    </a:cubicBezTo>
                    <a:cubicBezTo>
                      <a:pt x="101" y="176"/>
                      <a:pt x="101" y="176"/>
                      <a:pt x="101" y="176"/>
                    </a:cubicBezTo>
                    <a:cubicBezTo>
                      <a:pt x="101" y="176"/>
                      <a:pt x="102" y="177"/>
                      <a:pt x="102" y="178"/>
                    </a:cubicBezTo>
                    <a:cubicBezTo>
                      <a:pt x="102" y="178"/>
                      <a:pt x="102" y="178"/>
                      <a:pt x="101" y="178"/>
                    </a:cubicBezTo>
                    <a:cubicBezTo>
                      <a:pt x="100" y="178"/>
                      <a:pt x="101" y="177"/>
                      <a:pt x="99" y="178"/>
                    </a:cubicBezTo>
                    <a:cubicBezTo>
                      <a:pt x="97" y="178"/>
                      <a:pt x="98" y="176"/>
                      <a:pt x="97" y="179"/>
                    </a:cubicBezTo>
                    <a:cubicBezTo>
                      <a:pt x="96" y="182"/>
                      <a:pt x="95" y="182"/>
                      <a:pt x="95" y="182"/>
                    </a:cubicBezTo>
                    <a:cubicBezTo>
                      <a:pt x="95" y="182"/>
                      <a:pt x="95" y="182"/>
                      <a:pt x="95" y="183"/>
                    </a:cubicBezTo>
                    <a:cubicBezTo>
                      <a:pt x="95" y="183"/>
                      <a:pt x="96" y="184"/>
                      <a:pt x="97" y="185"/>
                    </a:cubicBezTo>
                    <a:cubicBezTo>
                      <a:pt x="99" y="186"/>
                      <a:pt x="100" y="187"/>
                      <a:pt x="100" y="187"/>
                    </a:cubicBezTo>
                    <a:cubicBezTo>
                      <a:pt x="100" y="187"/>
                      <a:pt x="99" y="187"/>
                      <a:pt x="98" y="187"/>
                    </a:cubicBezTo>
                    <a:cubicBezTo>
                      <a:pt x="96" y="188"/>
                      <a:pt x="95" y="188"/>
                      <a:pt x="94" y="189"/>
                    </a:cubicBezTo>
                    <a:cubicBezTo>
                      <a:pt x="94" y="189"/>
                      <a:pt x="93" y="190"/>
                      <a:pt x="92" y="190"/>
                    </a:cubicBezTo>
                    <a:cubicBezTo>
                      <a:pt x="91" y="190"/>
                      <a:pt x="88" y="189"/>
                      <a:pt x="87" y="190"/>
                    </a:cubicBezTo>
                    <a:cubicBezTo>
                      <a:pt x="86" y="190"/>
                      <a:pt x="85" y="190"/>
                      <a:pt x="84" y="191"/>
                    </a:cubicBezTo>
                    <a:cubicBezTo>
                      <a:pt x="84" y="191"/>
                      <a:pt x="84" y="192"/>
                      <a:pt x="84" y="192"/>
                    </a:cubicBezTo>
                    <a:cubicBezTo>
                      <a:pt x="84" y="192"/>
                      <a:pt x="83" y="193"/>
                      <a:pt x="84" y="193"/>
                    </a:cubicBezTo>
                    <a:cubicBezTo>
                      <a:pt x="85" y="193"/>
                      <a:pt x="89" y="193"/>
                      <a:pt x="89" y="193"/>
                    </a:cubicBezTo>
                    <a:cubicBezTo>
                      <a:pt x="90" y="193"/>
                      <a:pt x="90" y="194"/>
                      <a:pt x="90" y="194"/>
                    </a:cubicBezTo>
                    <a:cubicBezTo>
                      <a:pt x="88" y="194"/>
                      <a:pt x="88" y="194"/>
                      <a:pt x="88" y="194"/>
                    </a:cubicBezTo>
                    <a:cubicBezTo>
                      <a:pt x="88" y="194"/>
                      <a:pt x="86" y="194"/>
                      <a:pt x="85" y="194"/>
                    </a:cubicBezTo>
                    <a:cubicBezTo>
                      <a:pt x="85" y="194"/>
                      <a:pt x="82" y="195"/>
                      <a:pt x="82" y="195"/>
                    </a:cubicBezTo>
                    <a:cubicBezTo>
                      <a:pt x="82" y="195"/>
                      <a:pt x="80" y="197"/>
                      <a:pt x="80" y="198"/>
                    </a:cubicBezTo>
                    <a:cubicBezTo>
                      <a:pt x="80" y="198"/>
                      <a:pt x="80" y="199"/>
                      <a:pt x="81" y="201"/>
                    </a:cubicBezTo>
                    <a:cubicBezTo>
                      <a:pt x="83" y="202"/>
                      <a:pt x="83" y="203"/>
                      <a:pt x="83" y="204"/>
                    </a:cubicBezTo>
                    <a:cubicBezTo>
                      <a:pt x="83" y="204"/>
                      <a:pt x="83" y="204"/>
                      <a:pt x="83" y="205"/>
                    </a:cubicBezTo>
                    <a:cubicBezTo>
                      <a:pt x="82" y="205"/>
                      <a:pt x="80" y="207"/>
                      <a:pt x="80" y="207"/>
                    </a:cubicBezTo>
                    <a:cubicBezTo>
                      <a:pt x="80" y="207"/>
                      <a:pt x="80" y="207"/>
                      <a:pt x="80" y="209"/>
                    </a:cubicBezTo>
                    <a:cubicBezTo>
                      <a:pt x="79" y="210"/>
                      <a:pt x="77" y="213"/>
                      <a:pt x="79" y="213"/>
                    </a:cubicBezTo>
                    <a:cubicBezTo>
                      <a:pt x="81" y="214"/>
                      <a:pt x="80" y="215"/>
                      <a:pt x="82" y="214"/>
                    </a:cubicBezTo>
                    <a:cubicBezTo>
                      <a:pt x="85" y="213"/>
                      <a:pt x="82" y="212"/>
                      <a:pt x="86" y="213"/>
                    </a:cubicBezTo>
                    <a:cubicBezTo>
                      <a:pt x="90" y="214"/>
                      <a:pt x="91" y="213"/>
                      <a:pt x="92" y="213"/>
                    </a:cubicBezTo>
                    <a:cubicBezTo>
                      <a:pt x="93" y="212"/>
                      <a:pt x="93" y="212"/>
                      <a:pt x="94" y="211"/>
                    </a:cubicBezTo>
                    <a:cubicBezTo>
                      <a:pt x="94" y="211"/>
                      <a:pt x="92" y="210"/>
                      <a:pt x="95" y="210"/>
                    </a:cubicBezTo>
                    <a:cubicBezTo>
                      <a:pt x="98" y="209"/>
                      <a:pt x="98" y="209"/>
                      <a:pt x="98" y="209"/>
                    </a:cubicBezTo>
                    <a:cubicBezTo>
                      <a:pt x="98" y="209"/>
                      <a:pt x="96" y="206"/>
                      <a:pt x="98" y="208"/>
                    </a:cubicBezTo>
                    <a:cubicBezTo>
                      <a:pt x="101" y="210"/>
                      <a:pt x="101" y="211"/>
                      <a:pt x="101" y="211"/>
                    </a:cubicBezTo>
                    <a:cubicBezTo>
                      <a:pt x="99" y="213"/>
                      <a:pt x="99" y="213"/>
                      <a:pt x="99" y="213"/>
                    </a:cubicBezTo>
                    <a:cubicBezTo>
                      <a:pt x="99" y="214"/>
                      <a:pt x="99" y="214"/>
                      <a:pt x="99" y="214"/>
                    </a:cubicBezTo>
                    <a:cubicBezTo>
                      <a:pt x="99" y="214"/>
                      <a:pt x="97" y="214"/>
                      <a:pt x="96" y="216"/>
                    </a:cubicBezTo>
                    <a:cubicBezTo>
                      <a:pt x="95" y="218"/>
                      <a:pt x="92" y="221"/>
                      <a:pt x="92" y="222"/>
                    </a:cubicBezTo>
                    <a:cubicBezTo>
                      <a:pt x="92" y="222"/>
                      <a:pt x="93" y="221"/>
                      <a:pt x="91" y="223"/>
                    </a:cubicBezTo>
                    <a:cubicBezTo>
                      <a:pt x="88" y="225"/>
                      <a:pt x="87" y="225"/>
                      <a:pt x="85" y="226"/>
                    </a:cubicBezTo>
                    <a:cubicBezTo>
                      <a:pt x="84" y="228"/>
                      <a:pt x="84" y="227"/>
                      <a:pt x="83" y="228"/>
                    </a:cubicBezTo>
                    <a:cubicBezTo>
                      <a:pt x="83" y="229"/>
                      <a:pt x="82" y="230"/>
                      <a:pt x="82" y="230"/>
                    </a:cubicBezTo>
                    <a:cubicBezTo>
                      <a:pt x="81" y="232"/>
                      <a:pt x="81" y="232"/>
                      <a:pt x="81" y="232"/>
                    </a:cubicBezTo>
                    <a:cubicBezTo>
                      <a:pt x="78" y="233"/>
                      <a:pt x="78" y="233"/>
                      <a:pt x="78" y="233"/>
                    </a:cubicBezTo>
                    <a:cubicBezTo>
                      <a:pt x="75" y="232"/>
                      <a:pt x="75" y="232"/>
                      <a:pt x="75" y="232"/>
                    </a:cubicBezTo>
                    <a:cubicBezTo>
                      <a:pt x="73" y="234"/>
                      <a:pt x="73" y="234"/>
                      <a:pt x="73" y="234"/>
                    </a:cubicBezTo>
                    <a:cubicBezTo>
                      <a:pt x="73" y="234"/>
                      <a:pt x="70" y="233"/>
                      <a:pt x="69" y="233"/>
                    </a:cubicBezTo>
                    <a:cubicBezTo>
                      <a:pt x="68" y="234"/>
                      <a:pt x="67" y="235"/>
                      <a:pt x="67" y="235"/>
                    </a:cubicBezTo>
                    <a:cubicBezTo>
                      <a:pt x="67" y="235"/>
                      <a:pt x="66" y="235"/>
                      <a:pt x="66" y="237"/>
                    </a:cubicBezTo>
                    <a:cubicBezTo>
                      <a:pt x="66" y="238"/>
                      <a:pt x="65" y="241"/>
                      <a:pt x="65" y="241"/>
                    </a:cubicBezTo>
                    <a:cubicBezTo>
                      <a:pt x="63" y="243"/>
                      <a:pt x="63" y="243"/>
                      <a:pt x="63" y="243"/>
                    </a:cubicBezTo>
                    <a:cubicBezTo>
                      <a:pt x="63" y="243"/>
                      <a:pt x="62" y="245"/>
                      <a:pt x="64" y="244"/>
                    </a:cubicBezTo>
                    <a:cubicBezTo>
                      <a:pt x="66" y="243"/>
                      <a:pt x="67" y="242"/>
                      <a:pt x="68" y="241"/>
                    </a:cubicBezTo>
                    <a:cubicBezTo>
                      <a:pt x="68" y="241"/>
                      <a:pt x="70" y="240"/>
                      <a:pt x="70" y="240"/>
                    </a:cubicBezTo>
                    <a:cubicBezTo>
                      <a:pt x="70" y="242"/>
                      <a:pt x="70" y="242"/>
                      <a:pt x="70" y="242"/>
                    </a:cubicBezTo>
                    <a:cubicBezTo>
                      <a:pt x="69" y="246"/>
                      <a:pt x="69" y="246"/>
                      <a:pt x="69" y="246"/>
                    </a:cubicBezTo>
                    <a:cubicBezTo>
                      <a:pt x="68" y="247"/>
                      <a:pt x="68" y="247"/>
                      <a:pt x="68" y="247"/>
                    </a:cubicBezTo>
                    <a:cubicBezTo>
                      <a:pt x="67" y="248"/>
                      <a:pt x="67" y="248"/>
                      <a:pt x="67" y="248"/>
                    </a:cubicBezTo>
                    <a:cubicBezTo>
                      <a:pt x="67" y="248"/>
                      <a:pt x="65" y="252"/>
                      <a:pt x="67" y="252"/>
                    </a:cubicBezTo>
                    <a:cubicBezTo>
                      <a:pt x="69" y="251"/>
                      <a:pt x="68" y="251"/>
                      <a:pt x="70" y="250"/>
                    </a:cubicBezTo>
                    <a:cubicBezTo>
                      <a:pt x="72" y="250"/>
                      <a:pt x="71" y="249"/>
                      <a:pt x="75" y="248"/>
                    </a:cubicBezTo>
                    <a:cubicBezTo>
                      <a:pt x="78" y="248"/>
                      <a:pt x="78" y="246"/>
                      <a:pt x="78" y="245"/>
                    </a:cubicBezTo>
                    <a:cubicBezTo>
                      <a:pt x="78" y="245"/>
                      <a:pt x="78" y="244"/>
                      <a:pt x="78" y="243"/>
                    </a:cubicBezTo>
                    <a:cubicBezTo>
                      <a:pt x="78" y="242"/>
                      <a:pt x="76" y="241"/>
                      <a:pt x="79" y="240"/>
                    </a:cubicBezTo>
                    <a:cubicBezTo>
                      <a:pt x="81" y="240"/>
                      <a:pt x="80" y="241"/>
                      <a:pt x="81" y="240"/>
                    </a:cubicBezTo>
                    <a:cubicBezTo>
                      <a:pt x="82" y="239"/>
                      <a:pt x="82" y="241"/>
                      <a:pt x="82" y="238"/>
                    </a:cubicBezTo>
                    <a:cubicBezTo>
                      <a:pt x="82" y="236"/>
                      <a:pt x="82" y="236"/>
                      <a:pt x="84" y="235"/>
                    </a:cubicBezTo>
                    <a:cubicBezTo>
                      <a:pt x="86" y="233"/>
                      <a:pt x="85" y="234"/>
                      <a:pt x="86" y="233"/>
                    </a:cubicBezTo>
                    <a:cubicBezTo>
                      <a:pt x="87" y="232"/>
                      <a:pt x="86" y="232"/>
                      <a:pt x="87" y="231"/>
                    </a:cubicBezTo>
                    <a:cubicBezTo>
                      <a:pt x="89" y="230"/>
                      <a:pt x="89" y="230"/>
                      <a:pt x="89" y="230"/>
                    </a:cubicBezTo>
                    <a:cubicBezTo>
                      <a:pt x="89" y="229"/>
                      <a:pt x="92" y="227"/>
                      <a:pt x="92" y="227"/>
                    </a:cubicBezTo>
                    <a:cubicBezTo>
                      <a:pt x="92" y="225"/>
                      <a:pt x="92" y="225"/>
                      <a:pt x="92" y="225"/>
                    </a:cubicBezTo>
                    <a:cubicBezTo>
                      <a:pt x="96" y="223"/>
                      <a:pt x="96" y="223"/>
                      <a:pt x="96" y="223"/>
                    </a:cubicBezTo>
                    <a:cubicBezTo>
                      <a:pt x="96" y="223"/>
                      <a:pt x="97" y="222"/>
                      <a:pt x="97" y="223"/>
                    </a:cubicBezTo>
                    <a:cubicBezTo>
                      <a:pt x="96" y="224"/>
                      <a:pt x="95" y="226"/>
                      <a:pt x="95" y="226"/>
                    </a:cubicBezTo>
                    <a:cubicBezTo>
                      <a:pt x="95" y="228"/>
                      <a:pt x="95" y="228"/>
                      <a:pt x="95" y="228"/>
                    </a:cubicBezTo>
                    <a:cubicBezTo>
                      <a:pt x="92" y="230"/>
                      <a:pt x="92" y="230"/>
                      <a:pt x="92" y="230"/>
                    </a:cubicBezTo>
                    <a:cubicBezTo>
                      <a:pt x="92" y="230"/>
                      <a:pt x="94" y="231"/>
                      <a:pt x="93" y="232"/>
                    </a:cubicBezTo>
                    <a:cubicBezTo>
                      <a:pt x="92" y="233"/>
                      <a:pt x="90" y="234"/>
                      <a:pt x="90" y="234"/>
                    </a:cubicBezTo>
                    <a:cubicBezTo>
                      <a:pt x="90" y="236"/>
                      <a:pt x="90" y="236"/>
                      <a:pt x="90" y="236"/>
                    </a:cubicBezTo>
                    <a:cubicBezTo>
                      <a:pt x="91" y="237"/>
                      <a:pt x="91" y="237"/>
                      <a:pt x="91" y="237"/>
                    </a:cubicBezTo>
                    <a:cubicBezTo>
                      <a:pt x="89" y="241"/>
                      <a:pt x="89" y="241"/>
                      <a:pt x="89" y="241"/>
                    </a:cubicBezTo>
                    <a:cubicBezTo>
                      <a:pt x="91" y="243"/>
                      <a:pt x="91" y="243"/>
                      <a:pt x="91" y="243"/>
                    </a:cubicBezTo>
                    <a:cubicBezTo>
                      <a:pt x="92" y="245"/>
                      <a:pt x="92" y="245"/>
                      <a:pt x="92" y="245"/>
                    </a:cubicBezTo>
                    <a:cubicBezTo>
                      <a:pt x="92" y="245"/>
                      <a:pt x="91" y="246"/>
                      <a:pt x="90" y="247"/>
                    </a:cubicBezTo>
                    <a:cubicBezTo>
                      <a:pt x="89" y="247"/>
                      <a:pt x="87" y="250"/>
                      <a:pt x="87" y="250"/>
                    </a:cubicBezTo>
                    <a:cubicBezTo>
                      <a:pt x="85" y="253"/>
                      <a:pt x="85" y="253"/>
                      <a:pt x="85" y="253"/>
                    </a:cubicBezTo>
                    <a:cubicBezTo>
                      <a:pt x="83" y="256"/>
                      <a:pt x="83" y="256"/>
                      <a:pt x="83" y="256"/>
                    </a:cubicBezTo>
                    <a:cubicBezTo>
                      <a:pt x="83" y="259"/>
                      <a:pt x="83" y="259"/>
                      <a:pt x="83" y="259"/>
                    </a:cubicBezTo>
                    <a:cubicBezTo>
                      <a:pt x="82" y="263"/>
                      <a:pt x="82" y="263"/>
                      <a:pt x="82" y="263"/>
                    </a:cubicBezTo>
                    <a:cubicBezTo>
                      <a:pt x="80" y="264"/>
                      <a:pt x="80" y="264"/>
                      <a:pt x="80" y="264"/>
                    </a:cubicBezTo>
                    <a:cubicBezTo>
                      <a:pt x="80" y="264"/>
                      <a:pt x="79" y="267"/>
                      <a:pt x="81" y="267"/>
                    </a:cubicBezTo>
                    <a:cubicBezTo>
                      <a:pt x="83" y="268"/>
                      <a:pt x="83" y="268"/>
                      <a:pt x="84" y="268"/>
                    </a:cubicBezTo>
                    <a:cubicBezTo>
                      <a:pt x="86" y="268"/>
                      <a:pt x="85" y="268"/>
                      <a:pt x="86" y="268"/>
                    </a:cubicBezTo>
                    <a:cubicBezTo>
                      <a:pt x="87" y="268"/>
                      <a:pt x="89" y="268"/>
                      <a:pt x="89" y="266"/>
                    </a:cubicBezTo>
                    <a:cubicBezTo>
                      <a:pt x="89" y="264"/>
                      <a:pt x="89" y="262"/>
                      <a:pt x="89" y="261"/>
                    </a:cubicBezTo>
                    <a:cubicBezTo>
                      <a:pt x="89" y="261"/>
                      <a:pt x="91" y="258"/>
                      <a:pt x="91" y="258"/>
                    </a:cubicBezTo>
                    <a:cubicBezTo>
                      <a:pt x="91" y="254"/>
                      <a:pt x="91" y="254"/>
                      <a:pt x="91" y="254"/>
                    </a:cubicBezTo>
                    <a:cubicBezTo>
                      <a:pt x="91" y="254"/>
                      <a:pt x="91" y="253"/>
                      <a:pt x="93" y="251"/>
                    </a:cubicBezTo>
                    <a:cubicBezTo>
                      <a:pt x="95" y="250"/>
                      <a:pt x="94" y="250"/>
                      <a:pt x="95" y="250"/>
                    </a:cubicBezTo>
                    <a:cubicBezTo>
                      <a:pt x="96" y="249"/>
                      <a:pt x="96" y="248"/>
                      <a:pt x="96" y="247"/>
                    </a:cubicBezTo>
                    <a:cubicBezTo>
                      <a:pt x="97" y="246"/>
                      <a:pt x="97" y="246"/>
                      <a:pt x="97" y="246"/>
                    </a:cubicBezTo>
                    <a:cubicBezTo>
                      <a:pt x="98" y="244"/>
                      <a:pt x="98" y="244"/>
                      <a:pt x="98" y="244"/>
                    </a:cubicBezTo>
                    <a:cubicBezTo>
                      <a:pt x="98" y="236"/>
                      <a:pt x="98" y="236"/>
                      <a:pt x="98" y="236"/>
                    </a:cubicBezTo>
                    <a:cubicBezTo>
                      <a:pt x="98" y="236"/>
                      <a:pt x="98" y="234"/>
                      <a:pt x="99" y="234"/>
                    </a:cubicBezTo>
                    <a:cubicBezTo>
                      <a:pt x="100" y="234"/>
                      <a:pt x="101" y="234"/>
                      <a:pt x="101" y="234"/>
                    </a:cubicBezTo>
                    <a:cubicBezTo>
                      <a:pt x="101" y="234"/>
                      <a:pt x="101" y="235"/>
                      <a:pt x="101" y="237"/>
                    </a:cubicBezTo>
                    <a:cubicBezTo>
                      <a:pt x="100" y="239"/>
                      <a:pt x="101" y="242"/>
                      <a:pt x="101" y="242"/>
                    </a:cubicBezTo>
                    <a:cubicBezTo>
                      <a:pt x="108" y="248"/>
                      <a:pt x="108" y="248"/>
                      <a:pt x="108" y="248"/>
                    </a:cubicBezTo>
                    <a:cubicBezTo>
                      <a:pt x="108" y="248"/>
                      <a:pt x="111" y="253"/>
                      <a:pt x="111" y="254"/>
                    </a:cubicBezTo>
                    <a:cubicBezTo>
                      <a:pt x="111" y="254"/>
                      <a:pt x="116" y="258"/>
                      <a:pt x="116" y="258"/>
                    </a:cubicBezTo>
                    <a:cubicBezTo>
                      <a:pt x="116" y="258"/>
                      <a:pt x="117" y="259"/>
                      <a:pt x="116" y="260"/>
                    </a:cubicBezTo>
                    <a:cubicBezTo>
                      <a:pt x="116" y="261"/>
                      <a:pt x="117" y="262"/>
                      <a:pt x="117" y="263"/>
                    </a:cubicBezTo>
                    <a:cubicBezTo>
                      <a:pt x="116" y="264"/>
                      <a:pt x="115" y="267"/>
                      <a:pt x="115" y="267"/>
                    </a:cubicBezTo>
                    <a:cubicBezTo>
                      <a:pt x="113" y="268"/>
                      <a:pt x="113" y="268"/>
                      <a:pt x="113" y="268"/>
                    </a:cubicBezTo>
                    <a:cubicBezTo>
                      <a:pt x="110" y="271"/>
                      <a:pt x="110" y="271"/>
                      <a:pt x="110" y="271"/>
                    </a:cubicBezTo>
                    <a:cubicBezTo>
                      <a:pt x="109" y="275"/>
                      <a:pt x="109" y="275"/>
                      <a:pt x="109" y="275"/>
                    </a:cubicBezTo>
                    <a:cubicBezTo>
                      <a:pt x="107" y="278"/>
                      <a:pt x="107" y="278"/>
                      <a:pt x="107" y="278"/>
                    </a:cubicBezTo>
                    <a:cubicBezTo>
                      <a:pt x="103" y="280"/>
                      <a:pt x="103" y="280"/>
                      <a:pt x="103" y="280"/>
                    </a:cubicBezTo>
                    <a:cubicBezTo>
                      <a:pt x="98" y="285"/>
                      <a:pt x="98" y="285"/>
                      <a:pt x="98" y="285"/>
                    </a:cubicBezTo>
                    <a:cubicBezTo>
                      <a:pt x="96" y="289"/>
                      <a:pt x="96" y="289"/>
                      <a:pt x="96" y="289"/>
                    </a:cubicBezTo>
                    <a:cubicBezTo>
                      <a:pt x="93" y="293"/>
                      <a:pt x="93" y="293"/>
                      <a:pt x="93" y="293"/>
                    </a:cubicBezTo>
                    <a:cubicBezTo>
                      <a:pt x="93" y="296"/>
                      <a:pt x="93" y="296"/>
                      <a:pt x="93" y="296"/>
                    </a:cubicBezTo>
                    <a:cubicBezTo>
                      <a:pt x="93" y="296"/>
                      <a:pt x="95" y="300"/>
                      <a:pt x="96" y="300"/>
                    </a:cubicBezTo>
                    <a:cubicBezTo>
                      <a:pt x="96" y="300"/>
                      <a:pt x="97" y="301"/>
                      <a:pt x="97" y="301"/>
                    </a:cubicBezTo>
                    <a:cubicBezTo>
                      <a:pt x="98" y="306"/>
                      <a:pt x="98" y="306"/>
                      <a:pt x="98" y="306"/>
                    </a:cubicBezTo>
                    <a:cubicBezTo>
                      <a:pt x="98" y="306"/>
                      <a:pt x="98" y="309"/>
                      <a:pt x="99" y="309"/>
                    </a:cubicBezTo>
                    <a:cubicBezTo>
                      <a:pt x="100" y="308"/>
                      <a:pt x="101" y="305"/>
                      <a:pt x="101" y="305"/>
                    </a:cubicBezTo>
                    <a:cubicBezTo>
                      <a:pt x="101" y="305"/>
                      <a:pt x="99" y="303"/>
                      <a:pt x="99" y="301"/>
                    </a:cubicBezTo>
                    <a:cubicBezTo>
                      <a:pt x="99" y="299"/>
                      <a:pt x="101" y="296"/>
                      <a:pt x="101" y="296"/>
                    </a:cubicBezTo>
                    <a:cubicBezTo>
                      <a:pt x="103" y="295"/>
                      <a:pt x="103" y="295"/>
                      <a:pt x="103" y="295"/>
                    </a:cubicBezTo>
                    <a:cubicBezTo>
                      <a:pt x="103" y="295"/>
                      <a:pt x="102" y="295"/>
                      <a:pt x="103" y="296"/>
                    </a:cubicBezTo>
                    <a:cubicBezTo>
                      <a:pt x="104" y="298"/>
                      <a:pt x="104" y="297"/>
                      <a:pt x="105" y="298"/>
                    </a:cubicBezTo>
                    <a:cubicBezTo>
                      <a:pt x="105" y="299"/>
                      <a:pt x="108" y="302"/>
                      <a:pt x="108" y="302"/>
                    </a:cubicBezTo>
                    <a:cubicBezTo>
                      <a:pt x="108" y="302"/>
                      <a:pt x="111" y="305"/>
                      <a:pt x="112" y="306"/>
                    </a:cubicBezTo>
                    <a:cubicBezTo>
                      <a:pt x="113" y="307"/>
                      <a:pt x="114" y="309"/>
                      <a:pt x="115" y="309"/>
                    </a:cubicBezTo>
                    <a:cubicBezTo>
                      <a:pt x="116" y="308"/>
                      <a:pt x="117" y="309"/>
                      <a:pt x="117" y="307"/>
                    </a:cubicBezTo>
                    <a:cubicBezTo>
                      <a:pt x="117" y="305"/>
                      <a:pt x="118" y="305"/>
                      <a:pt x="118" y="303"/>
                    </a:cubicBezTo>
                    <a:cubicBezTo>
                      <a:pt x="117" y="302"/>
                      <a:pt x="117" y="299"/>
                      <a:pt x="117" y="299"/>
                    </a:cubicBezTo>
                    <a:cubicBezTo>
                      <a:pt x="117" y="299"/>
                      <a:pt x="117" y="298"/>
                      <a:pt x="118" y="298"/>
                    </a:cubicBezTo>
                    <a:cubicBezTo>
                      <a:pt x="120" y="298"/>
                      <a:pt x="120" y="300"/>
                      <a:pt x="120" y="300"/>
                    </a:cubicBezTo>
                    <a:cubicBezTo>
                      <a:pt x="120" y="300"/>
                      <a:pt x="121" y="303"/>
                      <a:pt x="122" y="304"/>
                    </a:cubicBezTo>
                    <a:cubicBezTo>
                      <a:pt x="123" y="304"/>
                      <a:pt x="124" y="304"/>
                      <a:pt x="125" y="305"/>
                    </a:cubicBezTo>
                    <a:cubicBezTo>
                      <a:pt x="126" y="307"/>
                      <a:pt x="131" y="308"/>
                      <a:pt x="131" y="308"/>
                    </a:cubicBezTo>
                    <a:cubicBezTo>
                      <a:pt x="131" y="308"/>
                      <a:pt x="132" y="307"/>
                      <a:pt x="133" y="306"/>
                    </a:cubicBezTo>
                    <a:cubicBezTo>
                      <a:pt x="133" y="305"/>
                      <a:pt x="135" y="305"/>
                      <a:pt x="135" y="305"/>
                    </a:cubicBezTo>
                    <a:cubicBezTo>
                      <a:pt x="135" y="305"/>
                      <a:pt x="134" y="303"/>
                      <a:pt x="137" y="304"/>
                    </a:cubicBezTo>
                    <a:cubicBezTo>
                      <a:pt x="139" y="304"/>
                      <a:pt x="140" y="305"/>
                      <a:pt x="140" y="304"/>
                    </a:cubicBezTo>
                    <a:cubicBezTo>
                      <a:pt x="141" y="303"/>
                      <a:pt x="143" y="299"/>
                      <a:pt x="143" y="299"/>
                    </a:cubicBezTo>
                    <a:cubicBezTo>
                      <a:pt x="143" y="299"/>
                      <a:pt x="142" y="296"/>
                      <a:pt x="145" y="297"/>
                    </a:cubicBezTo>
                    <a:cubicBezTo>
                      <a:pt x="147" y="299"/>
                      <a:pt x="158" y="301"/>
                      <a:pt x="158" y="301"/>
                    </a:cubicBezTo>
                    <a:cubicBezTo>
                      <a:pt x="157" y="303"/>
                      <a:pt x="157" y="303"/>
                      <a:pt x="157" y="303"/>
                    </a:cubicBezTo>
                    <a:cubicBezTo>
                      <a:pt x="153" y="302"/>
                      <a:pt x="153" y="302"/>
                      <a:pt x="153" y="302"/>
                    </a:cubicBezTo>
                    <a:cubicBezTo>
                      <a:pt x="150" y="303"/>
                      <a:pt x="150" y="303"/>
                      <a:pt x="150" y="303"/>
                    </a:cubicBezTo>
                    <a:cubicBezTo>
                      <a:pt x="150" y="303"/>
                      <a:pt x="149" y="303"/>
                      <a:pt x="148" y="305"/>
                    </a:cubicBezTo>
                    <a:cubicBezTo>
                      <a:pt x="148" y="306"/>
                      <a:pt x="148" y="307"/>
                      <a:pt x="147" y="308"/>
                    </a:cubicBezTo>
                    <a:cubicBezTo>
                      <a:pt x="147" y="309"/>
                      <a:pt x="146" y="310"/>
                      <a:pt x="145" y="310"/>
                    </a:cubicBezTo>
                    <a:cubicBezTo>
                      <a:pt x="145" y="311"/>
                      <a:pt x="141" y="314"/>
                      <a:pt x="141" y="314"/>
                    </a:cubicBezTo>
                    <a:cubicBezTo>
                      <a:pt x="139" y="317"/>
                      <a:pt x="139" y="317"/>
                      <a:pt x="139" y="317"/>
                    </a:cubicBezTo>
                    <a:cubicBezTo>
                      <a:pt x="137" y="322"/>
                      <a:pt x="137" y="322"/>
                      <a:pt x="137" y="322"/>
                    </a:cubicBezTo>
                    <a:cubicBezTo>
                      <a:pt x="137" y="322"/>
                      <a:pt x="137" y="326"/>
                      <a:pt x="138" y="326"/>
                    </a:cubicBezTo>
                    <a:cubicBezTo>
                      <a:pt x="139" y="327"/>
                      <a:pt x="141" y="330"/>
                      <a:pt x="141" y="330"/>
                    </a:cubicBezTo>
                    <a:cubicBezTo>
                      <a:pt x="141" y="330"/>
                      <a:pt x="141" y="332"/>
                      <a:pt x="141" y="333"/>
                    </a:cubicBezTo>
                    <a:cubicBezTo>
                      <a:pt x="141" y="334"/>
                      <a:pt x="141" y="335"/>
                      <a:pt x="142" y="337"/>
                    </a:cubicBezTo>
                    <a:cubicBezTo>
                      <a:pt x="143" y="338"/>
                      <a:pt x="144" y="342"/>
                      <a:pt x="144" y="342"/>
                    </a:cubicBezTo>
                    <a:cubicBezTo>
                      <a:pt x="145" y="342"/>
                      <a:pt x="145" y="342"/>
                      <a:pt x="145" y="342"/>
                    </a:cubicBezTo>
                    <a:cubicBezTo>
                      <a:pt x="145" y="345"/>
                      <a:pt x="145" y="345"/>
                      <a:pt x="145" y="345"/>
                    </a:cubicBezTo>
                    <a:cubicBezTo>
                      <a:pt x="145" y="345"/>
                      <a:pt x="145" y="348"/>
                      <a:pt x="146" y="348"/>
                    </a:cubicBezTo>
                    <a:cubicBezTo>
                      <a:pt x="148" y="348"/>
                      <a:pt x="151" y="346"/>
                      <a:pt x="151" y="346"/>
                    </a:cubicBezTo>
                    <a:cubicBezTo>
                      <a:pt x="159" y="344"/>
                      <a:pt x="159" y="344"/>
                      <a:pt x="159" y="344"/>
                    </a:cubicBezTo>
                    <a:cubicBezTo>
                      <a:pt x="159" y="344"/>
                      <a:pt x="158" y="348"/>
                      <a:pt x="158" y="349"/>
                    </a:cubicBezTo>
                    <a:cubicBezTo>
                      <a:pt x="158" y="350"/>
                      <a:pt x="156" y="350"/>
                      <a:pt x="155" y="351"/>
                    </a:cubicBezTo>
                    <a:cubicBezTo>
                      <a:pt x="155" y="352"/>
                      <a:pt x="155" y="353"/>
                      <a:pt x="155" y="353"/>
                    </a:cubicBezTo>
                    <a:cubicBezTo>
                      <a:pt x="155" y="353"/>
                      <a:pt x="154" y="356"/>
                      <a:pt x="153" y="356"/>
                    </a:cubicBezTo>
                    <a:cubicBezTo>
                      <a:pt x="151" y="356"/>
                      <a:pt x="149" y="357"/>
                      <a:pt x="149" y="357"/>
                    </a:cubicBezTo>
                    <a:cubicBezTo>
                      <a:pt x="149" y="357"/>
                      <a:pt x="148" y="355"/>
                      <a:pt x="148" y="358"/>
                    </a:cubicBezTo>
                    <a:cubicBezTo>
                      <a:pt x="147" y="360"/>
                      <a:pt x="146" y="362"/>
                      <a:pt x="146" y="363"/>
                    </a:cubicBezTo>
                    <a:cubicBezTo>
                      <a:pt x="146" y="364"/>
                      <a:pt x="144" y="365"/>
                      <a:pt x="147" y="366"/>
                    </a:cubicBezTo>
                    <a:cubicBezTo>
                      <a:pt x="149" y="366"/>
                      <a:pt x="149" y="369"/>
                      <a:pt x="149" y="369"/>
                    </a:cubicBezTo>
                    <a:cubicBezTo>
                      <a:pt x="149" y="369"/>
                      <a:pt x="147" y="371"/>
                      <a:pt x="146" y="372"/>
                    </a:cubicBezTo>
                    <a:cubicBezTo>
                      <a:pt x="145" y="373"/>
                      <a:pt x="144" y="372"/>
                      <a:pt x="144" y="373"/>
                    </a:cubicBezTo>
                    <a:cubicBezTo>
                      <a:pt x="144" y="374"/>
                      <a:pt x="146" y="379"/>
                      <a:pt x="146" y="379"/>
                    </a:cubicBezTo>
                    <a:cubicBezTo>
                      <a:pt x="146" y="379"/>
                      <a:pt x="146" y="382"/>
                      <a:pt x="144" y="382"/>
                    </a:cubicBezTo>
                    <a:cubicBezTo>
                      <a:pt x="142" y="382"/>
                      <a:pt x="142" y="382"/>
                      <a:pt x="141" y="382"/>
                    </a:cubicBezTo>
                    <a:cubicBezTo>
                      <a:pt x="140" y="382"/>
                      <a:pt x="139" y="382"/>
                      <a:pt x="139" y="382"/>
                    </a:cubicBezTo>
                    <a:cubicBezTo>
                      <a:pt x="139" y="382"/>
                      <a:pt x="140" y="383"/>
                      <a:pt x="140" y="385"/>
                    </a:cubicBezTo>
                    <a:cubicBezTo>
                      <a:pt x="140" y="387"/>
                      <a:pt x="140" y="389"/>
                      <a:pt x="140" y="389"/>
                    </a:cubicBezTo>
                    <a:cubicBezTo>
                      <a:pt x="137" y="388"/>
                      <a:pt x="137" y="388"/>
                      <a:pt x="137" y="388"/>
                    </a:cubicBezTo>
                    <a:cubicBezTo>
                      <a:pt x="134" y="385"/>
                      <a:pt x="134" y="385"/>
                      <a:pt x="134" y="385"/>
                    </a:cubicBezTo>
                    <a:cubicBezTo>
                      <a:pt x="134" y="385"/>
                      <a:pt x="131" y="385"/>
                      <a:pt x="130" y="385"/>
                    </a:cubicBezTo>
                    <a:cubicBezTo>
                      <a:pt x="129" y="386"/>
                      <a:pt x="126" y="386"/>
                      <a:pt x="126" y="386"/>
                    </a:cubicBezTo>
                    <a:cubicBezTo>
                      <a:pt x="126" y="386"/>
                      <a:pt x="121" y="384"/>
                      <a:pt x="120" y="383"/>
                    </a:cubicBezTo>
                    <a:cubicBezTo>
                      <a:pt x="120" y="382"/>
                      <a:pt x="120" y="382"/>
                      <a:pt x="119" y="383"/>
                    </a:cubicBezTo>
                    <a:cubicBezTo>
                      <a:pt x="119" y="383"/>
                      <a:pt x="120" y="383"/>
                      <a:pt x="119" y="383"/>
                    </a:cubicBezTo>
                    <a:cubicBezTo>
                      <a:pt x="118" y="384"/>
                      <a:pt x="120" y="384"/>
                      <a:pt x="116" y="384"/>
                    </a:cubicBezTo>
                    <a:cubicBezTo>
                      <a:pt x="112" y="385"/>
                      <a:pt x="108" y="386"/>
                      <a:pt x="108" y="386"/>
                    </a:cubicBezTo>
                    <a:cubicBezTo>
                      <a:pt x="108" y="386"/>
                      <a:pt x="111" y="383"/>
                      <a:pt x="110" y="382"/>
                    </a:cubicBezTo>
                    <a:cubicBezTo>
                      <a:pt x="109" y="381"/>
                      <a:pt x="110" y="382"/>
                      <a:pt x="108" y="381"/>
                    </a:cubicBezTo>
                    <a:cubicBezTo>
                      <a:pt x="107" y="380"/>
                      <a:pt x="105" y="378"/>
                      <a:pt x="105" y="377"/>
                    </a:cubicBezTo>
                    <a:cubicBezTo>
                      <a:pt x="105" y="376"/>
                      <a:pt x="105" y="374"/>
                      <a:pt x="103" y="374"/>
                    </a:cubicBezTo>
                    <a:cubicBezTo>
                      <a:pt x="102" y="374"/>
                      <a:pt x="101" y="372"/>
                      <a:pt x="99" y="374"/>
                    </a:cubicBezTo>
                    <a:cubicBezTo>
                      <a:pt x="98" y="375"/>
                      <a:pt x="97" y="375"/>
                      <a:pt x="97" y="376"/>
                    </a:cubicBezTo>
                    <a:cubicBezTo>
                      <a:pt x="96" y="377"/>
                      <a:pt x="92" y="378"/>
                      <a:pt x="92" y="378"/>
                    </a:cubicBezTo>
                    <a:cubicBezTo>
                      <a:pt x="92" y="378"/>
                      <a:pt x="95" y="382"/>
                      <a:pt x="95" y="383"/>
                    </a:cubicBezTo>
                    <a:cubicBezTo>
                      <a:pt x="95" y="384"/>
                      <a:pt x="97" y="388"/>
                      <a:pt x="97" y="388"/>
                    </a:cubicBezTo>
                    <a:cubicBezTo>
                      <a:pt x="104" y="388"/>
                      <a:pt x="104" y="388"/>
                      <a:pt x="104" y="388"/>
                    </a:cubicBezTo>
                    <a:cubicBezTo>
                      <a:pt x="104" y="388"/>
                      <a:pt x="99" y="390"/>
                      <a:pt x="99" y="392"/>
                    </a:cubicBezTo>
                    <a:cubicBezTo>
                      <a:pt x="98" y="393"/>
                      <a:pt x="98" y="394"/>
                      <a:pt x="97" y="395"/>
                    </a:cubicBezTo>
                    <a:cubicBezTo>
                      <a:pt x="96" y="396"/>
                      <a:pt x="96" y="397"/>
                      <a:pt x="94" y="398"/>
                    </a:cubicBezTo>
                    <a:cubicBezTo>
                      <a:pt x="91" y="398"/>
                      <a:pt x="88" y="399"/>
                      <a:pt x="86" y="400"/>
                    </a:cubicBezTo>
                    <a:cubicBezTo>
                      <a:pt x="85" y="401"/>
                      <a:pt x="84" y="401"/>
                      <a:pt x="84" y="402"/>
                    </a:cubicBezTo>
                    <a:cubicBezTo>
                      <a:pt x="84" y="404"/>
                      <a:pt x="78" y="403"/>
                      <a:pt x="84" y="405"/>
                    </a:cubicBezTo>
                    <a:cubicBezTo>
                      <a:pt x="90" y="406"/>
                      <a:pt x="91" y="407"/>
                      <a:pt x="91" y="407"/>
                    </a:cubicBezTo>
                    <a:cubicBezTo>
                      <a:pt x="91" y="407"/>
                      <a:pt x="94" y="404"/>
                      <a:pt x="95" y="403"/>
                    </a:cubicBezTo>
                    <a:cubicBezTo>
                      <a:pt x="97" y="401"/>
                      <a:pt x="97" y="401"/>
                      <a:pt x="101" y="401"/>
                    </a:cubicBezTo>
                    <a:cubicBezTo>
                      <a:pt x="105" y="402"/>
                      <a:pt x="105" y="401"/>
                      <a:pt x="105" y="402"/>
                    </a:cubicBezTo>
                    <a:cubicBezTo>
                      <a:pt x="105" y="404"/>
                      <a:pt x="105" y="405"/>
                      <a:pt x="105" y="407"/>
                    </a:cubicBezTo>
                    <a:cubicBezTo>
                      <a:pt x="104" y="409"/>
                      <a:pt x="102" y="410"/>
                      <a:pt x="104" y="413"/>
                    </a:cubicBezTo>
                    <a:cubicBezTo>
                      <a:pt x="106" y="415"/>
                      <a:pt x="103" y="417"/>
                      <a:pt x="103" y="418"/>
                    </a:cubicBezTo>
                    <a:cubicBezTo>
                      <a:pt x="103" y="418"/>
                      <a:pt x="101" y="421"/>
                      <a:pt x="102" y="421"/>
                    </a:cubicBezTo>
                    <a:cubicBezTo>
                      <a:pt x="103" y="422"/>
                      <a:pt x="103" y="422"/>
                      <a:pt x="103" y="422"/>
                    </a:cubicBezTo>
                    <a:cubicBezTo>
                      <a:pt x="103" y="422"/>
                      <a:pt x="101" y="427"/>
                      <a:pt x="101" y="428"/>
                    </a:cubicBezTo>
                    <a:cubicBezTo>
                      <a:pt x="101" y="428"/>
                      <a:pt x="98" y="434"/>
                      <a:pt x="97" y="434"/>
                    </a:cubicBezTo>
                    <a:cubicBezTo>
                      <a:pt x="96" y="435"/>
                      <a:pt x="98" y="435"/>
                      <a:pt x="92" y="437"/>
                    </a:cubicBezTo>
                    <a:cubicBezTo>
                      <a:pt x="86" y="438"/>
                      <a:pt x="83" y="439"/>
                      <a:pt x="83" y="439"/>
                    </a:cubicBezTo>
                    <a:cubicBezTo>
                      <a:pt x="78" y="441"/>
                      <a:pt x="78" y="441"/>
                      <a:pt x="78" y="441"/>
                    </a:cubicBezTo>
                    <a:cubicBezTo>
                      <a:pt x="74" y="444"/>
                      <a:pt x="74" y="444"/>
                      <a:pt x="74" y="444"/>
                    </a:cubicBezTo>
                    <a:cubicBezTo>
                      <a:pt x="71" y="444"/>
                      <a:pt x="71" y="444"/>
                      <a:pt x="71" y="444"/>
                    </a:cubicBezTo>
                    <a:cubicBezTo>
                      <a:pt x="66" y="443"/>
                      <a:pt x="66" y="443"/>
                      <a:pt x="66" y="443"/>
                    </a:cubicBezTo>
                    <a:cubicBezTo>
                      <a:pt x="66" y="443"/>
                      <a:pt x="61" y="446"/>
                      <a:pt x="61" y="447"/>
                    </a:cubicBezTo>
                    <a:cubicBezTo>
                      <a:pt x="61" y="447"/>
                      <a:pt x="58" y="448"/>
                      <a:pt x="57" y="449"/>
                    </a:cubicBezTo>
                    <a:cubicBezTo>
                      <a:pt x="57" y="450"/>
                      <a:pt x="62" y="452"/>
                      <a:pt x="62" y="452"/>
                    </a:cubicBezTo>
                    <a:cubicBezTo>
                      <a:pt x="63" y="455"/>
                      <a:pt x="63" y="455"/>
                      <a:pt x="63" y="455"/>
                    </a:cubicBezTo>
                    <a:cubicBezTo>
                      <a:pt x="61" y="455"/>
                      <a:pt x="61" y="455"/>
                      <a:pt x="61" y="455"/>
                    </a:cubicBezTo>
                    <a:cubicBezTo>
                      <a:pt x="57" y="456"/>
                      <a:pt x="57" y="456"/>
                      <a:pt x="57" y="456"/>
                    </a:cubicBezTo>
                    <a:cubicBezTo>
                      <a:pt x="57" y="458"/>
                      <a:pt x="57" y="458"/>
                      <a:pt x="57" y="458"/>
                    </a:cubicBezTo>
                    <a:cubicBezTo>
                      <a:pt x="59" y="459"/>
                      <a:pt x="59" y="459"/>
                      <a:pt x="59" y="459"/>
                    </a:cubicBezTo>
                    <a:cubicBezTo>
                      <a:pt x="59" y="459"/>
                      <a:pt x="60" y="460"/>
                      <a:pt x="61" y="460"/>
                    </a:cubicBezTo>
                    <a:cubicBezTo>
                      <a:pt x="63" y="460"/>
                      <a:pt x="67" y="458"/>
                      <a:pt x="67" y="458"/>
                    </a:cubicBezTo>
                    <a:cubicBezTo>
                      <a:pt x="62" y="461"/>
                      <a:pt x="62" y="461"/>
                      <a:pt x="62" y="461"/>
                    </a:cubicBezTo>
                    <a:cubicBezTo>
                      <a:pt x="61" y="464"/>
                      <a:pt x="61" y="464"/>
                      <a:pt x="61" y="464"/>
                    </a:cubicBezTo>
                    <a:cubicBezTo>
                      <a:pt x="61" y="464"/>
                      <a:pt x="60" y="466"/>
                      <a:pt x="62" y="466"/>
                    </a:cubicBezTo>
                    <a:cubicBezTo>
                      <a:pt x="64" y="466"/>
                      <a:pt x="66" y="466"/>
                      <a:pt x="66" y="466"/>
                    </a:cubicBezTo>
                    <a:cubicBezTo>
                      <a:pt x="66" y="466"/>
                      <a:pt x="67" y="464"/>
                      <a:pt x="69" y="464"/>
                    </a:cubicBezTo>
                    <a:cubicBezTo>
                      <a:pt x="72" y="465"/>
                      <a:pt x="72" y="465"/>
                      <a:pt x="72" y="465"/>
                    </a:cubicBezTo>
                    <a:cubicBezTo>
                      <a:pt x="72" y="465"/>
                      <a:pt x="73" y="462"/>
                      <a:pt x="74" y="462"/>
                    </a:cubicBezTo>
                    <a:cubicBezTo>
                      <a:pt x="74" y="462"/>
                      <a:pt x="73" y="462"/>
                      <a:pt x="76" y="462"/>
                    </a:cubicBezTo>
                    <a:cubicBezTo>
                      <a:pt x="78" y="463"/>
                      <a:pt x="85" y="462"/>
                      <a:pt x="85" y="462"/>
                    </a:cubicBezTo>
                    <a:cubicBezTo>
                      <a:pt x="85" y="462"/>
                      <a:pt x="86" y="462"/>
                      <a:pt x="86" y="463"/>
                    </a:cubicBezTo>
                    <a:cubicBezTo>
                      <a:pt x="86" y="465"/>
                      <a:pt x="88" y="465"/>
                      <a:pt x="89" y="467"/>
                    </a:cubicBezTo>
                    <a:cubicBezTo>
                      <a:pt x="91" y="468"/>
                      <a:pt x="95" y="469"/>
                      <a:pt x="95" y="469"/>
                    </a:cubicBezTo>
                    <a:cubicBezTo>
                      <a:pt x="92" y="470"/>
                      <a:pt x="92" y="470"/>
                      <a:pt x="92" y="470"/>
                    </a:cubicBezTo>
                    <a:cubicBezTo>
                      <a:pt x="88" y="469"/>
                      <a:pt x="88" y="469"/>
                      <a:pt x="88" y="469"/>
                    </a:cubicBezTo>
                    <a:cubicBezTo>
                      <a:pt x="88" y="469"/>
                      <a:pt x="86" y="468"/>
                      <a:pt x="86" y="469"/>
                    </a:cubicBezTo>
                    <a:cubicBezTo>
                      <a:pt x="86" y="471"/>
                      <a:pt x="85" y="474"/>
                      <a:pt x="85" y="474"/>
                    </a:cubicBezTo>
                    <a:cubicBezTo>
                      <a:pt x="86" y="474"/>
                      <a:pt x="91" y="475"/>
                      <a:pt x="91" y="475"/>
                    </a:cubicBezTo>
                    <a:cubicBezTo>
                      <a:pt x="96" y="475"/>
                      <a:pt x="96" y="475"/>
                      <a:pt x="96" y="475"/>
                    </a:cubicBezTo>
                    <a:cubicBezTo>
                      <a:pt x="98" y="474"/>
                      <a:pt x="98" y="474"/>
                      <a:pt x="98" y="474"/>
                    </a:cubicBezTo>
                    <a:cubicBezTo>
                      <a:pt x="101" y="472"/>
                      <a:pt x="101" y="472"/>
                      <a:pt x="101" y="472"/>
                    </a:cubicBezTo>
                    <a:cubicBezTo>
                      <a:pt x="101" y="472"/>
                      <a:pt x="102" y="474"/>
                      <a:pt x="101" y="474"/>
                    </a:cubicBezTo>
                    <a:cubicBezTo>
                      <a:pt x="101" y="475"/>
                      <a:pt x="102" y="477"/>
                      <a:pt x="102" y="477"/>
                    </a:cubicBezTo>
                    <a:cubicBezTo>
                      <a:pt x="102" y="477"/>
                      <a:pt x="102" y="480"/>
                      <a:pt x="103" y="480"/>
                    </a:cubicBezTo>
                    <a:cubicBezTo>
                      <a:pt x="104" y="480"/>
                      <a:pt x="106" y="483"/>
                      <a:pt x="106" y="483"/>
                    </a:cubicBezTo>
                    <a:cubicBezTo>
                      <a:pt x="108" y="486"/>
                      <a:pt x="108" y="486"/>
                      <a:pt x="108" y="486"/>
                    </a:cubicBezTo>
                    <a:cubicBezTo>
                      <a:pt x="112" y="487"/>
                      <a:pt x="112" y="487"/>
                      <a:pt x="112" y="487"/>
                    </a:cubicBezTo>
                    <a:cubicBezTo>
                      <a:pt x="112" y="487"/>
                      <a:pt x="115" y="487"/>
                      <a:pt x="116" y="487"/>
                    </a:cubicBezTo>
                    <a:cubicBezTo>
                      <a:pt x="117" y="488"/>
                      <a:pt x="119" y="489"/>
                      <a:pt x="119" y="488"/>
                    </a:cubicBezTo>
                    <a:cubicBezTo>
                      <a:pt x="120" y="487"/>
                      <a:pt x="122" y="485"/>
                      <a:pt x="122" y="485"/>
                    </a:cubicBezTo>
                    <a:cubicBezTo>
                      <a:pt x="126" y="482"/>
                      <a:pt x="126" y="482"/>
                      <a:pt x="126" y="482"/>
                    </a:cubicBezTo>
                    <a:cubicBezTo>
                      <a:pt x="126" y="482"/>
                      <a:pt x="128" y="482"/>
                      <a:pt x="130" y="482"/>
                    </a:cubicBezTo>
                    <a:cubicBezTo>
                      <a:pt x="131" y="482"/>
                      <a:pt x="138" y="481"/>
                      <a:pt x="138" y="481"/>
                    </a:cubicBezTo>
                    <a:cubicBezTo>
                      <a:pt x="138" y="481"/>
                      <a:pt x="139" y="479"/>
                      <a:pt x="141" y="478"/>
                    </a:cubicBezTo>
                    <a:cubicBezTo>
                      <a:pt x="142" y="477"/>
                      <a:pt x="146" y="475"/>
                      <a:pt x="146" y="475"/>
                    </a:cubicBezTo>
                    <a:cubicBezTo>
                      <a:pt x="153" y="473"/>
                      <a:pt x="153" y="473"/>
                      <a:pt x="153" y="473"/>
                    </a:cubicBezTo>
                    <a:cubicBezTo>
                      <a:pt x="147" y="475"/>
                      <a:pt x="147" y="475"/>
                      <a:pt x="147" y="475"/>
                    </a:cubicBezTo>
                    <a:cubicBezTo>
                      <a:pt x="145" y="477"/>
                      <a:pt x="145" y="477"/>
                      <a:pt x="145" y="477"/>
                    </a:cubicBezTo>
                    <a:cubicBezTo>
                      <a:pt x="141" y="480"/>
                      <a:pt x="141" y="480"/>
                      <a:pt x="141" y="480"/>
                    </a:cubicBezTo>
                    <a:cubicBezTo>
                      <a:pt x="139" y="482"/>
                      <a:pt x="139" y="482"/>
                      <a:pt x="139" y="482"/>
                    </a:cubicBezTo>
                    <a:cubicBezTo>
                      <a:pt x="139" y="482"/>
                      <a:pt x="137" y="483"/>
                      <a:pt x="136" y="484"/>
                    </a:cubicBezTo>
                    <a:cubicBezTo>
                      <a:pt x="136" y="484"/>
                      <a:pt x="133" y="489"/>
                      <a:pt x="133" y="489"/>
                    </a:cubicBezTo>
                    <a:cubicBezTo>
                      <a:pt x="130" y="490"/>
                      <a:pt x="130" y="490"/>
                      <a:pt x="130" y="490"/>
                    </a:cubicBezTo>
                    <a:cubicBezTo>
                      <a:pt x="130" y="490"/>
                      <a:pt x="127" y="492"/>
                      <a:pt x="126" y="494"/>
                    </a:cubicBezTo>
                    <a:cubicBezTo>
                      <a:pt x="125" y="495"/>
                      <a:pt x="124" y="496"/>
                      <a:pt x="124" y="496"/>
                    </a:cubicBezTo>
                    <a:cubicBezTo>
                      <a:pt x="124" y="496"/>
                      <a:pt x="125" y="498"/>
                      <a:pt x="120" y="498"/>
                    </a:cubicBezTo>
                    <a:cubicBezTo>
                      <a:pt x="115" y="497"/>
                      <a:pt x="111" y="496"/>
                      <a:pt x="111" y="496"/>
                    </a:cubicBezTo>
                    <a:cubicBezTo>
                      <a:pt x="111" y="496"/>
                      <a:pt x="106" y="495"/>
                      <a:pt x="105" y="495"/>
                    </a:cubicBezTo>
                    <a:cubicBezTo>
                      <a:pt x="104" y="494"/>
                      <a:pt x="104" y="494"/>
                      <a:pt x="101" y="494"/>
                    </a:cubicBezTo>
                    <a:cubicBezTo>
                      <a:pt x="99" y="494"/>
                      <a:pt x="89" y="491"/>
                      <a:pt x="89" y="491"/>
                    </a:cubicBezTo>
                    <a:cubicBezTo>
                      <a:pt x="89" y="491"/>
                      <a:pt x="87" y="491"/>
                      <a:pt x="86" y="492"/>
                    </a:cubicBezTo>
                    <a:cubicBezTo>
                      <a:pt x="85" y="493"/>
                      <a:pt x="83" y="493"/>
                      <a:pt x="83" y="494"/>
                    </a:cubicBezTo>
                    <a:cubicBezTo>
                      <a:pt x="83" y="496"/>
                      <a:pt x="83" y="497"/>
                      <a:pt x="83" y="497"/>
                    </a:cubicBezTo>
                    <a:cubicBezTo>
                      <a:pt x="82" y="500"/>
                      <a:pt x="82" y="500"/>
                      <a:pt x="82" y="500"/>
                    </a:cubicBezTo>
                    <a:cubicBezTo>
                      <a:pt x="78" y="501"/>
                      <a:pt x="78" y="501"/>
                      <a:pt x="78" y="501"/>
                    </a:cubicBezTo>
                    <a:cubicBezTo>
                      <a:pt x="73" y="501"/>
                      <a:pt x="73" y="501"/>
                      <a:pt x="73" y="501"/>
                    </a:cubicBezTo>
                    <a:close/>
                    <a:moveTo>
                      <a:pt x="43" y="266"/>
                    </a:moveTo>
                    <a:cubicBezTo>
                      <a:pt x="43" y="266"/>
                      <a:pt x="43" y="266"/>
                      <a:pt x="43" y="266"/>
                    </a:cubicBezTo>
                    <a:cubicBezTo>
                      <a:pt x="44" y="266"/>
                      <a:pt x="50" y="266"/>
                      <a:pt x="50" y="266"/>
                    </a:cubicBezTo>
                    <a:cubicBezTo>
                      <a:pt x="54" y="266"/>
                      <a:pt x="54" y="266"/>
                      <a:pt x="54" y="266"/>
                    </a:cubicBezTo>
                    <a:cubicBezTo>
                      <a:pt x="54" y="266"/>
                      <a:pt x="59" y="266"/>
                      <a:pt x="60" y="266"/>
                    </a:cubicBezTo>
                    <a:cubicBezTo>
                      <a:pt x="61" y="266"/>
                      <a:pt x="62" y="267"/>
                      <a:pt x="62" y="267"/>
                    </a:cubicBezTo>
                    <a:cubicBezTo>
                      <a:pt x="62" y="267"/>
                      <a:pt x="64" y="265"/>
                      <a:pt x="65" y="266"/>
                    </a:cubicBezTo>
                    <a:cubicBezTo>
                      <a:pt x="66" y="266"/>
                      <a:pt x="68" y="269"/>
                      <a:pt x="68" y="269"/>
                    </a:cubicBezTo>
                    <a:cubicBezTo>
                      <a:pt x="70" y="274"/>
                      <a:pt x="70" y="274"/>
                      <a:pt x="70" y="274"/>
                    </a:cubicBezTo>
                    <a:cubicBezTo>
                      <a:pt x="71" y="280"/>
                      <a:pt x="71" y="280"/>
                      <a:pt x="71" y="280"/>
                    </a:cubicBezTo>
                    <a:cubicBezTo>
                      <a:pt x="72" y="285"/>
                      <a:pt x="72" y="285"/>
                      <a:pt x="72" y="285"/>
                    </a:cubicBezTo>
                    <a:cubicBezTo>
                      <a:pt x="76" y="290"/>
                      <a:pt x="76" y="290"/>
                      <a:pt x="76" y="290"/>
                    </a:cubicBezTo>
                    <a:cubicBezTo>
                      <a:pt x="74" y="293"/>
                      <a:pt x="74" y="293"/>
                      <a:pt x="74" y="293"/>
                    </a:cubicBezTo>
                    <a:cubicBezTo>
                      <a:pt x="74" y="293"/>
                      <a:pt x="74" y="297"/>
                      <a:pt x="74" y="297"/>
                    </a:cubicBezTo>
                    <a:cubicBezTo>
                      <a:pt x="73" y="297"/>
                      <a:pt x="70" y="298"/>
                      <a:pt x="70" y="298"/>
                    </a:cubicBezTo>
                    <a:cubicBezTo>
                      <a:pt x="69" y="299"/>
                      <a:pt x="68" y="302"/>
                      <a:pt x="68" y="302"/>
                    </a:cubicBezTo>
                    <a:cubicBezTo>
                      <a:pt x="68" y="302"/>
                      <a:pt x="72" y="298"/>
                      <a:pt x="73" y="299"/>
                    </a:cubicBezTo>
                    <a:cubicBezTo>
                      <a:pt x="74" y="299"/>
                      <a:pt x="77" y="299"/>
                      <a:pt x="77" y="299"/>
                    </a:cubicBezTo>
                    <a:cubicBezTo>
                      <a:pt x="79" y="301"/>
                      <a:pt x="79" y="301"/>
                      <a:pt x="79" y="301"/>
                    </a:cubicBezTo>
                    <a:cubicBezTo>
                      <a:pt x="81" y="305"/>
                      <a:pt x="81" y="305"/>
                      <a:pt x="81" y="305"/>
                    </a:cubicBezTo>
                    <a:cubicBezTo>
                      <a:pt x="81" y="310"/>
                      <a:pt x="81" y="310"/>
                      <a:pt x="81" y="310"/>
                    </a:cubicBezTo>
                    <a:cubicBezTo>
                      <a:pt x="81" y="310"/>
                      <a:pt x="81" y="314"/>
                      <a:pt x="80" y="314"/>
                    </a:cubicBezTo>
                    <a:cubicBezTo>
                      <a:pt x="80" y="315"/>
                      <a:pt x="79" y="316"/>
                      <a:pt x="78" y="316"/>
                    </a:cubicBezTo>
                    <a:cubicBezTo>
                      <a:pt x="77" y="316"/>
                      <a:pt x="76" y="316"/>
                      <a:pt x="77" y="314"/>
                    </a:cubicBezTo>
                    <a:cubicBezTo>
                      <a:pt x="77" y="312"/>
                      <a:pt x="78" y="310"/>
                      <a:pt x="78" y="310"/>
                    </a:cubicBezTo>
                    <a:cubicBezTo>
                      <a:pt x="78" y="309"/>
                      <a:pt x="79" y="305"/>
                      <a:pt x="78" y="305"/>
                    </a:cubicBezTo>
                    <a:cubicBezTo>
                      <a:pt x="76" y="305"/>
                      <a:pt x="75" y="303"/>
                      <a:pt x="75" y="305"/>
                    </a:cubicBezTo>
                    <a:cubicBezTo>
                      <a:pt x="74" y="306"/>
                      <a:pt x="75" y="310"/>
                      <a:pt x="75" y="310"/>
                    </a:cubicBezTo>
                    <a:cubicBezTo>
                      <a:pt x="75" y="310"/>
                      <a:pt x="76" y="311"/>
                      <a:pt x="76" y="312"/>
                    </a:cubicBezTo>
                    <a:cubicBezTo>
                      <a:pt x="75" y="313"/>
                      <a:pt x="75" y="312"/>
                      <a:pt x="74" y="314"/>
                    </a:cubicBezTo>
                    <a:cubicBezTo>
                      <a:pt x="72" y="315"/>
                      <a:pt x="75" y="316"/>
                      <a:pt x="75" y="316"/>
                    </a:cubicBezTo>
                    <a:cubicBezTo>
                      <a:pt x="76" y="318"/>
                      <a:pt x="76" y="318"/>
                      <a:pt x="76" y="318"/>
                    </a:cubicBezTo>
                    <a:cubicBezTo>
                      <a:pt x="76" y="318"/>
                      <a:pt x="76" y="321"/>
                      <a:pt x="75" y="321"/>
                    </a:cubicBezTo>
                    <a:cubicBezTo>
                      <a:pt x="74" y="322"/>
                      <a:pt x="74" y="323"/>
                      <a:pt x="70" y="321"/>
                    </a:cubicBezTo>
                    <a:cubicBezTo>
                      <a:pt x="66" y="320"/>
                      <a:pt x="65" y="319"/>
                      <a:pt x="65" y="319"/>
                    </a:cubicBezTo>
                    <a:cubicBezTo>
                      <a:pt x="64" y="324"/>
                      <a:pt x="64" y="324"/>
                      <a:pt x="64" y="324"/>
                    </a:cubicBezTo>
                    <a:cubicBezTo>
                      <a:pt x="62" y="328"/>
                      <a:pt x="62" y="328"/>
                      <a:pt x="62" y="328"/>
                    </a:cubicBezTo>
                    <a:cubicBezTo>
                      <a:pt x="55" y="330"/>
                      <a:pt x="55" y="330"/>
                      <a:pt x="55" y="330"/>
                    </a:cubicBezTo>
                    <a:cubicBezTo>
                      <a:pt x="51" y="325"/>
                      <a:pt x="51" y="325"/>
                      <a:pt x="51" y="325"/>
                    </a:cubicBezTo>
                    <a:cubicBezTo>
                      <a:pt x="51" y="325"/>
                      <a:pt x="48" y="326"/>
                      <a:pt x="47" y="326"/>
                    </a:cubicBezTo>
                    <a:cubicBezTo>
                      <a:pt x="46" y="325"/>
                      <a:pt x="41" y="324"/>
                      <a:pt x="41" y="324"/>
                    </a:cubicBezTo>
                    <a:cubicBezTo>
                      <a:pt x="40" y="319"/>
                      <a:pt x="40" y="319"/>
                      <a:pt x="40" y="319"/>
                    </a:cubicBezTo>
                    <a:cubicBezTo>
                      <a:pt x="35" y="314"/>
                      <a:pt x="35" y="314"/>
                      <a:pt x="35" y="314"/>
                    </a:cubicBezTo>
                    <a:cubicBezTo>
                      <a:pt x="36" y="310"/>
                      <a:pt x="36" y="310"/>
                      <a:pt x="36" y="310"/>
                    </a:cubicBezTo>
                    <a:cubicBezTo>
                      <a:pt x="33" y="304"/>
                      <a:pt x="33" y="304"/>
                      <a:pt x="33" y="304"/>
                    </a:cubicBezTo>
                    <a:cubicBezTo>
                      <a:pt x="27" y="305"/>
                      <a:pt x="27" y="305"/>
                      <a:pt x="27" y="305"/>
                    </a:cubicBezTo>
                    <a:cubicBezTo>
                      <a:pt x="25" y="310"/>
                      <a:pt x="25" y="310"/>
                      <a:pt x="25" y="310"/>
                    </a:cubicBezTo>
                    <a:cubicBezTo>
                      <a:pt x="25" y="310"/>
                      <a:pt x="27" y="312"/>
                      <a:pt x="25" y="313"/>
                    </a:cubicBezTo>
                    <a:cubicBezTo>
                      <a:pt x="23" y="313"/>
                      <a:pt x="19" y="314"/>
                      <a:pt x="19" y="314"/>
                    </a:cubicBezTo>
                    <a:cubicBezTo>
                      <a:pt x="19" y="314"/>
                      <a:pt x="14" y="315"/>
                      <a:pt x="13" y="315"/>
                    </a:cubicBezTo>
                    <a:cubicBezTo>
                      <a:pt x="13" y="315"/>
                      <a:pt x="9" y="309"/>
                      <a:pt x="9" y="309"/>
                    </a:cubicBezTo>
                    <a:cubicBezTo>
                      <a:pt x="9" y="309"/>
                      <a:pt x="7" y="309"/>
                      <a:pt x="6" y="309"/>
                    </a:cubicBezTo>
                    <a:cubicBezTo>
                      <a:pt x="5" y="309"/>
                      <a:pt x="5" y="310"/>
                      <a:pt x="5" y="308"/>
                    </a:cubicBezTo>
                    <a:cubicBezTo>
                      <a:pt x="5" y="306"/>
                      <a:pt x="4" y="303"/>
                      <a:pt x="4" y="303"/>
                    </a:cubicBezTo>
                    <a:cubicBezTo>
                      <a:pt x="4" y="303"/>
                      <a:pt x="7" y="306"/>
                      <a:pt x="4" y="302"/>
                    </a:cubicBezTo>
                    <a:cubicBezTo>
                      <a:pt x="1" y="298"/>
                      <a:pt x="0" y="294"/>
                      <a:pt x="0" y="294"/>
                    </a:cubicBezTo>
                    <a:cubicBezTo>
                      <a:pt x="5" y="291"/>
                      <a:pt x="5" y="291"/>
                      <a:pt x="5" y="291"/>
                    </a:cubicBezTo>
                    <a:cubicBezTo>
                      <a:pt x="5" y="291"/>
                      <a:pt x="10" y="291"/>
                      <a:pt x="11" y="292"/>
                    </a:cubicBezTo>
                    <a:cubicBezTo>
                      <a:pt x="12" y="292"/>
                      <a:pt x="13" y="290"/>
                      <a:pt x="13" y="290"/>
                    </a:cubicBezTo>
                    <a:cubicBezTo>
                      <a:pt x="13" y="290"/>
                      <a:pt x="15" y="288"/>
                      <a:pt x="13" y="287"/>
                    </a:cubicBezTo>
                    <a:cubicBezTo>
                      <a:pt x="12" y="287"/>
                      <a:pt x="10" y="285"/>
                      <a:pt x="10" y="285"/>
                    </a:cubicBezTo>
                    <a:cubicBezTo>
                      <a:pt x="10" y="285"/>
                      <a:pt x="8" y="283"/>
                      <a:pt x="11" y="282"/>
                    </a:cubicBezTo>
                    <a:cubicBezTo>
                      <a:pt x="14" y="282"/>
                      <a:pt x="14" y="282"/>
                      <a:pt x="16" y="282"/>
                    </a:cubicBezTo>
                    <a:cubicBezTo>
                      <a:pt x="18" y="283"/>
                      <a:pt x="19" y="286"/>
                      <a:pt x="20" y="282"/>
                    </a:cubicBezTo>
                    <a:cubicBezTo>
                      <a:pt x="21" y="279"/>
                      <a:pt x="19" y="279"/>
                      <a:pt x="22" y="278"/>
                    </a:cubicBezTo>
                    <a:cubicBezTo>
                      <a:pt x="25" y="278"/>
                      <a:pt x="27" y="277"/>
                      <a:pt x="27" y="276"/>
                    </a:cubicBezTo>
                    <a:cubicBezTo>
                      <a:pt x="27" y="275"/>
                      <a:pt x="27" y="271"/>
                      <a:pt x="28" y="271"/>
                    </a:cubicBezTo>
                    <a:cubicBezTo>
                      <a:pt x="29" y="271"/>
                      <a:pt x="34" y="272"/>
                      <a:pt x="34" y="272"/>
                    </a:cubicBezTo>
                    <a:cubicBezTo>
                      <a:pt x="34" y="272"/>
                      <a:pt x="36" y="270"/>
                      <a:pt x="38" y="271"/>
                    </a:cubicBezTo>
                    <a:cubicBezTo>
                      <a:pt x="40" y="271"/>
                      <a:pt x="41" y="270"/>
                      <a:pt x="41" y="270"/>
                    </a:cubicBezTo>
                    <a:cubicBezTo>
                      <a:pt x="41" y="270"/>
                      <a:pt x="43" y="266"/>
                      <a:pt x="43" y="266"/>
                    </a:cubicBezTo>
                    <a:close/>
                    <a:moveTo>
                      <a:pt x="74" y="227"/>
                    </a:moveTo>
                    <a:cubicBezTo>
                      <a:pt x="74" y="227"/>
                      <a:pt x="74" y="227"/>
                      <a:pt x="74" y="227"/>
                    </a:cubicBezTo>
                    <a:cubicBezTo>
                      <a:pt x="74" y="227"/>
                      <a:pt x="73" y="224"/>
                      <a:pt x="74" y="224"/>
                    </a:cubicBezTo>
                    <a:cubicBezTo>
                      <a:pt x="75" y="224"/>
                      <a:pt x="78" y="223"/>
                      <a:pt x="78" y="223"/>
                    </a:cubicBezTo>
                    <a:cubicBezTo>
                      <a:pt x="78" y="223"/>
                      <a:pt x="79" y="221"/>
                      <a:pt x="79" y="222"/>
                    </a:cubicBezTo>
                    <a:cubicBezTo>
                      <a:pt x="80" y="222"/>
                      <a:pt x="80" y="224"/>
                      <a:pt x="79" y="224"/>
                    </a:cubicBezTo>
                    <a:cubicBezTo>
                      <a:pt x="79" y="224"/>
                      <a:pt x="77" y="226"/>
                      <a:pt x="77" y="226"/>
                    </a:cubicBezTo>
                    <a:cubicBezTo>
                      <a:pt x="77" y="226"/>
                      <a:pt x="75" y="227"/>
                      <a:pt x="75" y="227"/>
                    </a:cubicBezTo>
                    <a:cubicBezTo>
                      <a:pt x="74" y="227"/>
                      <a:pt x="74" y="227"/>
                      <a:pt x="74" y="227"/>
                    </a:cubicBezTo>
                    <a:close/>
                    <a:moveTo>
                      <a:pt x="87" y="248"/>
                    </a:moveTo>
                    <a:cubicBezTo>
                      <a:pt x="87" y="248"/>
                      <a:pt x="87" y="248"/>
                      <a:pt x="87" y="248"/>
                    </a:cubicBezTo>
                    <a:cubicBezTo>
                      <a:pt x="87" y="248"/>
                      <a:pt x="87" y="249"/>
                      <a:pt x="86" y="249"/>
                    </a:cubicBezTo>
                    <a:cubicBezTo>
                      <a:pt x="85" y="249"/>
                      <a:pt x="83" y="249"/>
                      <a:pt x="83" y="248"/>
                    </a:cubicBezTo>
                    <a:cubicBezTo>
                      <a:pt x="83" y="248"/>
                      <a:pt x="84" y="246"/>
                      <a:pt x="85" y="246"/>
                    </a:cubicBezTo>
                    <a:cubicBezTo>
                      <a:pt x="85" y="246"/>
                      <a:pt x="86" y="245"/>
                      <a:pt x="86" y="245"/>
                    </a:cubicBezTo>
                    <a:cubicBezTo>
                      <a:pt x="86" y="245"/>
                      <a:pt x="86" y="244"/>
                      <a:pt x="86" y="244"/>
                    </a:cubicBezTo>
                    <a:cubicBezTo>
                      <a:pt x="87" y="244"/>
                      <a:pt x="88" y="246"/>
                      <a:pt x="88" y="246"/>
                    </a:cubicBezTo>
                    <a:cubicBezTo>
                      <a:pt x="87" y="248"/>
                      <a:pt x="87" y="248"/>
                      <a:pt x="87" y="248"/>
                    </a:cubicBezTo>
                    <a:close/>
                    <a:moveTo>
                      <a:pt x="95" y="255"/>
                    </a:moveTo>
                    <a:cubicBezTo>
                      <a:pt x="95" y="255"/>
                      <a:pt x="95" y="255"/>
                      <a:pt x="95" y="255"/>
                    </a:cubicBezTo>
                    <a:cubicBezTo>
                      <a:pt x="95" y="254"/>
                      <a:pt x="97" y="252"/>
                      <a:pt x="97" y="251"/>
                    </a:cubicBezTo>
                    <a:cubicBezTo>
                      <a:pt x="98" y="251"/>
                      <a:pt x="98" y="250"/>
                      <a:pt x="98" y="250"/>
                    </a:cubicBezTo>
                    <a:cubicBezTo>
                      <a:pt x="99" y="249"/>
                      <a:pt x="100" y="249"/>
                      <a:pt x="101" y="249"/>
                    </a:cubicBezTo>
                    <a:cubicBezTo>
                      <a:pt x="103" y="250"/>
                      <a:pt x="105" y="252"/>
                      <a:pt x="104" y="252"/>
                    </a:cubicBezTo>
                    <a:cubicBezTo>
                      <a:pt x="104" y="253"/>
                      <a:pt x="103" y="252"/>
                      <a:pt x="103" y="255"/>
                    </a:cubicBezTo>
                    <a:cubicBezTo>
                      <a:pt x="103" y="258"/>
                      <a:pt x="103" y="258"/>
                      <a:pt x="103" y="259"/>
                    </a:cubicBezTo>
                    <a:cubicBezTo>
                      <a:pt x="104" y="260"/>
                      <a:pt x="103" y="263"/>
                      <a:pt x="103" y="263"/>
                    </a:cubicBezTo>
                    <a:cubicBezTo>
                      <a:pt x="103" y="263"/>
                      <a:pt x="102" y="265"/>
                      <a:pt x="101" y="265"/>
                    </a:cubicBezTo>
                    <a:cubicBezTo>
                      <a:pt x="101" y="265"/>
                      <a:pt x="101" y="265"/>
                      <a:pt x="99" y="264"/>
                    </a:cubicBezTo>
                    <a:cubicBezTo>
                      <a:pt x="98" y="264"/>
                      <a:pt x="95" y="262"/>
                      <a:pt x="95" y="262"/>
                    </a:cubicBezTo>
                    <a:cubicBezTo>
                      <a:pt x="95" y="262"/>
                      <a:pt x="95" y="257"/>
                      <a:pt x="95" y="257"/>
                    </a:cubicBezTo>
                    <a:cubicBezTo>
                      <a:pt x="95" y="256"/>
                      <a:pt x="94" y="255"/>
                      <a:pt x="94" y="255"/>
                    </a:cubicBezTo>
                    <a:cubicBezTo>
                      <a:pt x="95" y="255"/>
                      <a:pt x="95" y="255"/>
                      <a:pt x="95" y="255"/>
                    </a:cubicBezTo>
                    <a:close/>
                    <a:moveTo>
                      <a:pt x="74" y="210"/>
                    </a:moveTo>
                    <a:cubicBezTo>
                      <a:pt x="74" y="210"/>
                      <a:pt x="74" y="210"/>
                      <a:pt x="74" y="210"/>
                    </a:cubicBezTo>
                    <a:cubicBezTo>
                      <a:pt x="74" y="210"/>
                      <a:pt x="74" y="209"/>
                      <a:pt x="76" y="209"/>
                    </a:cubicBezTo>
                    <a:cubicBezTo>
                      <a:pt x="77" y="210"/>
                      <a:pt x="77" y="211"/>
                      <a:pt x="77" y="212"/>
                    </a:cubicBezTo>
                    <a:cubicBezTo>
                      <a:pt x="77" y="213"/>
                      <a:pt x="80" y="213"/>
                      <a:pt x="79" y="214"/>
                    </a:cubicBezTo>
                    <a:cubicBezTo>
                      <a:pt x="77" y="215"/>
                      <a:pt x="76" y="215"/>
                      <a:pt x="76" y="215"/>
                    </a:cubicBezTo>
                    <a:cubicBezTo>
                      <a:pt x="76" y="214"/>
                      <a:pt x="75" y="215"/>
                      <a:pt x="75" y="214"/>
                    </a:cubicBezTo>
                    <a:cubicBezTo>
                      <a:pt x="75" y="213"/>
                      <a:pt x="73" y="212"/>
                      <a:pt x="73" y="212"/>
                    </a:cubicBezTo>
                    <a:cubicBezTo>
                      <a:pt x="73" y="212"/>
                      <a:pt x="74" y="210"/>
                      <a:pt x="74" y="210"/>
                    </a:cubicBezTo>
                    <a:close/>
                    <a:moveTo>
                      <a:pt x="61" y="196"/>
                    </a:moveTo>
                    <a:cubicBezTo>
                      <a:pt x="61" y="196"/>
                      <a:pt x="61" y="196"/>
                      <a:pt x="61" y="196"/>
                    </a:cubicBezTo>
                    <a:cubicBezTo>
                      <a:pt x="63" y="197"/>
                      <a:pt x="64" y="196"/>
                      <a:pt x="64" y="197"/>
                    </a:cubicBezTo>
                    <a:cubicBezTo>
                      <a:pt x="65" y="197"/>
                      <a:pt x="66" y="198"/>
                      <a:pt x="65" y="199"/>
                    </a:cubicBezTo>
                    <a:cubicBezTo>
                      <a:pt x="63" y="200"/>
                      <a:pt x="63" y="200"/>
                      <a:pt x="61" y="200"/>
                    </a:cubicBezTo>
                    <a:cubicBezTo>
                      <a:pt x="60" y="200"/>
                      <a:pt x="62" y="200"/>
                      <a:pt x="60" y="200"/>
                    </a:cubicBezTo>
                    <a:cubicBezTo>
                      <a:pt x="58" y="200"/>
                      <a:pt x="55" y="202"/>
                      <a:pt x="57" y="199"/>
                    </a:cubicBezTo>
                    <a:cubicBezTo>
                      <a:pt x="59" y="197"/>
                      <a:pt x="61" y="196"/>
                      <a:pt x="61" y="196"/>
                    </a:cubicBezTo>
                    <a:close/>
                    <a:moveTo>
                      <a:pt x="72" y="191"/>
                    </a:moveTo>
                    <a:cubicBezTo>
                      <a:pt x="72" y="191"/>
                      <a:pt x="72" y="191"/>
                      <a:pt x="72" y="191"/>
                    </a:cubicBezTo>
                    <a:cubicBezTo>
                      <a:pt x="73" y="191"/>
                      <a:pt x="74" y="189"/>
                      <a:pt x="75" y="190"/>
                    </a:cubicBezTo>
                    <a:cubicBezTo>
                      <a:pt x="76" y="191"/>
                      <a:pt x="78" y="192"/>
                      <a:pt x="76" y="193"/>
                    </a:cubicBezTo>
                    <a:cubicBezTo>
                      <a:pt x="74" y="194"/>
                      <a:pt x="74" y="194"/>
                      <a:pt x="73" y="195"/>
                    </a:cubicBezTo>
                    <a:cubicBezTo>
                      <a:pt x="71" y="196"/>
                      <a:pt x="69" y="197"/>
                      <a:pt x="68" y="197"/>
                    </a:cubicBezTo>
                    <a:cubicBezTo>
                      <a:pt x="67" y="197"/>
                      <a:pt x="66" y="195"/>
                      <a:pt x="67" y="195"/>
                    </a:cubicBezTo>
                    <a:cubicBezTo>
                      <a:pt x="68" y="195"/>
                      <a:pt x="69" y="194"/>
                      <a:pt x="70" y="194"/>
                    </a:cubicBezTo>
                    <a:cubicBezTo>
                      <a:pt x="70" y="193"/>
                      <a:pt x="72" y="191"/>
                      <a:pt x="72" y="191"/>
                    </a:cubicBezTo>
                    <a:close/>
                    <a:moveTo>
                      <a:pt x="78" y="171"/>
                    </a:moveTo>
                    <a:cubicBezTo>
                      <a:pt x="78" y="171"/>
                      <a:pt x="78" y="171"/>
                      <a:pt x="78" y="171"/>
                    </a:cubicBezTo>
                    <a:cubicBezTo>
                      <a:pt x="78" y="171"/>
                      <a:pt x="78" y="168"/>
                      <a:pt x="79" y="169"/>
                    </a:cubicBezTo>
                    <a:cubicBezTo>
                      <a:pt x="81" y="169"/>
                      <a:pt x="81" y="169"/>
                      <a:pt x="81" y="170"/>
                    </a:cubicBezTo>
                    <a:cubicBezTo>
                      <a:pt x="81" y="171"/>
                      <a:pt x="83" y="170"/>
                      <a:pt x="81" y="171"/>
                    </a:cubicBezTo>
                    <a:cubicBezTo>
                      <a:pt x="80" y="171"/>
                      <a:pt x="78" y="171"/>
                      <a:pt x="78" y="171"/>
                    </a:cubicBezTo>
                    <a:close/>
                    <a:moveTo>
                      <a:pt x="87" y="181"/>
                    </a:moveTo>
                    <a:cubicBezTo>
                      <a:pt x="87" y="181"/>
                      <a:pt x="87" y="181"/>
                      <a:pt x="87" y="181"/>
                    </a:cubicBezTo>
                    <a:cubicBezTo>
                      <a:pt x="87" y="181"/>
                      <a:pt x="88" y="179"/>
                      <a:pt x="89" y="179"/>
                    </a:cubicBezTo>
                    <a:cubicBezTo>
                      <a:pt x="89" y="179"/>
                      <a:pt x="90" y="179"/>
                      <a:pt x="90" y="180"/>
                    </a:cubicBezTo>
                    <a:cubicBezTo>
                      <a:pt x="90" y="181"/>
                      <a:pt x="90" y="183"/>
                      <a:pt x="89" y="183"/>
                    </a:cubicBezTo>
                    <a:cubicBezTo>
                      <a:pt x="88" y="183"/>
                      <a:pt x="88" y="184"/>
                      <a:pt x="87" y="183"/>
                    </a:cubicBezTo>
                    <a:cubicBezTo>
                      <a:pt x="86" y="183"/>
                      <a:pt x="87" y="181"/>
                      <a:pt x="87" y="181"/>
                    </a:cubicBezTo>
                    <a:close/>
                    <a:moveTo>
                      <a:pt x="82" y="177"/>
                    </a:moveTo>
                    <a:cubicBezTo>
                      <a:pt x="82" y="177"/>
                      <a:pt x="82" y="177"/>
                      <a:pt x="82" y="177"/>
                    </a:cubicBezTo>
                    <a:cubicBezTo>
                      <a:pt x="82" y="177"/>
                      <a:pt x="81" y="173"/>
                      <a:pt x="83" y="173"/>
                    </a:cubicBezTo>
                    <a:cubicBezTo>
                      <a:pt x="85" y="172"/>
                      <a:pt x="86" y="172"/>
                      <a:pt x="86" y="172"/>
                    </a:cubicBezTo>
                    <a:cubicBezTo>
                      <a:pt x="86" y="172"/>
                      <a:pt x="89" y="176"/>
                      <a:pt x="89" y="176"/>
                    </a:cubicBezTo>
                    <a:cubicBezTo>
                      <a:pt x="88" y="177"/>
                      <a:pt x="88" y="178"/>
                      <a:pt x="86" y="178"/>
                    </a:cubicBezTo>
                    <a:cubicBezTo>
                      <a:pt x="85" y="178"/>
                      <a:pt x="84" y="179"/>
                      <a:pt x="84" y="178"/>
                    </a:cubicBezTo>
                    <a:cubicBezTo>
                      <a:pt x="83" y="177"/>
                      <a:pt x="82" y="177"/>
                      <a:pt x="82" y="177"/>
                    </a:cubicBezTo>
                    <a:close/>
                    <a:moveTo>
                      <a:pt x="45" y="174"/>
                    </a:moveTo>
                    <a:cubicBezTo>
                      <a:pt x="45" y="174"/>
                      <a:pt x="45" y="174"/>
                      <a:pt x="45" y="174"/>
                    </a:cubicBezTo>
                    <a:cubicBezTo>
                      <a:pt x="46" y="174"/>
                      <a:pt x="46" y="173"/>
                      <a:pt x="46" y="175"/>
                    </a:cubicBezTo>
                    <a:cubicBezTo>
                      <a:pt x="46" y="176"/>
                      <a:pt x="46" y="177"/>
                      <a:pt x="46" y="177"/>
                    </a:cubicBezTo>
                    <a:cubicBezTo>
                      <a:pt x="46" y="177"/>
                      <a:pt x="45" y="179"/>
                      <a:pt x="44" y="178"/>
                    </a:cubicBezTo>
                    <a:cubicBezTo>
                      <a:pt x="43" y="177"/>
                      <a:pt x="43" y="176"/>
                      <a:pt x="43" y="176"/>
                    </a:cubicBezTo>
                    <a:cubicBezTo>
                      <a:pt x="45" y="174"/>
                      <a:pt x="45" y="174"/>
                      <a:pt x="45" y="174"/>
                    </a:cubicBezTo>
                    <a:close/>
                    <a:moveTo>
                      <a:pt x="53" y="164"/>
                    </a:moveTo>
                    <a:cubicBezTo>
                      <a:pt x="53" y="164"/>
                      <a:pt x="53" y="164"/>
                      <a:pt x="53" y="164"/>
                    </a:cubicBezTo>
                    <a:cubicBezTo>
                      <a:pt x="54" y="165"/>
                      <a:pt x="56" y="167"/>
                      <a:pt x="56" y="167"/>
                    </a:cubicBezTo>
                    <a:cubicBezTo>
                      <a:pt x="53" y="170"/>
                      <a:pt x="53" y="170"/>
                      <a:pt x="53" y="170"/>
                    </a:cubicBezTo>
                    <a:cubicBezTo>
                      <a:pt x="53" y="170"/>
                      <a:pt x="50" y="171"/>
                      <a:pt x="50" y="172"/>
                    </a:cubicBezTo>
                    <a:cubicBezTo>
                      <a:pt x="49" y="172"/>
                      <a:pt x="51" y="175"/>
                      <a:pt x="49" y="174"/>
                    </a:cubicBezTo>
                    <a:cubicBezTo>
                      <a:pt x="47" y="173"/>
                      <a:pt x="46" y="171"/>
                      <a:pt x="47" y="171"/>
                    </a:cubicBezTo>
                    <a:cubicBezTo>
                      <a:pt x="48" y="170"/>
                      <a:pt x="48" y="170"/>
                      <a:pt x="49" y="169"/>
                    </a:cubicBezTo>
                    <a:cubicBezTo>
                      <a:pt x="50" y="168"/>
                      <a:pt x="52" y="165"/>
                      <a:pt x="52" y="165"/>
                    </a:cubicBezTo>
                    <a:cubicBezTo>
                      <a:pt x="53" y="164"/>
                      <a:pt x="53" y="164"/>
                      <a:pt x="53" y="164"/>
                    </a:cubicBezTo>
                    <a:close/>
                    <a:moveTo>
                      <a:pt x="58" y="150"/>
                    </a:moveTo>
                    <a:cubicBezTo>
                      <a:pt x="58" y="150"/>
                      <a:pt x="58" y="150"/>
                      <a:pt x="58" y="150"/>
                    </a:cubicBezTo>
                    <a:cubicBezTo>
                      <a:pt x="58" y="150"/>
                      <a:pt x="60" y="150"/>
                      <a:pt x="61" y="151"/>
                    </a:cubicBezTo>
                    <a:cubicBezTo>
                      <a:pt x="61" y="151"/>
                      <a:pt x="62" y="154"/>
                      <a:pt x="62" y="154"/>
                    </a:cubicBezTo>
                    <a:cubicBezTo>
                      <a:pt x="62" y="154"/>
                      <a:pt x="63" y="155"/>
                      <a:pt x="62" y="156"/>
                    </a:cubicBezTo>
                    <a:cubicBezTo>
                      <a:pt x="61" y="157"/>
                      <a:pt x="59" y="158"/>
                      <a:pt x="59" y="158"/>
                    </a:cubicBezTo>
                    <a:cubicBezTo>
                      <a:pt x="59" y="163"/>
                      <a:pt x="59" y="163"/>
                      <a:pt x="59" y="163"/>
                    </a:cubicBezTo>
                    <a:cubicBezTo>
                      <a:pt x="58" y="165"/>
                      <a:pt x="58" y="165"/>
                      <a:pt x="58" y="165"/>
                    </a:cubicBezTo>
                    <a:cubicBezTo>
                      <a:pt x="55" y="164"/>
                      <a:pt x="55" y="164"/>
                      <a:pt x="55" y="164"/>
                    </a:cubicBezTo>
                    <a:cubicBezTo>
                      <a:pt x="55" y="158"/>
                      <a:pt x="55" y="158"/>
                      <a:pt x="55" y="158"/>
                    </a:cubicBezTo>
                    <a:cubicBezTo>
                      <a:pt x="54" y="155"/>
                      <a:pt x="54" y="155"/>
                      <a:pt x="54" y="155"/>
                    </a:cubicBezTo>
                    <a:cubicBezTo>
                      <a:pt x="57" y="152"/>
                      <a:pt x="57" y="152"/>
                      <a:pt x="57" y="152"/>
                    </a:cubicBezTo>
                    <a:cubicBezTo>
                      <a:pt x="58" y="150"/>
                      <a:pt x="58" y="150"/>
                      <a:pt x="58" y="150"/>
                    </a:cubicBezTo>
                    <a:close/>
                    <a:moveTo>
                      <a:pt x="60" y="142"/>
                    </a:moveTo>
                    <a:cubicBezTo>
                      <a:pt x="60" y="142"/>
                      <a:pt x="60" y="142"/>
                      <a:pt x="60" y="142"/>
                    </a:cubicBezTo>
                    <a:cubicBezTo>
                      <a:pt x="60" y="142"/>
                      <a:pt x="62" y="141"/>
                      <a:pt x="63" y="142"/>
                    </a:cubicBezTo>
                    <a:cubicBezTo>
                      <a:pt x="64" y="143"/>
                      <a:pt x="64" y="141"/>
                      <a:pt x="65" y="143"/>
                    </a:cubicBezTo>
                    <a:cubicBezTo>
                      <a:pt x="66" y="145"/>
                      <a:pt x="67" y="145"/>
                      <a:pt x="66" y="146"/>
                    </a:cubicBezTo>
                    <a:cubicBezTo>
                      <a:pt x="66" y="147"/>
                      <a:pt x="66" y="148"/>
                      <a:pt x="65" y="149"/>
                    </a:cubicBezTo>
                    <a:cubicBezTo>
                      <a:pt x="64" y="150"/>
                      <a:pt x="65" y="151"/>
                      <a:pt x="63" y="150"/>
                    </a:cubicBezTo>
                    <a:cubicBezTo>
                      <a:pt x="61" y="149"/>
                      <a:pt x="61" y="149"/>
                      <a:pt x="60" y="148"/>
                    </a:cubicBezTo>
                    <a:cubicBezTo>
                      <a:pt x="59" y="147"/>
                      <a:pt x="59" y="147"/>
                      <a:pt x="59" y="147"/>
                    </a:cubicBezTo>
                    <a:cubicBezTo>
                      <a:pt x="60" y="142"/>
                      <a:pt x="60" y="142"/>
                      <a:pt x="60" y="142"/>
                    </a:cubicBezTo>
                    <a:close/>
                    <a:moveTo>
                      <a:pt x="69" y="132"/>
                    </a:moveTo>
                    <a:cubicBezTo>
                      <a:pt x="69" y="132"/>
                      <a:pt x="69" y="132"/>
                      <a:pt x="69" y="132"/>
                    </a:cubicBezTo>
                    <a:cubicBezTo>
                      <a:pt x="69" y="132"/>
                      <a:pt x="70" y="131"/>
                      <a:pt x="69" y="133"/>
                    </a:cubicBezTo>
                    <a:cubicBezTo>
                      <a:pt x="67" y="136"/>
                      <a:pt x="67" y="137"/>
                      <a:pt x="68" y="137"/>
                    </a:cubicBezTo>
                    <a:cubicBezTo>
                      <a:pt x="68" y="137"/>
                      <a:pt x="69" y="137"/>
                      <a:pt x="69" y="137"/>
                    </a:cubicBezTo>
                    <a:cubicBezTo>
                      <a:pt x="69" y="141"/>
                      <a:pt x="69" y="141"/>
                      <a:pt x="69" y="141"/>
                    </a:cubicBezTo>
                    <a:cubicBezTo>
                      <a:pt x="69" y="141"/>
                      <a:pt x="69" y="142"/>
                      <a:pt x="66" y="141"/>
                    </a:cubicBezTo>
                    <a:cubicBezTo>
                      <a:pt x="63" y="141"/>
                      <a:pt x="61" y="140"/>
                      <a:pt x="61" y="140"/>
                    </a:cubicBezTo>
                    <a:cubicBezTo>
                      <a:pt x="58" y="137"/>
                      <a:pt x="58" y="137"/>
                      <a:pt x="58" y="137"/>
                    </a:cubicBezTo>
                    <a:cubicBezTo>
                      <a:pt x="58" y="137"/>
                      <a:pt x="57" y="136"/>
                      <a:pt x="59" y="134"/>
                    </a:cubicBezTo>
                    <a:cubicBezTo>
                      <a:pt x="60" y="132"/>
                      <a:pt x="63" y="133"/>
                      <a:pt x="63" y="133"/>
                    </a:cubicBezTo>
                    <a:cubicBezTo>
                      <a:pt x="63" y="133"/>
                      <a:pt x="64" y="135"/>
                      <a:pt x="65" y="133"/>
                    </a:cubicBezTo>
                    <a:cubicBezTo>
                      <a:pt x="66" y="131"/>
                      <a:pt x="66" y="129"/>
                      <a:pt x="67" y="130"/>
                    </a:cubicBezTo>
                    <a:cubicBezTo>
                      <a:pt x="68" y="131"/>
                      <a:pt x="69" y="132"/>
                      <a:pt x="69" y="132"/>
                    </a:cubicBezTo>
                    <a:close/>
                    <a:moveTo>
                      <a:pt x="77" y="121"/>
                    </a:moveTo>
                    <a:cubicBezTo>
                      <a:pt x="77" y="121"/>
                      <a:pt x="77" y="121"/>
                      <a:pt x="77" y="121"/>
                    </a:cubicBezTo>
                    <a:cubicBezTo>
                      <a:pt x="76" y="120"/>
                      <a:pt x="76" y="118"/>
                      <a:pt x="76" y="118"/>
                    </a:cubicBezTo>
                    <a:cubicBezTo>
                      <a:pt x="77" y="116"/>
                      <a:pt x="77" y="116"/>
                      <a:pt x="77" y="116"/>
                    </a:cubicBezTo>
                    <a:cubicBezTo>
                      <a:pt x="77" y="116"/>
                      <a:pt x="75" y="114"/>
                      <a:pt x="75" y="113"/>
                    </a:cubicBezTo>
                    <a:cubicBezTo>
                      <a:pt x="75" y="112"/>
                      <a:pt x="75" y="110"/>
                      <a:pt x="77" y="109"/>
                    </a:cubicBezTo>
                    <a:cubicBezTo>
                      <a:pt x="78" y="108"/>
                      <a:pt x="79" y="106"/>
                      <a:pt x="80" y="106"/>
                    </a:cubicBezTo>
                    <a:cubicBezTo>
                      <a:pt x="80" y="107"/>
                      <a:pt x="80" y="107"/>
                      <a:pt x="81" y="109"/>
                    </a:cubicBezTo>
                    <a:cubicBezTo>
                      <a:pt x="82" y="110"/>
                      <a:pt x="82" y="112"/>
                      <a:pt x="83" y="111"/>
                    </a:cubicBezTo>
                    <a:cubicBezTo>
                      <a:pt x="84" y="110"/>
                      <a:pt x="84" y="109"/>
                      <a:pt x="85" y="108"/>
                    </a:cubicBezTo>
                    <a:cubicBezTo>
                      <a:pt x="86" y="107"/>
                      <a:pt x="87" y="104"/>
                      <a:pt x="87" y="104"/>
                    </a:cubicBezTo>
                    <a:cubicBezTo>
                      <a:pt x="87" y="104"/>
                      <a:pt x="89" y="105"/>
                      <a:pt x="90" y="104"/>
                    </a:cubicBezTo>
                    <a:cubicBezTo>
                      <a:pt x="92" y="103"/>
                      <a:pt x="90" y="103"/>
                      <a:pt x="93" y="102"/>
                    </a:cubicBezTo>
                    <a:cubicBezTo>
                      <a:pt x="96" y="102"/>
                      <a:pt x="97" y="102"/>
                      <a:pt x="98" y="100"/>
                    </a:cubicBezTo>
                    <a:cubicBezTo>
                      <a:pt x="99" y="99"/>
                      <a:pt x="99" y="100"/>
                      <a:pt x="100" y="99"/>
                    </a:cubicBezTo>
                    <a:cubicBezTo>
                      <a:pt x="101" y="98"/>
                      <a:pt x="102" y="97"/>
                      <a:pt x="103" y="97"/>
                    </a:cubicBezTo>
                    <a:cubicBezTo>
                      <a:pt x="104" y="98"/>
                      <a:pt x="105" y="99"/>
                      <a:pt x="105" y="100"/>
                    </a:cubicBezTo>
                    <a:cubicBezTo>
                      <a:pt x="105" y="101"/>
                      <a:pt x="106" y="103"/>
                      <a:pt x="105" y="104"/>
                    </a:cubicBezTo>
                    <a:cubicBezTo>
                      <a:pt x="104" y="105"/>
                      <a:pt x="104" y="106"/>
                      <a:pt x="103" y="106"/>
                    </a:cubicBezTo>
                    <a:cubicBezTo>
                      <a:pt x="102" y="107"/>
                      <a:pt x="99" y="109"/>
                      <a:pt x="99" y="109"/>
                    </a:cubicBezTo>
                    <a:cubicBezTo>
                      <a:pt x="99" y="109"/>
                      <a:pt x="99" y="111"/>
                      <a:pt x="100" y="111"/>
                    </a:cubicBezTo>
                    <a:cubicBezTo>
                      <a:pt x="101" y="111"/>
                      <a:pt x="103" y="108"/>
                      <a:pt x="103" y="110"/>
                    </a:cubicBezTo>
                    <a:cubicBezTo>
                      <a:pt x="102" y="112"/>
                      <a:pt x="105" y="113"/>
                      <a:pt x="102" y="114"/>
                    </a:cubicBezTo>
                    <a:cubicBezTo>
                      <a:pt x="100" y="114"/>
                      <a:pt x="98" y="113"/>
                      <a:pt x="98" y="113"/>
                    </a:cubicBezTo>
                    <a:cubicBezTo>
                      <a:pt x="96" y="116"/>
                      <a:pt x="96" y="116"/>
                      <a:pt x="96" y="116"/>
                    </a:cubicBezTo>
                    <a:cubicBezTo>
                      <a:pt x="96" y="116"/>
                      <a:pt x="94" y="115"/>
                      <a:pt x="94" y="116"/>
                    </a:cubicBezTo>
                    <a:cubicBezTo>
                      <a:pt x="94" y="117"/>
                      <a:pt x="95" y="119"/>
                      <a:pt x="95" y="119"/>
                    </a:cubicBezTo>
                    <a:cubicBezTo>
                      <a:pt x="93" y="121"/>
                      <a:pt x="93" y="121"/>
                      <a:pt x="93" y="121"/>
                    </a:cubicBezTo>
                    <a:cubicBezTo>
                      <a:pt x="93" y="121"/>
                      <a:pt x="90" y="120"/>
                      <a:pt x="90" y="121"/>
                    </a:cubicBezTo>
                    <a:cubicBezTo>
                      <a:pt x="91" y="122"/>
                      <a:pt x="92" y="124"/>
                      <a:pt x="92" y="124"/>
                    </a:cubicBezTo>
                    <a:cubicBezTo>
                      <a:pt x="92" y="124"/>
                      <a:pt x="92" y="126"/>
                      <a:pt x="90" y="126"/>
                    </a:cubicBezTo>
                    <a:cubicBezTo>
                      <a:pt x="88" y="126"/>
                      <a:pt x="86" y="126"/>
                      <a:pt x="85" y="126"/>
                    </a:cubicBezTo>
                    <a:cubicBezTo>
                      <a:pt x="84" y="125"/>
                      <a:pt x="84" y="125"/>
                      <a:pt x="84" y="125"/>
                    </a:cubicBezTo>
                    <a:cubicBezTo>
                      <a:pt x="83" y="128"/>
                      <a:pt x="83" y="128"/>
                      <a:pt x="83" y="128"/>
                    </a:cubicBezTo>
                    <a:cubicBezTo>
                      <a:pt x="83" y="128"/>
                      <a:pt x="84" y="129"/>
                      <a:pt x="83" y="130"/>
                    </a:cubicBezTo>
                    <a:cubicBezTo>
                      <a:pt x="82" y="131"/>
                      <a:pt x="79" y="131"/>
                      <a:pt x="79" y="131"/>
                    </a:cubicBezTo>
                    <a:cubicBezTo>
                      <a:pt x="79" y="131"/>
                      <a:pt x="78" y="131"/>
                      <a:pt x="78" y="131"/>
                    </a:cubicBezTo>
                    <a:cubicBezTo>
                      <a:pt x="78" y="132"/>
                      <a:pt x="77" y="134"/>
                      <a:pt x="76" y="134"/>
                    </a:cubicBezTo>
                    <a:cubicBezTo>
                      <a:pt x="75" y="133"/>
                      <a:pt x="73" y="132"/>
                      <a:pt x="72" y="131"/>
                    </a:cubicBezTo>
                    <a:cubicBezTo>
                      <a:pt x="72" y="130"/>
                      <a:pt x="71" y="126"/>
                      <a:pt x="73" y="127"/>
                    </a:cubicBezTo>
                    <a:cubicBezTo>
                      <a:pt x="75" y="127"/>
                      <a:pt x="77" y="128"/>
                      <a:pt x="77" y="126"/>
                    </a:cubicBezTo>
                    <a:cubicBezTo>
                      <a:pt x="77" y="124"/>
                      <a:pt x="76" y="123"/>
                      <a:pt x="76" y="123"/>
                    </a:cubicBezTo>
                    <a:cubicBezTo>
                      <a:pt x="77" y="121"/>
                      <a:pt x="77" y="121"/>
                      <a:pt x="77" y="121"/>
                    </a:cubicBezTo>
                    <a:close/>
                    <a:moveTo>
                      <a:pt x="267" y="15"/>
                    </a:moveTo>
                    <a:cubicBezTo>
                      <a:pt x="267" y="15"/>
                      <a:pt x="267" y="15"/>
                      <a:pt x="267" y="15"/>
                    </a:cubicBezTo>
                    <a:cubicBezTo>
                      <a:pt x="268" y="15"/>
                      <a:pt x="271" y="16"/>
                      <a:pt x="271" y="15"/>
                    </a:cubicBezTo>
                    <a:cubicBezTo>
                      <a:pt x="271" y="15"/>
                      <a:pt x="272" y="13"/>
                      <a:pt x="272" y="13"/>
                    </a:cubicBezTo>
                    <a:cubicBezTo>
                      <a:pt x="271" y="12"/>
                      <a:pt x="270" y="11"/>
                      <a:pt x="269" y="12"/>
                    </a:cubicBezTo>
                    <a:cubicBezTo>
                      <a:pt x="268" y="12"/>
                      <a:pt x="267" y="13"/>
                      <a:pt x="267" y="13"/>
                    </a:cubicBezTo>
                    <a:cubicBezTo>
                      <a:pt x="267" y="14"/>
                      <a:pt x="267" y="15"/>
                      <a:pt x="267" y="15"/>
                    </a:cubicBezTo>
                    <a:close/>
                    <a:moveTo>
                      <a:pt x="235" y="32"/>
                    </a:moveTo>
                    <a:cubicBezTo>
                      <a:pt x="235" y="32"/>
                      <a:pt x="235" y="32"/>
                      <a:pt x="235" y="32"/>
                    </a:cubicBezTo>
                    <a:cubicBezTo>
                      <a:pt x="236" y="32"/>
                      <a:pt x="237" y="30"/>
                      <a:pt x="237" y="31"/>
                    </a:cubicBezTo>
                    <a:cubicBezTo>
                      <a:pt x="237" y="33"/>
                      <a:pt x="238" y="33"/>
                      <a:pt x="237" y="34"/>
                    </a:cubicBezTo>
                    <a:cubicBezTo>
                      <a:pt x="236" y="34"/>
                      <a:pt x="234" y="36"/>
                      <a:pt x="233" y="35"/>
                    </a:cubicBezTo>
                    <a:cubicBezTo>
                      <a:pt x="233" y="35"/>
                      <a:pt x="234" y="31"/>
                      <a:pt x="234" y="31"/>
                    </a:cubicBezTo>
                    <a:cubicBezTo>
                      <a:pt x="235" y="32"/>
                      <a:pt x="235" y="32"/>
                      <a:pt x="235" y="32"/>
                    </a:cubicBezTo>
                    <a:close/>
                    <a:moveTo>
                      <a:pt x="254" y="34"/>
                    </a:moveTo>
                    <a:cubicBezTo>
                      <a:pt x="254" y="34"/>
                      <a:pt x="254" y="34"/>
                      <a:pt x="254" y="34"/>
                    </a:cubicBezTo>
                    <a:cubicBezTo>
                      <a:pt x="254" y="34"/>
                      <a:pt x="254" y="35"/>
                      <a:pt x="252" y="34"/>
                    </a:cubicBezTo>
                    <a:cubicBezTo>
                      <a:pt x="249" y="34"/>
                      <a:pt x="248" y="35"/>
                      <a:pt x="248" y="33"/>
                    </a:cubicBezTo>
                    <a:cubicBezTo>
                      <a:pt x="248" y="32"/>
                      <a:pt x="249" y="31"/>
                      <a:pt x="247" y="30"/>
                    </a:cubicBezTo>
                    <a:cubicBezTo>
                      <a:pt x="245" y="30"/>
                      <a:pt x="245" y="30"/>
                      <a:pt x="245" y="30"/>
                    </a:cubicBezTo>
                    <a:cubicBezTo>
                      <a:pt x="245" y="30"/>
                      <a:pt x="244" y="28"/>
                      <a:pt x="245" y="27"/>
                    </a:cubicBezTo>
                    <a:cubicBezTo>
                      <a:pt x="247" y="25"/>
                      <a:pt x="247" y="26"/>
                      <a:pt x="248" y="26"/>
                    </a:cubicBezTo>
                    <a:cubicBezTo>
                      <a:pt x="250" y="26"/>
                      <a:pt x="249" y="26"/>
                      <a:pt x="251" y="27"/>
                    </a:cubicBezTo>
                    <a:cubicBezTo>
                      <a:pt x="253" y="27"/>
                      <a:pt x="254" y="28"/>
                      <a:pt x="254" y="26"/>
                    </a:cubicBezTo>
                    <a:cubicBezTo>
                      <a:pt x="254" y="25"/>
                      <a:pt x="255" y="25"/>
                      <a:pt x="253" y="23"/>
                    </a:cubicBezTo>
                    <a:cubicBezTo>
                      <a:pt x="252" y="21"/>
                      <a:pt x="252" y="22"/>
                      <a:pt x="251" y="21"/>
                    </a:cubicBezTo>
                    <a:cubicBezTo>
                      <a:pt x="250" y="19"/>
                      <a:pt x="248" y="17"/>
                      <a:pt x="249" y="16"/>
                    </a:cubicBezTo>
                    <a:cubicBezTo>
                      <a:pt x="249" y="15"/>
                      <a:pt x="248" y="15"/>
                      <a:pt x="250" y="13"/>
                    </a:cubicBezTo>
                    <a:cubicBezTo>
                      <a:pt x="253" y="12"/>
                      <a:pt x="255" y="10"/>
                      <a:pt x="256" y="10"/>
                    </a:cubicBezTo>
                    <a:cubicBezTo>
                      <a:pt x="257" y="10"/>
                      <a:pt x="258" y="10"/>
                      <a:pt x="258" y="11"/>
                    </a:cubicBezTo>
                    <a:cubicBezTo>
                      <a:pt x="258" y="13"/>
                      <a:pt x="258" y="14"/>
                      <a:pt x="257" y="15"/>
                    </a:cubicBezTo>
                    <a:cubicBezTo>
                      <a:pt x="256" y="15"/>
                      <a:pt x="256" y="16"/>
                      <a:pt x="256" y="16"/>
                    </a:cubicBezTo>
                    <a:cubicBezTo>
                      <a:pt x="256" y="16"/>
                      <a:pt x="255" y="19"/>
                      <a:pt x="257" y="19"/>
                    </a:cubicBezTo>
                    <a:cubicBezTo>
                      <a:pt x="259" y="18"/>
                      <a:pt x="260" y="16"/>
                      <a:pt x="260" y="15"/>
                    </a:cubicBezTo>
                    <a:cubicBezTo>
                      <a:pt x="261" y="14"/>
                      <a:pt x="262" y="15"/>
                      <a:pt x="261" y="13"/>
                    </a:cubicBezTo>
                    <a:cubicBezTo>
                      <a:pt x="261" y="11"/>
                      <a:pt x="260" y="10"/>
                      <a:pt x="261" y="10"/>
                    </a:cubicBezTo>
                    <a:cubicBezTo>
                      <a:pt x="262" y="10"/>
                      <a:pt x="263" y="12"/>
                      <a:pt x="264" y="10"/>
                    </a:cubicBezTo>
                    <a:cubicBezTo>
                      <a:pt x="266" y="7"/>
                      <a:pt x="266" y="6"/>
                      <a:pt x="266" y="6"/>
                    </a:cubicBezTo>
                    <a:cubicBezTo>
                      <a:pt x="266" y="6"/>
                      <a:pt x="265" y="6"/>
                      <a:pt x="267" y="5"/>
                    </a:cubicBezTo>
                    <a:cubicBezTo>
                      <a:pt x="269" y="4"/>
                      <a:pt x="268" y="3"/>
                      <a:pt x="269" y="2"/>
                    </a:cubicBezTo>
                    <a:cubicBezTo>
                      <a:pt x="270" y="1"/>
                      <a:pt x="268" y="0"/>
                      <a:pt x="271" y="0"/>
                    </a:cubicBezTo>
                    <a:cubicBezTo>
                      <a:pt x="273" y="1"/>
                      <a:pt x="273" y="1"/>
                      <a:pt x="274" y="2"/>
                    </a:cubicBezTo>
                    <a:cubicBezTo>
                      <a:pt x="275" y="2"/>
                      <a:pt x="273" y="6"/>
                      <a:pt x="272" y="6"/>
                    </a:cubicBezTo>
                    <a:cubicBezTo>
                      <a:pt x="271" y="6"/>
                      <a:pt x="271" y="5"/>
                      <a:pt x="269" y="6"/>
                    </a:cubicBezTo>
                    <a:cubicBezTo>
                      <a:pt x="268" y="7"/>
                      <a:pt x="270" y="9"/>
                      <a:pt x="269" y="10"/>
                    </a:cubicBezTo>
                    <a:cubicBezTo>
                      <a:pt x="268" y="11"/>
                      <a:pt x="267" y="10"/>
                      <a:pt x="266" y="11"/>
                    </a:cubicBezTo>
                    <a:cubicBezTo>
                      <a:pt x="265" y="12"/>
                      <a:pt x="265" y="12"/>
                      <a:pt x="265" y="13"/>
                    </a:cubicBezTo>
                    <a:cubicBezTo>
                      <a:pt x="265" y="14"/>
                      <a:pt x="264" y="15"/>
                      <a:pt x="263" y="16"/>
                    </a:cubicBezTo>
                    <a:cubicBezTo>
                      <a:pt x="263" y="16"/>
                      <a:pt x="260" y="14"/>
                      <a:pt x="263" y="16"/>
                    </a:cubicBezTo>
                    <a:cubicBezTo>
                      <a:pt x="266" y="18"/>
                      <a:pt x="267" y="18"/>
                      <a:pt x="266" y="19"/>
                    </a:cubicBezTo>
                    <a:cubicBezTo>
                      <a:pt x="265" y="19"/>
                      <a:pt x="263" y="19"/>
                      <a:pt x="262" y="20"/>
                    </a:cubicBezTo>
                    <a:cubicBezTo>
                      <a:pt x="261" y="20"/>
                      <a:pt x="260" y="21"/>
                      <a:pt x="262" y="22"/>
                    </a:cubicBezTo>
                    <a:cubicBezTo>
                      <a:pt x="264" y="23"/>
                      <a:pt x="263" y="23"/>
                      <a:pt x="264" y="23"/>
                    </a:cubicBezTo>
                    <a:cubicBezTo>
                      <a:pt x="265" y="22"/>
                      <a:pt x="270" y="22"/>
                      <a:pt x="270" y="23"/>
                    </a:cubicBezTo>
                    <a:cubicBezTo>
                      <a:pt x="269" y="25"/>
                      <a:pt x="270" y="25"/>
                      <a:pt x="268" y="26"/>
                    </a:cubicBezTo>
                    <a:cubicBezTo>
                      <a:pt x="265" y="27"/>
                      <a:pt x="263" y="26"/>
                      <a:pt x="262" y="25"/>
                    </a:cubicBezTo>
                    <a:cubicBezTo>
                      <a:pt x="261" y="25"/>
                      <a:pt x="261" y="23"/>
                      <a:pt x="261" y="26"/>
                    </a:cubicBezTo>
                    <a:cubicBezTo>
                      <a:pt x="262" y="29"/>
                      <a:pt x="264" y="29"/>
                      <a:pt x="263" y="29"/>
                    </a:cubicBezTo>
                    <a:cubicBezTo>
                      <a:pt x="261" y="29"/>
                      <a:pt x="259" y="29"/>
                      <a:pt x="259" y="29"/>
                    </a:cubicBezTo>
                    <a:cubicBezTo>
                      <a:pt x="259" y="29"/>
                      <a:pt x="258" y="27"/>
                      <a:pt x="259" y="30"/>
                    </a:cubicBezTo>
                    <a:cubicBezTo>
                      <a:pt x="260" y="33"/>
                      <a:pt x="260" y="33"/>
                      <a:pt x="260" y="33"/>
                    </a:cubicBezTo>
                    <a:cubicBezTo>
                      <a:pt x="260" y="33"/>
                      <a:pt x="258" y="34"/>
                      <a:pt x="258" y="34"/>
                    </a:cubicBezTo>
                    <a:cubicBezTo>
                      <a:pt x="258" y="35"/>
                      <a:pt x="259" y="37"/>
                      <a:pt x="260" y="38"/>
                    </a:cubicBezTo>
                    <a:cubicBezTo>
                      <a:pt x="260" y="38"/>
                      <a:pt x="259" y="42"/>
                      <a:pt x="258" y="42"/>
                    </a:cubicBezTo>
                    <a:cubicBezTo>
                      <a:pt x="258" y="42"/>
                      <a:pt x="258" y="43"/>
                      <a:pt x="257" y="44"/>
                    </a:cubicBezTo>
                    <a:cubicBezTo>
                      <a:pt x="256" y="45"/>
                      <a:pt x="255" y="46"/>
                      <a:pt x="255" y="46"/>
                    </a:cubicBezTo>
                    <a:cubicBezTo>
                      <a:pt x="253" y="52"/>
                      <a:pt x="253" y="52"/>
                      <a:pt x="253" y="52"/>
                    </a:cubicBezTo>
                    <a:cubicBezTo>
                      <a:pt x="253" y="52"/>
                      <a:pt x="252" y="54"/>
                      <a:pt x="251" y="52"/>
                    </a:cubicBezTo>
                    <a:cubicBezTo>
                      <a:pt x="251" y="50"/>
                      <a:pt x="250" y="50"/>
                      <a:pt x="251" y="49"/>
                    </a:cubicBezTo>
                    <a:cubicBezTo>
                      <a:pt x="252" y="49"/>
                      <a:pt x="252" y="47"/>
                      <a:pt x="253" y="46"/>
                    </a:cubicBezTo>
                    <a:cubicBezTo>
                      <a:pt x="253" y="45"/>
                      <a:pt x="254" y="41"/>
                      <a:pt x="254" y="41"/>
                    </a:cubicBezTo>
                    <a:cubicBezTo>
                      <a:pt x="254" y="41"/>
                      <a:pt x="256" y="41"/>
                      <a:pt x="257" y="40"/>
                    </a:cubicBezTo>
                    <a:cubicBezTo>
                      <a:pt x="257" y="40"/>
                      <a:pt x="255" y="36"/>
                      <a:pt x="255" y="36"/>
                    </a:cubicBezTo>
                    <a:cubicBezTo>
                      <a:pt x="256" y="34"/>
                      <a:pt x="256" y="34"/>
                      <a:pt x="256" y="34"/>
                    </a:cubicBezTo>
                    <a:cubicBezTo>
                      <a:pt x="254" y="34"/>
                      <a:pt x="254" y="34"/>
                      <a:pt x="254" y="34"/>
                    </a:cubicBezTo>
                    <a:close/>
                    <a:moveTo>
                      <a:pt x="239" y="67"/>
                    </a:moveTo>
                    <a:cubicBezTo>
                      <a:pt x="239" y="67"/>
                      <a:pt x="239" y="67"/>
                      <a:pt x="239" y="67"/>
                    </a:cubicBezTo>
                    <a:cubicBezTo>
                      <a:pt x="239" y="67"/>
                      <a:pt x="242" y="63"/>
                      <a:pt x="243" y="64"/>
                    </a:cubicBezTo>
                    <a:cubicBezTo>
                      <a:pt x="243" y="64"/>
                      <a:pt x="243" y="65"/>
                      <a:pt x="243" y="66"/>
                    </a:cubicBezTo>
                    <a:cubicBezTo>
                      <a:pt x="243" y="66"/>
                      <a:pt x="244" y="68"/>
                      <a:pt x="243" y="68"/>
                    </a:cubicBezTo>
                    <a:cubicBezTo>
                      <a:pt x="242" y="68"/>
                      <a:pt x="241" y="68"/>
                      <a:pt x="240" y="68"/>
                    </a:cubicBezTo>
                    <a:cubicBezTo>
                      <a:pt x="240" y="68"/>
                      <a:pt x="239" y="67"/>
                      <a:pt x="239" y="67"/>
                    </a:cubicBezTo>
                    <a:close/>
                    <a:moveTo>
                      <a:pt x="196" y="98"/>
                    </a:moveTo>
                    <a:cubicBezTo>
                      <a:pt x="196" y="98"/>
                      <a:pt x="196" y="98"/>
                      <a:pt x="196" y="98"/>
                    </a:cubicBezTo>
                    <a:cubicBezTo>
                      <a:pt x="198" y="96"/>
                      <a:pt x="198" y="96"/>
                      <a:pt x="198" y="96"/>
                    </a:cubicBezTo>
                    <a:cubicBezTo>
                      <a:pt x="201" y="97"/>
                      <a:pt x="201" y="97"/>
                      <a:pt x="201" y="97"/>
                    </a:cubicBezTo>
                    <a:cubicBezTo>
                      <a:pt x="201" y="97"/>
                      <a:pt x="202" y="95"/>
                      <a:pt x="202" y="97"/>
                    </a:cubicBezTo>
                    <a:cubicBezTo>
                      <a:pt x="201" y="99"/>
                      <a:pt x="199" y="102"/>
                      <a:pt x="199" y="102"/>
                    </a:cubicBezTo>
                    <a:cubicBezTo>
                      <a:pt x="199" y="102"/>
                      <a:pt x="200" y="102"/>
                      <a:pt x="198" y="103"/>
                    </a:cubicBezTo>
                    <a:cubicBezTo>
                      <a:pt x="196" y="104"/>
                      <a:pt x="196" y="105"/>
                      <a:pt x="195" y="103"/>
                    </a:cubicBezTo>
                    <a:cubicBezTo>
                      <a:pt x="194" y="102"/>
                      <a:pt x="193" y="102"/>
                      <a:pt x="193" y="101"/>
                    </a:cubicBezTo>
                    <a:cubicBezTo>
                      <a:pt x="194" y="100"/>
                      <a:pt x="194" y="98"/>
                      <a:pt x="194" y="98"/>
                    </a:cubicBezTo>
                    <a:cubicBezTo>
                      <a:pt x="196" y="98"/>
                      <a:pt x="196" y="98"/>
                      <a:pt x="196" y="98"/>
                    </a:cubicBezTo>
                    <a:close/>
                    <a:moveTo>
                      <a:pt x="217" y="72"/>
                    </a:moveTo>
                    <a:cubicBezTo>
                      <a:pt x="217" y="72"/>
                      <a:pt x="217" y="72"/>
                      <a:pt x="217" y="72"/>
                    </a:cubicBezTo>
                    <a:cubicBezTo>
                      <a:pt x="217" y="72"/>
                      <a:pt x="218" y="70"/>
                      <a:pt x="219" y="70"/>
                    </a:cubicBezTo>
                    <a:cubicBezTo>
                      <a:pt x="220" y="71"/>
                      <a:pt x="221" y="71"/>
                      <a:pt x="221" y="72"/>
                    </a:cubicBezTo>
                    <a:cubicBezTo>
                      <a:pt x="220" y="73"/>
                      <a:pt x="219" y="74"/>
                      <a:pt x="218" y="74"/>
                    </a:cubicBezTo>
                    <a:cubicBezTo>
                      <a:pt x="217" y="74"/>
                      <a:pt x="217" y="72"/>
                      <a:pt x="217" y="72"/>
                    </a:cubicBezTo>
                    <a:close/>
                    <a:moveTo>
                      <a:pt x="213" y="77"/>
                    </a:moveTo>
                    <a:cubicBezTo>
                      <a:pt x="213" y="77"/>
                      <a:pt x="213" y="77"/>
                      <a:pt x="213" y="77"/>
                    </a:cubicBezTo>
                    <a:cubicBezTo>
                      <a:pt x="213" y="77"/>
                      <a:pt x="215" y="75"/>
                      <a:pt x="216" y="76"/>
                    </a:cubicBezTo>
                    <a:cubicBezTo>
                      <a:pt x="216" y="76"/>
                      <a:pt x="217" y="76"/>
                      <a:pt x="216" y="77"/>
                    </a:cubicBezTo>
                    <a:cubicBezTo>
                      <a:pt x="216" y="78"/>
                      <a:pt x="218" y="77"/>
                      <a:pt x="215" y="78"/>
                    </a:cubicBezTo>
                    <a:cubicBezTo>
                      <a:pt x="213" y="80"/>
                      <a:pt x="214" y="81"/>
                      <a:pt x="212" y="80"/>
                    </a:cubicBezTo>
                    <a:cubicBezTo>
                      <a:pt x="211" y="79"/>
                      <a:pt x="211" y="78"/>
                      <a:pt x="211" y="77"/>
                    </a:cubicBezTo>
                    <a:cubicBezTo>
                      <a:pt x="211" y="77"/>
                      <a:pt x="212" y="75"/>
                      <a:pt x="212" y="75"/>
                    </a:cubicBezTo>
                    <a:cubicBezTo>
                      <a:pt x="213" y="76"/>
                      <a:pt x="213" y="77"/>
                      <a:pt x="213" y="77"/>
                    </a:cubicBezTo>
                    <a:close/>
                    <a:moveTo>
                      <a:pt x="205" y="80"/>
                    </a:moveTo>
                    <a:cubicBezTo>
                      <a:pt x="205" y="80"/>
                      <a:pt x="205" y="80"/>
                      <a:pt x="205" y="80"/>
                    </a:cubicBezTo>
                    <a:cubicBezTo>
                      <a:pt x="205" y="80"/>
                      <a:pt x="207" y="81"/>
                      <a:pt x="207" y="81"/>
                    </a:cubicBezTo>
                    <a:cubicBezTo>
                      <a:pt x="208" y="82"/>
                      <a:pt x="208" y="81"/>
                      <a:pt x="209" y="80"/>
                    </a:cubicBezTo>
                    <a:cubicBezTo>
                      <a:pt x="211" y="80"/>
                      <a:pt x="209" y="80"/>
                      <a:pt x="210" y="79"/>
                    </a:cubicBezTo>
                    <a:cubicBezTo>
                      <a:pt x="211" y="77"/>
                      <a:pt x="210" y="78"/>
                      <a:pt x="210" y="77"/>
                    </a:cubicBezTo>
                    <a:cubicBezTo>
                      <a:pt x="209" y="77"/>
                      <a:pt x="209" y="77"/>
                      <a:pt x="208" y="77"/>
                    </a:cubicBezTo>
                    <a:cubicBezTo>
                      <a:pt x="206" y="77"/>
                      <a:pt x="205" y="80"/>
                      <a:pt x="205" y="80"/>
                    </a:cubicBezTo>
                    <a:close/>
                    <a:moveTo>
                      <a:pt x="209" y="86"/>
                    </a:moveTo>
                    <a:cubicBezTo>
                      <a:pt x="209" y="86"/>
                      <a:pt x="209" y="86"/>
                      <a:pt x="209" y="86"/>
                    </a:cubicBezTo>
                    <a:cubicBezTo>
                      <a:pt x="209" y="86"/>
                      <a:pt x="210" y="83"/>
                      <a:pt x="211" y="83"/>
                    </a:cubicBezTo>
                    <a:cubicBezTo>
                      <a:pt x="212" y="84"/>
                      <a:pt x="212" y="83"/>
                      <a:pt x="212" y="84"/>
                    </a:cubicBezTo>
                    <a:cubicBezTo>
                      <a:pt x="212" y="85"/>
                      <a:pt x="212" y="87"/>
                      <a:pt x="211" y="87"/>
                    </a:cubicBezTo>
                    <a:cubicBezTo>
                      <a:pt x="210" y="87"/>
                      <a:pt x="209" y="86"/>
                      <a:pt x="209" y="86"/>
                    </a:cubicBezTo>
                    <a:close/>
                    <a:moveTo>
                      <a:pt x="201" y="86"/>
                    </a:moveTo>
                    <a:cubicBezTo>
                      <a:pt x="201" y="86"/>
                      <a:pt x="201" y="86"/>
                      <a:pt x="201" y="86"/>
                    </a:cubicBezTo>
                    <a:cubicBezTo>
                      <a:pt x="202" y="84"/>
                      <a:pt x="202" y="84"/>
                      <a:pt x="202" y="84"/>
                    </a:cubicBezTo>
                    <a:cubicBezTo>
                      <a:pt x="204" y="85"/>
                      <a:pt x="204" y="85"/>
                      <a:pt x="204" y="85"/>
                    </a:cubicBezTo>
                    <a:cubicBezTo>
                      <a:pt x="204" y="85"/>
                      <a:pt x="205" y="86"/>
                      <a:pt x="204" y="86"/>
                    </a:cubicBezTo>
                    <a:cubicBezTo>
                      <a:pt x="204" y="87"/>
                      <a:pt x="203" y="87"/>
                      <a:pt x="203" y="88"/>
                    </a:cubicBezTo>
                    <a:cubicBezTo>
                      <a:pt x="202" y="88"/>
                      <a:pt x="201" y="87"/>
                      <a:pt x="201" y="87"/>
                    </a:cubicBezTo>
                    <a:cubicBezTo>
                      <a:pt x="201" y="86"/>
                      <a:pt x="201" y="86"/>
                      <a:pt x="201" y="86"/>
                    </a:cubicBezTo>
                    <a:close/>
                    <a:moveTo>
                      <a:pt x="201" y="73"/>
                    </a:moveTo>
                    <a:cubicBezTo>
                      <a:pt x="201" y="73"/>
                      <a:pt x="201" y="73"/>
                      <a:pt x="201" y="73"/>
                    </a:cubicBezTo>
                    <a:cubicBezTo>
                      <a:pt x="201" y="73"/>
                      <a:pt x="203" y="70"/>
                      <a:pt x="203" y="70"/>
                    </a:cubicBezTo>
                    <a:cubicBezTo>
                      <a:pt x="204" y="70"/>
                      <a:pt x="205" y="69"/>
                      <a:pt x="205" y="71"/>
                    </a:cubicBezTo>
                    <a:cubicBezTo>
                      <a:pt x="205" y="73"/>
                      <a:pt x="207" y="75"/>
                      <a:pt x="204" y="75"/>
                    </a:cubicBezTo>
                    <a:cubicBezTo>
                      <a:pt x="202" y="75"/>
                      <a:pt x="201" y="76"/>
                      <a:pt x="201" y="75"/>
                    </a:cubicBezTo>
                    <a:cubicBezTo>
                      <a:pt x="200" y="74"/>
                      <a:pt x="201" y="73"/>
                      <a:pt x="201" y="73"/>
                    </a:cubicBezTo>
                    <a:close/>
                    <a:moveTo>
                      <a:pt x="197" y="79"/>
                    </a:moveTo>
                    <a:cubicBezTo>
                      <a:pt x="197" y="79"/>
                      <a:pt x="197" y="79"/>
                      <a:pt x="197" y="79"/>
                    </a:cubicBezTo>
                    <a:cubicBezTo>
                      <a:pt x="197" y="79"/>
                      <a:pt x="199" y="77"/>
                      <a:pt x="200" y="77"/>
                    </a:cubicBezTo>
                    <a:cubicBezTo>
                      <a:pt x="201" y="78"/>
                      <a:pt x="202" y="78"/>
                      <a:pt x="202" y="79"/>
                    </a:cubicBezTo>
                    <a:cubicBezTo>
                      <a:pt x="202" y="80"/>
                      <a:pt x="202" y="80"/>
                      <a:pt x="201" y="81"/>
                    </a:cubicBezTo>
                    <a:cubicBezTo>
                      <a:pt x="201" y="82"/>
                      <a:pt x="200" y="82"/>
                      <a:pt x="199" y="82"/>
                    </a:cubicBezTo>
                    <a:cubicBezTo>
                      <a:pt x="199" y="82"/>
                      <a:pt x="197" y="79"/>
                      <a:pt x="197" y="79"/>
                    </a:cubicBezTo>
                    <a:close/>
                    <a:moveTo>
                      <a:pt x="200" y="91"/>
                    </a:moveTo>
                    <a:cubicBezTo>
                      <a:pt x="200" y="91"/>
                      <a:pt x="200" y="91"/>
                      <a:pt x="200" y="91"/>
                    </a:cubicBezTo>
                    <a:cubicBezTo>
                      <a:pt x="200" y="91"/>
                      <a:pt x="199" y="94"/>
                      <a:pt x="199" y="95"/>
                    </a:cubicBezTo>
                    <a:cubicBezTo>
                      <a:pt x="199" y="96"/>
                      <a:pt x="202" y="96"/>
                      <a:pt x="203" y="95"/>
                    </a:cubicBezTo>
                    <a:cubicBezTo>
                      <a:pt x="203" y="95"/>
                      <a:pt x="204" y="93"/>
                      <a:pt x="204" y="93"/>
                    </a:cubicBezTo>
                    <a:cubicBezTo>
                      <a:pt x="204" y="93"/>
                      <a:pt x="203" y="91"/>
                      <a:pt x="202" y="90"/>
                    </a:cubicBezTo>
                    <a:cubicBezTo>
                      <a:pt x="201" y="89"/>
                      <a:pt x="200" y="91"/>
                      <a:pt x="200" y="91"/>
                    </a:cubicBezTo>
                    <a:close/>
                    <a:moveTo>
                      <a:pt x="191" y="88"/>
                    </a:moveTo>
                    <a:cubicBezTo>
                      <a:pt x="191" y="88"/>
                      <a:pt x="191" y="88"/>
                      <a:pt x="191" y="88"/>
                    </a:cubicBezTo>
                    <a:cubicBezTo>
                      <a:pt x="191" y="91"/>
                      <a:pt x="191" y="91"/>
                      <a:pt x="191" y="91"/>
                    </a:cubicBezTo>
                    <a:cubicBezTo>
                      <a:pt x="191" y="91"/>
                      <a:pt x="193" y="93"/>
                      <a:pt x="194" y="93"/>
                    </a:cubicBezTo>
                    <a:cubicBezTo>
                      <a:pt x="195" y="94"/>
                      <a:pt x="195" y="93"/>
                      <a:pt x="197" y="94"/>
                    </a:cubicBezTo>
                    <a:cubicBezTo>
                      <a:pt x="198" y="94"/>
                      <a:pt x="198" y="93"/>
                      <a:pt x="198" y="93"/>
                    </a:cubicBezTo>
                    <a:cubicBezTo>
                      <a:pt x="199" y="93"/>
                      <a:pt x="199" y="93"/>
                      <a:pt x="199" y="92"/>
                    </a:cubicBezTo>
                    <a:cubicBezTo>
                      <a:pt x="199" y="92"/>
                      <a:pt x="197" y="91"/>
                      <a:pt x="196" y="90"/>
                    </a:cubicBezTo>
                    <a:cubicBezTo>
                      <a:pt x="196" y="89"/>
                      <a:pt x="196" y="89"/>
                      <a:pt x="196" y="88"/>
                    </a:cubicBezTo>
                    <a:cubicBezTo>
                      <a:pt x="196" y="88"/>
                      <a:pt x="197" y="87"/>
                      <a:pt x="198" y="87"/>
                    </a:cubicBezTo>
                    <a:cubicBezTo>
                      <a:pt x="198" y="86"/>
                      <a:pt x="198" y="84"/>
                      <a:pt x="198" y="84"/>
                    </a:cubicBezTo>
                    <a:cubicBezTo>
                      <a:pt x="198" y="84"/>
                      <a:pt x="196" y="84"/>
                      <a:pt x="196" y="83"/>
                    </a:cubicBezTo>
                    <a:cubicBezTo>
                      <a:pt x="196" y="83"/>
                      <a:pt x="195" y="82"/>
                      <a:pt x="194" y="81"/>
                    </a:cubicBezTo>
                    <a:cubicBezTo>
                      <a:pt x="194" y="80"/>
                      <a:pt x="192" y="80"/>
                      <a:pt x="191" y="80"/>
                    </a:cubicBezTo>
                    <a:cubicBezTo>
                      <a:pt x="191" y="80"/>
                      <a:pt x="190" y="83"/>
                      <a:pt x="189" y="84"/>
                    </a:cubicBezTo>
                    <a:cubicBezTo>
                      <a:pt x="189" y="84"/>
                      <a:pt x="188" y="86"/>
                      <a:pt x="188" y="86"/>
                    </a:cubicBezTo>
                    <a:cubicBezTo>
                      <a:pt x="188" y="87"/>
                      <a:pt x="188" y="88"/>
                      <a:pt x="189" y="89"/>
                    </a:cubicBezTo>
                    <a:cubicBezTo>
                      <a:pt x="190" y="89"/>
                      <a:pt x="191" y="88"/>
                      <a:pt x="191" y="88"/>
                    </a:cubicBezTo>
                    <a:close/>
                    <a:moveTo>
                      <a:pt x="188" y="96"/>
                    </a:moveTo>
                    <a:cubicBezTo>
                      <a:pt x="188" y="96"/>
                      <a:pt x="188" y="96"/>
                      <a:pt x="188" y="96"/>
                    </a:cubicBezTo>
                    <a:cubicBezTo>
                      <a:pt x="187" y="96"/>
                      <a:pt x="185" y="94"/>
                      <a:pt x="185" y="94"/>
                    </a:cubicBezTo>
                    <a:cubicBezTo>
                      <a:pt x="185" y="94"/>
                      <a:pt x="187" y="93"/>
                      <a:pt x="187" y="92"/>
                    </a:cubicBezTo>
                    <a:cubicBezTo>
                      <a:pt x="188" y="92"/>
                      <a:pt x="187" y="91"/>
                      <a:pt x="189" y="91"/>
                    </a:cubicBezTo>
                    <a:cubicBezTo>
                      <a:pt x="191" y="92"/>
                      <a:pt x="191" y="93"/>
                      <a:pt x="191" y="93"/>
                    </a:cubicBezTo>
                    <a:cubicBezTo>
                      <a:pt x="191" y="93"/>
                      <a:pt x="192" y="95"/>
                      <a:pt x="192" y="96"/>
                    </a:cubicBezTo>
                    <a:cubicBezTo>
                      <a:pt x="192" y="96"/>
                      <a:pt x="192" y="97"/>
                      <a:pt x="192" y="97"/>
                    </a:cubicBezTo>
                    <a:cubicBezTo>
                      <a:pt x="192" y="98"/>
                      <a:pt x="194" y="99"/>
                      <a:pt x="191" y="99"/>
                    </a:cubicBezTo>
                    <a:cubicBezTo>
                      <a:pt x="189" y="99"/>
                      <a:pt x="189" y="99"/>
                      <a:pt x="189" y="99"/>
                    </a:cubicBezTo>
                    <a:lnTo>
                      <a:pt x="188" y="96"/>
                    </a:lnTo>
                    <a:close/>
                  </a:path>
                </a:pathLst>
              </a:custGeom>
              <a:solidFill>
                <a:srgbClr val="EB6E62"/>
              </a:solidFill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75" name="Freeform 139">
                <a:extLst>
                  <a:ext uri="{FF2B5EF4-FFF2-40B4-BE49-F238E27FC236}">
                    <a16:creationId xmlns:a16="http://schemas.microsoft.com/office/drawing/2014/main" id="{1AD1A44A-C98E-ED27-BEA9-6A1F7995ED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353719" y="3364409"/>
                <a:ext cx="1197152" cy="953850"/>
              </a:xfrm>
              <a:custGeom>
                <a:avLst/>
                <a:gdLst>
                  <a:gd name="T0" fmla="*/ 432 w 534"/>
                  <a:gd name="T1" fmla="*/ 208 h 439"/>
                  <a:gd name="T2" fmla="*/ 350 w 534"/>
                  <a:gd name="T3" fmla="*/ 268 h 439"/>
                  <a:gd name="T4" fmla="*/ 305 w 534"/>
                  <a:gd name="T5" fmla="*/ 368 h 439"/>
                  <a:gd name="T6" fmla="*/ 243 w 534"/>
                  <a:gd name="T7" fmla="*/ 412 h 439"/>
                  <a:gd name="T8" fmla="*/ 174 w 534"/>
                  <a:gd name="T9" fmla="*/ 422 h 439"/>
                  <a:gd name="T10" fmla="*/ 78 w 534"/>
                  <a:gd name="T11" fmla="*/ 433 h 439"/>
                  <a:gd name="T12" fmla="*/ 40 w 534"/>
                  <a:gd name="T13" fmla="*/ 384 h 439"/>
                  <a:gd name="T14" fmla="*/ 1 w 534"/>
                  <a:gd name="T15" fmla="*/ 348 h 439"/>
                  <a:gd name="T16" fmla="*/ 2 w 534"/>
                  <a:gd name="T17" fmla="*/ 334 h 439"/>
                  <a:gd name="T18" fmla="*/ 15 w 534"/>
                  <a:gd name="T19" fmla="*/ 321 h 439"/>
                  <a:gd name="T20" fmla="*/ 26 w 534"/>
                  <a:gd name="T21" fmla="*/ 316 h 439"/>
                  <a:gd name="T22" fmla="*/ 31 w 534"/>
                  <a:gd name="T23" fmla="*/ 307 h 439"/>
                  <a:gd name="T24" fmla="*/ 23 w 534"/>
                  <a:gd name="T25" fmla="*/ 297 h 439"/>
                  <a:gd name="T26" fmla="*/ 21 w 534"/>
                  <a:gd name="T27" fmla="*/ 287 h 439"/>
                  <a:gd name="T28" fmla="*/ 28 w 534"/>
                  <a:gd name="T29" fmla="*/ 275 h 439"/>
                  <a:gd name="T30" fmla="*/ 38 w 534"/>
                  <a:gd name="T31" fmla="*/ 268 h 439"/>
                  <a:gd name="T32" fmla="*/ 40 w 534"/>
                  <a:gd name="T33" fmla="*/ 257 h 439"/>
                  <a:gd name="T34" fmla="*/ 34 w 534"/>
                  <a:gd name="T35" fmla="*/ 251 h 439"/>
                  <a:gd name="T36" fmla="*/ 32 w 534"/>
                  <a:gd name="T37" fmla="*/ 240 h 439"/>
                  <a:gd name="T38" fmla="*/ 29 w 534"/>
                  <a:gd name="T39" fmla="*/ 230 h 439"/>
                  <a:gd name="T40" fmla="*/ 33 w 534"/>
                  <a:gd name="T41" fmla="*/ 225 h 439"/>
                  <a:gd name="T42" fmla="*/ 44 w 534"/>
                  <a:gd name="T43" fmla="*/ 227 h 439"/>
                  <a:gd name="T44" fmla="*/ 51 w 534"/>
                  <a:gd name="T45" fmla="*/ 223 h 439"/>
                  <a:gd name="T46" fmla="*/ 58 w 534"/>
                  <a:gd name="T47" fmla="*/ 213 h 439"/>
                  <a:gd name="T48" fmla="*/ 55 w 534"/>
                  <a:gd name="T49" fmla="*/ 200 h 439"/>
                  <a:gd name="T50" fmla="*/ 65 w 534"/>
                  <a:gd name="T51" fmla="*/ 195 h 439"/>
                  <a:gd name="T52" fmla="*/ 68 w 534"/>
                  <a:gd name="T53" fmla="*/ 182 h 439"/>
                  <a:gd name="T54" fmla="*/ 70 w 534"/>
                  <a:gd name="T55" fmla="*/ 169 h 439"/>
                  <a:gd name="T56" fmla="*/ 70 w 534"/>
                  <a:gd name="T57" fmla="*/ 157 h 439"/>
                  <a:gd name="T58" fmla="*/ 82 w 534"/>
                  <a:gd name="T59" fmla="*/ 149 h 439"/>
                  <a:gd name="T60" fmla="*/ 97 w 534"/>
                  <a:gd name="T61" fmla="*/ 142 h 439"/>
                  <a:gd name="T62" fmla="*/ 105 w 534"/>
                  <a:gd name="T63" fmla="*/ 130 h 439"/>
                  <a:gd name="T64" fmla="*/ 94 w 534"/>
                  <a:gd name="T65" fmla="*/ 122 h 439"/>
                  <a:gd name="T66" fmla="*/ 96 w 534"/>
                  <a:gd name="T67" fmla="*/ 112 h 439"/>
                  <a:gd name="T68" fmla="*/ 87 w 534"/>
                  <a:gd name="T69" fmla="*/ 106 h 439"/>
                  <a:gd name="T70" fmla="*/ 75 w 534"/>
                  <a:gd name="T71" fmla="*/ 103 h 439"/>
                  <a:gd name="T72" fmla="*/ 63 w 534"/>
                  <a:gd name="T73" fmla="*/ 108 h 439"/>
                  <a:gd name="T74" fmla="*/ 54 w 534"/>
                  <a:gd name="T75" fmla="*/ 108 h 439"/>
                  <a:gd name="T76" fmla="*/ 44 w 534"/>
                  <a:gd name="T77" fmla="*/ 102 h 439"/>
                  <a:gd name="T78" fmla="*/ 34 w 534"/>
                  <a:gd name="T79" fmla="*/ 102 h 439"/>
                  <a:gd name="T80" fmla="*/ 33 w 534"/>
                  <a:gd name="T81" fmla="*/ 93 h 439"/>
                  <a:gd name="T82" fmla="*/ 29 w 534"/>
                  <a:gd name="T83" fmla="*/ 84 h 439"/>
                  <a:gd name="T84" fmla="*/ 13 w 534"/>
                  <a:gd name="T85" fmla="*/ 86 h 439"/>
                  <a:gd name="T86" fmla="*/ 6 w 534"/>
                  <a:gd name="T87" fmla="*/ 77 h 439"/>
                  <a:gd name="T88" fmla="*/ 6 w 534"/>
                  <a:gd name="T89" fmla="*/ 41 h 439"/>
                  <a:gd name="T90" fmla="*/ 35 w 534"/>
                  <a:gd name="T91" fmla="*/ 17 h 439"/>
                  <a:gd name="T92" fmla="*/ 130 w 534"/>
                  <a:gd name="T93" fmla="*/ 26 h 439"/>
                  <a:gd name="T94" fmla="*/ 280 w 534"/>
                  <a:gd name="T95" fmla="*/ 72 h 439"/>
                  <a:gd name="T96" fmla="*/ 366 w 534"/>
                  <a:gd name="T97" fmla="*/ 119 h 439"/>
                  <a:gd name="T98" fmla="*/ 424 w 534"/>
                  <a:gd name="T99" fmla="*/ 134 h 439"/>
                  <a:gd name="T100" fmla="*/ 424 w 534"/>
                  <a:gd name="T101" fmla="*/ 138 h 439"/>
                  <a:gd name="T102" fmla="*/ 426 w 534"/>
                  <a:gd name="T103" fmla="*/ 141 h 439"/>
                  <a:gd name="T104" fmla="*/ 456 w 534"/>
                  <a:gd name="T105" fmla="*/ 145 h 439"/>
                  <a:gd name="T106" fmla="*/ 521 w 534"/>
                  <a:gd name="T107" fmla="*/ 289 h 439"/>
                  <a:gd name="T108" fmla="*/ 460 w 534"/>
                  <a:gd name="T109" fmla="*/ 299 h 439"/>
                  <a:gd name="T110" fmla="*/ 478 w 534"/>
                  <a:gd name="T111" fmla="*/ 282 h 439"/>
                  <a:gd name="T112" fmla="*/ 411 w 534"/>
                  <a:gd name="T113" fmla="*/ 326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34" h="439">
                    <a:moveTo>
                      <a:pt x="496" y="159"/>
                    </a:moveTo>
                    <a:cubicBezTo>
                      <a:pt x="493" y="161"/>
                      <a:pt x="492" y="156"/>
                      <a:pt x="490" y="159"/>
                    </a:cubicBezTo>
                    <a:cubicBezTo>
                      <a:pt x="487" y="163"/>
                      <a:pt x="495" y="172"/>
                      <a:pt x="492" y="177"/>
                    </a:cubicBezTo>
                    <a:cubicBezTo>
                      <a:pt x="488" y="182"/>
                      <a:pt x="480" y="189"/>
                      <a:pt x="469" y="191"/>
                    </a:cubicBezTo>
                    <a:cubicBezTo>
                      <a:pt x="464" y="192"/>
                      <a:pt x="460" y="197"/>
                      <a:pt x="456" y="196"/>
                    </a:cubicBezTo>
                    <a:cubicBezTo>
                      <a:pt x="453" y="196"/>
                      <a:pt x="446" y="203"/>
                      <a:pt x="445" y="205"/>
                    </a:cubicBezTo>
                    <a:cubicBezTo>
                      <a:pt x="443" y="208"/>
                      <a:pt x="437" y="205"/>
                      <a:pt x="432" y="208"/>
                    </a:cubicBezTo>
                    <a:cubicBezTo>
                      <a:pt x="425" y="211"/>
                      <a:pt x="429" y="207"/>
                      <a:pt x="404" y="214"/>
                    </a:cubicBezTo>
                    <a:cubicBezTo>
                      <a:pt x="399" y="215"/>
                      <a:pt x="395" y="217"/>
                      <a:pt x="391" y="218"/>
                    </a:cubicBezTo>
                    <a:cubicBezTo>
                      <a:pt x="387" y="220"/>
                      <a:pt x="383" y="219"/>
                      <a:pt x="383" y="227"/>
                    </a:cubicBezTo>
                    <a:cubicBezTo>
                      <a:pt x="384" y="231"/>
                      <a:pt x="389" y="228"/>
                      <a:pt x="388" y="232"/>
                    </a:cubicBezTo>
                    <a:cubicBezTo>
                      <a:pt x="388" y="235"/>
                      <a:pt x="381" y="234"/>
                      <a:pt x="374" y="238"/>
                    </a:cubicBezTo>
                    <a:cubicBezTo>
                      <a:pt x="371" y="240"/>
                      <a:pt x="369" y="247"/>
                      <a:pt x="367" y="249"/>
                    </a:cubicBezTo>
                    <a:cubicBezTo>
                      <a:pt x="357" y="255"/>
                      <a:pt x="350" y="268"/>
                      <a:pt x="350" y="268"/>
                    </a:cubicBezTo>
                    <a:cubicBezTo>
                      <a:pt x="345" y="273"/>
                      <a:pt x="339" y="277"/>
                      <a:pt x="336" y="283"/>
                    </a:cubicBezTo>
                    <a:cubicBezTo>
                      <a:pt x="329" y="296"/>
                      <a:pt x="327" y="289"/>
                      <a:pt x="331" y="305"/>
                    </a:cubicBezTo>
                    <a:cubicBezTo>
                      <a:pt x="332" y="307"/>
                      <a:pt x="332" y="314"/>
                      <a:pt x="335" y="319"/>
                    </a:cubicBezTo>
                    <a:cubicBezTo>
                      <a:pt x="340" y="326"/>
                      <a:pt x="351" y="333"/>
                      <a:pt x="348" y="335"/>
                    </a:cubicBezTo>
                    <a:cubicBezTo>
                      <a:pt x="346" y="336"/>
                      <a:pt x="334" y="344"/>
                      <a:pt x="330" y="344"/>
                    </a:cubicBezTo>
                    <a:cubicBezTo>
                      <a:pt x="324" y="345"/>
                      <a:pt x="321" y="349"/>
                      <a:pt x="313" y="358"/>
                    </a:cubicBezTo>
                    <a:cubicBezTo>
                      <a:pt x="309" y="361"/>
                      <a:pt x="308" y="364"/>
                      <a:pt x="305" y="368"/>
                    </a:cubicBezTo>
                    <a:cubicBezTo>
                      <a:pt x="300" y="374"/>
                      <a:pt x="302" y="373"/>
                      <a:pt x="298" y="380"/>
                    </a:cubicBezTo>
                    <a:cubicBezTo>
                      <a:pt x="297" y="382"/>
                      <a:pt x="298" y="389"/>
                      <a:pt x="298" y="392"/>
                    </a:cubicBezTo>
                    <a:cubicBezTo>
                      <a:pt x="288" y="393"/>
                      <a:pt x="288" y="393"/>
                      <a:pt x="288" y="393"/>
                    </a:cubicBezTo>
                    <a:cubicBezTo>
                      <a:pt x="271" y="388"/>
                      <a:pt x="271" y="388"/>
                      <a:pt x="271" y="388"/>
                    </a:cubicBezTo>
                    <a:cubicBezTo>
                      <a:pt x="261" y="397"/>
                      <a:pt x="261" y="397"/>
                      <a:pt x="261" y="397"/>
                    </a:cubicBezTo>
                    <a:cubicBezTo>
                      <a:pt x="257" y="400"/>
                      <a:pt x="251" y="398"/>
                      <a:pt x="247" y="401"/>
                    </a:cubicBezTo>
                    <a:cubicBezTo>
                      <a:pt x="247" y="401"/>
                      <a:pt x="244" y="410"/>
                      <a:pt x="243" y="412"/>
                    </a:cubicBezTo>
                    <a:cubicBezTo>
                      <a:pt x="243" y="415"/>
                      <a:pt x="236" y="423"/>
                      <a:pt x="236" y="423"/>
                    </a:cubicBezTo>
                    <a:cubicBezTo>
                      <a:pt x="235" y="424"/>
                      <a:pt x="230" y="429"/>
                      <a:pt x="228" y="430"/>
                    </a:cubicBezTo>
                    <a:cubicBezTo>
                      <a:pt x="225" y="431"/>
                      <a:pt x="223" y="423"/>
                      <a:pt x="221" y="423"/>
                    </a:cubicBezTo>
                    <a:cubicBezTo>
                      <a:pt x="217" y="423"/>
                      <a:pt x="217" y="422"/>
                      <a:pt x="213" y="421"/>
                    </a:cubicBezTo>
                    <a:cubicBezTo>
                      <a:pt x="208" y="421"/>
                      <a:pt x="207" y="428"/>
                      <a:pt x="202" y="428"/>
                    </a:cubicBezTo>
                    <a:cubicBezTo>
                      <a:pt x="194" y="427"/>
                      <a:pt x="180" y="419"/>
                      <a:pt x="180" y="419"/>
                    </a:cubicBezTo>
                    <a:cubicBezTo>
                      <a:pt x="177" y="418"/>
                      <a:pt x="177" y="422"/>
                      <a:pt x="174" y="422"/>
                    </a:cubicBezTo>
                    <a:cubicBezTo>
                      <a:pt x="168" y="421"/>
                      <a:pt x="160" y="417"/>
                      <a:pt x="152" y="415"/>
                    </a:cubicBezTo>
                    <a:cubicBezTo>
                      <a:pt x="146" y="414"/>
                      <a:pt x="134" y="412"/>
                      <a:pt x="134" y="412"/>
                    </a:cubicBezTo>
                    <a:cubicBezTo>
                      <a:pt x="131" y="414"/>
                      <a:pt x="128" y="414"/>
                      <a:pt x="125" y="415"/>
                    </a:cubicBezTo>
                    <a:cubicBezTo>
                      <a:pt x="121" y="417"/>
                      <a:pt x="117" y="420"/>
                      <a:pt x="114" y="421"/>
                    </a:cubicBezTo>
                    <a:cubicBezTo>
                      <a:pt x="111" y="422"/>
                      <a:pt x="105" y="417"/>
                      <a:pt x="96" y="422"/>
                    </a:cubicBezTo>
                    <a:cubicBezTo>
                      <a:pt x="93" y="423"/>
                      <a:pt x="89" y="422"/>
                      <a:pt x="87" y="424"/>
                    </a:cubicBezTo>
                    <a:cubicBezTo>
                      <a:pt x="84" y="427"/>
                      <a:pt x="83" y="431"/>
                      <a:pt x="78" y="433"/>
                    </a:cubicBezTo>
                    <a:cubicBezTo>
                      <a:pt x="75" y="434"/>
                      <a:pt x="71" y="438"/>
                      <a:pt x="69" y="439"/>
                    </a:cubicBezTo>
                    <a:cubicBezTo>
                      <a:pt x="64" y="436"/>
                      <a:pt x="57" y="436"/>
                      <a:pt x="55" y="428"/>
                    </a:cubicBezTo>
                    <a:cubicBezTo>
                      <a:pt x="54" y="425"/>
                      <a:pt x="51" y="428"/>
                      <a:pt x="49" y="425"/>
                    </a:cubicBezTo>
                    <a:cubicBezTo>
                      <a:pt x="45" y="421"/>
                      <a:pt x="42" y="412"/>
                      <a:pt x="42" y="408"/>
                    </a:cubicBezTo>
                    <a:cubicBezTo>
                      <a:pt x="42" y="408"/>
                      <a:pt x="45" y="404"/>
                      <a:pt x="42" y="400"/>
                    </a:cubicBezTo>
                    <a:cubicBezTo>
                      <a:pt x="40" y="396"/>
                      <a:pt x="37" y="395"/>
                      <a:pt x="38" y="391"/>
                    </a:cubicBezTo>
                    <a:cubicBezTo>
                      <a:pt x="41" y="391"/>
                      <a:pt x="40" y="384"/>
                      <a:pt x="40" y="384"/>
                    </a:cubicBezTo>
                    <a:cubicBezTo>
                      <a:pt x="40" y="382"/>
                      <a:pt x="33" y="370"/>
                      <a:pt x="31" y="368"/>
                    </a:cubicBezTo>
                    <a:cubicBezTo>
                      <a:pt x="26" y="365"/>
                      <a:pt x="20" y="361"/>
                      <a:pt x="14" y="360"/>
                    </a:cubicBezTo>
                    <a:cubicBezTo>
                      <a:pt x="0" y="358"/>
                      <a:pt x="0" y="358"/>
                      <a:pt x="0" y="358"/>
                    </a:cubicBezTo>
                    <a:cubicBezTo>
                      <a:pt x="0" y="354"/>
                      <a:pt x="0" y="354"/>
                      <a:pt x="0" y="354"/>
                    </a:cubicBezTo>
                    <a:cubicBezTo>
                      <a:pt x="0" y="352"/>
                      <a:pt x="0" y="352"/>
                      <a:pt x="0" y="352"/>
                    </a:cubicBezTo>
                    <a:cubicBezTo>
                      <a:pt x="0" y="351"/>
                      <a:pt x="0" y="351"/>
                      <a:pt x="0" y="351"/>
                    </a:cubicBezTo>
                    <a:cubicBezTo>
                      <a:pt x="1" y="348"/>
                      <a:pt x="1" y="348"/>
                      <a:pt x="1" y="348"/>
                    </a:cubicBezTo>
                    <a:cubicBezTo>
                      <a:pt x="2" y="346"/>
                      <a:pt x="2" y="346"/>
                      <a:pt x="2" y="346"/>
                    </a:cubicBezTo>
                    <a:cubicBezTo>
                      <a:pt x="1" y="344"/>
                      <a:pt x="1" y="344"/>
                      <a:pt x="1" y="344"/>
                    </a:cubicBezTo>
                    <a:cubicBezTo>
                      <a:pt x="1" y="342"/>
                      <a:pt x="1" y="342"/>
                      <a:pt x="1" y="342"/>
                    </a:cubicBezTo>
                    <a:cubicBezTo>
                      <a:pt x="1" y="339"/>
                      <a:pt x="1" y="339"/>
                      <a:pt x="1" y="339"/>
                    </a:cubicBezTo>
                    <a:cubicBezTo>
                      <a:pt x="1" y="339"/>
                      <a:pt x="0" y="337"/>
                      <a:pt x="0" y="337"/>
                    </a:cubicBezTo>
                    <a:cubicBezTo>
                      <a:pt x="0" y="337"/>
                      <a:pt x="0" y="335"/>
                      <a:pt x="0" y="335"/>
                    </a:cubicBezTo>
                    <a:cubicBezTo>
                      <a:pt x="0" y="335"/>
                      <a:pt x="2" y="334"/>
                      <a:pt x="2" y="334"/>
                    </a:cubicBezTo>
                    <a:cubicBezTo>
                      <a:pt x="2" y="333"/>
                      <a:pt x="4" y="332"/>
                      <a:pt x="4" y="332"/>
                    </a:cubicBezTo>
                    <a:cubicBezTo>
                      <a:pt x="4" y="332"/>
                      <a:pt x="5" y="329"/>
                      <a:pt x="5" y="328"/>
                    </a:cubicBezTo>
                    <a:cubicBezTo>
                      <a:pt x="5" y="328"/>
                      <a:pt x="6" y="327"/>
                      <a:pt x="6" y="327"/>
                    </a:cubicBezTo>
                    <a:cubicBezTo>
                      <a:pt x="9" y="326"/>
                      <a:pt x="9" y="326"/>
                      <a:pt x="9" y="326"/>
                    </a:cubicBezTo>
                    <a:cubicBezTo>
                      <a:pt x="11" y="324"/>
                      <a:pt x="11" y="324"/>
                      <a:pt x="11" y="324"/>
                    </a:cubicBezTo>
                    <a:cubicBezTo>
                      <a:pt x="13" y="323"/>
                      <a:pt x="13" y="323"/>
                      <a:pt x="13" y="323"/>
                    </a:cubicBezTo>
                    <a:cubicBezTo>
                      <a:pt x="15" y="321"/>
                      <a:pt x="15" y="321"/>
                      <a:pt x="15" y="321"/>
                    </a:cubicBezTo>
                    <a:cubicBezTo>
                      <a:pt x="16" y="317"/>
                      <a:pt x="16" y="317"/>
                      <a:pt x="16" y="317"/>
                    </a:cubicBezTo>
                    <a:cubicBezTo>
                      <a:pt x="17" y="316"/>
                      <a:pt x="17" y="316"/>
                      <a:pt x="17" y="316"/>
                    </a:cubicBezTo>
                    <a:cubicBezTo>
                      <a:pt x="17" y="316"/>
                      <a:pt x="20" y="316"/>
                      <a:pt x="20" y="316"/>
                    </a:cubicBezTo>
                    <a:cubicBezTo>
                      <a:pt x="20" y="316"/>
                      <a:pt x="22" y="316"/>
                      <a:pt x="22" y="316"/>
                    </a:cubicBezTo>
                    <a:cubicBezTo>
                      <a:pt x="22" y="315"/>
                      <a:pt x="22" y="315"/>
                      <a:pt x="22" y="315"/>
                    </a:cubicBezTo>
                    <a:cubicBezTo>
                      <a:pt x="24" y="314"/>
                      <a:pt x="24" y="314"/>
                      <a:pt x="24" y="314"/>
                    </a:cubicBezTo>
                    <a:cubicBezTo>
                      <a:pt x="26" y="316"/>
                      <a:pt x="26" y="316"/>
                      <a:pt x="26" y="316"/>
                    </a:cubicBezTo>
                    <a:cubicBezTo>
                      <a:pt x="26" y="316"/>
                      <a:pt x="27" y="316"/>
                      <a:pt x="28" y="316"/>
                    </a:cubicBezTo>
                    <a:cubicBezTo>
                      <a:pt x="28" y="316"/>
                      <a:pt x="29" y="316"/>
                      <a:pt x="29" y="316"/>
                    </a:cubicBezTo>
                    <a:cubicBezTo>
                      <a:pt x="29" y="313"/>
                      <a:pt x="29" y="313"/>
                      <a:pt x="29" y="313"/>
                    </a:cubicBezTo>
                    <a:cubicBezTo>
                      <a:pt x="33" y="309"/>
                      <a:pt x="33" y="309"/>
                      <a:pt x="33" y="309"/>
                    </a:cubicBezTo>
                    <a:cubicBezTo>
                      <a:pt x="33" y="309"/>
                      <a:pt x="33" y="308"/>
                      <a:pt x="33" y="308"/>
                    </a:cubicBezTo>
                    <a:cubicBezTo>
                      <a:pt x="33" y="308"/>
                      <a:pt x="33" y="307"/>
                      <a:pt x="33" y="307"/>
                    </a:cubicBezTo>
                    <a:cubicBezTo>
                      <a:pt x="32" y="306"/>
                      <a:pt x="31" y="307"/>
                      <a:pt x="31" y="307"/>
                    </a:cubicBezTo>
                    <a:cubicBezTo>
                      <a:pt x="31" y="307"/>
                      <a:pt x="29" y="307"/>
                      <a:pt x="29" y="307"/>
                    </a:cubicBezTo>
                    <a:cubicBezTo>
                      <a:pt x="29" y="307"/>
                      <a:pt x="27" y="307"/>
                      <a:pt x="26" y="307"/>
                    </a:cubicBezTo>
                    <a:cubicBezTo>
                      <a:pt x="26" y="307"/>
                      <a:pt x="26" y="306"/>
                      <a:pt x="26" y="306"/>
                    </a:cubicBezTo>
                    <a:cubicBezTo>
                      <a:pt x="25" y="304"/>
                      <a:pt x="25" y="304"/>
                      <a:pt x="25" y="304"/>
                    </a:cubicBezTo>
                    <a:cubicBezTo>
                      <a:pt x="25" y="304"/>
                      <a:pt x="24" y="302"/>
                      <a:pt x="24" y="301"/>
                    </a:cubicBezTo>
                    <a:cubicBezTo>
                      <a:pt x="24" y="300"/>
                      <a:pt x="24" y="299"/>
                      <a:pt x="24" y="298"/>
                    </a:cubicBezTo>
                    <a:cubicBezTo>
                      <a:pt x="24" y="298"/>
                      <a:pt x="23" y="297"/>
                      <a:pt x="23" y="297"/>
                    </a:cubicBezTo>
                    <a:cubicBezTo>
                      <a:pt x="23" y="297"/>
                      <a:pt x="22" y="296"/>
                      <a:pt x="22" y="295"/>
                    </a:cubicBezTo>
                    <a:cubicBezTo>
                      <a:pt x="22" y="295"/>
                      <a:pt x="21" y="292"/>
                      <a:pt x="21" y="292"/>
                    </a:cubicBezTo>
                    <a:cubicBezTo>
                      <a:pt x="20" y="291"/>
                      <a:pt x="20" y="291"/>
                      <a:pt x="20" y="291"/>
                    </a:cubicBezTo>
                    <a:cubicBezTo>
                      <a:pt x="21" y="290"/>
                      <a:pt x="21" y="290"/>
                      <a:pt x="21" y="290"/>
                    </a:cubicBezTo>
                    <a:cubicBezTo>
                      <a:pt x="20" y="288"/>
                      <a:pt x="20" y="288"/>
                      <a:pt x="20" y="288"/>
                    </a:cubicBezTo>
                    <a:cubicBezTo>
                      <a:pt x="22" y="288"/>
                      <a:pt x="22" y="288"/>
                      <a:pt x="22" y="288"/>
                    </a:cubicBezTo>
                    <a:cubicBezTo>
                      <a:pt x="21" y="287"/>
                      <a:pt x="21" y="287"/>
                      <a:pt x="21" y="287"/>
                    </a:cubicBezTo>
                    <a:cubicBezTo>
                      <a:pt x="22" y="285"/>
                      <a:pt x="22" y="285"/>
                      <a:pt x="22" y="285"/>
                    </a:cubicBezTo>
                    <a:cubicBezTo>
                      <a:pt x="22" y="285"/>
                      <a:pt x="24" y="284"/>
                      <a:pt x="24" y="284"/>
                    </a:cubicBezTo>
                    <a:cubicBezTo>
                      <a:pt x="24" y="284"/>
                      <a:pt x="26" y="282"/>
                      <a:pt x="26" y="282"/>
                    </a:cubicBezTo>
                    <a:cubicBezTo>
                      <a:pt x="26" y="282"/>
                      <a:pt x="25" y="281"/>
                      <a:pt x="25" y="281"/>
                    </a:cubicBezTo>
                    <a:cubicBezTo>
                      <a:pt x="25" y="281"/>
                      <a:pt x="25" y="279"/>
                      <a:pt x="25" y="279"/>
                    </a:cubicBezTo>
                    <a:cubicBezTo>
                      <a:pt x="27" y="275"/>
                      <a:pt x="27" y="275"/>
                      <a:pt x="27" y="275"/>
                    </a:cubicBezTo>
                    <a:cubicBezTo>
                      <a:pt x="28" y="275"/>
                      <a:pt x="28" y="275"/>
                      <a:pt x="28" y="275"/>
                    </a:cubicBezTo>
                    <a:cubicBezTo>
                      <a:pt x="31" y="274"/>
                      <a:pt x="31" y="274"/>
                      <a:pt x="31" y="274"/>
                    </a:cubicBezTo>
                    <a:cubicBezTo>
                      <a:pt x="32" y="273"/>
                      <a:pt x="32" y="273"/>
                      <a:pt x="32" y="273"/>
                    </a:cubicBezTo>
                    <a:cubicBezTo>
                      <a:pt x="33" y="273"/>
                      <a:pt x="33" y="273"/>
                      <a:pt x="33" y="273"/>
                    </a:cubicBezTo>
                    <a:cubicBezTo>
                      <a:pt x="35" y="272"/>
                      <a:pt x="35" y="272"/>
                      <a:pt x="35" y="272"/>
                    </a:cubicBezTo>
                    <a:cubicBezTo>
                      <a:pt x="37" y="271"/>
                      <a:pt x="37" y="271"/>
                      <a:pt x="37" y="271"/>
                    </a:cubicBezTo>
                    <a:cubicBezTo>
                      <a:pt x="38" y="270"/>
                      <a:pt x="38" y="270"/>
                      <a:pt x="38" y="270"/>
                    </a:cubicBezTo>
                    <a:cubicBezTo>
                      <a:pt x="38" y="268"/>
                      <a:pt x="38" y="268"/>
                      <a:pt x="38" y="268"/>
                    </a:cubicBezTo>
                    <a:cubicBezTo>
                      <a:pt x="39" y="267"/>
                      <a:pt x="39" y="267"/>
                      <a:pt x="39" y="267"/>
                    </a:cubicBezTo>
                    <a:cubicBezTo>
                      <a:pt x="41" y="265"/>
                      <a:pt x="41" y="265"/>
                      <a:pt x="41" y="265"/>
                    </a:cubicBezTo>
                    <a:cubicBezTo>
                      <a:pt x="43" y="263"/>
                      <a:pt x="43" y="263"/>
                      <a:pt x="43" y="263"/>
                    </a:cubicBezTo>
                    <a:cubicBezTo>
                      <a:pt x="43" y="261"/>
                      <a:pt x="43" y="261"/>
                      <a:pt x="43" y="261"/>
                    </a:cubicBezTo>
                    <a:cubicBezTo>
                      <a:pt x="42" y="260"/>
                      <a:pt x="42" y="260"/>
                      <a:pt x="42" y="260"/>
                    </a:cubicBezTo>
                    <a:cubicBezTo>
                      <a:pt x="42" y="260"/>
                      <a:pt x="41" y="258"/>
                      <a:pt x="41" y="257"/>
                    </a:cubicBezTo>
                    <a:cubicBezTo>
                      <a:pt x="41" y="257"/>
                      <a:pt x="40" y="257"/>
                      <a:pt x="40" y="257"/>
                    </a:cubicBezTo>
                    <a:cubicBezTo>
                      <a:pt x="38" y="258"/>
                      <a:pt x="38" y="258"/>
                      <a:pt x="38" y="258"/>
                    </a:cubicBezTo>
                    <a:cubicBezTo>
                      <a:pt x="38" y="258"/>
                      <a:pt x="37" y="257"/>
                      <a:pt x="36" y="257"/>
                    </a:cubicBezTo>
                    <a:cubicBezTo>
                      <a:pt x="36" y="257"/>
                      <a:pt x="36" y="256"/>
                      <a:pt x="36" y="256"/>
                    </a:cubicBezTo>
                    <a:cubicBezTo>
                      <a:pt x="37" y="255"/>
                      <a:pt x="37" y="255"/>
                      <a:pt x="37" y="255"/>
                    </a:cubicBezTo>
                    <a:cubicBezTo>
                      <a:pt x="37" y="253"/>
                      <a:pt x="37" y="253"/>
                      <a:pt x="37" y="253"/>
                    </a:cubicBezTo>
                    <a:cubicBezTo>
                      <a:pt x="35" y="253"/>
                      <a:pt x="35" y="253"/>
                      <a:pt x="35" y="253"/>
                    </a:cubicBezTo>
                    <a:cubicBezTo>
                      <a:pt x="34" y="251"/>
                      <a:pt x="34" y="251"/>
                      <a:pt x="34" y="251"/>
                    </a:cubicBezTo>
                    <a:cubicBezTo>
                      <a:pt x="33" y="249"/>
                      <a:pt x="33" y="249"/>
                      <a:pt x="33" y="249"/>
                    </a:cubicBezTo>
                    <a:cubicBezTo>
                      <a:pt x="33" y="247"/>
                      <a:pt x="33" y="247"/>
                      <a:pt x="33" y="247"/>
                    </a:cubicBezTo>
                    <a:cubicBezTo>
                      <a:pt x="34" y="246"/>
                      <a:pt x="34" y="246"/>
                      <a:pt x="34" y="246"/>
                    </a:cubicBezTo>
                    <a:cubicBezTo>
                      <a:pt x="34" y="245"/>
                      <a:pt x="34" y="245"/>
                      <a:pt x="34" y="245"/>
                    </a:cubicBezTo>
                    <a:cubicBezTo>
                      <a:pt x="33" y="244"/>
                      <a:pt x="33" y="244"/>
                      <a:pt x="33" y="244"/>
                    </a:cubicBezTo>
                    <a:cubicBezTo>
                      <a:pt x="33" y="242"/>
                      <a:pt x="33" y="242"/>
                      <a:pt x="33" y="242"/>
                    </a:cubicBezTo>
                    <a:cubicBezTo>
                      <a:pt x="32" y="240"/>
                      <a:pt x="32" y="240"/>
                      <a:pt x="32" y="240"/>
                    </a:cubicBezTo>
                    <a:cubicBezTo>
                      <a:pt x="33" y="239"/>
                      <a:pt x="33" y="239"/>
                      <a:pt x="33" y="239"/>
                    </a:cubicBezTo>
                    <a:cubicBezTo>
                      <a:pt x="34" y="238"/>
                      <a:pt x="34" y="238"/>
                      <a:pt x="34" y="238"/>
                    </a:cubicBezTo>
                    <a:cubicBezTo>
                      <a:pt x="34" y="236"/>
                      <a:pt x="34" y="236"/>
                      <a:pt x="34" y="236"/>
                    </a:cubicBezTo>
                    <a:cubicBezTo>
                      <a:pt x="34" y="236"/>
                      <a:pt x="32" y="235"/>
                      <a:pt x="32" y="235"/>
                    </a:cubicBezTo>
                    <a:cubicBezTo>
                      <a:pt x="32" y="235"/>
                      <a:pt x="31" y="233"/>
                      <a:pt x="31" y="233"/>
                    </a:cubicBezTo>
                    <a:cubicBezTo>
                      <a:pt x="31" y="232"/>
                      <a:pt x="31" y="232"/>
                      <a:pt x="31" y="232"/>
                    </a:cubicBezTo>
                    <a:cubicBezTo>
                      <a:pt x="31" y="232"/>
                      <a:pt x="29" y="230"/>
                      <a:pt x="29" y="230"/>
                    </a:cubicBezTo>
                    <a:cubicBezTo>
                      <a:pt x="29" y="230"/>
                      <a:pt x="29" y="228"/>
                      <a:pt x="29" y="228"/>
                    </a:cubicBezTo>
                    <a:cubicBezTo>
                      <a:pt x="29" y="228"/>
                      <a:pt x="28" y="226"/>
                      <a:pt x="28" y="226"/>
                    </a:cubicBezTo>
                    <a:cubicBezTo>
                      <a:pt x="27" y="225"/>
                      <a:pt x="27" y="224"/>
                      <a:pt x="27" y="224"/>
                    </a:cubicBezTo>
                    <a:cubicBezTo>
                      <a:pt x="29" y="224"/>
                      <a:pt x="29" y="224"/>
                      <a:pt x="29" y="224"/>
                    </a:cubicBezTo>
                    <a:cubicBezTo>
                      <a:pt x="31" y="224"/>
                      <a:pt x="31" y="224"/>
                      <a:pt x="31" y="224"/>
                    </a:cubicBezTo>
                    <a:cubicBezTo>
                      <a:pt x="32" y="226"/>
                      <a:pt x="32" y="226"/>
                      <a:pt x="32" y="226"/>
                    </a:cubicBezTo>
                    <a:cubicBezTo>
                      <a:pt x="33" y="225"/>
                      <a:pt x="33" y="225"/>
                      <a:pt x="33" y="225"/>
                    </a:cubicBezTo>
                    <a:cubicBezTo>
                      <a:pt x="33" y="226"/>
                      <a:pt x="33" y="226"/>
                      <a:pt x="33" y="226"/>
                    </a:cubicBezTo>
                    <a:cubicBezTo>
                      <a:pt x="35" y="226"/>
                      <a:pt x="35" y="226"/>
                      <a:pt x="35" y="226"/>
                    </a:cubicBezTo>
                    <a:cubicBezTo>
                      <a:pt x="38" y="226"/>
                      <a:pt x="38" y="226"/>
                      <a:pt x="38" y="226"/>
                    </a:cubicBezTo>
                    <a:cubicBezTo>
                      <a:pt x="40" y="226"/>
                      <a:pt x="40" y="226"/>
                      <a:pt x="40" y="226"/>
                    </a:cubicBezTo>
                    <a:cubicBezTo>
                      <a:pt x="41" y="226"/>
                      <a:pt x="41" y="226"/>
                      <a:pt x="41" y="226"/>
                    </a:cubicBezTo>
                    <a:cubicBezTo>
                      <a:pt x="41" y="226"/>
                      <a:pt x="42" y="227"/>
                      <a:pt x="42" y="227"/>
                    </a:cubicBezTo>
                    <a:cubicBezTo>
                      <a:pt x="43" y="228"/>
                      <a:pt x="44" y="227"/>
                      <a:pt x="44" y="227"/>
                    </a:cubicBezTo>
                    <a:cubicBezTo>
                      <a:pt x="44" y="228"/>
                      <a:pt x="46" y="228"/>
                      <a:pt x="46" y="228"/>
                    </a:cubicBezTo>
                    <a:cubicBezTo>
                      <a:pt x="46" y="228"/>
                      <a:pt x="47" y="227"/>
                      <a:pt x="48" y="227"/>
                    </a:cubicBezTo>
                    <a:cubicBezTo>
                      <a:pt x="48" y="227"/>
                      <a:pt x="49" y="227"/>
                      <a:pt x="49" y="227"/>
                    </a:cubicBezTo>
                    <a:cubicBezTo>
                      <a:pt x="50" y="226"/>
                      <a:pt x="50" y="226"/>
                      <a:pt x="50" y="226"/>
                    </a:cubicBezTo>
                    <a:cubicBezTo>
                      <a:pt x="50" y="224"/>
                      <a:pt x="50" y="224"/>
                      <a:pt x="50" y="224"/>
                    </a:cubicBezTo>
                    <a:cubicBezTo>
                      <a:pt x="51" y="224"/>
                      <a:pt x="51" y="224"/>
                      <a:pt x="51" y="224"/>
                    </a:cubicBezTo>
                    <a:cubicBezTo>
                      <a:pt x="51" y="223"/>
                      <a:pt x="51" y="223"/>
                      <a:pt x="51" y="223"/>
                    </a:cubicBezTo>
                    <a:cubicBezTo>
                      <a:pt x="52" y="221"/>
                      <a:pt x="52" y="221"/>
                      <a:pt x="52" y="221"/>
                    </a:cubicBezTo>
                    <a:cubicBezTo>
                      <a:pt x="52" y="220"/>
                      <a:pt x="52" y="220"/>
                      <a:pt x="52" y="220"/>
                    </a:cubicBezTo>
                    <a:cubicBezTo>
                      <a:pt x="54" y="220"/>
                      <a:pt x="54" y="220"/>
                      <a:pt x="54" y="220"/>
                    </a:cubicBezTo>
                    <a:cubicBezTo>
                      <a:pt x="55" y="219"/>
                      <a:pt x="55" y="219"/>
                      <a:pt x="55" y="219"/>
                    </a:cubicBezTo>
                    <a:cubicBezTo>
                      <a:pt x="56" y="217"/>
                      <a:pt x="56" y="217"/>
                      <a:pt x="56" y="217"/>
                    </a:cubicBezTo>
                    <a:cubicBezTo>
                      <a:pt x="57" y="215"/>
                      <a:pt x="57" y="215"/>
                      <a:pt x="57" y="215"/>
                    </a:cubicBezTo>
                    <a:cubicBezTo>
                      <a:pt x="57" y="215"/>
                      <a:pt x="58" y="213"/>
                      <a:pt x="58" y="213"/>
                    </a:cubicBezTo>
                    <a:cubicBezTo>
                      <a:pt x="58" y="213"/>
                      <a:pt x="59" y="211"/>
                      <a:pt x="59" y="211"/>
                    </a:cubicBezTo>
                    <a:cubicBezTo>
                      <a:pt x="58" y="208"/>
                      <a:pt x="58" y="208"/>
                      <a:pt x="58" y="208"/>
                    </a:cubicBezTo>
                    <a:cubicBezTo>
                      <a:pt x="57" y="206"/>
                      <a:pt x="57" y="206"/>
                      <a:pt x="57" y="206"/>
                    </a:cubicBezTo>
                    <a:cubicBezTo>
                      <a:pt x="56" y="204"/>
                      <a:pt x="56" y="204"/>
                      <a:pt x="56" y="204"/>
                    </a:cubicBezTo>
                    <a:cubicBezTo>
                      <a:pt x="56" y="204"/>
                      <a:pt x="56" y="203"/>
                      <a:pt x="55" y="203"/>
                    </a:cubicBezTo>
                    <a:cubicBezTo>
                      <a:pt x="55" y="203"/>
                      <a:pt x="55" y="202"/>
                      <a:pt x="55" y="202"/>
                    </a:cubicBezTo>
                    <a:cubicBezTo>
                      <a:pt x="55" y="200"/>
                      <a:pt x="55" y="200"/>
                      <a:pt x="55" y="200"/>
                    </a:cubicBezTo>
                    <a:cubicBezTo>
                      <a:pt x="56" y="199"/>
                      <a:pt x="56" y="199"/>
                      <a:pt x="56" y="199"/>
                    </a:cubicBezTo>
                    <a:cubicBezTo>
                      <a:pt x="57" y="199"/>
                      <a:pt x="57" y="199"/>
                      <a:pt x="57" y="199"/>
                    </a:cubicBezTo>
                    <a:cubicBezTo>
                      <a:pt x="59" y="197"/>
                      <a:pt x="59" y="197"/>
                      <a:pt x="59" y="197"/>
                    </a:cubicBezTo>
                    <a:cubicBezTo>
                      <a:pt x="60" y="197"/>
                      <a:pt x="60" y="197"/>
                      <a:pt x="60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64" y="195"/>
                      <a:pt x="64" y="195"/>
                      <a:pt x="64" y="195"/>
                    </a:cubicBezTo>
                    <a:cubicBezTo>
                      <a:pt x="65" y="195"/>
                      <a:pt x="65" y="195"/>
                      <a:pt x="65" y="195"/>
                    </a:cubicBezTo>
                    <a:cubicBezTo>
                      <a:pt x="66" y="194"/>
                      <a:pt x="66" y="194"/>
                      <a:pt x="66" y="194"/>
                    </a:cubicBezTo>
                    <a:cubicBezTo>
                      <a:pt x="67" y="192"/>
                      <a:pt x="67" y="192"/>
                      <a:pt x="67" y="192"/>
                    </a:cubicBezTo>
                    <a:cubicBezTo>
                      <a:pt x="66" y="190"/>
                      <a:pt x="66" y="190"/>
                      <a:pt x="66" y="190"/>
                    </a:cubicBezTo>
                    <a:cubicBezTo>
                      <a:pt x="65" y="189"/>
                      <a:pt x="65" y="189"/>
                      <a:pt x="65" y="189"/>
                    </a:cubicBezTo>
                    <a:cubicBezTo>
                      <a:pt x="66" y="186"/>
                      <a:pt x="66" y="186"/>
                      <a:pt x="66" y="186"/>
                    </a:cubicBezTo>
                    <a:cubicBezTo>
                      <a:pt x="68" y="185"/>
                      <a:pt x="68" y="185"/>
                      <a:pt x="68" y="185"/>
                    </a:cubicBezTo>
                    <a:cubicBezTo>
                      <a:pt x="68" y="182"/>
                      <a:pt x="68" y="182"/>
                      <a:pt x="68" y="182"/>
                    </a:cubicBezTo>
                    <a:cubicBezTo>
                      <a:pt x="67" y="181"/>
                      <a:pt x="67" y="181"/>
                      <a:pt x="67" y="181"/>
                    </a:cubicBezTo>
                    <a:cubicBezTo>
                      <a:pt x="68" y="179"/>
                      <a:pt x="68" y="179"/>
                      <a:pt x="68" y="179"/>
                    </a:cubicBezTo>
                    <a:cubicBezTo>
                      <a:pt x="69" y="178"/>
                      <a:pt x="69" y="178"/>
                      <a:pt x="69" y="178"/>
                    </a:cubicBezTo>
                    <a:cubicBezTo>
                      <a:pt x="69" y="178"/>
                      <a:pt x="70" y="176"/>
                      <a:pt x="70" y="175"/>
                    </a:cubicBezTo>
                    <a:cubicBezTo>
                      <a:pt x="71" y="175"/>
                      <a:pt x="71" y="172"/>
                      <a:pt x="71" y="172"/>
                    </a:cubicBezTo>
                    <a:cubicBezTo>
                      <a:pt x="70" y="170"/>
                      <a:pt x="70" y="170"/>
                      <a:pt x="70" y="170"/>
                    </a:cubicBezTo>
                    <a:cubicBezTo>
                      <a:pt x="70" y="169"/>
                      <a:pt x="70" y="169"/>
                      <a:pt x="70" y="169"/>
                    </a:cubicBezTo>
                    <a:cubicBezTo>
                      <a:pt x="70" y="169"/>
                      <a:pt x="72" y="168"/>
                      <a:pt x="72" y="168"/>
                    </a:cubicBezTo>
                    <a:cubicBezTo>
                      <a:pt x="73" y="168"/>
                      <a:pt x="73" y="165"/>
                      <a:pt x="73" y="165"/>
                    </a:cubicBezTo>
                    <a:cubicBezTo>
                      <a:pt x="71" y="164"/>
                      <a:pt x="71" y="164"/>
                      <a:pt x="71" y="164"/>
                    </a:cubicBezTo>
                    <a:cubicBezTo>
                      <a:pt x="71" y="164"/>
                      <a:pt x="71" y="162"/>
                      <a:pt x="71" y="161"/>
                    </a:cubicBezTo>
                    <a:cubicBezTo>
                      <a:pt x="71" y="161"/>
                      <a:pt x="71" y="159"/>
                      <a:pt x="71" y="159"/>
                    </a:cubicBezTo>
                    <a:cubicBezTo>
                      <a:pt x="70" y="159"/>
                      <a:pt x="70" y="159"/>
                      <a:pt x="70" y="159"/>
                    </a:cubicBezTo>
                    <a:cubicBezTo>
                      <a:pt x="70" y="157"/>
                      <a:pt x="70" y="157"/>
                      <a:pt x="70" y="157"/>
                    </a:cubicBezTo>
                    <a:cubicBezTo>
                      <a:pt x="71" y="156"/>
                      <a:pt x="71" y="156"/>
                      <a:pt x="71" y="156"/>
                    </a:cubicBezTo>
                    <a:cubicBezTo>
                      <a:pt x="73" y="157"/>
                      <a:pt x="73" y="157"/>
                      <a:pt x="73" y="157"/>
                    </a:cubicBezTo>
                    <a:cubicBezTo>
                      <a:pt x="73" y="157"/>
                      <a:pt x="74" y="156"/>
                      <a:pt x="75" y="156"/>
                    </a:cubicBezTo>
                    <a:cubicBezTo>
                      <a:pt x="75" y="155"/>
                      <a:pt x="77" y="155"/>
                      <a:pt x="77" y="155"/>
                    </a:cubicBezTo>
                    <a:cubicBezTo>
                      <a:pt x="78" y="152"/>
                      <a:pt x="78" y="152"/>
                      <a:pt x="78" y="152"/>
                    </a:cubicBezTo>
                    <a:cubicBezTo>
                      <a:pt x="82" y="150"/>
                      <a:pt x="82" y="150"/>
                      <a:pt x="82" y="150"/>
                    </a:cubicBezTo>
                    <a:cubicBezTo>
                      <a:pt x="82" y="149"/>
                      <a:pt x="82" y="149"/>
                      <a:pt x="82" y="149"/>
                    </a:cubicBezTo>
                    <a:cubicBezTo>
                      <a:pt x="85" y="148"/>
                      <a:pt x="85" y="148"/>
                      <a:pt x="85" y="148"/>
                    </a:cubicBezTo>
                    <a:cubicBezTo>
                      <a:pt x="87" y="149"/>
                      <a:pt x="87" y="149"/>
                      <a:pt x="87" y="149"/>
                    </a:cubicBezTo>
                    <a:cubicBezTo>
                      <a:pt x="89" y="147"/>
                      <a:pt x="89" y="147"/>
                      <a:pt x="89" y="147"/>
                    </a:cubicBezTo>
                    <a:cubicBezTo>
                      <a:pt x="90" y="147"/>
                      <a:pt x="90" y="147"/>
                      <a:pt x="90" y="147"/>
                    </a:cubicBezTo>
                    <a:cubicBezTo>
                      <a:pt x="92" y="146"/>
                      <a:pt x="92" y="146"/>
                      <a:pt x="92" y="146"/>
                    </a:cubicBezTo>
                    <a:cubicBezTo>
                      <a:pt x="94" y="145"/>
                      <a:pt x="94" y="145"/>
                      <a:pt x="94" y="145"/>
                    </a:cubicBezTo>
                    <a:cubicBezTo>
                      <a:pt x="97" y="142"/>
                      <a:pt x="97" y="142"/>
                      <a:pt x="97" y="142"/>
                    </a:cubicBezTo>
                    <a:cubicBezTo>
                      <a:pt x="98" y="142"/>
                      <a:pt x="98" y="142"/>
                      <a:pt x="98" y="142"/>
                    </a:cubicBezTo>
                    <a:cubicBezTo>
                      <a:pt x="98" y="142"/>
                      <a:pt x="100" y="141"/>
                      <a:pt x="100" y="141"/>
                    </a:cubicBezTo>
                    <a:cubicBezTo>
                      <a:pt x="100" y="141"/>
                      <a:pt x="101" y="139"/>
                      <a:pt x="101" y="139"/>
                    </a:cubicBezTo>
                    <a:cubicBezTo>
                      <a:pt x="103" y="138"/>
                      <a:pt x="103" y="138"/>
                      <a:pt x="103" y="138"/>
                    </a:cubicBezTo>
                    <a:cubicBezTo>
                      <a:pt x="105" y="135"/>
                      <a:pt x="105" y="135"/>
                      <a:pt x="105" y="135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05" y="130"/>
                      <a:pt x="105" y="130"/>
                      <a:pt x="105" y="130"/>
                    </a:cubicBezTo>
                    <a:cubicBezTo>
                      <a:pt x="105" y="130"/>
                      <a:pt x="103" y="128"/>
                      <a:pt x="102" y="128"/>
                    </a:cubicBezTo>
                    <a:cubicBezTo>
                      <a:pt x="102" y="127"/>
                      <a:pt x="100" y="126"/>
                      <a:pt x="100" y="126"/>
                    </a:cubicBezTo>
                    <a:cubicBezTo>
                      <a:pt x="100" y="126"/>
                      <a:pt x="97" y="125"/>
                      <a:pt x="97" y="125"/>
                    </a:cubicBezTo>
                    <a:cubicBezTo>
                      <a:pt x="97" y="125"/>
                      <a:pt x="95" y="126"/>
                      <a:pt x="95" y="126"/>
                    </a:cubicBezTo>
                    <a:cubicBezTo>
                      <a:pt x="94" y="125"/>
                      <a:pt x="94" y="125"/>
                      <a:pt x="94" y="125"/>
                    </a:cubicBezTo>
                    <a:cubicBezTo>
                      <a:pt x="94" y="125"/>
                      <a:pt x="93" y="123"/>
                      <a:pt x="94" y="123"/>
                    </a:cubicBezTo>
                    <a:cubicBezTo>
                      <a:pt x="94" y="123"/>
                      <a:pt x="94" y="122"/>
                      <a:pt x="94" y="122"/>
                    </a:cubicBezTo>
                    <a:cubicBezTo>
                      <a:pt x="94" y="121"/>
                      <a:pt x="94" y="121"/>
                      <a:pt x="94" y="121"/>
                    </a:cubicBezTo>
                    <a:cubicBezTo>
                      <a:pt x="94" y="120"/>
                      <a:pt x="94" y="120"/>
                      <a:pt x="94" y="120"/>
                    </a:cubicBezTo>
                    <a:cubicBezTo>
                      <a:pt x="95" y="119"/>
                      <a:pt x="95" y="119"/>
                      <a:pt x="95" y="119"/>
                    </a:cubicBezTo>
                    <a:cubicBezTo>
                      <a:pt x="95" y="119"/>
                      <a:pt x="96" y="118"/>
                      <a:pt x="96" y="117"/>
                    </a:cubicBezTo>
                    <a:cubicBezTo>
                      <a:pt x="96" y="117"/>
                      <a:pt x="97" y="115"/>
                      <a:pt x="97" y="115"/>
                    </a:cubicBezTo>
                    <a:cubicBezTo>
                      <a:pt x="97" y="115"/>
                      <a:pt x="96" y="114"/>
                      <a:pt x="96" y="113"/>
                    </a:cubicBezTo>
                    <a:cubicBezTo>
                      <a:pt x="95" y="113"/>
                      <a:pt x="95" y="113"/>
                      <a:pt x="96" y="112"/>
                    </a:cubicBezTo>
                    <a:cubicBezTo>
                      <a:pt x="96" y="112"/>
                      <a:pt x="96" y="111"/>
                      <a:pt x="96" y="111"/>
                    </a:cubicBezTo>
                    <a:cubicBezTo>
                      <a:pt x="96" y="111"/>
                      <a:pt x="96" y="109"/>
                      <a:pt x="95" y="109"/>
                    </a:cubicBezTo>
                    <a:cubicBezTo>
                      <a:pt x="95" y="109"/>
                      <a:pt x="93" y="110"/>
                      <a:pt x="93" y="110"/>
                    </a:cubicBezTo>
                    <a:cubicBezTo>
                      <a:pt x="93" y="110"/>
                      <a:pt x="90" y="109"/>
                      <a:pt x="90" y="109"/>
                    </a:cubicBezTo>
                    <a:cubicBezTo>
                      <a:pt x="90" y="109"/>
                      <a:pt x="89" y="108"/>
                      <a:pt x="89" y="108"/>
                    </a:cubicBezTo>
                    <a:cubicBezTo>
                      <a:pt x="89" y="108"/>
                      <a:pt x="89" y="106"/>
                      <a:pt x="88" y="106"/>
                    </a:cubicBezTo>
                    <a:cubicBezTo>
                      <a:pt x="87" y="105"/>
                      <a:pt x="87" y="106"/>
                      <a:pt x="87" y="106"/>
                    </a:cubicBezTo>
                    <a:cubicBezTo>
                      <a:pt x="86" y="108"/>
                      <a:pt x="86" y="108"/>
                      <a:pt x="86" y="108"/>
                    </a:cubicBezTo>
                    <a:cubicBezTo>
                      <a:pt x="86" y="108"/>
                      <a:pt x="84" y="108"/>
                      <a:pt x="83" y="107"/>
                    </a:cubicBezTo>
                    <a:cubicBezTo>
                      <a:pt x="83" y="107"/>
                      <a:pt x="82" y="107"/>
                      <a:pt x="82" y="107"/>
                    </a:cubicBezTo>
                    <a:cubicBezTo>
                      <a:pt x="81" y="107"/>
                      <a:pt x="81" y="106"/>
                      <a:pt x="81" y="105"/>
                    </a:cubicBezTo>
                    <a:cubicBezTo>
                      <a:pt x="80" y="104"/>
                      <a:pt x="80" y="105"/>
                      <a:pt x="79" y="105"/>
                    </a:cubicBezTo>
                    <a:cubicBezTo>
                      <a:pt x="79" y="105"/>
                      <a:pt x="77" y="105"/>
                      <a:pt x="77" y="105"/>
                    </a:cubicBezTo>
                    <a:cubicBezTo>
                      <a:pt x="77" y="105"/>
                      <a:pt x="75" y="103"/>
                      <a:pt x="75" y="103"/>
                    </a:cubicBezTo>
                    <a:cubicBezTo>
                      <a:pt x="75" y="102"/>
                      <a:pt x="74" y="102"/>
                      <a:pt x="74" y="102"/>
                    </a:cubicBezTo>
                    <a:cubicBezTo>
                      <a:pt x="74" y="102"/>
                      <a:pt x="72" y="103"/>
                      <a:pt x="72" y="103"/>
                    </a:cubicBezTo>
                    <a:cubicBezTo>
                      <a:pt x="72" y="104"/>
                      <a:pt x="72" y="104"/>
                      <a:pt x="72" y="104"/>
                    </a:cubicBezTo>
                    <a:cubicBezTo>
                      <a:pt x="71" y="107"/>
                      <a:pt x="71" y="107"/>
                      <a:pt x="71" y="107"/>
                    </a:cubicBezTo>
                    <a:cubicBezTo>
                      <a:pt x="68" y="109"/>
                      <a:pt x="68" y="109"/>
                      <a:pt x="68" y="109"/>
                    </a:cubicBezTo>
                    <a:cubicBezTo>
                      <a:pt x="68" y="109"/>
                      <a:pt x="65" y="109"/>
                      <a:pt x="64" y="108"/>
                    </a:cubicBezTo>
                    <a:cubicBezTo>
                      <a:pt x="64" y="108"/>
                      <a:pt x="64" y="108"/>
                      <a:pt x="63" y="108"/>
                    </a:cubicBezTo>
                    <a:cubicBezTo>
                      <a:pt x="62" y="108"/>
                      <a:pt x="62" y="108"/>
                      <a:pt x="62" y="108"/>
                    </a:cubicBezTo>
                    <a:cubicBezTo>
                      <a:pt x="62" y="108"/>
                      <a:pt x="60" y="109"/>
                      <a:pt x="60" y="109"/>
                    </a:cubicBezTo>
                    <a:cubicBezTo>
                      <a:pt x="60" y="109"/>
                      <a:pt x="59" y="107"/>
                      <a:pt x="59" y="107"/>
                    </a:cubicBezTo>
                    <a:cubicBezTo>
                      <a:pt x="59" y="107"/>
                      <a:pt x="57" y="106"/>
                      <a:pt x="57" y="105"/>
                    </a:cubicBezTo>
                    <a:cubicBezTo>
                      <a:pt x="57" y="105"/>
                      <a:pt x="57" y="106"/>
                      <a:pt x="57" y="106"/>
                    </a:cubicBezTo>
                    <a:cubicBezTo>
                      <a:pt x="57" y="106"/>
                      <a:pt x="56" y="107"/>
                      <a:pt x="55" y="107"/>
                    </a:cubicBezTo>
                    <a:cubicBezTo>
                      <a:pt x="55" y="107"/>
                      <a:pt x="54" y="108"/>
                      <a:pt x="54" y="108"/>
                    </a:cubicBezTo>
                    <a:cubicBezTo>
                      <a:pt x="53" y="108"/>
                      <a:pt x="54" y="106"/>
                      <a:pt x="54" y="106"/>
                    </a:cubicBezTo>
                    <a:cubicBezTo>
                      <a:pt x="55" y="104"/>
                      <a:pt x="55" y="104"/>
                      <a:pt x="55" y="104"/>
                    </a:cubicBezTo>
                    <a:cubicBezTo>
                      <a:pt x="55" y="104"/>
                      <a:pt x="52" y="103"/>
                      <a:pt x="52" y="102"/>
                    </a:cubicBezTo>
                    <a:cubicBezTo>
                      <a:pt x="51" y="102"/>
                      <a:pt x="50" y="101"/>
                      <a:pt x="50" y="101"/>
                    </a:cubicBezTo>
                    <a:cubicBezTo>
                      <a:pt x="50" y="101"/>
                      <a:pt x="48" y="101"/>
                      <a:pt x="48" y="101"/>
                    </a:cubicBezTo>
                    <a:cubicBezTo>
                      <a:pt x="46" y="101"/>
                      <a:pt x="46" y="101"/>
                      <a:pt x="46" y="101"/>
                    </a:cubicBezTo>
                    <a:cubicBezTo>
                      <a:pt x="46" y="101"/>
                      <a:pt x="45" y="101"/>
                      <a:pt x="44" y="102"/>
                    </a:cubicBezTo>
                    <a:cubicBezTo>
                      <a:pt x="44" y="102"/>
                      <a:pt x="43" y="103"/>
                      <a:pt x="42" y="102"/>
                    </a:cubicBezTo>
                    <a:cubicBezTo>
                      <a:pt x="42" y="102"/>
                      <a:pt x="43" y="100"/>
                      <a:pt x="43" y="100"/>
                    </a:cubicBezTo>
                    <a:cubicBezTo>
                      <a:pt x="43" y="100"/>
                      <a:pt x="43" y="98"/>
                      <a:pt x="43" y="98"/>
                    </a:cubicBezTo>
                    <a:cubicBezTo>
                      <a:pt x="42" y="97"/>
                      <a:pt x="42" y="99"/>
                      <a:pt x="42" y="99"/>
                    </a:cubicBezTo>
                    <a:cubicBezTo>
                      <a:pt x="42" y="99"/>
                      <a:pt x="40" y="100"/>
                      <a:pt x="39" y="101"/>
                    </a:cubicBezTo>
                    <a:cubicBezTo>
                      <a:pt x="39" y="101"/>
                      <a:pt x="38" y="101"/>
                      <a:pt x="38" y="101"/>
                    </a:cubicBezTo>
                    <a:cubicBezTo>
                      <a:pt x="37" y="101"/>
                      <a:pt x="36" y="102"/>
                      <a:pt x="34" y="102"/>
                    </a:cubicBezTo>
                    <a:cubicBezTo>
                      <a:pt x="33" y="102"/>
                      <a:pt x="32" y="103"/>
                      <a:pt x="32" y="102"/>
                    </a:cubicBezTo>
                    <a:cubicBezTo>
                      <a:pt x="31" y="102"/>
                      <a:pt x="31" y="101"/>
                      <a:pt x="31" y="101"/>
                    </a:cubicBezTo>
                    <a:cubicBezTo>
                      <a:pt x="31" y="99"/>
                      <a:pt x="31" y="99"/>
                      <a:pt x="31" y="99"/>
                    </a:cubicBezTo>
                    <a:cubicBezTo>
                      <a:pt x="31" y="99"/>
                      <a:pt x="30" y="98"/>
                      <a:pt x="30" y="97"/>
                    </a:cubicBezTo>
                    <a:cubicBezTo>
                      <a:pt x="29" y="96"/>
                      <a:pt x="30" y="96"/>
                      <a:pt x="30" y="95"/>
                    </a:cubicBezTo>
                    <a:cubicBezTo>
                      <a:pt x="30" y="95"/>
                      <a:pt x="32" y="94"/>
                      <a:pt x="32" y="94"/>
                    </a:cubicBezTo>
                    <a:cubicBezTo>
                      <a:pt x="32" y="93"/>
                      <a:pt x="33" y="93"/>
                      <a:pt x="33" y="93"/>
                    </a:cubicBezTo>
                    <a:cubicBezTo>
                      <a:pt x="36" y="92"/>
                      <a:pt x="36" y="92"/>
                      <a:pt x="36" y="92"/>
                    </a:cubicBezTo>
                    <a:cubicBezTo>
                      <a:pt x="36" y="92"/>
                      <a:pt x="36" y="89"/>
                      <a:pt x="36" y="88"/>
                    </a:cubicBezTo>
                    <a:cubicBezTo>
                      <a:pt x="36" y="88"/>
                      <a:pt x="36" y="88"/>
                      <a:pt x="35" y="88"/>
                    </a:cubicBezTo>
                    <a:cubicBezTo>
                      <a:pt x="34" y="88"/>
                      <a:pt x="34" y="87"/>
                      <a:pt x="34" y="87"/>
                    </a:cubicBezTo>
                    <a:cubicBezTo>
                      <a:pt x="34" y="87"/>
                      <a:pt x="34" y="85"/>
                      <a:pt x="34" y="85"/>
                    </a:cubicBezTo>
                    <a:cubicBezTo>
                      <a:pt x="33" y="83"/>
                      <a:pt x="33" y="83"/>
                      <a:pt x="33" y="83"/>
                    </a:cubicBezTo>
                    <a:cubicBezTo>
                      <a:pt x="29" y="84"/>
                      <a:pt x="29" y="84"/>
                      <a:pt x="29" y="84"/>
                    </a:cubicBezTo>
                    <a:cubicBezTo>
                      <a:pt x="29" y="84"/>
                      <a:pt x="27" y="85"/>
                      <a:pt x="26" y="85"/>
                    </a:cubicBezTo>
                    <a:cubicBezTo>
                      <a:pt x="26" y="85"/>
                      <a:pt x="24" y="85"/>
                      <a:pt x="24" y="85"/>
                    </a:cubicBezTo>
                    <a:cubicBezTo>
                      <a:pt x="23" y="85"/>
                      <a:pt x="22" y="84"/>
                      <a:pt x="22" y="84"/>
                    </a:cubicBezTo>
                    <a:cubicBezTo>
                      <a:pt x="22" y="84"/>
                      <a:pt x="18" y="85"/>
                      <a:pt x="18" y="85"/>
                    </a:cubicBezTo>
                    <a:cubicBezTo>
                      <a:pt x="18" y="85"/>
                      <a:pt x="17" y="85"/>
                      <a:pt x="17" y="85"/>
                    </a:cubicBezTo>
                    <a:cubicBezTo>
                      <a:pt x="15" y="85"/>
                      <a:pt x="15" y="85"/>
                      <a:pt x="15" y="85"/>
                    </a:cubicBezTo>
                    <a:cubicBezTo>
                      <a:pt x="13" y="86"/>
                      <a:pt x="13" y="86"/>
                      <a:pt x="13" y="86"/>
                    </a:cubicBezTo>
                    <a:cubicBezTo>
                      <a:pt x="12" y="87"/>
                      <a:pt x="12" y="87"/>
                      <a:pt x="12" y="87"/>
                    </a:cubicBezTo>
                    <a:cubicBezTo>
                      <a:pt x="12" y="87"/>
                      <a:pt x="11" y="88"/>
                      <a:pt x="11" y="88"/>
                    </a:cubicBezTo>
                    <a:cubicBezTo>
                      <a:pt x="10" y="88"/>
                      <a:pt x="9" y="88"/>
                      <a:pt x="8" y="88"/>
                    </a:cubicBezTo>
                    <a:cubicBezTo>
                      <a:pt x="8" y="88"/>
                      <a:pt x="7" y="89"/>
                      <a:pt x="7" y="89"/>
                    </a:cubicBezTo>
                    <a:cubicBezTo>
                      <a:pt x="7" y="89"/>
                      <a:pt x="5" y="90"/>
                      <a:pt x="4" y="91"/>
                    </a:cubicBezTo>
                    <a:cubicBezTo>
                      <a:pt x="3" y="86"/>
                      <a:pt x="3" y="86"/>
                      <a:pt x="3" y="86"/>
                    </a:cubicBezTo>
                    <a:cubicBezTo>
                      <a:pt x="6" y="77"/>
                      <a:pt x="6" y="77"/>
                      <a:pt x="6" y="77"/>
                    </a:cubicBezTo>
                    <a:cubicBezTo>
                      <a:pt x="11" y="73"/>
                      <a:pt x="11" y="73"/>
                      <a:pt x="11" y="73"/>
                    </a:cubicBezTo>
                    <a:cubicBezTo>
                      <a:pt x="13" y="65"/>
                      <a:pt x="13" y="65"/>
                      <a:pt x="13" y="65"/>
                    </a:cubicBezTo>
                    <a:cubicBezTo>
                      <a:pt x="10" y="62"/>
                      <a:pt x="10" y="62"/>
                      <a:pt x="10" y="62"/>
                    </a:cubicBezTo>
                    <a:cubicBezTo>
                      <a:pt x="10" y="59"/>
                      <a:pt x="19" y="53"/>
                      <a:pt x="18" y="50"/>
                    </a:cubicBezTo>
                    <a:cubicBezTo>
                      <a:pt x="17" y="47"/>
                      <a:pt x="6" y="56"/>
                      <a:pt x="5" y="53"/>
                    </a:cubicBezTo>
                    <a:cubicBezTo>
                      <a:pt x="4" y="47"/>
                      <a:pt x="7" y="48"/>
                      <a:pt x="12" y="43"/>
                    </a:cubicBezTo>
                    <a:cubicBezTo>
                      <a:pt x="6" y="41"/>
                      <a:pt x="6" y="41"/>
                      <a:pt x="6" y="41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2" y="33"/>
                      <a:pt x="2" y="33"/>
                      <a:pt x="2" y="33"/>
                    </a:cubicBezTo>
                    <a:cubicBezTo>
                      <a:pt x="2" y="33"/>
                      <a:pt x="3" y="30"/>
                      <a:pt x="3" y="27"/>
                    </a:cubicBezTo>
                    <a:cubicBezTo>
                      <a:pt x="3" y="24"/>
                      <a:pt x="6" y="23"/>
                      <a:pt x="6" y="23"/>
                    </a:cubicBezTo>
                    <a:cubicBezTo>
                      <a:pt x="9" y="22"/>
                      <a:pt x="11" y="20"/>
                      <a:pt x="14" y="18"/>
                    </a:cubicBezTo>
                    <a:cubicBezTo>
                      <a:pt x="17" y="14"/>
                      <a:pt x="20" y="16"/>
                      <a:pt x="22" y="15"/>
                    </a:cubicBezTo>
                    <a:cubicBezTo>
                      <a:pt x="25" y="13"/>
                      <a:pt x="25" y="15"/>
                      <a:pt x="35" y="17"/>
                    </a:cubicBezTo>
                    <a:cubicBezTo>
                      <a:pt x="37" y="16"/>
                      <a:pt x="41" y="16"/>
                      <a:pt x="42" y="14"/>
                    </a:cubicBezTo>
                    <a:cubicBezTo>
                      <a:pt x="44" y="12"/>
                      <a:pt x="47" y="13"/>
                      <a:pt x="47" y="9"/>
                    </a:cubicBezTo>
                    <a:cubicBezTo>
                      <a:pt x="48" y="3"/>
                      <a:pt x="59" y="7"/>
                      <a:pt x="59" y="5"/>
                    </a:cubicBezTo>
                    <a:cubicBezTo>
                      <a:pt x="61" y="5"/>
                      <a:pt x="63" y="0"/>
                      <a:pt x="68" y="0"/>
                    </a:cubicBezTo>
                    <a:cubicBezTo>
                      <a:pt x="72" y="1"/>
                      <a:pt x="73" y="2"/>
                      <a:pt x="76" y="3"/>
                    </a:cubicBezTo>
                    <a:cubicBezTo>
                      <a:pt x="87" y="10"/>
                      <a:pt x="82" y="14"/>
                      <a:pt x="95" y="18"/>
                    </a:cubicBezTo>
                    <a:cubicBezTo>
                      <a:pt x="106" y="21"/>
                      <a:pt x="119" y="24"/>
                      <a:pt x="130" y="26"/>
                    </a:cubicBezTo>
                    <a:cubicBezTo>
                      <a:pt x="140" y="27"/>
                      <a:pt x="150" y="31"/>
                      <a:pt x="160" y="35"/>
                    </a:cubicBezTo>
                    <a:cubicBezTo>
                      <a:pt x="160" y="35"/>
                      <a:pt x="197" y="52"/>
                      <a:pt x="198" y="53"/>
                    </a:cubicBezTo>
                    <a:cubicBezTo>
                      <a:pt x="199" y="53"/>
                      <a:pt x="220" y="49"/>
                      <a:pt x="221" y="49"/>
                    </a:cubicBezTo>
                    <a:cubicBezTo>
                      <a:pt x="222" y="49"/>
                      <a:pt x="229" y="50"/>
                      <a:pt x="234" y="53"/>
                    </a:cubicBezTo>
                    <a:cubicBezTo>
                      <a:pt x="237" y="56"/>
                      <a:pt x="247" y="63"/>
                      <a:pt x="247" y="63"/>
                    </a:cubicBezTo>
                    <a:cubicBezTo>
                      <a:pt x="249" y="64"/>
                      <a:pt x="261" y="62"/>
                      <a:pt x="261" y="62"/>
                    </a:cubicBezTo>
                    <a:cubicBezTo>
                      <a:pt x="269" y="62"/>
                      <a:pt x="276" y="71"/>
                      <a:pt x="280" y="72"/>
                    </a:cubicBezTo>
                    <a:cubicBezTo>
                      <a:pt x="285" y="73"/>
                      <a:pt x="297" y="67"/>
                      <a:pt x="302" y="72"/>
                    </a:cubicBezTo>
                    <a:cubicBezTo>
                      <a:pt x="302" y="72"/>
                      <a:pt x="312" y="73"/>
                      <a:pt x="313" y="78"/>
                    </a:cubicBezTo>
                    <a:cubicBezTo>
                      <a:pt x="315" y="83"/>
                      <a:pt x="319" y="91"/>
                      <a:pt x="319" y="91"/>
                    </a:cubicBezTo>
                    <a:cubicBezTo>
                      <a:pt x="332" y="96"/>
                      <a:pt x="332" y="96"/>
                      <a:pt x="332" y="96"/>
                    </a:cubicBezTo>
                    <a:cubicBezTo>
                      <a:pt x="332" y="96"/>
                      <a:pt x="339" y="102"/>
                      <a:pt x="340" y="104"/>
                    </a:cubicBezTo>
                    <a:cubicBezTo>
                      <a:pt x="341" y="105"/>
                      <a:pt x="356" y="110"/>
                      <a:pt x="356" y="110"/>
                    </a:cubicBezTo>
                    <a:cubicBezTo>
                      <a:pt x="366" y="119"/>
                      <a:pt x="366" y="119"/>
                      <a:pt x="366" y="119"/>
                    </a:cubicBezTo>
                    <a:cubicBezTo>
                      <a:pt x="381" y="119"/>
                      <a:pt x="381" y="119"/>
                      <a:pt x="381" y="119"/>
                    </a:cubicBezTo>
                    <a:cubicBezTo>
                      <a:pt x="391" y="121"/>
                      <a:pt x="391" y="121"/>
                      <a:pt x="391" y="121"/>
                    </a:cubicBezTo>
                    <a:cubicBezTo>
                      <a:pt x="396" y="115"/>
                      <a:pt x="396" y="115"/>
                      <a:pt x="396" y="115"/>
                    </a:cubicBezTo>
                    <a:cubicBezTo>
                      <a:pt x="396" y="115"/>
                      <a:pt x="421" y="127"/>
                      <a:pt x="422" y="127"/>
                    </a:cubicBezTo>
                    <a:cubicBezTo>
                      <a:pt x="423" y="127"/>
                      <a:pt x="423" y="130"/>
                      <a:pt x="424" y="133"/>
                    </a:cubicBezTo>
                    <a:cubicBezTo>
                      <a:pt x="424" y="134"/>
                      <a:pt x="424" y="134"/>
                      <a:pt x="424" y="134"/>
                    </a:cubicBezTo>
                    <a:cubicBezTo>
                      <a:pt x="423" y="134"/>
                      <a:pt x="424" y="134"/>
                      <a:pt x="424" y="134"/>
                    </a:cubicBezTo>
                    <a:cubicBezTo>
                      <a:pt x="424" y="134"/>
                      <a:pt x="424" y="134"/>
                      <a:pt x="424" y="134"/>
                    </a:cubicBezTo>
                    <a:cubicBezTo>
                      <a:pt x="424" y="136"/>
                      <a:pt x="424" y="136"/>
                      <a:pt x="424" y="136"/>
                    </a:cubicBezTo>
                    <a:cubicBezTo>
                      <a:pt x="424" y="137"/>
                      <a:pt x="424" y="137"/>
                      <a:pt x="424" y="137"/>
                    </a:cubicBezTo>
                    <a:cubicBezTo>
                      <a:pt x="423" y="137"/>
                      <a:pt x="423" y="137"/>
                      <a:pt x="423" y="137"/>
                    </a:cubicBezTo>
                    <a:cubicBezTo>
                      <a:pt x="423" y="137"/>
                      <a:pt x="423" y="137"/>
                      <a:pt x="423" y="137"/>
                    </a:cubicBezTo>
                    <a:cubicBezTo>
                      <a:pt x="424" y="138"/>
                      <a:pt x="424" y="138"/>
                      <a:pt x="424" y="138"/>
                    </a:cubicBezTo>
                    <a:cubicBezTo>
                      <a:pt x="424" y="138"/>
                      <a:pt x="424" y="138"/>
                      <a:pt x="424" y="138"/>
                    </a:cubicBezTo>
                    <a:cubicBezTo>
                      <a:pt x="424" y="138"/>
                      <a:pt x="424" y="138"/>
                      <a:pt x="424" y="139"/>
                    </a:cubicBezTo>
                    <a:cubicBezTo>
                      <a:pt x="424" y="139"/>
                      <a:pt x="424" y="139"/>
                      <a:pt x="424" y="139"/>
                    </a:cubicBezTo>
                    <a:cubicBezTo>
                      <a:pt x="424" y="139"/>
                      <a:pt x="424" y="139"/>
                      <a:pt x="424" y="140"/>
                    </a:cubicBezTo>
                    <a:cubicBezTo>
                      <a:pt x="424" y="140"/>
                      <a:pt x="424" y="140"/>
                      <a:pt x="424" y="140"/>
                    </a:cubicBezTo>
                    <a:cubicBezTo>
                      <a:pt x="425" y="140"/>
                      <a:pt x="425" y="140"/>
                      <a:pt x="425" y="140"/>
                    </a:cubicBezTo>
                    <a:cubicBezTo>
                      <a:pt x="425" y="140"/>
                      <a:pt x="425" y="140"/>
                      <a:pt x="425" y="140"/>
                    </a:cubicBezTo>
                    <a:cubicBezTo>
                      <a:pt x="425" y="140"/>
                      <a:pt x="426" y="141"/>
                      <a:pt x="426" y="141"/>
                    </a:cubicBezTo>
                    <a:cubicBezTo>
                      <a:pt x="426" y="141"/>
                      <a:pt x="426" y="141"/>
                      <a:pt x="427" y="141"/>
                    </a:cubicBezTo>
                    <a:cubicBezTo>
                      <a:pt x="427" y="141"/>
                      <a:pt x="427" y="141"/>
                      <a:pt x="428" y="141"/>
                    </a:cubicBezTo>
                    <a:cubicBezTo>
                      <a:pt x="428" y="141"/>
                      <a:pt x="428" y="141"/>
                      <a:pt x="428" y="141"/>
                    </a:cubicBezTo>
                    <a:cubicBezTo>
                      <a:pt x="428" y="141"/>
                      <a:pt x="429" y="141"/>
                      <a:pt x="429" y="140"/>
                    </a:cubicBezTo>
                    <a:cubicBezTo>
                      <a:pt x="442" y="143"/>
                      <a:pt x="442" y="143"/>
                      <a:pt x="442" y="143"/>
                    </a:cubicBezTo>
                    <a:cubicBezTo>
                      <a:pt x="445" y="144"/>
                      <a:pt x="445" y="146"/>
                      <a:pt x="448" y="148"/>
                    </a:cubicBezTo>
                    <a:cubicBezTo>
                      <a:pt x="456" y="145"/>
                      <a:pt x="456" y="145"/>
                      <a:pt x="456" y="145"/>
                    </a:cubicBezTo>
                    <a:cubicBezTo>
                      <a:pt x="466" y="152"/>
                      <a:pt x="466" y="152"/>
                      <a:pt x="466" y="152"/>
                    </a:cubicBezTo>
                    <a:cubicBezTo>
                      <a:pt x="475" y="149"/>
                      <a:pt x="475" y="149"/>
                      <a:pt x="475" y="149"/>
                    </a:cubicBezTo>
                    <a:cubicBezTo>
                      <a:pt x="484" y="149"/>
                      <a:pt x="484" y="149"/>
                      <a:pt x="484" y="149"/>
                    </a:cubicBezTo>
                    <a:cubicBezTo>
                      <a:pt x="484" y="147"/>
                      <a:pt x="505" y="149"/>
                      <a:pt x="496" y="159"/>
                    </a:cubicBezTo>
                    <a:close/>
                    <a:moveTo>
                      <a:pt x="506" y="281"/>
                    </a:moveTo>
                    <a:cubicBezTo>
                      <a:pt x="506" y="281"/>
                      <a:pt x="506" y="281"/>
                      <a:pt x="506" y="281"/>
                    </a:cubicBezTo>
                    <a:cubicBezTo>
                      <a:pt x="506" y="287"/>
                      <a:pt x="516" y="285"/>
                      <a:pt x="521" y="289"/>
                    </a:cubicBezTo>
                    <a:cubicBezTo>
                      <a:pt x="523" y="291"/>
                      <a:pt x="521" y="296"/>
                      <a:pt x="524" y="297"/>
                    </a:cubicBezTo>
                    <a:cubicBezTo>
                      <a:pt x="531" y="303"/>
                      <a:pt x="534" y="292"/>
                      <a:pt x="528" y="281"/>
                    </a:cubicBezTo>
                    <a:cubicBezTo>
                      <a:pt x="526" y="279"/>
                      <a:pt x="523" y="279"/>
                      <a:pt x="520" y="279"/>
                    </a:cubicBezTo>
                    <a:cubicBezTo>
                      <a:pt x="515" y="279"/>
                      <a:pt x="505" y="276"/>
                      <a:pt x="506" y="281"/>
                    </a:cubicBezTo>
                    <a:close/>
                    <a:moveTo>
                      <a:pt x="448" y="300"/>
                    </a:moveTo>
                    <a:cubicBezTo>
                      <a:pt x="448" y="300"/>
                      <a:pt x="448" y="300"/>
                      <a:pt x="448" y="300"/>
                    </a:cubicBezTo>
                    <a:cubicBezTo>
                      <a:pt x="452" y="301"/>
                      <a:pt x="456" y="297"/>
                      <a:pt x="460" y="299"/>
                    </a:cubicBezTo>
                    <a:cubicBezTo>
                      <a:pt x="462" y="301"/>
                      <a:pt x="461" y="305"/>
                      <a:pt x="462" y="308"/>
                    </a:cubicBezTo>
                    <a:cubicBezTo>
                      <a:pt x="456" y="314"/>
                      <a:pt x="472" y="313"/>
                      <a:pt x="473" y="313"/>
                    </a:cubicBezTo>
                    <a:cubicBezTo>
                      <a:pt x="473" y="315"/>
                      <a:pt x="475" y="320"/>
                      <a:pt x="478" y="318"/>
                    </a:cubicBezTo>
                    <a:cubicBezTo>
                      <a:pt x="494" y="299"/>
                      <a:pt x="494" y="299"/>
                      <a:pt x="494" y="299"/>
                    </a:cubicBezTo>
                    <a:cubicBezTo>
                      <a:pt x="494" y="297"/>
                      <a:pt x="493" y="295"/>
                      <a:pt x="491" y="295"/>
                    </a:cubicBezTo>
                    <a:cubicBezTo>
                      <a:pt x="487" y="293"/>
                      <a:pt x="482" y="297"/>
                      <a:pt x="479" y="295"/>
                    </a:cubicBezTo>
                    <a:cubicBezTo>
                      <a:pt x="476" y="293"/>
                      <a:pt x="482" y="285"/>
                      <a:pt x="478" y="282"/>
                    </a:cubicBezTo>
                    <a:cubicBezTo>
                      <a:pt x="470" y="276"/>
                      <a:pt x="467" y="283"/>
                      <a:pt x="461" y="288"/>
                    </a:cubicBezTo>
                    <a:cubicBezTo>
                      <a:pt x="457" y="291"/>
                      <a:pt x="451" y="292"/>
                      <a:pt x="447" y="296"/>
                    </a:cubicBezTo>
                    <a:cubicBezTo>
                      <a:pt x="446" y="297"/>
                      <a:pt x="447" y="300"/>
                      <a:pt x="448" y="300"/>
                    </a:cubicBezTo>
                    <a:close/>
                    <a:moveTo>
                      <a:pt x="391" y="329"/>
                    </a:moveTo>
                    <a:cubicBezTo>
                      <a:pt x="391" y="329"/>
                      <a:pt x="391" y="329"/>
                      <a:pt x="391" y="329"/>
                    </a:cubicBezTo>
                    <a:cubicBezTo>
                      <a:pt x="387" y="332"/>
                      <a:pt x="395" y="337"/>
                      <a:pt x="397" y="337"/>
                    </a:cubicBezTo>
                    <a:cubicBezTo>
                      <a:pt x="399" y="337"/>
                      <a:pt x="411" y="329"/>
                      <a:pt x="411" y="326"/>
                    </a:cubicBezTo>
                    <a:cubicBezTo>
                      <a:pt x="410" y="322"/>
                      <a:pt x="405" y="321"/>
                      <a:pt x="402" y="321"/>
                    </a:cubicBezTo>
                    <a:cubicBezTo>
                      <a:pt x="398" y="322"/>
                      <a:pt x="394" y="326"/>
                      <a:pt x="391" y="329"/>
                    </a:cubicBezTo>
                    <a:close/>
                  </a:path>
                </a:pathLst>
              </a:custGeom>
              <a:solidFill>
                <a:srgbClr val="EB6E62"/>
              </a:solidFill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76" name="Freeform 146">
                <a:extLst>
                  <a:ext uri="{FF2B5EF4-FFF2-40B4-BE49-F238E27FC236}">
                    <a16:creationId xmlns:a16="http://schemas.microsoft.com/office/drawing/2014/main" id="{9387A3D4-CF34-6322-05ED-3E53119291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07332" y="3610462"/>
                <a:ext cx="914070" cy="825065"/>
              </a:xfrm>
              <a:custGeom>
                <a:avLst/>
                <a:gdLst>
                  <a:gd name="T0" fmla="*/ 263 w 408"/>
                  <a:gd name="T1" fmla="*/ 27 h 380"/>
                  <a:gd name="T2" fmla="*/ 184 w 408"/>
                  <a:gd name="T3" fmla="*/ 62 h 380"/>
                  <a:gd name="T4" fmla="*/ 187 w 408"/>
                  <a:gd name="T5" fmla="*/ 95 h 380"/>
                  <a:gd name="T6" fmla="*/ 179 w 408"/>
                  <a:gd name="T7" fmla="*/ 109 h 380"/>
                  <a:gd name="T8" fmla="*/ 168 w 408"/>
                  <a:gd name="T9" fmla="*/ 118 h 380"/>
                  <a:gd name="T10" fmla="*/ 128 w 408"/>
                  <a:gd name="T11" fmla="*/ 89 h 380"/>
                  <a:gd name="T12" fmla="*/ 141 w 408"/>
                  <a:gd name="T13" fmla="*/ 145 h 380"/>
                  <a:gd name="T14" fmla="*/ 138 w 408"/>
                  <a:gd name="T15" fmla="*/ 166 h 380"/>
                  <a:gd name="T16" fmla="*/ 152 w 408"/>
                  <a:gd name="T17" fmla="*/ 191 h 380"/>
                  <a:gd name="T18" fmla="*/ 154 w 408"/>
                  <a:gd name="T19" fmla="*/ 172 h 380"/>
                  <a:gd name="T20" fmla="*/ 214 w 408"/>
                  <a:gd name="T21" fmla="*/ 210 h 380"/>
                  <a:gd name="T22" fmla="*/ 187 w 408"/>
                  <a:gd name="T23" fmla="*/ 202 h 380"/>
                  <a:gd name="T24" fmla="*/ 199 w 408"/>
                  <a:gd name="T25" fmla="*/ 234 h 380"/>
                  <a:gd name="T26" fmla="*/ 164 w 408"/>
                  <a:gd name="T27" fmla="*/ 233 h 380"/>
                  <a:gd name="T28" fmla="*/ 133 w 408"/>
                  <a:gd name="T29" fmla="*/ 212 h 380"/>
                  <a:gd name="T30" fmla="*/ 67 w 408"/>
                  <a:gd name="T31" fmla="*/ 211 h 380"/>
                  <a:gd name="T32" fmla="*/ 71 w 408"/>
                  <a:gd name="T33" fmla="*/ 194 h 380"/>
                  <a:gd name="T34" fmla="*/ 29 w 408"/>
                  <a:gd name="T35" fmla="*/ 157 h 380"/>
                  <a:gd name="T36" fmla="*/ 89 w 408"/>
                  <a:gd name="T37" fmla="*/ 68 h 380"/>
                  <a:gd name="T38" fmla="*/ 195 w 408"/>
                  <a:gd name="T39" fmla="*/ 33 h 380"/>
                  <a:gd name="T40" fmla="*/ 184 w 408"/>
                  <a:gd name="T41" fmla="*/ 157 h 380"/>
                  <a:gd name="T42" fmla="*/ 353 w 408"/>
                  <a:gd name="T43" fmla="*/ 252 h 380"/>
                  <a:gd name="T44" fmla="*/ 393 w 408"/>
                  <a:gd name="T45" fmla="*/ 297 h 380"/>
                  <a:gd name="T46" fmla="*/ 373 w 408"/>
                  <a:gd name="T47" fmla="*/ 331 h 380"/>
                  <a:gd name="T48" fmla="*/ 370 w 408"/>
                  <a:gd name="T49" fmla="*/ 333 h 380"/>
                  <a:gd name="T50" fmla="*/ 174 w 408"/>
                  <a:gd name="T51" fmla="*/ 162 h 380"/>
                  <a:gd name="T52" fmla="*/ 262 w 408"/>
                  <a:gd name="T53" fmla="*/ 176 h 380"/>
                  <a:gd name="T54" fmla="*/ 205 w 408"/>
                  <a:gd name="T55" fmla="*/ 72 h 380"/>
                  <a:gd name="T56" fmla="*/ 233 w 408"/>
                  <a:gd name="T57" fmla="*/ 105 h 380"/>
                  <a:gd name="T58" fmla="*/ 281 w 408"/>
                  <a:gd name="T59" fmla="*/ 146 h 380"/>
                  <a:gd name="T60" fmla="*/ 277 w 408"/>
                  <a:gd name="T61" fmla="*/ 131 h 380"/>
                  <a:gd name="T62" fmla="*/ 288 w 408"/>
                  <a:gd name="T63" fmla="*/ 180 h 380"/>
                  <a:gd name="T64" fmla="*/ 288 w 408"/>
                  <a:gd name="T65" fmla="*/ 190 h 380"/>
                  <a:gd name="T66" fmla="*/ 315 w 408"/>
                  <a:gd name="T67" fmla="*/ 213 h 380"/>
                  <a:gd name="T68" fmla="*/ 279 w 408"/>
                  <a:gd name="T69" fmla="*/ 292 h 380"/>
                  <a:gd name="T70" fmla="*/ 239 w 408"/>
                  <a:gd name="T71" fmla="*/ 288 h 380"/>
                  <a:gd name="T72" fmla="*/ 255 w 408"/>
                  <a:gd name="T73" fmla="*/ 287 h 380"/>
                  <a:gd name="T74" fmla="*/ 274 w 408"/>
                  <a:gd name="T75" fmla="*/ 259 h 380"/>
                  <a:gd name="T76" fmla="*/ 267 w 408"/>
                  <a:gd name="T77" fmla="*/ 256 h 380"/>
                  <a:gd name="T78" fmla="*/ 244 w 408"/>
                  <a:gd name="T79" fmla="*/ 271 h 380"/>
                  <a:gd name="T80" fmla="*/ 219 w 408"/>
                  <a:gd name="T81" fmla="*/ 239 h 380"/>
                  <a:gd name="T82" fmla="*/ 245 w 408"/>
                  <a:gd name="T83" fmla="*/ 240 h 380"/>
                  <a:gd name="T84" fmla="*/ 270 w 408"/>
                  <a:gd name="T85" fmla="*/ 236 h 380"/>
                  <a:gd name="T86" fmla="*/ 245 w 408"/>
                  <a:gd name="T87" fmla="*/ 222 h 380"/>
                  <a:gd name="T88" fmla="*/ 221 w 408"/>
                  <a:gd name="T89" fmla="*/ 357 h 380"/>
                  <a:gd name="T90" fmla="*/ 282 w 408"/>
                  <a:gd name="T91" fmla="*/ 356 h 380"/>
                  <a:gd name="T92" fmla="*/ 335 w 408"/>
                  <a:gd name="T93" fmla="*/ 353 h 380"/>
                  <a:gd name="T94" fmla="*/ 260 w 408"/>
                  <a:gd name="T95" fmla="*/ 372 h 380"/>
                  <a:gd name="T96" fmla="*/ 172 w 408"/>
                  <a:gd name="T97" fmla="*/ 319 h 380"/>
                  <a:gd name="T98" fmla="*/ 87 w 408"/>
                  <a:gd name="T99" fmla="*/ 238 h 380"/>
                  <a:gd name="T100" fmla="*/ 107 w 408"/>
                  <a:gd name="T101" fmla="*/ 292 h 380"/>
                  <a:gd name="T102" fmla="*/ 138 w 408"/>
                  <a:gd name="T103" fmla="*/ 298 h 380"/>
                  <a:gd name="T104" fmla="*/ 163 w 408"/>
                  <a:gd name="T105" fmla="*/ 298 h 380"/>
                  <a:gd name="T106" fmla="*/ 174 w 408"/>
                  <a:gd name="T107" fmla="*/ 293 h 380"/>
                  <a:gd name="T108" fmla="*/ 169 w 408"/>
                  <a:gd name="T109" fmla="*/ 263 h 380"/>
                  <a:gd name="T110" fmla="*/ 178 w 408"/>
                  <a:gd name="T111" fmla="*/ 247 h 380"/>
                  <a:gd name="T112" fmla="*/ 115 w 408"/>
                  <a:gd name="T113" fmla="*/ 223 h 380"/>
                  <a:gd name="T114" fmla="*/ 66 w 408"/>
                  <a:gd name="T115" fmla="*/ 265 h 380"/>
                  <a:gd name="T116" fmla="*/ 65 w 408"/>
                  <a:gd name="T117" fmla="*/ 242 h 380"/>
                  <a:gd name="T118" fmla="*/ 11 w 408"/>
                  <a:gd name="T119" fmla="*/ 161 h 380"/>
                  <a:gd name="T120" fmla="*/ 11 w 408"/>
                  <a:gd name="T121" fmla="*/ 157 h 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08" h="380">
                    <a:moveTo>
                      <a:pt x="222" y="32"/>
                    </a:moveTo>
                    <a:cubicBezTo>
                      <a:pt x="227" y="30"/>
                      <a:pt x="227" y="30"/>
                      <a:pt x="227" y="30"/>
                    </a:cubicBezTo>
                    <a:cubicBezTo>
                      <a:pt x="227" y="30"/>
                      <a:pt x="233" y="28"/>
                      <a:pt x="234" y="28"/>
                    </a:cubicBezTo>
                    <a:cubicBezTo>
                      <a:pt x="235" y="28"/>
                      <a:pt x="240" y="27"/>
                      <a:pt x="241" y="26"/>
                    </a:cubicBezTo>
                    <a:cubicBezTo>
                      <a:pt x="242" y="26"/>
                      <a:pt x="245" y="24"/>
                      <a:pt x="246" y="23"/>
                    </a:cubicBezTo>
                    <a:cubicBezTo>
                      <a:pt x="247" y="23"/>
                      <a:pt x="249" y="23"/>
                      <a:pt x="251" y="21"/>
                    </a:cubicBezTo>
                    <a:cubicBezTo>
                      <a:pt x="252" y="20"/>
                      <a:pt x="253" y="17"/>
                      <a:pt x="253" y="16"/>
                    </a:cubicBezTo>
                    <a:cubicBezTo>
                      <a:pt x="253" y="15"/>
                      <a:pt x="252" y="15"/>
                      <a:pt x="251" y="12"/>
                    </a:cubicBezTo>
                    <a:cubicBezTo>
                      <a:pt x="249" y="9"/>
                      <a:pt x="247" y="7"/>
                      <a:pt x="247" y="6"/>
                    </a:cubicBezTo>
                    <a:cubicBezTo>
                      <a:pt x="246" y="4"/>
                      <a:pt x="246" y="2"/>
                      <a:pt x="247" y="2"/>
                    </a:cubicBezTo>
                    <a:cubicBezTo>
                      <a:pt x="248" y="1"/>
                      <a:pt x="251" y="0"/>
                      <a:pt x="253" y="0"/>
                    </a:cubicBezTo>
                    <a:cubicBezTo>
                      <a:pt x="255" y="1"/>
                      <a:pt x="260" y="2"/>
                      <a:pt x="261" y="2"/>
                    </a:cubicBezTo>
                    <a:cubicBezTo>
                      <a:pt x="262" y="2"/>
                      <a:pt x="267" y="5"/>
                      <a:pt x="267" y="5"/>
                    </a:cubicBezTo>
                    <a:cubicBezTo>
                      <a:pt x="267" y="5"/>
                      <a:pt x="269" y="10"/>
                      <a:pt x="269" y="11"/>
                    </a:cubicBezTo>
                    <a:cubicBezTo>
                      <a:pt x="269" y="12"/>
                      <a:pt x="274" y="18"/>
                      <a:pt x="272" y="18"/>
                    </a:cubicBezTo>
                    <a:cubicBezTo>
                      <a:pt x="271" y="18"/>
                      <a:pt x="267" y="19"/>
                      <a:pt x="267" y="19"/>
                    </a:cubicBezTo>
                    <a:cubicBezTo>
                      <a:pt x="265" y="22"/>
                      <a:pt x="265" y="22"/>
                      <a:pt x="265" y="22"/>
                    </a:cubicBezTo>
                    <a:cubicBezTo>
                      <a:pt x="265" y="22"/>
                      <a:pt x="263" y="26"/>
                      <a:pt x="263" y="27"/>
                    </a:cubicBezTo>
                    <a:cubicBezTo>
                      <a:pt x="263" y="28"/>
                      <a:pt x="262" y="33"/>
                      <a:pt x="262" y="33"/>
                    </a:cubicBezTo>
                    <a:cubicBezTo>
                      <a:pt x="267" y="44"/>
                      <a:pt x="267" y="44"/>
                      <a:pt x="267" y="44"/>
                    </a:cubicBezTo>
                    <a:cubicBezTo>
                      <a:pt x="262" y="51"/>
                      <a:pt x="262" y="51"/>
                      <a:pt x="262" y="51"/>
                    </a:cubicBezTo>
                    <a:cubicBezTo>
                      <a:pt x="258" y="55"/>
                      <a:pt x="258" y="55"/>
                      <a:pt x="258" y="55"/>
                    </a:cubicBezTo>
                    <a:cubicBezTo>
                      <a:pt x="258" y="55"/>
                      <a:pt x="252" y="55"/>
                      <a:pt x="252" y="54"/>
                    </a:cubicBezTo>
                    <a:cubicBezTo>
                      <a:pt x="252" y="53"/>
                      <a:pt x="248" y="51"/>
                      <a:pt x="248" y="51"/>
                    </a:cubicBezTo>
                    <a:cubicBezTo>
                      <a:pt x="248" y="51"/>
                      <a:pt x="242" y="52"/>
                      <a:pt x="241" y="53"/>
                    </a:cubicBezTo>
                    <a:cubicBezTo>
                      <a:pt x="240" y="53"/>
                      <a:pt x="226" y="54"/>
                      <a:pt x="226" y="54"/>
                    </a:cubicBezTo>
                    <a:cubicBezTo>
                      <a:pt x="226" y="54"/>
                      <a:pt x="223" y="53"/>
                      <a:pt x="222" y="53"/>
                    </a:cubicBezTo>
                    <a:cubicBezTo>
                      <a:pt x="221" y="53"/>
                      <a:pt x="216" y="53"/>
                      <a:pt x="216" y="53"/>
                    </a:cubicBezTo>
                    <a:cubicBezTo>
                      <a:pt x="215" y="49"/>
                      <a:pt x="215" y="49"/>
                      <a:pt x="215" y="49"/>
                    </a:cubicBezTo>
                    <a:cubicBezTo>
                      <a:pt x="211" y="50"/>
                      <a:pt x="211" y="50"/>
                      <a:pt x="211" y="50"/>
                    </a:cubicBezTo>
                    <a:cubicBezTo>
                      <a:pt x="210" y="54"/>
                      <a:pt x="210" y="54"/>
                      <a:pt x="210" y="54"/>
                    </a:cubicBezTo>
                    <a:cubicBezTo>
                      <a:pt x="205" y="57"/>
                      <a:pt x="205" y="57"/>
                      <a:pt x="205" y="57"/>
                    </a:cubicBezTo>
                    <a:cubicBezTo>
                      <a:pt x="200" y="60"/>
                      <a:pt x="200" y="60"/>
                      <a:pt x="200" y="60"/>
                    </a:cubicBezTo>
                    <a:cubicBezTo>
                      <a:pt x="190" y="60"/>
                      <a:pt x="190" y="60"/>
                      <a:pt x="190" y="60"/>
                    </a:cubicBezTo>
                    <a:cubicBezTo>
                      <a:pt x="184" y="60"/>
                      <a:pt x="184" y="60"/>
                      <a:pt x="184" y="60"/>
                    </a:cubicBezTo>
                    <a:cubicBezTo>
                      <a:pt x="184" y="62"/>
                      <a:pt x="184" y="62"/>
                      <a:pt x="184" y="62"/>
                    </a:cubicBezTo>
                    <a:cubicBezTo>
                      <a:pt x="181" y="68"/>
                      <a:pt x="181" y="68"/>
                      <a:pt x="181" y="68"/>
                    </a:cubicBezTo>
                    <a:cubicBezTo>
                      <a:pt x="177" y="71"/>
                      <a:pt x="177" y="71"/>
                      <a:pt x="177" y="71"/>
                    </a:cubicBezTo>
                    <a:cubicBezTo>
                      <a:pt x="177" y="71"/>
                      <a:pt x="171" y="73"/>
                      <a:pt x="170" y="74"/>
                    </a:cubicBezTo>
                    <a:cubicBezTo>
                      <a:pt x="170" y="74"/>
                      <a:pt x="166" y="73"/>
                      <a:pt x="166" y="73"/>
                    </a:cubicBezTo>
                    <a:cubicBezTo>
                      <a:pt x="161" y="76"/>
                      <a:pt x="161" y="76"/>
                      <a:pt x="161" y="76"/>
                    </a:cubicBezTo>
                    <a:cubicBezTo>
                      <a:pt x="160" y="79"/>
                      <a:pt x="160" y="79"/>
                      <a:pt x="160" y="79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6" y="83"/>
                      <a:pt x="166" y="83"/>
                      <a:pt x="166" y="83"/>
                    </a:cubicBezTo>
                    <a:cubicBezTo>
                      <a:pt x="166" y="83"/>
                      <a:pt x="169" y="84"/>
                      <a:pt x="169" y="85"/>
                    </a:cubicBezTo>
                    <a:cubicBezTo>
                      <a:pt x="169" y="85"/>
                      <a:pt x="168" y="87"/>
                      <a:pt x="168" y="87"/>
                    </a:cubicBezTo>
                    <a:cubicBezTo>
                      <a:pt x="168" y="92"/>
                      <a:pt x="168" y="92"/>
                      <a:pt x="168" y="92"/>
                    </a:cubicBezTo>
                    <a:cubicBezTo>
                      <a:pt x="168" y="92"/>
                      <a:pt x="171" y="93"/>
                      <a:pt x="172" y="93"/>
                    </a:cubicBezTo>
                    <a:cubicBezTo>
                      <a:pt x="172" y="93"/>
                      <a:pt x="175" y="91"/>
                      <a:pt x="175" y="91"/>
                    </a:cubicBezTo>
                    <a:cubicBezTo>
                      <a:pt x="175" y="90"/>
                      <a:pt x="176" y="89"/>
                      <a:pt x="176" y="89"/>
                    </a:cubicBezTo>
                    <a:cubicBezTo>
                      <a:pt x="178" y="91"/>
                      <a:pt x="178" y="91"/>
                      <a:pt x="178" y="91"/>
                    </a:cubicBezTo>
                    <a:cubicBezTo>
                      <a:pt x="178" y="91"/>
                      <a:pt x="179" y="93"/>
                      <a:pt x="180" y="93"/>
                    </a:cubicBezTo>
                    <a:cubicBezTo>
                      <a:pt x="180" y="93"/>
                      <a:pt x="183" y="93"/>
                      <a:pt x="183" y="93"/>
                    </a:cubicBezTo>
                    <a:cubicBezTo>
                      <a:pt x="187" y="95"/>
                      <a:pt x="187" y="95"/>
                      <a:pt x="187" y="95"/>
                    </a:cubicBezTo>
                    <a:cubicBezTo>
                      <a:pt x="192" y="99"/>
                      <a:pt x="192" y="99"/>
                      <a:pt x="192" y="99"/>
                    </a:cubicBezTo>
                    <a:cubicBezTo>
                      <a:pt x="192" y="99"/>
                      <a:pt x="196" y="101"/>
                      <a:pt x="195" y="102"/>
                    </a:cubicBezTo>
                    <a:cubicBezTo>
                      <a:pt x="193" y="103"/>
                      <a:pt x="191" y="104"/>
                      <a:pt x="190" y="104"/>
                    </a:cubicBezTo>
                    <a:cubicBezTo>
                      <a:pt x="190" y="104"/>
                      <a:pt x="188" y="103"/>
                      <a:pt x="188" y="102"/>
                    </a:cubicBezTo>
                    <a:cubicBezTo>
                      <a:pt x="188" y="100"/>
                      <a:pt x="187" y="99"/>
                      <a:pt x="186" y="99"/>
                    </a:cubicBezTo>
                    <a:cubicBezTo>
                      <a:pt x="185" y="99"/>
                      <a:pt x="183" y="97"/>
                      <a:pt x="183" y="97"/>
                    </a:cubicBezTo>
                    <a:cubicBezTo>
                      <a:pt x="182" y="97"/>
                      <a:pt x="180" y="97"/>
                      <a:pt x="179" y="98"/>
                    </a:cubicBezTo>
                    <a:cubicBezTo>
                      <a:pt x="178" y="98"/>
                      <a:pt x="176" y="98"/>
                      <a:pt x="176" y="97"/>
                    </a:cubicBezTo>
                    <a:cubicBezTo>
                      <a:pt x="175" y="97"/>
                      <a:pt x="174" y="94"/>
                      <a:pt x="174" y="94"/>
                    </a:cubicBezTo>
                    <a:cubicBezTo>
                      <a:pt x="169" y="93"/>
                      <a:pt x="169" y="93"/>
                      <a:pt x="169" y="93"/>
                    </a:cubicBezTo>
                    <a:cubicBezTo>
                      <a:pt x="169" y="93"/>
                      <a:pt x="168" y="94"/>
                      <a:pt x="168" y="95"/>
                    </a:cubicBezTo>
                    <a:cubicBezTo>
                      <a:pt x="168" y="95"/>
                      <a:pt x="166" y="97"/>
                      <a:pt x="166" y="97"/>
                    </a:cubicBezTo>
                    <a:cubicBezTo>
                      <a:pt x="165" y="98"/>
                      <a:pt x="165" y="98"/>
                      <a:pt x="165" y="98"/>
                    </a:cubicBezTo>
                    <a:cubicBezTo>
                      <a:pt x="165" y="100"/>
                      <a:pt x="165" y="100"/>
                      <a:pt x="165" y="100"/>
                    </a:cubicBezTo>
                    <a:cubicBezTo>
                      <a:pt x="167" y="102"/>
                      <a:pt x="167" y="102"/>
                      <a:pt x="167" y="102"/>
                    </a:cubicBezTo>
                    <a:cubicBezTo>
                      <a:pt x="171" y="105"/>
                      <a:pt x="171" y="105"/>
                      <a:pt x="171" y="105"/>
                    </a:cubicBezTo>
                    <a:cubicBezTo>
                      <a:pt x="171" y="105"/>
                      <a:pt x="176" y="106"/>
                      <a:pt x="176" y="106"/>
                    </a:cubicBezTo>
                    <a:cubicBezTo>
                      <a:pt x="177" y="106"/>
                      <a:pt x="179" y="109"/>
                      <a:pt x="179" y="109"/>
                    </a:cubicBezTo>
                    <a:cubicBezTo>
                      <a:pt x="179" y="112"/>
                      <a:pt x="179" y="112"/>
                      <a:pt x="179" y="112"/>
                    </a:cubicBezTo>
                    <a:cubicBezTo>
                      <a:pt x="178" y="115"/>
                      <a:pt x="178" y="115"/>
                      <a:pt x="178" y="115"/>
                    </a:cubicBezTo>
                    <a:cubicBezTo>
                      <a:pt x="178" y="115"/>
                      <a:pt x="178" y="117"/>
                      <a:pt x="176" y="116"/>
                    </a:cubicBezTo>
                    <a:cubicBezTo>
                      <a:pt x="174" y="115"/>
                      <a:pt x="173" y="114"/>
                      <a:pt x="173" y="114"/>
                    </a:cubicBezTo>
                    <a:cubicBezTo>
                      <a:pt x="170" y="113"/>
                      <a:pt x="170" y="113"/>
                      <a:pt x="170" y="113"/>
                    </a:cubicBezTo>
                    <a:cubicBezTo>
                      <a:pt x="169" y="109"/>
                      <a:pt x="169" y="109"/>
                      <a:pt x="169" y="109"/>
                    </a:cubicBezTo>
                    <a:cubicBezTo>
                      <a:pt x="169" y="109"/>
                      <a:pt x="167" y="107"/>
                      <a:pt x="167" y="107"/>
                    </a:cubicBezTo>
                    <a:cubicBezTo>
                      <a:pt x="166" y="107"/>
                      <a:pt x="161" y="104"/>
                      <a:pt x="161" y="104"/>
                    </a:cubicBezTo>
                    <a:cubicBezTo>
                      <a:pt x="155" y="104"/>
                      <a:pt x="155" y="104"/>
                      <a:pt x="155" y="104"/>
                    </a:cubicBezTo>
                    <a:cubicBezTo>
                      <a:pt x="151" y="104"/>
                      <a:pt x="151" y="104"/>
                      <a:pt x="151" y="104"/>
                    </a:cubicBezTo>
                    <a:cubicBezTo>
                      <a:pt x="150" y="107"/>
                      <a:pt x="150" y="107"/>
                      <a:pt x="150" y="107"/>
                    </a:cubicBezTo>
                    <a:cubicBezTo>
                      <a:pt x="150" y="107"/>
                      <a:pt x="150" y="109"/>
                      <a:pt x="151" y="109"/>
                    </a:cubicBezTo>
                    <a:cubicBezTo>
                      <a:pt x="151" y="110"/>
                      <a:pt x="154" y="112"/>
                      <a:pt x="154" y="112"/>
                    </a:cubicBezTo>
                    <a:cubicBezTo>
                      <a:pt x="154" y="112"/>
                      <a:pt x="156" y="112"/>
                      <a:pt x="156" y="113"/>
                    </a:cubicBezTo>
                    <a:cubicBezTo>
                      <a:pt x="157" y="114"/>
                      <a:pt x="159" y="116"/>
                      <a:pt x="159" y="116"/>
                    </a:cubicBezTo>
                    <a:cubicBezTo>
                      <a:pt x="159" y="116"/>
                      <a:pt x="160" y="116"/>
                      <a:pt x="161" y="116"/>
                    </a:cubicBezTo>
                    <a:cubicBezTo>
                      <a:pt x="163" y="116"/>
                      <a:pt x="165" y="117"/>
                      <a:pt x="165" y="117"/>
                    </a:cubicBezTo>
                    <a:cubicBezTo>
                      <a:pt x="168" y="118"/>
                      <a:pt x="168" y="118"/>
                      <a:pt x="168" y="118"/>
                    </a:cubicBezTo>
                    <a:cubicBezTo>
                      <a:pt x="169" y="119"/>
                      <a:pt x="169" y="119"/>
                      <a:pt x="169" y="119"/>
                    </a:cubicBezTo>
                    <a:cubicBezTo>
                      <a:pt x="169" y="119"/>
                      <a:pt x="166" y="120"/>
                      <a:pt x="165" y="120"/>
                    </a:cubicBezTo>
                    <a:cubicBezTo>
                      <a:pt x="164" y="121"/>
                      <a:pt x="161" y="121"/>
                      <a:pt x="161" y="121"/>
                    </a:cubicBezTo>
                    <a:cubicBezTo>
                      <a:pt x="161" y="121"/>
                      <a:pt x="159" y="119"/>
                      <a:pt x="158" y="119"/>
                    </a:cubicBezTo>
                    <a:cubicBezTo>
                      <a:pt x="158" y="119"/>
                      <a:pt x="155" y="120"/>
                      <a:pt x="155" y="120"/>
                    </a:cubicBezTo>
                    <a:cubicBezTo>
                      <a:pt x="155" y="120"/>
                      <a:pt x="153" y="122"/>
                      <a:pt x="152" y="120"/>
                    </a:cubicBezTo>
                    <a:cubicBezTo>
                      <a:pt x="151" y="118"/>
                      <a:pt x="150" y="116"/>
                      <a:pt x="150" y="116"/>
                    </a:cubicBezTo>
                    <a:cubicBezTo>
                      <a:pt x="150" y="114"/>
                      <a:pt x="150" y="114"/>
                      <a:pt x="150" y="114"/>
                    </a:cubicBezTo>
                    <a:cubicBezTo>
                      <a:pt x="150" y="111"/>
                      <a:pt x="150" y="111"/>
                      <a:pt x="150" y="111"/>
                    </a:cubicBezTo>
                    <a:cubicBezTo>
                      <a:pt x="149" y="108"/>
                      <a:pt x="149" y="108"/>
                      <a:pt x="149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0" y="106"/>
                      <a:pt x="140" y="106"/>
                      <a:pt x="140" y="106"/>
                    </a:cubicBezTo>
                    <a:cubicBezTo>
                      <a:pt x="135" y="103"/>
                      <a:pt x="135" y="103"/>
                      <a:pt x="135" y="103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7" y="97"/>
                      <a:pt x="127" y="97"/>
                      <a:pt x="127" y="97"/>
                    </a:cubicBezTo>
                    <a:cubicBezTo>
                      <a:pt x="131" y="94"/>
                      <a:pt x="131" y="94"/>
                      <a:pt x="131" y="94"/>
                    </a:cubicBezTo>
                    <a:cubicBezTo>
                      <a:pt x="130" y="91"/>
                      <a:pt x="130" y="91"/>
                      <a:pt x="130" y="91"/>
                    </a:cubicBezTo>
                    <a:cubicBezTo>
                      <a:pt x="128" y="89"/>
                      <a:pt x="128" y="89"/>
                      <a:pt x="128" y="89"/>
                    </a:cubicBezTo>
                    <a:cubicBezTo>
                      <a:pt x="123" y="92"/>
                      <a:pt x="123" y="92"/>
                      <a:pt x="123" y="92"/>
                    </a:cubicBezTo>
                    <a:cubicBezTo>
                      <a:pt x="123" y="95"/>
                      <a:pt x="123" y="95"/>
                      <a:pt x="123" y="95"/>
                    </a:cubicBezTo>
                    <a:cubicBezTo>
                      <a:pt x="118" y="97"/>
                      <a:pt x="118" y="97"/>
                      <a:pt x="118" y="97"/>
                    </a:cubicBezTo>
                    <a:cubicBezTo>
                      <a:pt x="116" y="101"/>
                      <a:pt x="116" y="101"/>
                      <a:pt x="116" y="101"/>
                    </a:cubicBezTo>
                    <a:cubicBezTo>
                      <a:pt x="119" y="104"/>
                      <a:pt x="119" y="104"/>
                      <a:pt x="119" y="104"/>
                    </a:cubicBezTo>
                    <a:cubicBezTo>
                      <a:pt x="119" y="109"/>
                      <a:pt x="119" y="109"/>
                      <a:pt x="119" y="109"/>
                    </a:cubicBezTo>
                    <a:cubicBezTo>
                      <a:pt x="119" y="109"/>
                      <a:pt x="118" y="114"/>
                      <a:pt x="119" y="115"/>
                    </a:cubicBezTo>
                    <a:cubicBezTo>
                      <a:pt x="119" y="115"/>
                      <a:pt x="118" y="118"/>
                      <a:pt x="118" y="120"/>
                    </a:cubicBezTo>
                    <a:cubicBezTo>
                      <a:pt x="119" y="121"/>
                      <a:pt x="119" y="122"/>
                      <a:pt x="121" y="123"/>
                    </a:cubicBezTo>
                    <a:cubicBezTo>
                      <a:pt x="122" y="124"/>
                      <a:pt x="122" y="124"/>
                      <a:pt x="124" y="125"/>
                    </a:cubicBezTo>
                    <a:cubicBezTo>
                      <a:pt x="126" y="126"/>
                      <a:pt x="127" y="127"/>
                      <a:pt x="127" y="127"/>
                    </a:cubicBezTo>
                    <a:cubicBezTo>
                      <a:pt x="129" y="131"/>
                      <a:pt x="129" y="131"/>
                      <a:pt x="129" y="131"/>
                    </a:cubicBezTo>
                    <a:cubicBezTo>
                      <a:pt x="129" y="131"/>
                      <a:pt x="130" y="132"/>
                      <a:pt x="131" y="132"/>
                    </a:cubicBezTo>
                    <a:cubicBezTo>
                      <a:pt x="132" y="133"/>
                      <a:pt x="135" y="134"/>
                      <a:pt x="135" y="135"/>
                    </a:cubicBezTo>
                    <a:cubicBezTo>
                      <a:pt x="135" y="137"/>
                      <a:pt x="136" y="139"/>
                      <a:pt x="136" y="139"/>
                    </a:cubicBezTo>
                    <a:cubicBezTo>
                      <a:pt x="136" y="139"/>
                      <a:pt x="137" y="141"/>
                      <a:pt x="137" y="141"/>
                    </a:cubicBezTo>
                    <a:cubicBezTo>
                      <a:pt x="138" y="142"/>
                      <a:pt x="139" y="141"/>
                      <a:pt x="139" y="142"/>
                    </a:cubicBezTo>
                    <a:cubicBezTo>
                      <a:pt x="140" y="143"/>
                      <a:pt x="139" y="144"/>
                      <a:pt x="141" y="145"/>
                    </a:cubicBezTo>
                    <a:cubicBezTo>
                      <a:pt x="142" y="147"/>
                      <a:pt x="144" y="148"/>
                      <a:pt x="144" y="148"/>
                    </a:cubicBezTo>
                    <a:cubicBezTo>
                      <a:pt x="145" y="148"/>
                      <a:pt x="147" y="149"/>
                      <a:pt x="147" y="149"/>
                    </a:cubicBezTo>
                    <a:cubicBezTo>
                      <a:pt x="153" y="153"/>
                      <a:pt x="153" y="153"/>
                      <a:pt x="153" y="153"/>
                    </a:cubicBezTo>
                    <a:cubicBezTo>
                      <a:pt x="157" y="158"/>
                      <a:pt x="157" y="158"/>
                      <a:pt x="157" y="158"/>
                    </a:cubicBezTo>
                    <a:cubicBezTo>
                      <a:pt x="160" y="161"/>
                      <a:pt x="160" y="161"/>
                      <a:pt x="160" y="161"/>
                    </a:cubicBezTo>
                    <a:cubicBezTo>
                      <a:pt x="159" y="165"/>
                      <a:pt x="159" y="165"/>
                      <a:pt x="159" y="165"/>
                    </a:cubicBezTo>
                    <a:cubicBezTo>
                      <a:pt x="158" y="167"/>
                      <a:pt x="158" y="167"/>
                      <a:pt x="158" y="167"/>
                    </a:cubicBezTo>
                    <a:cubicBezTo>
                      <a:pt x="158" y="167"/>
                      <a:pt x="156" y="168"/>
                      <a:pt x="155" y="168"/>
                    </a:cubicBezTo>
                    <a:cubicBezTo>
                      <a:pt x="155" y="168"/>
                      <a:pt x="153" y="169"/>
                      <a:pt x="153" y="169"/>
                    </a:cubicBezTo>
                    <a:cubicBezTo>
                      <a:pt x="153" y="169"/>
                      <a:pt x="152" y="168"/>
                      <a:pt x="152" y="168"/>
                    </a:cubicBezTo>
                    <a:cubicBezTo>
                      <a:pt x="153" y="167"/>
                      <a:pt x="156" y="166"/>
                      <a:pt x="156" y="166"/>
                    </a:cubicBezTo>
                    <a:cubicBezTo>
                      <a:pt x="156" y="166"/>
                      <a:pt x="156" y="163"/>
                      <a:pt x="155" y="163"/>
                    </a:cubicBezTo>
                    <a:cubicBezTo>
                      <a:pt x="154" y="162"/>
                      <a:pt x="151" y="160"/>
                      <a:pt x="151" y="160"/>
                    </a:cubicBezTo>
                    <a:cubicBezTo>
                      <a:pt x="149" y="158"/>
                      <a:pt x="149" y="158"/>
                      <a:pt x="149" y="158"/>
                    </a:cubicBezTo>
                    <a:cubicBezTo>
                      <a:pt x="146" y="158"/>
                      <a:pt x="146" y="158"/>
                      <a:pt x="146" y="158"/>
                    </a:cubicBezTo>
                    <a:cubicBezTo>
                      <a:pt x="146" y="158"/>
                      <a:pt x="144" y="158"/>
                      <a:pt x="144" y="159"/>
                    </a:cubicBezTo>
                    <a:cubicBezTo>
                      <a:pt x="143" y="160"/>
                      <a:pt x="140" y="162"/>
                      <a:pt x="140" y="162"/>
                    </a:cubicBezTo>
                    <a:cubicBezTo>
                      <a:pt x="138" y="166"/>
                      <a:pt x="138" y="166"/>
                      <a:pt x="138" y="166"/>
                    </a:cubicBezTo>
                    <a:cubicBezTo>
                      <a:pt x="143" y="167"/>
                      <a:pt x="143" y="167"/>
                      <a:pt x="143" y="167"/>
                    </a:cubicBezTo>
                    <a:cubicBezTo>
                      <a:pt x="143" y="167"/>
                      <a:pt x="145" y="169"/>
                      <a:pt x="145" y="169"/>
                    </a:cubicBezTo>
                    <a:cubicBezTo>
                      <a:pt x="145" y="170"/>
                      <a:pt x="147" y="172"/>
                      <a:pt x="147" y="172"/>
                    </a:cubicBezTo>
                    <a:cubicBezTo>
                      <a:pt x="149" y="173"/>
                      <a:pt x="149" y="173"/>
                      <a:pt x="149" y="173"/>
                    </a:cubicBezTo>
                    <a:cubicBezTo>
                      <a:pt x="149" y="175"/>
                      <a:pt x="149" y="175"/>
                      <a:pt x="149" y="175"/>
                    </a:cubicBezTo>
                    <a:cubicBezTo>
                      <a:pt x="148" y="178"/>
                      <a:pt x="148" y="178"/>
                      <a:pt x="148" y="178"/>
                    </a:cubicBezTo>
                    <a:cubicBezTo>
                      <a:pt x="145" y="182"/>
                      <a:pt x="145" y="182"/>
                      <a:pt x="145" y="182"/>
                    </a:cubicBezTo>
                    <a:cubicBezTo>
                      <a:pt x="145" y="182"/>
                      <a:pt x="143" y="183"/>
                      <a:pt x="143" y="183"/>
                    </a:cubicBezTo>
                    <a:cubicBezTo>
                      <a:pt x="142" y="183"/>
                      <a:pt x="140" y="185"/>
                      <a:pt x="140" y="185"/>
                    </a:cubicBezTo>
                    <a:cubicBezTo>
                      <a:pt x="140" y="185"/>
                      <a:pt x="139" y="185"/>
                      <a:pt x="139" y="185"/>
                    </a:cubicBezTo>
                    <a:cubicBezTo>
                      <a:pt x="138" y="185"/>
                      <a:pt x="136" y="184"/>
                      <a:pt x="135" y="184"/>
                    </a:cubicBezTo>
                    <a:cubicBezTo>
                      <a:pt x="135" y="184"/>
                      <a:pt x="133" y="185"/>
                      <a:pt x="133" y="185"/>
                    </a:cubicBezTo>
                    <a:cubicBezTo>
                      <a:pt x="133" y="185"/>
                      <a:pt x="130" y="187"/>
                      <a:pt x="134" y="188"/>
                    </a:cubicBezTo>
                    <a:cubicBezTo>
                      <a:pt x="138" y="188"/>
                      <a:pt x="139" y="188"/>
                      <a:pt x="140" y="188"/>
                    </a:cubicBezTo>
                    <a:cubicBezTo>
                      <a:pt x="140" y="188"/>
                      <a:pt x="144" y="188"/>
                      <a:pt x="144" y="188"/>
                    </a:cubicBezTo>
                    <a:cubicBezTo>
                      <a:pt x="144" y="188"/>
                      <a:pt x="145" y="188"/>
                      <a:pt x="146" y="189"/>
                    </a:cubicBezTo>
                    <a:cubicBezTo>
                      <a:pt x="148" y="189"/>
                      <a:pt x="149" y="189"/>
                      <a:pt x="150" y="190"/>
                    </a:cubicBezTo>
                    <a:cubicBezTo>
                      <a:pt x="151" y="190"/>
                      <a:pt x="152" y="191"/>
                      <a:pt x="152" y="191"/>
                    </a:cubicBezTo>
                    <a:cubicBezTo>
                      <a:pt x="152" y="192"/>
                      <a:pt x="152" y="192"/>
                      <a:pt x="153" y="192"/>
                    </a:cubicBezTo>
                    <a:cubicBezTo>
                      <a:pt x="154" y="192"/>
                      <a:pt x="155" y="193"/>
                      <a:pt x="155" y="193"/>
                    </a:cubicBezTo>
                    <a:cubicBezTo>
                      <a:pt x="156" y="193"/>
                      <a:pt x="156" y="193"/>
                      <a:pt x="156" y="193"/>
                    </a:cubicBezTo>
                    <a:cubicBezTo>
                      <a:pt x="156" y="193"/>
                      <a:pt x="157" y="193"/>
                      <a:pt x="158" y="193"/>
                    </a:cubicBezTo>
                    <a:cubicBezTo>
                      <a:pt x="159" y="193"/>
                      <a:pt x="159" y="192"/>
                      <a:pt x="160" y="192"/>
                    </a:cubicBezTo>
                    <a:cubicBezTo>
                      <a:pt x="161" y="192"/>
                      <a:pt x="164" y="192"/>
                      <a:pt x="164" y="192"/>
                    </a:cubicBezTo>
                    <a:cubicBezTo>
                      <a:pt x="166" y="196"/>
                      <a:pt x="166" y="196"/>
                      <a:pt x="166" y="196"/>
                    </a:cubicBezTo>
                    <a:cubicBezTo>
                      <a:pt x="166" y="196"/>
                      <a:pt x="166" y="197"/>
                      <a:pt x="167" y="197"/>
                    </a:cubicBezTo>
                    <a:cubicBezTo>
                      <a:pt x="167" y="198"/>
                      <a:pt x="169" y="199"/>
                      <a:pt x="170" y="199"/>
                    </a:cubicBezTo>
                    <a:cubicBezTo>
                      <a:pt x="171" y="199"/>
                      <a:pt x="179" y="197"/>
                      <a:pt x="179" y="197"/>
                    </a:cubicBezTo>
                    <a:cubicBezTo>
                      <a:pt x="175" y="194"/>
                      <a:pt x="175" y="194"/>
                      <a:pt x="175" y="194"/>
                    </a:cubicBezTo>
                    <a:cubicBezTo>
                      <a:pt x="175" y="194"/>
                      <a:pt x="173" y="192"/>
                      <a:pt x="172" y="191"/>
                    </a:cubicBezTo>
                    <a:cubicBezTo>
                      <a:pt x="172" y="190"/>
                      <a:pt x="167" y="187"/>
                      <a:pt x="167" y="187"/>
                    </a:cubicBezTo>
                    <a:cubicBezTo>
                      <a:pt x="162" y="186"/>
                      <a:pt x="162" y="186"/>
                      <a:pt x="162" y="186"/>
                    </a:cubicBezTo>
                    <a:cubicBezTo>
                      <a:pt x="156" y="183"/>
                      <a:pt x="156" y="183"/>
                      <a:pt x="156" y="183"/>
                    </a:cubicBezTo>
                    <a:cubicBezTo>
                      <a:pt x="150" y="181"/>
                      <a:pt x="150" y="181"/>
                      <a:pt x="150" y="181"/>
                    </a:cubicBezTo>
                    <a:cubicBezTo>
                      <a:pt x="150" y="181"/>
                      <a:pt x="152" y="177"/>
                      <a:pt x="153" y="176"/>
                    </a:cubicBezTo>
                    <a:cubicBezTo>
                      <a:pt x="153" y="175"/>
                      <a:pt x="153" y="172"/>
                      <a:pt x="154" y="172"/>
                    </a:cubicBezTo>
                    <a:cubicBezTo>
                      <a:pt x="155" y="173"/>
                      <a:pt x="157" y="173"/>
                      <a:pt x="158" y="173"/>
                    </a:cubicBezTo>
                    <a:cubicBezTo>
                      <a:pt x="159" y="173"/>
                      <a:pt x="161" y="172"/>
                      <a:pt x="162" y="172"/>
                    </a:cubicBezTo>
                    <a:cubicBezTo>
                      <a:pt x="163" y="172"/>
                      <a:pt x="165" y="173"/>
                      <a:pt x="165" y="173"/>
                    </a:cubicBezTo>
                    <a:cubicBezTo>
                      <a:pt x="165" y="173"/>
                      <a:pt x="166" y="175"/>
                      <a:pt x="166" y="176"/>
                    </a:cubicBezTo>
                    <a:cubicBezTo>
                      <a:pt x="167" y="176"/>
                      <a:pt x="167" y="178"/>
                      <a:pt x="168" y="179"/>
                    </a:cubicBezTo>
                    <a:cubicBezTo>
                      <a:pt x="169" y="179"/>
                      <a:pt x="174" y="181"/>
                      <a:pt x="174" y="181"/>
                    </a:cubicBezTo>
                    <a:cubicBezTo>
                      <a:pt x="174" y="181"/>
                      <a:pt x="180" y="183"/>
                      <a:pt x="180" y="183"/>
                    </a:cubicBezTo>
                    <a:cubicBezTo>
                      <a:pt x="181" y="183"/>
                      <a:pt x="183" y="183"/>
                      <a:pt x="183" y="183"/>
                    </a:cubicBezTo>
                    <a:cubicBezTo>
                      <a:pt x="186" y="186"/>
                      <a:pt x="186" y="186"/>
                      <a:pt x="186" y="186"/>
                    </a:cubicBezTo>
                    <a:cubicBezTo>
                      <a:pt x="192" y="185"/>
                      <a:pt x="192" y="185"/>
                      <a:pt x="192" y="185"/>
                    </a:cubicBezTo>
                    <a:cubicBezTo>
                      <a:pt x="198" y="184"/>
                      <a:pt x="198" y="184"/>
                      <a:pt x="198" y="184"/>
                    </a:cubicBezTo>
                    <a:cubicBezTo>
                      <a:pt x="199" y="186"/>
                      <a:pt x="199" y="186"/>
                      <a:pt x="199" y="186"/>
                    </a:cubicBezTo>
                    <a:cubicBezTo>
                      <a:pt x="199" y="186"/>
                      <a:pt x="202" y="188"/>
                      <a:pt x="202" y="188"/>
                    </a:cubicBezTo>
                    <a:cubicBezTo>
                      <a:pt x="202" y="189"/>
                      <a:pt x="204" y="193"/>
                      <a:pt x="204" y="193"/>
                    </a:cubicBezTo>
                    <a:cubicBezTo>
                      <a:pt x="204" y="193"/>
                      <a:pt x="204" y="196"/>
                      <a:pt x="204" y="196"/>
                    </a:cubicBezTo>
                    <a:cubicBezTo>
                      <a:pt x="204" y="197"/>
                      <a:pt x="206" y="201"/>
                      <a:pt x="206" y="201"/>
                    </a:cubicBezTo>
                    <a:cubicBezTo>
                      <a:pt x="207" y="202"/>
                      <a:pt x="211" y="206"/>
                      <a:pt x="211" y="207"/>
                    </a:cubicBezTo>
                    <a:cubicBezTo>
                      <a:pt x="211" y="207"/>
                      <a:pt x="213" y="210"/>
                      <a:pt x="214" y="210"/>
                    </a:cubicBezTo>
                    <a:cubicBezTo>
                      <a:pt x="214" y="210"/>
                      <a:pt x="215" y="209"/>
                      <a:pt x="215" y="209"/>
                    </a:cubicBezTo>
                    <a:cubicBezTo>
                      <a:pt x="216" y="209"/>
                      <a:pt x="219" y="207"/>
                      <a:pt x="219" y="207"/>
                    </a:cubicBezTo>
                    <a:cubicBezTo>
                      <a:pt x="219" y="207"/>
                      <a:pt x="222" y="207"/>
                      <a:pt x="222" y="208"/>
                    </a:cubicBezTo>
                    <a:cubicBezTo>
                      <a:pt x="222" y="209"/>
                      <a:pt x="226" y="212"/>
                      <a:pt x="226" y="212"/>
                    </a:cubicBezTo>
                    <a:cubicBezTo>
                      <a:pt x="226" y="212"/>
                      <a:pt x="227" y="216"/>
                      <a:pt x="227" y="216"/>
                    </a:cubicBezTo>
                    <a:cubicBezTo>
                      <a:pt x="226" y="217"/>
                      <a:pt x="223" y="218"/>
                      <a:pt x="223" y="219"/>
                    </a:cubicBezTo>
                    <a:cubicBezTo>
                      <a:pt x="222" y="219"/>
                      <a:pt x="219" y="219"/>
                      <a:pt x="219" y="219"/>
                    </a:cubicBezTo>
                    <a:cubicBezTo>
                      <a:pt x="218" y="220"/>
                      <a:pt x="214" y="221"/>
                      <a:pt x="214" y="221"/>
                    </a:cubicBezTo>
                    <a:cubicBezTo>
                      <a:pt x="214" y="217"/>
                      <a:pt x="214" y="217"/>
                      <a:pt x="214" y="217"/>
                    </a:cubicBezTo>
                    <a:cubicBezTo>
                      <a:pt x="214" y="217"/>
                      <a:pt x="214" y="216"/>
                      <a:pt x="213" y="216"/>
                    </a:cubicBezTo>
                    <a:cubicBezTo>
                      <a:pt x="213" y="216"/>
                      <a:pt x="207" y="214"/>
                      <a:pt x="207" y="214"/>
                    </a:cubicBezTo>
                    <a:cubicBezTo>
                      <a:pt x="206" y="209"/>
                      <a:pt x="206" y="209"/>
                      <a:pt x="206" y="209"/>
                    </a:cubicBezTo>
                    <a:cubicBezTo>
                      <a:pt x="203" y="206"/>
                      <a:pt x="203" y="206"/>
                      <a:pt x="203" y="206"/>
                    </a:cubicBezTo>
                    <a:cubicBezTo>
                      <a:pt x="200" y="204"/>
                      <a:pt x="200" y="204"/>
                      <a:pt x="200" y="204"/>
                    </a:cubicBezTo>
                    <a:cubicBezTo>
                      <a:pt x="198" y="201"/>
                      <a:pt x="198" y="201"/>
                      <a:pt x="198" y="201"/>
                    </a:cubicBezTo>
                    <a:cubicBezTo>
                      <a:pt x="194" y="201"/>
                      <a:pt x="194" y="201"/>
                      <a:pt x="194" y="201"/>
                    </a:cubicBezTo>
                    <a:cubicBezTo>
                      <a:pt x="194" y="201"/>
                      <a:pt x="192" y="202"/>
                      <a:pt x="192" y="202"/>
                    </a:cubicBezTo>
                    <a:cubicBezTo>
                      <a:pt x="191" y="203"/>
                      <a:pt x="187" y="202"/>
                      <a:pt x="187" y="202"/>
                    </a:cubicBezTo>
                    <a:cubicBezTo>
                      <a:pt x="184" y="203"/>
                      <a:pt x="184" y="203"/>
                      <a:pt x="184" y="203"/>
                    </a:cubicBezTo>
                    <a:cubicBezTo>
                      <a:pt x="184" y="205"/>
                      <a:pt x="184" y="205"/>
                      <a:pt x="184" y="205"/>
                    </a:cubicBezTo>
                    <a:cubicBezTo>
                      <a:pt x="189" y="205"/>
                      <a:pt x="189" y="205"/>
                      <a:pt x="189" y="205"/>
                    </a:cubicBezTo>
                    <a:cubicBezTo>
                      <a:pt x="193" y="206"/>
                      <a:pt x="193" y="206"/>
                      <a:pt x="193" y="206"/>
                    </a:cubicBezTo>
                    <a:cubicBezTo>
                      <a:pt x="199" y="207"/>
                      <a:pt x="199" y="207"/>
                      <a:pt x="199" y="207"/>
                    </a:cubicBezTo>
                    <a:cubicBezTo>
                      <a:pt x="199" y="211"/>
                      <a:pt x="199" y="211"/>
                      <a:pt x="199" y="211"/>
                    </a:cubicBezTo>
                    <a:cubicBezTo>
                      <a:pt x="199" y="211"/>
                      <a:pt x="200" y="213"/>
                      <a:pt x="200" y="214"/>
                    </a:cubicBezTo>
                    <a:cubicBezTo>
                      <a:pt x="200" y="215"/>
                      <a:pt x="202" y="219"/>
                      <a:pt x="202" y="219"/>
                    </a:cubicBezTo>
                    <a:cubicBezTo>
                      <a:pt x="204" y="225"/>
                      <a:pt x="204" y="225"/>
                      <a:pt x="204" y="225"/>
                    </a:cubicBezTo>
                    <a:cubicBezTo>
                      <a:pt x="206" y="229"/>
                      <a:pt x="206" y="229"/>
                      <a:pt x="206" y="229"/>
                    </a:cubicBezTo>
                    <a:cubicBezTo>
                      <a:pt x="208" y="230"/>
                      <a:pt x="208" y="230"/>
                      <a:pt x="208" y="230"/>
                    </a:cubicBezTo>
                    <a:cubicBezTo>
                      <a:pt x="208" y="234"/>
                      <a:pt x="208" y="234"/>
                      <a:pt x="208" y="234"/>
                    </a:cubicBezTo>
                    <a:cubicBezTo>
                      <a:pt x="210" y="235"/>
                      <a:pt x="210" y="235"/>
                      <a:pt x="210" y="235"/>
                    </a:cubicBezTo>
                    <a:cubicBezTo>
                      <a:pt x="210" y="235"/>
                      <a:pt x="209" y="236"/>
                      <a:pt x="209" y="237"/>
                    </a:cubicBezTo>
                    <a:cubicBezTo>
                      <a:pt x="209" y="237"/>
                      <a:pt x="207" y="240"/>
                      <a:pt x="207" y="240"/>
                    </a:cubicBezTo>
                    <a:cubicBezTo>
                      <a:pt x="207" y="240"/>
                      <a:pt x="205" y="240"/>
                      <a:pt x="204" y="240"/>
                    </a:cubicBezTo>
                    <a:cubicBezTo>
                      <a:pt x="204" y="239"/>
                      <a:pt x="203" y="237"/>
                      <a:pt x="202" y="237"/>
                    </a:cubicBezTo>
                    <a:cubicBezTo>
                      <a:pt x="200" y="236"/>
                      <a:pt x="200" y="234"/>
                      <a:pt x="199" y="234"/>
                    </a:cubicBezTo>
                    <a:cubicBezTo>
                      <a:pt x="198" y="234"/>
                      <a:pt x="195" y="234"/>
                      <a:pt x="195" y="234"/>
                    </a:cubicBezTo>
                    <a:cubicBezTo>
                      <a:pt x="195" y="234"/>
                      <a:pt x="193" y="231"/>
                      <a:pt x="192" y="230"/>
                    </a:cubicBezTo>
                    <a:cubicBezTo>
                      <a:pt x="192" y="230"/>
                      <a:pt x="191" y="229"/>
                      <a:pt x="190" y="228"/>
                    </a:cubicBezTo>
                    <a:cubicBezTo>
                      <a:pt x="189" y="227"/>
                      <a:pt x="187" y="224"/>
                      <a:pt x="187" y="225"/>
                    </a:cubicBezTo>
                    <a:cubicBezTo>
                      <a:pt x="187" y="227"/>
                      <a:pt x="188" y="229"/>
                      <a:pt x="187" y="229"/>
                    </a:cubicBezTo>
                    <a:cubicBezTo>
                      <a:pt x="185" y="229"/>
                      <a:pt x="184" y="229"/>
                      <a:pt x="184" y="229"/>
                    </a:cubicBezTo>
                    <a:cubicBezTo>
                      <a:pt x="184" y="229"/>
                      <a:pt x="182" y="231"/>
                      <a:pt x="181" y="232"/>
                    </a:cubicBezTo>
                    <a:cubicBezTo>
                      <a:pt x="181" y="232"/>
                      <a:pt x="182" y="232"/>
                      <a:pt x="180" y="233"/>
                    </a:cubicBezTo>
                    <a:cubicBezTo>
                      <a:pt x="179" y="233"/>
                      <a:pt x="177" y="233"/>
                      <a:pt x="177" y="233"/>
                    </a:cubicBezTo>
                    <a:cubicBezTo>
                      <a:pt x="177" y="232"/>
                      <a:pt x="177" y="232"/>
                      <a:pt x="177" y="231"/>
                    </a:cubicBezTo>
                    <a:cubicBezTo>
                      <a:pt x="178" y="230"/>
                      <a:pt x="184" y="227"/>
                      <a:pt x="184" y="227"/>
                    </a:cubicBezTo>
                    <a:cubicBezTo>
                      <a:pt x="184" y="226"/>
                      <a:pt x="182" y="223"/>
                      <a:pt x="182" y="223"/>
                    </a:cubicBezTo>
                    <a:cubicBezTo>
                      <a:pt x="181" y="224"/>
                      <a:pt x="181" y="224"/>
                      <a:pt x="181" y="224"/>
                    </a:cubicBezTo>
                    <a:cubicBezTo>
                      <a:pt x="178" y="226"/>
                      <a:pt x="178" y="226"/>
                      <a:pt x="178" y="226"/>
                    </a:cubicBezTo>
                    <a:cubicBezTo>
                      <a:pt x="174" y="229"/>
                      <a:pt x="174" y="229"/>
                      <a:pt x="174" y="229"/>
                    </a:cubicBezTo>
                    <a:cubicBezTo>
                      <a:pt x="171" y="230"/>
                      <a:pt x="171" y="230"/>
                      <a:pt x="171" y="230"/>
                    </a:cubicBezTo>
                    <a:cubicBezTo>
                      <a:pt x="168" y="232"/>
                      <a:pt x="168" y="232"/>
                      <a:pt x="168" y="232"/>
                    </a:cubicBezTo>
                    <a:cubicBezTo>
                      <a:pt x="164" y="233"/>
                      <a:pt x="164" y="233"/>
                      <a:pt x="164" y="233"/>
                    </a:cubicBezTo>
                    <a:cubicBezTo>
                      <a:pt x="160" y="233"/>
                      <a:pt x="160" y="233"/>
                      <a:pt x="160" y="233"/>
                    </a:cubicBezTo>
                    <a:cubicBezTo>
                      <a:pt x="158" y="232"/>
                      <a:pt x="158" y="232"/>
                      <a:pt x="158" y="232"/>
                    </a:cubicBezTo>
                    <a:cubicBezTo>
                      <a:pt x="156" y="229"/>
                      <a:pt x="156" y="229"/>
                      <a:pt x="156" y="229"/>
                    </a:cubicBezTo>
                    <a:cubicBezTo>
                      <a:pt x="155" y="229"/>
                      <a:pt x="155" y="229"/>
                      <a:pt x="155" y="229"/>
                    </a:cubicBezTo>
                    <a:cubicBezTo>
                      <a:pt x="155" y="229"/>
                      <a:pt x="154" y="227"/>
                      <a:pt x="155" y="226"/>
                    </a:cubicBezTo>
                    <a:cubicBezTo>
                      <a:pt x="155" y="226"/>
                      <a:pt x="156" y="225"/>
                      <a:pt x="158" y="225"/>
                    </a:cubicBezTo>
                    <a:cubicBezTo>
                      <a:pt x="160" y="225"/>
                      <a:pt x="161" y="225"/>
                      <a:pt x="162" y="225"/>
                    </a:cubicBezTo>
                    <a:cubicBezTo>
                      <a:pt x="163" y="225"/>
                      <a:pt x="164" y="224"/>
                      <a:pt x="164" y="224"/>
                    </a:cubicBezTo>
                    <a:cubicBezTo>
                      <a:pt x="164" y="224"/>
                      <a:pt x="165" y="224"/>
                      <a:pt x="165" y="223"/>
                    </a:cubicBezTo>
                    <a:cubicBezTo>
                      <a:pt x="165" y="222"/>
                      <a:pt x="162" y="218"/>
                      <a:pt x="162" y="218"/>
                    </a:cubicBezTo>
                    <a:cubicBezTo>
                      <a:pt x="162" y="218"/>
                      <a:pt x="158" y="218"/>
                      <a:pt x="157" y="219"/>
                    </a:cubicBezTo>
                    <a:cubicBezTo>
                      <a:pt x="155" y="219"/>
                      <a:pt x="155" y="221"/>
                      <a:pt x="153" y="220"/>
                    </a:cubicBezTo>
                    <a:cubicBezTo>
                      <a:pt x="151" y="219"/>
                      <a:pt x="146" y="217"/>
                      <a:pt x="146" y="217"/>
                    </a:cubicBezTo>
                    <a:cubicBezTo>
                      <a:pt x="142" y="213"/>
                      <a:pt x="142" y="213"/>
                      <a:pt x="142" y="213"/>
                    </a:cubicBezTo>
                    <a:cubicBezTo>
                      <a:pt x="140" y="215"/>
                      <a:pt x="140" y="215"/>
                      <a:pt x="140" y="215"/>
                    </a:cubicBezTo>
                    <a:cubicBezTo>
                      <a:pt x="137" y="217"/>
                      <a:pt x="137" y="217"/>
                      <a:pt x="137" y="217"/>
                    </a:cubicBezTo>
                    <a:cubicBezTo>
                      <a:pt x="137" y="217"/>
                      <a:pt x="137" y="219"/>
                      <a:pt x="135" y="217"/>
                    </a:cubicBezTo>
                    <a:cubicBezTo>
                      <a:pt x="133" y="214"/>
                      <a:pt x="133" y="212"/>
                      <a:pt x="133" y="212"/>
                    </a:cubicBezTo>
                    <a:cubicBezTo>
                      <a:pt x="130" y="212"/>
                      <a:pt x="130" y="212"/>
                      <a:pt x="130" y="212"/>
                    </a:cubicBezTo>
                    <a:cubicBezTo>
                      <a:pt x="129" y="215"/>
                      <a:pt x="129" y="215"/>
                      <a:pt x="129" y="215"/>
                    </a:cubicBezTo>
                    <a:cubicBezTo>
                      <a:pt x="129" y="215"/>
                      <a:pt x="127" y="218"/>
                      <a:pt x="127" y="218"/>
                    </a:cubicBezTo>
                    <a:cubicBezTo>
                      <a:pt x="126" y="218"/>
                      <a:pt x="123" y="218"/>
                      <a:pt x="122" y="219"/>
                    </a:cubicBezTo>
                    <a:cubicBezTo>
                      <a:pt x="122" y="219"/>
                      <a:pt x="117" y="219"/>
                      <a:pt x="117" y="219"/>
                    </a:cubicBezTo>
                    <a:cubicBezTo>
                      <a:pt x="110" y="217"/>
                      <a:pt x="110" y="217"/>
                      <a:pt x="110" y="217"/>
                    </a:cubicBezTo>
                    <a:cubicBezTo>
                      <a:pt x="110" y="217"/>
                      <a:pt x="108" y="218"/>
                      <a:pt x="108" y="218"/>
                    </a:cubicBezTo>
                    <a:cubicBezTo>
                      <a:pt x="107" y="219"/>
                      <a:pt x="97" y="221"/>
                      <a:pt x="97" y="221"/>
                    </a:cubicBezTo>
                    <a:cubicBezTo>
                      <a:pt x="92" y="224"/>
                      <a:pt x="92" y="224"/>
                      <a:pt x="92" y="224"/>
                    </a:cubicBezTo>
                    <a:cubicBezTo>
                      <a:pt x="89" y="224"/>
                      <a:pt x="89" y="224"/>
                      <a:pt x="89" y="224"/>
                    </a:cubicBezTo>
                    <a:cubicBezTo>
                      <a:pt x="86" y="220"/>
                      <a:pt x="86" y="220"/>
                      <a:pt x="86" y="220"/>
                    </a:cubicBezTo>
                    <a:cubicBezTo>
                      <a:pt x="84" y="217"/>
                      <a:pt x="84" y="217"/>
                      <a:pt x="84" y="217"/>
                    </a:cubicBezTo>
                    <a:cubicBezTo>
                      <a:pt x="84" y="221"/>
                      <a:pt x="84" y="221"/>
                      <a:pt x="84" y="221"/>
                    </a:cubicBezTo>
                    <a:cubicBezTo>
                      <a:pt x="83" y="223"/>
                      <a:pt x="83" y="223"/>
                      <a:pt x="83" y="223"/>
                    </a:cubicBezTo>
                    <a:cubicBezTo>
                      <a:pt x="83" y="223"/>
                      <a:pt x="79" y="227"/>
                      <a:pt x="78" y="228"/>
                    </a:cubicBezTo>
                    <a:cubicBezTo>
                      <a:pt x="78" y="228"/>
                      <a:pt x="73" y="223"/>
                      <a:pt x="73" y="223"/>
                    </a:cubicBezTo>
                    <a:cubicBezTo>
                      <a:pt x="72" y="216"/>
                      <a:pt x="72" y="216"/>
                      <a:pt x="72" y="216"/>
                    </a:cubicBezTo>
                    <a:cubicBezTo>
                      <a:pt x="67" y="211"/>
                      <a:pt x="67" y="211"/>
                      <a:pt x="67" y="211"/>
                    </a:cubicBezTo>
                    <a:cubicBezTo>
                      <a:pt x="64" y="212"/>
                      <a:pt x="64" y="212"/>
                      <a:pt x="64" y="212"/>
                    </a:cubicBezTo>
                    <a:cubicBezTo>
                      <a:pt x="63" y="207"/>
                      <a:pt x="63" y="207"/>
                      <a:pt x="63" y="207"/>
                    </a:cubicBezTo>
                    <a:cubicBezTo>
                      <a:pt x="61" y="204"/>
                      <a:pt x="61" y="204"/>
                      <a:pt x="61" y="204"/>
                    </a:cubicBezTo>
                    <a:cubicBezTo>
                      <a:pt x="57" y="204"/>
                      <a:pt x="57" y="204"/>
                      <a:pt x="57" y="204"/>
                    </a:cubicBezTo>
                    <a:cubicBezTo>
                      <a:pt x="56" y="206"/>
                      <a:pt x="56" y="206"/>
                      <a:pt x="56" y="206"/>
                    </a:cubicBezTo>
                    <a:cubicBezTo>
                      <a:pt x="55" y="209"/>
                      <a:pt x="55" y="209"/>
                      <a:pt x="55" y="209"/>
                    </a:cubicBezTo>
                    <a:cubicBezTo>
                      <a:pt x="55" y="209"/>
                      <a:pt x="56" y="212"/>
                      <a:pt x="56" y="212"/>
                    </a:cubicBezTo>
                    <a:cubicBezTo>
                      <a:pt x="56" y="213"/>
                      <a:pt x="55" y="214"/>
                      <a:pt x="54" y="214"/>
                    </a:cubicBezTo>
                    <a:cubicBezTo>
                      <a:pt x="54" y="214"/>
                      <a:pt x="49" y="216"/>
                      <a:pt x="49" y="216"/>
                    </a:cubicBezTo>
                    <a:cubicBezTo>
                      <a:pt x="49" y="216"/>
                      <a:pt x="48" y="213"/>
                      <a:pt x="48" y="212"/>
                    </a:cubicBezTo>
                    <a:cubicBezTo>
                      <a:pt x="48" y="210"/>
                      <a:pt x="48" y="207"/>
                      <a:pt x="48" y="207"/>
                    </a:cubicBezTo>
                    <a:cubicBezTo>
                      <a:pt x="48" y="207"/>
                      <a:pt x="52" y="205"/>
                      <a:pt x="52" y="205"/>
                    </a:cubicBezTo>
                    <a:cubicBezTo>
                      <a:pt x="52" y="204"/>
                      <a:pt x="55" y="199"/>
                      <a:pt x="55" y="199"/>
                    </a:cubicBezTo>
                    <a:cubicBezTo>
                      <a:pt x="55" y="196"/>
                      <a:pt x="55" y="196"/>
                      <a:pt x="55" y="196"/>
                    </a:cubicBezTo>
                    <a:cubicBezTo>
                      <a:pt x="55" y="196"/>
                      <a:pt x="59" y="195"/>
                      <a:pt x="60" y="195"/>
                    </a:cubicBezTo>
                    <a:cubicBezTo>
                      <a:pt x="61" y="195"/>
                      <a:pt x="63" y="195"/>
                      <a:pt x="64" y="196"/>
                    </a:cubicBezTo>
                    <a:cubicBezTo>
                      <a:pt x="66" y="197"/>
                      <a:pt x="65" y="197"/>
                      <a:pt x="67" y="197"/>
                    </a:cubicBezTo>
                    <a:cubicBezTo>
                      <a:pt x="69" y="196"/>
                      <a:pt x="71" y="195"/>
                      <a:pt x="71" y="194"/>
                    </a:cubicBezTo>
                    <a:cubicBezTo>
                      <a:pt x="71" y="193"/>
                      <a:pt x="72" y="189"/>
                      <a:pt x="69" y="189"/>
                    </a:cubicBezTo>
                    <a:cubicBezTo>
                      <a:pt x="67" y="189"/>
                      <a:pt x="64" y="191"/>
                      <a:pt x="63" y="191"/>
                    </a:cubicBezTo>
                    <a:cubicBezTo>
                      <a:pt x="62" y="192"/>
                      <a:pt x="61" y="191"/>
                      <a:pt x="59" y="190"/>
                    </a:cubicBezTo>
                    <a:cubicBezTo>
                      <a:pt x="58" y="190"/>
                      <a:pt x="56" y="189"/>
                      <a:pt x="56" y="189"/>
                    </a:cubicBezTo>
                    <a:cubicBezTo>
                      <a:pt x="53" y="192"/>
                      <a:pt x="53" y="192"/>
                      <a:pt x="53" y="192"/>
                    </a:cubicBezTo>
                    <a:cubicBezTo>
                      <a:pt x="53" y="192"/>
                      <a:pt x="55" y="196"/>
                      <a:pt x="51" y="193"/>
                    </a:cubicBezTo>
                    <a:cubicBezTo>
                      <a:pt x="47" y="191"/>
                      <a:pt x="47" y="190"/>
                      <a:pt x="47" y="190"/>
                    </a:cubicBezTo>
                    <a:cubicBezTo>
                      <a:pt x="43" y="186"/>
                      <a:pt x="43" y="186"/>
                      <a:pt x="43" y="186"/>
                    </a:cubicBezTo>
                    <a:cubicBezTo>
                      <a:pt x="41" y="179"/>
                      <a:pt x="41" y="179"/>
                      <a:pt x="41" y="179"/>
                    </a:cubicBezTo>
                    <a:cubicBezTo>
                      <a:pt x="38" y="175"/>
                      <a:pt x="38" y="175"/>
                      <a:pt x="38" y="175"/>
                    </a:cubicBezTo>
                    <a:cubicBezTo>
                      <a:pt x="38" y="175"/>
                      <a:pt x="37" y="177"/>
                      <a:pt x="36" y="179"/>
                    </a:cubicBezTo>
                    <a:cubicBezTo>
                      <a:pt x="35" y="180"/>
                      <a:pt x="33" y="180"/>
                      <a:pt x="32" y="179"/>
                    </a:cubicBezTo>
                    <a:cubicBezTo>
                      <a:pt x="32" y="177"/>
                      <a:pt x="29" y="173"/>
                      <a:pt x="29" y="173"/>
                    </a:cubicBezTo>
                    <a:cubicBezTo>
                      <a:pt x="30" y="169"/>
                      <a:pt x="30" y="169"/>
                      <a:pt x="30" y="169"/>
                    </a:cubicBezTo>
                    <a:cubicBezTo>
                      <a:pt x="26" y="168"/>
                      <a:pt x="26" y="168"/>
                      <a:pt x="26" y="168"/>
                    </a:cubicBezTo>
                    <a:cubicBezTo>
                      <a:pt x="26" y="168"/>
                      <a:pt x="24" y="167"/>
                      <a:pt x="24" y="166"/>
                    </a:cubicBezTo>
                    <a:cubicBezTo>
                      <a:pt x="25" y="164"/>
                      <a:pt x="27" y="161"/>
                      <a:pt x="27" y="161"/>
                    </a:cubicBezTo>
                    <a:cubicBezTo>
                      <a:pt x="29" y="157"/>
                      <a:pt x="29" y="157"/>
                      <a:pt x="29" y="157"/>
                    </a:cubicBezTo>
                    <a:cubicBezTo>
                      <a:pt x="29" y="157"/>
                      <a:pt x="29" y="154"/>
                      <a:pt x="28" y="153"/>
                    </a:cubicBezTo>
                    <a:cubicBezTo>
                      <a:pt x="28" y="152"/>
                      <a:pt x="27" y="139"/>
                      <a:pt x="27" y="139"/>
                    </a:cubicBezTo>
                    <a:cubicBezTo>
                      <a:pt x="35" y="134"/>
                      <a:pt x="35" y="134"/>
                      <a:pt x="35" y="134"/>
                    </a:cubicBezTo>
                    <a:cubicBezTo>
                      <a:pt x="40" y="126"/>
                      <a:pt x="40" y="126"/>
                      <a:pt x="40" y="126"/>
                    </a:cubicBezTo>
                    <a:cubicBezTo>
                      <a:pt x="42" y="117"/>
                      <a:pt x="42" y="117"/>
                      <a:pt x="42" y="117"/>
                    </a:cubicBezTo>
                    <a:cubicBezTo>
                      <a:pt x="45" y="109"/>
                      <a:pt x="45" y="109"/>
                      <a:pt x="45" y="109"/>
                    </a:cubicBezTo>
                    <a:cubicBezTo>
                      <a:pt x="45" y="109"/>
                      <a:pt x="49" y="105"/>
                      <a:pt x="49" y="106"/>
                    </a:cubicBezTo>
                    <a:cubicBezTo>
                      <a:pt x="50" y="107"/>
                      <a:pt x="49" y="98"/>
                      <a:pt x="49" y="98"/>
                    </a:cubicBezTo>
                    <a:cubicBezTo>
                      <a:pt x="46" y="95"/>
                      <a:pt x="46" y="95"/>
                      <a:pt x="46" y="95"/>
                    </a:cubicBezTo>
                    <a:cubicBezTo>
                      <a:pt x="46" y="90"/>
                      <a:pt x="46" y="90"/>
                      <a:pt x="46" y="90"/>
                    </a:cubicBezTo>
                    <a:cubicBezTo>
                      <a:pt x="46" y="90"/>
                      <a:pt x="51" y="89"/>
                      <a:pt x="52" y="89"/>
                    </a:cubicBezTo>
                    <a:cubicBezTo>
                      <a:pt x="53" y="89"/>
                      <a:pt x="55" y="88"/>
                      <a:pt x="58" y="87"/>
                    </a:cubicBezTo>
                    <a:cubicBezTo>
                      <a:pt x="60" y="87"/>
                      <a:pt x="62" y="85"/>
                      <a:pt x="64" y="85"/>
                    </a:cubicBezTo>
                    <a:cubicBezTo>
                      <a:pt x="65" y="85"/>
                      <a:pt x="70" y="85"/>
                      <a:pt x="70" y="85"/>
                    </a:cubicBezTo>
                    <a:cubicBezTo>
                      <a:pt x="70" y="85"/>
                      <a:pt x="75" y="82"/>
                      <a:pt x="76" y="81"/>
                    </a:cubicBezTo>
                    <a:cubicBezTo>
                      <a:pt x="77" y="80"/>
                      <a:pt x="80" y="76"/>
                      <a:pt x="80" y="76"/>
                    </a:cubicBezTo>
                    <a:cubicBezTo>
                      <a:pt x="80" y="76"/>
                      <a:pt x="81" y="71"/>
                      <a:pt x="83" y="70"/>
                    </a:cubicBezTo>
                    <a:cubicBezTo>
                      <a:pt x="84" y="70"/>
                      <a:pt x="87" y="68"/>
                      <a:pt x="89" y="68"/>
                    </a:cubicBezTo>
                    <a:cubicBezTo>
                      <a:pt x="91" y="67"/>
                      <a:pt x="96" y="66"/>
                      <a:pt x="97" y="66"/>
                    </a:cubicBezTo>
                    <a:cubicBezTo>
                      <a:pt x="98" y="66"/>
                      <a:pt x="110" y="64"/>
                      <a:pt x="110" y="64"/>
                    </a:cubicBezTo>
                    <a:cubicBezTo>
                      <a:pt x="115" y="60"/>
                      <a:pt x="115" y="60"/>
                      <a:pt x="115" y="60"/>
                    </a:cubicBezTo>
                    <a:cubicBezTo>
                      <a:pt x="114" y="51"/>
                      <a:pt x="114" y="51"/>
                      <a:pt x="114" y="51"/>
                    </a:cubicBezTo>
                    <a:cubicBezTo>
                      <a:pt x="129" y="49"/>
                      <a:pt x="129" y="49"/>
                      <a:pt x="129" y="49"/>
                    </a:cubicBezTo>
                    <a:cubicBezTo>
                      <a:pt x="135" y="45"/>
                      <a:pt x="135" y="45"/>
                      <a:pt x="135" y="45"/>
                    </a:cubicBezTo>
                    <a:cubicBezTo>
                      <a:pt x="135" y="45"/>
                      <a:pt x="138" y="42"/>
                      <a:pt x="139" y="42"/>
                    </a:cubicBezTo>
                    <a:cubicBezTo>
                      <a:pt x="140" y="43"/>
                      <a:pt x="142" y="42"/>
                      <a:pt x="142" y="42"/>
                    </a:cubicBezTo>
                    <a:cubicBezTo>
                      <a:pt x="149" y="40"/>
                      <a:pt x="149" y="40"/>
                      <a:pt x="149" y="40"/>
                    </a:cubicBezTo>
                    <a:cubicBezTo>
                      <a:pt x="149" y="40"/>
                      <a:pt x="158" y="37"/>
                      <a:pt x="159" y="36"/>
                    </a:cubicBezTo>
                    <a:cubicBezTo>
                      <a:pt x="159" y="36"/>
                      <a:pt x="164" y="34"/>
                      <a:pt x="164" y="34"/>
                    </a:cubicBezTo>
                    <a:cubicBezTo>
                      <a:pt x="166" y="30"/>
                      <a:pt x="166" y="30"/>
                      <a:pt x="166" y="30"/>
                    </a:cubicBezTo>
                    <a:cubicBezTo>
                      <a:pt x="166" y="30"/>
                      <a:pt x="168" y="28"/>
                      <a:pt x="171" y="28"/>
                    </a:cubicBezTo>
                    <a:cubicBezTo>
                      <a:pt x="173" y="28"/>
                      <a:pt x="175" y="28"/>
                      <a:pt x="176" y="28"/>
                    </a:cubicBezTo>
                    <a:cubicBezTo>
                      <a:pt x="176" y="27"/>
                      <a:pt x="177" y="25"/>
                      <a:pt x="178" y="25"/>
                    </a:cubicBezTo>
                    <a:cubicBezTo>
                      <a:pt x="179" y="25"/>
                      <a:pt x="185" y="24"/>
                      <a:pt x="185" y="24"/>
                    </a:cubicBezTo>
                    <a:cubicBezTo>
                      <a:pt x="188" y="29"/>
                      <a:pt x="188" y="29"/>
                      <a:pt x="188" y="29"/>
                    </a:cubicBezTo>
                    <a:cubicBezTo>
                      <a:pt x="188" y="29"/>
                      <a:pt x="194" y="33"/>
                      <a:pt x="195" y="33"/>
                    </a:cubicBezTo>
                    <a:cubicBezTo>
                      <a:pt x="196" y="33"/>
                      <a:pt x="201" y="29"/>
                      <a:pt x="201" y="29"/>
                    </a:cubicBezTo>
                    <a:cubicBezTo>
                      <a:pt x="211" y="32"/>
                      <a:pt x="211" y="32"/>
                      <a:pt x="211" y="32"/>
                    </a:cubicBezTo>
                    <a:cubicBezTo>
                      <a:pt x="219" y="34"/>
                      <a:pt x="219" y="34"/>
                      <a:pt x="219" y="34"/>
                    </a:cubicBezTo>
                    <a:cubicBezTo>
                      <a:pt x="222" y="32"/>
                      <a:pt x="222" y="32"/>
                      <a:pt x="222" y="32"/>
                    </a:cubicBezTo>
                    <a:close/>
                    <a:moveTo>
                      <a:pt x="188" y="149"/>
                    </a:moveTo>
                    <a:cubicBezTo>
                      <a:pt x="188" y="149"/>
                      <a:pt x="188" y="149"/>
                      <a:pt x="188" y="149"/>
                    </a:cubicBezTo>
                    <a:cubicBezTo>
                      <a:pt x="189" y="150"/>
                      <a:pt x="189" y="150"/>
                      <a:pt x="189" y="150"/>
                    </a:cubicBezTo>
                    <a:cubicBezTo>
                      <a:pt x="189" y="150"/>
                      <a:pt x="191" y="150"/>
                      <a:pt x="192" y="149"/>
                    </a:cubicBezTo>
                    <a:cubicBezTo>
                      <a:pt x="193" y="149"/>
                      <a:pt x="191" y="148"/>
                      <a:pt x="191" y="148"/>
                    </a:cubicBezTo>
                    <a:cubicBezTo>
                      <a:pt x="189" y="148"/>
                      <a:pt x="189" y="148"/>
                      <a:pt x="189" y="148"/>
                    </a:cubicBezTo>
                    <a:cubicBezTo>
                      <a:pt x="189" y="148"/>
                      <a:pt x="188" y="149"/>
                      <a:pt x="188" y="149"/>
                    </a:cubicBezTo>
                    <a:close/>
                    <a:moveTo>
                      <a:pt x="184" y="157"/>
                    </a:moveTo>
                    <a:cubicBezTo>
                      <a:pt x="184" y="157"/>
                      <a:pt x="184" y="157"/>
                      <a:pt x="184" y="157"/>
                    </a:cubicBezTo>
                    <a:cubicBezTo>
                      <a:pt x="185" y="158"/>
                      <a:pt x="185" y="158"/>
                      <a:pt x="185" y="158"/>
                    </a:cubicBezTo>
                    <a:cubicBezTo>
                      <a:pt x="185" y="158"/>
                      <a:pt x="186" y="155"/>
                      <a:pt x="187" y="154"/>
                    </a:cubicBezTo>
                    <a:cubicBezTo>
                      <a:pt x="188" y="152"/>
                      <a:pt x="186" y="153"/>
                      <a:pt x="186" y="153"/>
                    </a:cubicBezTo>
                    <a:cubicBezTo>
                      <a:pt x="185" y="154"/>
                      <a:pt x="185" y="154"/>
                      <a:pt x="185" y="154"/>
                    </a:cubicBezTo>
                    <a:cubicBezTo>
                      <a:pt x="185" y="154"/>
                      <a:pt x="184" y="157"/>
                      <a:pt x="184" y="157"/>
                    </a:cubicBezTo>
                    <a:close/>
                    <a:moveTo>
                      <a:pt x="318" y="231"/>
                    </a:moveTo>
                    <a:cubicBezTo>
                      <a:pt x="318" y="231"/>
                      <a:pt x="318" y="231"/>
                      <a:pt x="318" y="231"/>
                    </a:cubicBezTo>
                    <a:cubicBezTo>
                      <a:pt x="318" y="231"/>
                      <a:pt x="321" y="233"/>
                      <a:pt x="321" y="233"/>
                    </a:cubicBezTo>
                    <a:cubicBezTo>
                      <a:pt x="319" y="237"/>
                      <a:pt x="319" y="237"/>
                      <a:pt x="319" y="237"/>
                    </a:cubicBezTo>
                    <a:cubicBezTo>
                      <a:pt x="316" y="235"/>
                      <a:pt x="316" y="235"/>
                      <a:pt x="316" y="235"/>
                    </a:cubicBezTo>
                    <a:cubicBezTo>
                      <a:pt x="318" y="231"/>
                      <a:pt x="318" y="231"/>
                      <a:pt x="318" y="231"/>
                    </a:cubicBezTo>
                    <a:close/>
                    <a:moveTo>
                      <a:pt x="342" y="250"/>
                    </a:moveTo>
                    <a:cubicBezTo>
                      <a:pt x="342" y="250"/>
                      <a:pt x="342" y="250"/>
                      <a:pt x="342" y="250"/>
                    </a:cubicBezTo>
                    <a:cubicBezTo>
                      <a:pt x="342" y="250"/>
                      <a:pt x="347" y="251"/>
                      <a:pt x="347" y="250"/>
                    </a:cubicBezTo>
                    <a:cubicBezTo>
                      <a:pt x="347" y="249"/>
                      <a:pt x="348" y="247"/>
                      <a:pt x="348" y="247"/>
                    </a:cubicBezTo>
                    <a:cubicBezTo>
                      <a:pt x="347" y="246"/>
                      <a:pt x="344" y="245"/>
                      <a:pt x="344" y="245"/>
                    </a:cubicBezTo>
                    <a:cubicBezTo>
                      <a:pt x="343" y="245"/>
                      <a:pt x="342" y="245"/>
                      <a:pt x="341" y="244"/>
                    </a:cubicBezTo>
                    <a:cubicBezTo>
                      <a:pt x="335" y="237"/>
                      <a:pt x="339" y="246"/>
                      <a:pt x="342" y="247"/>
                    </a:cubicBezTo>
                    <a:cubicBezTo>
                      <a:pt x="342" y="248"/>
                      <a:pt x="342" y="248"/>
                      <a:pt x="342" y="248"/>
                    </a:cubicBezTo>
                    <a:cubicBezTo>
                      <a:pt x="342" y="250"/>
                      <a:pt x="342" y="250"/>
                      <a:pt x="342" y="250"/>
                    </a:cubicBezTo>
                    <a:close/>
                    <a:moveTo>
                      <a:pt x="349" y="257"/>
                    </a:moveTo>
                    <a:cubicBezTo>
                      <a:pt x="349" y="257"/>
                      <a:pt x="349" y="257"/>
                      <a:pt x="349" y="257"/>
                    </a:cubicBezTo>
                    <a:cubicBezTo>
                      <a:pt x="353" y="252"/>
                      <a:pt x="353" y="252"/>
                      <a:pt x="353" y="252"/>
                    </a:cubicBezTo>
                    <a:cubicBezTo>
                      <a:pt x="353" y="252"/>
                      <a:pt x="355" y="250"/>
                      <a:pt x="356" y="250"/>
                    </a:cubicBezTo>
                    <a:cubicBezTo>
                      <a:pt x="357" y="250"/>
                      <a:pt x="361" y="249"/>
                      <a:pt x="361" y="249"/>
                    </a:cubicBezTo>
                    <a:cubicBezTo>
                      <a:pt x="361" y="249"/>
                      <a:pt x="364" y="250"/>
                      <a:pt x="362" y="251"/>
                    </a:cubicBezTo>
                    <a:cubicBezTo>
                      <a:pt x="361" y="252"/>
                      <a:pt x="358" y="254"/>
                      <a:pt x="357" y="254"/>
                    </a:cubicBezTo>
                    <a:cubicBezTo>
                      <a:pt x="356" y="255"/>
                      <a:pt x="354" y="258"/>
                      <a:pt x="354" y="258"/>
                    </a:cubicBezTo>
                    <a:cubicBezTo>
                      <a:pt x="350" y="259"/>
                      <a:pt x="350" y="259"/>
                      <a:pt x="350" y="259"/>
                    </a:cubicBezTo>
                    <a:cubicBezTo>
                      <a:pt x="346" y="261"/>
                      <a:pt x="346" y="261"/>
                      <a:pt x="346" y="261"/>
                    </a:cubicBezTo>
                    <a:cubicBezTo>
                      <a:pt x="347" y="265"/>
                      <a:pt x="347" y="265"/>
                      <a:pt x="347" y="265"/>
                    </a:cubicBezTo>
                    <a:cubicBezTo>
                      <a:pt x="347" y="265"/>
                      <a:pt x="346" y="266"/>
                      <a:pt x="345" y="266"/>
                    </a:cubicBezTo>
                    <a:cubicBezTo>
                      <a:pt x="345" y="265"/>
                      <a:pt x="342" y="263"/>
                      <a:pt x="342" y="263"/>
                    </a:cubicBezTo>
                    <a:cubicBezTo>
                      <a:pt x="343" y="258"/>
                      <a:pt x="343" y="258"/>
                      <a:pt x="343" y="258"/>
                    </a:cubicBezTo>
                    <a:cubicBezTo>
                      <a:pt x="347" y="258"/>
                      <a:pt x="347" y="258"/>
                      <a:pt x="347" y="258"/>
                    </a:cubicBezTo>
                    <a:cubicBezTo>
                      <a:pt x="349" y="257"/>
                      <a:pt x="349" y="257"/>
                      <a:pt x="349" y="257"/>
                    </a:cubicBezTo>
                    <a:close/>
                    <a:moveTo>
                      <a:pt x="388" y="286"/>
                    </a:moveTo>
                    <a:cubicBezTo>
                      <a:pt x="388" y="286"/>
                      <a:pt x="388" y="286"/>
                      <a:pt x="388" y="286"/>
                    </a:cubicBezTo>
                    <a:cubicBezTo>
                      <a:pt x="388" y="286"/>
                      <a:pt x="392" y="290"/>
                      <a:pt x="392" y="290"/>
                    </a:cubicBezTo>
                    <a:cubicBezTo>
                      <a:pt x="391" y="295"/>
                      <a:pt x="391" y="295"/>
                      <a:pt x="391" y="295"/>
                    </a:cubicBezTo>
                    <a:cubicBezTo>
                      <a:pt x="391" y="295"/>
                      <a:pt x="391" y="297"/>
                      <a:pt x="393" y="297"/>
                    </a:cubicBezTo>
                    <a:cubicBezTo>
                      <a:pt x="395" y="298"/>
                      <a:pt x="398" y="298"/>
                      <a:pt x="398" y="296"/>
                    </a:cubicBezTo>
                    <a:cubicBezTo>
                      <a:pt x="398" y="294"/>
                      <a:pt x="399" y="292"/>
                      <a:pt x="400" y="291"/>
                    </a:cubicBezTo>
                    <a:cubicBezTo>
                      <a:pt x="401" y="289"/>
                      <a:pt x="403" y="286"/>
                      <a:pt x="403" y="286"/>
                    </a:cubicBezTo>
                    <a:cubicBezTo>
                      <a:pt x="403" y="286"/>
                      <a:pt x="404" y="286"/>
                      <a:pt x="405" y="285"/>
                    </a:cubicBezTo>
                    <a:cubicBezTo>
                      <a:pt x="406" y="285"/>
                      <a:pt x="404" y="282"/>
                      <a:pt x="404" y="282"/>
                    </a:cubicBezTo>
                    <a:cubicBezTo>
                      <a:pt x="404" y="282"/>
                      <a:pt x="403" y="282"/>
                      <a:pt x="405" y="278"/>
                    </a:cubicBezTo>
                    <a:cubicBezTo>
                      <a:pt x="407" y="275"/>
                      <a:pt x="407" y="275"/>
                      <a:pt x="407" y="275"/>
                    </a:cubicBezTo>
                    <a:cubicBezTo>
                      <a:pt x="407" y="274"/>
                      <a:pt x="408" y="271"/>
                      <a:pt x="408" y="270"/>
                    </a:cubicBezTo>
                    <a:cubicBezTo>
                      <a:pt x="407" y="268"/>
                      <a:pt x="406" y="263"/>
                      <a:pt x="406" y="263"/>
                    </a:cubicBezTo>
                    <a:cubicBezTo>
                      <a:pt x="404" y="265"/>
                      <a:pt x="404" y="265"/>
                      <a:pt x="404" y="265"/>
                    </a:cubicBezTo>
                    <a:cubicBezTo>
                      <a:pt x="404" y="265"/>
                      <a:pt x="402" y="267"/>
                      <a:pt x="400" y="267"/>
                    </a:cubicBezTo>
                    <a:cubicBezTo>
                      <a:pt x="398" y="268"/>
                      <a:pt x="396" y="269"/>
                      <a:pt x="396" y="270"/>
                    </a:cubicBezTo>
                    <a:cubicBezTo>
                      <a:pt x="396" y="270"/>
                      <a:pt x="396" y="273"/>
                      <a:pt x="395" y="274"/>
                    </a:cubicBezTo>
                    <a:cubicBezTo>
                      <a:pt x="394" y="275"/>
                      <a:pt x="391" y="278"/>
                      <a:pt x="391" y="278"/>
                    </a:cubicBezTo>
                    <a:cubicBezTo>
                      <a:pt x="389" y="283"/>
                      <a:pt x="389" y="283"/>
                      <a:pt x="389" y="283"/>
                    </a:cubicBezTo>
                    <a:cubicBezTo>
                      <a:pt x="389" y="283"/>
                      <a:pt x="388" y="286"/>
                      <a:pt x="388" y="286"/>
                    </a:cubicBezTo>
                    <a:close/>
                    <a:moveTo>
                      <a:pt x="373" y="331"/>
                    </a:moveTo>
                    <a:cubicBezTo>
                      <a:pt x="373" y="331"/>
                      <a:pt x="373" y="331"/>
                      <a:pt x="373" y="331"/>
                    </a:cubicBezTo>
                    <a:cubicBezTo>
                      <a:pt x="371" y="330"/>
                      <a:pt x="369" y="328"/>
                      <a:pt x="369" y="326"/>
                    </a:cubicBezTo>
                    <a:cubicBezTo>
                      <a:pt x="369" y="325"/>
                      <a:pt x="370" y="323"/>
                      <a:pt x="370" y="323"/>
                    </a:cubicBezTo>
                    <a:cubicBezTo>
                      <a:pt x="370" y="323"/>
                      <a:pt x="368" y="322"/>
                      <a:pt x="368" y="321"/>
                    </a:cubicBezTo>
                    <a:cubicBezTo>
                      <a:pt x="368" y="321"/>
                      <a:pt x="370" y="317"/>
                      <a:pt x="370" y="315"/>
                    </a:cubicBezTo>
                    <a:cubicBezTo>
                      <a:pt x="369" y="314"/>
                      <a:pt x="370" y="308"/>
                      <a:pt x="370" y="308"/>
                    </a:cubicBezTo>
                    <a:cubicBezTo>
                      <a:pt x="370" y="308"/>
                      <a:pt x="373" y="307"/>
                      <a:pt x="373" y="308"/>
                    </a:cubicBezTo>
                    <a:cubicBezTo>
                      <a:pt x="373" y="309"/>
                      <a:pt x="372" y="312"/>
                      <a:pt x="372" y="313"/>
                    </a:cubicBezTo>
                    <a:cubicBezTo>
                      <a:pt x="372" y="314"/>
                      <a:pt x="371" y="318"/>
                      <a:pt x="371" y="319"/>
                    </a:cubicBezTo>
                    <a:cubicBezTo>
                      <a:pt x="371" y="319"/>
                      <a:pt x="372" y="318"/>
                      <a:pt x="374" y="320"/>
                    </a:cubicBezTo>
                    <a:cubicBezTo>
                      <a:pt x="376" y="322"/>
                      <a:pt x="376" y="325"/>
                      <a:pt x="376" y="325"/>
                    </a:cubicBezTo>
                    <a:cubicBezTo>
                      <a:pt x="374" y="327"/>
                      <a:pt x="374" y="327"/>
                      <a:pt x="374" y="327"/>
                    </a:cubicBezTo>
                    <a:cubicBezTo>
                      <a:pt x="373" y="331"/>
                      <a:pt x="373" y="331"/>
                      <a:pt x="373" y="331"/>
                    </a:cubicBezTo>
                    <a:close/>
                    <a:moveTo>
                      <a:pt x="361" y="333"/>
                    </a:moveTo>
                    <a:cubicBezTo>
                      <a:pt x="361" y="333"/>
                      <a:pt x="361" y="333"/>
                      <a:pt x="361" y="333"/>
                    </a:cubicBezTo>
                    <a:cubicBezTo>
                      <a:pt x="361" y="333"/>
                      <a:pt x="360" y="337"/>
                      <a:pt x="360" y="338"/>
                    </a:cubicBezTo>
                    <a:cubicBezTo>
                      <a:pt x="360" y="338"/>
                      <a:pt x="361" y="338"/>
                      <a:pt x="362" y="338"/>
                    </a:cubicBezTo>
                    <a:cubicBezTo>
                      <a:pt x="363" y="337"/>
                      <a:pt x="364" y="337"/>
                      <a:pt x="365" y="336"/>
                    </a:cubicBezTo>
                    <a:cubicBezTo>
                      <a:pt x="366" y="335"/>
                      <a:pt x="369" y="333"/>
                      <a:pt x="370" y="333"/>
                    </a:cubicBezTo>
                    <a:cubicBezTo>
                      <a:pt x="371" y="332"/>
                      <a:pt x="366" y="330"/>
                      <a:pt x="366" y="330"/>
                    </a:cubicBezTo>
                    <a:cubicBezTo>
                      <a:pt x="361" y="333"/>
                      <a:pt x="361" y="333"/>
                      <a:pt x="361" y="333"/>
                    </a:cubicBezTo>
                    <a:close/>
                    <a:moveTo>
                      <a:pt x="225" y="132"/>
                    </a:moveTo>
                    <a:cubicBezTo>
                      <a:pt x="225" y="132"/>
                      <a:pt x="225" y="132"/>
                      <a:pt x="225" y="132"/>
                    </a:cubicBezTo>
                    <a:cubicBezTo>
                      <a:pt x="227" y="133"/>
                      <a:pt x="227" y="133"/>
                      <a:pt x="227" y="133"/>
                    </a:cubicBezTo>
                    <a:cubicBezTo>
                      <a:pt x="227" y="133"/>
                      <a:pt x="228" y="132"/>
                      <a:pt x="229" y="131"/>
                    </a:cubicBezTo>
                    <a:cubicBezTo>
                      <a:pt x="230" y="130"/>
                      <a:pt x="228" y="129"/>
                      <a:pt x="228" y="129"/>
                    </a:cubicBezTo>
                    <a:cubicBezTo>
                      <a:pt x="227" y="130"/>
                      <a:pt x="227" y="130"/>
                      <a:pt x="227" y="130"/>
                    </a:cubicBezTo>
                    <a:cubicBezTo>
                      <a:pt x="227" y="130"/>
                      <a:pt x="225" y="132"/>
                      <a:pt x="225" y="132"/>
                    </a:cubicBezTo>
                    <a:close/>
                    <a:moveTo>
                      <a:pt x="164" y="164"/>
                    </a:moveTo>
                    <a:cubicBezTo>
                      <a:pt x="164" y="164"/>
                      <a:pt x="164" y="164"/>
                      <a:pt x="164" y="164"/>
                    </a:cubicBezTo>
                    <a:cubicBezTo>
                      <a:pt x="165" y="165"/>
                      <a:pt x="165" y="165"/>
                      <a:pt x="165" y="165"/>
                    </a:cubicBezTo>
                    <a:cubicBezTo>
                      <a:pt x="165" y="165"/>
                      <a:pt x="166" y="163"/>
                      <a:pt x="168" y="162"/>
                    </a:cubicBezTo>
                    <a:cubicBezTo>
                      <a:pt x="169" y="161"/>
                      <a:pt x="167" y="161"/>
                      <a:pt x="167" y="161"/>
                    </a:cubicBezTo>
                    <a:cubicBezTo>
                      <a:pt x="165" y="162"/>
                      <a:pt x="165" y="162"/>
                      <a:pt x="165" y="162"/>
                    </a:cubicBezTo>
                    <a:cubicBezTo>
                      <a:pt x="165" y="162"/>
                      <a:pt x="164" y="163"/>
                      <a:pt x="164" y="164"/>
                    </a:cubicBezTo>
                    <a:close/>
                    <a:moveTo>
                      <a:pt x="174" y="162"/>
                    </a:moveTo>
                    <a:cubicBezTo>
                      <a:pt x="174" y="162"/>
                      <a:pt x="174" y="162"/>
                      <a:pt x="174" y="162"/>
                    </a:cubicBezTo>
                    <a:cubicBezTo>
                      <a:pt x="174" y="164"/>
                      <a:pt x="174" y="164"/>
                      <a:pt x="174" y="164"/>
                    </a:cubicBezTo>
                    <a:cubicBezTo>
                      <a:pt x="174" y="164"/>
                      <a:pt x="177" y="165"/>
                      <a:pt x="179" y="166"/>
                    </a:cubicBezTo>
                    <a:cubicBezTo>
                      <a:pt x="182" y="167"/>
                      <a:pt x="180" y="164"/>
                      <a:pt x="180" y="164"/>
                    </a:cubicBezTo>
                    <a:cubicBezTo>
                      <a:pt x="178" y="162"/>
                      <a:pt x="178" y="162"/>
                      <a:pt x="178" y="162"/>
                    </a:cubicBezTo>
                    <a:cubicBezTo>
                      <a:pt x="178" y="162"/>
                      <a:pt x="175" y="161"/>
                      <a:pt x="174" y="162"/>
                    </a:cubicBezTo>
                    <a:close/>
                    <a:moveTo>
                      <a:pt x="211" y="164"/>
                    </a:moveTo>
                    <a:cubicBezTo>
                      <a:pt x="211" y="164"/>
                      <a:pt x="211" y="164"/>
                      <a:pt x="211" y="164"/>
                    </a:cubicBezTo>
                    <a:cubicBezTo>
                      <a:pt x="210" y="166"/>
                      <a:pt x="210" y="166"/>
                      <a:pt x="210" y="166"/>
                    </a:cubicBezTo>
                    <a:cubicBezTo>
                      <a:pt x="210" y="166"/>
                      <a:pt x="212" y="168"/>
                      <a:pt x="213" y="170"/>
                    </a:cubicBezTo>
                    <a:cubicBezTo>
                      <a:pt x="214" y="170"/>
                      <a:pt x="218" y="174"/>
                      <a:pt x="220" y="174"/>
                    </a:cubicBezTo>
                    <a:cubicBezTo>
                      <a:pt x="228" y="177"/>
                      <a:pt x="215" y="167"/>
                      <a:pt x="214" y="166"/>
                    </a:cubicBezTo>
                    <a:cubicBezTo>
                      <a:pt x="214" y="166"/>
                      <a:pt x="211" y="163"/>
                      <a:pt x="211" y="164"/>
                    </a:cubicBezTo>
                    <a:close/>
                    <a:moveTo>
                      <a:pt x="258" y="178"/>
                    </a:moveTo>
                    <a:cubicBezTo>
                      <a:pt x="258" y="178"/>
                      <a:pt x="258" y="178"/>
                      <a:pt x="258" y="178"/>
                    </a:cubicBezTo>
                    <a:cubicBezTo>
                      <a:pt x="260" y="180"/>
                      <a:pt x="260" y="180"/>
                      <a:pt x="260" y="180"/>
                    </a:cubicBezTo>
                    <a:cubicBezTo>
                      <a:pt x="260" y="180"/>
                      <a:pt x="263" y="179"/>
                      <a:pt x="265" y="178"/>
                    </a:cubicBezTo>
                    <a:cubicBezTo>
                      <a:pt x="267" y="178"/>
                      <a:pt x="265" y="176"/>
                      <a:pt x="265" y="176"/>
                    </a:cubicBezTo>
                    <a:cubicBezTo>
                      <a:pt x="262" y="176"/>
                      <a:pt x="262" y="176"/>
                      <a:pt x="262" y="176"/>
                    </a:cubicBezTo>
                    <a:cubicBezTo>
                      <a:pt x="262" y="176"/>
                      <a:pt x="258" y="177"/>
                      <a:pt x="258" y="178"/>
                    </a:cubicBezTo>
                    <a:close/>
                    <a:moveTo>
                      <a:pt x="238" y="73"/>
                    </a:moveTo>
                    <a:cubicBezTo>
                      <a:pt x="238" y="73"/>
                      <a:pt x="238" y="73"/>
                      <a:pt x="238" y="73"/>
                    </a:cubicBezTo>
                    <a:cubicBezTo>
                      <a:pt x="238" y="73"/>
                      <a:pt x="234" y="75"/>
                      <a:pt x="234" y="75"/>
                    </a:cubicBezTo>
                    <a:cubicBezTo>
                      <a:pt x="233" y="75"/>
                      <a:pt x="234" y="77"/>
                      <a:pt x="235" y="77"/>
                    </a:cubicBezTo>
                    <a:cubicBezTo>
                      <a:pt x="236" y="78"/>
                      <a:pt x="239" y="79"/>
                      <a:pt x="239" y="79"/>
                    </a:cubicBezTo>
                    <a:cubicBezTo>
                      <a:pt x="240" y="79"/>
                      <a:pt x="243" y="77"/>
                      <a:pt x="245" y="75"/>
                    </a:cubicBezTo>
                    <a:cubicBezTo>
                      <a:pt x="247" y="74"/>
                      <a:pt x="243" y="73"/>
                      <a:pt x="243" y="73"/>
                    </a:cubicBezTo>
                    <a:cubicBezTo>
                      <a:pt x="238" y="73"/>
                      <a:pt x="238" y="73"/>
                      <a:pt x="238" y="73"/>
                    </a:cubicBezTo>
                    <a:close/>
                    <a:moveTo>
                      <a:pt x="202" y="66"/>
                    </a:moveTo>
                    <a:cubicBezTo>
                      <a:pt x="202" y="66"/>
                      <a:pt x="202" y="66"/>
                      <a:pt x="202" y="66"/>
                    </a:cubicBezTo>
                    <a:cubicBezTo>
                      <a:pt x="202" y="66"/>
                      <a:pt x="198" y="66"/>
                      <a:pt x="197" y="66"/>
                    </a:cubicBezTo>
                    <a:cubicBezTo>
                      <a:pt x="197" y="66"/>
                      <a:pt x="196" y="67"/>
                      <a:pt x="195" y="68"/>
                    </a:cubicBezTo>
                    <a:cubicBezTo>
                      <a:pt x="194" y="69"/>
                      <a:pt x="194" y="71"/>
                      <a:pt x="193" y="73"/>
                    </a:cubicBezTo>
                    <a:cubicBezTo>
                      <a:pt x="193" y="75"/>
                      <a:pt x="194" y="75"/>
                      <a:pt x="194" y="75"/>
                    </a:cubicBezTo>
                    <a:cubicBezTo>
                      <a:pt x="195" y="76"/>
                      <a:pt x="195" y="76"/>
                      <a:pt x="197" y="78"/>
                    </a:cubicBezTo>
                    <a:cubicBezTo>
                      <a:pt x="199" y="79"/>
                      <a:pt x="201" y="77"/>
                      <a:pt x="203" y="76"/>
                    </a:cubicBezTo>
                    <a:cubicBezTo>
                      <a:pt x="206" y="75"/>
                      <a:pt x="204" y="74"/>
                      <a:pt x="205" y="72"/>
                    </a:cubicBezTo>
                    <a:cubicBezTo>
                      <a:pt x="205" y="71"/>
                      <a:pt x="204" y="68"/>
                      <a:pt x="204" y="68"/>
                    </a:cubicBezTo>
                    <a:cubicBezTo>
                      <a:pt x="204" y="67"/>
                      <a:pt x="202" y="66"/>
                      <a:pt x="202" y="66"/>
                    </a:cubicBezTo>
                    <a:close/>
                    <a:moveTo>
                      <a:pt x="236" y="103"/>
                    </a:moveTo>
                    <a:cubicBezTo>
                      <a:pt x="236" y="103"/>
                      <a:pt x="236" y="103"/>
                      <a:pt x="236" y="103"/>
                    </a:cubicBezTo>
                    <a:cubicBezTo>
                      <a:pt x="236" y="103"/>
                      <a:pt x="235" y="105"/>
                      <a:pt x="235" y="105"/>
                    </a:cubicBezTo>
                    <a:cubicBezTo>
                      <a:pt x="235" y="105"/>
                      <a:pt x="235" y="107"/>
                      <a:pt x="235" y="107"/>
                    </a:cubicBezTo>
                    <a:cubicBezTo>
                      <a:pt x="235" y="107"/>
                      <a:pt x="234" y="108"/>
                      <a:pt x="233" y="109"/>
                    </a:cubicBezTo>
                    <a:cubicBezTo>
                      <a:pt x="231" y="111"/>
                      <a:pt x="233" y="111"/>
                      <a:pt x="234" y="112"/>
                    </a:cubicBezTo>
                    <a:cubicBezTo>
                      <a:pt x="235" y="114"/>
                      <a:pt x="234" y="113"/>
                      <a:pt x="235" y="113"/>
                    </a:cubicBezTo>
                    <a:cubicBezTo>
                      <a:pt x="235" y="114"/>
                      <a:pt x="236" y="113"/>
                      <a:pt x="238" y="112"/>
                    </a:cubicBezTo>
                    <a:cubicBezTo>
                      <a:pt x="240" y="111"/>
                      <a:pt x="239" y="111"/>
                      <a:pt x="239" y="111"/>
                    </a:cubicBezTo>
                    <a:cubicBezTo>
                      <a:pt x="239" y="111"/>
                      <a:pt x="237" y="108"/>
                      <a:pt x="237" y="108"/>
                    </a:cubicBezTo>
                    <a:cubicBezTo>
                      <a:pt x="237" y="108"/>
                      <a:pt x="237" y="107"/>
                      <a:pt x="237" y="107"/>
                    </a:cubicBezTo>
                    <a:cubicBezTo>
                      <a:pt x="237" y="106"/>
                      <a:pt x="238" y="106"/>
                      <a:pt x="239" y="105"/>
                    </a:cubicBezTo>
                    <a:cubicBezTo>
                      <a:pt x="240" y="103"/>
                      <a:pt x="240" y="102"/>
                      <a:pt x="240" y="102"/>
                    </a:cubicBezTo>
                    <a:cubicBezTo>
                      <a:pt x="240" y="101"/>
                      <a:pt x="238" y="101"/>
                      <a:pt x="238" y="101"/>
                    </a:cubicBezTo>
                    <a:cubicBezTo>
                      <a:pt x="238" y="101"/>
                      <a:pt x="236" y="102"/>
                      <a:pt x="236" y="103"/>
                    </a:cubicBezTo>
                    <a:close/>
                    <a:moveTo>
                      <a:pt x="233" y="105"/>
                    </a:moveTo>
                    <a:cubicBezTo>
                      <a:pt x="233" y="105"/>
                      <a:pt x="233" y="105"/>
                      <a:pt x="233" y="105"/>
                    </a:cubicBezTo>
                    <a:cubicBezTo>
                      <a:pt x="232" y="103"/>
                      <a:pt x="232" y="103"/>
                      <a:pt x="232" y="103"/>
                    </a:cubicBezTo>
                    <a:cubicBezTo>
                      <a:pt x="232" y="103"/>
                      <a:pt x="231" y="102"/>
                      <a:pt x="228" y="102"/>
                    </a:cubicBezTo>
                    <a:cubicBezTo>
                      <a:pt x="226" y="102"/>
                      <a:pt x="226" y="103"/>
                      <a:pt x="224" y="103"/>
                    </a:cubicBezTo>
                    <a:cubicBezTo>
                      <a:pt x="222" y="103"/>
                      <a:pt x="222" y="105"/>
                      <a:pt x="222" y="106"/>
                    </a:cubicBezTo>
                    <a:cubicBezTo>
                      <a:pt x="221" y="108"/>
                      <a:pt x="222" y="107"/>
                      <a:pt x="223" y="108"/>
                    </a:cubicBezTo>
                    <a:cubicBezTo>
                      <a:pt x="224" y="109"/>
                      <a:pt x="223" y="109"/>
                      <a:pt x="224" y="112"/>
                    </a:cubicBezTo>
                    <a:cubicBezTo>
                      <a:pt x="224" y="114"/>
                      <a:pt x="225" y="113"/>
                      <a:pt x="225" y="113"/>
                    </a:cubicBezTo>
                    <a:cubicBezTo>
                      <a:pt x="226" y="114"/>
                      <a:pt x="227" y="113"/>
                      <a:pt x="229" y="112"/>
                    </a:cubicBezTo>
                    <a:cubicBezTo>
                      <a:pt x="231" y="110"/>
                      <a:pt x="229" y="110"/>
                      <a:pt x="229" y="110"/>
                    </a:cubicBezTo>
                    <a:cubicBezTo>
                      <a:pt x="229" y="110"/>
                      <a:pt x="231" y="109"/>
                      <a:pt x="233" y="107"/>
                    </a:cubicBezTo>
                    <a:cubicBezTo>
                      <a:pt x="234" y="105"/>
                      <a:pt x="233" y="105"/>
                      <a:pt x="233" y="105"/>
                    </a:cubicBezTo>
                    <a:close/>
                    <a:moveTo>
                      <a:pt x="284" y="139"/>
                    </a:moveTo>
                    <a:cubicBezTo>
                      <a:pt x="284" y="139"/>
                      <a:pt x="284" y="139"/>
                      <a:pt x="284" y="139"/>
                    </a:cubicBezTo>
                    <a:cubicBezTo>
                      <a:pt x="283" y="139"/>
                      <a:pt x="282" y="141"/>
                      <a:pt x="282" y="141"/>
                    </a:cubicBezTo>
                    <a:cubicBezTo>
                      <a:pt x="282" y="141"/>
                      <a:pt x="281" y="142"/>
                      <a:pt x="281" y="143"/>
                    </a:cubicBezTo>
                    <a:cubicBezTo>
                      <a:pt x="280" y="143"/>
                      <a:pt x="279" y="145"/>
                      <a:pt x="279" y="145"/>
                    </a:cubicBezTo>
                    <a:cubicBezTo>
                      <a:pt x="279" y="145"/>
                      <a:pt x="280" y="146"/>
                      <a:pt x="281" y="146"/>
                    </a:cubicBezTo>
                    <a:cubicBezTo>
                      <a:pt x="282" y="147"/>
                      <a:pt x="282" y="147"/>
                      <a:pt x="283" y="147"/>
                    </a:cubicBezTo>
                    <a:cubicBezTo>
                      <a:pt x="284" y="147"/>
                      <a:pt x="284" y="147"/>
                      <a:pt x="287" y="147"/>
                    </a:cubicBezTo>
                    <a:cubicBezTo>
                      <a:pt x="291" y="147"/>
                      <a:pt x="294" y="147"/>
                      <a:pt x="295" y="147"/>
                    </a:cubicBezTo>
                    <a:cubicBezTo>
                      <a:pt x="295" y="147"/>
                      <a:pt x="297" y="146"/>
                      <a:pt x="297" y="146"/>
                    </a:cubicBezTo>
                    <a:cubicBezTo>
                      <a:pt x="297" y="145"/>
                      <a:pt x="297" y="145"/>
                      <a:pt x="296" y="144"/>
                    </a:cubicBezTo>
                    <a:cubicBezTo>
                      <a:pt x="295" y="142"/>
                      <a:pt x="293" y="141"/>
                      <a:pt x="293" y="141"/>
                    </a:cubicBezTo>
                    <a:cubicBezTo>
                      <a:pt x="292" y="141"/>
                      <a:pt x="293" y="139"/>
                      <a:pt x="294" y="140"/>
                    </a:cubicBezTo>
                    <a:cubicBezTo>
                      <a:pt x="294" y="140"/>
                      <a:pt x="297" y="143"/>
                      <a:pt x="297" y="143"/>
                    </a:cubicBezTo>
                    <a:cubicBezTo>
                      <a:pt x="298" y="143"/>
                      <a:pt x="300" y="143"/>
                      <a:pt x="300" y="141"/>
                    </a:cubicBezTo>
                    <a:cubicBezTo>
                      <a:pt x="299" y="140"/>
                      <a:pt x="301" y="138"/>
                      <a:pt x="298" y="137"/>
                    </a:cubicBezTo>
                    <a:cubicBezTo>
                      <a:pt x="296" y="136"/>
                      <a:pt x="295" y="135"/>
                      <a:pt x="294" y="135"/>
                    </a:cubicBezTo>
                    <a:cubicBezTo>
                      <a:pt x="292" y="135"/>
                      <a:pt x="295" y="136"/>
                      <a:pt x="291" y="133"/>
                    </a:cubicBezTo>
                    <a:cubicBezTo>
                      <a:pt x="287" y="130"/>
                      <a:pt x="287" y="131"/>
                      <a:pt x="287" y="131"/>
                    </a:cubicBezTo>
                    <a:cubicBezTo>
                      <a:pt x="287" y="131"/>
                      <a:pt x="289" y="128"/>
                      <a:pt x="288" y="127"/>
                    </a:cubicBezTo>
                    <a:cubicBezTo>
                      <a:pt x="288" y="127"/>
                      <a:pt x="284" y="126"/>
                      <a:pt x="284" y="126"/>
                    </a:cubicBezTo>
                    <a:cubicBezTo>
                      <a:pt x="284" y="126"/>
                      <a:pt x="279" y="127"/>
                      <a:pt x="279" y="127"/>
                    </a:cubicBezTo>
                    <a:cubicBezTo>
                      <a:pt x="278" y="128"/>
                      <a:pt x="277" y="129"/>
                      <a:pt x="277" y="129"/>
                    </a:cubicBezTo>
                    <a:cubicBezTo>
                      <a:pt x="277" y="131"/>
                      <a:pt x="277" y="131"/>
                      <a:pt x="277" y="131"/>
                    </a:cubicBezTo>
                    <a:cubicBezTo>
                      <a:pt x="275" y="132"/>
                      <a:pt x="275" y="132"/>
                      <a:pt x="275" y="132"/>
                    </a:cubicBezTo>
                    <a:cubicBezTo>
                      <a:pt x="275" y="132"/>
                      <a:pt x="274" y="134"/>
                      <a:pt x="274" y="134"/>
                    </a:cubicBezTo>
                    <a:cubicBezTo>
                      <a:pt x="273" y="134"/>
                      <a:pt x="271" y="135"/>
                      <a:pt x="271" y="135"/>
                    </a:cubicBezTo>
                    <a:cubicBezTo>
                      <a:pt x="270" y="135"/>
                      <a:pt x="268" y="135"/>
                      <a:pt x="268" y="136"/>
                    </a:cubicBezTo>
                    <a:cubicBezTo>
                      <a:pt x="267" y="137"/>
                      <a:pt x="264" y="138"/>
                      <a:pt x="264" y="138"/>
                    </a:cubicBezTo>
                    <a:cubicBezTo>
                      <a:pt x="264" y="138"/>
                      <a:pt x="263" y="139"/>
                      <a:pt x="265" y="141"/>
                    </a:cubicBezTo>
                    <a:cubicBezTo>
                      <a:pt x="267" y="142"/>
                      <a:pt x="269" y="142"/>
                      <a:pt x="269" y="143"/>
                    </a:cubicBezTo>
                    <a:cubicBezTo>
                      <a:pt x="270" y="143"/>
                      <a:pt x="270" y="143"/>
                      <a:pt x="271" y="143"/>
                    </a:cubicBezTo>
                    <a:cubicBezTo>
                      <a:pt x="272" y="144"/>
                      <a:pt x="272" y="144"/>
                      <a:pt x="274" y="144"/>
                    </a:cubicBezTo>
                    <a:cubicBezTo>
                      <a:pt x="275" y="143"/>
                      <a:pt x="277" y="143"/>
                      <a:pt x="277" y="142"/>
                    </a:cubicBezTo>
                    <a:cubicBezTo>
                      <a:pt x="278" y="141"/>
                      <a:pt x="278" y="140"/>
                      <a:pt x="279" y="139"/>
                    </a:cubicBezTo>
                    <a:cubicBezTo>
                      <a:pt x="279" y="138"/>
                      <a:pt x="279" y="137"/>
                      <a:pt x="281" y="137"/>
                    </a:cubicBezTo>
                    <a:cubicBezTo>
                      <a:pt x="282" y="137"/>
                      <a:pt x="284" y="136"/>
                      <a:pt x="284" y="136"/>
                    </a:cubicBezTo>
                    <a:cubicBezTo>
                      <a:pt x="284" y="136"/>
                      <a:pt x="284" y="139"/>
                      <a:pt x="284" y="139"/>
                    </a:cubicBezTo>
                    <a:close/>
                    <a:moveTo>
                      <a:pt x="289" y="182"/>
                    </a:moveTo>
                    <a:cubicBezTo>
                      <a:pt x="289" y="182"/>
                      <a:pt x="289" y="182"/>
                      <a:pt x="289" y="182"/>
                    </a:cubicBezTo>
                    <a:cubicBezTo>
                      <a:pt x="288" y="181"/>
                      <a:pt x="288" y="181"/>
                      <a:pt x="288" y="181"/>
                    </a:cubicBezTo>
                    <a:cubicBezTo>
                      <a:pt x="288" y="180"/>
                      <a:pt x="288" y="180"/>
                      <a:pt x="288" y="180"/>
                    </a:cubicBezTo>
                    <a:cubicBezTo>
                      <a:pt x="285" y="177"/>
                      <a:pt x="285" y="177"/>
                      <a:pt x="285" y="177"/>
                    </a:cubicBezTo>
                    <a:cubicBezTo>
                      <a:pt x="285" y="177"/>
                      <a:pt x="289" y="176"/>
                      <a:pt x="291" y="175"/>
                    </a:cubicBezTo>
                    <a:cubicBezTo>
                      <a:pt x="294" y="174"/>
                      <a:pt x="291" y="173"/>
                      <a:pt x="291" y="172"/>
                    </a:cubicBezTo>
                    <a:cubicBezTo>
                      <a:pt x="291" y="172"/>
                      <a:pt x="290" y="172"/>
                      <a:pt x="288" y="172"/>
                    </a:cubicBezTo>
                    <a:cubicBezTo>
                      <a:pt x="287" y="172"/>
                      <a:pt x="286" y="172"/>
                      <a:pt x="284" y="173"/>
                    </a:cubicBezTo>
                    <a:cubicBezTo>
                      <a:pt x="283" y="173"/>
                      <a:pt x="282" y="171"/>
                      <a:pt x="282" y="171"/>
                    </a:cubicBezTo>
                    <a:cubicBezTo>
                      <a:pt x="281" y="171"/>
                      <a:pt x="277" y="171"/>
                      <a:pt x="276" y="171"/>
                    </a:cubicBezTo>
                    <a:cubicBezTo>
                      <a:pt x="276" y="171"/>
                      <a:pt x="275" y="173"/>
                      <a:pt x="274" y="174"/>
                    </a:cubicBezTo>
                    <a:cubicBezTo>
                      <a:pt x="273" y="175"/>
                      <a:pt x="272" y="176"/>
                      <a:pt x="271" y="176"/>
                    </a:cubicBezTo>
                    <a:cubicBezTo>
                      <a:pt x="270" y="177"/>
                      <a:pt x="274" y="179"/>
                      <a:pt x="275" y="179"/>
                    </a:cubicBezTo>
                    <a:cubicBezTo>
                      <a:pt x="275" y="180"/>
                      <a:pt x="278" y="180"/>
                      <a:pt x="278" y="181"/>
                    </a:cubicBezTo>
                    <a:cubicBezTo>
                      <a:pt x="279" y="181"/>
                      <a:pt x="282" y="183"/>
                      <a:pt x="283" y="183"/>
                    </a:cubicBezTo>
                    <a:cubicBezTo>
                      <a:pt x="284" y="184"/>
                      <a:pt x="282" y="185"/>
                      <a:pt x="281" y="187"/>
                    </a:cubicBezTo>
                    <a:cubicBezTo>
                      <a:pt x="280" y="189"/>
                      <a:pt x="279" y="189"/>
                      <a:pt x="278" y="190"/>
                    </a:cubicBezTo>
                    <a:cubicBezTo>
                      <a:pt x="277" y="191"/>
                      <a:pt x="279" y="192"/>
                      <a:pt x="280" y="193"/>
                    </a:cubicBezTo>
                    <a:cubicBezTo>
                      <a:pt x="281" y="194"/>
                      <a:pt x="283" y="195"/>
                      <a:pt x="283" y="195"/>
                    </a:cubicBezTo>
                    <a:cubicBezTo>
                      <a:pt x="284" y="195"/>
                      <a:pt x="287" y="193"/>
                      <a:pt x="287" y="193"/>
                    </a:cubicBezTo>
                    <a:cubicBezTo>
                      <a:pt x="287" y="193"/>
                      <a:pt x="288" y="190"/>
                      <a:pt x="288" y="190"/>
                    </a:cubicBezTo>
                    <a:cubicBezTo>
                      <a:pt x="288" y="189"/>
                      <a:pt x="289" y="187"/>
                      <a:pt x="289" y="187"/>
                    </a:cubicBezTo>
                    <a:cubicBezTo>
                      <a:pt x="290" y="186"/>
                      <a:pt x="290" y="186"/>
                      <a:pt x="290" y="186"/>
                    </a:cubicBezTo>
                    <a:cubicBezTo>
                      <a:pt x="289" y="182"/>
                      <a:pt x="289" y="182"/>
                      <a:pt x="289" y="182"/>
                    </a:cubicBezTo>
                    <a:close/>
                    <a:moveTo>
                      <a:pt x="316" y="209"/>
                    </a:moveTo>
                    <a:cubicBezTo>
                      <a:pt x="316" y="209"/>
                      <a:pt x="316" y="209"/>
                      <a:pt x="316" y="209"/>
                    </a:cubicBezTo>
                    <a:cubicBezTo>
                      <a:pt x="317" y="208"/>
                      <a:pt x="319" y="206"/>
                      <a:pt x="319" y="205"/>
                    </a:cubicBezTo>
                    <a:cubicBezTo>
                      <a:pt x="319" y="205"/>
                      <a:pt x="321" y="205"/>
                      <a:pt x="322" y="205"/>
                    </a:cubicBezTo>
                    <a:cubicBezTo>
                      <a:pt x="322" y="205"/>
                      <a:pt x="326" y="206"/>
                      <a:pt x="326" y="206"/>
                    </a:cubicBezTo>
                    <a:cubicBezTo>
                      <a:pt x="326" y="206"/>
                      <a:pt x="329" y="206"/>
                      <a:pt x="329" y="206"/>
                    </a:cubicBezTo>
                    <a:cubicBezTo>
                      <a:pt x="329" y="206"/>
                      <a:pt x="332" y="204"/>
                      <a:pt x="332" y="204"/>
                    </a:cubicBezTo>
                    <a:cubicBezTo>
                      <a:pt x="333" y="204"/>
                      <a:pt x="336" y="207"/>
                      <a:pt x="336" y="207"/>
                    </a:cubicBezTo>
                    <a:cubicBezTo>
                      <a:pt x="336" y="207"/>
                      <a:pt x="334" y="210"/>
                      <a:pt x="333" y="210"/>
                    </a:cubicBezTo>
                    <a:cubicBezTo>
                      <a:pt x="332" y="211"/>
                      <a:pt x="331" y="211"/>
                      <a:pt x="330" y="212"/>
                    </a:cubicBezTo>
                    <a:cubicBezTo>
                      <a:pt x="329" y="214"/>
                      <a:pt x="329" y="214"/>
                      <a:pt x="329" y="215"/>
                    </a:cubicBezTo>
                    <a:cubicBezTo>
                      <a:pt x="328" y="215"/>
                      <a:pt x="327" y="217"/>
                      <a:pt x="325" y="215"/>
                    </a:cubicBezTo>
                    <a:cubicBezTo>
                      <a:pt x="323" y="214"/>
                      <a:pt x="321" y="212"/>
                      <a:pt x="321" y="212"/>
                    </a:cubicBezTo>
                    <a:cubicBezTo>
                      <a:pt x="321" y="212"/>
                      <a:pt x="319" y="213"/>
                      <a:pt x="318" y="213"/>
                    </a:cubicBezTo>
                    <a:cubicBezTo>
                      <a:pt x="317" y="214"/>
                      <a:pt x="315" y="213"/>
                      <a:pt x="315" y="213"/>
                    </a:cubicBezTo>
                    <a:cubicBezTo>
                      <a:pt x="316" y="212"/>
                      <a:pt x="315" y="210"/>
                      <a:pt x="316" y="209"/>
                    </a:cubicBezTo>
                    <a:close/>
                    <a:moveTo>
                      <a:pt x="295" y="229"/>
                    </a:moveTo>
                    <a:cubicBezTo>
                      <a:pt x="295" y="229"/>
                      <a:pt x="295" y="229"/>
                      <a:pt x="295" y="229"/>
                    </a:cubicBezTo>
                    <a:cubicBezTo>
                      <a:pt x="295" y="229"/>
                      <a:pt x="291" y="227"/>
                      <a:pt x="292" y="226"/>
                    </a:cubicBezTo>
                    <a:cubicBezTo>
                      <a:pt x="293" y="224"/>
                      <a:pt x="297" y="220"/>
                      <a:pt x="298" y="219"/>
                    </a:cubicBezTo>
                    <a:cubicBezTo>
                      <a:pt x="298" y="219"/>
                      <a:pt x="301" y="220"/>
                      <a:pt x="301" y="220"/>
                    </a:cubicBezTo>
                    <a:cubicBezTo>
                      <a:pt x="302" y="220"/>
                      <a:pt x="303" y="217"/>
                      <a:pt x="304" y="217"/>
                    </a:cubicBezTo>
                    <a:cubicBezTo>
                      <a:pt x="304" y="217"/>
                      <a:pt x="308" y="217"/>
                      <a:pt x="308" y="217"/>
                    </a:cubicBezTo>
                    <a:cubicBezTo>
                      <a:pt x="308" y="217"/>
                      <a:pt x="306" y="221"/>
                      <a:pt x="304" y="222"/>
                    </a:cubicBezTo>
                    <a:cubicBezTo>
                      <a:pt x="302" y="223"/>
                      <a:pt x="301" y="223"/>
                      <a:pt x="301" y="224"/>
                    </a:cubicBezTo>
                    <a:cubicBezTo>
                      <a:pt x="300" y="225"/>
                      <a:pt x="299" y="226"/>
                      <a:pt x="299" y="227"/>
                    </a:cubicBezTo>
                    <a:cubicBezTo>
                      <a:pt x="298" y="227"/>
                      <a:pt x="295" y="229"/>
                      <a:pt x="295" y="229"/>
                    </a:cubicBezTo>
                    <a:close/>
                    <a:moveTo>
                      <a:pt x="282" y="268"/>
                    </a:moveTo>
                    <a:cubicBezTo>
                      <a:pt x="282" y="268"/>
                      <a:pt x="282" y="268"/>
                      <a:pt x="282" y="268"/>
                    </a:cubicBezTo>
                    <a:cubicBezTo>
                      <a:pt x="283" y="269"/>
                      <a:pt x="281" y="273"/>
                      <a:pt x="278" y="271"/>
                    </a:cubicBezTo>
                    <a:cubicBezTo>
                      <a:pt x="278" y="271"/>
                      <a:pt x="277" y="269"/>
                      <a:pt x="279" y="268"/>
                    </a:cubicBezTo>
                    <a:cubicBezTo>
                      <a:pt x="280" y="268"/>
                      <a:pt x="282" y="268"/>
                      <a:pt x="282" y="268"/>
                    </a:cubicBezTo>
                    <a:close/>
                    <a:moveTo>
                      <a:pt x="279" y="292"/>
                    </a:moveTo>
                    <a:cubicBezTo>
                      <a:pt x="279" y="292"/>
                      <a:pt x="279" y="292"/>
                      <a:pt x="279" y="292"/>
                    </a:cubicBezTo>
                    <a:cubicBezTo>
                      <a:pt x="279" y="292"/>
                      <a:pt x="281" y="290"/>
                      <a:pt x="281" y="290"/>
                    </a:cubicBezTo>
                    <a:cubicBezTo>
                      <a:pt x="282" y="290"/>
                      <a:pt x="283" y="291"/>
                      <a:pt x="283" y="291"/>
                    </a:cubicBezTo>
                    <a:cubicBezTo>
                      <a:pt x="283" y="291"/>
                      <a:pt x="286" y="293"/>
                      <a:pt x="286" y="293"/>
                    </a:cubicBezTo>
                    <a:cubicBezTo>
                      <a:pt x="286" y="294"/>
                      <a:pt x="287" y="296"/>
                      <a:pt x="286" y="296"/>
                    </a:cubicBezTo>
                    <a:cubicBezTo>
                      <a:pt x="285" y="297"/>
                      <a:pt x="284" y="298"/>
                      <a:pt x="283" y="297"/>
                    </a:cubicBezTo>
                    <a:cubicBezTo>
                      <a:pt x="282" y="297"/>
                      <a:pt x="281" y="297"/>
                      <a:pt x="281" y="296"/>
                    </a:cubicBezTo>
                    <a:cubicBezTo>
                      <a:pt x="281" y="295"/>
                      <a:pt x="281" y="295"/>
                      <a:pt x="281" y="294"/>
                    </a:cubicBezTo>
                    <a:cubicBezTo>
                      <a:pt x="281" y="294"/>
                      <a:pt x="279" y="294"/>
                      <a:pt x="279" y="294"/>
                    </a:cubicBezTo>
                    <a:cubicBezTo>
                      <a:pt x="279" y="292"/>
                      <a:pt x="279" y="292"/>
                      <a:pt x="279" y="292"/>
                    </a:cubicBezTo>
                    <a:close/>
                    <a:moveTo>
                      <a:pt x="238" y="279"/>
                    </a:moveTo>
                    <a:cubicBezTo>
                      <a:pt x="238" y="279"/>
                      <a:pt x="238" y="279"/>
                      <a:pt x="238" y="279"/>
                    </a:cubicBezTo>
                    <a:cubicBezTo>
                      <a:pt x="239" y="279"/>
                      <a:pt x="241" y="278"/>
                      <a:pt x="241" y="279"/>
                    </a:cubicBezTo>
                    <a:cubicBezTo>
                      <a:pt x="242" y="280"/>
                      <a:pt x="243" y="280"/>
                      <a:pt x="243" y="281"/>
                    </a:cubicBezTo>
                    <a:cubicBezTo>
                      <a:pt x="243" y="281"/>
                      <a:pt x="244" y="282"/>
                      <a:pt x="242" y="283"/>
                    </a:cubicBezTo>
                    <a:cubicBezTo>
                      <a:pt x="240" y="283"/>
                      <a:pt x="239" y="283"/>
                      <a:pt x="239" y="283"/>
                    </a:cubicBezTo>
                    <a:cubicBezTo>
                      <a:pt x="240" y="286"/>
                      <a:pt x="240" y="286"/>
                      <a:pt x="240" y="286"/>
                    </a:cubicBezTo>
                    <a:cubicBezTo>
                      <a:pt x="240" y="286"/>
                      <a:pt x="242" y="286"/>
                      <a:pt x="239" y="288"/>
                    </a:cubicBezTo>
                    <a:cubicBezTo>
                      <a:pt x="237" y="290"/>
                      <a:pt x="235" y="290"/>
                      <a:pt x="235" y="290"/>
                    </a:cubicBezTo>
                    <a:cubicBezTo>
                      <a:pt x="235" y="289"/>
                      <a:pt x="235" y="289"/>
                      <a:pt x="235" y="289"/>
                    </a:cubicBezTo>
                    <a:cubicBezTo>
                      <a:pt x="232" y="290"/>
                      <a:pt x="232" y="290"/>
                      <a:pt x="232" y="290"/>
                    </a:cubicBezTo>
                    <a:cubicBezTo>
                      <a:pt x="232" y="290"/>
                      <a:pt x="231" y="291"/>
                      <a:pt x="231" y="290"/>
                    </a:cubicBezTo>
                    <a:cubicBezTo>
                      <a:pt x="230" y="288"/>
                      <a:pt x="229" y="286"/>
                      <a:pt x="231" y="286"/>
                    </a:cubicBezTo>
                    <a:cubicBezTo>
                      <a:pt x="233" y="285"/>
                      <a:pt x="233" y="284"/>
                      <a:pt x="234" y="285"/>
                    </a:cubicBezTo>
                    <a:cubicBezTo>
                      <a:pt x="235" y="286"/>
                      <a:pt x="235" y="287"/>
                      <a:pt x="235" y="287"/>
                    </a:cubicBezTo>
                    <a:cubicBezTo>
                      <a:pt x="236" y="284"/>
                      <a:pt x="236" y="284"/>
                      <a:pt x="236" y="284"/>
                    </a:cubicBezTo>
                    <a:cubicBezTo>
                      <a:pt x="236" y="284"/>
                      <a:pt x="235" y="284"/>
                      <a:pt x="235" y="283"/>
                    </a:cubicBezTo>
                    <a:cubicBezTo>
                      <a:pt x="236" y="282"/>
                      <a:pt x="236" y="282"/>
                      <a:pt x="237" y="281"/>
                    </a:cubicBezTo>
                    <a:cubicBezTo>
                      <a:pt x="238" y="281"/>
                      <a:pt x="239" y="282"/>
                      <a:pt x="239" y="282"/>
                    </a:cubicBezTo>
                    <a:cubicBezTo>
                      <a:pt x="238" y="279"/>
                      <a:pt x="238" y="279"/>
                      <a:pt x="238" y="279"/>
                    </a:cubicBezTo>
                    <a:close/>
                    <a:moveTo>
                      <a:pt x="258" y="286"/>
                    </a:moveTo>
                    <a:cubicBezTo>
                      <a:pt x="258" y="286"/>
                      <a:pt x="258" y="286"/>
                      <a:pt x="258" y="286"/>
                    </a:cubicBezTo>
                    <a:cubicBezTo>
                      <a:pt x="258" y="286"/>
                      <a:pt x="259" y="286"/>
                      <a:pt x="259" y="287"/>
                    </a:cubicBezTo>
                    <a:cubicBezTo>
                      <a:pt x="260" y="288"/>
                      <a:pt x="260" y="288"/>
                      <a:pt x="259" y="288"/>
                    </a:cubicBezTo>
                    <a:cubicBezTo>
                      <a:pt x="259" y="288"/>
                      <a:pt x="256" y="288"/>
                      <a:pt x="256" y="288"/>
                    </a:cubicBezTo>
                    <a:cubicBezTo>
                      <a:pt x="256" y="288"/>
                      <a:pt x="255" y="289"/>
                      <a:pt x="255" y="287"/>
                    </a:cubicBezTo>
                    <a:cubicBezTo>
                      <a:pt x="255" y="286"/>
                      <a:pt x="255" y="285"/>
                      <a:pt x="255" y="285"/>
                    </a:cubicBezTo>
                    <a:cubicBezTo>
                      <a:pt x="258" y="286"/>
                      <a:pt x="258" y="286"/>
                      <a:pt x="258" y="286"/>
                    </a:cubicBezTo>
                    <a:close/>
                    <a:moveTo>
                      <a:pt x="265" y="282"/>
                    </a:moveTo>
                    <a:cubicBezTo>
                      <a:pt x="265" y="282"/>
                      <a:pt x="265" y="282"/>
                      <a:pt x="265" y="282"/>
                    </a:cubicBezTo>
                    <a:cubicBezTo>
                      <a:pt x="269" y="279"/>
                      <a:pt x="269" y="279"/>
                      <a:pt x="269" y="279"/>
                    </a:cubicBezTo>
                    <a:cubicBezTo>
                      <a:pt x="269" y="279"/>
                      <a:pt x="270" y="282"/>
                      <a:pt x="268" y="283"/>
                    </a:cubicBezTo>
                    <a:cubicBezTo>
                      <a:pt x="267" y="284"/>
                      <a:pt x="266" y="284"/>
                      <a:pt x="266" y="284"/>
                    </a:cubicBezTo>
                    <a:cubicBezTo>
                      <a:pt x="264" y="283"/>
                      <a:pt x="264" y="283"/>
                      <a:pt x="264" y="283"/>
                    </a:cubicBezTo>
                    <a:cubicBezTo>
                      <a:pt x="265" y="282"/>
                      <a:pt x="265" y="282"/>
                      <a:pt x="265" y="282"/>
                    </a:cubicBezTo>
                    <a:close/>
                    <a:moveTo>
                      <a:pt x="273" y="275"/>
                    </a:moveTo>
                    <a:cubicBezTo>
                      <a:pt x="273" y="275"/>
                      <a:pt x="273" y="275"/>
                      <a:pt x="273" y="275"/>
                    </a:cubicBezTo>
                    <a:cubicBezTo>
                      <a:pt x="273" y="275"/>
                      <a:pt x="272" y="278"/>
                      <a:pt x="273" y="280"/>
                    </a:cubicBezTo>
                    <a:cubicBezTo>
                      <a:pt x="273" y="281"/>
                      <a:pt x="273" y="281"/>
                      <a:pt x="274" y="281"/>
                    </a:cubicBezTo>
                    <a:cubicBezTo>
                      <a:pt x="275" y="282"/>
                      <a:pt x="276" y="282"/>
                      <a:pt x="277" y="281"/>
                    </a:cubicBezTo>
                    <a:cubicBezTo>
                      <a:pt x="278" y="281"/>
                      <a:pt x="278" y="278"/>
                      <a:pt x="278" y="278"/>
                    </a:cubicBezTo>
                    <a:cubicBezTo>
                      <a:pt x="278" y="278"/>
                      <a:pt x="278" y="277"/>
                      <a:pt x="277" y="275"/>
                    </a:cubicBezTo>
                    <a:cubicBezTo>
                      <a:pt x="276" y="272"/>
                      <a:pt x="274" y="275"/>
                      <a:pt x="273" y="275"/>
                    </a:cubicBezTo>
                    <a:close/>
                    <a:moveTo>
                      <a:pt x="274" y="259"/>
                    </a:moveTo>
                    <a:cubicBezTo>
                      <a:pt x="274" y="259"/>
                      <a:pt x="274" y="259"/>
                      <a:pt x="274" y="259"/>
                    </a:cubicBezTo>
                    <a:cubicBezTo>
                      <a:pt x="274" y="258"/>
                      <a:pt x="274" y="255"/>
                      <a:pt x="275" y="254"/>
                    </a:cubicBezTo>
                    <a:cubicBezTo>
                      <a:pt x="276" y="254"/>
                      <a:pt x="276" y="253"/>
                      <a:pt x="277" y="252"/>
                    </a:cubicBezTo>
                    <a:cubicBezTo>
                      <a:pt x="277" y="251"/>
                      <a:pt x="281" y="251"/>
                      <a:pt x="281" y="251"/>
                    </a:cubicBezTo>
                    <a:cubicBezTo>
                      <a:pt x="282" y="253"/>
                      <a:pt x="282" y="253"/>
                      <a:pt x="282" y="253"/>
                    </a:cubicBezTo>
                    <a:cubicBezTo>
                      <a:pt x="282" y="253"/>
                      <a:pt x="282" y="255"/>
                      <a:pt x="282" y="256"/>
                    </a:cubicBezTo>
                    <a:cubicBezTo>
                      <a:pt x="282" y="257"/>
                      <a:pt x="282" y="257"/>
                      <a:pt x="283" y="259"/>
                    </a:cubicBezTo>
                    <a:cubicBezTo>
                      <a:pt x="283" y="260"/>
                      <a:pt x="282" y="262"/>
                      <a:pt x="282" y="263"/>
                    </a:cubicBezTo>
                    <a:cubicBezTo>
                      <a:pt x="281" y="264"/>
                      <a:pt x="281" y="265"/>
                      <a:pt x="280" y="265"/>
                    </a:cubicBezTo>
                    <a:cubicBezTo>
                      <a:pt x="279" y="266"/>
                      <a:pt x="279" y="267"/>
                      <a:pt x="278" y="266"/>
                    </a:cubicBezTo>
                    <a:cubicBezTo>
                      <a:pt x="277" y="265"/>
                      <a:pt x="274" y="264"/>
                      <a:pt x="274" y="263"/>
                    </a:cubicBezTo>
                    <a:cubicBezTo>
                      <a:pt x="274" y="263"/>
                      <a:pt x="274" y="261"/>
                      <a:pt x="274" y="261"/>
                    </a:cubicBezTo>
                    <a:cubicBezTo>
                      <a:pt x="274" y="259"/>
                      <a:pt x="274" y="259"/>
                      <a:pt x="274" y="259"/>
                    </a:cubicBezTo>
                    <a:close/>
                    <a:moveTo>
                      <a:pt x="262" y="264"/>
                    </a:moveTo>
                    <a:cubicBezTo>
                      <a:pt x="262" y="264"/>
                      <a:pt x="262" y="264"/>
                      <a:pt x="262" y="264"/>
                    </a:cubicBezTo>
                    <a:cubicBezTo>
                      <a:pt x="262" y="263"/>
                      <a:pt x="263" y="259"/>
                      <a:pt x="263" y="259"/>
                    </a:cubicBezTo>
                    <a:cubicBezTo>
                      <a:pt x="263" y="259"/>
                      <a:pt x="263" y="257"/>
                      <a:pt x="265" y="256"/>
                    </a:cubicBezTo>
                    <a:cubicBezTo>
                      <a:pt x="266" y="256"/>
                      <a:pt x="266" y="255"/>
                      <a:pt x="267" y="256"/>
                    </a:cubicBezTo>
                    <a:cubicBezTo>
                      <a:pt x="268" y="257"/>
                      <a:pt x="269" y="258"/>
                      <a:pt x="269" y="258"/>
                    </a:cubicBezTo>
                    <a:cubicBezTo>
                      <a:pt x="269" y="258"/>
                      <a:pt x="268" y="258"/>
                      <a:pt x="268" y="259"/>
                    </a:cubicBezTo>
                    <a:cubicBezTo>
                      <a:pt x="268" y="259"/>
                      <a:pt x="269" y="261"/>
                      <a:pt x="269" y="261"/>
                    </a:cubicBezTo>
                    <a:cubicBezTo>
                      <a:pt x="268" y="262"/>
                      <a:pt x="267" y="263"/>
                      <a:pt x="266" y="264"/>
                    </a:cubicBezTo>
                    <a:cubicBezTo>
                      <a:pt x="266" y="265"/>
                      <a:pt x="264" y="266"/>
                      <a:pt x="264" y="266"/>
                    </a:cubicBezTo>
                    <a:cubicBezTo>
                      <a:pt x="261" y="268"/>
                      <a:pt x="261" y="268"/>
                      <a:pt x="261" y="268"/>
                    </a:cubicBezTo>
                    <a:cubicBezTo>
                      <a:pt x="261" y="269"/>
                      <a:pt x="261" y="269"/>
                      <a:pt x="261" y="269"/>
                    </a:cubicBezTo>
                    <a:cubicBezTo>
                      <a:pt x="260" y="269"/>
                      <a:pt x="260" y="269"/>
                      <a:pt x="260" y="269"/>
                    </a:cubicBezTo>
                    <a:cubicBezTo>
                      <a:pt x="258" y="266"/>
                      <a:pt x="258" y="266"/>
                      <a:pt x="258" y="266"/>
                    </a:cubicBezTo>
                    <a:cubicBezTo>
                      <a:pt x="261" y="264"/>
                      <a:pt x="261" y="264"/>
                      <a:pt x="261" y="264"/>
                    </a:cubicBezTo>
                    <a:cubicBezTo>
                      <a:pt x="262" y="264"/>
                      <a:pt x="262" y="264"/>
                      <a:pt x="262" y="264"/>
                    </a:cubicBezTo>
                    <a:close/>
                    <a:moveTo>
                      <a:pt x="242" y="268"/>
                    </a:moveTo>
                    <a:cubicBezTo>
                      <a:pt x="242" y="268"/>
                      <a:pt x="242" y="268"/>
                      <a:pt x="242" y="268"/>
                    </a:cubicBezTo>
                    <a:cubicBezTo>
                      <a:pt x="245" y="267"/>
                      <a:pt x="245" y="267"/>
                      <a:pt x="245" y="267"/>
                    </a:cubicBezTo>
                    <a:cubicBezTo>
                      <a:pt x="248" y="269"/>
                      <a:pt x="248" y="269"/>
                      <a:pt x="248" y="269"/>
                    </a:cubicBezTo>
                    <a:cubicBezTo>
                      <a:pt x="248" y="272"/>
                      <a:pt x="248" y="272"/>
                      <a:pt x="248" y="272"/>
                    </a:cubicBezTo>
                    <a:cubicBezTo>
                      <a:pt x="248" y="272"/>
                      <a:pt x="246" y="276"/>
                      <a:pt x="245" y="275"/>
                    </a:cubicBezTo>
                    <a:cubicBezTo>
                      <a:pt x="244" y="273"/>
                      <a:pt x="244" y="271"/>
                      <a:pt x="244" y="271"/>
                    </a:cubicBezTo>
                    <a:cubicBezTo>
                      <a:pt x="242" y="268"/>
                      <a:pt x="242" y="268"/>
                      <a:pt x="242" y="268"/>
                    </a:cubicBezTo>
                    <a:close/>
                    <a:moveTo>
                      <a:pt x="229" y="260"/>
                    </a:moveTo>
                    <a:cubicBezTo>
                      <a:pt x="229" y="260"/>
                      <a:pt x="229" y="260"/>
                      <a:pt x="229" y="260"/>
                    </a:cubicBezTo>
                    <a:cubicBezTo>
                      <a:pt x="229" y="260"/>
                      <a:pt x="234" y="259"/>
                      <a:pt x="234" y="260"/>
                    </a:cubicBezTo>
                    <a:cubicBezTo>
                      <a:pt x="234" y="260"/>
                      <a:pt x="234" y="262"/>
                      <a:pt x="235" y="262"/>
                    </a:cubicBezTo>
                    <a:cubicBezTo>
                      <a:pt x="235" y="263"/>
                      <a:pt x="232" y="266"/>
                      <a:pt x="231" y="266"/>
                    </a:cubicBezTo>
                    <a:cubicBezTo>
                      <a:pt x="231" y="266"/>
                      <a:pt x="230" y="265"/>
                      <a:pt x="230" y="265"/>
                    </a:cubicBezTo>
                    <a:cubicBezTo>
                      <a:pt x="229" y="260"/>
                      <a:pt x="229" y="260"/>
                      <a:pt x="229" y="260"/>
                    </a:cubicBezTo>
                    <a:close/>
                    <a:moveTo>
                      <a:pt x="225" y="247"/>
                    </a:moveTo>
                    <a:cubicBezTo>
                      <a:pt x="225" y="247"/>
                      <a:pt x="225" y="247"/>
                      <a:pt x="225" y="247"/>
                    </a:cubicBezTo>
                    <a:cubicBezTo>
                      <a:pt x="225" y="247"/>
                      <a:pt x="226" y="246"/>
                      <a:pt x="227" y="246"/>
                    </a:cubicBezTo>
                    <a:cubicBezTo>
                      <a:pt x="228" y="247"/>
                      <a:pt x="228" y="250"/>
                      <a:pt x="228" y="250"/>
                    </a:cubicBezTo>
                    <a:cubicBezTo>
                      <a:pt x="227" y="253"/>
                      <a:pt x="227" y="253"/>
                      <a:pt x="227" y="253"/>
                    </a:cubicBezTo>
                    <a:cubicBezTo>
                      <a:pt x="227" y="253"/>
                      <a:pt x="225" y="256"/>
                      <a:pt x="225" y="256"/>
                    </a:cubicBezTo>
                    <a:cubicBezTo>
                      <a:pt x="225" y="255"/>
                      <a:pt x="224" y="250"/>
                      <a:pt x="224" y="250"/>
                    </a:cubicBezTo>
                    <a:cubicBezTo>
                      <a:pt x="225" y="247"/>
                      <a:pt x="225" y="247"/>
                      <a:pt x="225" y="247"/>
                    </a:cubicBezTo>
                    <a:close/>
                    <a:moveTo>
                      <a:pt x="219" y="239"/>
                    </a:moveTo>
                    <a:cubicBezTo>
                      <a:pt x="219" y="239"/>
                      <a:pt x="219" y="239"/>
                      <a:pt x="219" y="239"/>
                    </a:cubicBezTo>
                    <a:cubicBezTo>
                      <a:pt x="219" y="239"/>
                      <a:pt x="218" y="242"/>
                      <a:pt x="218" y="243"/>
                    </a:cubicBezTo>
                    <a:cubicBezTo>
                      <a:pt x="218" y="243"/>
                      <a:pt x="219" y="245"/>
                      <a:pt x="219" y="245"/>
                    </a:cubicBezTo>
                    <a:cubicBezTo>
                      <a:pt x="219" y="246"/>
                      <a:pt x="219" y="245"/>
                      <a:pt x="220" y="244"/>
                    </a:cubicBezTo>
                    <a:cubicBezTo>
                      <a:pt x="221" y="243"/>
                      <a:pt x="221" y="242"/>
                      <a:pt x="221" y="242"/>
                    </a:cubicBezTo>
                    <a:cubicBezTo>
                      <a:pt x="221" y="242"/>
                      <a:pt x="223" y="241"/>
                      <a:pt x="223" y="240"/>
                    </a:cubicBezTo>
                    <a:cubicBezTo>
                      <a:pt x="224" y="240"/>
                      <a:pt x="224" y="237"/>
                      <a:pt x="224" y="237"/>
                    </a:cubicBezTo>
                    <a:cubicBezTo>
                      <a:pt x="224" y="237"/>
                      <a:pt x="221" y="235"/>
                      <a:pt x="221" y="236"/>
                    </a:cubicBezTo>
                    <a:cubicBezTo>
                      <a:pt x="220" y="236"/>
                      <a:pt x="219" y="239"/>
                      <a:pt x="219" y="239"/>
                    </a:cubicBezTo>
                    <a:close/>
                    <a:moveTo>
                      <a:pt x="233" y="237"/>
                    </a:moveTo>
                    <a:cubicBezTo>
                      <a:pt x="233" y="237"/>
                      <a:pt x="233" y="237"/>
                      <a:pt x="233" y="237"/>
                    </a:cubicBezTo>
                    <a:cubicBezTo>
                      <a:pt x="234" y="237"/>
                      <a:pt x="234" y="237"/>
                      <a:pt x="234" y="237"/>
                    </a:cubicBezTo>
                    <a:cubicBezTo>
                      <a:pt x="234" y="238"/>
                      <a:pt x="234" y="238"/>
                      <a:pt x="234" y="238"/>
                    </a:cubicBezTo>
                    <a:cubicBezTo>
                      <a:pt x="234" y="238"/>
                      <a:pt x="237" y="237"/>
                      <a:pt x="238" y="237"/>
                    </a:cubicBezTo>
                    <a:cubicBezTo>
                      <a:pt x="239" y="236"/>
                      <a:pt x="238" y="235"/>
                      <a:pt x="238" y="234"/>
                    </a:cubicBezTo>
                    <a:cubicBezTo>
                      <a:pt x="237" y="233"/>
                      <a:pt x="233" y="237"/>
                      <a:pt x="233" y="237"/>
                    </a:cubicBezTo>
                    <a:close/>
                    <a:moveTo>
                      <a:pt x="247" y="241"/>
                    </a:moveTo>
                    <a:cubicBezTo>
                      <a:pt x="247" y="241"/>
                      <a:pt x="247" y="241"/>
                      <a:pt x="247" y="241"/>
                    </a:cubicBezTo>
                    <a:cubicBezTo>
                      <a:pt x="245" y="240"/>
                      <a:pt x="245" y="240"/>
                      <a:pt x="245" y="240"/>
                    </a:cubicBezTo>
                    <a:cubicBezTo>
                      <a:pt x="245" y="242"/>
                      <a:pt x="245" y="242"/>
                      <a:pt x="245" y="242"/>
                    </a:cubicBezTo>
                    <a:cubicBezTo>
                      <a:pt x="245" y="242"/>
                      <a:pt x="246" y="244"/>
                      <a:pt x="247" y="245"/>
                    </a:cubicBezTo>
                    <a:cubicBezTo>
                      <a:pt x="247" y="245"/>
                      <a:pt x="245" y="247"/>
                      <a:pt x="245" y="247"/>
                    </a:cubicBezTo>
                    <a:cubicBezTo>
                      <a:pt x="247" y="250"/>
                      <a:pt x="247" y="250"/>
                      <a:pt x="247" y="250"/>
                    </a:cubicBezTo>
                    <a:cubicBezTo>
                      <a:pt x="250" y="245"/>
                      <a:pt x="250" y="245"/>
                      <a:pt x="250" y="245"/>
                    </a:cubicBezTo>
                    <a:cubicBezTo>
                      <a:pt x="250" y="245"/>
                      <a:pt x="249" y="243"/>
                      <a:pt x="249" y="243"/>
                    </a:cubicBezTo>
                    <a:cubicBezTo>
                      <a:pt x="249" y="242"/>
                      <a:pt x="247" y="241"/>
                      <a:pt x="247" y="241"/>
                    </a:cubicBezTo>
                    <a:close/>
                    <a:moveTo>
                      <a:pt x="261" y="241"/>
                    </a:moveTo>
                    <a:cubicBezTo>
                      <a:pt x="261" y="241"/>
                      <a:pt x="261" y="241"/>
                      <a:pt x="261" y="241"/>
                    </a:cubicBezTo>
                    <a:cubicBezTo>
                      <a:pt x="262" y="243"/>
                      <a:pt x="262" y="243"/>
                      <a:pt x="262" y="243"/>
                    </a:cubicBezTo>
                    <a:cubicBezTo>
                      <a:pt x="262" y="243"/>
                      <a:pt x="261" y="245"/>
                      <a:pt x="260" y="245"/>
                    </a:cubicBezTo>
                    <a:cubicBezTo>
                      <a:pt x="260" y="245"/>
                      <a:pt x="259" y="244"/>
                      <a:pt x="259" y="244"/>
                    </a:cubicBezTo>
                    <a:cubicBezTo>
                      <a:pt x="261" y="241"/>
                      <a:pt x="261" y="241"/>
                      <a:pt x="261" y="241"/>
                    </a:cubicBezTo>
                    <a:close/>
                    <a:moveTo>
                      <a:pt x="264" y="238"/>
                    </a:moveTo>
                    <a:cubicBezTo>
                      <a:pt x="264" y="238"/>
                      <a:pt x="264" y="238"/>
                      <a:pt x="264" y="238"/>
                    </a:cubicBezTo>
                    <a:cubicBezTo>
                      <a:pt x="265" y="240"/>
                      <a:pt x="265" y="240"/>
                      <a:pt x="265" y="240"/>
                    </a:cubicBezTo>
                    <a:cubicBezTo>
                      <a:pt x="265" y="240"/>
                      <a:pt x="268" y="239"/>
                      <a:pt x="270" y="238"/>
                    </a:cubicBezTo>
                    <a:cubicBezTo>
                      <a:pt x="273" y="237"/>
                      <a:pt x="270" y="236"/>
                      <a:pt x="270" y="236"/>
                    </a:cubicBezTo>
                    <a:cubicBezTo>
                      <a:pt x="267" y="236"/>
                      <a:pt x="267" y="236"/>
                      <a:pt x="267" y="236"/>
                    </a:cubicBezTo>
                    <a:cubicBezTo>
                      <a:pt x="267" y="236"/>
                      <a:pt x="264" y="237"/>
                      <a:pt x="264" y="238"/>
                    </a:cubicBezTo>
                    <a:close/>
                    <a:moveTo>
                      <a:pt x="247" y="230"/>
                    </a:moveTo>
                    <a:cubicBezTo>
                      <a:pt x="247" y="230"/>
                      <a:pt x="247" y="230"/>
                      <a:pt x="247" y="230"/>
                    </a:cubicBezTo>
                    <a:cubicBezTo>
                      <a:pt x="250" y="233"/>
                      <a:pt x="250" y="233"/>
                      <a:pt x="250" y="233"/>
                    </a:cubicBezTo>
                    <a:cubicBezTo>
                      <a:pt x="250" y="233"/>
                      <a:pt x="254" y="235"/>
                      <a:pt x="255" y="235"/>
                    </a:cubicBezTo>
                    <a:cubicBezTo>
                      <a:pt x="255" y="236"/>
                      <a:pt x="257" y="235"/>
                      <a:pt x="259" y="235"/>
                    </a:cubicBezTo>
                    <a:cubicBezTo>
                      <a:pt x="260" y="234"/>
                      <a:pt x="260" y="234"/>
                      <a:pt x="260" y="233"/>
                    </a:cubicBezTo>
                    <a:cubicBezTo>
                      <a:pt x="260" y="233"/>
                      <a:pt x="259" y="232"/>
                      <a:pt x="259" y="232"/>
                    </a:cubicBezTo>
                    <a:cubicBezTo>
                      <a:pt x="259" y="232"/>
                      <a:pt x="258" y="230"/>
                      <a:pt x="255" y="230"/>
                    </a:cubicBezTo>
                    <a:cubicBezTo>
                      <a:pt x="253" y="231"/>
                      <a:pt x="253" y="230"/>
                      <a:pt x="253" y="230"/>
                    </a:cubicBezTo>
                    <a:cubicBezTo>
                      <a:pt x="253" y="230"/>
                      <a:pt x="252" y="230"/>
                      <a:pt x="249" y="229"/>
                    </a:cubicBezTo>
                    <a:cubicBezTo>
                      <a:pt x="247" y="229"/>
                      <a:pt x="248" y="230"/>
                      <a:pt x="247" y="230"/>
                    </a:cubicBezTo>
                    <a:close/>
                    <a:moveTo>
                      <a:pt x="245" y="229"/>
                    </a:moveTo>
                    <a:cubicBezTo>
                      <a:pt x="245" y="229"/>
                      <a:pt x="245" y="229"/>
                      <a:pt x="245" y="229"/>
                    </a:cubicBezTo>
                    <a:cubicBezTo>
                      <a:pt x="246" y="228"/>
                      <a:pt x="246" y="228"/>
                      <a:pt x="246" y="228"/>
                    </a:cubicBezTo>
                    <a:cubicBezTo>
                      <a:pt x="246" y="228"/>
                      <a:pt x="246" y="226"/>
                      <a:pt x="246" y="223"/>
                    </a:cubicBezTo>
                    <a:cubicBezTo>
                      <a:pt x="246" y="221"/>
                      <a:pt x="245" y="222"/>
                      <a:pt x="245" y="222"/>
                    </a:cubicBezTo>
                    <a:cubicBezTo>
                      <a:pt x="245" y="221"/>
                      <a:pt x="245" y="220"/>
                      <a:pt x="244" y="218"/>
                    </a:cubicBezTo>
                    <a:cubicBezTo>
                      <a:pt x="243" y="217"/>
                      <a:pt x="243" y="218"/>
                      <a:pt x="242" y="218"/>
                    </a:cubicBezTo>
                    <a:cubicBezTo>
                      <a:pt x="242" y="218"/>
                      <a:pt x="241" y="219"/>
                      <a:pt x="239" y="219"/>
                    </a:cubicBezTo>
                    <a:cubicBezTo>
                      <a:pt x="237" y="219"/>
                      <a:pt x="238" y="217"/>
                      <a:pt x="237" y="216"/>
                    </a:cubicBezTo>
                    <a:cubicBezTo>
                      <a:pt x="236" y="215"/>
                      <a:pt x="234" y="215"/>
                      <a:pt x="234" y="215"/>
                    </a:cubicBezTo>
                    <a:cubicBezTo>
                      <a:pt x="233" y="215"/>
                      <a:pt x="231" y="218"/>
                      <a:pt x="231" y="219"/>
                    </a:cubicBezTo>
                    <a:cubicBezTo>
                      <a:pt x="231" y="220"/>
                      <a:pt x="232" y="220"/>
                      <a:pt x="235" y="223"/>
                    </a:cubicBezTo>
                    <a:cubicBezTo>
                      <a:pt x="238" y="225"/>
                      <a:pt x="239" y="225"/>
                      <a:pt x="240" y="225"/>
                    </a:cubicBezTo>
                    <a:cubicBezTo>
                      <a:pt x="241" y="226"/>
                      <a:pt x="244" y="228"/>
                      <a:pt x="245" y="229"/>
                    </a:cubicBezTo>
                    <a:close/>
                    <a:moveTo>
                      <a:pt x="216" y="360"/>
                    </a:moveTo>
                    <a:cubicBezTo>
                      <a:pt x="216" y="360"/>
                      <a:pt x="216" y="360"/>
                      <a:pt x="216" y="360"/>
                    </a:cubicBezTo>
                    <a:cubicBezTo>
                      <a:pt x="217" y="357"/>
                      <a:pt x="217" y="357"/>
                      <a:pt x="217" y="357"/>
                    </a:cubicBezTo>
                    <a:cubicBezTo>
                      <a:pt x="215" y="354"/>
                      <a:pt x="215" y="354"/>
                      <a:pt x="215" y="354"/>
                    </a:cubicBezTo>
                    <a:cubicBezTo>
                      <a:pt x="215" y="350"/>
                      <a:pt x="215" y="350"/>
                      <a:pt x="215" y="350"/>
                    </a:cubicBezTo>
                    <a:cubicBezTo>
                      <a:pt x="216" y="349"/>
                      <a:pt x="216" y="349"/>
                      <a:pt x="216" y="349"/>
                    </a:cubicBezTo>
                    <a:cubicBezTo>
                      <a:pt x="216" y="349"/>
                      <a:pt x="218" y="351"/>
                      <a:pt x="218" y="352"/>
                    </a:cubicBezTo>
                    <a:cubicBezTo>
                      <a:pt x="218" y="353"/>
                      <a:pt x="218" y="355"/>
                      <a:pt x="218" y="355"/>
                    </a:cubicBezTo>
                    <a:cubicBezTo>
                      <a:pt x="218" y="355"/>
                      <a:pt x="221" y="357"/>
                      <a:pt x="221" y="357"/>
                    </a:cubicBezTo>
                    <a:cubicBezTo>
                      <a:pt x="222" y="357"/>
                      <a:pt x="228" y="356"/>
                      <a:pt x="228" y="356"/>
                    </a:cubicBezTo>
                    <a:cubicBezTo>
                      <a:pt x="228" y="356"/>
                      <a:pt x="230" y="353"/>
                      <a:pt x="230" y="353"/>
                    </a:cubicBezTo>
                    <a:cubicBezTo>
                      <a:pt x="231" y="352"/>
                      <a:pt x="234" y="350"/>
                      <a:pt x="234" y="350"/>
                    </a:cubicBezTo>
                    <a:cubicBezTo>
                      <a:pt x="234" y="350"/>
                      <a:pt x="234" y="349"/>
                      <a:pt x="236" y="351"/>
                    </a:cubicBezTo>
                    <a:cubicBezTo>
                      <a:pt x="238" y="352"/>
                      <a:pt x="236" y="355"/>
                      <a:pt x="236" y="355"/>
                    </a:cubicBezTo>
                    <a:cubicBezTo>
                      <a:pt x="235" y="355"/>
                      <a:pt x="235" y="356"/>
                      <a:pt x="235" y="356"/>
                    </a:cubicBezTo>
                    <a:cubicBezTo>
                      <a:pt x="237" y="358"/>
                      <a:pt x="237" y="358"/>
                      <a:pt x="237" y="358"/>
                    </a:cubicBezTo>
                    <a:cubicBezTo>
                      <a:pt x="237" y="358"/>
                      <a:pt x="237" y="356"/>
                      <a:pt x="238" y="356"/>
                    </a:cubicBezTo>
                    <a:cubicBezTo>
                      <a:pt x="239" y="356"/>
                      <a:pt x="239" y="355"/>
                      <a:pt x="240" y="355"/>
                    </a:cubicBezTo>
                    <a:cubicBezTo>
                      <a:pt x="240" y="356"/>
                      <a:pt x="242" y="358"/>
                      <a:pt x="242" y="358"/>
                    </a:cubicBezTo>
                    <a:cubicBezTo>
                      <a:pt x="242" y="358"/>
                      <a:pt x="242" y="361"/>
                      <a:pt x="243" y="361"/>
                    </a:cubicBezTo>
                    <a:cubicBezTo>
                      <a:pt x="244" y="360"/>
                      <a:pt x="246" y="361"/>
                      <a:pt x="247" y="360"/>
                    </a:cubicBezTo>
                    <a:cubicBezTo>
                      <a:pt x="248" y="360"/>
                      <a:pt x="258" y="357"/>
                      <a:pt x="258" y="357"/>
                    </a:cubicBezTo>
                    <a:cubicBezTo>
                      <a:pt x="261" y="355"/>
                      <a:pt x="261" y="355"/>
                      <a:pt x="261" y="355"/>
                    </a:cubicBezTo>
                    <a:cubicBezTo>
                      <a:pt x="261" y="355"/>
                      <a:pt x="263" y="354"/>
                      <a:pt x="265" y="354"/>
                    </a:cubicBezTo>
                    <a:cubicBezTo>
                      <a:pt x="266" y="354"/>
                      <a:pt x="272" y="352"/>
                      <a:pt x="272" y="352"/>
                    </a:cubicBezTo>
                    <a:cubicBezTo>
                      <a:pt x="272" y="352"/>
                      <a:pt x="275" y="350"/>
                      <a:pt x="277" y="351"/>
                    </a:cubicBezTo>
                    <a:cubicBezTo>
                      <a:pt x="278" y="353"/>
                      <a:pt x="282" y="356"/>
                      <a:pt x="282" y="356"/>
                    </a:cubicBezTo>
                    <a:cubicBezTo>
                      <a:pt x="288" y="355"/>
                      <a:pt x="288" y="355"/>
                      <a:pt x="288" y="355"/>
                    </a:cubicBezTo>
                    <a:cubicBezTo>
                      <a:pt x="288" y="355"/>
                      <a:pt x="290" y="354"/>
                      <a:pt x="290" y="354"/>
                    </a:cubicBezTo>
                    <a:cubicBezTo>
                      <a:pt x="291" y="355"/>
                      <a:pt x="297" y="354"/>
                      <a:pt x="297" y="354"/>
                    </a:cubicBezTo>
                    <a:cubicBezTo>
                      <a:pt x="297" y="354"/>
                      <a:pt x="300" y="351"/>
                      <a:pt x="301" y="351"/>
                    </a:cubicBezTo>
                    <a:cubicBezTo>
                      <a:pt x="301" y="351"/>
                      <a:pt x="308" y="349"/>
                      <a:pt x="308" y="349"/>
                    </a:cubicBezTo>
                    <a:cubicBezTo>
                      <a:pt x="308" y="349"/>
                      <a:pt x="309" y="349"/>
                      <a:pt x="309" y="351"/>
                    </a:cubicBezTo>
                    <a:cubicBezTo>
                      <a:pt x="309" y="353"/>
                      <a:pt x="309" y="356"/>
                      <a:pt x="309" y="357"/>
                    </a:cubicBezTo>
                    <a:cubicBezTo>
                      <a:pt x="310" y="358"/>
                      <a:pt x="309" y="360"/>
                      <a:pt x="311" y="360"/>
                    </a:cubicBezTo>
                    <a:cubicBezTo>
                      <a:pt x="313" y="359"/>
                      <a:pt x="315" y="358"/>
                      <a:pt x="315" y="358"/>
                    </a:cubicBezTo>
                    <a:cubicBezTo>
                      <a:pt x="315" y="358"/>
                      <a:pt x="313" y="358"/>
                      <a:pt x="317" y="356"/>
                    </a:cubicBezTo>
                    <a:cubicBezTo>
                      <a:pt x="320" y="354"/>
                      <a:pt x="321" y="353"/>
                      <a:pt x="322" y="353"/>
                    </a:cubicBezTo>
                    <a:cubicBezTo>
                      <a:pt x="323" y="353"/>
                      <a:pt x="323" y="352"/>
                      <a:pt x="324" y="352"/>
                    </a:cubicBezTo>
                    <a:cubicBezTo>
                      <a:pt x="326" y="352"/>
                      <a:pt x="326" y="352"/>
                      <a:pt x="327" y="352"/>
                    </a:cubicBezTo>
                    <a:cubicBezTo>
                      <a:pt x="328" y="351"/>
                      <a:pt x="330" y="348"/>
                      <a:pt x="330" y="348"/>
                    </a:cubicBezTo>
                    <a:cubicBezTo>
                      <a:pt x="330" y="348"/>
                      <a:pt x="331" y="346"/>
                      <a:pt x="332" y="346"/>
                    </a:cubicBezTo>
                    <a:cubicBezTo>
                      <a:pt x="332" y="346"/>
                      <a:pt x="334" y="345"/>
                      <a:pt x="334" y="345"/>
                    </a:cubicBezTo>
                    <a:cubicBezTo>
                      <a:pt x="333" y="348"/>
                      <a:pt x="333" y="348"/>
                      <a:pt x="333" y="348"/>
                    </a:cubicBezTo>
                    <a:cubicBezTo>
                      <a:pt x="333" y="348"/>
                      <a:pt x="335" y="352"/>
                      <a:pt x="335" y="353"/>
                    </a:cubicBezTo>
                    <a:cubicBezTo>
                      <a:pt x="335" y="353"/>
                      <a:pt x="335" y="354"/>
                      <a:pt x="334" y="355"/>
                    </a:cubicBezTo>
                    <a:cubicBezTo>
                      <a:pt x="334" y="357"/>
                      <a:pt x="334" y="358"/>
                      <a:pt x="334" y="358"/>
                    </a:cubicBezTo>
                    <a:cubicBezTo>
                      <a:pt x="333" y="359"/>
                      <a:pt x="333" y="360"/>
                      <a:pt x="333" y="361"/>
                    </a:cubicBezTo>
                    <a:cubicBezTo>
                      <a:pt x="332" y="361"/>
                      <a:pt x="329" y="363"/>
                      <a:pt x="329" y="363"/>
                    </a:cubicBezTo>
                    <a:cubicBezTo>
                      <a:pt x="324" y="362"/>
                      <a:pt x="324" y="362"/>
                      <a:pt x="324" y="362"/>
                    </a:cubicBezTo>
                    <a:cubicBezTo>
                      <a:pt x="324" y="362"/>
                      <a:pt x="322" y="363"/>
                      <a:pt x="321" y="364"/>
                    </a:cubicBezTo>
                    <a:cubicBezTo>
                      <a:pt x="319" y="364"/>
                      <a:pt x="316" y="367"/>
                      <a:pt x="315" y="367"/>
                    </a:cubicBezTo>
                    <a:cubicBezTo>
                      <a:pt x="314" y="367"/>
                      <a:pt x="311" y="367"/>
                      <a:pt x="308" y="367"/>
                    </a:cubicBezTo>
                    <a:cubicBezTo>
                      <a:pt x="305" y="368"/>
                      <a:pt x="297" y="370"/>
                      <a:pt x="297" y="370"/>
                    </a:cubicBezTo>
                    <a:cubicBezTo>
                      <a:pt x="297" y="370"/>
                      <a:pt x="296" y="371"/>
                      <a:pt x="295" y="372"/>
                    </a:cubicBezTo>
                    <a:cubicBezTo>
                      <a:pt x="293" y="372"/>
                      <a:pt x="289" y="374"/>
                      <a:pt x="288" y="374"/>
                    </a:cubicBezTo>
                    <a:cubicBezTo>
                      <a:pt x="287" y="375"/>
                      <a:pt x="284" y="377"/>
                      <a:pt x="283" y="377"/>
                    </a:cubicBezTo>
                    <a:cubicBezTo>
                      <a:pt x="282" y="377"/>
                      <a:pt x="281" y="378"/>
                      <a:pt x="277" y="378"/>
                    </a:cubicBezTo>
                    <a:cubicBezTo>
                      <a:pt x="272" y="379"/>
                      <a:pt x="271" y="380"/>
                      <a:pt x="271" y="380"/>
                    </a:cubicBezTo>
                    <a:cubicBezTo>
                      <a:pt x="268" y="380"/>
                      <a:pt x="268" y="380"/>
                      <a:pt x="268" y="380"/>
                    </a:cubicBezTo>
                    <a:cubicBezTo>
                      <a:pt x="268" y="373"/>
                      <a:pt x="268" y="373"/>
                      <a:pt x="268" y="373"/>
                    </a:cubicBezTo>
                    <a:cubicBezTo>
                      <a:pt x="268" y="373"/>
                      <a:pt x="268" y="370"/>
                      <a:pt x="265" y="371"/>
                    </a:cubicBezTo>
                    <a:cubicBezTo>
                      <a:pt x="262" y="372"/>
                      <a:pt x="266" y="371"/>
                      <a:pt x="260" y="372"/>
                    </a:cubicBezTo>
                    <a:cubicBezTo>
                      <a:pt x="255" y="373"/>
                      <a:pt x="252" y="370"/>
                      <a:pt x="252" y="370"/>
                    </a:cubicBezTo>
                    <a:cubicBezTo>
                      <a:pt x="252" y="370"/>
                      <a:pt x="247" y="370"/>
                      <a:pt x="245" y="371"/>
                    </a:cubicBezTo>
                    <a:cubicBezTo>
                      <a:pt x="243" y="371"/>
                      <a:pt x="240" y="371"/>
                      <a:pt x="239" y="371"/>
                    </a:cubicBezTo>
                    <a:cubicBezTo>
                      <a:pt x="238" y="372"/>
                      <a:pt x="238" y="371"/>
                      <a:pt x="235" y="372"/>
                    </a:cubicBezTo>
                    <a:cubicBezTo>
                      <a:pt x="232" y="372"/>
                      <a:pt x="229" y="373"/>
                      <a:pt x="229" y="373"/>
                    </a:cubicBezTo>
                    <a:cubicBezTo>
                      <a:pt x="226" y="371"/>
                      <a:pt x="226" y="371"/>
                      <a:pt x="226" y="371"/>
                    </a:cubicBezTo>
                    <a:cubicBezTo>
                      <a:pt x="226" y="371"/>
                      <a:pt x="223" y="371"/>
                      <a:pt x="222" y="372"/>
                    </a:cubicBezTo>
                    <a:cubicBezTo>
                      <a:pt x="220" y="373"/>
                      <a:pt x="221" y="374"/>
                      <a:pt x="219" y="374"/>
                    </a:cubicBezTo>
                    <a:cubicBezTo>
                      <a:pt x="217" y="374"/>
                      <a:pt x="218" y="375"/>
                      <a:pt x="216" y="374"/>
                    </a:cubicBezTo>
                    <a:cubicBezTo>
                      <a:pt x="213" y="373"/>
                      <a:pt x="211" y="372"/>
                      <a:pt x="211" y="372"/>
                    </a:cubicBezTo>
                    <a:cubicBezTo>
                      <a:pt x="210" y="366"/>
                      <a:pt x="210" y="366"/>
                      <a:pt x="210" y="366"/>
                    </a:cubicBezTo>
                    <a:cubicBezTo>
                      <a:pt x="210" y="366"/>
                      <a:pt x="210" y="366"/>
                      <a:pt x="210" y="363"/>
                    </a:cubicBezTo>
                    <a:cubicBezTo>
                      <a:pt x="209" y="361"/>
                      <a:pt x="208" y="357"/>
                      <a:pt x="208" y="357"/>
                    </a:cubicBezTo>
                    <a:cubicBezTo>
                      <a:pt x="210" y="354"/>
                      <a:pt x="210" y="354"/>
                      <a:pt x="210" y="354"/>
                    </a:cubicBezTo>
                    <a:cubicBezTo>
                      <a:pt x="210" y="354"/>
                      <a:pt x="211" y="356"/>
                      <a:pt x="211" y="357"/>
                    </a:cubicBezTo>
                    <a:cubicBezTo>
                      <a:pt x="211" y="357"/>
                      <a:pt x="211" y="360"/>
                      <a:pt x="212" y="360"/>
                    </a:cubicBezTo>
                    <a:cubicBezTo>
                      <a:pt x="214" y="360"/>
                      <a:pt x="216" y="360"/>
                      <a:pt x="216" y="360"/>
                    </a:cubicBezTo>
                    <a:close/>
                    <a:moveTo>
                      <a:pt x="172" y="319"/>
                    </a:moveTo>
                    <a:cubicBezTo>
                      <a:pt x="172" y="319"/>
                      <a:pt x="172" y="319"/>
                      <a:pt x="172" y="319"/>
                    </a:cubicBezTo>
                    <a:cubicBezTo>
                      <a:pt x="175" y="318"/>
                      <a:pt x="175" y="318"/>
                      <a:pt x="175" y="318"/>
                    </a:cubicBezTo>
                    <a:cubicBezTo>
                      <a:pt x="176" y="321"/>
                      <a:pt x="176" y="321"/>
                      <a:pt x="176" y="321"/>
                    </a:cubicBezTo>
                    <a:cubicBezTo>
                      <a:pt x="179" y="322"/>
                      <a:pt x="179" y="322"/>
                      <a:pt x="179" y="322"/>
                    </a:cubicBezTo>
                    <a:cubicBezTo>
                      <a:pt x="179" y="322"/>
                      <a:pt x="183" y="324"/>
                      <a:pt x="183" y="325"/>
                    </a:cubicBezTo>
                    <a:cubicBezTo>
                      <a:pt x="183" y="325"/>
                      <a:pt x="181" y="328"/>
                      <a:pt x="181" y="328"/>
                    </a:cubicBezTo>
                    <a:cubicBezTo>
                      <a:pt x="181" y="328"/>
                      <a:pt x="181" y="330"/>
                      <a:pt x="181" y="331"/>
                    </a:cubicBezTo>
                    <a:cubicBezTo>
                      <a:pt x="181" y="331"/>
                      <a:pt x="179" y="331"/>
                      <a:pt x="178" y="331"/>
                    </a:cubicBezTo>
                    <a:cubicBezTo>
                      <a:pt x="177" y="330"/>
                      <a:pt x="174" y="329"/>
                      <a:pt x="174" y="329"/>
                    </a:cubicBezTo>
                    <a:cubicBezTo>
                      <a:pt x="174" y="325"/>
                      <a:pt x="174" y="325"/>
                      <a:pt x="174" y="325"/>
                    </a:cubicBezTo>
                    <a:cubicBezTo>
                      <a:pt x="171" y="322"/>
                      <a:pt x="171" y="322"/>
                      <a:pt x="171" y="322"/>
                    </a:cubicBezTo>
                    <a:cubicBezTo>
                      <a:pt x="172" y="319"/>
                      <a:pt x="172" y="319"/>
                      <a:pt x="172" y="319"/>
                    </a:cubicBezTo>
                    <a:close/>
                    <a:moveTo>
                      <a:pt x="92" y="232"/>
                    </a:moveTo>
                    <a:cubicBezTo>
                      <a:pt x="92" y="232"/>
                      <a:pt x="92" y="232"/>
                      <a:pt x="92" y="232"/>
                    </a:cubicBezTo>
                    <a:cubicBezTo>
                      <a:pt x="92" y="232"/>
                      <a:pt x="90" y="232"/>
                      <a:pt x="90" y="232"/>
                    </a:cubicBezTo>
                    <a:cubicBezTo>
                      <a:pt x="89" y="232"/>
                      <a:pt x="88" y="232"/>
                      <a:pt x="87" y="232"/>
                    </a:cubicBezTo>
                    <a:cubicBezTo>
                      <a:pt x="86" y="232"/>
                      <a:pt x="87" y="234"/>
                      <a:pt x="87" y="235"/>
                    </a:cubicBezTo>
                    <a:cubicBezTo>
                      <a:pt x="87" y="235"/>
                      <a:pt x="87" y="237"/>
                      <a:pt x="87" y="238"/>
                    </a:cubicBezTo>
                    <a:cubicBezTo>
                      <a:pt x="86" y="239"/>
                      <a:pt x="85" y="240"/>
                      <a:pt x="85" y="241"/>
                    </a:cubicBezTo>
                    <a:cubicBezTo>
                      <a:pt x="85" y="241"/>
                      <a:pt x="85" y="243"/>
                      <a:pt x="85" y="244"/>
                    </a:cubicBezTo>
                    <a:cubicBezTo>
                      <a:pt x="84" y="244"/>
                      <a:pt x="82" y="246"/>
                      <a:pt x="81" y="246"/>
                    </a:cubicBezTo>
                    <a:cubicBezTo>
                      <a:pt x="80" y="247"/>
                      <a:pt x="78" y="248"/>
                      <a:pt x="78" y="248"/>
                    </a:cubicBezTo>
                    <a:cubicBezTo>
                      <a:pt x="80" y="253"/>
                      <a:pt x="80" y="253"/>
                      <a:pt x="80" y="253"/>
                    </a:cubicBezTo>
                    <a:cubicBezTo>
                      <a:pt x="80" y="253"/>
                      <a:pt x="82" y="252"/>
                      <a:pt x="83" y="253"/>
                    </a:cubicBezTo>
                    <a:cubicBezTo>
                      <a:pt x="84" y="254"/>
                      <a:pt x="87" y="256"/>
                      <a:pt x="88" y="256"/>
                    </a:cubicBezTo>
                    <a:cubicBezTo>
                      <a:pt x="88" y="256"/>
                      <a:pt x="90" y="262"/>
                      <a:pt x="90" y="262"/>
                    </a:cubicBezTo>
                    <a:cubicBezTo>
                      <a:pt x="91" y="263"/>
                      <a:pt x="92" y="262"/>
                      <a:pt x="92" y="262"/>
                    </a:cubicBezTo>
                    <a:cubicBezTo>
                      <a:pt x="92" y="262"/>
                      <a:pt x="94" y="263"/>
                      <a:pt x="95" y="264"/>
                    </a:cubicBezTo>
                    <a:cubicBezTo>
                      <a:pt x="96" y="264"/>
                      <a:pt x="98" y="265"/>
                      <a:pt x="99" y="266"/>
                    </a:cubicBezTo>
                    <a:cubicBezTo>
                      <a:pt x="100" y="266"/>
                      <a:pt x="102" y="269"/>
                      <a:pt x="103" y="269"/>
                    </a:cubicBezTo>
                    <a:cubicBezTo>
                      <a:pt x="104" y="270"/>
                      <a:pt x="106" y="272"/>
                      <a:pt x="106" y="272"/>
                    </a:cubicBezTo>
                    <a:cubicBezTo>
                      <a:pt x="106" y="272"/>
                      <a:pt x="108" y="275"/>
                      <a:pt x="109" y="277"/>
                    </a:cubicBezTo>
                    <a:cubicBezTo>
                      <a:pt x="109" y="278"/>
                      <a:pt x="109" y="278"/>
                      <a:pt x="108" y="279"/>
                    </a:cubicBezTo>
                    <a:cubicBezTo>
                      <a:pt x="107" y="280"/>
                      <a:pt x="107" y="281"/>
                      <a:pt x="106" y="283"/>
                    </a:cubicBezTo>
                    <a:cubicBezTo>
                      <a:pt x="105" y="285"/>
                      <a:pt x="107" y="287"/>
                      <a:pt x="107" y="287"/>
                    </a:cubicBezTo>
                    <a:cubicBezTo>
                      <a:pt x="107" y="292"/>
                      <a:pt x="107" y="292"/>
                      <a:pt x="107" y="292"/>
                    </a:cubicBezTo>
                    <a:cubicBezTo>
                      <a:pt x="108" y="294"/>
                      <a:pt x="108" y="294"/>
                      <a:pt x="108" y="294"/>
                    </a:cubicBezTo>
                    <a:cubicBezTo>
                      <a:pt x="108" y="294"/>
                      <a:pt x="109" y="295"/>
                      <a:pt x="110" y="295"/>
                    </a:cubicBezTo>
                    <a:cubicBezTo>
                      <a:pt x="111" y="296"/>
                      <a:pt x="111" y="296"/>
                      <a:pt x="111" y="296"/>
                    </a:cubicBezTo>
                    <a:cubicBezTo>
                      <a:pt x="111" y="296"/>
                      <a:pt x="113" y="298"/>
                      <a:pt x="114" y="299"/>
                    </a:cubicBezTo>
                    <a:cubicBezTo>
                      <a:pt x="114" y="300"/>
                      <a:pt x="113" y="301"/>
                      <a:pt x="113" y="302"/>
                    </a:cubicBezTo>
                    <a:cubicBezTo>
                      <a:pt x="113" y="303"/>
                      <a:pt x="114" y="307"/>
                      <a:pt x="114" y="307"/>
                    </a:cubicBezTo>
                    <a:cubicBezTo>
                      <a:pt x="114" y="307"/>
                      <a:pt x="116" y="306"/>
                      <a:pt x="118" y="305"/>
                    </a:cubicBezTo>
                    <a:cubicBezTo>
                      <a:pt x="119" y="305"/>
                      <a:pt x="120" y="306"/>
                      <a:pt x="121" y="306"/>
                    </a:cubicBezTo>
                    <a:cubicBezTo>
                      <a:pt x="122" y="307"/>
                      <a:pt x="122" y="308"/>
                      <a:pt x="122" y="308"/>
                    </a:cubicBezTo>
                    <a:cubicBezTo>
                      <a:pt x="122" y="308"/>
                      <a:pt x="125" y="306"/>
                      <a:pt x="125" y="305"/>
                    </a:cubicBezTo>
                    <a:cubicBezTo>
                      <a:pt x="125" y="305"/>
                      <a:pt x="125" y="303"/>
                      <a:pt x="125" y="303"/>
                    </a:cubicBezTo>
                    <a:cubicBezTo>
                      <a:pt x="125" y="303"/>
                      <a:pt x="125" y="299"/>
                      <a:pt x="125" y="298"/>
                    </a:cubicBezTo>
                    <a:cubicBezTo>
                      <a:pt x="125" y="297"/>
                      <a:pt x="124" y="294"/>
                      <a:pt x="124" y="293"/>
                    </a:cubicBezTo>
                    <a:cubicBezTo>
                      <a:pt x="124" y="293"/>
                      <a:pt x="125" y="291"/>
                      <a:pt x="125" y="291"/>
                    </a:cubicBezTo>
                    <a:cubicBezTo>
                      <a:pt x="125" y="291"/>
                      <a:pt x="128" y="290"/>
                      <a:pt x="129" y="290"/>
                    </a:cubicBezTo>
                    <a:cubicBezTo>
                      <a:pt x="130" y="290"/>
                      <a:pt x="131" y="291"/>
                      <a:pt x="132" y="292"/>
                    </a:cubicBezTo>
                    <a:cubicBezTo>
                      <a:pt x="132" y="293"/>
                      <a:pt x="132" y="297"/>
                      <a:pt x="132" y="297"/>
                    </a:cubicBezTo>
                    <a:cubicBezTo>
                      <a:pt x="138" y="298"/>
                      <a:pt x="138" y="298"/>
                      <a:pt x="138" y="298"/>
                    </a:cubicBezTo>
                    <a:cubicBezTo>
                      <a:pt x="138" y="298"/>
                      <a:pt x="140" y="299"/>
                      <a:pt x="140" y="299"/>
                    </a:cubicBezTo>
                    <a:cubicBezTo>
                      <a:pt x="140" y="300"/>
                      <a:pt x="141" y="302"/>
                      <a:pt x="142" y="303"/>
                    </a:cubicBezTo>
                    <a:cubicBezTo>
                      <a:pt x="143" y="304"/>
                      <a:pt x="144" y="305"/>
                      <a:pt x="144" y="305"/>
                    </a:cubicBezTo>
                    <a:cubicBezTo>
                      <a:pt x="144" y="305"/>
                      <a:pt x="146" y="310"/>
                      <a:pt x="147" y="311"/>
                    </a:cubicBezTo>
                    <a:cubicBezTo>
                      <a:pt x="147" y="312"/>
                      <a:pt x="147" y="314"/>
                      <a:pt x="147" y="316"/>
                    </a:cubicBezTo>
                    <a:cubicBezTo>
                      <a:pt x="147" y="318"/>
                      <a:pt x="147" y="318"/>
                      <a:pt x="147" y="318"/>
                    </a:cubicBezTo>
                    <a:cubicBezTo>
                      <a:pt x="147" y="318"/>
                      <a:pt x="150" y="319"/>
                      <a:pt x="151" y="320"/>
                    </a:cubicBezTo>
                    <a:cubicBezTo>
                      <a:pt x="153" y="321"/>
                      <a:pt x="152" y="320"/>
                      <a:pt x="153" y="319"/>
                    </a:cubicBezTo>
                    <a:cubicBezTo>
                      <a:pt x="154" y="318"/>
                      <a:pt x="153" y="317"/>
                      <a:pt x="153" y="316"/>
                    </a:cubicBezTo>
                    <a:cubicBezTo>
                      <a:pt x="153" y="315"/>
                      <a:pt x="153" y="313"/>
                      <a:pt x="152" y="311"/>
                    </a:cubicBezTo>
                    <a:cubicBezTo>
                      <a:pt x="152" y="310"/>
                      <a:pt x="152" y="309"/>
                      <a:pt x="152" y="309"/>
                    </a:cubicBezTo>
                    <a:cubicBezTo>
                      <a:pt x="152" y="309"/>
                      <a:pt x="153" y="307"/>
                      <a:pt x="153" y="306"/>
                    </a:cubicBezTo>
                    <a:cubicBezTo>
                      <a:pt x="153" y="306"/>
                      <a:pt x="153" y="304"/>
                      <a:pt x="153" y="303"/>
                    </a:cubicBezTo>
                    <a:cubicBezTo>
                      <a:pt x="153" y="302"/>
                      <a:pt x="155" y="301"/>
                      <a:pt x="155" y="301"/>
                    </a:cubicBezTo>
                    <a:cubicBezTo>
                      <a:pt x="155" y="301"/>
                      <a:pt x="155" y="300"/>
                      <a:pt x="156" y="298"/>
                    </a:cubicBezTo>
                    <a:cubicBezTo>
                      <a:pt x="157" y="297"/>
                      <a:pt x="156" y="298"/>
                      <a:pt x="157" y="298"/>
                    </a:cubicBezTo>
                    <a:cubicBezTo>
                      <a:pt x="158" y="297"/>
                      <a:pt x="159" y="297"/>
                      <a:pt x="161" y="297"/>
                    </a:cubicBezTo>
                    <a:cubicBezTo>
                      <a:pt x="162" y="297"/>
                      <a:pt x="163" y="298"/>
                      <a:pt x="163" y="298"/>
                    </a:cubicBezTo>
                    <a:cubicBezTo>
                      <a:pt x="165" y="301"/>
                      <a:pt x="165" y="301"/>
                      <a:pt x="165" y="301"/>
                    </a:cubicBezTo>
                    <a:cubicBezTo>
                      <a:pt x="165" y="301"/>
                      <a:pt x="165" y="301"/>
                      <a:pt x="165" y="302"/>
                    </a:cubicBezTo>
                    <a:cubicBezTo>
                      <a:pt x="165" y="303"/>
                      <a:pt x="167" y="305"/>
                      <a:pt x="167" y="305"/>
                    </a:cubicBezTo>
                    <a:cubicBezTo>
                      <a:pt x="171" y="308"/>
                      <a:pt x="171" y="308"/>
                      <a:pt x="171" y="308"/>
                    </a:cubicBezTo>
                    <a:cubicBezTo>
                      <a:pt x="171" y="308"/>
                      <a:pt x="171" y="309"/>
                      <a:pt x="171" y="309"/>
                    </a:cubicBezTo>
                    <a:cubicBezTo>
                      <a:pt x="171" y="310"/>
                      <a:pt x="172" y="312"/>
                      <a:pt x="173" y="313"/>
                    </a:cubicBezTo>
                    <a:cubicBezTo>
                      <a:pt x="174" y="315"/>
                      <a:pt x="173" y="312"/>
                      <a:pt x="174" y="312"/>
                    </a:cubicBezTo>
                    <a:cubicBezTo>
                      <a:pt x="174" y="311"/>
                      <a:pt x="175" y="310"/>
                      <a:pt x="175" y="310"/>
                    </a:cubicBezTo>
                    <a:cubicBezTo>
                      <a:pt x="177" y="313"/>
                      <a:pt x="177" y="313"/>
                      <a:pt x="177" y="313"/>
                    </a:cubicBezTo>
                    <a:cubicBezTo>
                      <a:pt x="177" y="313"/>
                      <a:pt x="181" y="314"/>
                      <a:pt x="182" y="314"/>
                    </a:cubicBezTo>
                    <a:cubicBezTo>
                      <a:pt x="183" y="313"/>
                      <a:pt x="184" y="312"/>
                      <a:pt x="184" y="312"/>
                    </a:cubicBezTo>
                    <a:cubicBezTo>
                      <a:pt x="182" y="310"/>
                      <a:pt x="182" y="310"/>
                      <a:pt x="182" y="310"/>
                    </a:cubicBezTo>
                    <a:cubicBezTo>
                      <a:pt x="180" y="307"/>
                      <a:pt x="180" y="307"/>
                      <a:pt x="180" y="307"/>
                    </a:cubicBezTo>
                    <a:cubicBezTo>
                      <a:pt x="180" y="307"/>
                      <a:pt x="177" y="304"/>
                      <a:pt x="176" y="304"/>
                    </a:cubicBezTo>
                    <a:cubicBezTo>
                      <a:pt x="175" y="303"/>
                      <a:pt x="174" y="302"/>
                      <a:pt x="174" y="301"/>
                    </a:cubicBezTo>
                    <a:cubicBezTo>
                      <a:pt x="173" y="300"/>
                      <a:pt x="173" y="298"/>
                      <a:pt x="173" y="298"/>
                    </a:cubicBezTo>
                    <a:cubicBezTo>
                      <a:pt x="174" y="297"/>
                      <a:pt x="174" y="295"/>
                      <a:pt x="175" y="293"/>
                    </a:cubicBezTo>
                    <a:cubicBezTo>
                      <a:pt x="176" y="291"/>
                      <a:pt x="174" y="293"/>
                      <a:pt x="174" y="293"/>
                    </a:cubicBezTo>
                    <a:cubicBezTo>
                      <a:pt x="174" y="293"/>
                      <a:pt x="172" y="290"/>
                      <a:pt x="173" y="289"/>
                    </a:cubicBezTo>
                    <a:cubicBezTo>
                      <a:pt x="173" y="289"/>
                      <a:pt x="169" y="283"/>
                      <a:pt x="169" y="283"/>
                    </a:cubicBezTo>
                    <a:cubicBezTo>
                      <a:pt x="169" y="283"/>
                      <a:pt x="168" y="281"/>
                      <a:pt x="168" y="281"/>
                    </a:cubicBezTo>
                    <a:cubicBezTo>
                      <a:pt x="168" y="281"/>
                      <a:pt x="165" y="279"/>
                      <a:pt x="164" y="279"/>
                    </a:cubicBezTo>
                    <a:cubicBezTo>
                      <a:pt x="163" y="278"/>
                      <a:pt x="162" y="277"/>
                      <a:pt x="162" y="277"/>
                    </a:cubicBezTo>
                    <a:cubicBezTo>
                      <a:pt x="162" y="276"/>
                      <a:pt x="162" y="274"/>
                      <a:pt x="162" y="273"/>
                    </a:cubicBezTo>
                    <a:cubicBezTo>
                      <a:pt x="161" y="272"/>
                      <a:pt x="160" y="270"/>
                      <a:pt x="159" y="269"/>
                    </a:cubicBezTo>
                    <a:cubicBezTo>
                      <a:pt x="158" y="268"/>
                      <a:pt x="157" y="266"/>
                      <a:pt x="156" y="264"/>
                    </a:cubicBezTo>
                    <a:cubicBezTo>
                      <a:pt x="155" y="263"/>
                      <a:pt x="154" y="261"/>
                      <a:pt x="154" y="261"/>
                    </a:cubicBezTo>
                    <a:cubicBezTo>
                      <a:pt x="153" y="257"/>
                      <a:pt x="153" y="257"/>
                      <a:pt x="153" y="257"/>
                    </a:cubicBezTo>
                    <a:cubicBezTo>
                      <a:pt x="153" y="255"/>
                      <a:pt x="153" y="255"/>
                      <a:pt x="153" y="255"/>
                    </a:cubicBezTo>
                    <a:cubicBezTo>
                      <a:pt x="156" y="257"/>
                      <a:pt x="156" y="257"/>
                      <a:pt x="156" y="257"/>
                    </a:cubicBezTo>
                    <a:cubicBezTo>
                      <a:pt x="156" y="257"/>
                      <a:pt x="158" y="256"/>
                      <a:pt x="159" y="256"/>
                    </a:cubicBezTo>
                    <a:cubicBezTo>
                      <a:pt x="160" y="256"/>
                      <a:pt x="163" y="257"/>
                      <a:pt x="163" y="257"/>
                    </a:cubicBezTo>
                    <a:cubicBezTo>
                      <a:pt x="163" y="257"/>
                      <a:pt x="165" y="258"/>
                      <a:pt x="166" y="258"/>
                    </a:cubicBezTo>
                    <a:cubicBezTo>
                      <a:pt x="166" y="258"/>
                      <a:pt x="167" y="259"/>
                      <a:pt x="168" y="258"/>
                    </a:cubicBezTo>
                    <a:cubicBezTo>
                      <a:pt x="169" y="258"/>
                      <a:pt x="170" y="260"/>
                      <a:pt x="170" y="261"/>
                    </a:cubicBezTo>
                    <a:cubicBezTo>
                      <a:pt x="170" y="262"/>
                      <a:pt x="169" y="263"/>
                      <a:pt x="169" y="263"/>
                    </a:cubicBezTo>
                    <a:cubicBezTo>
                      <a:pt x="169" y="264"/>
                      <a:pt x="169" y="265"/>
                      <a:pt x="169" y="265"/>
                    </a:cubicBezTo>
                    <a:cubicBezTo>
                      <a:pt x="169" y="265"/>
                      <a:pt x="171" y="266"/>
                      <a:pt x="172" y="266"/>
                    </a:cubicBezTo>
                    <a:cubicBezTo>
                      <a:pt x="172" y="267"/>
                      <a:pt x="171" y="268"/>
                      <a:pt x="171" y="268"/>
                    </a:cubicBezTo>
                    <a:cubicBezTo>
                      <a:pt x="171" y="268"/>
                      <a:pt x="171" y="270"/>
                      <a:pt x="171" y="271"/>
                    </a:cubicBezTo>
                    <a:cubicBezTo>
                      <a:pt x="172" y="271"/>
                      <a:pt x="173" y="269"/>
                      <a:pt x="173" y="269"/>
                    </a:cubicBezTo>
                    <a:cubicBezTo>
                      <a:pt x="173" y="269"/>
                      <a:pt x="174" y="267"/>
                      <a:pt x="174" y="266"/>
                    </a:cubicBezTo>
                    <a:cubicBezTo>
                      <a:pt x="174" y="265"/>
                      <a:pt x="176" y="264"/>
                      <a:pt x="176" y="264"/>
                    </a:cubicBezTo>
                    <a:cubicBezTo>
                      <a:pt x="178" y="260"/>
                      <a:pt x="178" y="260"/>
                      <a:pt x="178" y="260"/>
                    </a:cubicBezTo>
                    <a:cubicBezTo>
                      <a:pt x="180" y="258"/>
                      <a:pt x="180" y="258"/>
                      <a:pt x="180" y="258"/>
                    </a:cubicBezTo>
                    <a:cubicBezTo>
                      <a:pt x="180" y="258"/>
                      <a:pt x="184" y="257"/>
                      <a:pt x="185" y="256"/>
                    </a:cubicBezTo>
                    <a:cubicBezTo>
                      <a:pt x="186" y="255"/>
                      <a:pt x="186" y="256"/>
                      <a:pt x="186" y="255"/>
                    </a:cubicBezTo>
                    <a:cubicBezTo>
                      <a:pt x="187" y="255"/>
                      <a:pt x="187" y="253"/>
                      <a:pt x="187" y="253"/>
                    </a:cubicBezTo>
                    <a:cubicBezTo>
                      <a:pt x="185" y="251"/>
                      <a:pt x="185" y="251"/>
                      <a:pt x="185" y="251"/>
                    </a:cubicBezTo>
                    <a:cubicBezTo>
                      <a:pt x="181" y="252"/>
                      <a:pt x="181" y="252"/>
                      <a:pt x="181" y="252"/>
                    </a:cubicBezTo>
                    <a:cubicBezTo>
                      <a:pt x="180" y="250"/>
                      <a:pt x="180" y="250"/>
                      <a:pt x="180" y="250"/>
                    </a:cubicBezTo>
                    <a:cubicBezTo>
                      <a:pt x="180" y="250"/>
                      <a:pt x="180" y="250"/>
                      <a:pt x="181" y="250"/>
                    </a:cubicBezTo>
                    <a:cubicBezTo>
                      <a:pt x="181" y="250"/>
                      <a:pt x="181" y="246"/>
                      <a:pt x="181" y="246"/>
                    </a:cubicBezTo>
                    <a:cubicBezTo>
                      <a:pt x="181" y="246"/>
                      <a:pt x="179" y="247"/>
                      <a:pt x="178" y="247"/>
                    </a:cubicBezTo>
                    <a:cubicBezTo>
                      <a:pt x="177" y="247"/>
                      <a:pt x="178" y="250"/>
                      <a:pt x="178" y="250"/>
                    </a:cubicBezTo>
                    <a:cubicBezTo>
                      <a:pt x="178" y="250"/>
                      <a:pt x="173" y="249"/>
                      <a:pt x="172" y="249"/>
                    </a:cubicBezTo>
                    <a:cubicBezTo>
                      <a:pt x="171" y="248"/>
                      <a:pt x="171" y="247"/>
                      <a:pt x="171" y="247"/>
                    </a:cubicBezTo>
                    <a:cubicBezTo>
                      <a:pt x="170" y="246"/>
                      <a:pt x="172" y="243"/>
                      <a:pt x="172" y="243"/>
                    </a:cubicBezTo>
                    <a:cubicBezTo>
                      <a:pt x="173" y="239"/>
                      <a:pt x="173" y="239"/>
                      <a:pt x="173" y="239"/>
                    </a:cubicBezTo>
                    <a:cubicBezTo>
                      <a:pt x="173" y="239"/>
                      <a:pt x="168" y="238"/>
                      <a:pt x="168" y="237"/>
                    </a:cubicBezTo>
                    <a:cubicBezTo>
                      <a:pt x="168" y="236"/>
                      <a:pt x="163" y="239"/>
                      <a:pt x="161" y="237"/>
                    </a:cubicBezTo>
                    <a:cubicBezTo>
                      <a:pt x="160" y="235"/>
                      <a:pt x="160" y="235"/>
                      <a:pt x="160" y="235"/>
                    </a:cubicBezTo>
                    <a:cubicBezTo>
                      <a:pt x="158" y="233"/>
                      <a:pt x="158" y="233"/>
                      <a:pt x="158" y="233"/>
                    </a:cubicBezTo>
                    <a:cubicBezTo>
                      <a:pt x="156" y="233"/>
                      <a:pt x="156" y="233"/>
                      <a:pt x="156" y="233"/>
                    </a:cubicBezTo>
                    <a:cubicBezTo>
                      <a:pt x="156" y="233"/>
                      <a:pt x="153" y="234"/>
                      <a:pt x="152" y="234"/>
                    </a:cubicBezTo>
                    <a:cubicBezTo>
                      <a:pt x="151" y="234"/>
                      <a:pt x="151" y="232"/>
                      <a:pt x="151" y="232"/>
                    </a:cubicBezTo>
                    <a:cubicBezTo>
                      <a:pt x="146" y="230"/>
                      <a:pt x="146" y="230"/>
                      <a:pt x="146" y="230"/>
                    </a:cubicBezTo>
                    <a:cubicBezTo>
                      <a:pt x="141" y="229"/>
                      <a:pt x="141" y="229"/>
                      <a:pt x="141" y="229"/>
                    </a:cubicBezTo>
                    <a:cubicBezTo>
                      <a:pt x="141" y="229"/>
                      <a:pt x="135" y="228"/>
                      <a:pt x="133" y="227"/>
                    </a:cubicBezTo>
                    <a:cubicBezTo>
                      <a:pt x="132" y="227"/>
                      <a:pt x="127" y="226"/>
                      <a:pt x="125" y="226"/>
                    </a:cubicBezTo>
                    <a:cubicBezTo>
                      <a:pt x="123" y="226"/>
                      <a:pt x="121" y="226"/>
                      <a:pt x="119" y="225"/>
                    </a:cubicBezTo>
                    <a:cubicBezTo>
                      <a:pt x="118" y="224"/>
                      <a:pt x="115" y="223"/>
                      <a:pt x="115" y="223"/>
                    </a:cubicBezTo>
                    <a:cubicBezTo>
                      <a:pt x="115" y="223"/>
                      <a:pt x="109" y="221"/>
                      <a:pt x="109" y="221"/>
                    </a:cubicBezTo>
                    <a:cubicBezTo>
                      <a:pt x="108" y="221"/>
                      <a:pt x="107" y="221"/>
                      <a:pt x="107" y="221"/>
                    </a:cubicBezTo>
                    <a:cubicBezTo>
                      <a:pt x="106" y="221"/>
                      <a:pt x="104" y="224"/>
                      <a:pt x="102" y="225"/>
                    </a:cubicBezTo>
                    <a:cubicBezTo>
                      <a:pt x="101" y="225"/>
                      <a:pt x="101" y="228"/>
                      <a:pt x="100" y="229"/>
                    </a:cubicBezTo>
                    <a:cubicBezTo>
                      <a:pt x="100" y="231"/>
                      <a:pt x="99" y="232"/>
                      <a:pt x="98" y="232"/>
                    </a:cubicBezTo>
                    <a:cubicBezTo>
                      <a:pt x="98" y="233"/>
                      <a:pt x="92" y="231"/>
                      <a:pt x="92" y="232"/>
                    </a:cubicBezTo>
                    <a:close/>
                    <a:moveTo>
                      <a:pt x="60" y="252"/>
                    </a:moveTo>
                    <a:cubicBezTo>
                      <a:pt x="60" y="252"/>
                      <a:pt x="60" y="252"/>
                      <a:pt x="60" y="252"/>
                    </a:cubicBezTo>
                    <a:cubicBezTo>
                      <a:pt x="60" y="252"/>
                      <a:pt x="62" y="251"/>
                      <a:pt x="62" y="252"/>
                    </a:cubicBezTo>
                    <a:cubicBezTo>
                      <a:pt x="62" y="252"/>
                      <a:pt x="63" y="253"/>
                      <a:pt x="63" y="254"/>
                    </a:cubicBezTo>
                    <a:cubicBezTo>
                      <a:pt x="64" y="254"/>
                      <a:pt x="66" y="256"/>
                      <a:pt x="67" y="256"/>
                    </a:cubicBezTo>
                    <a:cubicBezTo>
                      <a:pt x="68" y="256"/>
                      <a:pt x="71" y="256"/>
                      <a:pt x="71" y="256"/>
                    </a:cubicBezTo>
                    <a:cubicBezTo>
                      <a:pt x="74" y="259"/>
                      <a:pt x="74" y="259"/>
                      <a:pt x="74" y="259"/>
                    </a:cubicBezTo>
                    <a:cubicBezTo>
                      <a:pt x="74" y="259"/>
                      <a:pt x="77" y="260"/>
                      <a:pt x="77" y="261"/>
                    </a:cubicBezTo>
                    <a:cubicBezTo>
                      <a:pt x="77" y="261"/>
                      <a:pt x="72" y="264"/>
                      <a:pt x="72" y="264"/>
                    </a:cubicBezTo>
                    <a:cubicBezTo>
                      <a:pt x="71" y="265"/>
                      <a:pt x="71" y="265"/>
                      <a:pt x="71" y="265"/>
                    </a:cubicBezTo>
                    <a:cubicBezTo>
                      <a:pt x="71" y="265"/>
                      <a:pt x="71" y="267"/>
                      <a:pt x="69" y="266"/>
                    </a:cubicBezTo>
                    <a:cubicBezTo>
                      <a:pt x="68" y="266"/>
                      <a:pt x="67" y="266"/>
                      <a:pt x="66" y="265"/>
                    </a:cubicBezTo>
                    <a:cubicBezTo>
                      <a:pt x="66" y="264"/>
                      <a:pt x="66" y="264"/>
                      <a:pt x="65" y="263"/>
                    </a:cubicBezTo>
                    <a:cubicBezTo>
                      <a:pt x="63" y="262"/>
                      <a:pt x="59" y="259"/>
                      <a:pt x="59" y="259"/>
                    </a:cubicBezTo>
                    <a:cubicBezTo>
                      <a:pt x="59" y="256"/>
                      <a:pt x="59" y="256"/>
                      <a:pt x="59" y="256"/>
                    </a:cubicBezTo>
                    <a:cubicBezTo>
                      <a:pt x="59" y="254"/>
                      <a:pt x="59" y="254"/>
                      <a:pt x="59" y="254"/>
                    </a:cubicBezTo>
                    <a:cubicBezTo>
                      <a:pt x="60" y="252"/>
                      <a:pt x="60" y="252"/>
                      <a:pt x="60" y="252"/>
                    </a:cubicBezTo>
                    <a:close/>
                    <a:moveTo>
                      <a:pt x="48" y="234"/>
                    </a:moveTo>
                    <a:cubicBezTo>
                      <a:pt x="48" y="234"/>
                      <a:pt x="48" y="234"/>
                      <a:pt x="48" y="234"/>
                    </a:cubicBezTo>
                    <a:cubicBezTo>
                      <a:pt x="45" y="230"/>
                      <a:pt x="45" y="230"/>
                      <a:pt x="45" y="230"/>
                    </a:cubicBezTo>
                    <a:cubicBezTo>
                      <a:pt x="43" y="234"/>
                      <a:pt x="43" y="234"/>
                      <a:pt x="43" y="234"/>
                    </a:cubicBezTo>
                    <a:cubicBezTo>
                      <a:pt x="42" y="238"/>
                      <a:pt x="42" y="238"/>
                      <a:pt x="42" y="238"/>
                    </a:cubicBezTo>
                    <a:cubicBezTo>
                      <a:pt x="45" y="240"/>
                      <a:pt x="45" y="240"/>
                      <a:pt x="45" y="240"/>
                    </a:cubicBezTo>
                    <a:cubicBezTo>
                      <a:pt x="46" y="240"/>
                      <a:pt x="46" y="240"/>
                      <a:pt x="46" y="240"/>
                    </a:cubicBezTo>
                    <a:cubicBezTo>
                      <a:pt x="48" y="237"/>
                      <a:pt x="48" y="237"/>
                      <a:pt x="48" y="237"/>
                    </a:cubicBezTo>
                    <a:cubicBezTo>
                      <a:pt x="50" y="240"/>
                      <a:pt x="50" y="240"/>
                      <a:pt x="50" y="240"/>
                    </a:cubicBezTo>
                    <a:cubicBezTo>
                      <a:pt x="52" y="244"/>
                      <a:pt x="52" y="244"/>
                      <a:pt x="52" y="244"/>
                    </a:cubicBezTo>
                    <a:cubicBezTo>
                      <a:pt x="52" y="244"/>
                      <a:pt x="54" y="242"/>
                      <a:pt x="55" y="241"/>
                    </a:cubicBezTo>
                    <a:cubicBezTo>
                      <a:pt x="56" y="241"/>
                      <a:pt x="60" y="244"/>
                      <a:pt x="60" y="244"/>
                    </a:cubicBezTo>
                    <a:cubicBezTo>
                      <a:pt x="60" y="244"/>
                      <a:pt x="64" y="242"/>
                      <a:pt x="65" y="242"/>
                    </a:cubicBezTo>
                    <a:cubicBezTo>
                      <a:pt x="66" y="242"/>
                      <a:pt x="63" y="239"/>
                      <a:pt x="63" y="239"/>
                    </a:cubicBezTo>
                    <a:cubicBezTo>
                      <a:pt x="60" y="236"/>
                      <a:pt x="60" y="236"/>
                      <a:pt x="60" y="236"/>
                    </a:cubicBezTo>
                    <a:cubicBezTo>
                      <a:pt x="58" y="234"/>
                      <a:pt x="58" y="234"/>
                      <a:pt x="58" y="234"/>
                    </a:cubicBezTo>
                    <a:cubicBezTo>
                      <a:pt x="54" y="232"/>
                      <a:pt x="54" y="232"/>
                      <a:pt x="54" y="232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5" y="229"/>
                      <a:pt x="55" y="229"/>
                      <a:pt x="55" y="229"/>
                    </a:cubicBezTo>
                    <a:cubicBezTo>
                      <a:pt x="55" y="229"/>
                      <a:pt x="55" y="231"/>
                      <a:pt x="57" y="230"/>
                    </a:cubicBezTo>
                    <a:cubicBezTo>
                      <a:pt x="59" y="230"/>
                      <a:pt x="59" y="230"/>
                      <a:pt x="59" y="229"/>
                    </a:cubicBezTo>
                    <a:cubicBezTo>
                      <a:pt x="60" y="229"/>
                      <a:pt x="59" y="228"/>
                      <a:pt x="59" y="228"/>
                    </a:cubicBezTo>
                    <a:cubicBezTo>
                      <a:pt x="56" y="226"/>
                      <a:pt x="56" y="226"/>
                      <a:pt x="56" y="226"/>
                    </a:cubicBezTo>
                    <a:cubicBezTo>
                      <a:pt x="57" y="223"/>
                      <a:pt x="57" y="223"/>
                      <a:pt x="57" y="223"/>
                    </a:cubicBezTo>
                    <a:cubicBezTo>
                      <a:pt x="54" y="221"/>
                      <a:pt x="54" y="221"/>
                      <a:pt x="54" y="221"/>
                    </a:cubicBezTo>
                    <a:cubicBezTo>
                      <a:pt x="53" y="224"/>
                      <a:pt x="53" y="224"/>
                      <a:pt x="53" y="224"/>
                    </a:cubicBezTo>
                    <a:cubicBezTo>
                      <a:pt x="50" y="223"/>
                      <a:pt x="50" y="223"/>
                      <a:pt x="50" y="223"/>
                    </a:cubicBezTo>
                    <a:cubicBezTo>
                      <a:pt x="50" y="223"/>
                      <a:pt x="49" y="225"/>
                      <a:pt x="49" y="225"/>
                    </a:cubicBezTo>
                    <a:cubicBezTo>
                      <a:pt x="49" y="226"/>
                      <a:pt x="50" y="229"/>
                      <a:pt x="50" y="229"/>
                    </a:cubicBezTo>
                    <a:cubicBezTo>
                      <a:pt x="48" y="234"/>
                      <a:pt x="48" y="234"/>
                      <a:pt x="48" y="234"/>
                    </a:cubicBezTo>
                    <a:close/>
                    <a:moveTo>
                      <a:pt x="11" y="161"/>
                    </a:moveTo>
                    <a:cubicBezTo>
                      <a:pt x="11" y="161"/>
                      <a:pt x="11" y="161"/>
                      <a:pt x="11" y="161"/>
                    </a:cubicBezTo>
                    <a:cubicBezTo>
                      <a:pt x="9" y="161"/>
                      <a:pt x="9" y="161"/>
                      <a:pt x="9" y="161"/>
                    </a:cubicBezTo>
                    <a:cubicBezTo>
                      <a:pt x="9" y="161"/>
                      <a:pt x="9" y="162"/>
                      <a:pt x="10" y="163"/>
                    </a:cubicBezTo>
                    <a:cubicBezTo>
                      <a:pt x="11" y="164"/>
                      <a:pt x="13" y="170"/>
                      <a:pt x="13" y="170"/>
                    </a:cubicBezTo>
                    <a:cubicBezTo>
                      <a:pt x="15" y="171"/>
                      <a:pt x="15" y="171"/>
                      <a:pt x="15" y="171"/>
                    </a:cubicBezTo>
                    <a:cubicBezTo>
                      <a:pt x="19" y="173"/>
                      <a:pt x="19" y="173"/>
                      <a:pt x="19" y="173"/>
                    </a:cubicBezTo>
                    <a:cubicBezTo>
                      <a:pt x="22" y="176"/>
                      <a:pt x="22" y="176"/>
                      <a:pt x="22" y="176"/>
                    </a:cubicBezTo>
                    <a:cubicBezTo>
                      <a:pt x="22" y="176"/>
                      <a:pt x="24" y="179"/>
                      <a:pt x="21" y="178"/>
                    </a:cubicBezTo>
                    <a:cubicBezTo>
                      <a:pt x="18" y="177"/>
                      <a:pt x="15" y="175"/>
                      <a:pt x="14" y="174"/>
                    </a:cubicBezTo>
                    <a:cubicBezTo>
                      <a:pt x="12" y="174"/>
                      <a:pt x="10" y="173"/>
                      <a:pt x="10" y="173"/>
                    </a:cubicBezTo>
                    <a:cubicBezTo>
                      <a:pt x="10" y="173"/>
                      <a:pt x="9" y="168"/>
                      <a:pt x="9" y="167"/>
                    </a:cubicBezTo>
                    <a:cubicBezTo>
                      <a:pt x="8" y="167"/>
                      <a:pt x="6" y="166"/>
                      <a:pt x="6" y="166"/>
                    </a:cubicBezTo>
                    <a:cubicBezTo>
                      <a:pt x="0" y="163"/>
                      <a:pt x="0" y="163"/>
                      <a:pt x="0" y="163"/>
                    </a:cubicBezTo>
                    <a:cubicBezTo>
                      <a:pt x="0" y="163"/>
                      <a:pt x="0" y="159"/>
                      <a:pt x="1" y="158"/>
                    </a:cubicBezTo>
                    <a:cubicBezTo>
                      <a:pt x="1" y="158"/>
                      <a:pt x="1" y="156"/>
                      <a:pt x="3" y="156"/>
                    </a:cubicBezTo>
                    <a:cubicBezTo>
                      <a:pt x="4" y="155"/>
                      <a:pt x="7" y="155"/>
                      <a:pt x="7" y="155"/>
                    </a:cubicBezTo>
                    <a:cubicBezTo>
                      <a:pt x="7" y="155"/>
                      <a:pt x="7" y="152"/>
                      <a:pt x="8" y="153"/>
                    </a:cubicBezTo>
                    <a:cubicBezTo>
                      <a:pt x="9" y="154"/>
                      <a:pt x="11" y="157"/>
                      <a:pt x="11" y="157"/>
                    </a:cubicBezTo>
                    <a:lnTo>
                      <a:pt x="11" y="161"/>
                    </a:lnTo>
                    <a:close/>
                  </a:path>
                </a:pathLst>
              </a:custGeom>
              <a:solidFill>
                <a:srgbClr val="EB6E62"/>
              </a:solidFill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  <p:sp>
            <p:nvSpPr>
              <p:cNvPr id="677" name="Freeform 223">
                <a:extLst>
                  <a:ext uri="{FF2B5EF4-FFF2-40B4-BE49-F238E27FC236}">
                    <a16:creationId xmlns:a16="http://schemas.microsoft.com/office/drawing/2014/main" id="{7511DBEB-0F95-9221-9825-1ADCCBFE34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14642" y="355227"/>
                <a:ext cx="709864" cy="1256444"/>
              </a:xfrm>
              <a:custGeom>
                <a:avLst/>
                <a:gdLst>
                  <a:gd name="T0" fmla="*/ 7 w 317"/>
                  <a:gd name="T1" fmla="*/ 80 h 578"/>
                  <a:gd name="T2" fmla="*/ 20 w 317"/>
                  <a:gd name="T3" fmla="*/ 69 h 578"/>
                  <a:gd name="T4" fmla="*/ 69 w 317"/>
                  <a:gd name="T5" fmla="*/ 84 h 578"/>
                  <a:gd name="T6" fmla="*/ 91 w 317"/>
                  <a:gd name="T7" fmla="*/ 90 h 578"/>
                  <a:gd name="T8" fmla="*/ 100 w 317"/>
                  <a:gd name="T9" fmla="*/ 68 h 578"/>
                  <a:gd name="T10" fmla="*/ 102 w 317"/>
                  <a:gd name="T11" fmla="*/ 13 h 578"/>
                  <a:gd name="T12" fmla="*/ 154 w 317"/>
                  <a:gd name="T13" fmla="*/ 12 h 578"/>
                  <a:gd name="T14" fmla="*/ 158 w 317"/>
                  <a:gd name="T15" fmla="*/ 43 h 578"/>
                  <a:gd name="T16" fmla="*/ 157 w 317"/>
                  <a:gd name="T17" fmla="*/ 78 h 578"/>
                  <a:gd name="T18" fmla="*/ 203 w 317"/>
                  <a:gd name="T19" fmla="*/ 116 h 578"/>
                  <a:gd name="T20" fmla="*/ 216 w 317"/>
                  <a:gd name="T21" fmla="*/ 184 h 578"/>
                  <a:gd name="T22" fmla="*/ 233 w 317"/>
                  <a:gd name="T23" fmla="*/ 227 h 578"/>
                  <a:gd name="T24" fmla="*/ 248 w 317"/>
                  <a:gd name="T25" fmla="*/ 263 h 578"/>
                  <a:gd name="T26" fmla="*/ 270 w 317"/>
                  <a:gd name="T27" fmla="*/ 292 h 578"/>
                  <a:gd name="T28" fmla="*/ 295 w 317"/>
                  <a:gd name="T29" fmla="*/ 333 h 578"/>
                  <a:gd name="T30" fmla="*/ 303 w 317"/>
                  <a:gd name="T31" fmla="*/ 407 h 578"/>
                  <a:gd name="T32" fmla="*/ 266 w 317"/>
                  <a:gd name="T33" fmla="*/ 493 h 578"/>
                  <a:gd name="T34" fmla="*/ 242 w 317"/>
                  <a:gd name="T35" fmla="*/ 508 h 578"/>
                  <a:gd name="T36" fmla="*/ 224 w 317"/>
                  <a:gd name="T37" fmla="*/ 519 h 578"/>
                  <a:gd name="T38" fmla="*/ 210 w 317"/>
                  <a:gd name="T39" fmla="*/ 527 h 578"/>
                  <a:gd name="T40" fmla="*/ 191 w 317"/>
                  <a:gd name="T41" fmla="*/ 544 h 578"/>
                  <a:gd name="T42" fmla="*/ 173 w 317"/>
                  <a:gd name="T43" fmla="*/ 551 h 578"/>
                  <a:gd name="T44" fmla="*/ 155 w 317"/>
                  <a:gd name="T45" fmla="*/ 561 h 578"/>
                  <a:gd name="T46" fmla="*/ 147 w 317"/>
                  <a:gd name="T47" fmla="*/ 567 h 578"/>
                  <a:gd name="T48" fmla="*/ 143 w 317"/>
                  <a:gd name="T49" fmla="*/ 560 h 578"/>
                  <a:gd name="T50" fmla="*/ 132 w 317"/>
                  <a:gd name="T51" fmla="*/ 561 h 578"/>
                  <a:gd name="T52" fmla="*/ 126 w 317"/>
                  <a:gd name="T53" fmla="*/ 559 h 578"/>
                  <a:gd name="T54" fmla="*/ 120 w 317"/>
                  <a:gd name="T55" fmla="*/ 552 h 578"/>
                  <a:gd name="T56" fmla="*/ 118 w 317"/>
                  <a:gd name="T57" fmla="*/ 542 h 578"/>
                  <a:gd name="T58" fmla="*/ 110 w 317"/>
                  <a:gd name="T59" fmla="*/ 541 h 578"/>
                  <a:gd name="T60" fmla="*/ 98 w 317"/>
                  <a:gd name="T61" fmla="*/ 540 h 578"/>
                  <a:gd name="T62" fmla="*/ 94 w 317"/>
                  <a:gd name="T63" fmla="*/ 529 h 578"/>
                  <a:gd name="T64" fmla="*/ 87 w 317"/>
                  <a:gd name="T65" fmla="*/ 521 h 578"/>
                  <a:gd name="T66" fmla="*/ 89 w 317"/>
                  <a:gd name="T67" fmla="*/ 502 h 578"/>
                  <a:gd name="T68" fmla="*/ 89 w 317"/>
                  <a:gd name="T69" fmla="*/ 485 h 578"/>
                  <a:gd name="T70" fmla="*/ 81 w 317"/>
                  <a:gd name="T71" fmla="*/ 459 h 578"/>
                  <a:gd name="T72" fmla="*/ 72 w 317"/>
                  <a:gd name="T73" fmla="*/ 430 h 578"/>
                  <a:gd name="T74" fmla="*/ 75 w 317"/>
                  <a:gd name="T75" fmla="*/ 399 h 578"/>
                  <a:gd name="T76" fmla="*/ 73 w 317"/>
                  <a:gd name="T77" fmla="*/ 393 h 578"/>
                  <a:gd name="T78" fmla="*/ 89 w 317"/>
                  <a:gd name="T79" fmla="*/ 386 h 578"/>
                  <a:gd name="T80" fmla="*/ 95 w 317"/>
                  <a:gd name="T81" fmla="*/ 365 h 578"/>
                  <a:gd name="T82" fmla="*/ 106 w 317"/>
                  <a:gd name="T83" fmla="*/ 351 h 578"/>
                  <a:gd name="T84" fmla="*/ 126 w 317"/>
                  <a:gd name="T85" fmla="*/ 306 h 578"/>
                  <a:gd name="T86" fmla="*/ 143 w 317"/>
                  <a:gd name="T87" fmla="*/ 280 h 578"/>
                  <a:gd name="T88" fmla="*/ 123 w 317"/>
                  <a:gd name="T89" fmla="*/ 248 h 578"/>
                  <a:gd name="T90" fmla="*/ 91 w 317"/>
                  <a:gd name="T91" fmla="*/ 217 h 578"/>
                  <a:gd name="T92" fmla="*/ 80 w 317"/>
                  <a:gd name="T93" fmla="*/ 167 h 578"/>
                  <a:gd name="T94" fmla="*/ 73 w 317"/>
                  <a:gd name="T95" fmla="*/ 132 h 578"/>
                  <a:gd name="T96" fmla="*/ 35 w 317"/>
                  <a:gd name="T97" fmla="*/ 109 h 578"/>
                  <a:gd name="T98" fmla="*/ 142 w 317"/>
                  <a:gd name="T99" fmla="*/ 570 h 578"/>
                  <a:gd name="T100" fmla="*/ 129 w 317"/>
                  <a:gd name="T101" fmla="*/ 570 h 578"/>
                  <a:gd name="T102" fmla="*/ 104 w 317"/>
                  <a:gd name="T103" fmla="*/ 557 h 578"/>
                  <a:gd name="T104" fmla="*/ 114 w 317"/>
                  <a:gd name="T105" fmla="*/ 553 h 578"/>
                  <a:gd name="T106" fmla="*/ 97 w 317"/>
                  <a:gd name="T107" fmla="*/ 556 h 578"/>
                  <a:gd name="T108" fmla="*/ 92 w 317"/>
                  <a:gd name="T109" fmla="*/ 544 h 578"/>
                  <a:gd name="T110" fmla="*/ 83 w 317"/>
                  <a:gd name="T111" fmla="*/ 558 h 578"/>
                  <a:gd name="T112" fmla="*/ 80 w 317"/>
                  <a:gd name="T113" fmla="*/ 563 h 578"/>
                  <a:gd name="T114" fmla="*/ 79 w 317"/>
                  <a:gd name="T115" fmla="*/ 570 h 578"/>
                  <a:gd name="T116" fmla="*/ 48 w 317"/>
                  <a:gd name="T117" fmla="*/ 577 h 578"/>
                  <a:gd name="T118" fmla="*/ 53 w 317"/>
                  <a:gd name="T119" fmla="*/ 558 h 578"/>
                  <a:gd name="T120" fmla="*/ 65 w 317"/>
                  <a:gd name="T121" fmla="*/ 573 h 578"/>
                  <a:gd name="T122" fmla="*/ 68 w 317"/>
                  <a:gd name="T123" fmla="*/ 561 h 578"/>
                  <a:gd name="T124" fmla="*/ 57 w 317"/>
                  <a:gd name="T125" fmla="*/ 553 h 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7" h="578">
                    <a:moveTo>
                      <a:pt x="20" y="100"/>
                    </a:moveTo>
                    <a:cubicBezTo>
                      <a:pt x="17" y="95"/>
                      <a:pt x="17" y="95"/>
                      <a:pt x="17" y="95"/>
                    </a:cubicBezTo>
                    <a:cubicBezTo>
                      <a:pt x="13" y="93"/>
                      <a:pt x="13" y="93"/>
                      <a:pt x="13" y="93"/>
                    </a:cubicBezTo>
                    <a:cubicBezTo>
                      <a:pt x="8" y="91"/>
                      <a:pt x="8" y="91"/>
                      <a:pt x="8" y="91"/>
                    </a:cubicBezTo>
                    <a:cubicBezTo>
                      <a:pt x="8" y="87"/>
                      <a:pt x="8" y="87"/>
                      <a:pt x="8" y="87"/>
                    </a:cubicBezTo>
                    <a:cubicBezTo>
                      <a:pt x="1" y="83"/>
                      <a:pt x="1" y="83"/>
                      <a:pt x="1" y="83"/>
                    </a:cubicBezTo>
                    <a:cubicBezTo>
                      <a:pt x="1" y="83"/>
                      <a:pt x="0" y="81"/>
                      <a:pt x="1" y="81"/>
                    </a:cubicBezTo>
                    <a:cubicBezTo>
                      <a:pt x="2" y="80"/>
                      <a:pt x="6" y="80"/>
                      <a:pt x="7" y="80"/>
                    </a:cubicBezTo>
                    <a:cubicBezTo>
                      <a:pt x="7" y="79"/>
                      <a:pt x="7" y="79"/>
                      <a:pt x="7" y="79"/>
                    </a:cubicBezTo>
                    <a:cubicBezTo>
                      <a:pt x="8" y="79"/>
                      <a:pt x="8" y="79"/>
                      <a:pt x="8" y="79"/>
                    </a:cubicBezTo>
                    <a:cubicBezTo>
                      <a:pt x="9" y="79"/>
                      <a:pt x="9" y="78"/>
                      <a:pt x="9" y="78"/>
                    </a:cubicBezTo>
                    <a:cubicBezTo>
                      <a:pt x="9" y="78"/>
                      <a:pt x="6" y="72"/>
                      <a:pt x="8" y="69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8" y="68"/>
                      <a:pt x="8" y="68"/>
                      <a:pt x="8" y="68"/>
                    </a:cubicBezTo>
                    <a:cubicBezTo>
                      <a:pt x="10" y="66"/>
                      <a:pt x="14" y="66"/>
                      <a:pt x="16" y="68"/>
                    </a:cubicBezTo>
                    <a:cubicBezTo>
                      <a:pt x="20" y="69"/>
                      <a:pt x="20" y="69"/>
                      <a:pt x="20" y="69"/>
                    </a:cubicBezTo>
                    <a:cubicBezTo>
                      <a:pt x="27" y="77"/>
                      <a:pt x="27" y="77"/>
                      <a:pt x="27" y="77"/>
                    </a:cubicBezTo>
                    <a:cubicBezTo>
                      <a:pt x="33" y="84"/>
                      <a:pt x="33" y="84"/>
                      <a:pt x="33" y="84"/>
                    </a:cubicBezTo>
                    <a:cubicBezTo>
                      <a:pt x="33" y="84"/>
                      <a:pt x="42" y="91"/>
                      <a:pt x="44" y="92"/>
                    </a:cubicBezTo>
                    <a:cubicBezTo>
                      <a:pt x="46" y="93"/>
                      <a:pt x="57" y="95"/>
                      <a:pt x="58" y="96"/>
                    </a:cubicBezTo>
                    <a:cubicBezTo>
                      <a:pt x="61" y="92"/>
                      <a:pt x="61" y="92"/>
                      <a:pt x="61" y="92"/>
                    </a:cubicBezTo>
                    <a:cubicBezTo>
                      <a:pt x="65" y="89"/>
                      <a:pt x="65" y="89"/>
                      <a:pt x="65" y="89"/>
                    </a:cubicBezTo>
                    <a:cubicBezTo>
                      <a:pt x="64" y="87"/>
                      <a:pt x="64" y="87"/>
                      <a:pt x="64" y="87"/>
                    </a:cubicBezTo>
                    <a:cubicBezTo>
                      <a:pt x="69" y="84"/>
                      <a:pt x="69" y="84"/>
                      <a:pt x="69" y="84"/>
                    </a:cubicBezTo>
                    <a:cubicBezTo>
                      <a:pt x="73" y="87"/>
                      <a:pt x="73" y="87"/>
                      <a:pt x="73" y="87"/>
                    </a:cubicBezTo>
                    <a:cubicBezTo>
                      <a:pt x="83" y="89"/>
                      <a:pt x="83" y="89"/>
                      <a:pt x="83" y="89"/>
                    </a:cubicBezTo>
                    <a:cubicBezTo>
                      <a:pt x="87" y="92"/>
                      <a:pt x="87" y="92"/>
                      <a:pt x="87" y="92"/>
                    </a:cubicBezTo>
                    <a:cubicBezTo>
                      <a:pt x="87" y="92"/>
                      <a:pt x="88" y="92"/>
                      <a:pt x="89" y="91"/>
                    </a:cubicBezTo>
                    <a:cubicBezTo>
                      <a:pt x="89" y="91"/>
                      <a:pt x="89" y="91"/>
                      <a:pt x="89" y="91"/>
                    </a:cubicBezTo>
                    <a:cubicBezTo>
                      <a:pt x="90" y="91"/>
                      <a:pt x="90" y="91"/>
                      <a:pt x="91" y="90"/>
                    </a:cubicBezTo>
                    <a:cubicBezTo>
                      <a:pt x="91" y="90"/>
                      <a:pt x="91" y="90"/>
                      <a:pt x="91" y="90"/>
                    </a:cubicBezTo>
                    <a:cubicBezTo>
                      <a:pt x="91" y="90"/>
                      <a:pt x="91" y="90"/>
                      <a:pt x="91" y="90"/>
                    </a:cubicBezTo>
                    <a:cubicBezTo>
                      <a:pt x="91" y="90"/>
                      <a:pt x="91" y="90"/>
                      <a:pt x="91" y="90"/>
                    </a:cubicBezTo>
                    <a:cubicBezTo>
                      <a:pt x="91" y="90"/>
                      <a:pt x="91" y="90"/>
                      <a:pt x="91" y="90"/>
                    </a:cubicBezTo>
                    <a:cubicBezTo>
                      <a:pt x="91" y="90"/>
                      <a:pt x="91" y="90"/>
                      <a:pt x="91" y="90"/>
                    </a:cubicBezTo>
                    <a:cubicBezTo>
                      <a:pt x="91" y="89"/>
                      <a:pt x="91" y="89"/>
                      <a:pt x="91" y="89"/>
                    </a:cubicBezTo>
                    <a:cubicBezTo>
                      <a:pt x="91" y="88"/>
                      <a:pt x="91" y="82"/>
                      <a:pt x="91" y="82"/>
                    </a:cubicBezTo>
                    <a:cubicBezTo>
                      <a:pt x="91" y="82"/>
                      <a:pt x="88" y="80"/>
                      <a:pt x="91" y="78"/>
                    </a:cubicBezTo>
                    <a:cubicBezTo>
                      <a:pt x="94" y="75"/>
                      <a:pt x="98" y="72"/>
                      <a:pt x="98" y="72"/>
                    </a:cubicBezTo>
                    <a:cubicBezTo>
                      <a:pt x="98" y="72"/>
                      <a:pt x="100" y="71"/>
                      <a:pt x="100" y="68"/>
                    </a:cubicBezTo>
                    <a:cubicBezTo>
                      <a:pt x="100" y="65"/>
                      <a:pt x="98" y="57"/>
                      <a:pt x="98" y="57"/>
                    </a:cubicBezTo>
                    <a:cubicBezTo>
                      <a:pt x="98" y="57"/>
                      <a:pt x="96" y="52"/>
                      <a:pt x="96" y="50"/>
                    </a:cubicBezTo>
                    <a:cubicBezTo>
                      <a:pt x="98" y="38"/>
                      <a:pt x="93" y="29"/>
                      <a:pt x="96" y="28"/>
                    </a:cubicBezTo>
                    <a:cubicBezTo>
                      <a:pt x="96" y="28"/>
                      <a:pt x="96" y="28"/>
                      <a:pt x="96" y="28"/>
                    </a:cubicBezTo>
                    <a:cubicBezTo>
                      <a:pt x="98" y="27"/>
                      <a:pt x="98" y="27"/>
                      <a:pt x="98" y="27"/>
                    </a:cubicBezTo>
                    <a:cubicBezTo>
                      <a:pt x="101" y="25"/>
                      <a:pt x="101" y="25"/>
                      <a:pt x="101" y="25"/>
                    </a:cubicBezTo>
                    <a:cubicBezTo>
                      <a:pt x="101" y="25"/>
                      <a:pt x="101" y="24"/>
                      <a:pt x="101" y="24"/>
                    </a:cubicBezTo>
                    <a:cubicBezTo>
                      <a:pt x="101" y="19"/>
                      <a:pt x="95" y="14"/>
                      <a:pt x="102" y="13"/>
                    </a:cubicBezTo>
                    <a:cubicBezTo>
                      <a:pt x="105" y="11"/>
                      <a:pt x="105" y="11"/>
                      <a:pt x="105" y="11"/>
                    </a:cubicBezTo>
                    <a:cubicBezTo>
                      <a:pt x="114" y="11"/>
                      <a:pt x="114" y="11"/>
                      <a:pt x="114" y="11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20" y="1"/>
                      <a:pt x="120" y="1"/>
                      <a:pt x="120" y="1"/>
                    </a:cubicBezTo>
                    <a:cubicBezTo>
                      <a:pt x="123" y="1"/>
                      <a:pt x="127" y="0"/>
                      <a:pt x="129" y="1"/>
                    </a:cubicBezTo>
                    <a:cubicBezTo>
                      <a:pt x="131" y="4"/>
                      <a:pt x="131" y="6"/>
                      <a:pt x="135" y="7"/>
                    </a:cubicBezTo>
                    <a:cubicBezTo>
                      <a:pt x="147" y="11"/>
                      <a:pt x="147" y="11"/>
                      <a:pt x="147" y="11"/>
                    </a:cubicBezTo>
                    <a:cubicBezTo>
                      <a:pt x="154" y="12"/>
                      <a:pt x="154" y="12"/>
                      <a:pt x="154" y="12"/>
                    </a:cubicBezTo>
                    <a:cubicBezTo>
                      <a:pt x="156" y="14"/>
                      <a:pt x="156" y="14"/>
                      <a:pt x="156" y="14"/>
                    </a:cubicBezTo>
                    <a:cubicBezTo>
                      <a:pt x="156" y="14"/>
                      <a:pt x="156" y="14"/>
                      <a:pt x="156" y="14"/>
                    </a:cubicBezTo>
                    <a:cubicBezTo>
                      <a:pt x="156" y="16"/>
                      <a:pt x="156" y="18"/>
                      <a:pt x="157" y="19"/>
                    </a:cubicBezTo>
                    <a:cubicBezTo>
                      <a:pt x="157" y="21"/>
                      <a:pt x="158" y="24"/>
                      <a:pt x="158" y="24"/>
                    </a:cubicBezTo>
                    <a:cubicBezTo>
                      <a:pt x="158" y="24"/>
                      <a:pt x="157" y="27"/>
                      <a:pt x="157" y="29"/>
                    </a:cubicBezTo>
                    <a:cubicBezTo>
                      <a:pt x="156" y="30"/>
                      <a:pt x="156" y="33"/>
                      <a:pt x="156" y="34"/>
                    </a:cubicBezTo>
                    <a:cubicBezTo>
                      <a:pt x="156" y="35"/>
                      <a:pt x="156" y="36"/>
                      <a:pt x="156" y="37"/>
                    </a:cubicBezTo>
                    <a:cubicBezTo>
                      <a:pt x="156" y="39"/>
                      <a:pt x="157" y="42"/>
                      <a:pt x="158" y="43"/>
                    </a:cubicBezTo>
                    <a:cubicBezTo>
                      <a:pt x="158" y="44"/>
                      <a:pt x="163" y="47"/>
                      <a:pt x="163" y="47"/>
                    </a:cubicBezTo>
                    <a:cubicBezTo>
                      <a:pt x="163" y="47"/>
                      <a:pt x="163" y="48"/>
                      <a:pt x="158" y="52"/>
                    </a:cubicBezTo>
                    <a:cubicBezTo>
                      <a:pt x="154" y="57"/>
                      <a:pt x="154" y="57"/>
                      <a:pt x="154" y="57"/>
                    </a:cubicBezTo>
                    <a:cubicBezTo>
                      <a:pt x="161" y="59"/>
                      <a:pt x="161" y="59"/>
                      <a:pt x="161" y="59"/>
                    </a:cubicBezTo>
                    <a:cubicBezTo>
                      <a:pt x="161" y="64"/>
                      <a:pt x="161" y="64"/>
                      <a:pt x="161" y="64"/>
                    </a:cubicBezTo>
                    <a:cubicBezTo>
                      <a:pt x="161" y="68"/>
                      <a:pt x="161" y="68"/>
                      <a:pt x="161" y="68"/>
                    </a:cubicBezTo>
                    <a:cubicBezTo>
                      <a:pt x="160" y="74"/>
                      <a:pt x="160" y="74"/>
                      <a:pt x="160" y="74"/>
                    </a:cubicBezTo>
                    <a:cubicBezTo>
                      <a:pt x="157" y="78"/>
                      <a:pt x="157" y="78"/>
                      <a:pt x="157" y="78"/>
                    </a:cubicBezTo>
                    <a:cubicBezTo>
                      <a:pt x="161" y="84"/>
                      <a:pt x="161" y="84"/>
                      <a:pt x="161" y="84"/>
                    </a:cubicBezTo>
                    <a:cubicBezTo>
                      <a:pt x="166" y="92"/>
                      <a:pt x="166" y="92"/>
                      <a:pt x="166" y="92"/>
                    </a:cubicBezTo>
                    <a:cubicBezTo>
                      <a:pt x="173" y="96"/>
                      <a:pt x="173" y="96"/>
                      <a:pt x="173" y="96"/>
                    </a:cubicBezTo>
                    <a:cubicBezTo>
                      <a:pt x="173" y="96"/>
                      <a:pt x="174" y="95"/>
                      <a:pt x="181" y="96"/>
                    </a:cubicBezTo>
                    <a:cubicBezTo>
                      <a:pt x="188" y="98"/>
                      <a:pt x="190" y="104"/>
                      <a:pt x="190" y="104"/>
                    </a:cubicBezTo>
                    <a:cubicBezTo>
                      <a:pt x="194" y="109"/>
                      <a:pt x="194" y="109"/>
                      <a:pt x="194" y="109"/>
                    </a:cubicBezTo>
                    <a:cubicBezTo>
                      <a:pt x="200" y="113"/>
                      <a:pt x="200" y="113"/>
                      <a:pt x="200" y="113"/>
                    </a:cubicBezTo>
                    <a:cubicBezTo>
                      <a:pt x="203" y="116"/>
                      <a:pt x="203" y="116"/>
                      <a:pt x="203" y="116"/>
                    </a:cubicBezTo>
                    <a:cubicBezTo>
                      <a:pt x="202" y="125"/>
                      <a:pt x="202" y="125"/>
                      <a:pt x="202" y="125"/>
                    </a:cubicBezTo>
                    <a:cubicBezTo>
                      <a:pt x="202" y="125"/>
                      <a:pt x="199" y="130"/>
                      <a:pt x="200" y="134"/>
                    </a:cubicBezTo>
                    <a:cubicBezTo>
                      <a:pt x="200" y="139"/>
                      <a:pt x="197" y="146"/>
                      <a:pt x="197" y="148"/>
                    </a:cubicBezTo>
                    <a:cubicBezTo>
                      <a:pt x="197" y="149"/>
                      <a:pt x="195" y="157"/>
                      <a:pt x="195" y="157"/>
                    </a:cubicBezTo>
                    <a:cubicBezTo>
                      <a:pt x="198" y="164"/>
                      <a:pt x="198" y="164"/>
                      <a:pt x="198" y="164"/>
                    </a:cubicBezTo>
                    <a:cubicBezTo>
                      <a:pt x="202" y="168"/>
                      <a:pt x="202" y="168"/>
                      <a:pt x="202" y="168"/>
                    </a:cubicBezTo>
                    <a:cubicBezTo>
                      <a:pt x="208" y="175"/>
                      <a:pt x="208" y="175"/>
                      <a:pt x="208" y="175"/>
                    </a:cubicBezTo>
                    <a:cubicBezTo>
                      <a:pt x="216" y="184"/>
                      <a:pt x="216" y="184"/>
                      <a:pt x="216" y="184"/>
                    </a:cubicBezTo>
                    <a:cubicBezTo>
                      <a:pt x="219" y="191"/>
                      <a:pt x="219" y="191"/>
                      <a:pt x="219" y="191"/>
                    </a:cubicBezTo>
                    <a:cubicBezTo>
                      <a:pt x="219" y="191"/>
                      <a:pt x="227" y="196"/>
                      <a:pt x="227" y="197"/>
                    </a:cubicBezTo>
                    <a:cubicBezTo>
                      <a:pt x="227" y="198"/>
                      <a:pt x="230" y="203"/>
                      <a:pt x="230" y="203"/>
                    </a:cubicBezTo>
                    <a:cubicBezTo>
                      <a:pt x="234" y="210"/>
                      <a:pt x="234" y="210"/>
                      <a:pt x="234" y="210"/>
                    </a:cubicBezTo>
                    <a:cubicBezTo>
                      <a:pt x="233" y="215"/>
                      <a:pt x="233" y="215"/>
                      <a:pt x="233" y="215"/>
                    </a:cubicBezTo>
                    <a:cubicBezTo>
                      <a:pt x="230" y="220"/>
                      <a:pt x="230" y="220"/>
                      <a:pt x="230" y="220"/>
                    </a:cubicBezTo>
                    <a:cubicBezTo>
                      <a:pt x="230" y="223"/>
                      <a:pt x="230" y="223"/>
                      <a:pt x="230" y="223"/>
                    </a:cubicBezTo>
                    <a:cubicBezTo>
                      <a:pt x="233" y="227"/>
                      <a:pt x="233" y="227"/>
                      <a:pt x="233" y="227"/>
                    </a:cubicBezTo>
                    <a:cubicBezTo>
                      <a:pt x="232" y="231"/>
                      <a:pt x="232" y="231"/>
                      <a:pt x="232" y="231"/>
                    </a:cubicBezTo>
                    <a:cubicBezTo>
                      <a:pt x="235" y="237"/>
                      <a:pt x="235" y="237"/>
                      <a:pt x="235" y="237"/>
                    </a:cubicBezTo>
                    <a:cubicBezTo>
                      <a:pt x="233" y="241"/>
                      <a:pt x="233" y="241"/>
                      <a:pt x="233" y="241"/>
                    </a:cubicBezTo>
                    <a:cubicBezTo>
                      <a:pt x="238" y="243"/>
                      <a:pt x="238" y="243"/>
                      <a:pt x="238" y="243"/>
                    </a:cubicBezTo>
                    <a:cubicBezTo>
                      <a:pt x="238" y="243"/>
                      <a:pt x="239" y="244"/>
                      <a:pt x="238" y="246"/>
                    </a:cubicBezTo>
                    <a:cubicBezTo>
                      <a:pt x="237" y="247"/>
                      <a:pt x="236" y="254"/>
                      <a:pt x="236" y="254"/>
                    </a:cubicBezTo>
                    <a:cubicBezTo>
                      <a:pt x="241" y="262"/>
                      <a:pt x="241" y="262"/>
                      <a:pt x="241" y="262"/>
                    </a:cubicBezTo>
                    <a:cubicBezTo>
                      <a:pt x="248" y="263"/>
                      <a:pt x="248" y="263"/>
                      <a:pt x="248" y="263"/>
                    </a:cubicBezTo>
                    <a:cubicBezTo>
                      <a:pt x="248" y="263"/>
                      <a:pt x="252" y="263"/>
                      <a:pt x="252" y="264"/>
                    </a:cubicBezTo>
                    <a:cubicBezTo>
                      <a:pt x="253" y="265"/>
                      <a:pt x="254" y="268"/>
                      <a:pt x="254" y="268"/>
                    </a:cubicBezTo>
                    <a:cubicBezTo>
                      <a:pt x="251" y="274"/>
                      <a:pt x="251" y="274"/>
                      <a:pt x="251" y="274"/>
                    </a:cubicBezTo>
                    <a:cubicBezTo>
                      <a:pt x="251" y="274"/>
                      <a:pt x="252" y="277"/>
                      <a:pt x="255" y="279"/>
                    </a:cubicBezTo>
                    <a:cubicBezTo>
                      <a:pt x="257" y="280"/>
                      <a:pt x="259" y="280"/>
                      <a:pt x="259" y="282"/>
                    </a:cubicBezTo>
                    <a:cubicBezTo>
                      <a:pt x="260" y="284"/>
                      <a:pt x="260" y="287"/>
                      <a:pt x="261" y="286"/>
                    </a:cubicBezTo>
                    <a:cubicBezTo>
                      <a:pt x="263" y="286"/>
                      <a:pt x="267" y="287"/>
                      <a:pt x="267" y="287"/>
                    </a:cubicBezTo>
                    <a:cubicBezTo>
                      <a:pt x="270" y="292"/>
                      <a:pt x="270" y="292"/>
                      <a:pt x="270" y="292"/>
                    </a:cubicBezTo>
                    <a:cubicBezTo>
                      <a:pt x="272" y="296"/>
                      <a:pt x="272" y="296"/>
                      <a:pt x="272" y="296"/>
                    </a:cubicBezTo>
                    <a:cubicBezTo>
                      <a:pt x="272" y="296"/>
                      <a:pt x="272" y="299"/>
                      <a:pt x="272" y="300"/>
                    </a:cubicBezTo>
                    <a:cubicBezTo>
                      <a:pt x="272" y="302"/>
                      <a:pt x="271" y="308"/>
                      <a:pt x="271" y="308"/>
                    </a:cubicBezTo>
                    <a:cubicBezTo>
                      <a:pt x="266" y="316"/>
                      <a:pt x="266" y="316"/>
                      <a:pt x="266" y="316"/>
                    </a:cubicBezTo>
                    <a:cubicBezTo>
                      <a:pt x="266" y="316"/>
                      <a:pt x="270" y="321"/>
                      <a:pt x="273" y="323"/>
                    </a:cubicBezTo>
                    <a:cubicBezTo>
                      <a:pt x="276" y="325"/>
                      <a:pt x="280" y="328"/>
                      <a:pt x="281" y="328"/>
                    </a:cubicBezTo>
                    <a:cubicBezTo>
                      <a:pt x="282" y="328"/>
                      <a:pt x="287" y="329"/>
                      <a:pt x="289" y="330"/>
                    </a:cubicBezTo>
                    <a:cubicBezTo>
                      <a:pt x="290" y="330"/>
                      <a:pt x="294" y="332"/>
                      <a:pt x="295" y="333"/>
                    </a:cubicBezTo>
                    <a:cubicBezTo>
                      <a:pt x="296" y="334"/>
                      <a:pt x="303" y="338"/>
                      <a:pt x="303" y="338"/>
                    </a:cubicBezTo>
                    <a:cubicBezTo>
                      <a:pt x="309" y="341"/>
                      <a:pt x="309" y="341"/>
                      <a:pt x="309" y="341"/>
                    </a:cubicBezTo>
                    <a:cubicBezTo>
                      <a:pt x="315" y="346"/>
                      <a:pt x="315" y="346"/>
                      <a:pt x="315" y="346"/>
                    </a:cubicBezTo>
                    <a:cubicBezTo>
                      <a:pt x="317" y="358"/>
                      <a:pt x="317" y="358"/>
                      <a:pt x="317" y="358"/>
                    </a:cubicBezTo>
                    <a:cubicBezTo>
                      <a:pt x="317" y="358"/>
                      <a:pt x="315" y="376"/>
                      <a:pt x="314" y="378"/>
                    </a:cubicBezTo>
                    <a:cubicBezTo>
                      <a:pt x="314" y="380"/>
                      <a:pt x="311" y="389"/>
                      <a:pt x="310" y="390"/>
                    </a:cubicBezTo>
                    <a:cubicBezTo>
                      <a:pt x="308" y="391"/>
                      <a:pt x="306" y="392"/>
                      <a:pt x="306" y="394"/>
                    </a:cubicBezTo>
                    <a:cubicBezTo>
                      <a:pt x="306" y="396"/>
                      <a:pt x="303" y="407"/>
                      <a:pt x="303" y="407"/>
                    </a:cubicBezTo>
                    <a:cubicBezTo>
                      <a:pt x="303" y="407"/>
                      <a:pt x="300" y="414"/>
                      <a:pt x="300" y="416"/>
                    </a:cubicBezTo>
                    <a:cubicBezTo>
                      <a:pt x="300" y="418"/>
                      <a:pt x="297" y="424"/>
                      <a:pt x="297" y="426"/>
                    </a:cubicBezTo>
                    <a:cubicBezTo>
                      <a:pt x="296" y="427"/>
                      <a:pt x="294" y="435"/>
                      <a:pt x="294" y="435"/>
                    </a:cubicBezTo>
                    <a:cubicBezTo>
                      <a:pt x="281" y="461"/>
                      <a:pt x="281" y="461"/>
                      <a:pt x="281" y="461"/>
                    </a:cubicBezTo>
                    <a:cubicBezTo>
                      <a:pt x="278" y="471"/>
                      <a:pt x="278" y="471"/>
                      <a:pt x="278" y="471"/>
                    </a:cubicBezTo>
                    <a:cubicBezTo>
                      <a:pt x="278" y="471"/>
                      <a:pt x="275" y="472"/>
                      <a:pt x="274" y="474"/>
                    </a:cubicBezTo>
                    <a:cubicBezTo>
                      <a:pt x="273" y="477"/>
                      <a:pt x="272" y="479"/>
                      <a:pt x="271" y="482"/>
                    </a:cubicBezTo>
                    <a:cubicBezTo>
                      <a:pt x="271" y="484"/>
                      <a:pt x="266" y="493"/>
                      <a:pt x="266" y="493"/>
                    </a:cubicBezTo>
                    <a:cubicBezTo>
                      <a:pt x="264" y="498"/>
                      <a:pt x="264" y="498"/>
                      <a:pt x="264" y="498"/>
                    </a:cubicBezTo>
                    <a:cubicBezTo>
                      <a:pt x="260" y="503"/>
                      <a:pt x="260" y="503"/>
                      <a:pt x="260" y="503"/>
                    </a:cubicBezTo>
                    <a:cubicBezTo>
                      <a:pt x="260" y="503"/>
                      <a:pt x="257" y="505"/>
                      <a:pt x="257" y="505"/>
                    </a:cubicBezTo>
                    <a:cubicBezTo>
                      <a:pt x="257" y="505"/>
                      <a:pt x="255" y="505"/>
                      <a:pt x="255" y="505"/>
                    </a:cubicBezTo>
                    <a:cubicBezTo>
                      <a:pt x="250" y="505"/>
                      <a:pt x="250" y="505"/>
                      <a:pt x="250" y="505"/>
                    </a:cubicBezTo>
                    <a:cubicBezTo>
                      <a:pt x="247" y="503"/>
                      <a:pt x="247" y="503"/>
                      <a:pt x="247" y="503"/>
                    </a:cubicBezTo>
                    <a:cubicBezTo>
                      <a:pt x="247" y="503"/>
                      <a:pt x="244" y="505"/>
                      <a:pt x="244" y="505"/>
                    </a:cubicBezTo>
                    <a:cubicBezTo>
                      <a:pt x="244" y="506"/>
                      <a:pt x="242" y="507"/>
                      <a:pt x="242" y="508"/>
                    </a:cubicBezTo>
                    <a:cubicBezTo>
                      <a:pt x="242" y="508"/>
                      <a:pt x="241" y="510"/>
                      <a:pt x="240" y="510"/>
                    </a:cubicBezTo>
                    <a:cubicBezTo>
                      <a:pt x="239" y="511"/>
                      <a:pt x="238" y="512"/>
                      <a:pt x="237" y="512"/>
                    </a:cubicBezTo>
                    <a:cubicBezTo>
                      <a:pt x="237" y="513"/>
                      <a:pt x="235" y="513"/>
                      <a:pt x="235" y="513"/>
                    </a:cubicBezTo>
                    <a:cubicBezTo>
                      <a:pt x="235" y="513"/>
                      <a:pt x="235" y="514"/>
                      <a:pt x="234" y="515"/>
                    </a:cubicBezTo>
                    <a:cubicBezTo>
                      <a:pt x="234" y="515"/>
                      <a:pt x="231" y="515"/>
                      <a:pt x="230" y="514"/>
                    </a:cubicBezTo>
                    <a:cubicBezTo>
                      <a:pt x="229" y="513"/>
                      <a:pt x="227" y="512"/>
                      <a:pt x="228" y="512"/>
                    </a:cubicBezTo>
                    <a:cubicBezTo>
                      <a:pt x="228" y="513"/>
                      <a:pt x="227" y="515"/>
                      <a:pt x="227" y="515"/>
                    </a:cubicBezTo>
                    <a:cubicBezTo>
                      <a:pt x="227" y="516"/>
                      <a:pt x="225" y="519"/>
                      <a:pt x="224" y="519"/>
                    </a:cubicBezTo>
                    <a:cubicBezTo>
                      <a:pt x="223" y="519"/>
                      <a:pt x="221" y="518"/>
                      <a:pt x="220" y="517"/>
                    </a:cubicBezTo>
                    <a:cubicBezTo>
                      <a:pt x="219" y="517"/>
                      <a:pt x="218" y="517"/>
                      <a:pt x="218" y="517"/>
                    </a:cubicBezTo>
                    <a:cubicBezTo>
                      <a:pt x="218" y="518"/>
                      <a:pt x="218" y="521"/>
                      <a:pt x="218" y="522"/>
                    </a:cubicBezTo>
                    <a:cubicBezTo>
                      <a:pt x="218" y="522"/>
                      <a:pt x="218" y="523"/>
                      <a:pt x="218" y="524"/>
                    </a:cubicBezTo>
                    <a:cubicBezTo>
                      <a:pt x="217" y="524"/>
                      <a:pt x="215" y="525"/>
                      <a:pt x="215" y="525"/>
                    </a:cubicBezTo>
                    <a:cubicBezTo>
                      <a:pt x="215" y="525"/>
                      <a:pt x="216" y="527"/>
                      <a:pt x="215" y="527"/>
                    </a:cubicBezTo>
                    <a:cubicBezTo>
                      <a:pt x="214" y="528"/>
                      <a:pt x="213" y="529"/>
                      <a:pt x="212" y="529"/>
                    </a:cubicBezTo>
                    <a:cubicBezTo>
                      <a:pt x="212" y="528"/>
                      <a:pt x="210" y="527"/>
                      <a:pt x="210" y="527"/>
                    </a:cubicBezTo>
                    <a:cubicBezTo>
                      <a:pt x="209" y="528"/>
                      <a:pt x="208" y="530"/>
                      <a:pt x="208" y="530"/>
                    </a:cubicBezTo>
                    <a:cubicBezTo>
                      <a:pt x="208" y="531"/>
                      <a:pt x="207" y="532"/>
                      <a:pt x="207" y="532"/>
                    </a:cubicBezTo>
                    <a:cubicBezTo>
                      <a:pt x="207" y="532"/>
                      <a:pt x="200" y="540"/>
                      <a:pt x="200" y="540"/>
                    </a:cubicBezTo>
                    <a:cubicBezTo>
                      <a:pt x="199" y="540"/>
                      <a:pt x="197" y="537"/>
                      <a:pt x="197" y="537"/>
                    </a:cubicBezTo>
                    <a:cubicBezTo>
                      <a:pt x="197" y="538"/>
                      <a:pt x="197" y="540"/>
                      <a:pt x="197" y="540"/>
                    </a:cubicBezTo>
                    <a:cubicBezTo>
                      <a:pt x="196" y="541"/>
                      <a:pt x="194" y="542"/>
                      <a:pt x="194" y="542"/>
                    </a:cubicBezTo>
                    <a:cubicBezTo>
                      <a:pt x="194" y="543"/>
                      <a:pt x="193" y="542"/>
                      <a:pt x="192" y="542"/>
                    </a:cubicBezTo>
                    <a:cubicBezTo>
                      <a:pt x="192" y="543"/>
                      <a:pt x="191" y="543"/>
                      <a:pt x="191" y="544"/>
                    </a:cubicBezTo>
                    <a:cubicBezTo>
                      <a:pt x="191" y="545"/>
                      <a:pt x="190" y="546"/>
                      <a:pt x="190" y="546"/>
                    </a:cubicBezTo>
                    <a:cubicBezTo>
                      <a:pt x="190" y="546"/>
                      <a:pt x="188" y="547"/>
                      <a:pt x="188" y="548"/>
                    </a:cubicBezTo>
                    <a:cubicBezTo>
                      <a:pt x="187" y="549"/>
                      <a:pt x="185" y="550"/>
                      <a:pt x="185" y="550"/>
                    </a:cubicBezTo>
                    <a:cubicBezTo>
                      <a:pt x="185" y="550"/>
                      <a:pt x="184" y="551"/>
                      <a:pt x="183" y="550"/>
                    </a:cubicBezTo>
                    <a:cubicBezTo>
                      <a:pt x="182" y="550"/>
                      <a:pt x="180" y="547"/>
                      <a:pt x="180" y="547"/>
                    </a:cubicBezTo>
                    <a:cubicBezTo>
                      <a:pt x="180" y="547"/>
                      <a:pt x="178" y="547"/>
                      <a:pt x="178" y="548"/>
                    </a:cubicBezTo>
                    <a:cubicBezTo>
                      <a:pt x="177" y="549"/>
                      <a:pt x="177" y="550"/>
                      <a:pt x="176" y="550"/>
                    </a:cubicBezTo>
                    <a:cubicBezTo>
                      <a:pt x="175" y="551"/>
                      <a:pt x="174" y="551"/>
                      <a:pt x="173" y="551"/>
                    </a:cubicBezTo>
                    <a:cubicBezTo>
                      <a:pt x="172" y="552"/>
                      <a:pt x="170" y="552"/>
                      <a:pt x="170" y="553"/>
                    </a:cubicBezTo>
                    <a:cubicBezTo>
                      <a:pt x="169" y="553"/>
                      <a:pt x="168" y="555"/>
                      <a:pt x="168" y="556"/>
                    </a:cubicBezTo>
                    <a:cubicBezTo>
                      <a:pt x="168" y="557"/>
                      <a:pt x="170" y="557"/>
                      <a:pt x="168" y="557"/>
                    </a:cubicBezTo>
                    <a:cubicBezTo>
                      <a:pt x="166" y="558"/>
                      <a:pt x="163" y="558"/>
                      <a:pt x="163" y="558"/>
                    </a:cubicBezTo>
                    <a:cubicBezTo>
                      <a:pt x="163" y="558"/>
                      <a:pt x="161" y="559"/>
                      <a:pt x="161" y="560"/>
                    </a:cubicBezTo>
                    <a:cubicBezTo>
                      <a:pt x="160" y="561"/>
                      <a:pt x="161" y="561"/>
                      <a:pt x="159" y="562"/>
                    </a:cubicBezTo>
                    <a:cubicBezTo>
                      <a:pt x="158" y="562"/>
                      <a:pt x="157" y="563"/>
                      <a:pt x="157" y="563"/>
                    </a:cubicBezTo>
                    <a:cubicBezTo>
                      <a:pt x="155" y="561"/>
                      <a:pt x="155" y="561"/>
                      <a:pt x="155" y="561"/>
                    </a:cubicBezTo>
                    <a:cubicBezTo>
                      <a:pt x="156" y="559"/>
                      <a:pt x="156" y="559"/>
                      <a:pt x="156" y="559"/>
                    </a:cubicBezTo>
                    <a:cubicBezTo>
                      <a:pt x="156" y="559"/>
                      <a:pt x="155" y="557"/>
                      <a:pt x="155" y="558"/>
                    </a:cubicBezTo>
                    <a:cubicBezTo>
                      <a:pt x="154" y="560"/>
                      <a:pt x="155" y="561"/>
                      <a:pt x="155" y="561"/>
                    </a:cubicBezTo>
                    <a:cubicBezTo>
                      <a:pt x="155" y="561"/>
                      <a:pt x="154" y="561"/>
                      <a:pt x="154" y="562"/>
                    </a:cubicBezTo>
                    <a:cubicBezTo>
                      <a:pt x="153" y="563"/>
                      <a:pt x="154" y="563"/>
                      <a:pt x="153" y="564"/>
                    </a:cubicBezTo>
                    <a:cubicBezTo>
                      <a:pt x="153" y="565"/>
                      <a:pt x="152" y="566"/>
                      <a:pt x="151" y="566"/>
                    </a:cubicBezTo>
                    <a:cubicBezTo>
                      <a:pt x="151" y="567"/>
                      <a:pt x="150" y="567"/>
                      <a:pt x="149" y="567"/>
                    </a:cubicBezTo>
                    <a:cubicBezTo>
                      <a:pt x="149" y="567"/>
                      <a:pt x="147" y="567"/>
                      <a:pt x="147" y="567"/>
                    </a:cubicBezTo>
                    <a:cubicBezTo>
                      <a:pt x="146" y="567"/>
                      <a:pt x="145" y="566"/>
                      <a:pt x="146" y="566"/>
                    </a:cubicBezTo>
                    <a:cubicBezTo>
                      <a:pt x="146" y="566"/>
                      <a:pt x="148" y="565"/>
                      <a:pt x="148" y="565"/>
                    </a:cubicBezTo>
                    <a:cubicBezTo>
                      <a:pt x="148" y="565"/>
                      <a:pt x="149" y="564"/>
                      <a:pt x="148" y="564"/>
                    </a:cubicBezTo>
                    <a:cubicBezTo>
                      <a:pt x="147" y="563"/>
                      <a:pt x="146" y="562"/>
                      <a:pt x="146" y="562"/>
                    </a:cubicBezTo>
                    <a:cubicBezTo>
                      <a:pt x="146" y="562"/>
                      <a:pt x="147" y="563"/>
                      <a:pt x="144" y="563"/>
                    </a:cubicBezTo>
                    <a:cubicBezTo>
                      <a:pt x="142" y="564"/>
                      <a:pt x="141" y="564"/>
                      <a:pt x="141" y="563"/>
                    </a:cubicBezTo>
                    <a:cubicBezTo>
                      <a:pt x="141" y="563"/>
                      <a:pt x="139" y="563"/>
                      <a:pt x="140" y="562"/>
                    </a:cubicBezTo>
                    <a:cubicBezTo>
                      <a:pt x="142" y="561"/>
                      <a:pt x="142" y="560"/>
                      <a:pt x="143" y="560"/>
                    </a:cubicBezTo>
                    <a:cubicBezTo>
                      <a:pt x="144" y="560"/>
                      <a:pt x="144" y="558"/>
                      <a:pt x="144" y="557"/>
                    </a:cubicBezTo>
                    <a:cubicBezTo>
                      <a:pt x="144" y="557"/>
                      <a:pt x="146" y="559"/>
                      <a:pt x="143" y="557"/>
                    </a:cubicBezTo>
                    <a:cubicBezTo>
                      <a:pt x="141" y="554"/>
                      <a:pt x="141" y="554"/>
                      <a:pt x="141" y="554"/>
                    </a:cubicBezTo>
                    <a:cubicBezTo>
                      <a:pt x="141" y="554"/>
                      <a:pt x="140" y="555"/>
                      <a:pt x="140" y="556"/>
                    </a:cubicBezTo>
                    <a:cubicBezTo>
                      <a:pt x="141" y="557"/>
                      <a:pt x="143" y="558"/>
                      <a:pt x="140" y="559"/>
                    </a:cubicBezTo>
                    <a:cubicBezTo>
                      <a:pt x="137" y="559"/>
                      <a:pt x="137" y="559"/>
                      <a:pt x="137" y="559"/>
                    </a:cubicBezTo>
                    <a:cubicBezTo>
                      <a:pt x="136" y="560"/>
                      <a:pt x="133" y="560"/>
                      <a:pt x="133" y="560"/>
                    </a:cubicBezTo>
                    <a:cubicBezTo>
                      <a:pt x="133" y="560"/>
                      <a:pt x="131" y="560"/>
                      <a:pt x="132" y="561"/>
                    </a:cubicBezTo>
                    <a:cubicBezTo>
                      <a:pt x="132" y="562"/>
                      <a:pt x="134" y="563"/>
                      <a:pt x="134" y="563"/>
                    </a:cubicBezTo>
                    <a:cubicBezTo>
                      <a:pt x="134" y="563"/>
                      <a:pt x="134" y="564"/>
                      <a:pt x="132" y="564"/>
                    </a:cubicBezTo>
                    <a:cubicBezTo>
                      <a:pt x="131" y="565"/>
                      <a:pt x="129" y="565"/>
                      <a:pt x="129" y="565"/>
                    </a:cubicBezTo>
                    <a:cubicBezTo>
                      <a:pt x="128" y="566"/>
                      <a:pt x="128" y="566"/>
                      <a:pt x="128" y="566"/>
                    </a:cubicBezTo>
                    <a:cubicBezTo>
                      <a:pt x="128" y="566"/>
                      <a:pt x="127" y="566"/>
                      <a:pt x="127" y="565"/>
                    </a:cubicBezTo>
                    <a:cubicBezTo>
                      <a:pt x="127" y="565"/>
                      <a:pt x="128" y="564"/>
                      <a:pt x="128" y="563"/>
                    </a:cubicBezTo>
                    <a:cubicBezTo>
                      <a:pt x="128" y="562"/>
                      <a:pt x="129" y="563"/>
                      <a:pt x="128" y="562"/>
                    </a:cubicBezTo>
                    <a:cubicBezTo>
                      <a:pt x="127" y="560"/>
                      <a:pt x="126" y="560"/>
                      <a:pt x="126" y="559"/>
                    </a:cubicBezTo>
                    <a:cubicBezTo>
                      <a:pt x="127" y="558"/>
                      <a:pt x="129" y="557"/>
                      <a:pt x="129" y="557"/>
                    </a:cubicBezTo>
                    <a:cubicBezTo>
                      <a:pt x="129" y="556"/>
                      <a:pt x="129" y="555"/>
                      <a:pt x="129" y="555"/>
                    </a:cubicBezTo>
                    <a:cubicBezTo>
                      <a:pt x="129" y="555"/>
                      <a:pt x="128" y="555"/>
                      <a:pt x="129" y="554"/>
                    </a:cubicBezTo>
                    <a:cubicBezTo>
                      <a:pt x="130" y="552"/>
                      <a:pt x="131" y="551"/>
                      <a:pt x="131" y="551"/>
                    </a:cubicBezTo>
                    <a:cubicBezTo>
                      <a:pt x="131" y="550"/>
                      <a:pt x="130" y="549"/>
                      <a:pt x="129" y="549"/>
                    </a:cubicBezTo>
                    <a:cubicBezTo>
                      <a:pt x="129" y="549"/>
                      <a:pt x="128" y="551"/>
                      <a:pt x="128" y="552"/>
                    </a:cubicBezTo>
                    <a:cubicBezTo>
                      <a:pt x="128" y="552"/>
                      <a:pt x="129" y="554"/>
                      <a:pt x="126" y="553"/>
                    </a:cubicBezTo>
                    <a:cubicBezTo>
                      <a:pt x="123" y="553"/>
                      <a:pt x="121" y="553"/>
                      <a:pt x="120" y="552"/>
                    </a:cubicBezTo>
                    <a:cubicBezTo>
                      <a:pt x="120" y="551"/>
                      <a:pt x="118" y="550"/>
                      <a:pt x="121" y="550"/>
                    </a:cubicBezTo>
                    <a:cubicBezTo>
                      <a:pt x="124" y="549"/>
                      <a:pt x="124" y="549"/>
                      <a:pt x="124" y="549"/>
                    </a:cubicBezTo>
                    <a:cubicBezTo>
                      <a:pt x="125" y="548"/>
                      <a:pt x="125" y="547"/>
                      <a:pt x="125" y="546"/>
                    </a:cubicBezTo>
                    <a:cubicBezTo>
                      <a:pt x="124" y="546"/>
                      <a:pt x="123" y="544"/>
                      <a:pt x="123" y="545"/>
                    </a:cubicBezTo>
                    <a:cubicBezTo>
                      <a:pt x="122" y="547"/>
                      <a:pt x="122" y="548"/>
                      <a:pt x="122" y="548"/>
                    </a:cubicBezTo>
                    <a:cubicBezTo>
                      <a:pt x="122" y="548"/>
                      <a:pt x="118" y="548"/>
                      <a:pt x="118" y="548"/>
                    </a:cubicBezTo>
                    <a:cubicBezTo>
                      <a:pt x="118" y="548"/>
                      <a:pt x="117" y="547"/>
                      <a:pt x="117" y="546"/>
                    </a:cubicBezTo>
                    <a:cubicBezTo>
                      <a:pt x="117" y="546"/>
                      <a:pt x="118" y="542"/>
                      <a:pt x="118" y="542"/>
                    </a:cubicBezTo>
                    <a:cubicBezTo>
                      <a:pt x="118" y="542"/>
                      <a:pt x="120" y="541"/>
                      <a:pt x="119" y="541"/>
                    </a:cubicBezTo>
                    <a:cubicBezTo>
                      <a:pt x="119" y="541"/>
                      <a:pt x="117" y="540"/>
                      <a:pt x="117" y="541"/>
                    </a:cubicBezTo>
                    <a:cubicBezTo>
                      <a:pt x="116" y="541"/>
                      <a:pt x="117" y="542"/>
                      <a:pt x="117" y="543"/>
                    </a:cubicBezTo>
                    <a:cubicBezTo>
                      <a:pt x="117" y="544"/>
                      <a:pt x="117" y="545"/>
                      <a:pt x="116" y="545"/>
                    </a:cubicBezTo>
                    <a:cubicBezTo>
                      <a:pt x="115" y="546"/>
                      <a:pt x="111" y="546"/>
                      <a:pt x="111" y="546"/>
                    </a:cubicBezTo>
                    <a:cubicBezTo>
                      <a:pt x="111" y="545"/>
                      <a:pt x="110" y="545"/>
                      <a:pt x="111" y="544"/>
                    </a:cubicBezTo>
                    <a:cubicBezTo>
                      <a:pt x="111" y="543"/>
                      <a:pt x="111" y="542"/>
                      <a:pt x="111" y="542"/>
                    </a:cubicBezTo>
                    <a:cubicBezTo>
                      <a:pt x="111" y="542"/>
                      <a:pt x="110" y="540"/>
                      <a:pt x="110" y="541"/>
                    </a:cubicBezTo>
                    <a:cubicBezTo>
                      <a:pt x="109" y="541"/>
                      <a:pt x="108" y="541"/>
                      <a:pt x="108" y="541"/>
                    </a:cubicBezTo>
                    <a:cubicBezTo>
                      <a:pt x="108" y="539"/>
                      <a:pt x="108" y="539"/>
                      <a:pt x="108" y="539"/>
                    </a:cubicBezTo>
                    <a:cubicBezTo>
                      <a:pt x="106" y="539"/>
                      <a:pt x="106" y="539"/>
                      <a:pt x="106" y="539"/>
                    </a:cubicBezTo>
                    <a:cubicBezTo>
                      <a:pt x="105" y="539"/>
                      <a:pt x="105" y="539"/>
                      <a:pt x="105" y="539"/>
                    </a:cubicBezTo>
                    <a:cubicBezTo>
                      <a:pt x="105" y="539"/>
                      <a:pt x="104" y="538"/>
                      <a:pt x="104" y="538"/>
                    </a:cubicBezTo>
                    <a:cubicBezTo>
                      <a:pt x="103" y="538"/>
                      <a:pt x="103" y="538"/>
                      <a:pt x="103" y="539"/>
                    </a:cubicBezTo>
                    <a:cubicBezTo>
                      <a:pt x="102" y="539"/>
                      <a:pt x="99" y="540"/>
                      <a:pt x="99" y="540"/>
                    </a:cubicBezTo>
                    <a:cubicBezTo>
                      <a:pt x="99" y="540"/>
                      <a:pt x="99" y="538"/>
                      <a:pt x="98" y="540"/>
                    </a:cubicBezTo>
                    <a:cubicBezTo>
                      <a:pt x="98" y="541"/>
                      <a:pt x="93" y="541"/>
                      <a:pt x="93" y="541"/>
                    </a:cubicBezTo>
                    <a:cubicBezTo>
                      <a:pt x="93" y="541"/>
                      <a:pt x="92" y="539"/>
                      <a:pt x="92" y="538"/>
                    </a:cubicBezTo>
                    <a:cubicBezTo>
                      <a:pt x="92" y="538"/>
                      <a:pt x="93" y="535"/>
                      <a:pt x="93" y="535"/>
                    </a:cubicBezTo>
                    <a:cubicBezTo>
                      <a:pt x="94" y="534"/>
                      <a:pt x="94" y="534"/>
                      <a:pt x="94" y="534"/>
                    </a:cubicBezTo>
                    <a:cubicBezTo>
                      <a:pt x="93" y="533"/>
                      <a:pt x="93" y="533"/>
                      <a:pt x="93" y="533"/>
                    </a:cubicBezTo>
                    <a:cubicBezTo>
                      <a:pt x="93" y="533"/>
                      <a:pt x="90" y="533"/>
                      <a:pt x="91" y="533"/>
                    </a:cubicBezTo>
                    <a:cubicBezTo>
                      <a:pt x="91" y="532"/>
                      <a:pt x="93" y="530"/>
                      <a:pt x="93" y="530"/>
                    </a:cubicBezTo>
                    <a:cubicBezTo>
                      <a:pt x="93" y="530"/>
                      <a:pt x="94" y="529"/>
                      <a:pt x="94" y="529"/>
                    </a:cubicBezTo>
                    <a:cubicBezTo>
                      <a:pt x="95" y="528"/>
                      <a:pt x="97" y="528"/>
                      <a:pt x="96" y="527"/>
                    </a:cubicBezTo>
                    <a:cubicBezTo>
                      <a:pt x="95" y="527"/>
                      <a:pt x="94" y="526"/>
                      <a:pt x="94" y="526"/>
                    </a:cubicBezTo>
                    <a:cubicBezTo>
                      <a:pt x="94" y="526"/>
                      <a:pt x="93" y="526"/>
                      <a:pt x="93" y="525"/>
                    </a:cubicBezTo>
                    <a:cubicBezTo>
                      <a:pt x="93" y="525"/>
                      <a:pt x="94" y="523"/>
                      <a:pt x="94" y="522"/>
                    </a:cubicBezTo>
                    <a:cubicBezTo>
                      <a:pt x="94" y="521"/>
                      <a:pt x="93" y="520"/>
                      <a:pt x="93" y="520"/>
                    </a:cubicBezTo>
                    <a:cubicBezTo>
                      <a:pt x="92" y="520"/>
                      <a:pt x="93" y="521"/>
                      <a:pt x="91" y="521"/>
                    </a:cubicBezTo>
                    <a:cubicBezTo>
                      <a:pt x="90" y="522"/>
                      <a:pt x="87" y="524"/>
                      <a:pt x="87" y="524"/>
                    </a:cubicBezTo>
                    <a:cubicBezTo>
                      <a:pt x="87" y="523"/>
                      <a:pt x="87" y="522"/>
                      <a:pt x="87" y="521"/>
                    </a:cubicBezTo>
                    <a:cubicBezTo>
                      <a:pt x="88" y="520"/>
                      <a:pt x="91" y="520"/>
                      <a:pt x="92" y="519"/>
                    </a:cubicBezTo>
                    <a:cubicBezTo>
                      <a:pt x="92" y="518"/>
                      <a:pt x="90" y="515"/>
                      <a:pt x="90" y="515"/>
                    </a:cubicBezTo>
                    <a:cubicBezTo>
                      <a:pt x="90" y="515"/>
                      <a:pt x="92" y="516"/>
                      <a:pt x="91" y="514"/>
                    </a:cubicBezTo>
                    <a:cubicBezTo>
                      <a:pt x="89" y="513"/>
                      <a:pt x="89" y="513"/>
                      <a:pt x="89" y="513"/>
                    </a:cubicBezTo>
                    <a:cubicBezTo>
                      <a:pt x="89" y="512"/>
                      <a:pt x="89" y="511"/>
                      <a:pt x="90" y="510"/>
                    </a:cubicBezTo>
                    <a:cubicBezTo>
                      <a:pt x="91" y="508"/>
                      <a:pt x="92" y="508"/>
                      <a:pt x="92" y="507"/>
                    </a:cubicBezTo>
                    <a:cubicBezTo>
                      <a:pt x="92" y="507"/>
                      <a:pt x="89" y="506"/>
                      <a:pt x="89" y="505"/>
                    </a:cubicBezTo>
                    <a:cubicBezTo>
                      <a:pt x="89" y="504"/>
                      <a:pt x="87" y="504"/>
                      <a:pt x="89" y="502"/>
                    </a:cubicBezTo>
                    <a:cubicBezTo>
                      <a:pt x="90" y="501"/>
                      <a:pt x="91" y="501"/>
                      <a:pt x="91" y="501"/>
                    </a:cubicBezTo>
                    <a:cubicBezTo>
                      <a:pt x="91" y="501"/>
                      <a:pt x="91" y="498"/>
                      <a:pt x="91" y="497"/>
                    </a:cubicBezTo>
                    <a:cubicBezTo>
                      <a:pt x="91" y="496"/>
                      <a:pt x="92" y="496"/>
                      <a:pt x="92" y="495"/>
                    </a:cubicBezTo>
                    <a:cubicBezTo>
                      <a:pt x="91" y="494"/>
                      <a:pt x="90" y="494"/>
                      <a:pt x="89" y="492"/>
                    </a:cubicBezTo>
                    <a:cubicBezTo>
                      <a:pt x="89" y="491"/>
                      <a:pt x="89" y="491"/>
                      <a:pt x="89" y="490"/>
                    </a:cubicBezTo>
                    <a:cubicBezTo>
                      <a:pt x="90" y="490"/>
                      <a:pt x="91" y="489"/>
                      <a:pt x="90" y="489"/>
                    </a:cubicBezTo>
                    <a:cubicBezTo>
                      <a:pt x="90" y="488"/>
                      <a:pt x="90" y="487"/>
                      <a:pt x="90" y="487"/>
                    </a:cubicBezTo>
                    <a:cubicBezTo>
                      <a:pt x="90" y="487"/>
                      <a:pt x="90" y="487"/>
                      <a:pt x="89" y="485"/>
                    </a:cubicBezTo>
                    <a:cubicBezTo>
                      <a:pt x="88" y="484"/>
                      <a:pt x="88" y="482"/>
                      <a:pt x="88" y="481"/>
                    </a:cubicBezTo>
                    <a:cubicBezTo>
                      <a:pt x="88" y="480"/>
                      <a:pt x="89" y="476"/>
                      <a:pt x="89" y="476"/>
                    </a:cubicBezTo>
                    <a:cubicBezTo>
                      <a:pt x="89" y="476"/>
                      <a:pt x="89" y="473"/>
                      <a:pt x="87" y="472"/>
                    </a:cubicBezTo>
                    <a:cubicBezTo>
                      <a:pt x="86" y="470"/>
                      <a:pt x="84" y="469"/>
                      <a:pt x="84" y="469"/>
                    </a:cubicBezTo>
                    <a:cubicBezTo>
                      <a:pt x="84" y="469"/>
                      <a:pt x="84" y="467"/>
                      <a:pt x="84" y="466"/>
                    </a:cubicBezTo>
                    <a:cubicBezTo>
                      <a:pt x="84" y="466"/>
                      <a:pt x="82" y="465"/>
                      <a:pt x="82" y="464"/>
                    </a:cubicBezTo>
                    <a:cubicBezTo>
                      <a:pt x="82" y="463"/>
                      <a:pt x="81" y="461"/>
                      <a:pt x="81" y="461"/>
                    </a:cubicBezTo>
                    <a:cubicBezTo>
                      <a:pt x="81" y="461"/>
                      <a:pt x="80" y="461"/>
                      <a:pt x="81" y="459"/>
                    </a:cubicBezTo>
                    <a:cubicBezTo>
                      <a:pt x="81" y="456"/>
                      <a:pt x="81" y="455"/>
                      <a:pt x="81" y="454"/>
                    </a:cubicBezTo>
                    <a:cubicBezTo>
                      <a:pt x="80" y="453"/>
                      <a:pt x="79" y="451"/>
                      <a:pt x="79" y="450"/>
                    </a:cubicBezTo>
                    <a:cubicBezTo>
                      <a:pt x="79" y="449"/>
                      <a:pt x="79" y="447"/>
                      <a:pt x="79" y="447"/>
                    </a:cubicBezTo>
                    <a:cubicBezTo>
                      <a:pt x="79" y="447"/>
                      <a:pt x="79" y="446"/>
                      <a:pt x="78" y="445"/>
                    </a:cubicBezTo>
                    <a:cubicBezTo>
                      <a:pt x="77" y="444"/>
                      <a:pt x="74" y="439"/>
                      <a:pt x="74" y="439"/>
                    </a:cubicBezTo>
                    <a:cubicBezTo>
                      <a:pt x="74" y="439"/>
                      <a:pt x="73" y="439"/>
                      <a:pt x="73" y="437"/>
                    </a:cubicBezTo>
                    <a:cubicBezTo>
                      <a:pt x="72" y="435"/>
                      <a:pt x="72" y="433"/>
                      <a:pt x="72" y="433"/>
                    </a:cubicBezTo>
                    <a:cubicBezTo>
                      <a:pt x="72" y="433"/>
                      <a:pt x="72" y="430"/>
                      <a:pt x="72" y="430"/>
                    </a:cubicBezTo>
                    <a:cubicBezTo>
                      <a:pt x="69" y="427"/>
                      <a:pt x="69" y="427"/>
                      <a:pt x="69" y="427"/>
                    </a:cubicBezTo>
                    <a:cubicBezTo>
                      <a:pt x="70" y="423"/>
                      <a:pt x="70" y="423"/>
                      <a:pt x="70" y="423"/>
                    </a:cubicBezTo>
                    <a:cubicBezTo>
                      <a:pt x="70" y="419"/>
                      <a:pt x="70" y="419"/>
                      <a:pt x="70" y="419"/>
                    </a:cubicBezTo>
                    <a:cubicBezTo>
                      <a:pt x="70" y="419"/>
                      <a:pt x="70" y="414"/>
                      <a:pt x="71" y="414"/>
                    </a:cubicBezTo>
                    <a:cubicBezTo>
                      <a:pt x="72" y="414"/>
                      <a:pt x="74" y="411"/>
                      <a:pt x="74" y="411"/>
                    </a:cubicBezTo>
                    <a:cubicBezTo>
                      <a:pt x="74" y="411"/>
                      <a:pt x="76" y="408"/>
                      <a:pt x="75" y="407"/>
                    </a:cubicBezTo>
                    <a:cubicBezTo>
                      <a:pt x="75" y="406"/>
                      <a:pt x="74" y="402"/>
                      <a:pt x="74" y="402"/>
                    </a:cubicBezTo>
                    <a:cubicBezTo>
                      <a:pt x="74" y="402"/>
                      <a:pt x="76" y="399"/>
                      <a:pt x="75" y="399"/>
                    </a:cubicBezTo>
                    <a:cubicBezTo>
                      <a:pt x="75" y="398"/>
                      <a:pt x="73" y="394"/>
                      <a:pt x="73" y="394"/>
                    </a:cubicBezTo>
                    <a:cubicBezTo>
                      <a:pt x="70" y="397"/>
                      <a:pt x="70" y="397"/>
                      <a:pt x="70" y="397"/>
                    </a:cubicBezTo>
                    <a:cubicBezTo>
                      <a:pt x="68" y="396"/>
                      <a:pt x="68" y="396"/>
                      <a:pt x="68" y="396"/>
                    </a:cubicBezTo>
                    <a:cubicBezTo>
                      <a:pt x="69" y="392"/>
                      <a:pt x="69" y="392"/>
                      <a:pt x="69" y="392"/>
                    </a:cubicBezTo>
                    <a:cubicBezTo>
                      <a:pt x="69" y="392"/>
                      <a:pt x="67" y="390"/>
                      <a:pt x="67" y="389"/>
                    </a:cubicBezTo>
                    <a:cubicBezTo>
                      <a:pt x="67" y="388"/>
                      <a:pt x="69" y="386"/>
                      <a:pt x="69" y="386"/>
                    </a:cubicBezTo>
                    <a:cubicBezTo>
                      <a:pt x="69" y="386"/>
                      <a:pt x="71" y="390"/>
                      <a:pt x="71" y="391"/>
                    </a:cubicBezTo>
                    <a:cubicBezTo>
                      <a:pt x="71" y="392"/>
                      <a:pt x="73" y="393"/>
                      <a:pt x="73" y="393"/>
                    </a:cubicBezTo>
                    <a:cubicBezTo>
                      <a:pt x="74" y="392"/>
                      <a:pt x="74" y="390"/>
                      <a:pt x="75" y="390"/>
                    </a:cubicBezTo>
                    <a:cubicBezTo>
                      <a:pt x="76" y="390"/>
                      <a:pt x="77" y="391"/>
                      <a:pt x="77" y="392"/>
                    </a:cubicBezTo>
                    <a:cubicBezTo>
                      <a:pt x="77" y="392"/>
                      <a:pt x="81" y="391"/>
                      <a:pt x="81" y="391"/>
                    </a:cubicBezTo>
                    <a:cubicBezTo>
                      <a:pt x="81" y="391"/>
                      <a:pt x="80" y="390"/>
                      <a:pt x="83" y="390"/>
                    </a:cubicBezTo>
                    <a:cubicBezTo>
                      <a:pt x="86" y="391"/>
                      <a:pt x="86" y="390"/>
                      <a:pt x="86" y="388"/>
                    </a:cubicBezTo>
                    <a:cubicBezTo>
                      <a:pt x="86" y="387"/>
                      <a:pt x="83" y="383"/>
                      <a:pt x="85" y="383"/>
                    </a:cubicBezTo>
                    <a:cubicBezTo>
                      <a:pt x="88" y="383"/>
                      <a:pt x="89" y="384"/>
                      <a:pt x="89" y="384"/>
                    </a:cubicBezTo>
                    <a:cubicBezTo>
                      <a:pt x="89" y="384"/>
                      <a:pt x="89" y="385"/>
                      <a:pt x="89" y="386"/>
                    </a:cubicBezTo>
                    <a:cubicBezTo>
                      <a:pt x="89" y="388"/>
                      <a:pt x="92" y="390"/>
                      <a:pt x="92" y="388"/>
                    </a:cubicBezTo>
                    <a:cubicBezTo>
                      <a:pt x="93" y="386"/>
                      <a:pt x="93" y="387"/>
                      <a:pt x="93" y="385"/>
                    </a:cubicBezTo>
                    <a:cubicBezTo>
                      <a:pt x="93" y="383"/>
                      <a:pt x="91" y="383"/>
                      <a:pt x="90" y="381"/>
                    </a:cubicBezTo>
                    <a:cubicBezTo>
                      <a:pt x="90" y="380"/>
                      <a:pt x="89" y="382"/>
                      <a:pt x="89" y="379"/>
                    </a:cubicBezTo>
                    <a:cubicBezTo>
                      <a:pt x="90" y="376"/>
                      <a:pt x="90" y="375"/>
                      <a:pt x="91" y="375"/>
                    </a:cubicBezTo>
                    <a:cubicBezTo>
                      <a:pt x="93" y="374"/>
                      <a:pt x="91" y="375"/>
                      <a:pt x="93" y="374"/>
                    </a:cubicBezTo>
                    <a:cubicBezTo>
                      <a:pt x="95" y="374"/>
                      <a:pt x="96" y="372"/>
                      <a:pt x="95" y="369"/>
                    </a:cubicBezTo>
                    <a:cubicBezTo>
                      <a:pt x="95" y="367"/>
                      <a:pt x="94" y="366"/>
                      <a:pt x="95" y="365"/>
                    </a:cubicBezTo>
                    <a:cubicBezTo>
                      <a:pt x="97" y="364"/>
                      <a:pt x="96" y="363"/>
                      <a:pt x="98" y="364"/>
                    </a:cubicBezTo>
                    <a:cubicBezTo>
                      <a:pt x="100" y="365"/>
                      <a:pt x="99" y="365"/>
                      <a:pt x="101" y="365"/>
                    </a:cubicBezTo>
                    <a:cubicBezTo>
                      <a:pt x="102" y="364"/>
                      <a:pt x="102" y="359"/>
                      <a:pt x="102" y="359"/>
                    </a:cubicBezTo>
                    <a:cubicBezTo>
                      <a:pt x="101" y="360"/>
                      <a:pt x="99" y="358"/>
                      <a:pt x="99" y="358"/>
                    </a:cubicBezTo>
                    <a:cubicBezTo>
                      <a:pt x="98" y="358"/>
                      <a:pt x="98" y="356"/>
                      <a:pt x="99" y="355"/>
                    </a:cubicBezTo>
                    <a:cubicBezTo>
                      <a:pt x="99" y="355"/>
                      <a:pt x="99" y="353"/>
                      <a:pt x="100" y="353"/>
                    </a:cubicBezTo>
                    <a:cubicBezTo>
                      <a:pt x="102" y="353"/>
                      <a:pt x="102" y="354"/>
                      <a:pt x="104" y="353"/>
                    </a:cubicBezTo>
                    <a:cubicBezTo>
                      <a:pt x="105" y="352"/>
                      <a:pt x="105" y="352"/>
                      <a:pt x="106" y="351"/>
                    </a:cubicBezTo>
                    <a:cubicBezTo>
                      <a:pt x="107" y="350"/>
                      <a:pt x="108" y="350"/>
                      <a:pt x="109" y="348"/>
                    </a:cubicBezTo>
                    <a:cubicBezTo>
                      <a:pt x="109" y="347"/>
                      <a:pt x="110" y="341"/>
                      <a:pt x="110" y="341"/>
                    </a:cubicBezTo>
                    <a:cubicBezTo>
                      <a:pt x="109" y="340"/>
                      <a:pt x="111" y="341"/>
                      <a:pt x="113" y="340"/>
                    </a:cubicBezTo>
                    <a:cubicBezTo>
                      <a:pt x="114" y="339"/>
                      <a:pt x="115" y="333"/>
                      <a:pt x="116" y="332"/>
                    </a:cubicBezTo>
                    <a:cubicBezTo>
                      <a:pt x="117" y="330"/>
                      <a:pt x="120" y="326"/>
                      <a:pt x="120" y="325"/>
                    </a:cubicBezTo>
                    <a:cubicBezTo>
                      <a:pt x="120" y="324"/>
                      <a:pt x="123" y="317"/>
                      <a:pt x="123" y="317"/>
                    </a:cubicBezTo>
                    <a:cubicBezTo>
                      <a:pt x="127" y="310"/>
                      <a:pt x="127" y="310"/>
                      <a:pt x="127" y="310"/>
                    </a:cubicBezTo>
                    <a:cubicBezTo>
                      <a:pt x="127" y="310"/>
                      <a:pt x="127" y="308"/>
                      <a:pt x="126" y="306"/>
                    </a:cubicBezTo>
                    <a:cubicBezTo>
                      <a:pt x="126" y="305"/>
                      <a:pt x="125" y="301"/>
                      <a:pt x="126" y="300"/>
                    </a:cubicBezTo>
                    <a:cubicBezTo>
                      <a:pt x="127" y="300"/>
                      <a:pt x="128" y="297"/>
                      <a:pt x="128" y="297"/>
                    </a:cubicBezTo>
                    <a:cubicBezTo>
                      <a:pt x="128" y="293"/>
                      <a:pt x="128" y="293"/>
                      <a:pt x="128" y="293"/>
                    </a:cubicBezTo>
                    <a:cubicBezTo>
                      <a:pt x="128" y="293"/>
                      <a:pt x="133" y="290"/>
                      <a:pt x="133" y="290"/>
                    </a:cubicBezTo>
                    <a:cubicBezTo>
                      <a:pt x="139" y="289"/>
                      <a:pt x="135" y="286"/>
                      <a:pt x="142" y="289"/>
                    </a:cubicBezTo>
                    <a:cubicBezTo>
                      <a:pt x="142" y="289"/>
                      <a:pt x="146" y="288"/>
                      <a:pt x="145" y="287"/>
                    </a:cubicBezTo>
                    <a:cubicBezTo>
                      <a:pt x="145" y="287"/>
                      <a:pt x="141" y="283"/>
                      <a:pt x="141" y="283"/>
                    </a:cubicBezTo>
                    <a:cubicBezTo>
                      <a:pt x="143" y="280"/>
                      <a:pt x="143" y="280"/>
                      <a:pt x="143" y="280"/>
                    </a:cubicBezTo>
                    <a:cubicBezTo>
                      <a:pt x="143" y="280"/>
                      <a:pt x="146" y="278"/>
                      <a:pt x="143" y="277"/>
                    </a:cubicBezTo>
                    <a:cubicBezTo>
                      <a:pt x="141" y="276"/>
                      <a:pt x="139" y="275"/>
                      <a:pt x="139" y="274"/>
                    </a:cubicBezTo>
                    <a:cubicBezTo>
                      <a:pt x="139" y="274"/>
                      <a:pt x="138" y="270"/>
                      <a:pt x="138" y="269"/>
                    </a:cubicBezTo>
                    <a:cubicBezTo>
                      <a:pt x="138" y="268"/>
                      <a:pt x="137" y="265"/>
                      <a:pt x="137" y="265"/>
                    </a:cubicBezTo>
                    <a:cubicBezTo>
                      <a:pt x="137" y="265"/>
                      <a:pt x="137" y="261"/>
                      <a:pt x="137" y="260"/>
                    </a:cubicBezTo>
                    <a:cubicBezTo>
                      <a:pt x="137" y="259"/>
                      <a:pt x="136" y="256"/>
                      <a:pt x="135" y="255"/>
                    </a:cubicBezTo>
                    <a:cubicBezTo>
                      <a:pt x="134" y="254"/>
                      <a:pt x="130" y="251"/>
                      <a:pt x="130" y="251"/>
                    </a:cubicBezTo>
                    <a:cubicBezTo>
                      <a:pt x="123" y="248"/>
                      <a:pt x="123" y="248"/>
                      <a:pt x="123" y="248"/>
                    </a:cubicBezTo>
                    <a:cubicBezTo>
                      <a:pt x="121" y="250"/>
                      <a:pt x="121" y="250"/>
                      <a:pt x="121" y="250"/>
                    </a:cubicBezTo>
                    <a:cubicBezTo>
                      <a:pt x="116" y="245"/>
                      <a:pt x="116" y="245"/>
                      <a:pt x="116" y="245"/>
                    </a:cubicBezTo>
                    <a:cubicBezTo>
                      <a:pt x="112" y="244"/>
                      <a:pt x="112" y="244"/>
                      <a:pt x="112" y="244"/>
                    </a:cubicBezTo>
                    <a:cubicBezTo>
                      <a:pt x="108" y="244"/>
                      <a:pt x="108" y="244"/>
                      <a:pt x="108" y="244"/>
                    </a:cubicBezTo>
                    <a:cubicBezTo>
                      <a:pt x="101" y="229"/>
                      <a:pt x="101" y="229"/>
                      <a:pt x="101" y="229"/>
                    </a:cubicBezTo>
                    <a:cubicBezTo>
                      <a:pt x="95" y="226"/>
                      <a:pt x="95" y="226"/>
                      <a:pt x="95" y="226"/>
                    </a:cubicBezTo>
                    <a:cubicBezTo>
                      <a:pt x="91" y="222"/>
                      <a:pt x="91" y="222"/>
                      <a:pt x="91" y="222"/>
                    </a:cubicBezTo>
                    <a:cubicBezTo>
                      <a:pt x="91" y="217"/>
                      <a:pt x="91" y="217"/>
                      <a:pt x="91" y="217"/>
                    </a:cubicBezTo>
                    <a:cubicBezTo>
                      <a:pt x="88" y="213"/>
                      <a:pt x="88" y="213"/>
                      <a:pt x="88" y="213"/>
                    </a:cubicBezTo>
                    <a:cubicBezTo>
                      <a:pt x="88" y="213"/>
                      <a:pt x="89" y="210"/>
                      <a:pt x="89" y="209"/>
                    </a:cubicBezTo>
                    <a:cubicBezTo>
                      <a:pt x="90" y="208"/>
                      <a:pt x="92" y="203"/>
                      <a:pt x="92" y="203"/>
                    </a:cubicBezTo>
                    <a:cubicBezTo>
                      <a:pt x="92" y="203"/>
                      <a:pt x="91" y="199"/>
                      <a:pt x="91" y="198"/>
                    </a:cubicBezTo>
                    <a:cubicBezTo>
                      <a:pt x="91" y="197"/>
                      <a:pt x="92" y="192"/>
                      <a:pt x="92" y="192"/>
                    </a:cubicBezTo>
                    <a:cubicBezTo>
                      <a:pt x="91" y="187"/>
                      <a:pt x="91" y="187"/>
                      <a:pt x="91" y="187"/>
                    </a:cubicBezTo>
                    <a:cubicBezTo>
                      <a:pt x="79" y="173"/>
                      <a:pt x="79" y="173"/>
                      <a:pt x="79" y="173"/>
                    </a:cubicBezTo>
                    <a:cubicBezTo>
                      <a:pt x="80" y="167"/>
                      <a:pt x="80" y="167"/>
                      <a:pt x="80" y="167"/>
                    </a:cubicBezTo>
                    <a:cubicBezTo>
                      <a:pt x="79" y="164"/>
                      <a:pt x="79" y="164"/>
                      <a:pt x="79" y="164"/>
                    </a:cubicBezTo>
                    <a:cubicBezTo>
                      <a:pt x="78" y="161"/>
                      <a:pt x="78" y="161"/>
                      <a:pt x="79" y="159"/>
                    </a:cubicBezTo>
                    <a:cubicBezTo>
                      <a:pt x="79" y="158"/>
                      <a:pt x="79" y="158"/>
                      <a:pt x="79" y="158"/>
                    </a:cubicBezTo>
                    <a:cubicBezTo>
                      <a:pt x="75" y="159"/>
                      <a:pt x="75" y="159"/>
                      <a:pt x="75" y="159"/>
                    </a:cubicBezTo>
                    <a:cubicBezTo>
                      <a:pt x="72" y="155"/>
                      <a:pt x="72" y="155"/>
                      <a:pt x="72" y="155"/>
                    </a:cubicBezTo>
                    <a:cubicBezTo>
                      <a:pt x="73" y="150"/>
                      <a:pt x="73" y="150"/>
                      <a:pt x="73" y="150"/>
                    </a:cubicBezTo>
                    <a:cubicBezTo>
                      <a:pt x="71" y="138"/>
                      <a:pt x="71" y="138"/>
                      <a:pt x="71" y="138"/>
                    </a:cubicBezTo>
                    <a:cubicBezTo>
                      <a:pt x="73" y="132"/>
                      <a:pt x="73" y="132"/>
                      <a:pt x="73" y="132"/>
                    </a:cubicBezTo>
                    <a:cubicBezTo>
                      <a:pt x="67" y="129"/>
                      <a:pt x="67" y="129"/>
                      <a:pt x="67" y="129"/>
                    </a:cubicBezTo>
                    <a:cubicBezTo>
                      <a:pt x="63" y="123"/>
                      <a:pt x="63" y="123"/>
                      <a:pt x="63" y="123"/>
                    </a:cubicBezTo>
                    <a:cubicBezTo>
                      <a:pt x="63" y="123"/>
                      <a:pt x="62" y="125"/>
                      <a:pt x="61" y="124"/>
                    </a:cubicBezTo>
                    <a:cubicBezTo>
                      <a:pt x="60" y="123"/>
                      <a:pt x="55" y="115"/>
                      <a:pt x="55" y="115"/>
                    </a:cubicBezTo>
                    <a:cubicBezTo>
                      <a:pt x="46" y="112"/>
                      <a:pt x="46" y="112"/>
                      <a:pt x="46" y="112"/>
                    </a:cubicBezTo>
                    <a:cubicBezTo>
                      <a:pt x="42" y="110"/>
                      <a:pt x="42" y="110"/>
                      <a:pt x="42" y="110"/>
                    </a:cubicBezTo>
                    <a:cubicBezTo>
                      <a:pt x="37" y="109"/>
                      <a:pt x="37" y="109"/>
                      <a:pt x="37" y="109"/>
                    </a:cubicBezTo>
                    <a:cubicBezTo>
                      <a:pt x="37" y="109"/>
                      <a:pt x="36" y="111"/>
                      <a:pt x="35" y="109"/>
                    </a:cubicBezTo>
                    <a:cubicBezTo>
                      <a:pt x="34" y="107"/>
                      <a:pt x="32" y="105"/>
                      <a:pt x="32" y="105"/>
                    </a:cubicBezTo>
                    <a:cubicBezTo>
                      <a:pt x="28" y="106"/>
                      <a:pt x="28" y="106"/>
                      <a:pt x="28" y="106"/>
                    </a:cubicBezTo>
                    <a:cubicBezTo>
                      <a:pt x="25" y="102"/>
                      <a:pt x="25" y="102"/>
                      <a:pt x="25" y="102"/>
                    </a:cubicBezTo>
                    <a:cubicBezTo>
                      <a:pt x="25" y="102"/>
                      <a:pt x="24" y="102"/>
                      <a:pt x="23" y="102"/>
                    </a:cubicBezTo>
                    <a:cubicBezTo>
                      <a:pt x="22" y="101"/>
                      <a:pt x="20" y="100"/>
                      <a:pt x="20" y="100"/>
                    </a:cubicBezTo>
                    <a:close/>
                    <a:moveTo>
                      <a:pt x="142" y="568"/>
                    </a:moveTo>
                    <a:cubicBezTo>
                      <a:pt x="142" y="568"/>
                      <a:pt x="142" y="568"/>
                      <a:pt x="142" y="568"/>
                    </a:cubicBezTo>
                    <a:cubicBezTo>
                      <a:pt x="142" y="568"/>
                      <a:pt x="142" y="569"/>
                      <a:pt x="142" y="570"/>
                    </a:cubicBezTo>
                    <a:cubicBezTo>
                      <a:pt x="142" y="570"/>
                      <a:pt x="143" y="571"/>
                      <a:pt x="144" y="571"/>
                    </a:cubicBezTo>
                    <a:cubicBezTo>
                      <a:pt x="144" y="571"/>
                      <a:pt x="146" y="570"/>
                      <a:pt x="147" y="569"/>
                    </a:cubicBezTo>
                    <a:cubicBezTo>
                      <a:pt x="149" y="568"/>
                      <a:pt x="147" y="569"/>
                      <a:pt x="147" y="569"/>
                    </a:cubicBezTo>
                    <a:cubicBezTo>
                      <a:pt x="145" y="567"/>
                      <a:pt x="145" y="567"/>
                      <a:pt x="145" y="567"/>
                    </a:cubicBezTo>
                    <a:cubicBezTo>
                      <a:pt x="145" y="567"/>
                      <a:pt x="143" y="568"/>
                      <a:pt x="142" y="568"/>
                    </a:cubicBezTo>
                    <a:close/>
                    <a:moveTo>
                      <a:pt x="129" y="568"/>
                    </a:moveTo>
                    <a:cubicBezTo>
                      <a:pt x="129" y="568"/>
                      <a:pt x="129" y="568"/>
                      <a:pt x="129" y="568"/>
                    </a:cubicBezTo>
                    <a:cubicBezTo>
                      <a:pt x="129" y="568"/>
                      <a:pt x="129" y="570"/>
                      <a:pt x="129" y="570"/>
                    </a:cubicBezTo>
                    <a:cubicBezTo>
                      <a:pt x="129" y="571"/>
                      <a:pt x="130" y="571"/>
                      <a:pt x="131" y="570"/>
                    </a:cubicBezTo>
                    <a:cubicBezTo>
                      <a:pt x="131" y="570"/>
                      <a:pt x="132" y="570"/>
                      <a:pt x="133" y="569"/>
                    </a:cubicBezTo>
                    <a:cubicBezTo>
                      <a:pt x="134" y="568"/>
                      <a:pt x="133" y="567"/>
                      <a:pt x="132" y="567"/>
                    </a:cubicBezTo>
                    <a:cubicBezTo>
                      <a:pt x="132" y="566"/>
                      <a:pt x="131" y="567"/>
                      <a:pt x="131" y="567"/>
                    </a:cubicBezTo>
                    <a:cubicBezTo>
                      <a:pt x="130" y="567"/>
                      <a:pt x="129" y="568"/>
                      <a:pt x="129" y="568"/>
                    </a:cubicBezTo>
                    <a:close/>
                    <a:moveTo>
                      <a:pt x="105" y="556"/>
                    </a:moveTo>
                    <a:cubicBezTo>
                      <a:pt x="105" y="556"/>
                      <a:pt x="105" y="556"/>
                      <a:pt x="105" y="556"/>
                    </a:cubicBezTo>
                    <a:cubicBezTo>
                      <a:pt x="104" y="557"/>
                      <a:pt x="104" y="557"/>
                      <a:pt x="104" y="557"/>
                    </a:cubicBezTo>
                    <a:cubicBezTo>
                      <a:pt x="104" y="557"/>
                      <a:pt x="103" y="558"/>
                      <a:pt x="104" y="559"/>
                    </a:cubicBezTo>
                    <a:cubicBezTo>
                      <a:pt x="104" y="561"/>
                      <a:pt x="105" y="561"/>
                      <a:pt x="105" y="561"/>
                    </a:cubicBezTo>
                    <a:cubicBezTo>
                      <a:pt x="105" y="561"/>
                      <a:pt x="106" y="560"/>
                      <a:pt x="108" y="560"/>
                    </a:cubicBezTo>
                    <a:cubicBezTo>
                      <a:pt x="109" y="560"/>
                      <a:pt x="111" y="558"/>
                      <a:pt x="111" y="557"/>
                    </a:cubicBezTo>
                    <a:cubicBezTo>
                      <a:pt x="112" y="557"/>
                      <a:pt x="112" y="555"/>
                      <a:pt x="113" y="555"/>
                    </a:cubicBezTo>
                    <a:cubicBezTo>
                      <a:pt x="114" y="555"/>
                      <a:pt x="117" y="556"/>
                      <a:pt x="118" y="556"/>
                    </a:cubicBezTo>
                    <a:cubicBezTo>
                      <a:pt x="119" y="556"/>
                      <a:pt x="117" y="553"/>
                      <a:pt x="117" y="553"/>
                    </a:cubicBezTo>
                    <a:cubicBezTo>
                      <a:pt x="117" y="552"/>
                      <a:pt x="114" y="553"/>
                      <a:pt x="114" y="553"/>
                    </a:cubicBezTo>
                    <a:cubicBezTo>
                      <a:pt x="114" y="553"/>
                      <a:pt x="112" y="553"/>
                      <a:pt x="111" y="552"/>
                    </a:cubicBezTo>
                    <a:cubicBezTo>
                      <a:pt x="110" y="552"/>
                      <a:pt x="110" y="552"/>
                      <a:pt x="110" y="552"/>
                    </a:cubicBezTo>
                    <a:cubicBezTo>
                      <a:pt x="109" y="553"/>
                      <a:pt x="109" y="554"/>
                      <a:pt x="108" y="555"/>
                    </a:cubicBezTo>
                    <a:cubicBezTo>
                      <a:pt x="107" y="556"/>
                      <a:pt x="107" y="555"/>
                      <a:pt x="107" y="554"/>
                    </a:cubicBezTo>
                    <a:cubicBezTo>
                      <a:pt x="107" y="554"/>
                      <a:pt x="105" y="553"/>
                      <a:pt x="104" y="554"/>
                    </a:cubicBezTo>
                    <a:cubicBezTo>
                      <a:pt x="104" y="554"/>
                      <a:pt x="105" y="555"/>
                      <a:pt x="105" y="556"/>
                    </a:cubicBezTo>
                    <a:close/>
                    <a:moveTo>
                      <a:pt x="97" y="556"/>
                    </a:moveTo>
                    <a:cubicBezTo>
                      <a:pt x="97" y="556"/>
                      <a:pt x="97" y="556"/>
                      <a:pt x="97" y="556"/>
                    </a:cubicBezTo>
                    <a:cubicBezTo>
                      <a:pt x="97" y="556"/>
                      <a:pt x="99" y="557"/>
                      <a:pt x="101" y="557"/>
                    </a:cubicBezTo>
                    <a:cubicBezTo>
                      <a:pt x="102" y="557"/>
                      <a:pt x="101" y="556"/>
                      <a:pt x="102" y="555"/>
                    </a:cubicBezTo>
                    <a:cubicBezTo>
                      <a:pt x="102" y="554"/>
                      <a:pt x="101" y="555"/>
                      <a:pt x="100" y="554"/>
                    </a:cubicBezTo>
                    <a:cubicBezTo>
                      <a:pt x="99" y="554"/>
                      <a:pt x="99" y="554"/>
                      <a:pt x="98" y="554"/>
                    </a:cubicBezTo>
                    <a:cubicBezTo>
                      <a:pt x="96" y="554"/>
                      <a:pt x="97" y="556"/>
                      <a:pt x="97" y="556"/>
                    </a:cubicBezTo>
                    <a:close/>
                    <a:moveTo>
                      <a:pt x="88" y="545"/>
                    </a:moveTo>
                    <a:cubicBezTo>
                      <a:pt x="88" y="545"/>
                      <a:pt x="88" y="545"/>
                      <a:pt x="88" y="545"/>
                    </a:cubicBezTo>
                    <a:cubicBezTo>
                      <a:pt x="87" y="550"/>
                      <a:pt x="92" y="547"/>
                      <a:pt x="92" y="544"/>
                    </a:cubicBezTo>
                    <a:cubicBezTo>
                      <a:pt x="91" y="542"/>
                      <a:pt x="92" y="542"/>
                      <a:pt x="90" y="540"/>
                    </a:cubicBezTo>
                    <a:cubicBezTo>
                      <a:pt x="89" y="537"/>
                      <a:pt x="89" y="540"/>
                      <a:pt x="88" y="541"/>
                    </a:cubicBezTo>
                    <a:cubicBezTo>
                      <a:pt x="87" y="543"/>
                      <a:pt x="89" y="543"/>
                      <a:pt x="89" y="544"/>
                    </a:cubicBezTo>
                    <a:cubicBezTo>
                      <a:pt x="89" y="545"/>
                      <a:pt x="88" y="544"/>
                      <a:pt x="88" y="545"/>
                    </a:cubicBezTo>
                    <a:close/>
                    <a:moveTo>
                      <a:pt x="80" y="557"/>
                    </a:moveTo>
                    <a:cubicBezTo>
                      <a:pt x="80" y="557"/>
                      <a:pt x="80" y="557"/>
                      <a:pt x="80" y="557"/>
                    </a:cubicBezTo>
                    <a:cubicBezTo>
                      <a:pt x="80" y="557"/>
                      <a:pt x="79" y="558"/>
                      <a:pt x="80" y="560"/>
                    </a:cubicBezTo>
                    <a:cubicBezTo>
                      <a:pt x="80" y="561"/>
                      <a:pt x="80" y="560"/>
                      <a:pt x="83" y="558"/>
                    </a:cubicBezTo>
                    <a:cubicBezTo>
                      <a:pt x="85" y="556"/>
                      <a:pt x="82" y="557"/>
                      <a:pt x="82" y="557"/>
                    </a:cubicBezTo>
                    <a:cubicBezTo>
                      <a:pt x="82" y="556"/>
                      <a:pt x="81" y="557"/>
                      <a:pt x="80" y="557"/>
                    </a:cubicBezTo>
                    <a:close/>
                    <a:moveTo>
                      <a:pt x="80" y="563"/>
                    </a:moveTo>
                    <a:cubicBezTo>
                      <a:pt x="80" y="563"/>
                      <a:pt x="80" y="563"/>
                      <a:pt x="80" y="563"/>
                    </a:cubicBezTo>
                    <a:cubicBezTo>
                      <a:pt x="80" y="563"/>
                      <a:pt x="80" y="565"/>
                      <a:pt x="81" y="565"/>
                    </a:cubicBezTo>
                    <a:cubicBezTo>
                      <a:pt x="82" y="565"/>
                      <a:pt x="82" y="564"/>
                      <a:pt x="83" y="563"/>
                    </a:cubicBezTo>
                    <a:cubicBezTo>
                      <a:pt x="83" y="562"/>
                      <a:pt x="82" y="562"/>
                      <a:pt x="82" y="561"/>
                    </a:cubicBezTo>
                    <a:cubicBezTo>
                      <a:pt x="81" y="561"/>
                      <a:pt x="80" y="562"/>
                      <a:pt x="80" y="563"/>
                    </a:cubicBezTo>
                    <a:close/>
                    <a:moveTo>
                      <a:pt x="77" y="568"/>
                    </a:moveTo>
                    <a:cubicBezTo>
                      <a:pt x="77" y="568"/>
                      <a:pt x="77" y="568"/>
                      <a:pt x="77" y="568"/>
                    </a:cubicBezTo>
                    <a:cubicBezTo>
                      <a:pt x="75" y="568"/>
                      <a:pt x="75" y="568"/>
                      <a:pt x="75" y="568"/>
                    </a:cubicBezTo>
                    <a:cubicBezTo>
                      <a:pt x="75" y="568"/>
                      <a:pt x="75" y="568"/>
                      <a:pt x="72" y="570"/>
                    </a:cubicBezTo>
                    <a:cubicBezTo>
                      <a:pt x="69" y="571"/>
                      <a:pt x="71" y="572"/>
                      <a:pt x="71" y="573"/>
                    </a:cubicBezTo>
                    <a:cubicBezTo>
                      <a:pt x="71" y="575"/>
                      <a:pt x="74" y="573"/>
                      <a:pt x="76" y="572"/>
                    </a:cubicBezTo>
                    <a:cubicBezTo>
                      <a:pt x="77" y="572"/>
                      <a:pt x="76" y="571"/>
                      <a:pt x="77" y="571"/>
                    </a:cubicBezTo>
                    <a:cubicBezTo>
                      <a:pt x="77" y="571"/>
                      <a:pt x="77" y="571"/>
                      <a:pt x="79" y="570"/>
                    </a:cubicBezTo>
                    <a:cubicBezTo>
                      <a:pt x="81" y="569"/>
                      <a:pt x="80" y="569"/>
                      <a:pt x="80" y="568"/>
                    </a:cubicBezTo>
                    <a:cubicBezTo>
                      <a:pt x="80" y="568"/>
                      <a:pt x="78" y="567"/>
                      <a:pt x="77" y="568"/>
                    </a:cubicBezTo>
                    <a:close/>
                    <a:moveTo>
                      <a:pt x="51" y="573"/>
                    </a:moveTo>
                    <a:cubicBezTo>
                      <a:pt x="51" y="573"/>
                      <a:pt x="51" y="573"/>
                      <a:pt x="51" y="573"/>
                    </a:cubicBezTo>
                    <a:cubicBezTo>
                      <a:pt x="52" y="573"/>
                      <a:pt x="53" y="572"/>
                      <a:pt x="54" y="573"/>
                    </a:cubicBezTo>
                    <a:cubicBezTo>
                      <a:pt x="55" y="574"/>
                      <a:pt x="54" y="576"/>
                      <a:pt x="54" y="576"/>
                    </a:cubicBezTo>
                    <a:cubicBezTo>
                      <a:pt x="53" y="577"/>
                      <a:pt x="52" y="578"/>
                      <a:pt x="51" y="578"/>
                    </a:cubicBezTo>
                    <a:cubicBezTo>
                      <a:pt x="50" y="578"/>
                      <a:pt x="49" y="578"/>
                      <a:pt x="48" y="577"/>
                    </a:cubicBezTo>
                    <a:cubicBezTo>
                      <a:pt x="48" y="576"/>
                      <a:pt x="48" y="573"/>
                      <a:pt x="48" y="573"/>
                    </a:cubicBezTo>
                    <a:cubicBezTo>
                      <a:pt x="49" y="573"/>
                      <a:pt x="51" y="573"/>
                      <a:pt x="51" y="573"/>
                    </a:cubicBezTo>
                    <a:close/>
                    <a:moveTo>
                      <a:pt x="59" y="558"/>
                    </a:moveTo>
                    <a:cubicBezTo>
                      <a:pt x="59" y="558"/>
                      <a:pt x="59" y="558"/>
                      <a:pt x="59" y="558"/>
                    </a:cubicBezTo>
                    <a:cubicBezTo>
                      <a:pt x="59" y="558"/>
                      <a:pt x="59" y="558"/>
                      <a:pt x="59" y="558"/>
                    </a:cubicBezTo>
                    <a:cubicBezTo>
                      <a:pt x="59" y="558"/>
                      <a:pt x="59" y="560"/>
                      <a:pt x="58" y="560"/>
                    </a:cubicBezTo>
                    <a:cubicBezTo>
                      <a:pt x="56" y="561"/>
                      <a:pt x="57" y="558"/>
                      <a:pt x="57" y="557"/>
                    </a:cubicBezTo>
                    <a:cubicBezTo>
                      <a:pt x="57" y="556"/>
                      <a:pt x="53" y="558"/>
                      <a:pt x="53" y="558"/>
                    </a:cubicBezTo>
                    <a:cubicBezTo>
                      <a:pt x="53" y="558"/>
                      <a:pt x="53" y="561"/>
                      <a:pt x="52" y="562"/>
                    </a:cubicBezTo>
                    <a:cubicBezTo>
                      <a:pt x="51" y="562"/>
                      <a:pt x="51" y="562"/>
                      <a:pt x="50" y="563"/>
                    </a:cubicBezTo>
                    <a:cubicBezTo>
                      <a:pt x="49" y="564"/>
                      <a:pt x="49" y="566"/>
                      <a:pt x="49" y="566"/>
                    </a:cubicBezTo>
                    <a:cubicBezTo>
                      <a:pt x="50" y="567"/>
                      <a:pt x="52" y="567"/>
                      <a:pt x="52" y="567"/>
                    </a:cubicBezTo>
                    <a:cubicBezTo>
                      <a:pt x="53" y="567"/>
                      <a:pt x="53" y="567"/>
                      <a:pt x="56" y="569"/>
                    </a:cubicBezTo>
                    <a:cubicBezTo>
                      <a:pt x="60" y="570"/>
                      <a:pt x="57" y="569"/>
                      <a:pt x="60" y="569"/>
                    </a:cubicBezTo>
                    <a:cubicBezTo>
                      <a:pt x="62" y="569"/>
                      <a:pt x="61" y="570"/>
                      <a:pt x="62" y="570"/>
                    </a:cubicBezTo>
                    <a:cubicBezTo>
                      <a:pt x="63" y="570"/>
                      <a:pt x="64" y="572"/>
                      <a:pt x="65" y="573"/>
                    </a:cubicBezTo>
                    <a:cubicBezTo>
                      <a:pt x="67" y="574"/>
                      <a:pt x="68" y="572"/>
                      <a:pt x="69" y="572"/>
                    </a:cubicBezTo>
                    <a:cubicBezTo>
                      <a:pt x="69" y="571"/>
                      <a:pt x="71" y="568"/>
                      <a:pt x="71" y="568"/>
                    </a:cubicBezTo>
                    <a:cubicBezTo>
                      <a:pt x="71" y="568"/>
                      <a:pt x="65" y="566"/>
                      <a:pt x="65" y="566"/>
                    </a:cubicBezTo>
                    <a:cubicBezTo>
                      <a:pt x="64" y="566"/>
                      <a:pt x="63" y="563"/>
                      <a:pt x="65" y="563"/>
                    </a:cubicBezTo>
                    <a:cubicBezTo>
                      <a:pt x="66" y="563"/>
                      <a:pt x="66" y="564"/>
                      <a:pt x="67" y="565"/>
                    </a:cubicBezTo>
                    <a:cubicBezTo>
                      <a:pt x="67" y="566"/>
                      <a:pt x="68" y="566"/>
                      <a:pt x="69" y="566"/>
                    </a:cubicBezTo>
                    <a:cubicBezTo>
                      <a:pt x="70" y="566"/>
                      <a:pt x="71" y="565"/>
                      <a:pt x="71" y="564"/>
                    </a:cubicBezTo>
                    <a:cubicBezTo>
                      <a:pt x="71" y="563"/>
                      <a:pt x="70" y="564"/>
                      <a:pt x="68" y="561"/>
                    </a:cubicBezTo>
                    <a:cubicBezTo>
                      <a:pt x="65" y="558"/>
                      <a:pt x="68" y="559"/>
                      <a:pt x="69" y="559"/>
                    </a:cubicBezTo>
                    <a:cubicBezTo>
                      <a:pt x="69" y="558"/>
                      <a:pt x="71" y="556"/>
                      <a:pt x="71" y="556"/>
                    </a:cubicBezTo>
                    <a:cubicBezTo>
                      <a:pt x="72" y="555"/>
                      <a:pt x="69" y="555"/>
                      <a:pt x="68" y="554"/>
                    </a:cubicBezTo>
                    <a:cubicBezTo>
                      <a:pt x="67" y="554"/>
                      <a:pt x="67" y="554"/>
                      <a:pt x="67" y="554"/>
                    </a:cubicBezTo>
                    <a:cubicBezTo>
                      <a:pt x="67" y="555"/>
                      <a:pt x="64" y="554"/>
                      <a:pt x="63" y="553"/>
                    </a:cubicBezTo>
                    <a:cubicBezTo>
                      <a:pt x="63" y="553"/>
                      <a:pt x="63" y="551"/>
                      <a:pt x="62" y="550"/>
                    </a:cubicBezTo>
                    <a:cubicBezTo>
                      <a:pt x="62" y="550"/>
                      <a:pt x="60" y="550"/>
                      <a:pt x="58" y="550"/>
                    </a:cubicBezTo>
                    <a:cubicBezTo>
                      <a:pt x="56" y="550"/>
                      <a:pt x="57" y="553"/>
                      <a:pt x="57" y="553"/>
                    </a:cubicBezTo>
                    <a:cubicBezTo>
                      <a:pt x="57" y="553"/>
                      <a:pt x="58" y="555"/>
                      <a:pt x="59" y="556"/>
                    </a:cubicBezTo>
                    <a:cubicBezTo>
                      <a:pt x="59" y="556"/>
                      <a:pt x="59" y="558"/>
                      <a:pt x="59" y="558"/>
                    </a:cubicBezTo>
                    <a:close/>
                  </a:path>
                </a:pathLst>
              </a:custGeom>
              <a:grpFill/>
              <a:ln w="3175" cap="rnd">
                <a:solidFill>
                  <a:schemeClr val="bg1"/>
                </a:solidFill>
              </a:ln>
            </p:spPr>
            <p:txBody>
              <a:bodyPr/>
              <a:lstStyle/>
              <a:p>
                <a:pPr defTabSz="1219170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1800" dirty="0">
                  <a:latin typeface="+mn-lt"/>
                </a:endParaRPr>
              </a:p>
            </p:txBody>
          </p:sp>
        </p:grpSp>
        <p:grpSp>
          <p:nvGrpSpPr>
            <p:cNvPr id="678" name="Gruppo 677">
              <a:extLst>
                <a:ext uri="{FF2B5EF4-FFF2-40B4-BE49-F238E27FC236}">
                  <a16:creationId xmlns:a16="http://schemas.microsoft.com/office/drawing/2014/main" id="{223C854E-6991-E08E-E27C-937CFA16600E}"/>
                </a:ext>
              </a:extLst>
            </p:cNvPr>
            <p:cNvGrpSpPr/>
            <p:nvPr/>
          </p:nvGrpSpPr>
          <p:grpSpPr>
            <a:xfrm>
              <a:off x="649688" y="1834388"/>
              <a:ext cx="4715156" cy="3180247"/>
              <a:chOff x="311299" y="2547381"/>
              <a:chExt cx="5053130" cy="3408201"/>
            </a:xfrm>
          </p:grpSpPr>
          <p:sp>
            <p:nvSpPr>
              <p:cNvPr id="679" name="object 2">
                <a:extLst>
                  <a:ext uri="{FF2B5EF4-FFF2-40B4-BE49-F238E27FC236}">
                    <a16:creationId xmlns:a16="http://schemas.microsoft.com/office/drawing/2014/main" id="{A8075B23-703D-DE5A-D7FD-FC953A7F9BD3}"/>
                  </a:ext>
                </a:extLst>
              </p:cNvPr>
              <p:cNvSpPr txBox="1"/>
              <p:nvPr/>
            </p:nvSpPr>
            <p:spPr>
              <a:xfrm>
                <a:off x="311299" y="3795982"/>
                <a:ext cx="1308229" cy="144453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b="1" spc="60" dirty="0">
                    <a:solidFill>
                      <a:srgbClr val="58595B"/>
                    </a:solidFill>
                    <a:cs typeface="Calibri"/>
                  </a:rPr>
                  <a:t>United</a:t>
                </a:r>
                <a:r>
                  <a:rPr sz="700" b="1" spc="75" dirty="0">
                    <a:solidFill>
                      <a:srgbClr val="58595B"/>
                    </a:solidFill>
                    <a:cs typeface="Calibri"/>
                  </a:rPr>
                  <a:t> </a:t>
                </a:r>
                <a:r>
                  <a:rPr sz="700" b="1" spc="90" dirty="0">
                    <a:solidFill>
                      <a:srgbClr val="58595B"/>
                    </a:solidFill>
                    <a:cs typeface="Calibri"/>
                  </a:rPr>
                  <a:t>Kingdom</a:t>
                </a:r>
                <a:endParaRPr sz="700" dirty="0">
                  <a:cs typeface="Calibri"/>
                </a:endParaRPr>
              </a:p>
            </p:txBody>
          </p:sp>
          <p:grpSp>
            <p:nvGrpSpPr>
              <p:cNvPr id="680" name="object 3">
                <a:extLst>
                  <a:ext uri="{FF2B5EF4-FFF2-40B4-BE49-F238E27FC236}">
                    <a16:creationId xmlns:a16="http://schemas.microsoft.com/office/drawing/2014/main" id="{32709688-4442-FB7F-DE51-B45F10C236B1}"/>
                  </a:ext>
                </a:extLst>
              </p:cNvPr>
              <p:cNvGrpSpPr/>
              <p:nvPr/>
            </p:nvGrpSpPr>
            <p:grpSpPr>
              <a:xfrm>
                <a:off x="1312150" y="3894836"/>
                <a:ext cx="815975" cy="12700"/>
                <a:chOff x="1312150" y="3894836"/>
                <a:chExt cx="815975" cy="12700"/>
              </a:xfrm>
            </p:grpSpPr>
            <p:sp>
              <p:nvSpPr>
                <p:cNvPr id="713" name="object 4">
                  <a:extLst>
                    <a:ext uri="{FF2B5EF4-FFF2-40B4-BE49-F238E27FC236}">
                      <a16:creationId xmlns:a16="http://schemas.microsoft.com/office/drawing/2014/main" id="{FD687C2A-D7AB-5C83-F3D6-97C57628FA13}"/>
                    </a:ext>
                  </a:extLst>
                </p:cNvPr>
                <p:cNvSpPr/>
                <p:nvPr/>
              </p:nvSpPr>
              <p:spPr>
                <a:xfrm>
                  <a:off x="1356735" y="3901186"/>
                  <a:ext cx="746125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46125">
                      <a:moveTo>
                        <a:pt x="0" y="0"/>
                      </a:moveTo>
                      <a:lnTo>
                        <a:pt x="745617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714" name="object 5">
                  <a:extLst>
                    <a:ext uri="{FF2B5EF4-FFF2-40B4-BE49-F238E27FC236}">
                      <a16:creationId xmlns:a16="http://schemas.microsoft.com/office/drawing/2014/main" id="{BDF7E7CE-5911-3665-A642-FFCE990F515D}"/>
                    </a:ext>
                  </a:extLst>
                </p:cNvPr>
                <p:cNvSpPr/>
                <p:nvPr/>
              </p:nvSpPr>
              <p:spPr>
                <a:xfrm>
                  <a:off x="1312138" y="3894836"/>
                  <a:ext cx="815975" cy="127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5975" h="12700">
                      <a:moveTo>
                        <a:pt x="12700" y="6350"/>
                      </a:moveTo>
                      <a:lnTo>
                        <a:pt x="10845" y="1866"/>
                      </a:lnTo>
                      <a:lnTo>
                        <a:pt x="6350" y="0"/>
                      </a:lnTo>
                      <a:lnTo>
                        <a:pt x="1866" y="1866"/>
                      </a:lnTo>
                      <a:lnTo>
                        <a:pt x="0" y="6350"/>
                      </a:lnTo>
                      <a:lnTo>
                        <a:pt x="1866" y="10845"/>
                      </a:lnTo>
                      <a:lnTo>
                        <a:pt x="6350" y="12700"/>
                      </a:lnTo>
                      <a:lnTo>
                        <a:pt x="10845" y="10845"/>
                      </a:lnTo>
                      <a:lnTo>
                        <a:pt x="12700" y="6350"/>
                      </a:lnTo>
                      <a:close/>
                    </a:path>
                    <a:path w="815975" h="12700">
                      <a:moveTo>
                        <a:pt x="815670" y="6350"/>
                      </a:moveTo>
                      <a:lnTo>
                        <a:pt x="813816" y="1866"/>
                      </a:lnTo>
                      <a:lnTo>
                        <a:pt x="809320" y="0"/>
                      </a:lnTo>
                      <a:lnTo>
                        <a:pt x="804837" y="1866"/>
                      </a:lnTo>
                      <a:lnTo>
                        <a:pt x="802970" y="6350"/>
                      </a:lnTo>
                      <a:lnTo>
                        <a:pt x="804837" y="10845"/>
                      </a:lnTo>
                      <a:lnTo>
                        <a:pt x="809320" y="12700"/>
                      </a:lnTo>
                      <a:lnTo>
                        <a:pt x="813816" y="10845"/>
                      </a:lnTo>
                      <a:lnTo>
                        <a:pt x="815670" y="6350"/>
                      </a:lnTo>
                      <a:close/>
                    </a:path>
                  </a:pathLst>
                </a:custGeom>
                <a:solidFill>
                  <a:srgbClr val="6D6E71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</p:grpSp>
          <p:grpSp>
            <p:nvGrpSpPr>
              <p:cNvPr id="681" name="object 6">
                <a:extLst>
                  <a:ext uri="{FF2B5EF4-FFF2-40B4-BE49-F238E27FC236}">
                    <a16:creationId xmlns:a16="http://schemas.microsoft.com/office/drawing/2014/main" id="{C09FF5EE-566A-66DE-59DE-AFDB09EEFD05}"/>
                  </a:ext>
                </a:extLst>
              </p:cNvPr>
              <p:cNvGrpSpPr/>
              <p:nvPr/>
            </p:nvGrpSpPr>
            <p:grpSpPr>
              <a:xfrm>
                <a:off x="3942202" y="4549933"/>
                <a:ext cx="444500" cy="12700"/>
                <a:chOff x="3942202" y="4549933"/>
                <a:chExt cx="444500" cy="12700"/>
              </a:xfrm>
            </p:grpSpPr>
            <p:sp>
              <p:nvSpPr>
                <p:cNvPr id="711" name="object 7">
                  <a:extLst>
                    <a:ext uri="{FF2B5EF4-FFF2-40B4-BE49-F238E27FC236}">
                      <a16:creationId xmlns:a16="http://schemas.microsoft.com/office/drawing/2014/main" id="{6F0560D0-72C6-5C98-46A1-86467B16770D}"/>
                    </a:ext>
                  </a:extLst>
                </p:cNvPr>
                <p:cNvSpPr/>
                <p:nvPr/>
              </p:nvSpPr>
              <p:spPr>
                <a:xfrm>
                  <a:off x="3968150" y="4556283"/>
                  <a:ext cx="372745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2745">
                      <a:moveTo>
                        <a:pt x="372427" y="0"/>
                      </a:moveTo>
                      <a:lnTo>
                        <a:pt x="0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712" name="object 8">
                  <a:extLst>
                    <a:ext uri="{FF2B5EF4-FFF2-40B4-BE49-F238E27FC236}">
                      <a16:creationId xmlns:a16="http://schemas.microsoft.com/office/drawing/2014/main" id="{CB4D9BDA-6416-CA3E-BA4B-8862DBFE501F}"/>
                    </a:ext>
                  </a:extLst>
                </p:cNvPr>
                <p:cNvSpPr/>
                <p:nvPr/>
              </p:nvSpPr>
              <p:spPr>
                <a:xfrm>
                  <a:off x="3942194" y="4549940"/>
                  <a:ext cx="444500" cy="127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44500" h="12700">
                      <a:moveTo>
                        <a:pt x="12700" y="6350"/>
                      </a:moveTo>
                      <a:lnTo>
                        <a:pt x="10845" y="1854"/>
                      </a:lnTo>
                      <a:lnTo>
                        <a:pt x="6350" y="0"/>
                      </a:lnTo>
                      <a:lnTo>
                        <a:pt x="1866" y="1854"/>
                      </a:lnTo>
                      <a:lnTo>
                        <a:pt x="0" y="6350"/>
                      </a:lnTo>
                      <a:lnTo>
                        <a:pt x="1866" y="10845"/>
                      </a:lnTo>
                      <a:lnTo>
                        <a:pt x="6350" y="12700"/>
                      </a:lnTo>
                      <a:lnTo>
                        <a:pt x="10845" y="10845"/>
                      </a:lnTo>
                      <a:lnTo>
                        <a:pt x="12700" y="6350"/>
                      </a:lnTo>
                      <a:close/>
                    </a:path>
                    <a:path w="444500" h="12700">
                      <a:moveTo>
                        <a:pt x="443928" y="6350"/>
                      </a:moveTo>
                      <a:lnTo>
                        <a:pt x="442074" y="1854"/>
                      </a:lnTo>
                      <a:lnTo>
                        <a:pt x="437578" y="0"/>
                      </a:lnTo>
                      <a:lnTo>
                        <a:pt x="433095" y="1854"/>
                      </a:lnTo>
                      <a:lnTo>
                        <a:pt x="431228" y="6350"/>
                      </a:lnTo>
                      <a:lnTo>
                        <a:pt x="433095" y="10845"/>
                      </a:lnTo>
                      <a:lnTo>
                        <a:pt x="437578" y="12700"/>
                      </a:lnTo>
                      <a:lnTo>
                        <a:pt x="442074" y="10845"/>
                      </a:lnTo>
                      <a:lnTo>
                        <a:pt x="443928" y="6350"/>
                      </a:lnTo>
                      <a:close/>
                    </a:path>
                  </a:pathLst>
                </a:custGeom>
                <a:solidFill>
                  <a:srgbClr val="6D6E71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</p:grpSp>
          <p:grpSp>
            <p:nvGrpSpPr>
              <p:cNvPr id="682" name="object 9">
                <a:extLst>
                  <a:ext uri="{FF2B5EF4-FFF2-40B4-BE49-F238E27FC236}">
                    <a16:creationId xmlns:a16="http://schemas.microsoft.com/office/drawing/2014/main" id="{C2338DC7-34F1-BE3A-80CB-AC5A871D3066}"/>
                  </a:ext>
                </a:extLst>
              </p:cNvPr>
              <p:cNvGrpSpPr/>
              <p:nvPr/>
            </p:nvGrpSpPr>
            <p:grpSpPr>
              <a:xfrm>
                <a:off x="3744004" y="5204649"/>
                <a:ext cx="396875" cy="12700"/>
                <a:chOff x="3744004" y="5204649"/>
                <a:chExt cx="396875" cy="12700"/>
              </a:xfrm>
            </p:grpSpPr>
            <p:sp>
              <p:nvSpPr>
                <p:cNvPr id="709" name="object 10">
                  <a:extLst>
                    <a:ext uri="{FF2B5EF4-FFF2-40B4-BE49-F238E27FC236}">
                      <a16:creationId xmlns:a16="http://schemas.microsoft.com/office/drawing/2014/main" id="{04D570D5-857C-1848-0AF7-BFAA516D201B}"/>
                    </a:ext>
                  </a:extLst>
                </p:cNvPr>
                <p:cNvSpPr/>
                <p:nvPr/>
              </p:nvSpPr>
              <p:spPr>
                <a:xfrm>
                  <a:off x="3769539" y="5210999"/>
                  <a:ext cx="32639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26389">
                      <a:moveTo>
                        <a:pt x="326148" y="0"/>
                      </a:moveTo>
                      <a:lnTo>
                        <a:pt x="0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710" name="object 11">
                  <a:extLst>
                    <a:ext uri="{FF2B5EF4-FFF2-40B4-BE49-F238E27FC236}">
                      <a16:creationId xmlns:a16="http://schemas.microsoft.com/office/drawing/2014/main" id="{4ECA5017-D37B-2D0D-1648-005DD427B667}"/>
                    </a:ext>
                  </a:extLst>
                </p:cNvPr>
                <p:cNvSpPr/>
                <p:nvPr/>
              </p:nvSpPr>
              <p:spPr>
                <a:xfrm>
                  <a:off x="3743998" y="5204650"/>
                  <a:ext cx="396875" cy="127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96875" h="12700">
                      <a:moveTo>
                        <a:pt x="12700" y="6350"/>
                      </a:moveTo>
                      <a:lnTo>
                        <a:pt x="10845" y="1866"/>
                      </a:lnTo>
                      <a:lnTo>
                        <a:pt x="6350" y="0"/>
                      </a:lnTo>
                      <a:lnTo>
                        <a:pt x="1854" y="1866"/>
                      </a:lnTo>
                      <a:lnTo>
                        <a:pt x="0" y="6350"/>
                      </a:lnTo>
                      <a:lnTo>
                        <a:pt x="1854" y="10845"/>
                      </a:lnTo>
                      <a:lnTo>
                        <a:pt x="6350" y="12700"/>
                      </a:lnTo>
                      <a:lnTo>
                        <a:pt x="10845" y="10845"/>
                      </a:lnTo>
                      <a:lnTo>
                        <a:pt x="12700" y="6350"/>
                      </a:lnTo>
                      <a:close/>
                    </a:path>
                    <a:path w="396875" h="12700">
                      <a:moveTo>
                        <a:pt x="396405" y="6350"/>
                      </a:moveTo>
                      <a:lnTo>
                        <a:pt x="394550" y="1866"/>
                      </a:lnTo>
                      <a:lnTo>
                        <a:pt x="390055" y="0"/>
                      </a:lnTo>
                      <a:lnTo>
                        <a:pt x="385559" y="1866"/>
                      </a:lnTo>
                      <a:lnTo>
                        <a:pt x="383705" y="6350"/>
                      </a:lnTo>
                      <a:lnTo>
                        <a:pt x="385559" y="10845"/>
                      </a:lnTo>
                      <a:lnTo>
                        <a:pt x="390055" y="12700"/>
                      </a:lnTo>
                      <a:lnTo>
                        <a:pt x="394550" y="10845"/>
                      </a:lnTo>
                      <a:lnTo>
                        <a:pt x="396405" y="6350"/>
                      </a:lnTo>
                      <a:close/>
                    </a:path>
                  </a:pathLst>
                </a:custGeom>
                <a:solidFill>
                  <a:srgbClr val="6D6E71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</p:grpSp>
          <p:grpSp>
            <p:nvGrpSpPr>
              <p:cNvPr id="683" name="object 16">
                <a:extLst>
                  <a:ext uri="{FF2B5EF4-FFF2-40B4-BE49-F238E27FC236}">
                    <a16:creationId xmlns:a16="http://schemas.microsoft.com/office/drawing/2014/main" id="{FD191C7A-8212-0BCB-CBA0-2F9056C35DBD}"/>
                  </a:ext>
                </a:extLst>
              </p:cNvPr>
              <p:cNvGrpSpPr/>
              <p:nvPr/>
            </p:nvGrpSpPr>
            <p:grpSpPr>
              <a:xfrm>
                <a:off x="2487612" y="2577298"/>
                <a:ext cx="12700" cy="1317625"/>
                <a:chOff x="2487612" y="2577298"/>
                <a:chExt cx="12700" cy="1317625"/>
              </a:xfrm>
            </p:grpSpPr>
            <p:sp>
              <p:nvSpPr>
                <p:cNvPr id="707" name="object 17">
                  <a:extLst>
                    <a:ext uri="{FF2B5EF4-FFF2-40B4-BE49-F238E27FC236}">
                      <a16:creationId xmlns:a16="http://schemas.microsoft.com/office/drawing/2014/main" id="{864516C6-8AB0-4C95-B781-FA41B834C9B9}"/>
                    </a:ext>
                  </a:extLst>
                </p:cNvPr>
                <p:cNvSpPr/>
                <p:nvPr/>
              </p:nvSpPr>
              <p:spPr>
                <a:xfrm>
                  <a:off x="2493962" y="2622027"/>
                  <a:ext cx="0" cy="12477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247775">
                      <a:moveTo>
                        <a:pt x="0" y="0"/>
                      </a:moveTo>
                      <a:lnTo>
                        <a:pt x="0" y="1247267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708" name="object 18">
                  <a:extLst>
                    <a:ext uri="{FF2B5EF4-FFF2-40B4-BE49-F238E27FC236}">
                      <a16:creationId xmlns:a16="http://schemas.microsoft.com/office/drawing/2014/main" id="{E133F44B-B1CE-F2F7-2BE2-6CF6FD45AB0C}"/>
                    </a:ext>
                  </a:extLst>
                </p:cNvPr>
                <p:cNvSpPr/>
                <p:nvPr/>
              </p:nvSpPr>
              <p:spPr>
                <a:xfrm>
                  <a:off x="2487612" y="2577299"/>
                  <a:ext cx="12700" cy="13176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00" h="1317625">
                      <a:moveTo>
                        <a:pt x="12700" y="1311186"/>
                      </a:moveTo>
                      <a:lnTo>
                        <a:pt x="10833" y="1306703"/>
                      </a:lnTo>
                      <a:lnTo>
                        <a:pt x="6350" y="1304836"/>
                      </a:lnTo>
                      <a:lnTo>
                        <a:pt x="1854" y="1306703"/>
                      </a:lnTo>
                      <a:lnTo>
                        <a:pt x="0" y="1311186"/>
                      </a:lnTo>
                      <a:lnTo>
                        <a:pt x="1854" y="1315681"/>
                      </a:lnTo>
                      <a:lnTo>
                        <a:pt x="6350" y="1317536"/>
                      </a:lnTo>
                      <a:lnTo>
                        <a:pt x="10833" y="1315681"/>
                      </a:lnTo>
                      <a:lnTo>
                        <a:pt x="12700" y="1311186"/>
                      </a:lnTo>
                      <a:close/>
                    </a:path>
                    <a:path w="12700" h="1317625">
                      <a:moveTo>
                        <a:pt x="12700" y="6350"/>
                      </a:moveTo>
                      <a:lnTo>
                        <a:pt x="10833" y="1866"/>
                      </a:lnTo>
                      <a:lnTo>
                        <a:pt x="6350" y="0"/>
                      </a:lnTo>
                      <a:lnTo>
                        <a:pt x="1854" y="1866"/>
                      </a:lnTo>
                      <a:lnTo>
                        <a:pt x="0" y="6350"/>
                      </a:lnTo>
                      <a:lnTo>
                        <a:pt x="1854" y="10845"/>
                      </a:lnTo>
                      <a:lnTo>
                        <a:pt x="6350" y="12700"/>
                      </a:lnTo>
                      <a:lnTo>
                        <a:pt x="10833" y="10845"/>
                      </a:lnTo>
                      <a:lnTo>
                        <a:pt x="12700" y="6350"/>
                      </a:lnTo>
                      <a:close/>
                    </a:path>
                  </a:pathLst>
                </a:custGeom>
                <a:solidFill>
                  <a:srgbClr val="6D6E71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</p:grpSp>
          <p:grpSp>
            <p:nvGrpSpPr>
              <p:cNvPr id="684" name="object 19">
                <a:extLst>
                  <a:ext uri="{FF2B5EF4-FFF2-40B4-BE49-F238E27FC236}">
                    <a16:creationId xmlns:a16="http://schemas.microsoft.com/office/drawing/2014/main" id="{A85C9B14-19A5-E8AA-692A-3B2472EC26C7}"/>
                  </a:ext>
                </a:extLst>
              </p:cNvPr>
              <p:cNvGrpSpPr/>
              <p:nvPr/>
            </p:nvGrpSpPr>
            <p:grpSpPr>
              <a:xfrm>
                <a:off x="2259830" y="4300685"/>
                <a:ext cx="12700" cy="1315085"/>
                <a:chOff x="2259830" y="4300685"/>
                <a:chExt cx="12700" cy="1315085"/>
              </a:xfrm>
            </p:grpSpPr>
            <p:sp>
              <p:nvSpPr>
                <p:cNvPr id="705" name="object 20">
                  <a:extLst>
                    <a:ext uri="{FF2B5EF4-FFF2-40B4-BE49-F238E27FC236}">
                      <a16:creationId xmlns:a16="http://schemas.microsoft.com/office/drawing/2014/main" id="{89C90951-06E7-37A7-D923-DA1AAB3CD671}"/>
                    </a:ext>
                  </a:extLst>
                </p:cNvPr>
                <p:cNvSpPr/>
                <p:nvPr/>
              </p:nvSpPr>
              <p:spPr>
                <a:xfrm>
                  <a:off x="2266180" y="4326172"/>
                  <a:ext cx="0" cy="12446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h="1244600">
                      <a:moveTo>
                        <a:pt x="0" y="1244523"/>
                      </a:moveTo>
                      <a:lnTo>
                        <a:pt x="0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706" name="object 21">
                  <a:extLst>
                    <a:ext uri="{FF2B5EF4-FFF2-40B4-BE49-F238E27FC236}">
                      <a16:creationId xmlns:a16="http://schemas.microsoft.com/office/drawing/2014/main" id="{A694C1AA-5012-6FA7-AA63-D638BA2E5EBB}"/>
                    </a:ext>
                  </a:extLst>
                </p:cNvPr>
                <p:cNvSpPr/>
                <p:nvPr/>
              </p:nvSpPr>
              <p:spPr>
                <a:xfrm>
                  <a:off x="2259825" y="4300690"/>
                  <a:ext cx="12700" cy="13150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00" h="1315085">
                      <a:moveTo>
                        <a:pt x="12700" y="1308303"/>
                      </a:moveTo>
                      <a:lnTo>
                        <a:pt x="10833" y="1303820"/>
                      </a:lnTo>
                      <a:lnTo>
                        <a:pt x="6350" y="1301953"/>
                      </a:lnTo>
                      <a:lnTo>
                        <a:pt x="1854" y="1303820"/>
                      </a:lnTo>
                      <a:lnTo>
                        <a:pt x="0" y="1308303"/>
                      </a:lnTo>
                      <a:lnTo>
                        <a:pt x="1854" y="1312799"/>
                      </a:lnTo>
                      <a:lnTo>
                        <a:pt x="6350" y="1314653"/>
                      </a:lnTo>
                      <a:lnTo>
                        <a:pt x="10833" y="1312799"/>
                      </a:lnTo>
                      <a:lnTo>
                        <a:pt x="12700" y="1308303"/>
                      </a:lnTo>
                      <a:close/>
                    </a:path>
                    <a:path w="12700" h="1315085">
                      <a:moveTo>
                        <a:pt x="12700" y="6350"/>
                      </a:moveTo>
                      <a:lnTo>
                        <a:pt x="10833" y="1866"/>
                      </a:lnTo>
                      <a:lnTo>
                        <a:pt x="6350" y="0"/>
                      </a:lnTo>
                      <a:lnTo>
                        <a:pt x="1854" y="1866"/>
                      </a:lnTo>
                      <a:lnTo>
                        <a:pt x="0" y="6350"/>
                      </a:lnTo>
                      <a:lnTo>
                        <a:pt x="1854" y="10845"/>
                      </a:lnTo>
                      <a:lnTo>
                        <a:pt x="6350" y="12700"/>
                      </a:lnTo>
                      <a:lnTo>
                        <a:pt x="10833" y="10845"/>
                      </a:lnTo>
                      <a:lnTo>
                        <a:pt x="12700" y="6350"/>
                      </a:lnTo>
                      <a:close/>
                    </a:path>
                  </a:pathLst>
                </a:custGeom>
                <a:solidFill>
                  <a:srgbClr val="6D6E71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</p:grpSp>
          <p:sp>
            <p:nvSpPr>
              <p:cNvPr id="685" name="object 22">
                <a:extLst>
                  <a:ext uri="{FF2B5EF4-FFF2-40B4-BE49-F238E27FC236}">
                    <a16:creationId xmlns:a16="http://schemas.microsoft.com/office/drawing/2014/main" id="{93141EB6-F84B-4EE1-4C35-F2DE17D48294}"/>
                  </a:ext>
                </a:extLst>
              </p:cNvPr>
              <p:cNvSpPr txBox="1"/>
              <p:nvPr/>
            </p:nvSpPr>
            <p:spPr>
              <a:xfrm>
                <a:off x="2318068" y="5500744"/>
                <a:ext cx="390759" cy="129187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b="1" spc="-45" dirty="0">
                    <a:solidFill>
                      <a:srgbClr val="58595B"/>
                    </a:solidFill>
                    <a:cs typeface="Gill Sans MT"/>
                  </a:rPr>
                  <a:t>France</a:t>
                </a:r>
                <a:endParaRPr sz="700" dirty="0">
                  <a:cs typeface="Gill Sans MT"/>
                </a:endParaRPr>
              </a:p>
            </p:txBody>
          </p:sp>
          <p:pic>
            <p:nvPicPr>
              <p:cNvPr id="686" name="object 23">
                <a:extLst>
                  <a:ext uri="{FF2B5EF4-FFF2-40B4-BE49-F238E27FC236}">
                    <a16:creationId xmlns:a16="http://schemas.microsoft.com/office/drawing/2014/main" id="{38222D31-0700-3546-6C4A-0208A54418AC}"/>
                  </a:ext>
                </a:extLst>
              </p:cNvPr>
              <p:cNvPicPr/>
              <p:nvPr/>
            </p:nvPicPr>
            <p:blipFill>
              <a:blip r:embed="rId56" cstate="print"/>
              <a:stretch>
                <a:fillRect/>
              </a:stretch>
            </p:blipFill>
            <p:spPr>
              <a:xfrm>
                <a:off x="2334682" y="5707230"/>
                <a:ext cx="791494" cy="248352"/>
              </a:xfrm>
              <a:prstGeom prst="rect">
                <a:avLst/>
              </a:prstGeom>
            </p:spPr>
          </p:pic>
          <p:sp>
            <p:nvSpPr>
              <p:cNvPr id="687" name="object 24">
                <a:extLst>
                  <a:ext uri="{FF2B5EF4-FFF2-40B4-BE49-F238E27FC236}">
                    <a16:creationId xmlns:a16="http://schemas.microsoft.com/office/drawing/2014/main" id="{3EA541C5-FCE5-78B3-6D43-BFE8697492C4}"/>
                  </a:ext>
                </a:extLst>
              </p:cNvPr>
              <p:cNvSpPr txBox="1"/>
              <p:nvPr/>
            </p:nvSpPr>
            <p:spPr>
              <a:xfrm>
                <a:off x="311299" y="4901508"/>
                <a:ext cx="547896" cy="144453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b="1" spc="65" dirty="0">
                    <a:solidFill>
                      <a:srgbClr val="58595B"/>
                    </a:solidFill>
                    <a:cs typeface="Calibri"/>
                  </a:rPr>
                  <a:t>Spain</a:t>
                </a:r>
                <a:endParaRPr sz="700" dirty="0">
                  <a:cs typeface="Calibri"/>
                </a:endParaRPr>
              </a:p>
            </p:txBody>
          </p:sp>
          <p:grpSp>
            <p:nvGrpSpPr>
              <p:cNvPr id="688" name="object 25">
                <a:extLst>
                  <a:ext uri="{FF2B5EF4-FFF2-40B4-BE49-F238E27FC236}">
                    <a16:creationId xmlns:a16="http://schemas.microsoft.com/office/drawing/2014/main" id="{B2D1B08F-4DCD-9D60-DD17-CC879763FB51}"/>
                  </a:ext>
                </a:extLst>
              </p:cNvPr>
              <p:cNvGrpSpPr/>
              <p:nvPr/>
            </p:nvGrpSpPr>
            <p:grpSpPr>
              <a:xfrm>
                <a:off x="710049" y="4989609"/>
                <a:ext cx="1003300" cy="12700"/>
                <a:chOff x="710049" y="4989609"/>
                <a:chExt cx="1003300" cy="12700"/>
              </a:xfrm>
            </p:grpSpPr>
            <p:sp>
              <p:nvSpPr>
                <p:cNvPr id="703" name="object 26">
                  <a:extLst>
                    <a:ext uri="{FF2B5EF4-FFF2-40B4-BE49-F238E27FC236}">
                      <a16:creationId xmlns:a16="http://schemas.microsoft.com/office/drawing/2014/main" id="{F6603518-FDF8-3DBD-E7C2-9759FC414C5C}"/>
                    </a:ext>
                  </a:extLst>
                </p:cNvPr>
                <p:cNvSpPr/>
                <p:nvPr/>
              </p:nvSpPr>
              <p:spPr>
                <a:xfrm>
                  <a:off x="754476" y="4995959"/>
                  <a:ext cx="933450" cy="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33450">
                      <a:moveTo>
                        <a:pt x="0" y="0"/>
                      </a:moveTo>
                      <a:lnTo>
                        <a:pt x="932878" y="0"/>
                      </a:lnTo>
                    </a:path>
                  </a:pathLst>
                </a:custGeom>
                <a:ln w="12700">
                  <a:solidFill>
                    <a:srgbClr val="6D6E71"/>
                  </a:solidFill>
                  <a:prstDash val="dot"/>
                </a:ln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  <p:sp>
              <p:nvSpPr>
                <p:cNvPr id="704" name="object 27">
                  <a:extLst>
                    <a:ext uri="{FF2B5EF4-FFF2-40B4-BE49-F238E27FC236}">
                      <a16:creationId xmlns:a16="http://schemas.microsoft.com/office/drawing/2014/main" id="{C2BBEC9C-5F2E-8B20-242D-99102A38DE69}"/>
                    </a:ext>
                  </a:extLst>
                </p:cNvPr>
                <p:cNvSpPr/>
                <p:nvPr/>
              </p:nvSpPr>
              <p:spPr>
                <a:xfrm>
                  <a:off x="710044" y="4989614"/>
                  <a:ext cx="1003300" cy="127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03300" h="12700">
                      <a:moveTo>
                        <a:pt x="12700" y="6350"/>
                      </a:moveTo>
                      <a:lnTo>
                        <a:pt x="10833" y="1866"/>
                      </a:lnTo>
                      <a:lnTo>
                        <a:pt x="6350" y="0"/>
                      </a:lnTo>
                      <a:lnTo>
                        <a:pt x="1854" y="1866"/>
                      </a:lnTo>
                      <a:lnTo>
                        <a:pt x="0" y="6350"/>
                      </a:lnTo>
                      <a:lnTo>
                        <a:pt x="1854" y="10845"/>
                      </a:lnTo>
                      <a:lnTo>
                        <a:pt x="6350" y="12700"/>
                      </a:lnTo>
                      <a:lnTo>
                        <a:pt x="10833" y="10845"/>
                      </a:lnTo>
                      <a:lnTo>
                        <a:pt x="12700" y="6350"/>
                      </a:lnTo>
                      <a:close/>
                    </a:path>
                    <a:path w="1003300" h="12700">
                      <a:moveTo>
                        <a:pt x="1002703" y="6350"/>
                      </a:moveTo>
                      <a:lnTo>
                        <a:pt x="1000836" y="1866"/>
                      </a:lnTo>
                      <a:lnTo>
                        <a:pt x="996353" y="0"/>
                      </a:lnTo>
                      <a:lnTo>
                        <a:pt x="991857" y="1866"/>
                      </a:lnTo>
                      <a:lnTo>
                        <a:pt x="990003" y="6350"/>
                      </a:lnTo>
                      <a:lnTo>
                        <a:pt x="991857" y="10845"/>
                      </a:lnTo>
                      <a:lnTo>
                        <a:pt x="996353" y="12700"/>
                      </a:lnTo>
                      <a:lnTo>
                        <a:pt x="1000836" y="10845"/>
                      </a:lnTo>
                      <a:lnTo>
                        <a:pt x="1002703" y="6350"/>
                      </a:lnTo>
                      <a:close/>
                    </a:path>
                  </a:pathLst>
                </a:custGeom>
                <a:solidFill>
                  <a:srgbClr val="6D6E71"/>
                </a:solidFill>
              </p:spPr>
              <p:txBody>
                <a:bodyPr wrap="square" lIns="0" tIns="0" rIns="0" bIns="0" rtlCol="0"/>
                <a:lstStyle/>
                <a:p>
                  <a:endParaRPr sz="1400" dirty="0"/>
                </a:p>
              </p:txBody>
            </p:sp>
          </p:grpSp>
          <p:pic>
            <p:nvPicPr>
              <p:cNvPr id="689" name="object 28">
                <a:extLst>
                  <a:ext uri="{FF2B5EF4-FFF2-40B4-BE49-F238E27FC236}">
                    <a16:creationId xmlns:a16="http://schemas.microsoft.com/office/drawing/2014/main" id="{CBB09EA7-3303-0F86-D366-D0B875828FDF}"/>
                  </a:ext>
                </a:extLst>
              </p:cNvPr>
              <p:cNvPicPr/>
              <p:nvPr/>
            </p:nvPicPr>
            <p:blipFill>
              <a:blip r:embed="rId57" cstate="print"/>
              <a:stretch>
                <a:fillRect/>
              </a:stretch>
            </p:blipFill>
            <p:spPr>
              <a:xfrm>
                <a:off x="323999" y="5102303"/>
                <a:ext cx="393677" cy="393682"/>
              </a:xfrm>
              <a:prstGeom prst="rect">
                <a:avLst/>
              </a:prstGeom>
            </p:spPr>
          </p:pic>
          <p:sp>
            <p:nvSpPr>
              <p:cNvPr id="690" name="object 29">
                <a:extLst>
                  <a:ext uri="{FF2B5EF4-FFF2-40B4-BE49-F238E27FC236}">
                    <a16:creationId xmlns:a16="http://schemas.microsoft.com/office/drawing/2014/main" id="{6D181A69-9199-9064-EF07-DB1E215C583E}"/>
                  </a:ext>
                </a:extLst>
              </p:cNvPr>
              <p:cNvSpPr txBox="1"/>
              <p:nvPr/>
            </p:nvSpPr>
            <p:spPr>
              <a:xfrm>
                <a:off x="4447982" y="3026756"/>
                <a:ext cx="737076" cy="144453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b="1" spc="90" dirty="0">
                    <a:solidFill>
                      <a:srgbClr val="58595B"/>
                    </a:solidFill>
                    <a:cs typeface="Calibri"/>
                  </a:rPr>
                  <a:t>Germany</a:t>
                </a:r>
                <a:endParaRPr sz="700" dirty="0">
                  <a:cs typeface="Calibri"/>
                </a:endParaRPr>
              </a:p>
            </p:txBody>
          </p:sp>
          <p:sp>
            <p:nvSpPr>
              <p:cNvPr id="691" name="object 30">
                <a:extLst>
                  <a:ext uri="{FF2B5EF4-FFF2-40B4-BE49-F238E27FC236}">
                    <a16:creationId xmlns:a16="http://schemas.microsoft.com/office/drawing/2014/main" id="{121BE298-0EA1-830F-FC66-04E86CFB1BC6}"/>
                  </a:ext>
                </a:extLst>
              </p:cNvPr>
              <p:cNvSpPr txBox="1"/>
              <p:nvPr/>
            </p:nvSpPr>
            <p:spPr>
              <a:xfrm>
                <a:off x="4944159" y="3511616"/>
                <a:ext cx="67310" cy="129187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spc="-50" dirty="0">
                    <a:solidFill>
                      <a:srgbClr val="58595B"/>
                    </a:solidFill>
                    <a:cs typeface="Gill Sans MT"/>
                  </a:rPr>
                  <a:t>*</a:t>
                </a:r>
                <a:endParaRPr sz="700" dirty="0">
                  <a:cs typeface="Gill Sans MT"/>
                </a:endParaRPr>
              </a:p>
            </p:txBody>
          </p:sp>
          <p:sp>
            <p:nvSpPr>
              <p:cNvPr id="692" name="object 31">
                <a:extLst>
                  <a:ext uri="{FF2B5EF4-FFF2-40B4-BE49-F238E27FC236}">
                    <a16:creationId xmlns:a16="http://schemas.microsoft.com/office/drawing/2014/main" id="{4129215F-A511-61AB-DDA9-49BF881B0387}"/>
                  </a:ext>
                </a:extLst>
              </p:cNvPr>
              <p:cNvSpPr txBox="1"/>
              <p:nvPr/>
            </p:nvSpPr>
            <p:spPr>
              <a:xfrm>
                <a:off x="1962071" y="2547381"/>
                <a:ext cx="602706" cy="129187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b="1" spc="65" dirty="0">
                    <a:solidFill>
                      <a:srgbClr val="58595B"/>
                    </a:solidFill>
                    <a:cs typeface="Calibri"/>
                  </a:rPr>
                  <a:t>Holland</a:t>
                </a:r>
                <a:endParaRPr sz="700" dirty="0">
                  <a:cs typeface="Calibri"/>
                </a:endParaRPr>
              </a:p>
            </p:txBody>
          </p:sp>
          <p:sp>
            <p:nvSpPr>
              <p:cNvPr id="693" name="object 32">
                <a:extLst>
                  <a:ext uri="{FF2B5EF4-FFF2-40B4-BE49-F238E27FC236}">
                    <a16:creationId xmlns:a16="http://schemas.microsoft.com/office/drawing/2014/main" id="{C1B4D46F-DD45-949C-FBAF-17CF4C18A873}"/>
                  </a:ext>
                </a:extLst>
              </p:cNvPr>
              <p:cNvSpPr/>
              <p:nvPr/>
            </p:nvSpPr>
            <p:spPr>
              <a:xfrm>
                <a:off x="1931103" y="2745013"/>
                <a:ext cx="480059" cy="160655"/>
              </a:xfrm>
              <a:custGeom>
                <a:avLst/>
                <a:gdLst/>
                <a:ahLst/>
                <a:cxnLst/>
                <a:rect l="l" t="t" r="r" b="b"/>
                <a:pathLst>
                  <a:path w="480060" h="160655">
                    <a:moveTo>
                      <a:pt x="471007" y="131479"/>
                    </a:moveTo>
                    <a:lnTo>
                      <a:pt x="400801" y="131479"/>
                    </a:lnTo>
                    <a:lnTo>
                      <a:pt x="407770" y="131659"/>
                    </a:lnTo>
                    <a:lnTo>
                      <a:pt x="417755" y="132646"/>
                    </a:lnTo>
                    <a:lnTo>
                      <a:pt x="430682" y="134899"/>
                    </a:lnTo>
                    <a:lnTo>
                      <a:pt x="435724" y="136004"/>
                    </a:lnTo>
                    <a:lnTo>
                      <a:pt x="435876" y="136017"/>
                    </a:lnTo>
                    <a:lnTo>
                      <a:pt x="442925" y="137244"/>
                    </a:lnTo>
                    <a:lnTo>
                      <a:pt x="450743" y="137950"/>
                    </a:lnTo>
                    <a:lnTo>
                      <a:pt x="459660" y="137870"/>
                    </a:lnTo>
                    <a:lnTo>
                      <a:pt x="470001" y="136740"/>
                    </a:lnTo>
                    <a:lnTo>
                      <a:pt x="471007" y="131479"/>
                    </a:lnTo>
                    <a:close/>
                  </a:path>
                  <a:path w="480060" h="160655">
                    <a:moveTo>
                      <a:pt x="263601" y="36296"/>
                    </a:moveTo>
                    <a:lnTo>
                      <a:pt x="243903" y="36296"/>
                    </a:lnTo>
                    <a:lnTo>
                      <a:pt x="241541" y="36448"/>
                    </a:lnTo>
                    <a:lnTo>
                      <a:pt x="239318" y="38303"/>
                    </a:lnTo>
                    <a:lnTo>
                      <a:pt x="238706" y="40817"/>
                    </a:lnTo>
                    <a:lnTo>
                      <a:pt x="226910" y="102171"/>
                    </a:lnTo>
                    <a:lnTo>
                      <a:pt x="226034" y="114512"/>
                    </a:lnTo>
                    <a:lnTo>
                      <a:pt x="228606" y="124302"/>
                    </a:lnTo>
                    <a:lnTo>
                      <a:pt x="234940" y="130923"/>
                    </a:lnTo>
                    <a:lnTo>
                      <a:pt x="245351" y="133756"/>
                    </a:lnTo>
                    <a:lnTo>
                      <a:pt x="249656" y="133807"/>
                    </a:lnTo>
                    <a:lnTo>
                      <a:pt x="251815" y="133540"/>
                    </a:lnTo>
                    <a:lnTo>
                      <a:pt x="260961" y="132114"/>
                    </a:lnTo>
                    <a:lnTo>
                      <a:pt x="269100" y="129349"/>
                    </a:lnTo>
                    <a:lnTo>
                      <a:pt x="276257" y="125146"/>
                    </a:lnTo>
                    <a:lnTo>
                      <a:pt x="282460" y="119405"/>
                    </a:lnTo>
                    <a:lnTo>
                      <a:pt x="305100" y="119405"/>
                    </a:lnTo>
                    <a:lnTo>
                      <a:pt x="306298" y="112737"/>
                    </a:lnTo>
                    <a:lnTo>
                      <a:pt x="251701" y="112737"/>
                    </a:lnTo>
                    <a:lnTo>
                      <a:pt x="249974" y="107937"/>
                    </a:lnTo>
                    <a:lnTo>
                      <a:pt x="252069" y="96227"/>
                    </a:lnTo>
                    <a:lnTo>
                      <a:pt x="263601" y="36296"/>
                    </a:lnTo>
                    <a:close/>
                  </a:path>
                  <a:path w="480060" h="160655">
                    <a:moveTo>
                      <a:pt x="305100" y="119405"/>
                    </a:moveTo>
                    <a:lnTo>
                      <a:pt x="282460" y="119405"/>
                    </a:lnTo>
                    <a:lnTo>
                      <a:pt x="280949" y="124688"/>
                    </a:lnTo>
                    <a:lnTo>
                      <a:pt x="280035" y="128676"/>
                    </a:lnTo>
                    <a:lnTo>
                      <a:pt x="279527" y="131737"/>
                    </a:lnTo>
                    <a:lnTo>
                      <a:pt x="302958" y="131737"/>
                    </a:lnTo>
                    <a:lnTo>
                      <a:pt x="304705" y="121605"/>
                    </a:lnTo>
                    <a:lnTo>
                      <a:pt x="305100" y="119405"/>
                    </a:lnTo>
                    <a:close/>
                  </a:path>
                  <a:path w="480060" h="160655">
                    <a:moveTo>
                      <a:pt x="394453" y="57797"/>
                    </a:moveTo>
                    <a:lnTo>
                      <a:pt x="366422" y="57810"/>
                    </a:lnTo>
                    <a:lnTo>
                      <a:pt x="320535" y="114274"/>
                    </a:lnTo>
                    <a:lnTo>
                      <a:pt x="317246" y="131737"/>
                    </a:lnTo>
                    <a:lnTo>
                      <a:pt x="383705" y="131737"/>
                    </a:lnTo>
                    <a:lnTo>
                      <a:pt x="387895" y="109461"/>
                    </a:lnTo>
                    <a:lnTo>
                      <a:pt x="352590" y="109461"/>
                    </a:lnTo>
                    <a:lnTo>
                      <a:pt x="394453" y="57797"/>
                    </a:lnTo>
                    <a:close/>
                  </a:path>
                  <a:path w="480060" h="160655">
                    <a:moveTo>
                      <a:pt x="473311" y="57810"/>
                    </a:moveTo>
                    <a:lnTo>
                      <a:pt x="445223" y="57810"/>
                    </a:lnTo>
                    <a:lnTo>
                      <a:pt x="399326" y="114274"/>
                    </a:lnTo>
                    <a:lnTo>
                      <a:pt x="396062" y="131737"/>
                    </a:lnTo>
                    <a:lnTo>
                      <a:pt x="396354" y="131698"/>
                    </a:lnTo>
                    <a:lnTo>
                      <a:pt x="396646" y="131698"/>
                    </a:lnTo>
                    <a:lnTo>
                      <a:pt x="396925" y="131648"/>
                    </a:lnTo>
                    <a:lnTo>
                      <a:pt x="400801" y="131479"/>
                    </a:lnTo>
                    <a:lnTo>
                      <a:pt x="471007" y="131479"/>
                    </a:lnTo>
                    <a:lnTo>
                      <a:pt x="473859" y="116567"/>
                    </a:lnTo>
                    <a:lnTo>
                      <a:pt x="460638" y="116567"/>
                    </a:lnTo>
                    <a:lnTo>
                      <a:pt x="449637" y="115690"/>
                    </a:lnTo>
                    <a:lnTo>
                      <a:pt x="439921" y="113784"/>
                    </a:lnTo>
                    <a:lnTo>
                      <a:pt x="430377" y="111645"/>
                    </a:lnTo>
                    <a:lnTo>
                      <a:pt x="473311" y="57810"/>
                    </a:lnTo>
                    <a:close/>
                  </a:path>
                  <a:path w="480060" h="160655">
                    <a:moveTo>
                      <a:pt x="474040" y="115620"/>
                    </a:moveTo>
                    <a:lnTo>
                      <a:pt x="460638" y="116567"/>
                    </a:lnTo>
                    <a:lnTo>
                      <a:pt x="473859" y="116567"/>
                    </a:lnTo>
                    <a:lnTo>
                      <a:pt x="474040" y="115620"/>
                    </a:lnTo>
                    <a:close/>
                  </a:path>
                  <a:path w="480060" h="160655">
                    <a:moveTo>
                      <a:pt x="320827" y="36296"/>
                    </a:moveTo>
                    <a:lnTo>
                      <a:pt x="301129" y="36296"/>
                    </a:lnTo>
                    <a:lnTo>
                      <a:pt x="298792" y="36448"/>
                    </a:lnTo>
                    <a:lnTo>
                      <a:pt x="296545" y="38303"/>
                    </a:lnTo>
                    <a:lnTo>
                      <a:pt x="295958" y="40817"/>
                    </a:lnTo>
                    <a:lnTo>
                      <a:pt x="290322" y="70523"/>
                    </a:lnTo>
                    <a:lnTo>
                      <a:pt x="284301" y="92238"/>
                    </a:lnTo>
                    <a:lnTo>
                      <a:pt x="276350" y="105070"/>
                    </a:lnTo>
                    <a:lnTo>
                      <a:pt x="267263" y="111181"/>
                    </a:lnTo>
                    <a:lnTo>
                      <a:pt x="257835" y="112737"/>
                    </a:lnTo>
                    <a:lnTo>
                      <a:pt x="306298" y="112737"/>
                    </a:lnTo>
                    <a:lnTo>
                      <a:pt x="309143" y="97236"/>
                    </a:lnTo>
                    <a:lnTo>
                      <a:pt x="311226" y="86232"/>
                    </a:lnTo>
                    <a:lnTo>
                      <a:pt x="320827" y="36296"/>
                    </a:lnTo>
                    <a:close/>
                  </a:path>
                  <a:path w="480060" h="160655">
                    <a:moveTo>
                      <a:pt x="387934" y="109258"/>
                    </a:moveTo>
                    <a:lnTo>
                      <a:pt x="356616" y="109258"/>
                    </a:lnTo>
                    <a:lnTo>
                      <a:pt x="352590" y="109461"/>
                    </a:lnTo>
                    <a:lnTo>
                      <a:pt x="387895" y="109461"/>
                    </a:lnTo>
                    <a:lnTo>
                      <a:pt x="387934" y="109258"/>
                    </a:lnTo>
                    <a:close/>
                  </a:path>
                  <a:path w="480060" h="160655">
                    <a:moveTo>
                      <a:pt x="479996" y="36296"/>
                    </a:moveTo>
                    <a:lnTo>
                      <a:pt x="417334" y="36296"/>
                    </a:lnTo>
                    <a:lnTo>
                      <a:pt x="414870" y="38341"/>
                    </a:lnTo>
                    <a:lnTo>
                      <a:pt x="411035" y="58191"/>
                    </a:lnTo>
                    <a:lnTo>
                      <a:pt x="435038" y="58191"/>
                    </a:lnTo>
                    <a:lnTo>
                      <a:pt x="441579" y="57988"/>
                    </a:lnTo>
                    <a:lnTo>
                      <a:pt x="445223" y="57810"/>
                    </a:lnTo>
                    <a:lnTo>
                      <a:pt x="473321" y="57797"/>
                    </a:lnTo>
                    <a:lnTo>
                      <a:pt x="476542" y="53759"/>
                    </a:lnTo>
                    <a:lnTo>
                      <a:pt x="479996" y="36296"/>
                    </a:lnTo>
                    <a:close/>
                  </a:path>
                  <a:path w="480060" h="160655">
                    <a:moveTo>
                      <a:pt x="401180" y="36296"/>
                    </a:moveTo>
                    <a:lnTo>
                      <a:pt x="338531" y="36296"/>
                    </a:lnTo>
                    <a:lnTo>
                      <a:pt x="336064" y="38341"/>
                    </a:lnTo>
                    <a:lnTo>
                      <a:pt x="335572" y="40817"/>
                    </a:lnTo>
                    <a:lnTo>
                      <a:pt x="332232" y="58178"/>
                    </a:lnTo>
                    <a:lnTo>
                      <a:pt x="356222" y="58178"/>
                    </a:lnTo>
                    <a:lnTo>
                      <a:pt x="362788" y="57988"/>
                    </a:lnTo>
                    <a:lnTo>
                      <a:pt x="366433" y="57797"/>
                    </a:lnTo>
                    <a:lnTo>
                      <a:pt x="394453" y="57797"/>
                    </a:lnTo>
                    <a:lnTo>
                      <a:pt x="397725" y="53759"/>
                    </a:lnTo>
                    <a:lnTo>
                      <a:pt x="401180" y="36296"/>
                    </a:lnTo>
                    <a:close/>
                  </a:path>
                  <a:path w="480060" h="160655">
                    <a:moveTo>
                      <a:pt x="173050" y="3873"/>
                    </a:moveTo>
                    <a:lnTo>
                      <a:pt x="153377" y="3873"/>
                    </a:lnTo>
                    <a:lnTo>
                      <a:pt x="151015" y="4000"/>
                    </a:lnTo>
                    <a:lnTo>
                      <a:pt x="148780" y="5867"/>
                    </a:lnTo>
                    <a:lnTo>
                      <a:pt x="148170" y="8369"/>
                    </a:lnTo>
                    <a:lnTo>
                      <a:pt x="124942" y="130009"/>
                    </a:lnTo>
                    <a:lnTo>
                      <a:pt x="132844" y="131523"/>
                    </a:lnTo>
                    <a:lnTo>
                      <a:pt x="141049" y="132611"/>
                    </a:lnTo>
                    <a:lnTo>
                      <a:pt x="149649" y="133269"/>
                    </a:lnTo>
                    <a:lnTo>
                      <a:pt x="158737" y="133489"/>
                    </a:lnTo>
                    <a:lnTo>
                      <a:pt x="187190" y="127700"/>
                    </a:lnTo>
                    <a:lnTo>
                      <a:pt x="203690" y="114261"/>
                    </a:lnTo>
                    <a:lnTo>
                      <a:pt x="158737" y="114261"/>
                    </a:lnTo>
                    <a:lnTo>
                      <a:pt x="155473" y="113690"/>
                    </a:lnTo>
                    <a:lnTo>
                      <a:pt x="152196" y="112928"/>
                    </a:lnTo>
                    <a:lnTo>
                      <a:pt x="153543" y="106387"/>
                    </a:lnTo>
                    <a:lnTo>
                      <a:pt x="160142" y="82561"/>
                    </a:lnTo>
                    <a:lnTo>
                      <a:pt x="167654" y="66759"/>
                    </a:lnTo>
                    <a:lnTo>
                      <a:pt x="176111" y="57997"/>
                    </a:lnTo>
                    <a:lnTo>
                      <a:pt x="185547" y="55295"/>
                    </a:lnTo>
                    <a:lnTo>
                      <a:pt x="219049" y="55295"/>
                    </a:lnTo>
                    <a:lnTo>
                      <a:pt x="218543" y="50709"/>
                    </a:lnTo>
                    <a:lnTo>
                      <a:pt x="217867" y="49250"/>
                    </a:lnTo>
                    <a:lnTo>
                      <a:pt x="163156" y="49250"/>
                    </a:lnTo>
                    <a:lnTo>
                      <a:pt x="165315" y="42494"/>
                    </a:lnTo>
                    <a:lnTo>
                      <a:pt x="166662" y="37299"/>
                    </a:lnTo>
                    <a:lnTo>
                      <a:pt x="167576" y="32270"/>
                    </a:lnTo>
                    <a:lnTo>
                      <a:pt x="173050" y="3873"/>
                    </a:lnTo>
                    <a:close/>
                  </a:path>
                  <a:path w="480060" h="160655">
                    <a:moveTo>
                      <a:pt x="219049" y="55295"/>
                    </a:moveTo>
                    <a:lnTo>
                      <a:pt x="192087" y="55295"/>
                    </a:lnTo>
                    <a:lnTo>
                      <a:pt x="195224" y="59143"/>
                    </a:lnTo>
                    <a:lnTo>
                      <a:pt x="195224" y="68567"/>
                    </a:lnTo>
                    <a:lnTo>
                      <a:pt x="193289" y="84131"/>
                    </a:lnTo>
                    <a:lnTo>
                      <a:pt x="187375" y="98906"/>
                    </a:lnTo>
                    <a:lnTo>
                      <a:pt x="177318" y="109934"/>
                    </a:lnTo>
                    <a:lnTo>
                      <a:pt x="162953" y="114261"/>
                    </a:lnTo>
                    <a:lnTo>
                      <a:pt x="203690" y="114261"/>
                    </a:lnTo>
                    <a:lnTo>
                      <a:pt x="206152" y="112256"/>
                    </a:lnTo>
                    <a:lnTo>
                      <a:pt x="216723" y="90043"/>
                    </a:lnTo>
                    <a:lnTo>
                      <a:pt x="220002" y="63944"/>
                    </a:lnTo>
                    <a:lnTo>
                      <a:pt x="219049" y="55295"/>
                    </a:lnTo>
                    <a:close/>
                  </a:path>
                  <a:path w="480060" h="160655">
                    <a:moveTo>
                      <a:pt x="197535" y="34175"/>
                    </a:moveTo>
                    <a:lnTo>
                      <a:pt x="185866" y="35547"/>
                    </a:lnTo>
                    <a:lnTo>
                      <a:pt x="176317" y="39003"/>
                    </a:lnTo>
                    <a:lnTo>
                      <a:pt x="168782" y="43814"/>
                    </a:lnTo>
                    <a:lnTo>
                      <a:pt x="163156" y="49250"/>
                    </a:lnTo>
                    <a:lnTo>
                      <a:pt x="217867" y="49250"/>
                    </a:lnTo>
                    <a:lnTo>
                      <a:pt x="214241" y="41430"/>
                    </a:lnTo>
                    <a:lnTo>
                      <a:pt x="207202" y="35966"/>
                    </a:lnTo>
                    <a:lnTo>
                      <a:pt x="197535" y="34175"/>
                    </a:lnTo>
                    <a:close/>
                  </a:path>
                  <a:path w="480060" h="160655">
                    <a:moveTo>
                      <a:pt x="111301" y="154320"/>
                    </a:moveTo>
                    <a:lnTo>
                      <a:pt x="55353" y="154320"/>
                    </a:lnTo>
                    <a:lnTo>
                      <a:pt x="71067" y="157521"/>
                    </a:lnTo>
                    <a:lnTo>
                      <a:pt x="87931" y="160403"/>
                    </a:lnTo>
                    <a:lnTo>
                      <a:pt x="110337" y="159385"/>
                    </a:lnTo>
                    <a:lnTo>
                      <a:pt x="111301" y="154320"/>
                    </a:lnTo>
                    <a:close/>
                  </a:path>
                  <a:path w="480060" h="160655">
                    <a:moveTo>
                      <a:pt x="75476" y="0"/>
                    </a:moveTo>
                    <a:lnTo>
                      <a:pt x="45369" y="6916"/>
                    </a:lnTo>
                    <a:lnTo>
                      <a:pt x="21459" y="25661"/>
                    </a:lnTo>
                    <a:lnTo>
                      <a:pt x="5688" y="53229"/>
                    </a:lnTo>
                    <a:lnTo>
                      <a:pt x="0" y="86613"/>
                    </a:lnTo>
                    <a:lnTo>
                      <a:pt x="2522" y="105256"/>
                    </a:lnTo>
                    <a:lnTo>
                      <a:pt x="10218" y="119632"/>
                    </a:lnTo>
                    <a:lnTo>
                      <a:pt x="23279" y="129253"/>
                    </a:lnTo>
                    <a:lnTo>
                      <a:pt x="41897" y="133629"/>
                    </a:lnTo>
                    <a:lnTo>
                      <a:pt x="40779" y="134404"/>
                    </a:lnTo>
                    <a:lnTo>
                      <a:pt x="39903" y="135521"/>
                    </a:lnTo>
                    <a:lnTo>
                      <a:pt x="39560" y="136804"/>
                    </a:lnTo>
                    <a:lnTo>
                      <a:pt x="39452" y="137488"/>
                    </a:lnTo>
                    <a:lnTo>
                      <a:pt x="36398" y="154381"/>
                    </a:lnTo>
                    <a:lnTo>
                      <a:pt x="111301" y="154320"/>
                    </a:lnTo>
                    <a:lnTo>
                      <a:pt x="114194" y="139126"/>
                    </a:lnTo>
                    <a:lnTo>
                      <a:pt x="98094" y="139126"/>
                    </a:lnTo>
                    <a:lnTo>
                      <a:pt x="85120" y="137488"/>
                    </a:lnTo>
                    <a:lnTo>
                      <a:pt x="73295" y="134848"/>
                    </a:lnTo>
                    <a:lnTo>
                      <a:pt x="60477" y="132727"/>
                    </a:lnTo>
                    <a:lnTo>
                      <a:pt x="85393" y="122967"/>
                    </a:lnTo>
                    <a:lnTo>
                      <a:pt x="98170" y="111175"/>
                    </a:lnTo>
                    <a:lnTo>
                      <a:pt x="51460" y="111175"/>
                    </a:lnTo>
                    <a:lnTo>
                      <a:pt x="40649" y="109243"/>
                    </a:lnTo>
                    <a:lnTo>
                      <a:pt x="32765" y="103624"/>
                    </a:lnTo>
                    <a:lnTo>
                      <a:pt x="27939" y="94582"/>
                    </a:lnTo>
                    <a:lnTo>
                      <a:pt x="26301" y="82384"/>
                    </a:lnTo>
                    <a:lnTo>
                      <a:pt x="29524" y="59983"/>
                    </a:lnTo>
                    <a:lnTo>
                      <a:pt x="38688" y="40840"/>
                    </a:lnTo>
                    <a:lnTo>
                      <a:pt x="53042" y="27492"/>
                    </a:lnTo>
                    <a:lnTo>
                      <a:pt x="71831" y="22478"/>
                    </a:lnTo>
                    <a:lnTo>
                      <a:pt x="117598" y="22478"/>
                    </a:lnTo>
                    <a:lnTo>
                      <a:pt x="111386" y="12415"/>
                    </a:lnTo>
                    <a:lnTo>
                      <a:pt x="96290" y="3173"/>
                    </a:lnTo>
                    <a:lnTo>
                      <a:pt x="75476" y="0"/>
                    </a:lnTo>
                    <a:close/>
                  </a:path>
                  <a:path w="480060" h="160655">
                    <a:moveTo>
                      <a:pt x="114363" y="138239"/>
                    </a:moveTo>
                    <a:lnTo>
                      <a:pt x="98094" y="139126"/>
                    </a:lnTo>
                    <a:lnTo>
                      <a:pt x="114194" y="139126"/>
                    </a:lnTo>
                    <a:lnTo>
                      <a:pt x="114363" y="138239"/>
                    </a:lnTo>
                    <a:close/>
                  </a:path>
                  <a:path w="480060" h="160655">
                    <a:moveTo>
                      <a:pt x="117598" y="22478"/>
                    </a:moveTo>
                    <a:lnTo>
                      <a:pt x="71831" y="22478"/>
                    </a:lnTo>
                    <a:lnTo>
                      <a:pt x="83186" y="24478"/>
                    </a:lnTo>
                    <a:lnTo>
                      <a:pt x="91143" y="30130"/>
                    </a:lnTo>
                    <a:lnTo>
                      <a:pt x="95825" y="38916"/>
                    </a:lnTo>
                    <a:lnTo>
                      <a:pt x="97358" y="50317"/>
                    </a:lnTo>
                    <a:lnTo>
                      <a:pt x="93887" y="73762"/>
                    </a:lnTo>
                    <a:lnTo>
                      <a:pt x="84277" y="93133"/>
                    </a:lnTo>
                    <a:lnTo>
                      <a:pt x="69733" y="106311"/>
                    </a:lnTo>
                    <a:lnTo>
                      <a:pt x="51460" y="111175"/>
                    </a:lnTo>
                    <a:lnTo>
                      <a:pt x="98170" y="111175"/>
                    </a:lnTo>
                    <a:lnTo>
                      <a:pt x="105449" y="104459"/>
                    </a:lnTo>
                    <a:lnTo>
                      <a:pt x="118822" y="78762"/>
                    </a:lnTo>
                    <a:lnTo>
                      <a:pt x="123685" y="47434"/>
                    </a:lnTo>
                    <a:lnTo>
                      <a:pt x="120579" y="27308"/>
                    </a:lnTo>
                    <a:lnTo>
                      <a:pt x="117598" y="22478"/>
                    </a:lnTo>
                    <a:close/>
                  </a:path>
                </a:pathLst>
              </a:custGeom>
              <a:solidFill>
                <a:srgbClr val="F58029"/>
              </a:solidFill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694" name="object 33">
                <a:extLst>
                  <a:ext uri="{FF2B5EF4-FFF2-40B4-BE49-F238E27FC236}">
                    <a16:creationId xmlns:a16="http://schemas.microsoft.com/office/drawing/2014/main" id="{B0392D17-7995-CE8E-23BA-A42412873C5E}"/>
                  </a:ext>
                </a:extLst>
              </p:cNvPr>
              <p:cNvSpPr txBox="1"/>
              <p:nvPr/>
            </p:nvSpPr>
            <p:spPr>
              <a:xfrm>
                <a:off x="4447982" y="4471435"/>
                <a:ext cx="737076" cy="129187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b="1" spc="80" dirty="0">
                    <a:solidFill>
                      <a:srgbClr val="58595B"/>
                    </a:solidFill>
                    <a:cs typeface="Calibri"/>
                  </a:rPr>
                  <a:t>Romania</a:t>
                </a:r>
                <a:endParaRPr sz="700" dirty="0">
                  <a:cs typeface="Calibri"/>
                </a:endParaRPr>
              </a:p>
            </p:txBody>
          </p:sp>
          <p:pic>
            <p:nvPicPr>
              <p:cNvPr id="695" name="object 34">
                <a:extLst>
                  <a:ext uri="{FF2B5EF4-FFF2-40B4-BE49-F238E27FC236}">
                    <a16:creationId xmlns:a16="http://schemas.microsoft.com/office/drawing/2014/main" id="{25592437-74A4-4117-D48E-A394AD732E27}"/>
                  </a:ext>
                </a:extLst>
              </p:cNvPr>
              <p:cNvPicPr/>
              <p:nvPr/>
            </p:nvPicPr>
            <p:blipFill>
              <a:blip r:embed="rId58" cstate="print"/>
              <a:stretch>
                <a:fillRect/>
              </a:stretch>
            </p:blipFill>
            <p:spPr>
              <a:xfrm>
                <a:off x="4460683" y="4662652"/>
                <a:ext cx="304285" cy="174712"/>
              </a:xfrm>
              <a:prstGeom prst="rect">
                <a:avLst/>
              </a:prstGeom>
            </p:spPr>
          </p:pic>
          <p:sp>
            <p:nvSpPr>
              <p:cNvPr id="696" name="object 35">
                <a:extLst>
                  <a:ext uri="{FF2B5EF4-FFF2-40B4-BE49-F238E27FC236}">
                    <a16:creationId xmlns:a16="http://schemas.microsoft.com/office/drawing/2014/main" id="{64876DA1-B0F4-D3A8-4E11-5214ECF09A5C}"/>
                  </a:ext>
                </a:extLst>
              </p:cNvPr>
              <p:cNvSpPr/>
              <p:nvPr/>
            </p:nvSpPr>
            <p:spPr>
              <a:xfrm>
                <a:off x="4815789" y="4718100"/>
                <a:ext cx="548640" cy="88265"/>
              </a:xfrm>
              <a:custGeom>
                <a:avLst/>
                <a:gdLst/>
                <a:ahLst/>
                <a:cxnLst/>
                <a:rect l="l" t="t" r="r" b="b"/>
                <a:pathLst>
                  <a:path w="548639" h="88264">
                    <a:moveTo>
                      <a:pt x="77597" y="85255"/>
                    </a:moveTo>
                    <a:lnTo>
                      <a:pt x="60515" y="51041"/>
                    </a:lnTo>
                    <a:lnTo>
                      <a:pt x="52882" y="45262"/>
                    </a:lnTo>
                    <a:lnTo>
                      <a:pt x="58140" y="43167"/>
                    </a:lnTo>
                    <a:lnTo>
                      <a:pt x="62090" y="40284"/>
                    </a:lnTo>
                    <a:lnTo>
                      <a:pt x="64452" y="36855"/>
                    </a:lnTo>
                    <a:lnTo>
                      <a:pt x="67081" y="33439"/>
                    </a:lnTo>
                    <a:lnTo>
                      <a:pt x="68402" y="29502"/>
                    </a:lnTo>
                    <a:lnTo>
                      <a:pt x="68402" y="16344"/>
                    </a:lnTo>
                    <a:lnTo>
                      <a:pt x="45262" y="965"/>
                    </a:lnTo>
                    <a:lnTo>
                      <a:pt x="45262" y="21844"/>
                    </a:lnTo>
                    <a:lnTo>
                      <a:pt x="45262" y="28435"/>
                    </a:lnTo>
                    <a:lnTo>
                      <a:pt x="44208" y="30810"/>
                    </a:lnTo>
                    <a:lnTo>
                      <a:pt x="42354" y="32651"/>
                    </a:lnTo>
                    <a:lnTo>
                      <a:pt x="40259" y="34226"/>
                    </a:lnTo>
                    <a:lnTo>
                      <a:pt x="37630" y="35001"/>
                    </a:lnTo>
                    <a:lnTo>
                      <a:pt x="33680" y="35001"/>
                    </a:lnTo>
                    <a:lnTo>
                      <a:pt x="22377" y="35001"/>
                    </a:lnTo>
                    <a:lnTo>
                      <a:pt x="22377" y="15024"/>
                    </a:lnTo>
                    <a:lnTo>
                      <a:pt x="33680" y="15024"/>
                    </a:lnTo>
                    <a:lnTo>
                      <a:pt x="37350" y="15278"/>
                    </a:lnTo>
                    <a:lnTo>
                      <a:pt x="40259" y="16065"/>
                    </a:lnTo>
                    <a:lnTo>
                      <a:pt x="42087" y="17653"/>
                    </a:lnTo>
                    <a:lnTo>
                      <a:pt x="44208" y="19240"/>
                    </a:lnTo>
                    <a:lnTo>
                      <a:pt x="45262" y="21844"/>
                    </a:lnTo>
                    <a:lnTo>
                      <a:pt x="45262" y="965"/>
                    </a:lnTo>
                    <a:lnTo>
                      <a:pt x="41960" y="419"/>
                    </a:lnTo>
                    <a:lnTo>
                      <a:pt x="33680" y="25"/>
                    </a:lnTo>
                    <a:lnTo>
                      <a:pt x="0" y="25"/>
                    </a:lnTo>
                    <a:lnTo>
                      <a:pt x="0" y="85255"/>
                    </a:lnTo>
                    <a:lnTo>
                      <a:pt x="22377" y="85255"/>
                    </a:lnTo>
                    <a:lnTo>
                      <a:pt x="22377" y="50546"/>
                    </a:lnTo>
                    <a:lnTo>
                      <a:pt x="28689" y="50546"/>
                    </a:lnTo>
                    <a:lnTo>
                      <a:pt x="31584" y="51041"/>
                    </a:lnTo>
                    <a:lnTo>
                      <a:pt x="33680" y="52095"/>
                    </a:lnTo>
                    <a:lnTo>
                      <a:pt x="34201" y="52374"/>
                    </a:lnTo>
                    <a:lnTo>
                      <a:pt x="34467" y="52374"/>
                    </a:lnTo>
                    <a:lnTo>
                      <a:pt x="52349" y="85255"/>
                    </a:lnTo>
                    <a:lnTo>
                      <a:pt x="77597" y="85255"/>
                    </a:lnTo>
                    <a:close/>
                  </a:path>
                  <a:path w="548639" h="88264">
                    <a:moveTo>
                      <a:pt x="139547" y="48666"/>
                    </a:moveTo>
                    <a:lnTo>
                      <a:pt x="136664" y="41300"/>
                    </a:lnTo>
                    <a:lnTo>
                      <a:pt x="130619" y="35775"/>
                    </a:lnTo>
                    <a:lnTo>
                      <a:pt x="124841" y="30264"/>
                    </a:lnTo>
                    <a:lnTo>
                      <a:pt x="120878" y="28714"/>
                    </a:lnTo>
                    <a:lnTo>
                      <a:pt x="120878" y="52616"/>
                    </a:lnTo>
                    <a:lnTo>
                      <a:pt x="120878" y="62357"/>
                    </a:lnTo>
                    <a:lnTo>
                      <a:pt x="119557" y="66294"/>
                    </a:lnTo>
                    <a:lnTo>
                      <a:pt x="117195" y="69456"/>
                    </a:lnTo>
                    <a:lnTo>
                      <a:pt x="115100" y="72339"/>
                    </a:lnTo>
                    <a:lnTo>
                      <a:pt x="111937" y="73647"/>
                    </a:lnTo>
                    <a:lnTo>
                      <a:pt x="107988" y="73647"/>
                    </a:lnTo>
                    <a:lnTo>
                      <a:pt x="104305" y="73647"/>
                    </a:lnTo>
                    <a:lnTo>
                      <a:pt x="101155" y="72339"/>
                    </a:lnTo>
                    <a:lnTo>
                      <a:pt x="98780" y="69456"/>
                    </a:lnTo>
                    <a:lnTo>
                      <a:pt x="96418" y="66294"/>
                    </a:lnTo>
                    <a:lnTo>
                      <a:pt x="95364" y="62357"/>
                    </a:lnTo>
                    <a:lnTo>
                      <a:pt x="95364" y="52616"/>
                    </a:lnTo>
                    <a:lnTo>
                      <a:pt x="96418" y="48666"/>
                    </a:lnTo>
                    <a:lnTo>
                      <a:pt x="98780" y="45783"/>
                    </a:lnTo>
                    <a:lnTo>
                      <a:pt x="101155" y="42621"/>
                    </a:lnTo>
                    <a:lnTo>
                      <a:pt x="104305" y="41300"/>
                    </a:lnTo>
                    <a:lnTo>
                      <a:pt x="107988" y="41300"/>
                    </a:lnTo>
                    <a:lnTo>
                      <a:pt x="111937" y="41300"/>
                    </a:lnTo>
                    <a:lnTo>
                      <a:pt x="114820" y="42621"/>
                    </a:lnTo>
                    <a:lnTo>
                      <a:pt x="117195" y="45783"/>
                    </a:lnTo>
                    <a:lnTo>
                      <a:pt x="119557" y="48666"/>
                    </a:lnTo>
                    <a:lnTo>
                      <a:pt x="120878" y="52616"/>
                    </a:lnTo>
                    <a:lnTo>
                      <a:pt x="120878" y="28714"/>
                    </a:lnTo>
                    <a:lnTo>
                      <a:pt x="117462" y="27368"/>
                    </a:lnTo>
                    <a:lnTo>
                      <a:pt x="107988" y="27368"/>
                    </a:lnTo>
                    <a:lnTo>
                      <a:pt x="98780" y="27368"/>
                    </a:lnTo>
                    <a:lnTo>
                      <a:pt x="91414" y="30264"/>
                    </a:lnTo>
                    <a:lnTo>
                      <a:pt x="79844" y="41300"/>
                    </a:lnTo>
                    <a:lnTo>
                      <a:pt x="76949" y="48666"/>
                    </a:lnTo>
                    <a:lnTo>
                      <a:pt x="76949" y="66294"/>
                    </a:lnTo>
                    <a:lnTo>
                      <a:pt x="79844" y="73647"/>
                    </a:lnTo>
                    <a:lnTo>
                      <a:pt x="91414" y="84709"/>
                    </a:lnTo>
                    <a:lnTo>
                      <a:pt x="98780" y="87312"/>
                    </a:lnTo>
                    <a:lnTo>
                      <a:pt x="107988" y="87312"/>
                    </a:lnTo>
                    <a:lnTo>
                      <a:pt x="117462" y="87312"/>
                    </a:lnTo>
                    <a:lnTo>
                      <a:pt x="125095" y="84709"/>
                    </a:lnTo>
                    <a:lnTo>
                      <a:pt x="130873" y="78930"/>
                    </a:lnTo>
                    <a:lnTo>
                      <a:pt x="136664" y="73393"/>
                    </a:lnTo>
                    <a:lnTo>
                      <a:pt x="139547" y="66294"/>
                    </a:lnTo>
                    <a:lnTo>
                      <a:pt x="139547" y="48666"/>
                    </a:lnTo>
                    <a:close/>
                  </a:path>
                  <a:path w="548639" h="88264">
                    <a:moveTo>
                      <a:pt x="240284" y="44170"/>
                    </a:moveTo>
                    <a:lnTo>
                      <a:pt x="238696" y="38493"/>
                    </a:lnTo>
                    <a:lnTo>
                      <a:pt x="232257" y="31242"/>
                    </a:lnTo>
                    <a:lnTo>
                      <a:pt x="227774" y="29425"/>
                    </a:lnTo>
                    <a:lnTo>
                      <a:pt x="218198" y="29425"/>
                    </a:lnTo>
                    <a:lnTo>
                      <a:pt x="214947" y="30099"/>
                    </a:lnTo>
                    <a:lnTo>
                      <a:pt x="209651" y="32766"/>
                    </a:lnTo>
                    <a:lnTo>
                      <a:pt x="206730" y="35293"/>
                    </a:lnTo>
                    <a:lnTo>
                      <a:pt x="203530" y="39001"/>
                    </a:lnTo>
                    <a:lnTo>
                      <a:pt x="201968" y="35826"/>
                    </a:lnTo>
                    <a:lnTo>
                      <a:pt x="199961" y="33451"/>
                    </a:lnTo>
                    <a:lnTo>
                      <a:pt x="195033" y="30226"/>
                    </a:lnTo>
                    <a:lnTo>
                      <a:pt x="191643" y="29425"/>
                    </a:lnTo>
                    <a:lnTo>
                      <a:pt x="183476" y="29425"/>
                    </a:lnTo>
                    <a:lnTo>
                      <a:pt x="180111" y="30162"/>
                    </a:lnTo>
                    <a:lnTo>
                      <a:pt x="174523" y="33096"/>
                    </a:lnTo>
                    <a:lnTo>
                      <a:pt x="171767" y="35547"/>
                    </a:lnTo>
                    <a:lnTo>
                      <a:pt x="169049" y="39001"/>
                    </a:lnTo>
                    <a:lnTo>
                      <a:pt x="169049" y="30645"/>
                    </a:lnTo>
                    <a:lnTo>
                      <a:pt x="150126" y="30645"/>
                    </a:lnTo>
                    <a:lnTo>
                      <a:pt x="150126" y="87655"/>
                    </a:lnTo>
                    <a:lnTo>
                      <a:pt x="170434" y="87655"/>
                    </a:lnTo>
                    <a:lnTo>
                      <a:pt x="170434" y="54267"/>
                    </a:lnTo>
                    <a:lnTo>
                      <a:pt x="171208" y="51142"/>
                    </a:lnTo>
                    <a:lnTo>
                      <a:pt x="174244" y="47332"/>
                    </a:lnTo>
                    <a:lnTo>
                      <a:pt x="176174" y="46393"/>
                    </a:lnTo>
                    <a:lnTo>
                      <a:pt x="179971" y="46393"/>
                    </a:lnTo>
                    <a:lnTo>
                      <a:pt x="184962" y="53771"/>
                    </a:lnTo>
                    <a:lnTo>
                      <a:pt x="184962" y="87655"/>
                    </a:lnTo>
                    <a:lnTo>
                      <a:pt x="205295" y="87655"/>
                    </a:lnTo>
                    <a:lnTo>
                      <a:pt x="205295" y="54063"/>
                    </a:lnTo>
                    <a:lnTo>
                      <a:pt x="206032" y="51041"/>
                    </a:lnTo>
                    <a:lnTo>
                      <a:pt x="208978" y="47320"/>
                    </a:lnTo>
                    <a:lnTo>
                      <a:pt x="210896" y="46393"/>
                    </a:lnTo>
                    <a:lnTo>
                      <a:pt x="215341" y="46393"/>
                    </a:lnTo>
                    <a:lnTo>
                      <a:pt x="217043" y="47383"/>
                    </a:lnTo>
                    <a:lnTo>
                      <a:pt x="219354" y="50609"/>
                    </a:lnTo>
                    <a:lnTo>
                      <a:pt x="219811" y="52539"/>
                    </a:lnTo>
                    <a:lnTo>
                      <a:pt x="219811" y="87655"/>
                    </a:lnTo>
                    <a:lnTo>
                      <a:pt x="240284" y="87655"/>
                    </a:lnTo>
                    <a:lnTo>
                      <a:pt x="240284" y="44170"/>
                    </a:lnTo>
                    <a:close/>
                  </a:path>
                  <a:path w="548639" h="88264">
                    <a:moveTo>
                      <a:pt x="289585" y="48666"/>
                    </a:moveTo>
                    <a:lnTo>
                      <a:pt x="255384" y="48666"/>
                    </a:lnTo>
                    <a:lnTo>
                      <a:pt x="255384" y="65265"/>
                    </a:lnTo>
                    <a:lnTo>
                      <a:pt x="289585" y="65265"/>
                    </a:lnTo>
                    <a:lnTo>
                      <a:pt x="289585" y="48666"/>
                    </a:lnTo>
                    <a:close/>
                  </a:path>
                  <a:path w="548639" h="88264">
                    <a:moveTo>
                      <a:pt x="382943" y="86283"/>
                    </a:moveTo>
                    <a:lnTo>
                      <a:pt x="365861" y="52095"/>
                    </a:lnTo>
                    <a:lnTo>
                      <a:pt x="358228" y="46304"/>
                    </a:lnTo>
                    <a:lnTo>
                      <a:pt x="363512" y="44196"/>
                    </a:lnTo>
                    <a:lnTo>
                      <a:pt x="367423" y="41300"/>
                    </a:lnTo>
                    <a:lnTo>
                      <a:pt x="369811" y="37884"/>
                    </a:lnTo>
                    <a:lnTo>
                      <a:pt x="372440" y="34455"/>
                    </a:lnTo>
                    <a:lnTo>
                      <a:pt x="373748" y="30530"/>
                    </a:lnTo>
                    <a:lnTo>
                      <a:pt x="373621" y="17106"/>
                    </a:lnTo>
                    <a:lnTo>
                      <a:pt x="370852" y="11074"/>
                    </a:lnTo>
                    <a:lnTo>
                      <a:pt x="365074" y="7112"/>
                    </a:lnTo>
                    <a:lnTo>
                      <a:pt x="360324" y="4495"/>
                    </a:lnTo>
                    <a:lnTo>
                      <a:pt x="354406" y="2603"/>
                    </a:lnTo>
                    <a:lnTo>
                      <a:pt x="350621" y="1993"/>
                    </a:lnTo>
                    <a:lnTo>
                      <a:pt x="350621" y="22898"/>
                    </a:lnTo>
                    <a:lnTo>
                      <a:pt x="350621" y="29476"/>
                    </a:lnTo>
                    <a:lnTo>
                      <a:pt x="349542" y="31826"/>
                    </a:lnTo>
                    <a:lnTo>
                      <a:pt x="347700" y="33667"/>
                    </a:lnTo>
                    <a:lnTo>
                      <a:pt x="345605" y="35255"/>
                    </a:lnTo>
                    <a:lnTo>
                      <a:pt x="342963" y="36042"/>
                    </a:lnTo>
                    <a:lnTo>
                      <a:pt x="339026" y="36042"/>
                    </a:lnTo>
                    <a:lnTo>
                      <a:pt x="327723" y="36042"/>
                    </a:lnTo>
                    <a:lnTo>
                      <a:pt x="327723" y="16052"/>
                    </a:lnTo>
                    <a:lnTo>
                      <a:pt x="339026" y="16052"/>
                    </a:lnTo>
                    <a:lnTo>
                      <a:pt x="342709" y="16319"/>
                    </a:lnTo>
                    <a:lnTo>
                      <a:pt x="345605" y="17106"/>
                    </a:lnTo>
                    <a:lnTo>
                      <a:pt x="347459" y="18681"/>
                    </a:lnTo>
                    <a:lnTo>
                      <a:pt x="349542" y="20269"/>
                    </a:lnTo>
                    <a:lnTo>
                      <a:pt x="350621" y="22898"/>
                    </a:lnTo>
                    <a:lnTo>
                      <a:pt x="350621" y="1993"/>
                    </a:lnTo>
                    <a:lnTo>
                      <a:pt x="347294" y="1447"/>
                    </a:lnTo>
                    <a:lnTo>
                      <a:pt x="339026" y="1066"/>
                    </a:lnTo>
                    <a:lnTo>
                      <a:pt x="305346" y="1066"/>
                    </a:lnTo>
                    <a:lnTo>
                      <a:pt x="305346" y="86283"/>
                    </a:lnTo>
                    <a:lnTo>
                      <a:pt x="327723" y="86283"/>
                    </a:lnTo>
                    <a:lnTo>
                      <a:pt x="327723" y="51562"/>
                    </a:lnTo>
                    <a:lnTo>
                      <a:pt x="334035" y="51562"/>
                    </a:lnTo>
                    <a:lnTo>
                      <a:pt x="336931" y="52095"/>
                    </a:lnTo>
                    <a:lnTo>
                      <a:pt x="339026" y="53149"/>
                    </a:lnTo>
                    <a:lnTo>
                      <a:pt x="339559" y="53403"/>
                    </a:lnTo>
                    <a:lnTo>
                      <a:pt x="339826" y="53403"/>
                    </a:lnTo>
                    <a:lnTo>
                      <a:pt x="340334" y="53682"/>
                    </a:lnTo>
                    <a:lnTo>
                      <a:pt x="342430" y="55257"/>
                    </a:lnTo>
                    <a:lnTo>
                      <a:pt x="344538" y="57873"/>
                    </a:lnTo>
                    <a:lnTo>
                      <a:pt x="346405" y="61823"/>
                    </a:lnTo>
                    <a:lnTo>
                      <a:pt x="357695" y="86283"/>
                    </a:lnTo>
                    <a:lnTo>
                      <a:pt x="382943" y="86283"/>
                    </a:lnTo>
                    <a:close/>
                  </a:path>
                  <a:path w="548639" h="88264">
                    <a:moveTo>
                      <a:pt x="446582" y="82867"/>
                    </a:moveTo>
                    <a:lnTo>
                      <a:pt x="446354" y="78333"/>
                    </a:lnTo>
                    <a:lnTo>
                      <a:pt x="441096" y="82867"/>
                    </a:lnTo>
                    <a:lnTo>
                      <a:pt x="439902" y="81280"/>
                    </a:lnTo>
                    <a:lnTo>
                      <a:pt x="437921" y="78651"/>
                    </a:lnTo>
                    <a:lnTo>
                      <a:pt x="438416" y="72872"/>
                    </a:lnTo>
                    <a:lnTo>
                      <a:pt x="438886" y="58407"/>
                    </a:lnTo>
                    <a:lnTo>
                      <a:pt x="439115" y="51562"/>
                    </a:lnTo>
                    <a:lnTo>
                      <a:pt x="439153" y="40525"/>
                    </a:lnTo>
                    <a:lnTo>
                      <a:pt x="437388" y="35775"/>
                    </a:lnTo>
                    <a:lnTo>
                      <a:pt x="433451" y="32359"/>
                    </a:lnTo>
                    <a:lnTo>
                      <a:pt x="429501" y="29197"/>
                    </a:lnTo>
                    <a:lnTo>
                      <a:pt x="423176" y="27609"/>
                    </a:lnTo>
                    <a:lnTo>
                      <a:pt x="420560" y="27609"/>
                    </a:lnTo>
                    <a:lnTo>
                      <a:pt x="420560" y="58407"/>
                    </a:lnTo>
                    <a:lnTo>
                      <a:pt x="420560" y="72872"/>
                    </a:lnTo>
                    <a:lnTo>
                      <a:pt x="418744" y="73914"/>
                    </a:lnTo>
                    <a:lnTo>
                      <a:pt x="415569" y="75501"/>
                    </a:lnTo>
                    <a:lnTo>
                      <a:pt x="412419" y="76288"/>
                    </a:lnTo>
                    <a:lnTo>
                      <a:pt x="409003" y="76288"/>
                    </a:lnTo>
                    <a:lnTo>
                      <a:pt x="407149" y="75755"/>
                    </a:lnTo>
                    <a:lnTo>
                      <a:pt x="404774" y="73393"/>
                    </a:lnTo>
                    <a:lnTo>
                      <a:pt x="404355" y="72339"/>
                    </a:lnTo>
                    <a:lnTo>
                      <a:pt x="404253" y="67856"/>
                    </a:lnTo>
                    <a:lnTo>
                      <a:pt x="405307" y="66027"/>
                    </a:lnTo>
                    <a:lnTo>
                      <a:pt x="417398" y="59728"/>
                    </a:lnTo>
                    <a:lnTo>
                      <a:pt x="420560" y="58407"/>
                    </a:lnTo>
                    <a:lnTo>
                      <a:pt x="420560" y="27609"/>
                    </a:lnTo>
                    <a:lnTo>
                      <a:pt x="412419" y="27609"/>
                    </a:lnTo>
                    <a:lnTo>
                      <a:pt x="407657" y="27889"/>
                    </a:lnTo>
                    <a:lnTo>
                      <a:pt x="403466" y="28409"/>
                    </a:lnTo>
                    <a:lnTo>
                      <a:pt x="399770" y="29464"/>
                    </a:lnTo>
                    <a:lnTo>
                      <a:pt x="395312" y="30530"/>
                    </a:lnTo>
                    <a:lnTo>
                      <a:pt x="393725" y="30784"/>
                    </a:lnTo>
                    <a:lnTo>
                      <a:pt x="390042" y="33147"/>
                    </a:lnTo>
                    <a:lnTo>
                      <a:pt x="389255" y="47104"/>
                    </a:lnTo>
                    <a:lnTo>
                      <a:pt x="392696" y="43929"/>
                    </a:lnTo>
                    <a:lnTo>
                      <a:pt x="394258" y="43675"/>
                    </a:lnTo>
                    <a:lnTo>
                      <a:pt x="397675" y="42087"/>
                    </a:lnTo>
                    <a:lnTo>
                      <a:pt x="401370" y="40525"/>
                    </a:lnTo>
                    <a:lnTo>
                      <a:pt x="404774" y="39725"/>
                    </a:lnTo>
                    <a:lnTo>
                      <a:pt x="409765" y="39725"/>
                    </a:lnTo>
                    <a:lnTo>
                      <a:pt x="411086" y="40005"/>
                    </a:lnTo>
                    <a:lnTo>
                      <a:pt x="412419" y="40005"/>
                    </a:lnTo>
                    <a:lnTo>
                      <a:pt x="414515" y="40525"/>
                    </a:lnTo>
                    <a:lnTo>
                      <a:pt x="416077" y="41033"/>
                    </a:lnTo>
                    <a:lnTo>
                      <a:pt x="417131" y="41821"/>
                    </a:lnTo>
                    <a:lnTo>
                      <a:pt x="418985" y="43141"/>
                    </a:lnTo>
                    <a:lnTo>
                      <a:pt x="420039" y="44970"/>
                    </a:lnTo>
                    <a:lnTo>
                      <a:pt x="420039" y="49466"/>
                    </a:lnTo>
                    <a:lnTo>
                      <a:pt x="417131" y="50253"/>
                    </a:lnTo>
                    <a:lnTo>
                      <a:pt x="414782" y="51028"/>
                    </a:lnTo>
                    <a:lnTo>
                      <a:pt x="412419" y="51562"/>
                    </a:lnTo>
                    <a:lnTo>
                      <a:pt x="401891" y="54965"/>
                    </a:lnTo>
                    <a:lnTo>
                      <a:pt x="394792" y="57594"/>
                    </a:lnTo>
                    <a:lnTo>
                      <a:pt x="391096" y="60236"/>
                    </a:lnTo>
                    <a:lnTo>
                      <a:pt x="386651" y="63144"/>
                    </a:lnTo>
                    <a:lnTo>
                      <a:pt x="384530" y="67081"/>
                    </a:lnTo>
                    <a:lnTo>
                      <a:pt x="384530" y="76809"/>
                    </a:lnTo>
                    <a:lnTo>
                      <a:pt x="386105" y="81026"/>
                    </a:lnTo>
                    <a:lnTo>
                      <a:pt x="391896" y="86271"/>
                    </a:lnTo>
                    <a:lnTo>
                      <a:pt x="396341" y="87604"/>
                    </a:lnTo>
                    <a:lnTo>
                      <a:pt x="405574" y="87604"/>
                    </a:lnTo>
                    <a:lnTo>
                      <a:pt x="409003" y="87058"/>
                    </a:lnTo>
                    <a:lnTo>
                      <a:pt x="412140" y="86029"/>
                    </a:lnTo>
                    <a:lnTo>
                      <a:pt x="412419" y="86029"/>
                    </a:lnTo>
                    <a:lnTo>
                      <a:pt x="415302" y="84963"/>
                    </a:lnTo>
                    <a:lnTo>
                      <a:pt x="418198" y="83388"/>
                    </a:lnTo>
                    <a:lnTo>
                      <a:pt x="420814" y="81280"/>
                    </a:lnTo>
                    <a:lnTo>
                      <a:pt x="421093" y="83388"/>
                    </a:lnTo>
                    <a:lnTo>
                      <a:pt x="422148" y="84963"/>
                    </a:lnTo>
                    <a:lnTo>
                      <a:pt x="423989" y="86029"/>
                    </a:lnTo>
                    <a:lnTo>
                      <a:pt x="425564" y="87058"/>
                    </a:lnTo>
                    <a:lnTo>
                      <a:pt x="430034" y="87858"/>
                    </a:lnTo>
                    <a:lnTo>
                      <a:pt x="435305" y="87858"/>
                    </a:lnTo>
                    <a:lnTo>
                      <a:pt x="437921" y="87604"/>
                    </a:lnTo>
                    <a:lnTo>
                      <a:pt x="446074" y="85509"/>
                    </a:lnTo>
                    <a:lnTo>
                      <a:pt x="446532" y="83388"/>
                    </a:lnTo>
                    <a:lnTo>
                      <a:pt x="446582" y="82867"/>
                    </a:lnTo>
                    <a:close/>
                  </a:path>
                  <a:path w="548639" h="88264">
                    <a:moveTo>
                      <a:pt x="446595" y="78117"/>
                    </a:moveTo>
                    <a:lnTo>
                      <a:pt x="446341" y="78117"/>
                    </a:lnTo>
                    <a:lnTo>
                      <a:pt x="446354" y="78333"/>
                    </a:lnTo>
                    <a:lnTo>
                      <a:pt x="446595" y="78117"/>
                    </a:lnTo>
                    <a:close/>
                  </a:path>
                  <a:path w="548639" h="88264">
                    <a:moveTo>
                      <a:pt x="474751" y="28676"/>
                    </a:moveTo>
                    <a:lnTo>
                      <a:pt x="455561" y="28676"/>
                    </a:lnTo>
                    <a:lnTo>
                      <a:pt x="455561" y="86271"/>
                    </a:lnTo>
                    <a:lnTo>
                      <a:pt x="474751" y="86271"/>
                    </a:lnTo>
                    <a:lnTo>
                      <a:pt x="474751" y="28676"/>
                    </a:lnTo>
                    <a:close/>
                  </a:path>
                  <a:path w="548639" h="88264">
                    <a:moveTo>
                      <a:pt x="475526" y="7112"/>
                    </a:moveTo>
                    <a:lnTo>
                      <a:pt x="474510" y="4749"/>
                    </a:lnTo>
                    <a:lnTo>
                      <a:pt x="472655" y="2895"/>
                    </a:lnTo>
                    <a:lnTo>
                      <a:pt x="470560" y="1054"/>
                    </a:lnTo>
                    <a:lnTo>
                      <a:pt x="468172" y="0"/>
                    </a:lnTo>
                    <a:lnTo>
                      <a:pt x="462381" y="0"/>
                    </a:lnTo>
                    <a:lnTo>
                      <a:pt x="460032" y="1054"/>
                    </a:lnTo>
                    <a:lnTo>
                      <a:pt x="458190" y="2895"/>
                    </a:lnTo>
                    <a:lnTo>
                      <a:pt x="456082" y="4749"/>
                    </a:lnTo>
                    <a:lnTo>
                      <a:pt x="455041" y="7112"/>
                    </a:lnTo>
                    <a:lnTo>
                      <a:pt x="455041" y="12623"/>
                    </a:lnTo>
                    <a:lnTo>
                      <a:pt x="456082" y="14719"/>
                    </a:lnTo>
                    <a:lnTo>
                      <a:pt x="460032" y="18669"/>
                    </a:lnTo>
                    <a:lnTo>
                      <a:pt x="462381" y="19456"/>
                    </a:lnTo>
                    <a:lnTo>
                      <a:pt x="468172" y="19456"/>
                    </a:lnTo>
                    <a:lnTo>
                      <a:pt x="470560" y="18669"/>
                    </a:lnTo>
                    <a:lnTo>
                      <a:pt x="472655" y="16840"/>
                    </a:lnTo>
                    <a:lnTo>
                      <a:pt x="474510" y="14986"/>
                    </a:lnTo>
                    <a:lnTo>
                      <a:pt x="475526" y="12623"/>
                    </a:lnTo>
                    <a:lnTo>
                      <a:pt x="475526" y="7112"/>
                    </a:lnTo>
                    <a:close/>
                  </a:path>
                  <a:path w="548639" h="88264">
                    <a:moveTo>
                      <a:pt x="508952" y="1054"/>
                    </a:moveTo>
                    <a:lnTo>
                      <a:pt x="489750" y="1054"/>
                    </a:lnTo>
                    <a:lnTo>
                      <a:pt x="489750" y="86271"/>
                    </a:lnTo>
                    <a:lnTo>
                      <a:pt x="508952" y="86271"/>
                    </a:lnTo>
                    <a:lnTo>
                      <a:pt x="508952" y="1054"/>
                    </a:lnTo>
                    <a:close/>
                  </a:path>
                  <a:path w="548639" h="88264">
                    <a:moveTo>
                      <a:pt x="543382" y="20904"/>
                    </a:moveTo>
                    <a:lnTo>
                      <a:pt x="539838" y="15468"/>
                    </a:lnTo>
                    <a:lnTo>
                      <a:pt x="539203" y="14897"/>
                    </a:lnTo>
                    <a:lnTo>
                      <a:pt x="538530" y="14516"/>
                    </a:lnTo>
                    <a:lnTo>
                      <a:pt x="537883" y="14160"/>
                    </a:lnTo>
                    <a:lnTo>
                      <a:pt x="542086" y="11582"/>
                    </a:lnTo>
                    <a:lnTo>
                      <a:pt x="541997" y="8204"/>
                    </a:lnTo>
                    <a:lnTo>
                      <a:pt x="541337" y="6667"/>
                    </a:lnTo>
                    <a:lnTo>
                      <a:pt x="539470" y="5994"/>
                    </a:lnTo>
                    <a:lnTo>
                      <a:pt x="538657" y="5765"/>
                    </a:lnTo>
                    <a:lnTo>
                      <a:pt x="538657" y="11531"/>
                    </a:lnTo>
                    <a:lnTo>
                      <a:pt x="537527" y="11887"/>
                    </a:lnTo>
                    <a:lnTo>
                      <a:pt x="536994" y="12077"/>
                    </a:lnTo>
                    <a:lnTo>
                      <a:pt x="532231" y="12077"/>
                    </a:lnTo>
                    <a:lnTo>
                      <a:pt x="532231" y="8204"/>
                    </a:lnTo>
                    <a:lnTo>
                      <a:pt x="537337" y="8204"/>
                    </a:lnTo>
                    <a:lnTo>
                      <a:pt x="538543" y="8877"/>
                    </a:lnTo>
                    <a:lnTo>
                      <a:pt x="538657" y="11531"/>
                    </a:lnTo>
                    <a:lnTo>
                      <a:pt x="538657" y="5765"/>
                    </a:lnTo>
                    <a:lnTo>
                      <a:pt x="538213" y="5626"/>
                    </a:lnTo>
                    <a:lnTo>
                      <a:pt x="529031" y="5626"/>
                    </a:lnTo>
                    <a:lnTo>
                      <a:pt x="529031" y="20904"/>
                    </a:lnTo>
                    <a:lnTo>
                      <a:pt x="532231" y="20904"/>
                    </a:lnTo>
                    <a:lnTo>
                      <a:pt x="532231" y="14516"/>
                    </a:lnTo>
                    <a:lnTo>
                      <a:pt x="535051" y="14516"/>
                    </a:lnTo>
                    <a:lnTo>
                      <a:pt x="539521" y="20904"/>
                    </a:lnTo>
                    <a:lnTo>
                      <a:pt x="543382" y="20904"/>
                    </a:lnTo>
                    <a:close/>
                  </a:path>
                  <a:path w="548639" h="88264">
                    <a:moveTo>
                      <a:pt x="548195" y="6578"/>
                    </a:moveTo>
                    <a:lnTo>
                      <a:pt x="547471" y="5892"/>
                    </a:lnTo>
                    <a:lnTo>
                      <a:pt x="547471" y="6959"/>
                    </a:lnTo>
                    <a:lnTo>
                      <a:pt x="547471" y="19913"/>
                    </a:lnTo>
                    <a:lnTo>
                      <a:pt x="541959" y="25171"/>
                    </a:lnTo>
                    <a:lnTo>
                      <a:pt x="528396" y="25171"/>
                    </a:lnTo>
                    <a:lnTo>
                      <a:pt x="522859" y="19913"/>
                    </a:lnTo>
                    <a:lnTo>
                      <a:pt x="522859" y="6959"/>
                    </a:lnTo>
                    <a:lnTo>
                      <a:pt x="528396" y="1701"/>
                    </a:lnTo>
                    <a:lnTo>
                      <a:pt x="541959" y="1701"/>
                    </a:lnTo>
                    <a:lnTo>
                      <a:pt x="547471" y="6959"/>
                    </a:lnTo>
                    <a:lnTo>
                      <a:pt x="547471" y="5892"/>
                    </a:lnTo>
                    <a:lnTo>
                      <a:pt x="543128" y="1701"/>
                    </a:lnTo>
                    <a:lnTo>
                      <a:pt x="542353" y="965"/>
                    </a:lnTo>
                    <a:lnTo>
                      <a:pt x="527989" y="965"/>
                    </a:lnTo>
                    <a:lnTo>
                      <a:pt x="522135" y="6578"/>
                    </a:lnTo>
                    <a:lnTo>
                      <a:pt x="522135" y="20307"/>
                    </a:lnTo>
                    <a:lnTo>
                      <a:pt x="527989" y="25908"/>
                    </a:lnTo>
                    <a:lnTo>
                      <a:pt x="542353" y="25908"/>
                    </a:lnTo>
                    <a:lnTo>
                      <a:pt x="543128" y="25171"/>
                    </a:lnTo>
                    <a:lnTo>
                      <a:pt x="548195" y="20307"/>
                    </a:lnTo>
                    <a:lnTo>
                      <a:pt x="548195" y="6578"/>
                    </a:lnTo>
                    <a:close/>
                  </a:path>
                </a:pathLst>
              </a:custGeom>
              <a:solidFill>
                <a:srgbClr val="231F20"/>
              </a:solidFill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sp>
            <p:nvSpPr>
              <p:cNvPr id="697" name="object 36">
                <a:extLst>
                  <a:ext uri="{FF2B5EF4-FFF2-40B4-BE49-F238E27FC236}">
                    <a16:creationId xmlns:a16="http://schemas.microsoft.com/office/drawing/2014/main" id="{BBD2D275-E6EE-12F8-1915-490C0A3575D4}"/>
                  </a:ext>
                </a:extLst>
              </p:cNvPr>
              <p:cNvSpPr txBox="1"/>
              <p:nvPr/>
            </p:nvSpPr>
            <p:spPr>
              <a:xfrm>
                <a:off x="4188724" y="5133352"/>
                <a:ext cx="576244" cy="144453"/>
              </a:xfrm>
              <a:prstGeom prst="rect">
                <a:avLst/>
              </a:prstGeom>
            </p:spPr>
            <p:txBody>
              <a:bodyPr vert="horz" wrap="square" lIns="0" tIns="12700" rIns="0" bIns="0" rtlCol="0">
                <a:spAutoFit/>
              </a:bodyPr>
              <a:lstStyle/>
              <a:p>
                <a:pPr marL="12700">
                  <a:lnSpc>
                    <a:spcPct val="100000"/>
                  </a:lnSpc>
                  <a:spcBef>
                    <a:spcPts val="100"/>
                  </a:spcBef>
                </a:pPr>
                <a:r>
                  <a:rPr sz="700" b="1" spc="70" dirty="0">
                    <a:solidFill>
                      <a:srgbClr val="58595B"/>
                    </a:solidFill>
                    <a:cs typeface="Calibri"/>
                  </a:rPr>
                  <a:t>Greece</a:t>
                </a:r>
                <a:endParaRPr sz="700" dirty="0">
                  <a:cs typeface="Calibri"/>
                </a:endParaRPr>
              </a:p>
            </p:txBody>
          </p:sp>
          <p:pic>
            <p:nvPicPr>
              <p:cNvPr id="698" name="object 37">
                <a:extLst>
                  <a:ext uri="{FF2B5EF4-FFF2-40B4-BE49-F238E27FC236}">
                    <a16:creationId xmlns:a16="http://schemas.microsoft.com/office/drawing/2014/main" id="{7EC63349-FB8E-3028-9D7F-01FC85AA6CB0}"/>
                  </a:ext>
                </a:extLst>
              </p:cNvPr>
              <p:cNvPicPr/>
              <p:nvPr/>
            </p:nvPicPr>
            <p:blipFill>
              <a:blip r:embed="rId59" cstate="print"/>
              <a:stretch>
                <a:fillRect/>
              </a:stretch>
            </p:blipFill>
            <p:spPr>
              <a:xfrm>
                <a:off x="4205430" y="5339358"/>
                <a:ext cx="1126418" cy="253161"/>
              </a:xfrm>
              <a:prstGeom prst="rect">
                <a:avLst/>
              </a:prstGeom>
            </p:spPr>
          </p:pic>
          <p:pic>
            <p:nvPicPr>
              <p:cNvPr id="699" name="object 51">
                <a:extLst>
                  <a:ext uri="{FF2B5EF4-FFF2-40B4-BE49-F238E27FC236}">
                    <a16:creationId xmlns:a16="http://schemas.microsoft.com/office/drawing/2014/main" id="{E8D9CB26-FB9D-F8FD-3ABF-D9991A834ADC}"/>
                  </a:ext>
                </a:extLst>
              </p:cNvPr>
              <p:cNvPicPr/>
              <p:nvPr/>
            </p:nvPicPr>
            <p:blipFill>
              <a:blip r:embed="rId60" cstate="print"/>
              <a:stretch>
                <a:fillRect/>
              </a:stretch>
            </p:blipFill>
            <p:spPr>
              <a:xfrm>
                <a:off x="4460679" y="3549458"/>
                <a:ext cx="496205" cy="282773"/>
              </a:xfrm>
              <a:prstGeom prst="rect">
                <a:avLst/>
              </a:prstGeom>
            </p:spPr>
          </p:pic>
          <p:sp>
            <p:nvSpPr>
              <p:cNvPr id="700" name="object 52">
                <a:extLst>
                  <a:ext uri="{FF2B5EF4-FFF2-40B4-BE49-F238E27FC236}">
                    <a16:creationId xmlns:a16="http://schemas.microsoft.com/office/drawing/2014/main" id="{06AF800A-A310-ABDB-3193-92A432171388}"/>
                  </a:ext>
                </a:extLst>
              </p:cNvPr>
              <p:cNvSpPr/>
              <p:nvPr/>
            </p:nvSpPr>
            <p:spPr>
              <a:xfrm flipV="1">
                <a:off x="2806441" y="3856885"/>
                <a:ext cx="2137716" cy="48996"/>
              </a:xfrm>
              <a:custGeom>
                <a:avLst/>
                <a:gdLst/>
                <a:ahLst/>
                <a:cxnLst/>
                <a:rect l="l" t="t" r="r" b="b"/>
                <a:pathLst>
                  <a:path w="868044">
                    <a:moveTo>
                      <a:pt x="0" y="0"/>
                    </a:moveTo>
                    <a:lnTo>
                      <a:pt x="867523" y="0"/>
                    </a:lnTo>
                  </a:path>
                </a:pathLst>
              </a:custGeom>
              <a:ln w="12700">
                <a:solidFill>
                  <a:srgbClr val="6D6E71"/>
                </a:solidFill>
                <a:prstDash val="dot"/>
              </a:ln>
            </p:spPr>
            <p:txBody>
              <a:bodyPr wrap="square" lIns="0" tIns="0" rIns="0" bIns="0" rtlCol="0"/>
              <a:lstStyle/>
              <a:p>
                <a:endParaRPr sz="1400" dirty="0"/>
              </a:p>
            </p:txBody>
          </p:sp>
          <p:pic>
            <p:nvPicPr>
              <p:cNvPr id="701" name="object 55">
                <a:extLst>
                  <a:ext uri="{FF2B5EF4-FFF2-40B4-BE49-F238E27FC236}">
                    <a16:creationId xmlns:a16="http://schemas.microsoft.com/office/drawing/2014/main" id="{908E7B65-BE17-433D-0060-4F6BFD60C162}"/>
                  </a:ext>
                </a:extLst>
              </p:cNvPr>
              <p:cNvPicPr/>
              <p:nvPr/>
            </p:nvPicPr>
            <p:blipFill>
              <a:blip r:embed="rId61" cstate="print"/>
              <a:stretch>
                <a:fillRect/>
              </a:stretch>
            </p:blipFill>
            <p:spPr>
              <a:xfrm>
                <a:off x="325725" y="4003444"/>
                <a:ext cx="961348" cy="573868"/>
              </a:xfrm>
              <a:prstGeom prst="rect">
                <a:avLst/>
              </a:prstGeom>
            </p:spPr>
          </p:pic>
          <p:pic>
            <p:nvPicPr>
              <p:cNvPr id="702" name="object 56">
                <a:extLst>
                  <a:ext uri="{FF2B5EF4-FFF2-40B4-BE49-F238E27FC236}">
                    <a16:creationId xmlns:a16="http://schemas.microsoft.com/office/drawing/2014/main" id="{A294AD0E-B180-8E08-584C-3F4447DE35A0}"/>
                  </a:ext>
                </a:extLst>
              </p:cNvPr>
              <p:cNvPicPr/>
              <p:nvPr/>
            </p:nvPicPr>
            <p:blipFill>
              <a:blip r:embed="rId62" cstate="print"/>
              <a:stretch>
                <a:fillRect/>
              </a:stretch>
            </p:blipFill>
            <p:spPr>
              <a:xfrm>
                <a:off x="4460681" y="3222602"/>
                <a:ext cx="812402" cy="267622"/>
              </a:xfrm>
              <a:prstGeom prst="rect">
                <a:avLst/>
              </a:prstGeom>
            </p:spPr>
          </p:pic>
        </p:grpSp>
      </p:grpSp>
      <p:pic>
        <p:nvPicPr>
          <p:cNvPr id="1026" name="Picture 2" descr="Adesivi Tricolore orizzontale - GAT">
            <a:extLst>
              <a:ext uri="{FF2B5EF4-FFF2-40B4-BE49-F238E27FC236}">
                <a16:creationId xmlns:a16="http://schemas.microsoft.com/office/drawing/2014/main" id="{FB0C28DB-AD4B-0E9D-5B44-0B6621AAB13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285" b="46217"/>
          <a:stretch/>
        </p:blipFill>
        <p:spPr bwMode="auto">
          <a:xfrm flipV="1">
            <a:off x="2027791" y="1651134"/>
            <a:ext cx="1604874" cy="136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 descr="Adesivi Tricolore orizzontale - GAT">
            <a:extLst>
              <a:ext uri="{FF2B5EF4-FFF2-40B4-BE49-F238E27FC236}">
                <a16:creationId xmlns:a16="http://schemas.microsoft.com/office/drawing/2014/main" id="{3055D344-E612-25A0-334B-F62C8A5DC1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285" b="46217"/>
          <a:stretch/>
        </p:blipFill>
        <p:spPr bwMode="auto">
          <a:xfrm flipV="1">
            <a:off x="5399388" y="1651795"/>
            <a:ext cx="1604874" cy="136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Adesivi Tricolore orizzontale - GAT">
            <a:extLst>
              <a:ext uri="{FF2B5EF4-FFF2-40B4-BE49-F238E27FC236}">
                <a16:creationId xmlns:a16="http://schemas.microsoft.com/office/drawing/2014/main" id="{464D1781-8D82-7FD9-E0D0-B8595A04A8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5285" b="46217"/>
          <a:stretch/>
        </p:blipFill>
        <p:spPr bwMode="auto">
          <a:xfrm flipV="1">
            <a:off x="9468269" y="1590792"/>
            <a:ext cx="1604874" cy="1363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30489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think-cell data - do not delete" hidden="1">
            <a:extLst>
              <a:ext uri="{FF2B5EF4-FFF2-40B4-BE49-F238E27FC236}">
                <a16:creationId xmlns:a16="http://schemas.microsoft.com/office/drawing/2014/main" id="{E34180C5-9C9E-432F-B526-F9214C07CE4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267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425" imgH="424" progId="TCLayout.ActiveDocument.1">
                  <p:embed/>
                </p:oleObj>
              </mc:Choice>
              <mc:Fallback>
                <p:oleObj name="Diapositiva think-cell" r:id="rId3" imgW="425" imgH="424" progId="TCLayout.ActiveDocument.1">
                  <p:embed/>
                  <p:pic>
                    <p:nvPicPr>
                      <p:cNvPr id="10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4180C5-9C9E-432F-B526-F9214C07C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olo 2">
            <a:extLst>
              <a:ext uri="{FF2B5EF4-FFF2-40B4-BE49-F238E27FC236}">
                <a16:creationId xmlns:a16="http://schemas.microsoft.com/office/drawing/2014/main" id="{C9784386-1254-D9BF-85E6-8442CDDA1C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he Strategy and the four business Hubs</a:t>
            </a:r>
          </a:p>
        </p:txBody>
      </p:sp>
      <p:pic>
        <p:nvPicPr>
          <p:cNvPr id="6" name="object 5">
            <a:extLst>
              <a:ext uri="{FF2B5EF4-FFF2-40B4-BE49-F238E27FC236}">
                <a16:creationId xmlns:a16="http://schemas.microsoft.com/office/drawing/2014/main" id="{DA3D0560-08EC-A8AB-E8F0-B3B7D7864A47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222247" y="4071723"/>
            <a:ext cx="199644" cy="187452"/>
          </a:xfrm>
          <a:prstGeom prst="rect">
            <a:avLst/>
          </a:prstGeom>
        </p:spPr>
      </p:pic>
      <p:pic>
        <p:nvPicPr>
          <p:cNvPr id="7" name="object 6">
            <a:extLst>
              <a:ext uri="{FF2B5EF4-FFF2-40B4-BE49-F238E27FC236}">
                <a16:creationId xmlns:a16="http://schemas.microsoft.com/office/drawing/2014/main" id="{7A9C2BE5-9124-9D66-65BB-69360F5DED49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3168395" y="4071723"/>
            <a:ext cx="199644" cy="187452"/>
          </a:xfrm>
          <a:prstGeom prst="rect">
            <a:avLst/>
          </a:prstGeom>
        </p:spPr>
      </p:pic>
      <p:pic>
        <p:nvPicPr>
          <p:cNvPr id="8" name="object 7">
            <a:extLst>
              <a:ext uri="{FF2B5EF4-FFF2-40B4-BE49-F238E27FC236}">
                <a16:creationId xmlns:a16="http://schemas.microsoft.com/office/drawing/2014/main" id="{36F81F86-3C85-0232-09EF-CCB33A130437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4977384" y="4080867"/>
            <a:ext cx="199643" cy="187451"/>
          </a:xfrm>
          <a:prstGeom prst="rect">
            <a:avLst/>
          </a:prstGeom>
        </p:spPr>
      </p:pic>
      <p:pic>
        <p:nvPicPr>
          <p:cNvPr id="9" name="object 8">
            <a:extLst>
              <a:ext uri="{FF2B5EF4-FFF2-40B4-BE49-F238E27FC236}">
                <a16:creationId xmlns:a16="http://schemas.microsoft.com/office/drawing/2014/main" id="{FB089372-D616-F2FB-12C1-B444EDFFE9AC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6824471" y="4091535"/>
            <a:ext cx="199644" cy="187452"/>
          </a:xfrm>
          <a:prstGeom prst="rect">
            <a:avLst/>
          </a:prstGeom>
        </p:spPr>
      </p:pic>
      <p:sp>
        <p:nvSpPr>
          <p:cNvPr id="10" name="object 9">
            <a:extLst>
              <a:ext uri="{FF2B5EF4-FFF2-40B4-BE49-F238E27FC236}">
                <a16:creationId xmlns:a16="http://schemas.microsoft.com/office/drawing/2014/main" id="{AB407F46-682F-1C85-E8D7-D2AF029A930F}"/>
              </a:ext>
            </a:extLst>
          </p:cNvPr>
          <p:cNvSpPr/>
          <p:nvPr/>
        </p:nvSpPr>
        <p:spPr>
          <a:xfrm>
            <a:off x="8523731" y="992124"/>
            <a:ext cx="2840990" cy="2155190"/>
          </a:xfrm>
          <a:custGeom>
            <a:avLst/>
            <a:gdLst/>
            <a:ahLst/>
            <a:cxnLst/>
            <a:rect l="l" t="t" r="r" b="b"/>
            <a:pathLst>
              <a:path w="2840990" h="2155190">
                <a:moveTo>
                  <a:pt x="2840735" y="0"/>
                </a:moveTo>
                <a:lnTo>
                  <a:pt x="0" y="0"/>
                </a:lnTo>
                <a:lnTo>
                  <a:pt x="0" y="2154936"/>
                </a:lnTo>
                <a:lnTo>
                  <a:pt x="2840735" y="2154936"/>
                </a:lnTo>
                <a:lnTo>
                  <a:pt x="2840735" y="0"/>
                </a:lnTo>
                <a:close/>
              </a:path>
            </a:pathLst>
          </a:custGeom>
          <a:solidFill>
            <a:srgbClr val="DC002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10">
            <a:extLst>
              <a:ext uri="{FF2B5EF4-FFF2-40B4-BE49-F238E27FC236}">
                <a16:creationId xmlns:a16="http://schemas.microsoft.com/office/drawing/2014/main" id="{5CE3E4BA-F8AA-41B1-0EB6-9E7BD02150FD}"/>
              </a:ext>
            </a:extLst>
          </p:cNvPr>
          <p:cNvSpPr/>
          <p:nvPr/>
        </p:nvSpPr>
        <p:spPr>
          <a:xfrm>
            <a:off x="8523731" y="3220211"/>
            <a:ext cx="2840990" cy="2840990"/>
          </a:xfrm>
          <a:custGeom>
            <a:avLst/>
            <a:gdLst/>
            <a:ahLst/>
            <a:cxnLst/>
            <a:rect l="l" t="t" r="r" b="b"/>
            <a:pathLst>
              <a:path w="2840990" h="2840990">
                <a:moveTo>
                  <a:pt x="2840735" y="0"/>
                </a:moveTo>
                <a:lnTo>
                  <a:pt x="0" y="0"/>
                </a:lnTo>
                <a:lnTo>
                  <a:pt x="0" y="2840736"/>
                </a:lnTo>
                <a:lnTo>
                  <a:pt x="2840735" y="2840736"/>
                </a:lnTo>
                <a:lnTo>
                  <a:pt x="2840735" y="0"/>
                </a:lnTo>
                <a:close/>
              </a:path>
            </a:pathLst>
          </a:custGeom>
          <a:solidFill>
            <a:srgbClr val="00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12" name="object 11">
            <a:extLst>
              <a:ext uri="{FF2B5EF4-FFF2-40B4-BE49-F238E27FC236}">
                <a16:creationId xmlns:a16="http://schemas.microsoft.com/office/drawing/2014/main" id="{1822EE11-AAD7-C250-64EB-6F5E440CCD59}"/>
              </a:ext>
            </a:extLst>
          </p:cNvPr>
          <p:cNvGrpSpPr/>
          <p:nvPr/>
        </p:nvGrpSpPr>
        <p:grpSpPr>
          <a:xfrm>
            <a:off x="9037573" y="1242313"/>
            <a:ext cx="1976120" cy="1652905"/>
            <a:chOff x="9037573" y="1242313"/>
            <a:chExt cx="1976120" cy="1652905"/>
          </a:xfrm>
        </p:grpSpPr>
        <p:pic>
          <p:nvPicPr>
            <p:cNvPr id="13" name="object 12">
              <a:extLst>
                <a:ext uri="{FF2B5EF4-FFF2-40B4-BE49-F238E27FC236}">
                  <a16:creationId xmlns:a16="http://schemas.microsoft.com/office/drawing/2014/main" id="{23EC5802-E5FB-403A-4F00-3B6EA3C17F17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9097009" y="1242313"/>
              <a:ext cx="770229" cy="280415"/>
            </a:xfrm>
            <a:prstGeom prst="rect">
              <a:avLst/>
            </a:prstGeom>
          </p:spPr>
        </p:pic>
        <p:pic>
          <p:nvPicPr>
            <p:cNvPr id="14" name="object 13">
              <a:extLst>
                <a:ext uri="{FF2B5EF4-FFF2-40B4-BE49-F238E27FC236}">
                  <a16:creationId xmlns:a16="http://schemas.microsoft.com/office/drawing/2014/main" id="{E07217C2-CB07-7664-2DEA-D22ADC7EDE97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9757282" y="1242313"/>
              <a:ext cx="201168" cy="280415"/>
            </a:xfrm>
            <a:prstGeom prst="rect">
              <a:avLst/>
            </a:prstGeom>
          </p:spPr>
        </p:pic>
        <p:pic>
          <p:nvPicPr>
            <p:cNvPr id="15" name="object 14">
              <a:extLst>
                <a:ext uri="{FF2B5EF4-FFF2-40B4-BE49-F238E27FC236}">
                  <a16:creationId xmlns:a16="http://schemas.microsoft.com/office/drawing/2014/main" id="{50F1F322-00E8-E639-5A26-B7292C5CD1C7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9857866" y="1242313"/>
              <a:ext cx="1116139" cy="280415"/>
            </a:xfrm>
            <a:prstGeom prst="rect">
              <a:avLst/>
            </a:prstGeom>
          </p:spPr>
        </p:pic>
        <p:pic>
          <p:nvPicPr>
            <p:cNvPr id="16" name="object 15">
              <a:extLst>
                <a:ext uri="{FF2B5EF4-FFF2-40B4-BE49-F238E27FC236}">
                  <a16:creationId xmlns:a16="http://schemas.microsoft.com/office/drawing/2014/main" id="{1A768811-91DD-2EE4-D5CB-074753B59AF4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9186925" y="1516634"/>
              <a:ext cx="1683766" cy="280415"/>
            </a:xfrm>
            <a:prstGeom prst="rect">
              <a:avLst/>
            </a:prstGeom>
          </p:spPr>
        </p:pic>
        <p:pic>
          <p:nvPicPr>
            <p:cNvPr id="17" name="object 16">
              <a:extLst>
                <a:ext uri="{FF2B5EF4-FFF2-40B4-BE49-F238E27FC236}">
                  <a16:creationId xmlns:a16="http://schemas.microsoft.com/office/drawing/2014/main" id="{621EC90B-25A0-BBA5-B9B7-DD9163D73C70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9208261" y="1790954"/>
              <a:ext cx="1642999" cy="280415"/>
            </a:xfrm>
            <a:prstGeom prst="rect">
              <a:avLst/>
            </a:prstGeom>
          </p:spPr>
        </p:pic>
        <p:pic>
          <p:nvPicPr>
            <p:cNvPr id="18" name="object 17">
              <a:extLst>
                <a:ext uri="{FF2B5EF4-FFF2-40B4-BE49-F238E27FC236}">
                  <a16:creationId xmlns:a16="http://schemas.microsoft.com/office/drawing/2014/main" id="{ED7D4396-67AC-6D7F-2DDF-605F7255821B}"/>
                </a:ext>
              </a:extLst>
            </p:cNvPr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9037573" y="2065274"/>
              <a:ext cx="1975739" cy="280415"/>
            </a:xfrm>
            <a:prstGeom prst="rect">
              <a:avLst/>
            </a:prstGeom>
          </p:spPr>
        </p:pic>
        <p:pic>
          <p:nvPicPr>
            <p:cNvPr id="19" name="object 18">
              <a:extLst>
                <a:ext uri="{FF2B5EF4-FFF2-40B4-BE49-F238E27FC236}">
                  <a16:creationId xmlns:a16="http://schemas.microsoft.com/office/drawing/2014/main" id="{0A8DB697-9CC2-CBE0-8B38-955644D26A7D}"/>
                </a:ext>
              </a:extLst>
            </p:cNvPr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9098533" y="2339289"/>
              <a:ext cx="1862454" cy="280720"/>
            </a:xfrm>
            <a:prstGeom prst="rect">
              <a:avLst/>
            </a:prstGeom>
          </p:spPr>
        </p:pic>
        <p:pic>
          <p:nvPicPr>
            <p:cNvPr id="20" name="object 19">
              <a:extLst>
                <a:ext uri="{FF2B5EF4-FFF2-40B4-BE49-F238E27FC236}">
                  <a16:creationId xmlns:a16="http://schemas.microsoft.com/office/drawing/2014/main" id="{56892CA4-E2CF-92EC-DEB3-ACFD998A4726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9670414" y="2614294"/>
              <a:ext cx="685800" cy="280415"/>
            </a:xfrm>
            <a:prstGeom prst="rect">
              <a:avLst/>
            </a:prstGeom>
          </p:spPr>
        </p:pic>
      </p:grpSp>
      <p:sp>
        <p:nvSpPr>
          <p:cNvPr id="21" name="object 20">
            <a:extLst>
              <a:ext uri="{FF2B5EF4-FFF2-40B4-BE49-F238E27FC236}">
                <a16:creationId xmlns:a16="http://schemas.microsoft.com/office/drawing/2014/main" id="{3274644E-D2DB-DDE3-1253-75B434D95127}"/>
              </a:ext>
            </a:extLst>
          </p:cNvPr>
          <p:cNvSpPr/>
          <p:nvPr/>
        </p:nvSpPr>
        <p:spPr>
          <a:xfrm>
            <a:off x="8139683" y="2419706"/>
            <a:ext cx="268605" cy="601980"/>
          </a:xfrm>
          <a:custGeom>
            <a:avLst/>
            <a:gdLst/>
            <a:ahLst/>
            <a:cxnLst/>
            <a:rect l="l" t="t" r="r" b="b"/>
            <a:pathLst>
              <a:path w="268604" h="601980">
                <a:moveTo>
                  <a:pt x="0" y="0"/>
                </a:moveTo>
                <a:lnTo>
                  <a:pt x="0" y="601979"/>
                </a:lnTo>
                <a:lnTo>
                  <a:pt x="268224" y="300989"/>
                </a:lnTo>
                <a:lnTo>
                  <a:pt x="0" y="0"/>
                </a:lnTo>
                <a:close/>
              </a:path>
            </a:pathLst>
          </a:custGeom>
          <a:solidFill>
            <a:srgbClr val="DC002D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2" name="object 21">
            <a:extLst>
              <a:ext uri="{FF2B5EF4-FFF2-40B4-BE49-F238E27FC236}">
                <a16:creationId xmlns:a16="http://schemas.microsoft.com/office/drawing/2014/main" id="{3C51CF3B-7752-D4BE-10FF-5A73F6FAC30B}"/>
              </a:ext>
            </a:extLst>
          </p:cNvPr>
          <p:cNvSpPr/>
          <p:nvPr/>
        </p:nvSpPr>
        <p:spPr>
          <a:xfrm>
            <a:off x="8113776" y="4922115"/>
            <a:ext cx="268605" cy="601980"/>
          </a:xfrm>
          <a:custGeom>
            <a:avLst/>
            <a:gdLst/>
            <a:ahLst/>
            <a:cxnLst/>
            <a:rect l="l" t="t" r="r" b="b"/>
            <a:pathLst>
              <a:path w="268604" h="601979">
                <a:moveTo>
                  <a:pt x="0" y="0"/>
                </a:moveTo>
                <a:lnTo>
                  <a:pt x="0" y="601980"/>
                </a:lnTo>
                <a:lnTo>
                  <a:pt x="268224" y="300990"/>
                </a:lnTo>
                <a:lnTo>
                  <a:pt x="0" y="0"/>
                </a:lnTo>
                <a:close/>
              </a:path>
            </a:pathLst>
          </a:custGeom>
          <a:solidFill>
            <a:srgbClr val="006666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23" name="object 22">
            <a:extLst>
              <a:ext uri="{FF2B5EF4-FFF2-40B4-BE49-F238E27FC236}">
                <a16:creationId xmlns:a16="http://schemas.microsoft.com/office/drawing/2014/main" id="{4DBAEF47-FF16-7195-D2CD-3A87FB3A914F}"/>
              </a:ext>
            </a:extLst>
          </p:cNvPr>
          <p:cNvGrpSpPr/>
          <p:nvPr/>
        </p:nvGrpSpPr>
        <p:grpSpPr>
          <a:xfrm>
            <a:off x="8915145" y="3898391"/>
            <a:ext cx="2355850" cy="1652270"/>
            <a:chOff x="8915145" y="3898391"/>
            <a:chExt cx="2355850" cy="1652270"/>
          </a:xfrm>
        </p:grpSpPr>
        <p:pic>
          <p:nvPicPr>
            <p:cNvPr id="24" name="object 23">
              <a:extLst>
                <a:ext uri="{FF2B5EF4-FFF2-40B4-BE49-F238E27FC236}">
                  <a16:creationId xmlns:a16="http://schemas.microsoft.com/office/drawing/2014/main" id="{0B883129-F8C5-28F5-CBD4-69D684CAAB7E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9160509" y="3898391"/>
              <a:ext cx="770229" cy="280416"/>
            </a:xfrm>
            <a:prstGeom prst="rect">
              <a:avLst/>
            </a:prstGeom>
          </p:spPr>
        </p:pic>
        <p:pic>
          <p:nvPicPr>
            <p:cNvPr id="25" name="object 24">
              <a:extLst>
                <a:ext uri="{FF2B5EF4-FFF2-40B4-BE49-F238E27FC236}">
                  <a16:creationId xmlns:a16="http://schemas.microsoft.com/office/drawing/2014/main" id="{D51D8C1B-B876-5C4A-1C0B-06783A9C9C5C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9820655" y="3898391"/>
              <a:ext cx="201168" cy="280416"/>
            </a:xfrm>
            <a:prstGeom prst="rect">
              <a:avLst/>
            </a:prstGeom>
          </p:spPr>
        </p:pic>
        <p:pic>
          <p:nvPicPr>
            <p:cNvPr id="26" name="object 25">
              <a:extLst>
                <a:ext uri="{FF2B5EF4-FFF2-40B4-BE49-F238E27FC236}">
                  <a16:creationId xmlns:a16="http://schemas.microsoft.com/office/drawing/2014/main" id="{B1E9E9A4-AE45-4515-7433-33CDAE57939A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9921239" y="3898391"/>
              <a:ext cx="1116139" cy="280416"/>
            </a:xfrm>
            <a:prstGeom prst="rect">
              <a:avLst/>
            </a:prstGeom>
          </p:spPr>
        </p:pic>
        <p:pic>
          <p:nvPicPr>
            <p:cNvPr id="27" name="object 26">
              <a:extLst>
                <a:ext uri="{FF2B5EF4-FFF2-40B4-BE49-F238E27FC236}">
                  <a16:creationId xmlns:a16="http://schemas.microsoft.com/office/drawing/2014/main" id="{AD7D51B3-6C90-0993-FAE0-F9A5A5B4A672}"/>
                </a:ext>
              </a:extLst>
            </p:cNvPr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9250425" y="4172711"/>
              <a:ext cx="1683766" cy="280415"/>
            </a:xfrm>
            <a:prstGeom prst="rect">
              <a:avLst/>
            </a:prstGeom>
          </p:spPr>
        </p:pic>
        <p:pic>
          <p:nvPicPr>
            <p:cNvPr id="28" name="object 27">
              <a:extLst>
                <a:ext uri="{FF2B5EF4-FFF2-40B4-BE49-F238E27FC236}">
                  <a16:creationId xmlns:a16="http://schemas.microsoft.com/office/drawing/2014/main" id="{E7869D43-5040-BB14-5901-0C3712455218}"/>
                </a:ext>
              </a:extLst>
            </p:cNvPr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8915145" y="4447031"/>
              <a:ext cx="2355850" cy="280415"/>
            </a:xfrm>
            <a:prstGeom prst="rect">
              <a:avLst/>
            </a:prstGeom>
          </p:spPr>
        </p:pic>
        <p:pic>
          <p:nvPicPr>
            <p:cNvPr id="29" name="object 28">
              <a:extLst>
                <a:ext uri="{FF2B5EF4-FFF2-40B4-BE49-F238E27FC236}">
                  <a16:creationId xmlns:a16="http://schemas.microsoft.com/office/drawing/2014/main" id="{0086CB90-1650-8B71-3775-ACFC59402590}"/>
                </a:ext>
              </a:extLst>
            </p:cNvPr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9114789" y="4721351"/>
              <a:ext cx="1965705" cy="280416"/>
            </a:xfrm>
            <a:prstGeom prst="rect">
              <a:avLst/>
            </a:prstGeom>
          </p:spPr>
        </p:pic>
        <p:pic>
          <p:nvPicPr>
            <p:cNvPr id="30" name="object 29">
              <a:extLst>
                <a:ext uri="{FF2B5EF4-FFF2-40B4-BE49-F238E27FC236}">
                  <a16:creationId xmlns:a16="http://schemas.microsoft.com/office/drawing/2014/main" id="{7FCE8E60-CA17-3896-D821-FC430BAAC78E}"/>
                </a:ext>
              </a:extLst>
            </p:cNvPr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9076689" y="4995621"/>
              <a:ext cx="2038350" cy="280720"/>
            </a:xfrm>
            <a:prstGeom prst="rect">
              <a:avLst/>
            </a:prstGeom>
          </p:spPr>
        </p:pic>
        <p:pic>
          <p:nvPicPr>
            <p:cNvPr id="31" name="object 30">
              <a:extLst>
                <a:ext uri="{FF2B5EF4-FFF2-40B4-BE49-F238E27FC236}">
                  <a16:creationId xmlns:a16="http://schemas.microsoft.com/office/drawing/2014/main" id="{1FE1CD50-992D-91E3-EAC1-9B6F2C4C715B}"/>
                </a:ext>
              </a:extLst>
            </p:cNvPr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9444227" y="5270245"/>
              <a:ext cx="1268729" cy="280416"/>
            </a:xfrm>
            <a:prstGeom prst="rect">
              <a:avLst/>
            </a:prstGeom>
          </p:spPr>
        </p:pic>
      </p:grpSp>
      <p:pic>
        <p:nvPicPr>
          <p:cNvPr id="32" name="object 31">
            <a:extLst>
              <a:ext uri="{FF2B5EF4-FFF2-40B4-BE49-F238E27FC236}">
                <a16:creationId xmlns:a16="http://schemas.microsoft.com/office/drawing/2014/main" id="{AF3AD8DD-63AE-8D55-C6BC-D3347E1E7C9D}"/>
              </a:ext>
            </a:extLst>
          </p:cNvPr>
          <p:cNvPicPr/>
          <p:nvPr/>
        </p:nvPicPr>
        <p:blipFill>
          <a:blip r:embed="rId22" cstate="print"/>
          <a:stretch>
            <a:fillRect/>
          </a:stretch>
        </p:blipFill>
        <p:spPr>
          <a:xfrm>
            <a:off x="731215" y="3183484"/>
            <a:ext cx="1264158" cy="172212"/>
          </a:xfrm>
          <a:prstGeom prst="rect">
            <a:avLst/>
          </a:prstGeom>
        </p:spPr>
      </p:pic>
      <p:pic>
        <p:nvPicPr>
          <p:cNvPr id="33" name="object 32">
            <a:extLst>
              <a:ext uri="{FF2B5EF4-FFF2-40B4-BE49-F238E27FC236}">
                <a16:creationId xmlns:a16="http://schemas.microsoft.com/office/drawing/2014/main" id="{02202553-F7A5-089D-767F-593426ECAD32}"/>
              </a:ext>
            </a:extLst>
          </p:cNvPr>
          <p:cNvPicPr/>
          <p:nvPr/>
        </p:nvPicPr>
        <p:blipFill>
          <a:blip r:embed="rId23" cstate="print"/>
          <a:stretch>
            <a:fillRect/>
          </a:stretch>
        </p:blipFill>
        <p:spPr>
          <a:xfrm>
            <a:off x="2759710" y="3183484"/>
            <a:ext cx="965936" cy="172212"/>
          </a:xfrm>
          <a:prstGeom prst="rect">
            <a:avLst/>
          </a:prstGeom>
        </p:spPr>
      </p:pic>
      <p:pic>
        <p:nvPicPr>
          <p:cNvPr id="34" name="object 33">
            <a:extLst>
              <a:ext uri="{FF2B5EF4-FFF2-40B4-BE49-F238E27FC236}">
                <a16:creationId xmlns:a16="http://schemas.microsoft.com/office/drawing/2014/main" id="{AECDB26F-7EB5-5C90-8155-3FC254C2667F}"/>
              </a:ext>
            </a:extLst>
          </p:cNvPr>
          <p:cNvPicPr/>
          <p:nvPr/>
        </p:nvPicPr>
        <p:blipFill>
          <a:blip r:embed="rId24" cstate="print"/>
          <a:stretch>
            <a:fillRect/>
          </a:stretch>
        </p:blipFill>
        <p:spPr>
          <a:xfrm>
            <a:off x="4693030" y="3183484"/>
            <a:ext cx="777239" cy="172212"/>
          </a:xfrm>
          <a:prstGeom prst="rect">
            <a:avLst/>
          </a:prstGeom>
        </p:spPr>
      </p:pic>
      <p:sp>
        <p:nvSpPr>
          <p:cNvPr id="35" name="object 34">
            <a:extLst>
              <a:ext uri="{FF2B5EF4-FFF2-40B4-BE49-F238E27FC236}">
                <a16:creationId xmlns:a16="http://schemas.microsoft.com/office/drawing/2014/main" id="{24A88A14-8856-BF13-1FD6-875295553AC4}"/>
              </a:ext>
            </a:extLst>
          </p:cNvPr>
          <p:cNvSpPr/>
          <p:nvPr/>
        </p:nvSpPr>
        <p:spPr>
          <a:xfrm>
            <a:off x="409194" y="3103221"/>
            <a:ext cx="1838325" cy="978535"/>
          </a:xfrm>
          <a:custGeom>
            <a:avLst/>
            <a:gdLst/>
            <a:ahLst/>
            <a:cxnLst/>
            <a:rect l="l" t="t" r="r" b="b"/>
            <a:pathLst>
              <a:path w="1838325" h="978535">
                <a:moveTo>
                  <a:pt x="0" y="978408"/>
                </a:moveTo>
                <a:lnTo>
                  <a:pt x="1837944" y="978408"/>
                </a:lnTo>
                <a:lnTo>
                  <a:pt x="1837944" y="0"/>
                </a:lnTo>
                <a:lnTo>
                  <a:pt x="0" y="0"/>
                </a:lnTo>
                <a:lnTo>
                  <a:pt x="0" y="978408"/>
                </a:lnTo>
                <a:close/>
              </a:path>
            </a:pathLst>
          </a:custGeom>
          <a:ln w="28575">
            <a:solidFill>
              <a:srgbClr val="203557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pic>
        <p:nvPicPr>
          <p:cNvPr id="36" name="object 35">
            <a:extLst>
              <a:ext uri="{FF2B5EF4-FFF2-40B4-BE49-F238E27FC236}">
                <a16:creationId xmlns:a16="http://schemas.microsoft.com/office/drawing/2014/main" id="{3AC62C73-456B-F225-B6B7-B0B7E8DB44F6}"/>
              </a:ext>
            </a:extLst>
          </p:cNvPr>
          <p:cNvPicPr/>
          <p:nvPr/>
        </p:nvPicPr>
        <p:blipFill>
          <a:blip r:embed="rId25" cstate="print"/>
          <a:stretch>
            <a:fillRect/>
          </a:stretch>
        </p:blipFill>
        <p:spPr>
          <a:xfrm>
            <a:off x="1840547" y="2306345"/>
            <a:ext cx="1838325" cy="204003"/>
          </a:xfrm>
          <a:prstGeom prst="rect">
            <a:avLst/>
          </a:prstGeom>
        </p:spPr>
      </p:pic>
      <p:sp>
        <p:nvSpPr>
          <p:cNvPr id="37" name="object 36">
            <a:extLst>
              <a:ext uri="{FF2B5EF4-FFF2-40B4-BE49-F238E27FC236}">
                <a16:creationId xmlns:a16="http://schemas.microsoft.com/office/drawing/2014/main" id="{F808747F-4079-44E6-7241-F2D6A948E17F}"/>
              </a:ext>
            </a:extLst>
          </p:cNvPr>
          <p:cNvSpPr/>
          <p:nvPr/>
        </p:nvSpPr>
        <p:spPr>
          <a:xfrm>
            <a:off x="2321814" y="3103221"/>
            <a:ext cx="1788160" cy="978535"/>
          </a:xfrm>
          <a:custGeom>
            <a:avLst/>
            <a:gdLst/>
            <a:ahLst/>
            <a:cxnLst/>
            <a:rect l="l" t="t" r="r" b="b"/>
            <a:pathLst>
              <a:path w="1788160" h="978535">
                <a:moveTo>
                  <a:pt x="0" y="978408"/>
                </a:moveTo>
                <a:lnTo>
                  <a:pt x="1787652" y="978408"/>
                </a:lnTo>
                <a:lnTo>
                  <a:pt x="1787652" y="0"/>
                </a:lnTo>
                <a:lnTo>
                  <a:pt x="0" y="0"/>
                </a:lnTo>
                <a:lnTo>
                  <a:pt x="0" y="978408"/>
                </a:lnTo>
                <a:close/>
              </a:path>
            </a:pathLst>
          </a:custGeom>
          <a:ln w="28575">
            <a:solidFill>
              <a:srgbClr val="DC002D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8" name="object 37">
            <a:extLst>
              <a:ext uri="{FF2B5EF4-FFF2-40B4-BE49-F238E27FC236}">
                <a16:creationId xmlns:a16="http://schemas.microsoft.com/office/drawing/2014/main" id="{EE97BDFD-ADBC-4E4A-72CE-7E0E43D38282}"/>
              </a:ext>
            </a:extLst>
          </p:cNvPr>
          <p:cNvSpPr/>
          <p:nvPr/>
        </p:nvSpPr>
        <p:spPr>
          <a:xfrm>
            <a:off x="4184141" y="3103221"/>
            <a:ext cx="1788160" cy="978535"/>
          </a:xfrm>
          <a:custGeom>
            <a:avLst/>
            <a:gdLst/>
            <a:ahLst/>
            <a:cxnLst/>
            <a:rect l="l" t="t" r="r" b="b"/>
            <a:pathLst>
              <a:path w="1788160" h="978535">
                <a:moveTo>
                  <a:pt x="0" y="978408"/>
                </a:moveTo>
                <a:lnTo>
                  <a:pt x="1787652" y="978408"/>
                </a:lnTo>
                <a:lnTo>
                  <a:pt x="1787652" y="0"/>
                </a:lnTo>
                <a:lnTo>
                  <a:pt x="0" y="0"/>
                </a:lnTo>
                <a:lnTo>
                  <a:pt x="0" y="978408"/>
                </a:lnTo>
                <a:close/>
              </a:path>
            </a:pathLst>
          </a:custGeom>
          <a:ln w="28575">
            <a:solidFill>
              <a:srgbClr val="EC993C"/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39" name="object 38">
            <a:extLst>
              <a:ext uri="{FF2B5EF4-FFF2-40B4-BE49-F238E27FC236}">
                <a16:creationId xmlns:a16="http://schemas.microsoft.com/office/drawing/2014/main" id="{CB8B2C35-BDFE-B89B-34C8-D19C9FF55040}"/>
              </a:ext>
            </a:extLst>
          </p:cNvPr>
          <p:cNvGrpSpPr/>
          <p:nvPr/>
        </p:nvGrpSpPr>
        <p:grpSpPr>
          <a:xfrm>
            <a:off x="1289304" y="2067662"/>
            <a:ext cx="6684390" cy="2014094"/>
            <a:chOff x="1289304" y="1554479"/>
            <a:chExt cx="6684390" cy="2014094"/>
          </a:xfrm>
        </p:grpSpPr>
        <p:sp>
          <p:nvSpPr>
            <p:cNvPr id="40" name="object 39">
              <a:extLst>
                <a:ext uri="{FF2B5EF4-FFF2-40B4-BE49-F238E27FC236}">
                  <a16:creationId xmlns:a16="http://schemas.microsoft.com/office/drawing/2014/main" id="{5032953D-C599-B162-DA2B-D48E47E38BDD}"/>
                </a:ext>
              </a:extLst>
            </p:cNvPr>
            <p:cNvSpPr/>
            <p:nvPr/>
          </p:nvSpPr>
          <p:spPr>
            <a:xfrm>
              <a:off x="1289304" y="1554479"/>
              <a:ext cx="5995670" cy="1034415"/>
            </a:xfrm>
            <a:custGeom>
              <a:avLst/>
              <a:gdLst/>
              <a:ahLst/>
              <a:cxnLst/>
              <a:rect l="l" t="t" r="r" b="b"/>
              <a:pathLst>
                <a:path w="5995670" h="1034414">
                  <a:moveTo>
                    <a:pt x="5995543" y="156972"/>
                  </a:moveTo>
                  <a:lnTo>
                    <a:pt x="5963793" y="156972"/>
                  </a:lnTo>
                  <a:lnTo>
                    <a:pt x="5963793" y="122936"/>
                  </a:lnTo>
                  <a:lnTo>
                    <a:pt x="5963793" y="113157"/>
                  </a:lnTo>
                  <a:lnTo>
                    <a:pt x="5960999" y="110236"/>
                  </a:lnTo>
                  <a:lnTo>
                    <a:pt x="2298954" y="110236"/>
                  </a:lnTo>
                  <a:lnTo>
                    <a:pt x="2298954" y="0"/>
                  </a:lnTo>
                  <a:lnTo>
                    <a:pt x="2285492" y="0"/>
                  </a:lnTo>
                  <a:lnTo>
                    <a:pt x="2285492" y="510794"/>
                  </a:lnTo>
                  <a:lnTo>
                    <a:pt x="1921256" y="510794"/>
                  </a:lnTo>
                  <a:lnTo>
                    <a:pt x="34544" y="510794"/>
                  </a:lnTo>
                  <a:lnTo>
                    <a:pt x="31750" y="513588"/>
                  </a:lnTo>
                  <a:lnTo>
                    <a:pt x="31750" y="958088"/>
                  </a:lnTo>
                  <a:lnTo>
                    <a:pt x="0" y="958088"/>
                  </a:lnTo>
                  <a:lnTo>
                    <a:pt x="38100" y="1034288"/>
                  </a:lnTo>
                  <a:lnTo>
                    <a:pt x="69850" y="970788"/>
                  </a:lnTo>
                  <a:lnTo>
                    <a:pt x="76200" y="958088"/>
                  </a:lnTo>
                  <a:lnTo>
                    <a:pt x="44450" y="958088"/>
                  </a:lnTo>
                  <a:lnTo>
                    <a:pt x="44450" y="523494"/>
                  </a:lnTo>
                  <a:lnTo>
                    <a:pt x="1918462" y="523494"/>
                  </a:lnTo>
                  <a:lnTo>
                    <a:pt x="1918462" y="958088"/>
                  </a:lnTo>
                  <a:lnTo>
                    <a:pt x="1886712" y="958088"/>
                  </a:lnTo>
                  <a:lnTo>
                    <a:pt x="1924812" y="1034288"/>
                  </a:lnTo>
                  <a:lnTo>
                    <a:pt x="1956549" y="970788"/>
                  </a:lnTo>
                  <a:lnTo>
                    <a:pt x="1962899" y="958088"/>
                  </a:lnTo>
                  <a:lnTo>
                    <a:pt x="1931162" y="958088"/>
                  </a:lnTo>
                  <a:lnTo>
                    <a:pt x="1931162" y="523494"/>
                  </a:lnTo>
                  <a:lnTo>
                    <a:pt x="2288540" y="523494"/>
                  </a:lnTo>
                  <a:lnTo>
                    <a:pt x="2295398" y="523494"/>
                  </a:lnTo>
                  <a:lnTo>
                    <a:pt x="2296160" y="523494"/>
                  </a:lnTo>
                  <a:lnTo>
                    <a:pt x="3780663" y="523494"/>
                  </a:lnTo>
                  <a:lnTo>
                    <a:pt x="3780663" y="958088"/>
                  </a:lnTo>
                  <a:lnTo>
                    <a:pt x="3748913" y="958088"/>
                  </a:lnTo>
                  <a:lnTo>
                    <a:pt x="3787013" y="1034288"/>
                  </a:lnTo>
                  <a:lnTo>
                    <a:pt x="3818763" y="970788"/>
                  </a:lnTo>
                  <a:lnTo>
                    <a:pt x="3825113" y="958088"/>
                  </a:lnTo>
                  <a:lnTo>
                    <a:pt x="3793363" y="958088"/>
                  </a:lnTo>
                  <a:lnTo>
                    <a:pt x="3793363" y="523494"/>
                  </a:lnTo>
                  <a:lnTo>
                    <a:pt x="3793363" y="513588"/>
                  </a:lnTo>
                  <a:lnTo>
                    <a:pt x="3790569" y="510794"/>
                  </a:lnTo>
                  <a:lnTo>
                    <a:pt x="2298954" y="510794"/>
                  </a:lnTo>
                  <a:lnTo>
                    <a:pt x="2298954" y="122936"/>
                  </a:lnTo>
                  <a:lnTo>
                    <a:pt x="5951093" y="122936"/>
                  </a:lnTo>
                  <a:lnTo>
                    <a:pt x="5951093" y="156972"/>
                  </a:lnTo>
                  <a:lnTo>
                    <a:pt x="5919343" y="156972"/>
                  </a:lnTo>
                  <a:lnTo>
                    <a:pt x="5957443" y="233172"/>
                  </a:lnTo>
                  <a:lnTo>
                    <a:pt x="5989193" y="169672"/>
                  </a:lnTo>
                  <a:lnTo>
                    <a:pt x="5995543" y="156972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1" name="object 40">
              <a:extLst>
                <a:ext uri="{FF2B5EF4-FFF2-40B4-BE49-F238E27FC236}">
                  <a16:creationId xmlns:a16="http://schemas.microsoft.com/office/drawing/2014/main" id="{A3795F08-C28E-3DF5-BB2A-DCF45FA9BBA2}"/>
                </a:ext>
              </a:extLst>
            </p:cNvPr>
            <p:cNvSpPr/>
            <p:nvPr/>
          </p:nvSpPr>
          <p:spPr>
            <a:xfrm>
              <a:off x="6046469" y="2590038"/>
              <a:ext cx="1786255" cy="978535"/>
            </a:xfrm>
            <a:custGeom>
              <a:avLst/>
              <a:gdLst/>
              <a:ahLst/>
              <a:cxnLst/>
              <a:rect l="l" t="t" r="r" b="b"/>
              <a:pathLst>
                <a:path w="1786254" h="978535">
                  <a:moveTo>
                    <a:pt x="0" y="978408"/>
                  </a:moveTo>
                  <a:lnTo>
                    <a:pt x="1786127" y="978408"/>
                  </a:lnTo>
                  <a:lnTo>
                    <a:pt x="1786127" y="0"/>
                  </a:lnTo>
                  <a:lnTo>
                    <a:pt x="0" y="0"/>
                  </a:lnTo>
                  <a:lnTo>
                    <a:pt x="0" y="978408"/>
                  </a:lnTo>
                  <a:close/>
                </a:path>
              </a:pathLst>
            </a:custGeom>
            <a:ln w="28575">
              <a:solidFill>
                <a:srgbClr val="5DA442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42" name="object 41">
              <a:extLst>
                <a:ext uri="{FF2B5EF4-FFF2-40B4-BE49-F238E27FC236}">
                  <a16:creationId xmlns:a16="http://schemas.microsoft.com/office/drawing/2014/main" id="{24667CAF-6098-0E6D-BCDE-4EFF3584E3D2}"/>
                </a:ext>
              </a:extLst>
            </p:cNvPr>
            <p:cNvPicPr/>
            <p:nvPr/>
          </p:nvPicPr>
          <p:blipFill>
            <a:blip r:embed="rId26" cstate="print"/>
            <a:stretch>
              <a:fillRect/>
            </a:stretch>
          </p:blipFill>
          <p:spPr>
            <a:xfrm>
              <a:off x="6710425" y="2670302"/>
              <a:ext cx="598017" cy="172212"/>
            </a:xfrm>
            <a:prstGeom prst="rect">
              <a:avLst/>
            </a:prstGeom>
          </p:spPr>
        </p:pic>
        <p:sp>
          <p:nvSpPr>
            <p:cNvPr id="43" name="object 42">
              <a:extLst>
                <a:ext uri="{FF2B5EF4-FFF2-40B4-BE49-F238E27FC236}">
                  <a16:creationId xmlns:a16="http://schemas.microsoft.com/office/drawing/2014/main" id="{2AB853CB-FF26-8BBF-7A3F-A67F422B1572}"/>
                </a:ext>
              </a:extLst>
            </p:cNvPr>
            <p:cNvSpPr/>
            <p:nvPr/>
          </p:nvSpPr>
          <p:spPr>
            <a:xfrm>
              <a:off x="3575049" y="1554480"/>
              <a:ext cx="3401695" cy="1034415"/>
            </a:xfrm>
            <a:custGeom>
              <a:avLst/>
              <a:gdLst/>
              <a:ahLst/>
              <a:cxnLst/>
              <a:rect l="l" t="t" r="r" b="b"/>
              <a:pathLst>
                <a:path w="3401695" h="1034414">
                  <a:moveTo>
                    <a:pt x="3356991" y="958088"/>
                  </a:moveTo>
                  <a:lnTo>
                    <a:pt x="3325241" y="958088"/>
                  </a:lnTo>
                  <a:lnTo>
                    <a:pt x="3363341" y="1034288"/>
                  </a:lnTo>
                  <a:lnTo>
                    <a:pt x="3395091" y="970788"/>
                  </a:lnTo>
                  <a:lnTo>
                    <a:pt x="3356991" y="970788"/>
                  </a:lnTo>
                  <a:lnTo>
                    <a:pt x="3356991" y="958088"/>
                  </a:lnTo>
                  <a:close/>
                </a:path>
                <a:path w="3401695" h="1034414">
                  <a:moveTo>
                    <a:pt x="3356991" y="517144"/>
                  </a:moveTo>
                  <a:lnTo>
                    <a:pt x="3356991" y="970788"/>
                  </a:lnTo>
                  <a:lnTo>
                    <a:pt x="3369691" y="970788"/>
                  </a:lnTo>
                  <a:lnTo>
                    <a:pt x="3369691" y="523494"/>
                  </a:lnTo>
                  <a:lnTo>
                    <a:pt x="3363341" y="523494"/>
                  </a:lnTo>
                  <a:lnTo>
                    <a:pt x="3356991" y="517144"/>
                  </a:lnTo>
                  <a:close/>
                </a:path>
                <a:path w="3401695" h="1034414">
                  <a:moveTo>
                    <a:pt x="3401441" y="958088"/>
                  </a:moveTo>
                  <a:lnTo>
                    <a:pt x="3369691" y="958088"/>
                  </a:lnTo>
                  <a:lnTo>
                    <a:pt x="3369691" y="970788"/>
                  </a:lnTo>
                  <a:lnTo>
                    <a:pt x="3395091" y="970788"/>
                  </a:lnTo>
                  <a:lnTo>
                    <a:pt x="3401441" y="958088"/>
                  </a:lnTo>
                  <a:close/>
                </a:path>
                <a:path w="3401695" h="1034414">
                  <a:moveTo>
                    <a:pt x="12700" y="0"/>
                  </a:moveTo>
                  <a:lnTo>
                    <a:pt x="0" y="0"/>
                  </a:lnTo>
                  <a:lnTo>
                    <a:pt x="0" y="520700"/>
                  </a:lnTo>
                  <a:lnTo>
                    <a:pt x="2794" y="523494"/>
                  </a:lnTo>
                  <a:lnTo>
                    <a:pt x="3356991" y="523494"/>
                  </a:lnTo>
                  <a:lnTo>
                    <a:pt x="3356991" y="517144"/>
                  </a:lnTo>
                  <a:lnTo>
                    <a:pt x="12700" y="517144"/>
                  </a:lnTo>
                  <a:lnTo>
                    <a:pt x="6350" y="510794"/>
                  </a:lnTo>
                  <a:lnTo>
                    <a:pt x="12700" y="510794"/>
                  </a:lnTo>
                  <a:lnTo>
                    <a:pt x="12700" y="0"/>
                  </a:lnTo>
                  <a:close/>
                </a:path>
                <a:path w="3401695" h="1034414">
                  <a:moveTo>
                    <a:pt x="3366897" y="510794"/>
                  </a:moveTo>
                  <a:lnTo>
                    <a:pt x="12700" y="510794"/>
                  </a:lnTo>
                  <a:lnTo>
                    <a:pt x="12700" y="517144"/>
                  </a:lnTo>
                  <a:lnTo>
                    <a:pt x="3356991" y="517144"/>
                  </a:lnTo>
                  <a:lnTo>
                    <a:pt x="3363341" y="523494"/>
                  </a:lnTo>
                  <a:lnTo>
                    <a:pt x="3369691" y="523494"/>
                  </a:lnTo>
                  <a:lnTo>
                    <a:pt x="3369691" y="513588"/>
                  </a:lnTo>
                  <a:lnTo>
                    <a:pt x="3366897" y="510794"/>
                  </a:lnTo>
                  <a:close/>
                </a:path>
                <a:path w="3401695" h="1034414">
                  <a:moveTo>
                    <a:pt x="12700" y="510794"/>
                  </a:moveTo>
                  <a:lnTo>
                    <a:pt x="6350" y="510794"/>
                  </a:lnTo>
                  <a:lnTo>
                    <a:pt x="12700" y="517144"/>
                  </a:lnTo>
                  <a:lnTo>
                    <a:pt x="12700" y="510794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4" name="object 43">
              <a:extLst>
                <a:ext uri="{FF2B5EF4-FFF2-40B4-BE49-F238E27FC236}">
                  <a16:creationId xmlns:a16="http://schemas.microsoft.com/office/drawing/2014/main" id="{566C47DD-8C18-8120-44C0-9BE12D86F617}"/>
                </a:ext>
              </a:extLst>
            </p:cNvPr>
            <p:cNvSpPr/>
            <p:nvPr/>
          </p:nvSpPr>
          <p:spPr>
            <a:xfrm>
              <a:off x="6720839" y="1996440"/>
              <a:ext cx="1252855" cy="486409"/>
            </a:xfrm>
            <a:custGeom>
              <a:avLst/>
              <a:gdLst/>
              <a:ahLst/>
              <a:cxnLst/>
              <a:rect l="l" t="t" r="r" b="b"/>
              <a:pathLst>
                <a:path w="1252854" h="486410">
                  <a:moveTo>
                    <a:pt x="1252727" y="0"/>
                  </a:moveTo>
                  <a:lnTo>
                    <a:pt x="0" y="0"/>
                  </a:lnTo>
                  <a:lnTo>
                    <a:pt x="0" y="486155"/>
                  </a:lnTo>
                  <a:lnTo>
                    <a:pt x="1252727" y="486155"/>
                  </a:lnTo>
                  <a:lnTo>
                    <a:pt x="125272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5" name="object 44">
              <a:extLst>
                <a:ext uri="{FF2B5EF4-FFF2-40B4-BE49-F238E27FC236}">
                  <a16:creationId xmlns:a16="http://schemas.microsoft.com/office/drawing/2014/main" id="{D4B312F7-F188-29FB-D73B-7A0964D1548B}"/>
                </a:ext>
              </a:extLst>
            </p:cNvPr>
            <p:cNvSpPr/>
            <p:nvPr/>
          </p:nvSpPr>
          <p:spPr>
            <a:xfrm>
              <a:off x="6720839" y="1996440"/>
              <a:ext cx="1252855" cy="486409"/>
            </a:xfrm>
            <a:custGeom>
              <a:avLst/>
              <a:gdLst/>
              <a:ahLst/>
              <a:cxnLst/>
              <a:rect l="l" t="t" r="r" b="b"/>
              <a:pathLst>
                <a:path w="1252854" h="486410">
                  <a:moveTo>
                    <a:pt x="0" y="486155"/>
                  </a:moveTo>
                  <a:lnTo>
                    <a:pt x="1252727" y="486155"/>
                  </a:lnTo>
                  <a:lnTo>
                    <a:pt x="1252727" y="0"/>
                  </a:lnTo>
                  <a:lnTo>
                    <a:pt x="0" y="0"/>
                  </a:lnTo>
                  <a:lnTo>
                    <a:pt x="0" y="486155"/>
                  </a:lnTo>
                  <a:close/>
                </a:path>
              </a:pathLst>
            </a:custGeom>
            <a:ln w="9525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6" name="object 45">
              <a:extLst>
                <a:ext uri="{FF2B5EF4-FFF2-40B4-BE49-F238E27FC236}">
                  <a16:creationId xmlns:a16="http://schemas.microsoft.com/office/drawing/2014/main" id="{5BCF11B8-895B-F358-51A4-884B203EEB71}"/>
                </a:ext>
              </a:extLst>
            </p:cNvPr>
            <p:cNvSpPr/>
            <p:nvPr/>
          </p:nvSpPr>
          <p:spPr>
            <a:xfrm>
              <a:off x="6673595" y="1955292"/>
              <a:ext cx="1252855" cy="486409"/>
            </a:xfrm>
            <a:custGeom>
              <a:avLst/>
              <a:gdLst/>
              <a:ahLst/>
              <a:cxnLst/>
              <a:rect l="l" t="t" r="r" b="b"/>
              <a:pathLst>
                <a:path w="1252854" h="486410">
                  <a:moveTo>
                    <a:pt x="1252727" y="0"/>
                  </a:moveTo>
                  <a:lnTo>
                    <a:pt x="0" y="0"/>
                  </a:lnTo>
                  <a:lnTo>
                    <a:pt x="0" y="486155"/>
                  </a:lnTo>
                  <a:lnTo>
                    <a:pt x="1252727" y="486155"/>
                  </a:lnTo>
                  <a:lnTo>
                    <a:pt x="125272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47" name="object 46">
              <a:extLst>
                <a:ext uri="{FF2B5EF4-FFF2-40B4-BE49-F238E27FC236}">
                  <a16:creationId xmlns:a16="http://schemas.microsoft.com/office/drawing/2014/main" id="{C06F561A-B20A-ADA3-52D5-833A5196838A}"/>
                </a:ext>
              </a:extLst>
            </p:cNvPr>
            <p:cNvSpPr/>
            <p:nvPr/>
          </p:nvSpPr>
          <p:spPr>
            <a:xfrm>
              <a:off x="6673595" y="1955292"/>
              <a:ext cx="1252855" cy="486409"/>
            </a:xfrm>
            <a:custGeom>
              <a:avLst/>
              <a:gdLst/>
              <a:ahLst/>
              <a:cxnLst/>
              <a:rect l="l" t="t" r="r" b="b"/>
              <a:pathLst>
                <a:path w="1252854" h="486410">
                  <a:moveTo>
                    <a:pt x="0" y="486155"/>
                  </a:moveTo>
                  <a:lnTo>
                    <a:pt x="1252727" y="486155"/>
                  </a:lnTo>
                  <a:lnTo>
                    <a:pt x="1252727" y="0"/>
                  </a:lnTo>
                  <a:lnTo>
                    <a:pt x="0" y="0"/>
                  </a:lnTo>
                  <a:lnTo>
                    <a:pt x="0" y="486155"/>
                  </a:lnTo>
                  <a:close/>
                </a:path>
              </a:pathLst>
            </a:custGeom>
            <a:ln w="9525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48" name="object 47">
              <a:extLst>
                <a:ext uri="{FF2B5EF4-FFF2-40B4-BE49-F238E27FC236}">
                  <a16:creationId xmlns:a16="http://schemas.microsoft.com/office/drawing/2014/main" id="{0BE74F1F-339A-210A-7942-F55F954DFF37}"/>
                </a:ext>
              </a:extLst>
            </p:cNvPr>
            <p:cNvPicPr/>
            <p:nvPr/>
          </p:nvPicPr>
          <p:blipFill>
            <a:blip r:embed="rId27" cstate="print"/>
            <a:stretch>
              <a:fillRect/>
            </a:stretch>
          </p:blipFill>
          <p:spPr>
            <a:xfrm>
              <a:off x="6872986" y="1951990"/>
              <a:ext cx="1025613" cy="248412"/>
            </a:xfrm>
            <a:prstGeom prst="rect">
              <a:avLst/>
            </a:prstGeom>
          </p:spPr>
        </p:pic>
        <p:pic>
          <p:nvPicPr>
            <p:cNvPr id="49" name="object 48">
              <a:extLst>
                <a:ext uri="{FF2B5EF4-FFF2-40B4-BE49-F238E27FC236}">
                  <a16:creationId xmlns:a16="http://schemas.microsoft.com/office/drawing/2014/main" id="{E7CD3F44-59B8-2FA9-5009-1F7CCF2B1604}"/>
                </a:ext>
              </a:extLst>
            </p:cNvPr>
            <p:cNvPicPr/>
            <p:nvPr/>
          </p:nvPicPr>
          <p:blipFill>
            <a:blip r:embed="rId28" cstate="print"/>
            <a:stretch>
              <a:fillRect/>
            </a:stretch>
          </p:blipFill>
          <p:spPr>
            <a:xfrm>
              <a:off x="6831838" y="2195830"/>
              <a:ext cx="1040041" cy="248412"/>
            </a:xfrm>
            <a:prstGeom prst="rect">
              <a:avLst/>
            </a:prstGeom>
          </p:spPr>
        </p:pic>
        <p:sp>
          <p:nvSpPr>
            <p:cNvPr id="50" name="object 49">
              <a:extLst>
                <a:ext uri="{FF2B5EF4-FFF2-40B4-BE49-F238E27FC236}">
                  <a16:creationId xmlns:a16="http://schemas.microsoft.com/office/drawing/2014/main" id="{6F1CBE62-7A0E-F65D-B98C-5B966BB02FCE}"/>
                </a:ext>
              </a:extLst>
            </p:cNvPr>
            <p:cNvSpPr/>
            <p:nvPr/>
          </p:nvSpPr>
          <p:spPr>
            <a:xfrm>
              <a:off x="6620256" y="1911096"/>
              <a:ext cx="1254760" cy="485140"/>
            </a:xfrm>
            <a:custGeom>
              <a:avLst/>
              <a:gdLst/>
              <a:ahLst/>
              <a:cxnLst/>
              <a:rect l="l" t="t" r="r" b="b"/>
              <a:pathLst>
                <a:path w="1254759" h="485139">
                  <a:moveTo>
                    <a:pt x="1254252" y="0"/>
                  </a:moveTo>
                  <a:lnTo>
                    <a:pt x="0" y="0"/>
                  </a:lnTo>
                  <a:lnTo>
                    <a:pt x="0" y="484631"/>
                  </a:lnTo>
                  <a:lnTo>
                    <a:pt x="1254252" y="484631"/>
                  </a:lnTo>
                  <a:lnTo>
                    <a:pt x="125425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51" name="object 50">
              <a:extLst>
                <a:ext uri="{FF2B5EF4-FFF2-40B4-BE49-F238E27FC236}">
                  <a16:creationId xmlns:a16="http://schemas.microsoft.com/office/drawing/2014/main" id="{880FC59E-976D-D4E4-5154-EDFAABE6F503}"/>
                </a:ext>
              </a:extLst>
            </p:cNvPr>
            <p:cNvSpPr/>
            <p:nvPr/>
          </p:nvSpPr>
          <p:spPr>
            <a:xfrm>
              <a:off x="6620256" y="1911096"/>
              <a:ext cx="1254760" cy="485140"/>
            </a:xfrm>
            <a:custGeom>
              <a:avLst/>
              <a:gdLst/>
              <a:ahLst/>
              <a:cxnLst/>
              <a:rect l="l" t="t" r="r" b="b"/>
              <a:pathLst>
                <a:path w="1254759" h="485139">
                  <a:moveTo>
                    <a:pt x="0" y="484631"/>
                  </a:moveTo>
                  <a:lnTo>
                    <a:pt x="1254252" y="484631"/>
                  </a:lnTo>
                  <a:lnTo>
                    <a:pt x="1254252" y="0"/>
                  </a:lnTo>
                  <a:lnTo>
                    <a:pt x="0" y="0"/>
                  </a:lnTo>
                  <a:lnTo>
                    <a:pt x="0" y="484631"/>
                  </a:lnTo>
                  <a:close/>
                </a:path>
              </a:pathLst>
            </a:custGeom>
            <a:ln w="9525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</p:grpSp>
      <p:sp>
        <p:nvSpPr>
          <p:cNvPr id="53" name="object 52">
            <a:extLst>
              <a:ext uri="{FF2B5EF4-FFF2-40B4-BE49-F238E27FC236}">
                <a16:creationId xmlns:a16="http://schemas.microsoft.com/office/drawing/2014/main" id="{F439F130-A2F3-2ABE-0D0A-63C33A1A68F1}"/>
              </a:ext>
            </a:extLst>
          </p:cNvPr>
          <p:cNvSpPr/>
          <p:nvPr/>
        </p:nvSpPr>
        <p:spPr>
          <a:xfrm>
            <a:off x="409194" y="4317848"/>
            <a:ext cx="1838325" cy="1396365"/>
          </a:xfrm>
          <a:custGeom>
            <a:avLst/>
            <a:gdLst/>
            <a:ahLst/>
            <a:cxnLst/>
            <a:rect l="l" t="t" r="r" b="b"/>
            <a:pathLst>
              <a:path w="1838325" h="1396364">
                <a:moveTo>
                  <a:pt x="0" y="1395984"/>
                </a:moveTo>
                <a:lnTo>
                  <a:pt x="1837944" y="1395984"/>
                </a:lnTo>
                <a:lnTo>
                  <a:pt x="1837944" y="0"/>
                </a:lnTo>
                <a:lnTo>
                  <a:pt x="0" y="0"/>
                </a:lnTo>
                <a:lnTo>
                  <a:pt x="0" y="1395984"/>
                </a:lnTo>
                <a:close/>
              </a:path>
            </a:pathLst>
          </a:custGeom>
          <a:ln w="19049">
            <a:solidFill>
              <a:srgbClr val="A6A6A6"/>
            </a:solidFill>
            <a:prstDash val="sysDash"/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4" name="object 53">
            <a:extLst>
              <a:ext uri="{FF2B5EF4-FFF2-40B4-BE49-F238E27FC236}">
                <a16:creationId xmlns:a16="http://schemas.microsoft.com/office/drawing/2014/main" id="{ED151CB9-9DA2-BB70-E9D5-D9E9542A7054}"/>
              </a:ext>
            </a:extLst>
          </p:cNvPr>
          <p:cNvSpPr/>
          <p:nvPr/>
        </p:nvSpPr>
        <p:spPr>
          <a:xfrm>
            <a:off x="2317242" y="4317848"/>
            <a:ext cx="1788160" cy="1396365"/>
          </a:xfrm>
          <a:custGeom>
            <a:avLst/>
            <a:gdLst/>
            <a:ahLst/>
            <a:cxnLst/>
            <a:rect l="l" t="t" r="r" b="b"/>
            <a:pathLst>
              <a:path w="1788160" h="1396364">
                <a:moveTo>
                  <a:pt x="0" y="1395984"/>
                </a:moveTo>
                <a:lnTo>
                  <a:pt x="1787652" y="1395984"/>
                </a:lnTo>
                <a:lnTo>
                  <a:pt x="1787652" y="0"/>
                </a:lnTo>
                <a:lnTo>
                  <a:pt x="0" y="0"/>
                </a:lnTo>
                <a:lnTo>
                  <a:pt x="0" y="1395984"/>
                </a:lnTo>
                <a:close/>
              </a:path>
            </a:pathLst>
          </a:custGeom>
          <a:ln w="19050">
            <a:solidFill>
              <a:srgbClr val="A6A6A6"/>
            </a:solidFill>
            <a:prstDash val="sysDash"/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5" name="object 54">
            <a:extLst>
              <a:ext uri="{FF2B5EF4-FFF2-40B4-BE49-F238E27FC236}">
                <a16:creationId xmlns:a16="http://schemas.microsoft.com/office/drawing/2014/main" id="{C96DD182-1298-7DA9-6EF3-B92F149E4796}"/>
              </a:ext>
            </a:extLst>
          </p:cNvPr>
          <p:cNvSpPr/>
          <p:nvPr/>
        </p:nvSpPr>
        <p:spPr>
          <a:xfrm>
            <a:off x="4168902" y="4317848"/>
            <a:ext cx="1788160" cy="1396365"/>
          </a:xfrm>
          <a:custGeom>
            <a:avLst/>
            <a:gdLst/>
            <a:ahLst/>
            <a:cxnLst/>
            <a:rect l="l" t="t" r="r" b="b"/>
            <a:pathLst>
              <a:path w="1788160" h="1396364">
                <a:moveTo>
                  <a:pt x="0" y="1395984"/>
                </a:moveTo>
                <a:lnTo>
                  <a:pt x="1787652" y="1395984"/>
                </a:lnTo>
                <a:lnTo>
                  <a:pt x="1787652" y="0"/>
                </a:lnTo>
                <a:lnTo>
                  <a:pt x="0" y="0"/>
                </a:lnTo>
                <a:lnTo>
                  <a:pt x="0" y="1395984"/>
                </a:lnTo>
                <a:close/>
              </a:path>
            </a:pathLst>
          </a:custGeom>
          <a:ln w="19050">
            <a:solidFill>
              <a:srgbClr val="A6A6A6"/>
            </a:solidFill>
            <a:prstDash val="sysDash"/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6" name="object 55">
            <a:extLst>
              <a:ext uri="{FF2B5EF4-FFF2-40B4-BE49-F238E27FC236}">
                <a16:creationId xmlns:a16="http://schemas.microsoft.com/office/drawing/2014/main" id="{22030668-934E-3D54-3E02-7E3E2BDE178B}"/>
              </a:ext>
            </a:extLst>
          </p:cNvPr>
          <p:cNvSpPr/>
          <p:nvPr/>
        </p:nvSpPr>
        <p:spPr>
          <a:xfrm>
            <a:off x="6025134" y="4317848"/>
            <a:ext cx="1788160" cy="1396365"/>
          </a:xfrm>
          <a:custGeom>
            <a:avLst/>
            <a:gdLst/>
            <a:ahLst/>
            <a:cxnLst/>
            <a:rect l="l" t="t" r="r" b="b"/>
            <a:pathLst>
              <a:path w="1788159" h="1396364">
                <a:moveTo>
                  <a:pt x="0" y="1395984"/>
                </a:moveTo>
                <a:lnTo>
                  <a:pt x="1787652" y="1395984"/>
                </a:lnTo>
                <a:lnTo>
                  <a:pt x="1787652" y="0"/>
                </a:lnTo>
                <a:lnTo>
                  <a:pt x="0" y="0"/>
                </a:lnTo>
                <a:lnTo>
                  <a:pt x="0" y="1395984"/>
                </a:lnTo>
                <a:close/>
              </a:path>
            </a:pathLst>
          </a:custGeom>
          <a:ln w="19050">
            <a:solidFill>
              <a:srgbClr val="A6A6A6"/>
            </a:solidFill>
            <a:prstDash val="sysDash"/>
          </a:ln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57" name="object 56">
            <a:extLst>
              <a:ext uri="{FF2B5EF4-FFF2-40B4-BE49-F238E27FC236}">
                <a16:creationId xmlns:a16="http://schemas.microsoft.com/office/drawing/2014/main" id="{E40D6218-45D2-0E0E-188E-4727D904D471}"/>
              </a:ext>
            </a:extLst>
          </p:cNvPr>
          <p:cNvGrpSpPr/>
          <p:nvPr/>
        </p:nvGrpSpPr>
        <p:grpSpPr>
          <a:xfrm>
            <a:off x="740473" y="4441864"/>
            <a:ext cx="1162050" cy="323850"/>
            <a:chOff x="740473" y="3928681"/>
            <a:chExt cx="1162050" cy="323850"/>
          </a:xfrm>
        </p:grpSpPr>
        <p:sp>
          <p:nvSpPr>
            <p:cNvPr id="58" name="object 57">
              <a:extLst>
                <a:ext uri="{FF2B5EF4-FFF2-40B4-BE49-F238E27FC236}">
                  <a16:creationId xmlns:a16="http://schemas.microsoft.com/office/drawing/2014/main" id="{CA590FC4-2CBF-901F-52AC-67539F2F13DD}"/>
                </a:ext>
              </a:extLst>
            </p:cNvPr>
            <p:cNvSpPr/>
            <p:nvPr/>
          </p:nvSpPr>
          <p:spPr>
            <a:xfrm>
              <a:off x="745236" y="3933444"/>
              <a:ext cx="1152525" cy="314325"/>
            </a:xfrm>
            <a:custGeom>
              <a:avLst/>
              <a:gdLst/>
              <a:ahLst/>
              <a:cxnLst/>
              <a:rect l="l" t="t" r="r" b="b"/>
              <a:pathLst>
                <a:path w="1152525" h="314325">
                  <a:moveTo>
                    <a:pt x="0" y="313943"/>
                  </a:moveTo>
                  <a:lnTo>
                    <a:pt x="1152144" y="313943"/>
                  </a:lnTo>
                  <a:lnTo>
                    <a:pt x="1152144" y="0"/>
                  </a:lnTo>
                  <a:lnTo>
                    <a:pt x="0" y="0"/>
                  </a:lnTo>
                  <a:lnTo>
                    <a:pt x="0" y="313943"/>
                  </a:lnTo>
                  <a:close/>
                </a:path>
              </a:pathLst>
            </a:custGeom>
            <a:ln w="9525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59" name="object 58">
              <a:extLst>
                <a:ext uri="{FF2B5EF4-FFF2-40B4-BE49-F238E27FC236}">
                  <a16:creationId xmlns:a16="http://schemas.microsoft.com/office/drawing/2014/main" id="{33C8397C-2D64-63E6-3D6C-D030CE68DEA1}"/>
                </a:ext>
              </a:extLst>
            </p:cNvPr>
            <p:cNvPicPr/>
            <p:nvPr/>
          </p:nvPicPr>
          <p:blipFill>
            <a:blip r:embed="rId29" cstate="print"/>
            <a:stretch>
              <a:fillRect/>
            </a:stretch>
          </p:blipFill>
          <p:spPr>
            <a:xfrm>
              <a:off x="1161897" y="4021836"/>
              <a:ext cx="398144" cy="140207"/>
            </a:xfrm>
            <a:prstGeom prst="rect">
              <a:avLst/>
            </a:prstGeom>
          </p:spPr>
        </p:pic>
      </p:grpSp>
      <p:grpSp>
        <p:nvGrpSpPr>
          <p:cNvPr id="60" name="object 59">
            <a:extLst>
              <a:ext uri="{FF2B5EF4-FFF2-40B4-BE49-F238E27FC236}">
                <a16:creationId xmlns:a16="http://schemas.microsoft.com/office/drawing/2014/main" id="{86DFE9D0-5636-16DE-5CF6-3DF68AF5555A}"/>
              </a:ext>
            </a:extLst>
          </p:cNvPr>
          <p:cNvGrpSpPr/>
          <p:nvPr/>
        </p:nvGrpSpPr>
        <p:grpSpPr>
          <a:xfrm>
            <a:off x="740473" y="4833532"/>
            <a:ext cx="1162050" cy="323850"/>
            <a:chOff x="740473" y="4320349"/>
            <a:chExt cx="1162050" cy="323850"/>
          </a:xfrm>
        </p:grpSpPr>
        <p:sp>
          <p:nvSpPr>
            <p:cNvPr id="61" name="object 60">
              <a:extLst>
                <a:ext uri="{FF2B5EF4-FFF2-40B4-BE49-F238E27FC236}">
                  <a16:creationId xmlns:a16="http://schemas.microsoft.com/office/drawing/2014/main" id="{CFD04E2D-9F77-7582-D6E3-0E0C528D59EC}"/>
                </a:ext>
              </a:extLst>
            </p:cNvPr>
            <p:cNvSpPr/>
            <p:nvPr/>
          </p:nvSpPr>
          <p:spPr>
            <a:xfrm>
              <a:off x="745236" y="4325111"/>
              <a:ext cx="1152525" cy="314325"/>
            </a:xfrm>
            <a:custGeom>
              <a:avLst/>
              <a:gdLst/>
              <a:ahLst/>
              <a:cxnLst/>
              <a:rect l="l" t="t" r="r" b="b"/>
              <a:pathLst>
                <a:path w="1152525" h="314325">
                  <a:moveTo>
                    <a:pt x="0" y="313944"/>
                  </a:moveTo>
                  <a:lnTo>
                    <a:pt x="1152144" y="313944"/>
                  </a:lnTo>
                  <a:lnTo>
                    <a:pt x="1152144" y="0"/>
                  </a:lnTo>
                  <a:lnTo>
                    <a:pt x="0" y="0"/>
                  </a:lnTo>
                  <a:lnTo>
                    <a:pt x="0" y="313944"/>
                  </a:lnTo>
                  <a:close/>
                </a:path>
              </a:pathLst>
            </a:custGeom>
            <a:ln w="9525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62" name="object 61">
              <a:extLst>
                <a:ext uri="{FF2B5EF4-FFF2-40B4-BE49-F238E27FC236}">
                  <a16:creationId xmlns:a16="http://schemas.microsoft.com/office/drawing/2014/main" id="{0EE495EE-0775-61CF-1850-CD9F32FE4B8E}"/>
                </a:ext>
              </a:extLst>
            </p:cNvPr>
            <p:cNvPicPr/>
            <p:nvPr/>
          </p:nvPicPr>
          <p:blipFill>
            <a:blip r:embed="rId30" cstate="print"/>
            <a:stretch>
              <a:fillRect/>
            </a:stretch>
          </p:blipFill>
          <p:spPr>
            <a:xfrm>
              <a:off x="1075029" y="4413503"/>
              <a:ext cx="553783" cy="140207"/>
            </a:xfrm>
            <a:prstGeom prst="rect">
              <a:avLst/>
            </a:prstGeom>
          </p:spPr>
        </p:pic>
      </p:grpSp>
      <p:grpSp>
        <p:nvGrpSpPr>
          <p:cNvPr id="63" name="object 62">
            <a:extLst>
              <a:ext uri="{FF2B5EF4-FFF2-40B4-BE49-F238E27FC236}">
                <a16:creationId xmlns:a16="http://schemas.microsoft.com/office/drawing/2014/main" id="{67714E29-1158-D302-6128-2289F2591673}"/>
              </a:ext>
            </a:extLst>
          </p:cNvPr>
          <p:cNvGrpSpPr/>
          <p:nvPr/>
        </p:nvGrpSpPr>
        <p:grpSpPr>
          <a:xfrm>
            <a:off x="2636329" y="4441864"/>
            <a:ext cx="1162050" cy="323850"/>
            <a:chOff x="2636329" y="3928681"/>
            <a:chExt cx="1162050" cy="323850"/>
          </a:xfrm>
        </p:grpSpPr>
        <p:sp>
          <p:nvSpPr>
            <p:cNvPr id="64" name="object 63">
              <a:extLst>
                <a:ext uri="{FF2B5EF4-FFF2-40B4-BE49-F238E27FC236}">
                  <a16:creationId xmlns:a16="http://schemas.microsoft.com/office/drawing/2014/main" id="{784E42F8-6D7A-F7A3-4FF8-0CFBFF739763}"/>
                </a:ext>
              </a:extLst>
            </p:cNvPr>
            <p:cNvSpPr/>
            <p:nvPr/>
          </p:nvSpPr>
          <p:spPr>
            <a:xfrm>
              <a:off x="2641092" y="3933444"/>
              <a:ext cx="1152525" cy="314325"/>
            </a:xfrm>
            <a:custGeom>
              <a:avLst/>
              <a:gdLst/>
              <a:ahLst/>
              <a:cxnLst/>
              <a:rect l="l" t="t" r="r" b="b"/>
              <a:pathLst>
                <a:path w="1152525" h="314325">
                  <a:moveTo>
                    <a:pt x="0" y="313943"/>
                  </a:moveTo>
                  <a:lnTo>
                    <a:pt x="1152144" y="313943"/>
                  </a:lnTo>
                  <a:lnTo>
                    <a:pt x="1152144" y="0"/>
                  </a:lnTo>
                  <a:lnTo>
                    <a:pt x="0" y="0"/>
                  </a:lnTo>
                  <a:lnTo>
                    <a:pt x="0" y="313943"/>
                  </a:lnTo>
                  <a:close/>
                </a:path>
              </a:pathLst>
            </a:custGeom>
            <a:ln w="9525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65" name="object 64">
              <a:extLst>
                <a:ext uri="{FF2B5EF4-FFF2-40B4-BE49-F238E27FC236}">
                  <a16:creationId xmlns:a16="http://schemas.microsoft.com/office/drawing/2014/main" id="{2606AA03-D46A-5AA8-99FD-67EB9092C249}"/>
                </a:ext>
              </a:extLst>
            </p:cNvPr>
            <p:cNvPicPr/>
            <p:nvPr/>
          </p:nvPicPr>
          <p:blipFill>
            <a:blip r:embed="rId31" cstate="print"/>
            <a:stretch>
              <a:fillRect/>
            </a:stretch>
          </p:blipFill>
          <p:spPr>
            <a:xfrm>
              <a:off x="2932176" y="4021836"/>
              <a:ext cx="633310" cy="140207"/>
            </a:xfrm>
            <a:prstGeom prst="rect">
              <a:avLst/>
            </a:prstGeom>
          </p:spPr>
        </p:pic>
      </p:grpSp>
      <p:grpSp>
        <p:nvGrpSpPr>
          <p:cNvPr id="66" name="object 65">
            <a:extLst>
              <a:ext uri="{FF2B5EF4-FFF2-40B4-BE49-F238E27FC236}">
                <a16:creationId xmlns:a16="http://schemas.microsoft.com/office/drawing/2014/main" id="{E3F04AEF-C6F5-B83D-CF0B-4FBFC887B6BF}"/>
              </a:ext>
            </a:extLst>
          </p:cNvPr>
          <p:cNvGrpSpPr/>
          <p:nvPr/>
        </p:nvGrpSpPr>
        <p:grpSpPr>
          <a:xfrm>
            <a:off x="2636329" y="4833532"/>
            <a:ext cx="1162050" cy="323850"/>
            <a:chOff x="2636329" y="4320349"/>
            <a:chExt cx="1162050" cy="323850"/>
          </a:xfrm>
        </p:grpSpPr>
        <p:sp>
          <p:nvSpPr>
            <p:cNvPr id="67" name="object 66">
              <a:extLst>
                <a:ext uri="{FF2B5EF4-FFF2-40B4-BE49-F238E27FC236}">
                  <a16:creationId xmlns:a16="http://schemas.microsoft.com/office/drawing/2014/main" id="{C2813771-F05E-6AB9-A208-6A36C4B58372}"/>
                </a:ext>
              </a:extLst>
            </p:cNvPr>
            <p:cNvSpPr/>
            <p:nvPr/>
          </p:nvSpPr>
          <p:spPr>
            <a:xfrm>
              <a:off x="2641092" y="4325111"/>
              <a:ext cx="1152525" cy="314325"/>
            </a:xfrm>
            <a:custGeom>
              <a:avLst/>
              <a:gdLst/>
              <a:ahLst/>
              <a:cxnLst/>
              <a:rect l="l" t="t" r="r" b="b"/>
              <a:pathLst>
                <a:path w="1152525" h="314325">
                  <a:moveTo>
                    <a:pt x="0" y="313944"/>
                  </a:moveTo>
                  <a:lnTo>
                    <a:pt x="1152144" y="313944"/>
                  </a:lnTo>
                  <a:lnTo>
                    <a:pt x="1152144" y="0"/>
                  </a:lnTo>
                  <a:lnTo>
                    <a:pt x="0" y="0"/>
                  </a:lnTo>
                  <a:lnTo>
                    <a:pt x="0" y="313944"/>
                  </a:lnTo>
                  <a:close/>
                </a:path>
              </a:pathLst>
            </a:custGeom>
            <a:ln w="9525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68" name="object 67">
              <a:extLst>
                <a:ext uri="{FF2B5EF4-FFF2-40B4-BE49-F238E27FC236}">
                  <a16:creationId xmlns:a16="http://schemas.microsoft.com/office/drawing/2014/main" id="{1B8832FC-5AA2-1510-B78C-51D0BC505A2F}"/>
                </a:ext>
              </a:extLst>
            </p:cNvPr>
            <p:cNvPicPr/>
            <p:nvPr/>
          </p:nvPicPr>
          <p:blipFill>
            <a:blip r:embed="rId32" cstate="print"/>
            <a:stretch>
              <a:fillRect/>
            </a:stretch>
          </p:blipFill>
          <p:spPr>
            <a:xfrm>
              <a:off x="2996184" y="4413503"/>
              <a:ext cx="503351" cy="140207"/>
            </a:xfrm>
            <a:prstGeom prst="rect">
              <a:avLst/>
            </a:prstGeom>
          </p:spPr>
        </p:pic>
      </p:grpSp>
      <p:grpSp>
        <p:nvGrpSpPr>
          <p:cNvPr id="69" name="object 68">
            <a:extLst>
              <a:ext uri="{FF2B5EF4-FFF2-40B4-BE49-F238E27FC236}">
                <a16:creationId xmlns:a16="http://schemas.microsoft.com/office/drawing/2014/main" id="{3903F7CC-84A1-845B-D105-9C56CDC9077D}"/>
              </a:ext>
            </a:extLst>
          </p:cNvPr>
          <p:cNvGrpSpPr/>
          <p:nvPr/>
        </p:nvGrpSpPr>
        <p:grpSpPr>
          <a:xfrm>
            <a:off x="4469701" y="4441864"/>
            <a:ext cx="1162050" cy="323850"/>
            <a:chOff x="4469701" y="3928681"/>
            <a:chExt cx="1162050" cy="323850"/>
          </a:xfrm>
        </p:grpSpPr>
        <p:sp>
          <p:nvSpPr>
            <p:cNvPr id="70" name="object 69">
              <a:extLst>
                <a:ext uri="{FF2B5EF4-FFF2-40B4-BE49-F238E27FC236}">
                  <a16:creationId xmlns:a16="http://schemas.microsoft.com/office/drawing/2014/main" id="{9C8F3055-B8C0-9E99-FB0F-AC0DD4B7FAFD}"/>
                </a:ext>
              </a:extLst>
            </p:cNvPr>
            <p:cNvSpPr/>
            <p:nvPr/>
          </p:nvSpPr>
          <p:spPr>
            <a:xfrm>
              <a:off x="4474464" y="3933444"/>
              <a:ext cx="1152525" cy="314325"/>
            </a:xfrm>
            <a:custGeom>
              <a:avLst/>
              <a:gdLst/>
              <a:ahLst/>
              <a:cxnLst/>
              <a:rect l="l" t="t" r="r" b="b"/>
              <a:pathLst>
                <a:path w="1152525" h="314325">
                  <a:moveTo>
                    <a:pt x="0" y="313943"/>
                  </a:moveTo>
                  <a:lnTo>
                    <a:pt x="1152143" y="313943"/>
                  </a:lnTo>
                  <a:lnTo>
                    <a:pt x="1152143" y="0"/>
                  </a:lnTo>
                  <a:lnTo>
                    <a:pt x="0" y="0"/>
                  </a:lnTo>
                  <a:lnTo>
                    <a:pt x="0" y="313943"/>
                  </a:lnTo>
                  <a:close/>
                </a:path>
              </a:pathLst>
            </a:custGeom>
            <a:ln w="9524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71" name="object 70">
              <a:extLst>
                <a:ext uri="{FF2B5EF4-FFF2-40B4-BE49-F238E27FC236}">
                  <a16:creationId xmlns:a16="http://schemas.microsoft.com/office/drawing/2014/main" id="{95BC9623-49E9-CAA0-FF7B-5702C65FA1E1}"/>
                </a:ext>
              </a:extLst>
            </p:cNvPr>
            <p:cNvPicPr/>
            <p:nvPr/>
          </p:nvPicPr>
          <p:blipFill>
            <a:blip r:embed="rId33" cstate="print"/>
            <a:stretch>
              <a:fillRect/>
            </a:stretch>
          </p:blipFill>
          <p:spPr>
            <a:xfrm>
              <a:off x="4579874" y="4021836"/>
              <a:ext cx="755129" cy="140207"/>
            </a:xfrm>
            <a:prstGeom prst="rect">
              <a:avLst/>
            </a:prstGeom>
          </p:spPr>
        </p:pic>
        <p:pic>
          <p:nvPicPr>
            <p:cNvPr id="72" name="object 71">
              <a:extLst>
                <a:ext uri="{FF2B5EF4-FFF2-40B4-BE49-F238E27FC236}">
                  <a16:creationId xmlns:a16="http://schemas.microsoft.com/office/drawing/2014/main" id="{E79DE3CB-1DDB-1F19-B00C-2C03918725C5}"/>
                </a:ext>
              </a:extLst>
            </p:cNvPr>
            <p:cNvPicPr/>
            <p:nvPr/>
          </p:nvPicPr>
          <p:blipFill>
            <a:blip r:embed="rId34" cstate="print"/>
            <a:stretch>
              <a:fillRect/>
            </a:stretch>
          </p:blipFill>
          <p:spPr>
            <a:xfrm>
              <a:off x="5272151" y="4021836"/>
              <a:ext cx="312420" cy="140207"/>
            </a:xfrm>
            <a:prstGeom prst="rect">
              <a:avLst/>
            </a:prstGeom>
          </p:spPr>
        </p:pic>
      </p:grpSp>
      <p:grpSp>
        <p:nvGrpSpPr>
          <p:cNvPr id="73" name="object 72">
            <a:extLst>
              <a:ext uri="{FF2B5EF4-FFF2-40B4-BE49-F238E27FC236}">
                <a16:creationId xmlns:a16="http://schemas.microsoft.com/office/drawing/2014/main" id="{747AEF59-B8F5-0B58-17EF-0BBFD1FCE286}"/>
              </a:ext>
            </a:extLst>
          </p:cNvPr>
          <p:cNvGrpSpPr/>
          <p:nvPr/>
        </p:nvGrpSpPr>
        <p:grpSpPr>
          <a:xfrm>
            <a:off x="740473" y="5231296"/>
            <a:ext cx="1162050" cy="323850"/>
            <a:chOff x="740473" y="4718113"/>
            <a:chExt cx="1162050" cy="323850"/>
          </a:xfrm>
        </p:grpSpPr>
        <p:sp>
          <p:nvSpPr>
            <p:cNvPr id="74" name="object 73">
              <a:extLst>
                <a:ext uri="{FF2B5EF4-FFF2-40B4-BE49-F238E27FC236}">
                  <a16:creationId xmlns:a16="http://schemas.microsoft.com/office/drawing/2014/main" id="{0A8CC938-0452-86BD-74A7-47B2768DDF61}"/>
                </a:ext>
              </a:extLst>
            </p:cNvPr>
            <p:cNvSpPr/>
            <p:nvPr/>
          </p:nvSpPr>
          <p:spPr>
            <a:xfrm>
              <a:off x="745236" y="4722876"/>
              <a:ext cx="1152525" cy="314325"/>
            </a:xfrm>
            <a:custGeom>
              <a:avLst/>
              <a:gdLst/>
              <a:ahLst/>
              <a:cxnLst/>
              <a:rect l="l" t="t" r="r" b="b"/>
              <a:pathLst>
                <a:path w="1152525" h="314325">
                  <a:moveTo>
                    <a:pt x="0" y="313944"/>
                  </a:moveTo>
                  <a:lnTo>
                    <a:pt x="1152144" y="313944"/>
                  </a:lnTo>
                  <a:lnTo>
                    <a:pt x="1152144" y="0"/>
                  </a:lnTo>
                  <a:lnTo>
                    <a:pt x="0" y="0"/>
                  </a:lnTo>
                  <a:lnTo>
                    <a:pt x="0" y="313944"/>
                  </a:lnTo>
                  <a:close/>
                </a:path>
              </a:pathLst>
            </a:custGeom>
            <a:ln w="9525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75" name="object 74">
              <a:extLst>
                <a:ext uri="{FF2B5EF4-FFF2-40B4-BE49-F238E27FC236}">
                  <a16:creationId xmlns:a16="http://schemas.microsoft.com/office/drawing/2014/main" id="{5439FE08-9438-6EA2-4C86-3FA3E7E83C34}"/>
                </a:ext>
              </a:extLst>
            </p:cNvPr>
            <p:cNvPicPr/>
            <p:nvPr/>
          </p:nvPicPr>
          <p:blipFill>
            <a:blip r:embed="rId35" cstate="print"/>
            <a:stretch>
              <a:fillRect/>
            </a:stretch>
          </p:blipFill>
          <p:spPr>
            <a:xfrm>
              <a:off x="1047597" y="4810633"/>
              <a:ext cx="609600" cy="140207"/>
            </a:xfrm>
            <a:prstGeom prst="rect">
              <a:avLst/>
            </a:prstGeom>
          </p:spPr>
        </p:pic>
      </p:grpSp>
      <p:grpSp>
        <p:nvGrpSpPr>
          <p:cNvPr id="76" name="object 75">
            <a:extLst>
              <a:ext uri="{FF2B5EF4-FFF2-40B4-BE49-F238E27FC236}">
                <a16:creationId xmlns:a16="http://schemas.microsoft.com/office/drawing/2014/main" id="{E9D25D95-500E-856F-8D03-3995D710BDFA}"/>
              </a:ext>
            </a:extLst>
          </p:cNvPr>
          <p:cNvGrpSpPr/>
          <p:nvPr/>
        </p:nvGrpSpPr>
        <p:grpSpPr>
          <a:xfrm>
            <a:off x="2636329" y="5231296"/>
            <a:ext cx="1162050" cy="323850"/>
            <a:chOff x="2636329" y="4718113"/>
            <a:chExt cx="1162050" cy="323850"/>
          </a:xfrm>
        </p:grpSpPr>
        <p:sp>
          <p:nvSpPr>
            <p:cNvPr id="77" name="object 76">
              <a:extLst>
                <a:ext uri="{FF2B5EF4-FFF2-40B4-BE49-F238E27FC236}">
                  <a16:creationId xmlns:a16="http://schemas.microsoft.com/office/drawing/2014/main" id="{20C084D0-B024-0449-9C49-77C5A9A7EFF2}"/>
                </a:ext>
              </a:extLst>
            </p:cNvPr>
            <p:cNvSpPr/>
            <p:nvPr/>
          </p:nvSpPr>
          <p:spPr>
            <a:xfrm>
              <a:off x="2641092" y="4722876"/>
              <a:ext cx="1152525" cy="314325"/>
            </a:xfrm>
            <a:custGeom>
              <a:avLst/>
              <a:gdLst/>
              <a:ahLst/>
              <a:cxnLst/>
              <a:rect l="l" t="t" r="r" b="b"/>
              <a:pathLst>
                <a:path w="1152525" h="314325">
                  <a:moveTo>
                    <a:pt x="0" y="313944"/>
                  </a:moveTo>
                  <a:lnTo>
                    <a:pt x="1152144" y="313944"/>
                  </a:lnTo>
                  <a:lnTo>
                    <a:pt x="1152144" y="0"/>
                  </a:lnTo>
                  <a:lnTo>
                    <a:pt x="0" y="0"/>
                  </a:lnTo>
                  <a:lnTo>
                    <a:pt x="0" y="313944"/>
                  </a:lnTo>
                  <a:close/>
                </a:path>
              </a:pathLst>
            </a:custGeom>
            <a:ln w="9525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78" name="object 77">
              <a:extLst>
                <a:ext uri="{FF2B5EF4-FFF2-40B4-BE49-F238E27FC236}">
                  <a16:creationId xmlns:a16="http://schemas.microsoft.com/office/drawing/2014/main" id="{F571C7B6-9E52-9EDC-7D8C-67D5C9A80911}"/>
                </a:ext>
              </a:extLst>
            </p:cNvPr>
            <p:cNvPicPr/>
            <p:nvPr/>
          </p:nvPicPr>
          <p:blipFill>
            <a:blip r:embed="rId36" cstate="print"/>
            <a:stretch>
              <a:fillRect/>
            </a:stretch>
          </p:blipFill>
          <p:spPr>
            <a:xfrm>
              <a:off x="2939796" y="4810633"/>
              <a:ext cx="624078" cy="140207"/>
            </a:xfrm>
            <a:prstGeom prst="rect">
              <a:avLst/>
            </a:prstGeom>
          </p:spPr>
        </p:pic>
      </p:grpSp>
      <p:grpSp>
        <p:nvGrpSpPr>
          <p:cNvPr id="79" name="object 78">
            <a:extLst>
              <a:ext uri="{FF2B5EF4-FFF2-40B4-BE49-F238E27FC236}">
                <a16:creationId xmlns:a16="http://schemas.microsoft.com/office/drawing/2014/main" id="{39A8C665-6091-2D98-4B6B-BDA90900E01D}"/>
              </a:ext>
            </a:extLst>
          </p:cNvPr>
          <p:cNvGrpSpPr/>
          <p:nvPr/>
        </p:nvGrpSpPr>
        <p:grpSpPr>
          <a:xfrm>
            <a:off x="4474273" y="5231296"/>
            <a:ext cx="1162050" cy="323850"/>
            <a:chOff x="4474273" y="4718113"/>
            <a:chExt cx="1162050" cy="323850"/>
          </a:xfrm>
        </p:grpSpPr>
        <p:sp>
          <p:nvSpPr>
            <p:cNvPr id="80" name="object 79">
              <a:extLst>
                <a:ext uri="{FF2B5EF4-FFF2-40B4-BE49-F238E27FC236}">
                  <a16:creationId xmlns:a16="http://schemas.microsoft.com/office/drawing/2014/main" id="{AB29832F-5B2E-E1C0-BD82-06CE17FC3B03}"/>
                </a:ext>
              </a:extLst>
            </p:cNvPr>
            <p:cNvSpPr/>
            <p:nvPr/>
          </p:nvSpPr>
          <p:spPr>
            <a:xfrm>
              <a:off x="4479035" y="4722876"/>
              <a:ext cx="1152525" cy="314325"/>
            </a:xfrm>
            <a:custGeom>
              <a:avLst/>
              <a:gdLst/>
              <a:ahLst/>
              <a:cxnLst/>
              <a:rect l="l" t="t" r="r" b="b"/>
              <a:pathLst>
                <a:path w="1152525" h="314325">
                  <a:moveTo>
                    <a:pt x="0" y="313944"/>
                  </a:moveTo>
                  <a:lnTo>
                    <a:pt x="1152143" y="313944"/>
                  </a:lnTo>
                  <a:lnTo>
                    <a:pt x="1152143" y="0"/>
                  </a:lnTo>
                  <a:lnTo>
                    <a:pt x="0" y="0"/>
                  </a:lnTo>
                  <a:lnTo>
                    <a:pt x="0" y="313944"/>
                  </a:lnTo>
                  <a:close/>
                </a:path>
              </a:pathLst>
            </a:custGeom>
            <a:ln w="9524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81" name="object 80">
              <a:extLst>
                <a:ext uri="{FF2B5EF4-FFF2-40B4-BE49-F238E27FC236}">
                  <a16:creationId xmlns:a16="http://schemas.microsoft.com/office/drawing/2014/main" id="{E729DB8D-3FC3-B085-4248-F91F58493A8B}"/>
                </a:ext>
              </a:extLst>
            </p:cNvPr>
            <p:cNvPicPr/>
            <p:nvPr/>
          </p:nvPicPr>
          <p:blipFill>
            <a:blip r:embed="rId37" cstate="print"/>
            <a:stretch>
              <a:fillRect/>
            </a:stretch>
          </p:blipFill>
          <p:spPr>
            <a:xfrm>
              <a:off x="4716525" y="4810633"/>
              <a:ext cx="736511" cy="140207"/>
            </a:xfrm>
            <a:prstGeom prst="rect">
              <a:avLst/>
            </a:prstGeom>
          </p:spPr>
        </p:pic>
      </p:grpSp>
      <p:grpSp>
        <p:nvGrpSpPr>
          <p:cNvPr id="82" name="object 81">
            <a:extLst>
              <a:ext uri="{FF2B5EF4-FFF2-40B4-BE49-F238E27FC236}">
                <a16:creationId xmlns:a16="http://schemas.microsoft.com/office/drawing/2014/main" id="{26EAC490-BE64-C378-9050-566A8B0C2F76}"/>
              </a:ext>
            </a:extLst>
          </p:cNvPr>
          <p:cNvGrpSpPr/>
          <p:nvPr/>
        </p:nvGrpSpPr>
        <p:grpSpPr>
          <a:xfrm>
            <a:off x="4469701" y="4833532"/>
            <a:ext cx="1162050" cy="323850"/>
            <a:chOff x="4469701" y="4320349"/>
            <a:chExt cx="1162050" cy="323850"/>
          </a:xfrm>
        </p:grpSpPr>
        <p:sp>
          <p:nvSpPr>
            <p:cNvPr id="83" name="object 82">
              <a:extLst>
                <a:ext uri="{FF2B5EF4-FFF2-40B4-BE49-F238E27FC236}">
                  <a16:creationId xmlns:a16="http://schemas.microsoft.com/office/drawing/2014/main" id="{10501346-2B92-1361-1832-2F83840A5823}"/>
                </a:ext>
              </a:extLst>
            </p:cNvPr>
            <p:cNvSpPr/>
            <p:nvPr/>
          </p:nvSpPr>
          <p:spPr>
            <a:xfrm>
              <a:off x="4474464" y="4325111"/>
              <a:ext cx="1152525" cy="314325"/>
            </a:xfrm>
            <a:custGeom>
              <a:avLst/>
              <a:gdLst/>
              <a:ahLst/>
              <a:cxnLst/>
              <a:rect l="l" t="t" r="r" b="b"/>
              <a:pathLst>
                <a:path w="1152525" h="314325">
                  <a:moveTo>
                    <a:pt x="0" y="313944"/>
                  </a:moveTo>
                  <a:lnTo>
                    <a:pt x="1152143" y="313944"/>
                  </a:lnTo>
                  <a:lnTo>
                    <a:pt x="1152143" y="0"/>
                  </a:lnTo>
                  <a:lnTo>
                    <a:pt x="0" y="0"/>
                  </a:lnTo>
                  <a:lnTo>
                    <a:pt x="0" y="313944"/>
                  </a:lnTo>
                  <a:close/>
                </a:path>
              </a:pathLst>
            </a:custGeom>
            <a:ln w="9524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84" name="object 83">
              <a:extLst>
                <a:ext uri="{FF2B5EF4-FFF2-40B4-BE49-F238E27FC236}">
                  <a16:creationId xmlns:a16="http://schemas.microsoft.com/office/drawing/2014/main" id="{29477E07-FC0A-2A79-1236-C7C72BF7406F}"/>
                </a:ext>
              </a:extLst>
            </p:cNvPr>
            <p:cNvPicPr/>
            <p:nvPr/>
          </p:nvPicPr>
          <p:blipFill>
            <a:blip r:embed="rId33" cstate="print"/>
            <a:stretch>
              <a:fillRect/>
            </a:stretch>
          </p:blipFill>
          <p:spPr>
            <a:xfrm>
              <a:off x="4721987" y="4344923"/>
              <a:ext cx="754799" cy="140207"/>
            </a:xfrm>
            <a:prstGeom prst="rect">
              <a:avLst/>
            </a:prstGeom>
          </p:spPr>
        </p:pic>
        <p:pic>
          <p:nvPicPr>
            <p:cNvPr id="85" name="object 84">
              <a:extLst>
                <a:ext uri="{FF2B5EF4-FFF2-40B4-BE49-F238E27FC236}">
                  <a16:creationId xmlns:a16="http://schemas.microsoft.com/office/drawing/2014/main" id="{AAA39052-BDA2-9AA2-3A67-06EE0D549033}"/>
                </a:ext>
              </a:extLst>
            </p:cNvPr>
            <p:cNvPicPr/>
            <p:nvPr/>
          </p:nvPicPr>
          <p:blipFill>
            <a:blip r:embed="rId38" cstate="print"/>
            <a:stretch>
              <a:fillRect/>
            </a:stretch>
          </p:blipFill>
          <p:spPr>
            <a:xfrm>
              <a:off x="4677791" y="4482083"/>
              <a:ext cx="821436" cy="140207"/>
            </a:xfrm>
            <a:prstGeom prst="rect">
              <a:avLst/>
            </a:prstGeom>
          </p:spPr>
        </p:pic>
      </p:grpSp>
      <p:grpSp>
        <p:nvGrpSpPr>
          <p:cNvPr id="86" name="object 85">
            <a:extLst>
              <a:ext uri="{FF2B5EF4-FFF2-40B4-BE49-F238E27FC236}">
                <a16:creationId xmlns:a16="http://schemas.microsoft.com/office/drawing/2014/main" id="{1D98EC7D-397B-09AE-7D51-781ED5F02163}"/>
              </a:ext>
            </a:extLst>
          </p:cNvPr>
          <p:cNvGrpSpPr/>
          <p:nvPr/>
        </p:nvGrpSpPr>
        <p:grpSpPr>
          <a:xfrm>
            <a:off x="6321361" y="4441864"/>
            <a:ext cx="1162050" cy="323850"/>
            <a:chOff x="6321361" y="3928681"/>
            <a:chExt cx="1162050" cy="323850"/>
          </a:xfrm>
        </p:grpSpPr>
        <p:sp>
          <p:nvSpPr>
            <p:cNvPr id="87" name="object 86">
              <a:extLst>
                <a:ext uri="{FF2B5EF4-FFF2-40B4-BE49-F238E27FC236}">
                  <a16:creationId xmlns:a16="http://schemas.microsoft.com/office/drawing/2014/main" id="{EB6D78EB-A3A1-0B61-17E2-46449963EDC3}"/>
                </a:ext>
              </a:extLst>
            </p:cNvPr>
            <p:cNvSpPr/>
            <p:nvPr/>
          </p:nvSpPr>
          <p:spPr>
            <a:xfrm>
              <a:off x="6326123" y="3933444"/>
              <a:ext cx="1152525" cy="314325"/>
            </a:xfrm>
            <a:custGeom>
              <a:avLst/>
              <a:gdLst/>
              <a:ahLst/>
              <a:cxnLst/>
              <a:rect l="l" t="t" r="r" b="b"/>
              <a:pathLst>
                <a:path w="1152525" h="314325">
                  <a:moveTo>
                    <a:pt x="0" y="313943"/>
                  </a:moveTo>
                  <a:lnTo>
                    <a:pt x="1152144" y="313943"/>
                  </a:lnTo>
                  <a:lnTo>
                    <a:pt x="1152144" y="0"/>
                  </a:lnTo>
                  <a:lnTo>
                    <a:pt x="0" y="0"/>
                  </a:lnTo>
                  <a:lnTo>
                    <a:pt x="0" y="313943"/>
                  </a:lnTo>
                  <a:close/>
                </a:path>
              </a:pathLst>
            </a:custGeom>
            <a:ln w="9525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88" name="object 87">
              <a:extLst>
                <a:ext uri="{FF2B5EF4-FFF2-40B4-BE49-F238E27FC236}">
                  <a16:creationId xmlns:a16="http://schemas.microsoft.com/office/drawing/2014/main" id="{2C7674AE-FC07-5888-8249-8F9E2A9EF876}"/>
                </a:ext>
              </a:extLst>
            </p:cNvPr>
            <p:cNvPicPr/>
            <p:nvPr/>
          </p:nvPicPr>
          <p:blipFill>
            <a:blip r:embed="rId39" cstate="print"/>
            <a:stretch>
              <a:fillRect/>
            </a:stretch>
          </p:blipFill>
          <p:spPr>
            <a:xfrm>
              <a:off x="6426072" y="4021836"/>
              <a:ext cx="1020533" cy="140207"/>
            </a:xfrm>
            <a:prstGeom prst="rect">
              <a:avLst/>
            </a:prstGeom>
          </p:spPr>
        </p:pic>
      </p:grpSp>
      <p:grpSp>
        <p:nvGrpSpPr>
          <p:cNvPr id="89" name="object 88">
            <a:extLst>
              <a:ext uri="{FF2B5EF4-FFF2-40B4-BE49-F238E27FC236}">
                <a16:creationId xmlns:a16="http://schemas.microsoft.com/office/drawing/2014/main" id="{17C67CA3-CBFE-F291-1DD9-068F02DE6019}"/>
              </a:ext>
            </a:extLst>
          </p:cNvPr>
          <p:cNvGrpSpPr/>
          <p:nvPr/>
        </p:nvGrpSpPr>
        <p:grpSpPr>
          <a:xfrm>
            <a:off x="6321361" y="4833532"/>
            <a:ext cx="1162050" cy="323850"/>
            <a:chOff x="6321361" y="4320349"/>
            <a:chExt cx="1162050" cy="323850"/>
          </a:xfrm>
        </p:grpSpPr>
        <p:sp>
          <p:nvSpPr>
            <p:cNvPr id="90" name="object 89">
              <a:extLst>
                <a:ext uri="{FF2B5EF4-FFF2-40B4-BE49-F238E27FC236}">
                  <a16:creationId xmlns:a16="http://schemas.microsoft.com/office/drawing/2014/main" id="{C37C84D7-6ABC-FED7-A85F-B24D32E35223}"/>
                </a:ext>
              </a:extLst>
            </p:cNvPr>
            <p:cNvSpPr/>
            <p:nvPr/>
          </p:nvSpPr>
          <p:spPr>
            <a:xfrm>
              <a:off x="6326123" y="4325111"/>
              <a:ext cx="1152525" cy="314325"/>
            </a:xfrm>
            <a:custGeom>
              <a:avLst/>
              <a:gdLst/>
              <a:ahLst/>
              <a:cxnLst/>
              <a:rect l="l" t="t" r="r" b="b"/>
              <a:pathLst>
                <a:path w="1152525" h="314325">
                  <a:moveTo>
                    <a:pt x="0" y="313944"/>
                  </a:moveTo>
                  <a:lnTo>
                    <a:pt x="1152144" y="313944"/>
                  </a:lnTo>
                  <a:lnTo>
                    <a:pt x="1152144" y="0"/>
                  </a:lnTo>
                  <a:lnTo>
                    <a:pt x="0" y="0"/>
                  </a:lnTo>
                  <a:lnTo>
                    <a:pt x="0" y="313944"/>
                  </a:lnTo>
                  <a:close/>
                </a:path>
              </a:pathLst>
            </a:custGeom>
            <a:ln w="9525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91" name="object 90">
              <a:extLst>
                <a:ext uri="{FF2B5EF4-FFF2-40B4-BE49-F238E27FC236}">
                  <a16:creationId xmlns:a16="http://schemas.microsoft.com/office/drawing/2014/main" id="{2942A091-223B-7512-C4D6-E918F08579AA}"/>
                </a:ext>
              </a:extLst>
            </p:cNvPr>
            <p:cNvPicPr/>
            <p:nvPr/>
          </p:nvPicPr>
          <p:blipFill>
            <a:blip r:embed="rId40" cstate="print"/>
            <a:stretch>
              <a:fillRect/>
            </a:stretch>
          </p:blipFill>
          <p:spPr>
            <a:xfrm>
              <a:off x="6554088" y="4413503"/>
              <a:ext cx="775550" cy="140207"/>
            </a:xfrm>
            <a:prstGeom prst="rect">
              <a:avLst/>
            </a:prstGeom>
          </p:spPr>
        </p:pic>
      </p:grpSp>
      <p:grpSp>
        <p:nvGrpSpPr>
          <p:cNvPr id="92" name="object 91">
            <a:extLst>
              <a:ext uri="{FF2B5EF4-FFF2-40B4-BE49-F238E27FC236}">
                <a16:creationId xmlns:a16="http://schemas.microsoft.com/office/drawing/2014/main" id="{3FB341DD-2772-1521-6D8D-9E2AF974959E}"/>
              </a:ext>
            </a:extLst>
          </p:cNvPr>
          <p:cNvGrpSpPr/>
          <p:nvPr/>
        </p:nvGrpSpPr>
        <p:grpSpPr>
          <a:xfrm>
            <a:off x="6321361" y="5231296"/>
            <a:ext cx="1162050" cy="323850"/>
            <a:chOff x="6321361" y="4718113"/>
            <a:chExt cx="1162050" cy="323850"/>
          </a:xfrm>
        </p:grpSpPr>
        <p:sp>
          <p:nvSpPr>
            <p:cNvPr id="93" name="object 92">
              <a:extLst>
                <a:ext uri="{FF2B5EF4-FFF2-40B4-BE49-F238E27FC236}">
                  <a16:creationId xmlns:a16="http://schemas.microsoft.com/office/drawing/2014/main" id="{6431FD9B-AA00-6849-3E5F-4087DC8A93F2}"/>
                </a:ext>
              </a:extLst>
            </p:cNvPr>
            <p:cNvSpPr/>
            <p:nvPr/>
          </p:nvSpPr>
          <p:spPr>
            <a:xfrm>
              <a:off x="6326123" y="4722876"/>
              <a:ext cx="1152525" cy="314325"/>
            </a:xfrm>
            <a:custGeom>
              <a:avLst/>
              <a:gdLst/>
              <a:ahLst/>
              <a:cxnLst/>
              <a:rect l="l" t="t" r="r" b="b"/>
              <a:pathLst>
                <a:path w="1152525" h="314325">
                  <a:moveTo>
                    <a:pt x="0" y="313944"/>
                  </a:moveTo>
                  <a:lnTo>
                    <a:pt x="1152144" y="313944"/>
                  </a:lnTo>
                  <a:lnTo>
                    <a:pt x="1152144" y="0"/>
                  </a:lnTo>
                  <a:lnTo>
                    <a:pt x="0" y="0"/>
                  </a:lnTo>
                  <a:lnTo>
                    <a:pt x="0" y="313944"/>
                  </a:lnTo>
                  <a:close/>
                </a:path>
              </a:pathLst>
            </a:custGeom>
            <a:ln w="9525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pic>
          <p:nvPicPr>
            <p:cNvPr id="94" name="object 93">
              <a:extLst>
                <a:ext uri="{FF2B5EF4-FFF2-40B4-BE49-F238E27FC236}">
                  <a16:creationId xmlns:a16="http://schemas.microsoft.com/office/drawing/2014/main" id="{FF99C8F2-4CBD-C8F4-774F-A4A39561D57D}"/>
                </a:ext>
              </a:extLst>
            </p:cNvPr>
            <p:cNvPicPr/>
            <p:nvPr/>
          </p:nvPicPr>
          <p:blipFill>
            <a:blip r:embed="rId41" cstate="print"/>
            <a:stretch>
              <a:fillRect/>
            </a:stretch>
          </p:blipFill>
          <p:spPr>
            <a:xfrm>
              <a:off x="6740016" y="4810633"/>
              <a:ext cx="405765" cy="140207"/>
            </a:xfrm>
            <a:prstGeom prst="rect">
              <a:avLst/>
            </a:prstGeom>
          </p:spPr>
        </p:pic>
      </p:grpSp>
      <p:pic>
        <p:nvPicPr>
          <p:cNvPr id="102" name="object 101">
            <a:extLst>
              <a:ext uri="{FF2B5EF4-FFF2-40B4-BE49-F238E27FC236}">
                <a16:creationId xmlns:a16="http://schemas.microsoft.com/office/drawing/2014/main" id="{277EC9B2-B59F-FFD4-D5A9-4886D353D0DD}"/>
              </a:ext>
            </a:extLst>
          </p:cNvPr>
          <p:cNvPicPr/>
          <p:nvPr/>
        </p:nvPicPr>
        <p:blipFill>
          <a:blip r:embed="rId42" cstate="print"/>
          <a:stretch>
            <a:fillRect/>
          </a:stretch>
        </p:blipFill>
        <p:spPr>
          <a:xfrm>
            <a:off x="3512312" y="1101999"/>
            <a:ext cx="2135124" cy="647700"/>
          </a:xfrm>
          <a:prstGeom prst="rect">
            <a:avLst/>
          </a:prstGeom>
        </p:spPr>
      </p:pic>
      <p:pic>
        <p:nvPicPr>
          <p:cNvPr id="109" name="object 35">
            <a:extLst>
              <a:ext uri="{FF2B5EF4-FFF2-40B4-BE49-F238E27FC236}">
                <a16:creationId xmlns:a16="http://schemas.microsoft.com/office/drawing/2014/main" id="{6AC53DE3-D99D-EEED-B96A-CB6D998024C6}"/>
              </a:ext>
            </a:extLst>
          </p:cNvPr>
          <p:cNvPicPr/>
          <p:nvPr/>
        </p:nvPicPr>
        <p:blipFill>
          <a:blip r:embed="rId43" cstate="print"/>
          <a:stretch>
            <a:fillRect/>
          </a:stretch>
        </p:blipFill>
        <p:spPr>
          <a:xfrm>
            <a:off x="2148084" y="1903567"/>
            <a:ext cx="1223252" cy="352244"/>
          </a:xfrm>
          <a:prstGeom prst="rect">
            <a:avLst/>
          </a:prstGeom>
        </p:spPr>
      </p:pic>
      <p:pic>
        <p:nvPicPr>
          <p:cNvPr id="114" name="Immagine 113" descr="Immagine che contiene testo, Carattere, Elementi grafici, logo&#10;&#10;Descrizione generata automaticamente">
            <a:extLst>
              <a:ext uri="{FF2B5EF4-FFF2-40B4-BE49-F238E27FC236}">
                <a16:creationId xmlns:a16="http://schemas.microsoft.com/office/drawing/2014/main" id="{2F9D8F53-D691-C342-FE64-98F42D1EA915}"/>
              </a:ext>
            </a:extLst>
          </p:cNvPr>
          <p:cNvPicPr>
            <a:picLocks noChangeAspect="1"/>
          </p:cNvPicPr>
          <p:nvPr/>
        </p:nvPicPr>
        <p:blipFill>
          <a:blip r:embed="rId4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4922" y="3519241"/>
            <a:ext cx="1351198" cy="405965"/>
          </a:xfrm>
          <a:prstGeom prst="rect">
            <a:avLst/>
          </a:prstGeom>
        </p:spPr>
      </p:pic>
      <p:pic>
        <p:nvPicPr>
          <p:cNvPr id="116" name="Immagine 115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2D17C6EB-745B-43DB-7BB1-3FD3F00E3714}"/>
              </a:ext>
            </a:extLst>
          </p:cNvPr>
          <p:cNvPicPr>
            <a:picLocks noChangeAspect="1"/>
          </p:cNvPicPr>
          <p:nvPr/>
        </p:nvPicPr>
        <p:blipFill>
          <a:blip r:embed="rId4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5449" y="2497235"/>
            <a:ext cx="1146004" cy="329749"/>
          </a:xfrm>
          <a:prstGeom prst="rect">
            <a:avLst/>
          </a:prstGeom>
        </p:spPr>
      </p:pic>
      <p:pic>
        <p:nvPicPr>
          <p:cNvPr id="118" name="Immagine 117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0B38DC96-238F-7D13-EF67-E42716FDA9E4}"/>
              </a:ext>
            </a:extLst>
          </p:cNvPr>
          <p:cNvPicPr>
            <a:picLocks noChangeAspect="1"/>
          </p:cNvPicPr>
          <p:nvPr/>
        </p:nvPicPr>
        <p:blipFill>
          <a:blip r:embed="rId4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979" y="3511073"/>
            <a:ext cx="1520738" cy="397779"/>
          </a:xfrm>
          <a:prstGeom prst="rect">
            <a:avLst/>
          </a:prstGeom>
        </p:spPr>
      </p:pic>
      <p:pic>
        <p:nvPicPr>
          <p:cNvPr id="120" name="Immagine 119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488A8F16-7B0F-72A1-57BD-339942C3B60F}"/>
              </a:ext>
            </a:extLst>
          </p:cNvPr>
          <p:cNvPicPr>
            <a:picLocks noChangeAspect="1"/>
          </p:cNvPicPr>
          <p:nvPr/>
        </p:nvPicPr>
        <p:blipFill>
          <a:blip r:embed="rId4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6428" y="3518492"/>
            <a:ext cx="1223934" cy="390435"/>
          </a:xfrm>
          <a:prstGeom prst="rect">
            <a:avLst/>
          </a:prstGeom>
        </p:spPr>
      </p:pic>
      <p:pic>
        <p:nvPicPr>
          <p:cNvPr id="122" name="Immagine 121" descr="Immagine che contiene testo, Carattere, Elementi grafici, logo&#10;&#10;Descrizione generata automaticamente">
            <a:extLst>
              <a:ext uri="{FF2B5EF4-FFF2-40B4-BE49-F238E27FC236}">
                <a16:creationId xmlns:a16="http://schemas.microsoft.com/office/drawing/2014/main" id="{BC61B744-1F52-CD4C-29E0-19DF89D025DA}"/>
              </a:ext>
            </a:extLst>
          </p:cNvPr>
          <p:cNvPicPr>
            <a:picLocks noChangeAspect="1"/>
          </p:cNvPicPr>
          <p:nvPr/>
        </p:nvPicPr>
        <p:blipFill>
          <a:blip r:embed="rId4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3463" y="3466037"/>
            <a:ext cx="1593977" cy="388920"/>
          </a:xfrm>
          <a:prstGeom prst="rect">
            <a:avLst/>
          </a:prstGeom>
        </p:spPr>
      </p:pic>
      <p:sp>
        <p:nvSpPr>
          <p:cNvPr id="97" name="Segnaposto testo 10">
            <a:extLst>
              <a:ext uri="{FF2B5EF4-FFF2-40B4-BE49-F238E27FC236}">
                <a16:creationId xmlns:a16="http://schemas.microsoft.com/office/drawing/2014/main" id="{50FE4F43-FD14-242E-C687-11337CAF3830}"/>
              </a:ext>
            </a:extLst>
          </p:cNvPr>
          <p:cNvSpPr txBox="1">
            <a:spLocks/>
          </p:cNvSpPr>
          <p:nvPr/>
        </p:nvSpPr>
        <p:spPr>
          <a:xfrm>
            <a:off x="8066088" y="158380"/>
            <a:ext cx="3502025" cy="96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/>
              <a:t>19/06/2024</a:t>
            </a:r>
          </a:p>
        </p:txBody>
      </p:sp>
      <p:sp>
        <p:nvSpPr>
          <p:cNvPr id="98" name="Segnaposto testo 26">
            <a:extLst>
              <a:ext uri="{FF2B5EF4-FFF2-40B4-BE49-F238E27FC236}">
                <a16:creationId xmlns:a16="http://schemas.microsoft.com/office/drawing/2014/main" id="{8AD33C55-4349-1C1C-C3E7-2C4A58F2B843}"/>
              </a:ext>
            </a:extLst>
          </p:cNvPr>
          <p:cNvSpPr txBox="1">
            <a:spLocks/>
          </p:cNvSpPr>
          <p:nvPr/>
        </p:nvSpPr>
        <p:spPr>
          <a:xfrm>
            <a:off x="8066088" y="255330"/>
            <a:ext cx="3502025" cy="96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/>
              <a:t>Data </a:t>
            </a:r>
            <a:r>
              <a:rPr lang="it-IT" sz="700" dirty="0" err="1"/>
              <a:t>quality</a:t>
            </a:r>
            <a:r>
              <a:rPr lang="it-IT" sz="700" dirty="0"/>
              <a:t> </a:t>
            </a:r>
            <a:r>
              <a:rPr lang="it-IT" sz="700" dirty="0" err="1"/>
              <a:t>process</a:t>
            </a:r>
            <a:r>
              <a:rPr lang="it-IT" sz="700" dirty="0"/>
              <a:t> </a:t>
            </a:r>
            <a:r>
              <a:rPr lang="it-IT" sz="700" dirty="0" err="1"/>
              <a:t>at</a:t>
            </a:r>
            <a:r>
              <a:rPr lang="it-IT" sz="700" dirty="0"/>
              <a:t> Ferrovie dello Stato Italiane | Lorenzo Vannacci</a:t>
            </a:r>
          </a:p>
        </p:txBody>
      </p:sp>
    </p:spTree>
    <p:extLst>
      <p:ext uri="{BB962C8B-B14F-4D97-AF65-F5344CB8AC3E}">
        <p14:creationId xmlns:p14="http://schemas.microsoft.com/office/powerpoint/2010/main" val="11704830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0CC82C4-A045-690C-27E4-737E213CD9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6650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425" imgH="424" progId="TCLayout.ActiveDocument.1">
                  <p:embed/>
                </p:oleObj>
              </mc:Choice>
              <mc:Fallback>
                <p:oleObj name="Diapositiva think-cell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CC82C4-A045-690C-27E4-737E213CD9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2" name="Connettore diritto 71">
            <a:extLst>
              <a:ext uri="{FF2B5EF4-FFF2-40B4-BE49-F238E27FC236}">
                <a16:creationId xmlns:a16="http://schemas.microsoft.com/office/drawing/2014/main" id="{9E1ACF10-CFFF-3046-BB1F-DA020CDB1851}"/>
              </a:ext>
            </a:extLst>
          </p:cNvPr>
          <p:cNvCxnSpPr>
            <a:cxnSpLocks/>
          </p:cNvCxnSpPr>
          <p:nvPr/>
        </p:nvCxnSpPr>
        <p:spPr>
          <a:xfrm>
            <a:off x="3301148" y="2904389"/>
            <a:ext cx="0" cy="1904225"/>
          </a:xfrm>
          <a:prstGeom prst="line">
            <a:avLst/>
          </a:prstGeom>
          <a:ln w="1270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ttore diritto 10">
            <a:extLst>
              <a:ext uri="{FF2B5EF4-FFF2-40B4-BE49-F238E27FC236}">
                <a16:creationId xmlns:a16="http://schemas.microsoft.com/office/drawing/2014/main" id="{172DE776-0E24-B62B-6693-FDEFC2810D92}"/>
              </a:ext>
            </a:extLst>
          </p:cNvPr>
          <p:cNvCxnSpPr>
            <a:cxnSpLocks/>
          </p:cNvCxnSpPr>
          <p:nvPr/>
        </p:nvCxnSpPr>
        <p:spPr>
          <a:xfrm>
            <a:off x="1340757" y="3338818"/>
            <a:ext cx="0" cy="1802877"/>
          </a:xfrm>
          <a:prstGeom prst="line">
            <a:avLst/>
          </a:prstGeom>
          <a:ln w="1270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ttore diritto 6">
            <a:extLst>
              <a:ext uri="{FF2B5EF4-FFF2-40B4-BE49-F238E27FC236}">
                <a16:creationId xmlns:a16="http://schemas.microsoft.com/office/drawing/2014/main" id="{F5EDB0A3-77A1-B949-D9AB-7B4697FAA845}"/>
              </a:ext>
            </a:extLst>
          </p:cNvPr>
          <p:cNvCxnSpPr/>
          <p:nvPr/>
        </p:nvCxnSpPr>
        <p:spPr>
          <a:xfrm>
            <a:off x="22225" y="3820887"/>
            <a:ext cx="12192000" cy="0"/>
          </a:xfrm>
          <a:prstGeom prst="line">
            <a:avLst/>
          </a:prstGeom>
          <a:ln w="12700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e 7">
            <a:extLst>
              <a:ext uri="{FF2B5EF4-FFF2-40B4-BE49-F238E27FC236}">
                <a16:creationId xmlns:a16="http://schemas.microsoft.com/office/drawing/2014/main" id="{D2016942-CBEC-A5BF-A640-EAB267B5B0F2}"/>
              </a:ext>
            </a:extLst>
          </p:cNvPr>
          <p:cNvSpPr/>
          <p:nvPr/>
        </p:nvSpPr>
        <p:spPr>
          <a:xfrm>
            <a:off x="1137557" y="3617695"/>
            <a:ext cx="406400" cy="4064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Ovale 8">
            <a:extLst>
              <a:ext uri="{FF2B5EF4-FFF2-40B4-BE49-F238E27FC236}">
                <a16:creationId xmlns:a16="http://schemas.microsoft.com/office/drawing/2014/main" id="{38CCABC6-20D5-511F-9D72-734450942885}"/>
              </a:ext>
            </a:extLst>
          </p:cNvPr>
          <p:cNvSpPr/>
          <p:nvPr/>
        </p:nvSpPr>
        <p:spPr>
          <a:xfrm>
            <a:off x="1168345" y="3648483"/>
            <a:ext cx="344824" cy="344824"/>
          </a:xfrm>
          <a:prstGeom prst="ellipse">
            <a:avLst/>
          </a:prstGeom>
          <a:solidFill>
            <a:srgbClr val="FF6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0" name="CasellaDiTesto 49">
            <a:extLst>
              <a:ext uri="{FF2B5EF4-FFF2-40B4-BE49-F238E27FC236}">
                <a16:creationId xmlns:a16="http://schemas.microsoft.com/office/drawing/2014/main" id="{67B5D72C-4622-2FD0-3639-3E9058A1365C}"/>
              </a:ext>
            </a:extLst>
          </p:cNvPr>
          <p:cNvSpPr txBox="1"/>
          <p:nvPr/>
        </p:nvSpPr>
        <p:spPr>
          <a:xfrm>
            <a:off x="348646" y="5312627"/>
            <a:ext cx="20247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/>
              <a:t>OFFICIAL STATISTICS BUREAU</a:t>
            </a:r>
            <a:br>
              <a:rPr lang="en-GB" sz="1000" b="1" dirty="0"/>
            </a:br>
            <a:r>
              <a:rPr lang="en-GB" sz="1000" dirty="0"/>
              <a:t>Internal KPIs monitoring and official data provision</a:t>
            </a:r>
          </a:p>
        </p:txBody>
      </p:sp>
      <p:sp>
        <p:nvSpPr>
          <p:cNvPr id="51" name="CasellaDiTesto 50">
            <a:extLst>
              <a:ext uri="{FF2B5EF4-FFF2-40B4-BE49-F238E27FC236}">
                <a16:creationId xmlns:a16="http://schemas.microsoft.com/office/drawing/2014/main" id="{655B061B-08CF-C02C-7549-0D6549BA1F13}"/>
              </a:ext>
            </a:extLst>
          </p:cNvPr>
          <p:cNvSpPr txBox="1"/>
          <p:nvPr/>
        </p:nvSpPr>
        <p:spPr>
          <a:xfrm>
            <a:off x="4266998" y="5312627"/>
            <a:ext cx="20247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/>
              <a:t>DECISION SUPPORT MODEL</a:t>
            </a:r>
          </a:p>
          <a:p>
            <a:pPr algn="ctr"/>
            <a:r>
              <a:rPr lang="en-GB" sz="1000" dirty="0"/>
              <a:t>Design and model development</a:t>
            </a:r>
          </a:p>
        </p:txBody>
      </p:sp>
      <p:sp>
        <p:nvSpPr>
          <p:cNvPr id="52" name="CasellaDiTesto 51">
            <a:extLst>
              <a:ext uri="{FF2B5EF4-FFF2-40B4-BE49-F238E27FC236}">
                <a16:creationId xmlns:a16="http://schemas.microsoft.com/office/drawing/2014/main" id="{4A238559-8602-59D5-C3BE-308A3ADCE348}"/>
              </a:ext>
            </a:extLst>
          </p:cNvPr>
          <p:cNvSpPr txBox="1"/>
          <p:nvPr/>
        </p:nvSpPr>
        <p:spPr>
          <a:xfrm>
            <a:off x="2288776" y="4855849"/>
            <a:ext cx="202474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/>
              <a:t>RESEARCH AND SCIENCE ADVISOR</a:t>
            </a:r>
          </a:p>
          <a:p>
            <a:pPr algn="ctr"/>
            <a:r>
              <a:rPr lang="en-GB" sz="1000" dirty="0"/>
              <a:t>Transport studies, demand analysis and academic coordination. </a:t>
            </a:r>
          </a:p>
        </p:txBody>
      </p:sp>
      <p:sp>
        <p:nvSpPr>
          <p:cNvPr id="53" name="CasellaDiTesto 52">
            <a:extLst>
              <a:ext uri="{FF2B5EF4-FFF2-40B4-BE49-F238E27FC236}">
                <a16:creationId xmlns:a16="http://schemas.microsoft.com/office/drawing/2014/main" id="{48D265AA-7167-C79D-6C4E-03B47FC032BB}"/>
              </a:ext>
            </a:extLst>
          </p:cNvPr>
          <p:cNvSpPr txBox="1"/>
          <p:nvPr/>
        </p:nvSpPr>
        <p:spPr>
          <a:xfrm>
            <a:off x="6251598" y="4855849"/>
            <a:ext cx="20247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/>
              <a:t>SCIENTIFIC CONTENT MANAGMENT</a:t>
            </a:r>
          </a:p>
          <a:p>
            <a:pPr algn="ctr"/>
            <a:r>
              <a:rPr lang="en-GB" sz="1000" dirty="0"/>
              <a:t>Dissemination and social publishing</a:t>
            </a:r>
          </a:p>
        </p:txBody>
      </p:sp>
      <p:sp>
        <p:nvSpPr>
          <p:cNvPr id="55" name="Ovale 54">
            <a:extLst>
              <a:ext uri="{FF2B5EF4-FFF2-40B4-BE49-F238E27FC236}">
                <a16:creationId xmlns:a16="http://schemas.microsoft.com/office/drawing/2014/main" id="{12B5806F-9876-376C-92BF-27E5DDC22720}"/>
              </a:ext>
            </a:extLst>
          </p:cNvPr>
          <p:cNvSpPr/>
          <p:nvPr/>
        </p:nvSpPr>
        <p:spPr>
          <a:xfrm>
            <a:off x="3107473" y="3617695"/>
            <a:ext cx="406400" cy="4064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6" name="Ovale 55">
            <a:extLst>
              <a:ext uri="{FF2B5EF4-FFF2-40B4-BE49-F238E27FC236}">
                <a16:creationId xmlns:a16="http://schemas.microsoft.com/office/drawing/2014/main" id="{B4F17D17-CF8F-22CC-7B25-5C040B13166D}"/>
              </a:ext>
            </a:extLst>
          </p:cNvPr>
          <p:cNvSpPr/>
          <p:nvPr/>
        </p:nvSpPr>
        <p:spPr>
          <a:xfrm>
            <a:off x="3127580" y="3648483"/>
            <a:ext cx="344824" cy="344824"/>
          </a:xfrm>
          <a:prstGeom prst="ellipse">
            <a:avLst/>
          </a:prstGeom>
          <a:solidFill>
            <a:srgbClr val="1B9AA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58" name="Connettore diritto 57">
            <a:extLst>
              <a:ext uri="{FF2B5EF4-FFF2-40B4-BE49-F238E27FC236}">
                <a16:creationId xmlns:a16="http://schemas.microsoft.com/office/drawing/2014/main" id="{0EDDB288-E11D-43C3-6A9B-3E0D5AE543F3}"/>
              </a:ext>
            </a:extLst>
          </p:cNvPr>
          <p:cNvCxnSpPr>
            <a:cxnSpLocks/>
          </p:cNvCxnSpPr>
          <p:nvPr/>
        </p:nvCxnSpPr>
        <p:spPr>
          <a:xfrm>
            <a:off x="7273023" y="2904389"/>
            <a:ext cx="0" cy="1904225"/>
          </a:xfrm>
          <a:prstGeom prst="line">
            <a:avLst/>
          </a:prstGeom>
          <a:ln w="1270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Ovale 58">
            <a:extLst>
              <a:ext uri="{FF2B5EF4-FFF2-40B4-BE49-F238E27FC236}">
                <a16:creationId xmlns:a16="http://schemas.microsoft.com/office/drawing/2014/main" id="{2BA84EA6-D904-71E3-2164-4BDA3F4BF754}"/>
              </a:ext>
            </a:extLst>
          </p:cNvPr>
          <p:cNvSpPr/>
          <p:nvPr/>
        </p:nvSpPr>
        <p:spPr>
          <a:xfrm>
            <a:off x="7069823" y="3617695"/>
            <a:ext cx="406400" cy="4064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0" name="Ovale 59">
            <a:extLst>
              <a:ext uri="{FF2B5EF4-FFF2-40B4-BE49-F238E27FC236}">
                <a16:creationId xmlns:a16="http://schemas.microsoft.com/office/drawing/2014/main" id="{FFAC1BD4-525F-ABFB-50B2-6015873CC777}"/>
              </a:ext>
            </a:extLst>
          </p:cNvPr>
          <p:cNvSpPr/>
          <p:nvPr/>
        </p:nvSpPr>
        <p:spPr>
          <a:xfrm>
            <a:off x="7107626" y="3648483"/>
            <a:ext cx="344824" cy="34482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65" name="Connettore diritto 64">
            <a:extLst>
              <a:ext uri="{FF2B5EF4-FFF2-40B4-BE49-F238E27FC236}">
                <a16:creationId xmlns:a16="http://schemas.microsoft.com/office/drawing/2014/main" id="{911E4518-2983-9C76-9CB2-3B46B40A6158}"/>
              </a:ext>
            </a:extLst>
          </p:cNvPr>
          <p:cNvCxnSpPr>
            <a:cxnSpLocks/>
          </p:cNvCxnSpPr>
          <p:nvPr/>
        </p:nvCxnSpPr>
        <p:spPr>
          <a:xfrm>
            <a:off x="5307281" y="3338818"/>
            <a:ext cx="0" cy="1802877"/>
          </a:xfrm>
          <a:prstGeom prst="line">
            <a:avLst/>
          </a:prstGeom>
          <a:ln w="1270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Ovale 65">
            <a:extLst>
              <a:ext uri="{FF2B5EF4-FFF2-40B4-BE49-F238E27FC236}">
                <a16:creationId xmlns:a16="http://schemas.microsoft.com/office/drawing/2014/main" id="{B060D15C-68D4-B45A-A71B-2793E621A5EB}"/>
              </a:ext>
            </a:extLst>
          </p:cNvPr>
          <p:cNvSpPr/>
          <p:nvPr/>
        </p:nvSpPr>
        <p:spPr>
          <a:xfrm>
            <a:off x="5086815" y="3617695"/>
            <a:ext cx="406400" cy="4064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7" name="Ovale 66">
            <a:extLst>
              <a:ext uri="{FF2B5EF4-FFF2-40B4-BE49-F238E27FC236}">
                <a16:creationId xmlns:a16="http://schemas.microsoft.com/office/drawing/2014/main" id="{FD7BFA91-502E-D7F9-A901-4CA366E6DDB3}"/>
              </a:ext>
            </a:extLst>
          </p:cNvPr>
          <p:cNvSpPr/>
          <p:nvPr/>
        </p:nvSpPr>
        <p:spPr>
          <a:xfrm>
            <a:off x="5125344" y="3648483"/>
            <a:ext cx="344824" cy="344824"/>
          </a:xfrm>
          <a:prstGeom prst="ellipse">
            <a:avLst/>
          </a:prstGeom>
          <a:solidFill>
            <a:srgbClr val="192B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46" name="Gruppo 45">
            <a:extLst>
              <a:ext uri="{FF2B5EF4-FFF2-40B4-BE49-F238E27FC236}">
                <a16:creationId xmlns:a16="http://schemas.microsoft.com/office/drawing/2014/main" id="{E799C6DB-BB6D-7C1B-FCA0-309A01EB5EF0}"/>
              </a:ext>
            </a:extLst>
          </p:cNvPr>
          <p:cNvGrpSpPr/>
          <p:nvPr/>
        </p:nvGrpSpPr>
        <p:grpSpPr>
          <a:xfrm>
            <a:off x="4946416" y="2536624"/>
            <a:ext cx="720000" cy="720000"/>
            <a:chOff x="6298605" y="5308003"/>
            <a:chExt cx="566600" cy="565439"/>
          </a:xfrm>
        </p:grpSpPr>
        <p:sp>
          <p:nvSpPr>
            <p:cNvPr id="47" name="Freeform 130">
              <a:extLst>
                <a:ext uri="{FF2B5EF4-FFF2-40B4-BE49-F238E27FC236}">
                  <a16:creationId xmlns:a16="http://schemas.microsoft.com/office/drawing/2014/main" id="{6F0D29B2-2ABF-2596-7FA9-F95EAF47EB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98605" y="5308003"/>
              <a:ext cx="566600" cy="565439"/>
            </a:xfrm>
            <a:custGeom>
              <a:avLst/>
              <a:gdLst>
                <a:gd name="T0" fmla="*/ 163 w 326"/>
                <a:gd name="T1" fmla="*/ 326 h 326"/>
                <a:gd name="T2" fmla="*/ 0 w 326"/>
                <a:gd name="T3" fmla="*/ 163 h 326"/>
                <a:gd name="T4" fmla="*/ 163 w 326"/>
                <a:gd name="T5" fmla="*/ 0 h 326"/>
                <a:gd name="T6" fmla="*/ 326 w 326"/>
                <a:gd name="T7" fmla="*/ 163 h 326"/>
                <a:gd name="T8" fmla="*/ 163 w 326"/>
                <a:gd name="T9" fmla="*/ 326 h 326"/>
                <a:gd name="T10" fmla="*/ 163 w 326"/>
                <a:gd name="T11" fmla="*/ 8 h 326"/>
                <a:gd name="T12" fmla="*/ 8 w 326"/>
                <a:gd name="T13" fmla="*/ 163 h 326"/>
                <a:gd name="T14" fmla="*/ 163 w 326"/>
                <a:gd name="T15" fmla="*/ 317 h 326"/>
                <a:gd name="T16" fmla="*/ 317 w 326"/>
                <a:gd name="T17" fmla="*/ 163 h 326"/>
                <a:gd name="T18" fmla="*/ 163 w 326"/>
                <a:gd name="T19" fmla="*/ 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6" h="326">
                  <a:moveTo>
                    <a:pt x="163" y="326"/>
                  </a:moveTo>
                  <a:cubicBezTo>
                    <a:pt x="73" y="326"/>
                    <a:pt x="0" y="253"/>
                    <a:pt x="0" y="163"/>
                  </a:cubicBezTo>
                  <a:cubicBezTo>
                    <a:pt x="0" y="73"/>
                    <a:pt x="73" y="0"/>
                    <a:pt x="163" y="0"/>
                  </a:cubicBezTo>
                  <a:cubicBezTo>
                    <a:pt x="253" y="0"/>
                    <a:pt x="326" y="73"/>
                    <a:pt x="326" y="163"/>
                  </a:cubicBezTo>
                  <a:cubicBezTo>
                    <a:pt x="326" y="253"/>
                    <a:pt x="253" y="326"/>
                    <a:pt x="163" y="326"/>
                  </a:cubicBezTo>
                  <a:close/>
                  <a:moveTo>
                    <a:pt x="163" y="8"/>
                  </a:moveTo>
                  <a:cubicBezTo>
                    <a:pt x="78" y="8"/>
                    <a:pt x="8" y="78"/>
                    <a:pt x="8" y="163"/>
                  </a:cubicBezTo>
                  <a:cubicBezTo>
                    <a:pt x="8" y="248"/>
                    <a:pt x="78" y="317"/>
                    <a:pt x="163" y="317"/>
                  </a:cubicBezTo>
                  <a:cubicBezTo>
                    <a:pt x="248" y="317"/>
                    <a:pt x="317" y="248"/>
                    <a:pt x="317" y="163"/>
                  </a:cubicBezTo>
                  <a:cubicBezTo>
                    <a:pt x="317" y="78"/>
                    <a:pt x="248" y="8"/>
                    <a:pt x="163" y="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48" name="Freeform 131">
              <a:extLst>
                <a:ext uri="{FF2B5EF4-FFF2-40B4-BE49-F238E27FC236}">
                  <a16:creationId xmlns:a16="http://schemas.microsoft.com/office/drawing/2014/main" id="{84909CB1-95D2-6FA5-D374-5004214E73D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36772" y="5630779"/>
              <a:ext cx="334387" cy="112624"/>
            </a:xfrm>
            <a:custGeom>
              <a:avLst/>
              <a:gdLst>
                <a:gd name="T0" fmla="*/ 88 w 193"/>
                <a:gd name="T1" fmla="*/ 65 h 65"/>
                <a:gd name="T2" fmla="*/ 81 w 193"/>
                <a:gd name="T3" fmla="*/ 64 h 65"/>
                <a:gd name="T4" fmla="*/ 1 w 193"/>
                <a:gd name="T5" fmla="*/ 33 h 65"/>
                <a:gd name="T6" fmla="*/ 0 w 193"/>
                <a:gd name="T7" fmla="*/ 31 h 65"/>
                <a:gd name="T8" fmla="*/ 2 w 193"/>
                <a:gd name="T9" fmla="*/ 29 h 65"/>
                <a:gd name="T10" fmla="*/ 105 w 193"/>
                <a:gd name="T11" fmla="*/ 1 h 65"/>
                <a:gd name="T12" fmla="*/ 107 w 193"/>
                <a:gd name="T13" fmla="*/ 1 h 65"/>
                <a:gd name="T14" fmla="*/ 111 w 193"/>
                <a:gd name="T15" fmla="*/ 1 h 65"/>
                <a:gd name="T16" fmla="*/ 191 w 193"/>
                <a:gd name="T17" fmla="*/ 23 h 65"/>
                <a:gd name="T18" fmla="*/ 193 w 193"/>
                <a:gd name="T19" fmla="*/ 25 h 65"/>
                <a:gd name="T20" fmla="*/ 193 w 193"/>
                <a:gd name="T21" fmla="*/ 25 h 65"/>
                <a:gd name="T22" fmla="*/ 193 w 193"/>
                <a:gd name="T23" fmla="*/ 26 h 65"/>
                <a:gd name="T24" fmla="*/ 193 w 193"/>
                <a:gd name="T25" fmla="*/ 26 h 65"/>
                <a:gd name="T26" fmla="*/ 191 w 193"/>
                <a:gd name="T27" fmla="*/ 28 h 65"/>
                <a:gd name="T28" fmla="*/ 95 w 193"/>
                <a:gd name="T29" fmla="*/ 64 h 65"/>
                <a:gd name="T30" fmla="*/ 88 w 193"/>
                <a:gd name="T31" fmla="*/ 65 h 65"/>
                <a:gd name="T32" fmla="*/ 108 w 193"/>
                <a:gd name="T33" fmla="*/ 3 h 65"/>
                <a:gd name="T34" fmla="*/ 107 w 193"/>
                <a:gd name="T35" fmla="*/ 3 h 65"/>
                <a:gd name="T36" fmla="*/ 106 w 193"/>
                <a:gd name="T37" fmla="*/ 3 h 65"/>
                <a:gd name="T38" fmla="*/ 2 w 193"/>
                <a:gd name="T39" fmla="*/ 31 h 65"/>
                <a:gd name="T40" fmla="*/ 82 w 193"/>
                <a:gd name="T41" fmla="*/ 62 h 65"/>
                <a:gd name="T42" fmla="*/ 94 w 193"/>
                <a:gd name="T43" fmla="*/ 62 h 65"/>
                <a:gd name="T44" fmla="*/ 190 w 193"/>
                <a:gd name="T45" fmla="*/ 26 h 65"/>
                <a:gd name="T46" fmla="*/ 191 w 193"/>
                <a:gd name="T47" fmla="*/ 25 h 65"/>
                <a:gd name="T48" fmla="*/ 191 w 193"/>
                <a:gd name="T49" fmla="*/ 25 h 65"/>
                <a:gd name="T50" fmla="*/ 192 w 193"/>
                <a:gd name="T51" fmla="*/ 26 h 65"/>
                <a:gd name="T52" fmla="*/ 191 w 193"/>
                <a:gd name="T53" fmla="*/ 25 h 65"/>
                <a:gd name="T54" fmla="*/ 190 w 193"/>
                <a:gd name="T55" fmla="*/ 25 h 65"/>
                <a:gd name="T56" fmla="*/ 111 w 193"/>
                <a:gd name="T57" fmla="*/ 3 h 65"/>
                <a:gd name="T58" fmla="*/ 108 w 193"/>
                <a:gd name="T59" fmla="*/ 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93" h="65">
                  <a:moveTo>
                    <a:pt x="88" y="65"/>
                  </a:moveTo>
                  <a:cubicBezTo>
                    <a:pt x="86" y="65"/>
                    <a:pt x="84" y="65"/>
                    <a:pt x="81" y="64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3"/>
                    <a:pt x="0" y="32"/>
                    <a:pt x="0" y="31"/>
                  </a:cubicBezTo>
                  <a:cubicBezTo>
                    <a:pt x="0" y="30"/>
                    <a:pt x="1" y="29"/>
                    <a:pt x="2" y="29"/>
                  </a:cubicBezTo>
                  <a:cubicBezTo>
                    <a:pt x="105" y="1"/>
                    <a:pt x="105" y="1"/>
                    <a:pt x="105" y="1"/>
                  </a:cubicBezTo>
                  <a:cubicBezTo>
                    <a:pt x="106" y="1"/>
                    <a:pt x="107" y="1"/>
                    <a:pt x="107" y="1"/>
                  </a:cubicBezTo>
                  <a:cubicBezTo>
                    <a:pt x="109" y="0"/>
                    <a:pt x="110" y="1"/>
                    <a:pt x="111" y="1"/>
                  </a:cubicBezTo>
                  <a:cubicBezTo>
                    <a:pt x="191" y="23"/>
                    <a:pt x="191" y="23"/>
                    <a:pt x="191" y="23"/>
                  </a:cubicBezTo>
                  <a:cubicBezTo>
                    <a:pt x="192" y="23"/>
                    <a:pt x="193" y="24"/>
                    <a:pt x="193" y="25"/>
                  </a:cubicBezTo>
                  <a:cubicBezTo>
                    <a:pt x="193" y="25"/>
                    <a:pt x="193" y="25"/>
                    <a:pt x="193" y="25"/>
                  </a:cubicBezTo>
                  <a:cubicBezTo>
                    <a:pt x="193" y="26"/>
                    <a:pt x="193" y="26"/>
                    <a:pt x="193" y="26"/>
                  </a:cubicBezTo>
                  <a:cubicBezTo>
                    <a:pt x="193" y="26"/>
                    <a:pt x="193" y="26"/>
                    <a:pt x="193" y="26"/>
                  </a:cubicBezTo>
                  <a:cubicBezTo>
                    <a:pt x="193" y="27"/>
                    <a:pt x="192" y="27"/>
                    <a:pt x="191" y="28"/>
                  </a:cubicBezTo>
                  <a:cubicBezTo>
                    <a:pt x="95" y="64"/>
                    <a:pt x="95" y="64"/>
                    <a:pt x="95" y="64"/>
                  </a:cubicBezTo>
                  <a:cubicBezTo>
                    <a:pt x="93" y="65"/>
                    <a:pt x="90" y="65"/>
                    <a:pt x="88" y="65"/>
                  </a:cubicBezTo>
                  <a:close/>
                  <a:moveTo>
                    <a:pt x="108" y="3"/>
                  </a:moveTo>
                  <a:cubicBezTo>
                    <a:pt x="108" y="3"/>
                    <a:pt x="108" y="3"/>
                    <a:pt x="107" y="3"/>
                  </a:cubicBezTo>
                  <a:cubicBezTo>
                    <a:pt x="107" y="3"/>
                    <a:pt x="106" y="3"/>
                    <a:pt x="106" y="3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6" y="64"/>
                    <a:pt x="90" y="64"/>
                    <a:pt x="94" y="62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91" y="26"/>
                    <a:pt x="191" y="26"/>
                    <a:pt x="191" y="25"/>
                  </a:cubicBezTo>
                  <a:cubicBezTo>
                    <a:pt x="191" y="25"/>
                    <a:pt x="191" y="25"/>
                    <a:pt x="191" y="25"/>
                  </a:cubicBezTo>
                  <a:cubicBezTo>
                    <a:pt x="192" y="26"/>
                    <a:pt x="192" y="26"/>
                    <a:pt x="192" y="26"/>
                  </a:cubicBezTo>
                  <a:cubicBezTo>
                    <a:pt x="191" y="25"/>
                    <a:pt x="191" y="25"/>
                    <a:pt x="191" y="25"/>
                  </a:cubicBezTo>
                  <a:cubicBezTo>
                    <a:pt x="191" y="25"/>
                    <a:pt x="191" y="25"/>
                    <a:pt x="190" y="25"/>
                  </a:cubicBezTo>
                  <a:cubicBezTo>
                    <a:pt x="111" y="3"/>
                    <a:pt x="111" y="3"/>
                    <a:pt x="111" y="3"/>
                  </a:cubicBezTo>
                  <a:cubicBezTo>
                    <a:pt x="110" y="3"/>
                    <a:pt x="109" y="3"/>
                    <a:pt x="108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49" name="Freeform 132">
              <a:extLst>
                <a:ext uri="{FF2B5EF4-FFF2-40B4-BE49-F238E27FC236}">
                  <a16:creationId xmlns:a16="http://schemas.microsoft.com/office/drawing/2014/main" id="{304261F8-09C5-AEF3-C4EB-0E247AA033A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7933" y="5676060"/>
              <a:ext cx="332065" cy="76630"/>
            </a:xfrm>
            <a:custGeom>
              <a:avLst/>
              <a:gdLst>
                <a:gd name="T0" fmla="*/ 191 w 191"/>
                <a:gd name="T1" fmla="*/ 0 h 44"/>
                <a:gd name="T2" fmla="*/ 191 w 191"/>
                <a:gd name="T3" fmla="*/ 5 h 44"/>
                <a:gd name="T4" fmla="*/ 190 w 191"/>
                <a:gd name="T5" fmla="*/ 6 h 44"/>
                <a:gd name="T6" fmla="*/ 94 w 191"/>
                <a:gd name="T7" fmla="*/ 42 h 44"/>
                <a:gd name="T8" fmla="*/ 81 w 191"/>
                <a:gd name="T9" fmla="*/ 42 h 44"/>
                <a:gd name="T10" fmla="*/ 1 w 191"/>
                <a:gd name="T11" fmla="*/ 11 h 44"/>
                <a:gd name="T12" fmla="*/ 0 w 191"/>
                <a:gd name="T13" fmla="*/ 10 h 44"/>
                <a:gd name="T14" fmla="*/ 0 w 191"/>
                <a:gd name="T15" fmla="*/ 5 h 44"/>
                <a:gd name="T16" fmla="*/ 1 w 191"/>
                <a:gd name="T17" fmla="*/ 6 h 44"/>
                <a:gd name="T18" fmla="*/ 81 w 191"/>
                <a:gd name="T19" fmla="*/ 37 h 44"/>
                <a:gd name="T20" fmla="*/ 94 w 191"/>
                <a:gd name="T21" fmla="*/ 37 h 44"/>
                <a:gd name="T22" fmla="*/ 190 w 191"/>
                <a:gd name="T23" fmla="*/ 1 h 44"/>
                <a:gd name="T24" fmla="*/ 191 w 191"/>
                <a:gd name="T2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1" h="44">
                  <a:moveTo>
                    <a:pt x="191" y="0"/>
                  </a:moveTo>
                  <a:cubicBezTo>
                    <a:pt x="191" y="5"/>
                    <a:pt x="191" y="5"/>
                    <a:pt x="191" y="5"/>
                  </a:cubicBezTo>
                  <a:cubicBezTo>
                    <a:pt x="191" y="5"/>
                    <a:pt x="190" y="6"/>
                    <a:pt x="190" y="6"/>
                  </a:cubicBezTo>
                  <a:cubicBezTo>
                    <a:pt x="94" y="42"/>
                    <a:pt x="94" y="42"/>
                    <a:pt x="94" y="42"/>
                  </a:cubicBezTo>
                  <a:cubicBezTo>
                    <a:pt x="89" y="44"/>
                    <a:pt x="85" y="44"/>
                    <a:pt x="81" y="42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1"/>
                    <a:pt x="0" y="11"/>
                    <a:pt x="0" y="10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1" y="6"/>
                  </a:cubicBezTo>
                  <a:cubicBezTo>
                    <a:pt x="81" y="37"/>
                    <a:pt x="81" y="37"/>
                    <a:pt x="81" y="37"/>
                  </a:cubicBezTo>
                  <a:cubicBezTo>
                    <a:pt x="85" y="39"/>
                    <a:pt x="89" y="39"/>
                    <a:pt x="94" y="37"/>
                  </a:cubicBezTo>
                  <a:cubicBezTo>
                    <a:pt x="190" y="1"/>
                    <a:pt x="190" y="1"/>
                    <a:pt x="190" y="1"/>
                  </a:cubicBezTo>
                  <a:cubicBezTo>
                    <a:pt x="190" y="1"/>
                    <a:pt x="191" y="0"/>
                    <a:pt x="19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4" name="Freeform 133">
              <a:extLst>
                <a:ext uri="{FF2B5EF4-FFF2-40B4-BE49-F238E27FC236}">
                  <a16:creationId xmlns:a16="http://schemas.microsoft.com/office/drawing/2014/main" id="{2E7CB33C-3E80-31A4-17DF-5E2C258D3C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36772" y="5673738"/>
              <a:ext cx="334387" cy="80114"/>
            </a:xfrm>
            <a:custGeom>
              <a:avLst/>
              <a:gdLst>
                <a:gd name="T0" fmla="*/ 88 w 193"/>
                <a:gd name="T1" fmla="*/ 46 h 46"/>
                <a:gd name="T2" fmla="*/ 81 w 193"/>
                <a:gd name="T3" fmla="*/ 44 h 46"/>
                <a:gd name="T4" fmla="*/ 1 w 193"/>
                <a:gd name="T5" fmla="*/ 13 h 46"/>
                <a:gd name="T6" fmla="*/ 0 w 193"/>
                <a:gd name="T7" fmla="*/ 11 h 46"/>
                <a:gd name="T8" fmla="*/ 0 w 193"/>
                <a:gd name="T9" fmla="*/ 6 h 46"/>
                <a:gd name="T10" fmla="*/ 2 w 193"/>
                <a:gd name="T11" fmla="*/ 6 h 46"/>
                <a:gd name="T12" fmla="*/ 82 w 193"/>
                <a:gd name="T13" fmla="*/ 37 h 46"/>
                <a:gd name="T14" fmla="*/ 94 w 193"/>
                <a:gd name="T15" fmla="*/ 37 h 46"/>
                <a:gd name="T16" fmla="*/ 190 w 193"/>
                <a:gd name="T17" fmla="*/ 1 h 46"/>
                <a:gd name="T18" fmla="*/ 191 w 193"/>
                <a:gd name="T19" fmla="*/ 0 h 46"/>
                <a:gd name="T20" fmla="*/ 193 w 193"/>
                <a:gd name="T21" fmla="*/ 1 h 46"/>
                <a:gd name="T22" fmla="*/ 193 w 193"/>
                <a:gd name="T23" fmla="*/ 6 h 46"/>
                <a:gd name="T24" fmla="*/ 191 w 193"/>
                <a:gd name="T25" fmla="*/ 8 h 46"/>
                <a:gd name="T26" fmla="*/ 95 w 193"/>
                <a:gd name="T27" fmla="*/ 44 h 46"/>
                <a:gd name="T28" fmla="*/ 88 w 193"/>
                <a:gd name="T29" fmla="*/ 46 h 46"/>
                <a:gd name="T30" fmla="*/ 2 w 193"/>
                <a:gd name="T31" fmla="*/ 11 h 46"/>
                <a:gd name="T32" fmla="*/ 82 w 193"/>
                <a:gd name="T33" fmla="*/ 42 h 46"/>
                <a:gd name="T34" fmla="*/ 94 w 193"/>
                <a:gd name="T35" fmla="*/ 42 h 46"/>
                <a:gd name="T36" fmla="*/ 190 w 193"/>
                <a:gd name="T37" fmla="*/ 6 h 46"/>
                <a:gd name="T38" fmla="*/ 191 w 193"/>
                <a:gd name="T39" fmla="*/ 6 h 46"/>
                <a:gd name="T40" fmla="*/ 191 w 193"/>
                <a:gd name="T41" fmla="*/ 3 h 46"/>
                <a:gd name="T42" fmla="*/ 95 w 193"/>
                <a:gd name="T43" fmla="*/ 39 h 46"/>
                <a:gd name="T44" fmla="*/ 81 w 193"/>
                <a:gd name="T45" fmla="*/ 39 h 46"/>
                <a:gd name="T46" fmla="*/ 2 w 193"/>
                <a:gd name="T47" fmla="*/ 8 h 46"/>
                <a:gd name="T48" fmla="*/ 2 w 193"/>
                <a:gd name="T49" fmla="*/ 11 h 46"/>
                <a:gd name="T50" fmla="*/ 2 w 193"/>
                <a:gd name="T51" fmla="*/ 12 h 46"/>
                <a:gd name="T52" fmla="*/ 2 w 193"/>
                <a:gd name="T53" fmla="*/ 1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3" h="46">
                  <a:moveTo>
                    <a:pt x="88" y="46"/>
                  </a:moveTo>
                  <a:cubicBezTo>
                    <a:pt x="86" y="46"/>
                    <a:pt x="84" y="45"/>
                    <a:pt x="81" y="44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3"/>
                    <a:pt x="0" y="12"/>
                    <a:pt x="0" y="11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82" y="37"/>
                    <a:pt x="82" y="37"/>
                    <a:pt x="82" y="37"/>
                  </a:cubicBezTo>
                  <a:cubicBezTo>
                    <a:pt x="86" y="39"/>
                    <a:pt x="90" y="39"/>
                    <a:pt x="94" y="37"/>
                  </a:cubicBezTo>
                  <a:cubicBezTo>
                    <a:pt x="190" y="1"/>
                    <a:pt x="190" y="1"/>
                    <a:pt x="190" y="1"/>
                  </a:cubicBezTo>
                  <a:cubicBezTo>
                    <a:pt x="191" y="1"/>
                    <a:pt x="191" y="1"/>
                    <a:pt x="191" y="0"/>
                  </a:cubicBezTo>
                  <a:cubicBezTo>
                    <a:pt x="193" y="1"/>
                    <a:pt x="193" y="1"/>
                    <a:pt x="193" y="1"/>
                  </a:cubicBezTo>
                  <a:cubicBezTo>
                    <a:pt x="193" y="6"/>
                    <a:pt x="193" y="6"/>
                    <a:pt x="193" y="6"/>
                  </a:cubicBezTo>
                  <a:cubicBezTo>
                    <a:pt x="193" y="7"/>
                    <a:pt x="192" y="8"/>
                    <a:pt x="191" y="8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3" y="45"/>
                    <a:pt x="91" y="46"/>
                    <a:pt x="88" y="46"/>
                  </a:cubicBezTo>
                  <a:close/>
                  <a:moveTo>
                    <a:pt x="2" y="11"/>
                  </a:moveTo>
                  <a:cubicBezTo>
                    <a:pt x="82" y="42"/>
                    <a:pt x="82" y="42"/>
                    <a:pt x="82" y="42"/>
                  </a:cubicBezTo>
                  <a:cubicBezTo>
                    <a:pt x="86" y="44"/>
                    <a:pt x="90" y="44"/>
                    <a:pt x="94" y="42"/>
                  </a:cubicBezTo>
                  <a:cubicBezTo>
                    <a:pt x="190" y="6"/>
                    <a:pt x="190" y="6"/>
                    <a:pt x="190" y="6"/>
                  </a:cubicBezTo>
                  <a:cubicBezTo>
                    <a:pt x="190" y="6"/>
                    <a:pt x="191" y="6"/>
                    <a:pt x="191" y="6"/>
                  </a:cubicBezTo>
                  <a:cubicBezTo>
                    <a:pt x="191" y="3"/>
                    <a:pt x="191" y="3"/>
                    <a:pt x="191" y="3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1" y="41"/>
                    <a:pt x="86" y="41"/>
                    <a:pt x="81" y="39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2" y="12"/>
                    <a:pt x="2" y="12"/>
                    <a:pt x="2" y="12"/>
                  </a:cubicBezTo>
                  <a:lnTo>
                    <a:pt x="2" y="1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57" name="Freeform 134">
              <a:extLst>
                <a:ext uri="{FF2B5EF4-FFF2-40B4-BE49-F238E27FC236}">
                  <a16:creationId xmlns:a16="http://schemas.microsoft.com/office/drawing/2014/main" id="{2E31201F-007E-9ACA-B8A2-997C778E6A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6772" y="5684188"/>
              <a:ext cx="3484" cy="0"/>
            </a:xfrm>
            <a:custGeom>
              <a:avLst/>
              <a:gdLst>
                <a:gd name="T0" fmla="*/ 0 w 3"/>
                <a:gd name="T1" fmla="*/ 0 w 3"/>
                <a:gd name="T2" fmla="*/ 3 w 3"/>
                <a:gd name="T3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61" name="Rectangle 135">
              <a:extLst>
                <a:ext uri="{FF2B5EF4-FFF2-40B4-BE49-F238E27FC236}">
                  <a16:creationId xmlns:a16="http://schemas.microsoft.com/office/drawing/2014/main" id="{12BAB61B-083D-03C9-3D12-EA3F6D7B1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67675" y="5673738"/>
              <a:ext cx="2322" cy="23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62" name="Freeform 136">
              <a:extLst>
                <a:ext uri="{FF2B5EF4-FFF2-40B4-BE49-F238E27FC236}">
                  <a16:creationId xmlns:a16="http://schemas.microsoft.com/office/drawing/2014/main" id="{A4DD1808-1FD3-B420-A101-2968B3923E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5423" y="5467069"/>
              <a:ext cx="218280" cy="224086"/>
            </a:xfrm>
            <a:custGeom>
              <a:avLst/>
              <a:gdLst>
                <a:gd name="T0" fmla="*/ 19 w 126"/>
                <a:gd name="T1" fmla="*/ 129 h 129"/>
                <a:gd name="T2" fmla="*/ 14 w 126"/>
                <a:gd name="T3" fmla="*/ 125 h 129"/>
                <a:gd name="T4" fmla="*/ 1 w 126"/>
                <a:gd name="T5" fmla="*/ 18 h 129"/>
                <a:gd name="T6" fmla="*/ 2 w 126"/>
                <a:gd name="T7" fmla="*/ 12 h 129"/>
                <a:gd name="T8" fmla="*/ 8 w 126"/>
                <a:gd name="T9" fmla="*/ 9 h 129"/>
                <a:gd name="T10" fmla="*/ 111 w 126"/>
                <a:gd name="T11" fmla="*/ 0 h 129"/>
                <a:gd name="T12" fmla="*/ 117 w 126"/>
                <a:gd name="T13" fmla="*/ 5 h 129"/>
                <a:gd name="T14" fmla="*/ 126 w 126"/>
                <a:gd name="T15" fmla="*/ 96 h 129"/>
                <a:gd name="T16" fmla="*/ 124 w 126"/>
                <a:gd name="T17" fmla="*/ 96 h 129"/>
                <a:gd name="T18" fmla="*/ 115 w 126"/>
                <a:gd name="T19" fmla="*/ 5 h 129"/>
                <a:gd name="T20" fmla="*/ 111 w 126"/>
                <a:gd name="T21" fmla="*/ 2 h 129"/>
                <a:gd name="T22" fmla="*/ 8 w 126"/>
                <a:gd name="T23" fmla="*/ 11 h 129"/>
                <a:gd name="T24" fmla="*/ 4 w 126"/>
                <a:gd name="T25" fmla="*/ 13 h 129"/>
                <a:gd name="T26" fmla="*/ 3 w 126"/>
                <a:gd name="T27" fmla="*/ 18 h 129"/>
                <a:gd name="T28" fmla="*/ 16 w 126"/>
                <a:gd name="T29" fmla="*/ 124 h 129"/>
                <a:gd name="T30" fmla="*/ 19 w 126"/>
                <a:gd name="T31" fmla="*/ 127 h 129"/>
                <a:gd name="T32" fmla="*/ 19 w 126"/>
                <a:gd name="T33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6" h="129">
                  <a:moveTo>
                    <a:pt x="19" y="129"/>
                  </a:moveTo>
                  <a:cubicBezTo>
                    <a:pt x="16" y="129"/>
                    <a:pt x="14" y="127"/>
                    <a:pt x="14" y="125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0" y="16"/>
                    <a:pt x="1" y="14"/>
                    <a:pt x="2" y="12"/>
                  </a:cubicBezTo>
                  <a:cubicBezTo>
                    <a:pt x="4" y="10"/>
                    <a:pt x="6" y="9"/>
                    <a:pt x="8" y="9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4" y="0"/>
                    <a:pt x="117" y="2"/>
                    <a:pt x="117" y="5"/>
                  </a:cubicBezTo>
                  <a:cubicBezTo>
                    <a:pt x="126" y="96"/>
                    <a:pt x="126" y="96"/>
                    <a:pt x="126" y="96"/>
                  </a:cubicBezTo>
                  <a:cubicBezTo>
                    <a:pt x="124" y="96"/>
                    <a:pt x="124" y="96"/>
                    <a:pt x="124" y="96"/>
                  </a:cubicBezTo>
                  <a:cubicBezTo>
                    <a:pt x="115" y="5"/>
                    <a:pt x="115" y="5"/>
                    <a:pt x="115" y="5"/>
                  </a:cubicBezTo>
                  <a:cubicBezTo>
                    <a:pt x="115" y="3"/>
                    <a:pt x="113" y="2"/>
                    <a:pt x="111" y="2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7" y="11"/>
                    <a:pt x="5" y="12"/>
                    <a:pt x="4" y="13"/>
                  </a:cubicBezTo>
                  <a:cubicBezTo>
                    <a:pt x="3" y="15"/>
                    <a:pt x="2" y="16"/>
                    <a:pt x="3" y="18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6"/>
                    <a:pt x="17" y="127"/>
                    <a:pt x="19" y="127"/>
                  </a:cubicBezTo>
                  <a:lnTo>
                    <a:pt x="19" y="129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63" name="Freeform 137">
              <a:extLst>
                <a:ext uri="{FF2B5EF4-FFF2-40B4-BE49-F238E27FC236}">
                  <a16:creationId xmlns:a16="http://schemas.microsoft.com/office/drawing/2014/main" id="{FFA631C2-4599-BAB1-F109-F84903418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4000" y="5484485"/>
              <a:ext cx="185770" cy="178804"/>
            </a:xfrm>
            <a:custGeom>
              <a:avLst/>
              <a:gdLst>
                <a:gd name="T0" fmla="*/ 0 w 107"/>
                <a:gd name="T1" fmla="*/ 11 h 103"/>
                <a:gd name="T2" fmla="*/ 11 w 107"/>
                <a:gd name="T3" fmla="*/ 102 h 103"/>
                <a:gd name="T4" fmla="*/ 12 w 107"/>
                <a:gd name="T5" fmla="*/ 102 h 103"/>
                <a:gd name="T6" fmla="*/ 106 w 107"/>
                <a:gd name="T7" fmla="*/ 79 h 103"/>
                <a:gd name="T8" fmla="*/ 107 w 107"/>
                <a:gd name="T9" fmla="*/ 78 h 103"/>
                <a:gd name="T10" fmla="*/ 99 w 107"/>
                <a:gd name="T11" fmla="*/ 1 h 103"/>
                <a:gd name="T12" fmla="*/ 99 w 107"/>
                <a:gd name="T13" fmla="*/ 0 h 103"/>
                <a:gd name="T14" fmla="*/ 1 w 107"/>
                <a:gd name="T15" fmla="*/ 10 h 103"/>
                <a:gd name="T16" fmla="*/ 0 w 107"/>
                <a:gd name="T17" fmla="*/ 1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7" h="103">
                  <a:moveTo>
                    <a:pt x="0" y="11"/>
                  </a:moveTo>
                  <a:cubicBezTo>
                    <a:pt x="11" y="102"/>
                    <a:pt x="11" y="102"/>
                    <a:pt x="11" y="102"/>
                  </a:cubicBezTo>
                  <a:cubicBezTo>
                    <a:pt x="11" y="102"/>
                    <a:pt x="12" y="103"/>
                    <a:pt x="12" y="102"/>
                  </a:cubicBezTo>
                  <a:cubicBezTo>
                    <a:pt x="106" y="79"/>
                    <a:pt x="106" y="79"/>
                    <a:pt x="106" y="79"/>
                  </a:cubicBezTo>
                  <a:cubicBezTo>
                    <a:pt x="107" y="79"/>
                    <a:pt x="107" y="78"/>
                    <a:pt x="107" y="78"/>
                  </a:cubicBezTo>
                  <a:cubicBezTo>
                    <a:pt x="99" y="1"/>
                    <a:pt x="99" y="1"/>
                    <a:pt x="99" y="1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0"/>
                    <a:pt x="0" y="11"/>
                    <a:pt x="0" y="1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64" name="Freeform 138">
              <a:extLst>
                <a:ext uri="{FF2B5EF4-FFF2-40B4-BE49-F238E27FC236}">
                  <a16:creationId xmlns:a16="http://schemas.microsoft.com/office/drawing/2014/main" id="{DF71E92C-CEA7-1DFB-B2AD-71D6E1F474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7711" y="5676060"/>
              <a:ext cx="110302" cy="38316"/>
            </a:xfrm>
            <a:custGeom>
              <a:avLst/>
              <a:gdLst>
                <a:gd name="T0" fmla="*/ 28 w 64"/>
                <a:gd name="T1" fmla="*/ 22 h 22"/>
                <a:gd name="T2" fmla="*/ 0 w 64"/>
                <a:gd name="T3" fmla="*/ 12 h 22"/>
                <a:gd name="T4" fmla="*/ 0 w 64"/>
                <a:gd name="T5" fmla="*/ 11 h 22"/>
                <a:gd name="T6" fmla="*/ 30 w 64"/>
                <a:gd name="T7" fmla="*/ 1 h 22"/>
                <a:gd name="T8" fmla="*/ 37 w 64"/>
                <a:gd name="T9" fmla="*/ 1 h 22"/>
                <a:gd name="T10" fmla="*/ 64 w 64"/>
                <a:gd name="T11" fmla="*/ 10 h 22"/>
                <a:gd name="T12" fmla="*/ 64 w 64"/>
                <a:gd name="T13" fmla="*/ 10 h 22"/>
                <a:gd name="T14" fmla="*/ 33 w 64"/>
                <a:gd name="T15" fmla="*/ 21 h 22"/>
                <a:gd name="T16" fmla="*/ 28 w 64"/>
                <a:gd name="T1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22">
                  <a:moveTo>
                    <a:pt x="28" y="22"/>
                  </a:moveTo>
                  <a:cubicBezTo>
                    <a:pt x="0" y="12"/>
                    <a:pt x="0" y="12"/>
                    <a:pt x="0" y="12"/>
                  </a:cubicBezTo>
                  <a:cubicBezTo>
                    <a:pt x="0" y="12"/>
                    <a:pt x="0" y="11"/>
                    <a:pt x="0" y="11"/>
                  </a:cubicBezTo>
                  <a:cubicBezTo>
                    <a:pt x="30" y="1"/>
                    <a:pt x="30" y="1"/>
                    <a:pt x="30" y="1"/>
                  </a:cubicBezTo>
                  <a:cubicBezTo>
                    <a:pt x="32" y="0"/>
                    <a:pt x="35" y="0"/>
                    <a:pt x="37" y="1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64" y="10"/>
                    <a:pt x="64" y="10"/>
                    <a:pt x="64" y="10"/>
                  </a:cubicBezTo>
                  <a:cubicBezTo>
                    <a:pt x="33" y="21"/>
                    <a:pt x="33" y="21"/>
                    <a:pt x="33" y="21"/>
                  </a:cubicBezTo>
                  <a:cubicBezTo>
                    <a:pt x="32" y="22"/>
                    <a:pt x="29" y="22"/>
                    <a:pt x="28" y="2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grpSp>
        <p:nvGrpSpPr>
          <p:cNvPr id="85" name="Gruppo 84">
            <a:extLst>
              <a:ext uri="{FF2B5EF4-FFF2-40B4-BE49-F238E27FC236}">
                <a16:creationId xmlns:a16="http://schemas.microsoft.com/office/drawing/2014/main" id="{EC6E04C9-1375-EAC6-4809-C041C2855361}"/>
              </a:ext>
            </a:extLst>
          </p:cNvPr>
          <p:cNvGrpSpPr/>
          <p:nvPr/>
        </p:nvGrpSpPr>
        <p:grpSpPr>
          <a:xfrm>
            <a:off x="10846115" y="2051459"/>
            <a:ext cx="720000" cy="720000"/>
            <a:chOff x="8237584" y="4341997"/>
            <a:chExt cx="565439" cy="566600"/>
          </a:xfrm>
        </p:grpSpPr>
        <p:sp>
          <p:nvSpPr>
            <p:cNvPr id="86" name="Freeform 196">
              <a:extLst>
                <a:ext uri="{FF2B5EF4-FFF2-40B4-BE49-F238E27FC236}">
                  <a16:creationId xmlns:a16="http://schemas.microsoft.com/office/drawing/2014/main" id="{D48FA20E-D9A3-75BD-9080-D0E61C6766C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37584" y="4341997"/>
              <a:ext cx="565439" cy="566600"/>
            </a:xfrm>
            <a:custGeom>
              <a:avLst/>
              <a:gdLst>
                <a:gd name="T0" fmla="*/ 163 w 326"/>
                <a:gd name="T1" fmla="*/ 0 h 326"/>
                <a:gd name="T2" fmla="*/ 0 w 326"/>
                <a:gd name="T3" fmla="*/ 163 h 326"/>
                <a:gd name="T4" fmla="*/ 163 w 326"/>
                <a:gd name="T5" fmla="*/ 326 h 326"/>
                <a:gd name="T6" fmla="*/ 326 w 326"/>
                <a:gd name="T7" fmla="*/ 163 h 326"/>
                <a:gd name="T8" fmla="*/ 163 w 326"/>
                <a:gd name="T9" fmla="*/ 0 h 326"/>
                <a:gd name="T10" fmla="*/ 163 w 326"/>
                <a:gd name="T11" fmla="*/ 318 h 326"/>
                <a:gd name="T12" fmla="*/ 8 w 326"/>
                <a:gd name="T13" fmla="*/ 163 h 326"/>
                <a:gd name="T14" fmla="*/ 163 w 326"/>
                <a:gd name="T15" fmla="*/ 9 h 326"/>
                <a:gd name="T16" fmla="*/ 317 w 326"/>
                <a:gd name="T17" fmla="*/ 163 h 326"/>
                <a:gd name="T18" fmla="*/ 163 w 326"/>
                <a:gd name="T19" fmla="*/ 31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6" h="326">
                  <a:moveTo>
                    <a:pt x="163" y="0"/>
                  </a:moveTo>
                  <a:cubicBezTo>
                    <a:pt x="73" y="0"/>
                    <a:pt x="0" y="73"/>
                    <a:pt x="0" y="163"/>
                  </a:cubicBezTo>
                  <a:cubicBezTo>
                    <a:pt x="0" y="253"/>
                    <a:pt x="73" y="326"/>
                    <a:pt x="163" y="326"/>
                  </a:cubicBezTo>
                  <a:cubicBezTo>
                    <a:pt x="253" y="326"/>
                    <a:pt x="326" y="253"/>
                    <a:pt x="326" y="163"/>
                  </a:cubicBezTo>
                  <a:cubicBezTo>
                    <a:pt x="326" y="73"/>
                    <a:pt x="253" y="0"/>
                    <a:pt x="163" y="0"/>
                  </a:cubicBezTo>
                  <a:close/>
                  <a:moveTo>
                    <a:pt x="163" y="318"/>
                  </a:moveTo>
                  <a:cubicBezTo>
                    <a:pt x="78" y="318"/>
                    <a:pt x="8" y="248"/>
                    <a:pt x="8" y="163"/>
                  </a:cubicBezTo>
                  <a:cubicBezTo>
                    <a:pt x="8" y="78"/>
                    <a:pt x="78" y="9"/>
                    <a:pt x="163" y="9"/>
                  </a:cubicBezTo>
                  <a:cubicBezTo>
                    <a:pt x="248" y="9"/>
                    <a:pt x="317" y="78"/>
                    <a:pt x="317" y="163"/>
                  </a:cubicBezTo>
                  <a:cubicBezTo>
                    <a:pt x="317" y="248"/>
                    <a:pt x="248" y="318"/>
                    <a:pt x="163" y="31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87" name="Rectangle 197">
              <a:extLst>
                <a:ext uri="{FF2B5EF4-FFF2-40B4-BE49-F238E27FC236}">
                  <a16:creationId xmlns:a16="http://schemas.microsoft.com/office/drawing/2014/main" id="{5901B656-2B85-D125-AFDA-2F64CE4E79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7850" y="4569566"/>
              <a:ext cx="95207" cy="952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88" name="Rectangle 198">
              <a:extLst>
                <a:ext uri="{FF2B5EF4-FFF2-40B4-BE49-F238E27FC236}">
                  <a16:creationId xmlns:a16="http://schemas.microsoft.com/office/drawing/2014/main" id="{905C8299-A68D-AF30-023C-7B4C1CCCA7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17549" y="4569566"/>
              <a:ext cx="96369" cy="95207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89" name="Rectangle 199">
              <a:extLst>
                <a:ext uri="{FF2B5EF4-FFF2-40B4-BE49-F238E27FC236}">
                  <a16:creationId xmlns:a16="http://schemas.microsoft.com/office/drawing/2014/main" id="{09E8FB3C-DFCB-629A-2FED-4E756DD88B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27850" y="4677545"/>
              <a:ext cx="95207" cy="9636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90" name="Rectangle 200">
              <a:extLst>
                <a:ext uri="{FF2B5EF4-FFF2-40B4-BE49-F238E27FC236}">
                  <a16:creationId xmlns:a16="http://schemas.microsoft.com/office/drawing/2014/main" id="{96A670A1-38AA-12CE-5D0A-705989C98B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17549" y="4677545"/>
              <a:ext cx="96369" cy="9636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91" name="Freeform 201">
              <a:extLst>
                <a:ext uri="{FF2B5EF4-FFF2-40B4-BE49-F238E27FC236}">
                  <a16:creationId xmlns:a16="http://schemas.microsoft.com/office/drawing/2014/main" id="{D78E099C-060A-850B-EBB3-D93BF3785C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5039" y="4539378"/>
              <a:ext cx="270529" cy="16255"/>
            </a:xfrm>
            <a:custGeom>
              <a:avLst/>
              <a:gdLst>
                <a:gd name="T0" fmla="*/ 152 w 156"/>
                <a:gd name="T1" fmla="*/ 0 h 9"/>
                <a:gd name="T2" fmla="*/ 4 w 156"/>
                <a:gd name="T3" fmla="*/ 0 h 9"/>
                <a:gd name="T4" fmla="*/ 0 w 156"/>
                <a:gd name="T5" fmla="*/ 5 h 9"/>
                <a:gd name="T6" fmla="*/ 4 w 156"/>
                <a:gd name="T7" fmla="*/ 9 h 9"/>
                <a:gd name="T8" fmla="*/ 152 w 156"/>
                <a:gd name="T9" fmla="*/ 9 h 9"/>
                <a:gd name="T10" fmla="*/ 156 w 156"/>
                <a:gd name="T11" fmla="*/ 5 h 9"/>
                <a:gd name="T12" fmla="*/ 152 w 156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6" h="9">
                  <a:moveTo>
                    <a:pt x="152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152" y="9"/>
                    <a:pt x="152" y="9"/>
                    <a:pt x="152" y="9"/>
                  </a:cubicBezTo>
                  <a:cubicBezTo>
                    <a:pt x="154" y="9"/>
                    <a:pt x="156" y="7"/>
                    <a:pt x="156" y="5"/>
                  </a:cubicBezTo>
                  <a:cubicBezTo>
                    <a:pt x="156" y="2"/>
                    <a:pt x="154" y="0"/>
                    <a:pt x="152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grpSp>
        <p:nvGrpSpPr>
          <p:cNvPr id="92" name="Gruppo 91">
            <a:extLst>
              <a:ext uri="{FF2B5EF4-FFF2-40B4-BE49-F238E27FC236}">
                <a16:creationId xmlns:a16="http://schemas.microsoft.com/office/drawing/2014/main" id="{1218BE95-14E9-4AE1-39D1-C506A2B832F4}"/>
              </a:ext>
            </a:extLst>
          </p:cNvPr>
          <p:cNvGrpSpPr/>
          <p:nvPr/>
        </p:nvGrpSpPr>
        <p:grpSpPr>
          <a:xfrm>
            <a:off x="2941808" y="2082626"/>
            <a:ext cx="720000" cy="720000"/>
            <a:chOff x="9312788" y="4339472"/>
            <a:chExt cx="583819" cy="562539"/>
          </a:xfrm>
        </p:grpSpPr>
        <p:sp>
          <p:nvSpPr>
            <p:cNvPr id="93" name="Freeform 52">
              <a:extLst>
                <a:ext uri="{FF2B5EF4-FFF2-40B4-BE49-F238E27FC236}">
                  <a16:creationId xmlns:a16="http://schemas.microsoft.com/office/drawing/2014/main" id="{ED199387-1DC0-D690-E409-84EFE39198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312788" y="4339472"/>
              <a:ext cx="583819" cy="562539"/>
            </a:xfrm>
            <a:custGeom>
              <a:avLst/>
              <a:gdLst>
                <a:gd name="T0" fmla="*/ 163 w 326"/>
                <a:gd name="T1" fmla="*/ 0 h 326"/>
                <a:gd name="T2" fmla="*/ 0 w 326"/>
                <a:gd name="T3" fmla="*/ 163 h 326"/>
                <a:gd name="T4" fmla="*/ 163 w 326"/>
                <a:gd name="T5" fmla="*/ 326 h 326"/>
                <a:gd name="T6" fmla="*/ 326 w 326"/>
                <a:gd name="T7" fmla="*/ 163 h 326"/>
                <a:gd name="T8" fmla="*/ 163 w 326"/>
                <a:gd name="T9" fmla="*/ 0 h 326"/>
                <a:gd name="T10" fmla="*/ 163 w 326"/>
                <a:gd name="T11" fmla="*/ 318 h 326"/>
                <a:gd name="T12" fmla="*/ 8 w 326"/>
                <a:gd name="T13" fmla="*/ 163 h 326"/>
                <a:gd name="T14" fmla="*/ 163 w 326"/>
                <a:gd name="T15" fmla="*/ 9 h 326"/>
                <a:gd name="T16" fmla="*/ 317 w 326"/>
                <a:gd name="T17" fmla="*/ 163 h 326"/>
                <a:gd name="T18" fmla="*/ 163 w 326"/>
                <a:gd name="T19" fmla="*/ 31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6" h="326">
                  <a:moveTo>
                    <a:pt x="163" y="0"/>
                  </a:moveTo>
                  <a:cubicBezTo>
                    <a:pt x="73" y="0"/>
                    <a:pt x="0" y="73"/>
                    <a:pt x="0" y="163"/>
                  </a:cubicBezTo>
                  <a:cubicBezTo>
                    <a:pt x="0" y="253"/>
                    <a:pt x="73" y="326"/>
                    <a:pt x="163" y="326"/>
                  </a:cubicBezTo>
                  <a:cubicBezTo>
                    <a:pt x="253" y="326"/>
                    <a:pt x="326" y="253"/>
                    <a:pt x="326" y="163"/>
                  </a:cubicBezTo>
                  <a:cubicBezTo>
                    <a:pt x="326" y="73"/>
                    <a:pt x="253" y="0"/>
                    <a:pt x="163" y="0"/>
                  </a:cubicBezTo>
                  <a:close/>
                  <a:moveTo>
                    <a:pt x="163" y="318"/>
                  </a:moveTo>
                  <a:cubicBezTo>
                    <a:pt x="78" y="318"/>
                    <a:pt x="8" y="248"/>
                    <a:pt x="8" y="163"/>
                  </a:cubicBezTo>
                  <a:cubicBezTo>
                    <a:pt x="8" y="78"/>
                    <a:pt x="78" y="9"/>
                    <a:pt x="163" y="9"/>
                  </a:cubicBezTo>
                  <a:cubicBezTo>
                    <a:pt x="248" y="9"/>
                    <a:pt x="317" y="78"/>
                    <a:pt x="317" y="163"/>
                  </a:cubicBezTo>
                  <a:cubicBezTo>
                    <a:pt x="317" y="248"/>
                    <a:pt x="248" y="318"/>
                    <a:pt x="163" y="31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94" name="Freeform 53">
              <a:extLst>
                <a:ext uri="{FF2B5EF4-FFF2-40B4-BE49-F238E27FC236}">
                  <a16:creationId xmlns:a16="http://schemas.microsoft.com/office/drawing/2014/main" id="{634B300F-3CCD-33CF-D4AE-4E7E04EA554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63338" y="4746071"/>
              <a:ext cx="83916" cy="12707"/>
            </a:xfrm>
            <a:custGeom>
              <a:avLst/>
              <a:gdLst>
                <a:gd name="T0" fmla="*/ 43 w 47"/>
                <a:gd name="T1" fmla="*/ 0 h 7"/>
                <a:gd name="T2" fmla="*/ 4 w 47"/>
                <a:gd name="T3" fmla="*/ 0 h 7"/>
                <a:gd name="T4" fmla="*/ 4 w 47"/>
                <a:gd name="T5" fmla="*/ 7 h 7"/>
                <a:gd name="T6" fmla="*/ 43 w 47"/>
                <a:gd name="T7" fmla="*/ 7 h 7"/>
                <a:gd name="T8" fmla="*/ 43 w 47"/>
                <a:gd name="T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7">
                  <a:moveTo>
                    <a:pt x="43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7"/>
                    <a:pt x="4" y="7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7" y="7"/>
                    <a:pt x="47" y="0"/>
                    <a:pt x="43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95" name="Freeform 54">
              <a:extLst>
                <a:ext uri="{FF2B5EF4-FFF2-40B4-BE49-F238E27FC236}">
                  <a16:creationId xmlns:a16="http://schemas.microsoft.com/office/drawing/2014/main" id="{83ACC24D-3F85-360D-5ED4-BAC8E6F16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9565736" y="4766863"/>
              <a:ext cx="80320" cy="10396"/>
            </a:xfrm>
            <a:custGeom>
              <a:avLst/>
              <a:gdLst>
                <a:gd name="T0" fmla="*/ 41 w 45"/>
                <a:gd name="T1" fmla="*/ 0 h 6"/>
                <a:gd name="T2" fmla="*/ 4 w 45"/>
                <a:gd name="T3" fmla="*/ 0 h 6"/>
                <a:gd name="T4" fmla="*/ 4 w 45"/>
                <a:gd name="T5" fmla="*/ 6 h 6"/>
                <a:gd name="T6" fmla="*/ 41 w 45"/>
                <a:gd name="T7" fmla="*/ 6 h 6"/>
                <a:gd name="T8" fmla="*/ 41 w 45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6">
                  <a:moveTo>
                    <a:pt x="41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0" y="0"/>
                    <a:pt x="0" y="6"/>
                    <a:pt x="4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5" y="6"/>
                    <a:pt x="45" y="0"/>
                    <a:pt x="41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96" name="Freeform 55">
              <a:extLst>
                <a:ext uri="{FF2B5EF4-FFF2-40B4-BE49-F238E27FC236}">
                  <a16:creationId xmlns:a16="http://schemas.microsoft.com/office/drawing/2014/main" id="{4D79BE23-8823-836C-E294-47D0BDD9A8BF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929" y="4786500"/>
              <a:ext cx="65935" cy="21947"/>
            </a:xfrm>
            <a:custGeom>
              <a:avLst/>
              <a:gdLst>
                <a:gd name="T0" fmla="*/ 19 w 37"/>
                <a:gd name="T1" fmla="*/ 13 h 13"/>
                <a:gd name="T2" fmla="*/ 37 w 37"/>
                <a:gd name="T3" fmla="*/ 0 h 13"/>
                <a:gd name="T4" fmla="*/ 0 w 37"/>
                <a:gd name="T5" fmla="*/ 0 h 13"/>
                <a:gd name="T6" fmla="*/ 19 w 37"/>
                <a:gd name="T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13">
                  <a:moveTo>
                    <a:pt x="19" y="13"/>
                  </a:moveTo>
                  <a:cubicBezTo>
                    <a:pt x="29" y="13"/>
                    <a:pt x="37" y="7"/>
                    <a:pt x="3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7"/>
                    <a:pt x="9" y="13"/>
                    <a:pt x="19" y="1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97" name="Freeform 56">
              <a:extLst>
                <a:ext uri="{FF2B5EF4-FFF2-40B4-BE49-F238E27FC236}">
                  <a16:creationId xmlns:a16="http://schemas.microsoft.com/office/drawing/2014/main" id="{3AAB5888-D3FF-C1CB-E709-3F048CBD60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01000" y="4476931"/>
              <a:ext cx="206195" cy="261055"/>
            </a:xfrm>
            <a:custGeom>
              <a:avLst/>
              <a:gdLst>
                <a:gd name="T0" fmla="*/ 12 w 115"/>
                <a:gd name="T1" fmla="*/ 30 h 151"/>
                <a:gd name="T2" fmla="*/ 20 w 115"/>
                <a:gd name="T3" fmla="*/ 107 h 151"/>
                <a:gd name="T4" fmla="*/ 28 w 115"/>
                <a:gd name="T5" fmla="*/ 131 h 151"/>
                <a:gd name="T6" fmla="*/ 29 w 115"/>
                <a:gd name="T7" fmla="*/ 137 h 151"/>
                <a:gd name="T8" fmla="*/ 40 w 115"/>
                <a:gd name="T9" fmla="*/ 151 h 151"/>
                <a:gd name="T10" fmla="*/ 56 w 115"/>
                <a:gd name="T11" fmla="*/ 149 h 151"/>
                <a:gd name="T12" fmla="*/ 62 w 115"/>
                <a:gd name="T13" fmla="*/ 103 h 151"/>
                <a:gd name="T14" fmla="*/ 62 w 115"/>
                <a:gd name="T15" fmla="*/ 107 h 151"/>
                <a:gd name="T16" fmla="*/ 61 w 115"/>
                <a:gd name="T17" fmla="*/ 149 h 151"/>
                <a:gd name="T18" fmla="*/ 77 w 115"/>
                <a:gd name="T19" fmla="*/ 151 h 151"/>
                <a:gd name="T20" fmla="*/ 90 w 115"/>
                <a:gd name="T21" fmla="*/ 134 h 151"/>
                <a:gd name="T22" fmla="*/ 97 w 115"/>
                <a:gd name="T23" fmla="*/ 111 h 151"/>
                <a:gd name="T24" fmla="*/ 95 w 115"/>
                <a:gd name="T25" fmla="*/ 18 h 151"/>
                <a:gd name="T26" fmla="*/ 93 w 115"/>
                <a:gd name="T27" fmla="*/ 109 h 151"/>
                <a:gd name="T28" fmla="*/ 86 w 115"/>
                <a:gd name="T29" fmla="*/ 134 h 151"/>
                <a:gd name="T30" fmla="*/ 77 w 115"/>
                <a:gd name="T31" fmla="*/ 147 h 151"/>
                <a:gd name="T32" fmla="*/ 66 w 115"/>
                <a:gd name="T33" fmla="*/ 111 h 151"/>
                <a:gd name="T34" fmla="*/ 66 w 115"/>
                <a:gd name="T35" fmla="*/ 101 h 151"/>
                <a:gd name="T36" fmla="*/ 82 w 115"/>
                <a:gd name="T37" fmla="*/ 73 h 151"/>
                <a:gd name="T38" fmla="*/ 69 w 115"/>
                <a:gd name="T39" fmla="*/ 77 h 151"/>
                <a:gd name="T40" fmla="*/ 61 w 115"/>
                <a:gd name="T41" fmla="*/ 99 h 151"/>
                <a:gd name="T42" fmla="*/ 50 w 115"/>
                <a:gd name="T43" fmla="*/ 92 h 151"/>
                <a:gd name="T44" fmla="*/ 35 w 115"/>
                <a:gd name="T45" fmla="*/ 84 h 151"/>
                <a:gd name="T46" fmla="*/ 38 w 115"/>
                <a:gd name="T47" fmla="*/ 98 h 151"/>
                <a:gd name="T48" fmla="*/ 52 w 115"/>
                <a:gd name="T49" fmla="*/ 147 h 151"/>
                <a:gd name="T50" fmla="*/ 35 w 115"/>
                <a:gd name="T51" fmla="*/ 144 h 151"/>
                <a:gd name="T52" fmla="*/ 32 w 115"/>
                <a:gd name="T53" fmla="*/ 135 h 151"/>
                <a:gd name="T54" fmla="*/ 27 w 115"/>
                <a:gd name="T55" fmla="*/ 115 h 151"/>
                <a:gd name="T56" fmla="*/ 12 w 115"/>
                <a:gd name="T57" fmla="*/ 80 h 151"/>
                <a:gd name="T58" fmla="*/ 59 w 115"/>
                <a:gd name="T59" fmla="*/ 14 h 151"/>
                <a:gd name="T60" fmla="*/ 93 w 115"/>
                <a:gd name="T61" fmla="*/ 109 h 151"/>
                <a:gd name="T62" fmla="*/ 72 w 115"/>
                <a:gd name="T63" fmla="*/ 80 h 151"/>
                <a:gd name="T64" fmla="*/ 77 w 115"/>
                <a:gd name="T65" fmla="*/ 86 h 151"/>
                <a:gd name="T66" fmla="*/ 48 w 115"/>
                <a:gd name="T67" fmla="*/ 98 h 151"/>
                <a:gd name="T68" fmla="*/ 39 w 115"/>
                <a:gd name="T69" fmla="*/ 86 h 151"/>
                <a:gd name="T70" fmla="*/ 40 w 115"/>
                <a:gd name="T71" fmla="*/ 86 h 151"/>
                <a:gd name="T72" fmla="*/ 48 w 115"/>
                <a:gd name="T73" fmla="*/ 9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15" h="151">
                  <a:moveTo>
                    <a:pt x="46" y="5"/>
                  </a:moveTo>
                  <a:cubicBezTo>
                    <a:pt x="31" y="9"/>
                    <a:pt x="20" y="17"/>
                    <a:pt x="12" y="30"/>
                  </a:cubicBezTo>
                  <a:cubicBezTo>
                    <a:pt x="4" y="42"/>
                    <a:pt x="0" y="63"/>
                    <a:pt x="8" y="82"/>
                  </a:cubicBezTo>
                  <a:cubicBezTo>
                    <a:pt x="13" y="95"/>
                    <a:pt x="16" y="101"/>
                    <a:pt x="20" y="107"/>
                  </a:cubicBezTo>
                  <a:cubicBezTo>
                    <a:pt x="21" y="110"/>
                    <a:pt x="22" y="113"/>
                    <a:pt x="24" y="116"/>
                  </a:cubicBezTo>
                  <a:cubicBezTo>
                    <a:pt x="26" y="122"/>
                    <a:pt x="27" y="127"/>
                    <a:pt x="28" y="131"/>
                  </a:cubicBezTo>
                  <a:cubicBezTo>
                    <a:pt x="28" y="133"/>
                    <a:pt x="28" y="134"/>
                    <a:pt x="28" y="136"/>
                  </a:cubicBezTo>
                  <a:cubicBezTo>
                    <a:pt x="29" y="137"/>
                    <a:pt x="29" y="137"/>
                    <a:pt x="29" y="137"/>
                  </a:cubicBezTo>
                  <a:cubicBezTo>
                    <a:pt x="30" y="141"/>
                    <a:pt x="30" y="145"/>
                    <a:pt x="32" y="147"/>
                  </a:cubicBezTo>
                  <a:cubicBezTo>
                    <a:pt x="35" y="150"/>
                    <a:pt x="37" y="151"/>
                    <a:pt x="40" y="151"/>
                  </a:cubicBezTo>
                  <a:cubicBezTo>
                    <a:pt x="56" y="151"/>
                    <a:pt x="56" y="151"/>
                    <a:pt x="56" y="151"/>
                  </a:cubicBezTo>
                  <a:cubicBezTo>
                    <a:pt x="56" y="149"/>
                    <a:pt x="56" y="149"/>
                    <a:pt x="56" y="149"/>
                  </a:cubicBezTo>
                  <a:cubicBezTo>
                    <a:pt x="56" y="148"/>
                    <a:pt x="58" y="123"/>
                    <a:pt x="54" y="104"/>
                  </a:cubicBezTo>
                  <a:cubicBezTo>
                    <a:pt x="57" y="104"/>
                    <a:pt x="59" y="103"/>
                    <a:pt x="62" y="103"/>
                  </a:cubicBezTo>
                  <a:cubicBezTo>
                    <a:pt x="62" y="103"/>
                    <a:pt x="62" y="103"/>
                    <a:pt x="62" y="103"/>
                  </a:cubicBezTo>
                  <a:cubicBezTo>
                    <a:pt x="62" y="104"/>
                    <a:pt x="62" y="106"/>
                    <a:pt x="62" y="107"/>
                  </a:cubicBezTo>
                  <a:cubicBezTo>
                    <a:pt x="62" y="111"/>
                    <a:pt x="62" y="111"/>
                    <a:pt x="62" y="111"/>
                  </a:cubicBezTo>
                  <a:cubicBezTo>
                    <a:pt x="62" y="123"/>
                    <a:pt x="61" y="149"/>
                    <a:pt x="61" y="149"/>
                  </a:cubicBezTo>
                  <a:cubicBezTo>
                    <a:pt x="61" y="151"/>
                    <a:pt x="61" y="151"/>
                    <a:pt x="61" y="151"/>
                  </a:cubicBezTo>
                  <a:cubicBezTo>
                    <a:pt x="77" y="151"/>
                    <a:pt x="77" y="151"/>
                    <a:pt x="77" y="151"/>
                  </a:cubicBezTo>
                  <a:cubicBezTo>
                    <a:pt x="78" y="151"/>
                    <a:pt x="84" y="151"/>
                    <a:pt x="87" y="146"/>
                  </a:cubicBezTo>
                  <a:cubicBezTo>
                    <a:pt x="89" y="143"/>
                    <a:pt x="89" y="139"/>
                    <a:pt x="90" y="134"/>
                  </a:cubicBezTo>
                  <a:cubicBezTo>
                    <a:pt x="90" y="131"/>
                    <a:pt x="90" y="128"/>
                    <a:pt x="90" y="125"/>
                  </a:cubicBezTo>
                  <a:cubicBezTo>
                    <a:pt x="91" y="123"/>
                    <a:pt x="94" y="117"/>
                    <a:pt x="97" y="111"/>
                  </a:cubicBezTo>
                  <a:cubicBezTo>
                    <a:pt x="103" y="98"/>
                    <a:pt x="112" y="81"/>
                    <a:pt x="113" y="70"/>
                  </a:cubicBezTo>
                  <a:cubicBezTo>
                    <a:pt x="115" y="56"/>
                    <a:pt x="113" y="36"/>
                    <a:pt x="95" y="18"/>
                  </a:cubicBezTo>
                  <a:cubicBezTo>
                    <a:pt x="80" y="4"/>
                    <a:pt x="64" y="0"/>
                    <a:pt x="46" y="5"/>
                  </a:cubicBezTo>
                  <a:close/>
                  <a:moveTo>
                    <a:pt x="93" y="109"/>
                  </a:moveTo>
                  <a:cubicBezTo>
                    <a:pt x="90" y="116"/>
                    <a:pt x="87" y="122"/>
                    <a:pt x="87" y="124"/>
                  </a:cubicBezTo>
                  <a:cubicBezTo>
                    <a:pt x="86" y="127"/>
                    <a:pt x="86" y="131"/>
                    <a:pt x="86" y="134"/>
                  </a:cubicBezTo>
                  <a:cubicBezTo>
                    <a:pt x="85" y="138"/>
                    <a:pt x="85" y="142"/>
                    <a:pt x="84" y="144"/>
                  </a:cubicBezTo>
                  <a:cubicBezTo>
                    <a:pt x="82" y="147"/>
                    <a:pt x="78" y="147"/>
                    <a:pt x="77" y="147"/>
                  </a:cubicBezTo>
                  <a:cubicBezTo>
                    <a:pt x="65" y="147"/>
                    <a:pt x="65" y="147"/>
                    <a:pt x="65" y="147"/>
                  </a:cubicBezTo>
                  <a:cubicBezTo>
                    <a:pt x="65" y="140"/>
                    <a:pt x="66" y="121"/>
                    <a:pt x="66" y="111"/>
                  </a:cubicBezTo>
                  <a:cubicBezTo>
                    <a:pt x="66" y="107"/>
                    <a:pt x="66" y="107"/>
                    <a:pt x="66" y="107"/>
                  </a:cubicBezTo>
                  <a:cubicBezTo>
                    <a:pt x="66" y="105"/>
                    <a:pt x="66" y="103"/>
                    <a:pt x="66" y="101"/>
                  </a:cubicBezTo>
                  <a:cubicBezTo>
                    <a:pt x="72" y="99"/>
                    <a:pt x="77" y="94"/>
                    <a:pt x="80" y="88"/>
                  </a:cubicBezTo>
                  <a:cubicBezTo>
                    <a:pt x="82" y="85"/>
                    <a:pt x="84" y="77"/>
                    <a:pt x="82" y="73"/>
                  </a:cubicBezTo>
                  <a:cubicBezTo>
                    <a:pt x="82" y="72"/>
                    <a:pt x="81" y="71"/>
                    <a:pt x="80" y="71"/>
                  </a:cubicBezTo>
                  <a:cubicBezTo>
                    <a:pt x="76" y="70"/>
                    <a:pt x="70" y="77"/>
                    <a:pt x="69" y="77"/>
                  </a:cubicBezTo>
                  <a:cubicBezTo>
                    <a:pt x="64" y="83"/>
                    <a:pt x="63" y="91"/>
                    <a:pt x="63" y="98"/>
                  </a:cubicBezTo>
                  <a:cubicBezTo>
                    <a:pt x="62" y="99"/>
                    <a:pt x="61" y="99"/>
                    <a:pt x="61" y="99"/>
                  </a:cubicBezTo>
                  <a:cubicBezTo>
                    <a:pt x="58" y="100"/>
                    <a:pt x="56" y="100"/>
                    <a:pt x="53" y="99"/>
                  </a:cubicBezTo>
                  <a:cubicBezTo>
                    <a:pt x="52" y="97"/>
                    <a:pt x="51" y="94"/>
                    <a:pt x="50" y="92"/>
                  </a:cubicBezTo>
                  <a:cubicBezTo>
                    <a:pt x="50" y="91"/>
                    <a:pt x="46" y="82"/>
                    <a:pt x="40" y="82"/>
                  </a:cubicBezTo>
                  <a:cubicBezTo>
                    <a:pt x="39" y="82"/>
                    <a:pt x="37" y="82"/>
                    <a:pt x="35" y="84"/>
                  </a:cubicBezTo>
                  <a:cubicBezTo>
                    <a:pt x="34" y="85"/>
                    <a:pt x="34" y="87"/>
                    <a:pt x="34" y="89"/>
                  </a:cubicBezTo>
                  <a:cubicBezTo>
                    <a:pt x="34" y="92"/>
                    <a:pt x="37" y="96"/>
                    <a:pt x="38" y="98"/>
                  </a:cubicBezTo>
                  <a:cubicBezTo>
                    <a:pt x="41" y="100"/>
                    <a:pt x="45" y="102"/>
                    <a:pt x="50" y="103"/>
                  </a:cubicBezTo>
                  <a:cubicBezTo>
                    <a:pt x="53" y="119"/>
                    <a:pt x="53" y="140"/>
                    <a:pt x="52" y="147"/>
                  </a:cubicBezTo>
                  <a:cubicBezTo>
                    <a:pt x="41" y="147"/>
                    <a:pt x="41" y="147"/>
                    <a:pt x="41" y="147"/>
                  </a:cubicBezTo>
                  <a:cubicBezTo>
                    <a:pt x="39" y="147"/>
                    <a:pt x="37" y="146"/>
                    <a:pt x="35" y="144"/>
                  </a:cubicBezTo>
                  <a:cubicBezTo>
                    <a:pt x="34" y="143"/>
                    <a:pt x="33" y="140"/>
                    <a:pt x="33" y="136"/>
                  </a:cubicBezTo>
                  <a:cubicBezTo>
                    <a:pt x="32" y="135"/>
                    <a:pt x="32" y="135"/>
                    <a:pt x="32" y="135"/>
                  </a:cubicBezTo>
                  <a:cubicBezTo>
                    <a:pt x="32" y="133"/>
                    <a:pt x="32" y="132"/>
                    <a:pt x="32" y="130"/>
                  </a:cubicBezTo>
                  <a:cubicBezTo>
                    <a:pt x="31" y="126"/>
                    <a:pt x="30" y="121"/>
                    <a:pt x="27" y="115"/>
                  </a:cubicBezTo>
                  <a:cubicBezTo>
                    <a:pt x="26" y="111"/>
                    <a:pt x="25" y="109"/>
                    <a:pt x="23" y="106"/>
                  </a:cubicBezTo>
                  <a:cubicBezTo>
                    <a:pt x="20" y="100"/>
                    <a:pt x="17" y="93"/>
                    <a:pt x="12" y="80"/>
                  </a:cubicBezTo>
                  <a:cubicBezTo>
                    <a:pt x="4" y="63"/>
                    <a:pt x="8" y="43"/>
                    <a:pt x="15" y="32"/>
                  </a:cubicBezTo>
                  <a:cubicBezTo>
                    <a:pt x="23" y="20"/>
                    <a:pt x="42" y="14"/>
                    <a:pt x="59" y="14"/>
                  </a:cubicBezTo>
                  <a:cubicBezTo>
                    <a:pt x="93" y="15"/>
                    <a:pt x="107" y="52"/>
                    <a:pt x="106" y="67"/>
                  </a:cubicBezTo>
                  <a:cubicBezTo>
                    <a:pt x="106" y="78"/>
                    <a:pt x="99" y="96"/>
                    <a:pt x="93" y="109"/>
                  </a:cubicBezTo>
                  <a:close/>
                  <a:moveTo>
                    <a:pt x="67" y="97"/>
                  </a:moveTo>
                  <a:cubicBezTo>
                    <a:pt x="67" y="90"/>
                    <a:pt x="69" y="84"/>
                    <a:pt x="72" y="80"/>
                  </a:cubicBezTo>
                  <a:cubicBezTo>
                    <a:pt x="74" y="78"/>
                    <a:pt x="78" y="75"/>
                    <a:pt x="79" y="75"/>
                  </a:cubicBezTo>
                  <a:cubicBezTo>
                    <a:pt x="80" y="76"/>
                    <a:pt x="78" y="83"/>
                    <a:pt x="77" y="86"/>
                  </a:cubicBezTo>
                  <a:cubicBezTo>
                    <a:pt x="74" y="90"/>
                    <a:pt x="71" y="94"/>
                    <a:pt x="67" y="97"/>
                  </a:cubicBezTo>
                  <a:close/>
                  <a:moveTo>
                    <a:pt x="48" y="98"/>
                  </a:moveTo>
                  <a:cubicBezTo>
                    <a:pt x="46" y="98"/>
                    <a:pt x="43" y="96"/>
                    <a:pt x="41" y="94"/>
                  </a:cubicBezTo>
                  <a:cubicBezTo>
                    <a:pt x="40" y="93"/>
                    <a:pt x="37" y="88"/>
                    <a:pt x="39" y="86"/>
                  </a:cubicBezTo>
                  <a:cubicBezTo>
                    <a:pt x="39" y="86"/>
                    <a:pt x="39" y="86"/>
                    <a:pt x="40" y="86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2" y="86"/>
                    <a:pt x="45" y="91"/>
                    <a:pt x="47" y="94"/>
                  </a:cubicBezTo>
                  <a:cubicBezTo>
                    <a:pt x="47" y="95"/>
                    <a:pt x="48" y="97"/>
                    <a:pt x="48" y="9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grpSp>
        <p:nvGrpSpPr>
          <p:cNvPr id="98" name="Gruppo 97">
            <a:extLst>
              <a:ext uri="{FF2B5EF4-FFF2-40B4-BE49-F238E27FC236}">
                <a16:creationId xmlns:a16="http://schemas.microsoft.com/office/drawing/2014/main" id="{4B5DAF40-DE37-5A16-AB1D-D180653D4524}"/>
              </a:ext>
            </a:extLst>
          </p:cNvPr>
          <p:cNvGrpSpPr/>
          <p:nvPr/>
        </p:nvGrpSpPr>
        <p:grpSpPr>
          <a:xfrm>
            <a:off x="987242" y="2503171"/>
            <a:ext cx="720000" cy="720000"/>
            <a:chOff x="5318363" y="1451697"/>
            <a:chExt cx="583819" cy="562539"/>
          </a:xfrm>
        </p:grpSpPr>
        <p:sp>
          <p:nvSpPr>
            <p:cNvPr id="99" name="Freeform 136">
              <a:extLst>
                <a:ext uri="{FF2B5EF4-FFF2-40B4-BE49-F238E27FC236}">
                  <a16:creationId xmlns:a16="http://schemas.microsoft.com/office/drawing/2014/main" id="{34A8E76B-875F-4F1B-0856-45233DBB5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18363" y="1451697"/>
              <a:ext cx="583819" cy="562539"/>
            </a:xfrm>
            <a:custGeom>
              <a:avLst/>
              <a:gdLst>
                <a:gd name="T0" fmla="*/ 163 w 326"/>
                <a:gd name="T1" fmla="*/ 326 h 326"/>
                <a:gd name="T2" fmla="*/ 0 w 326"/>
                <a:gd name="T3" fmla="*/ 163 h 326"/>
                <a:gd name="T4" fmla="*/ 163 w 326"/>
                <a:gd name="T5" fmla="*/ 0 h 326"/>
                <a:gd name="T6" fmla="*/ 326 w 326"/>
                <a:gd name="T7" fmla="*/ 163 h 326"/>
                <a:gd name="T8" fmla="*/ 163 w 326"/>
                <a:gd name="T9" fmla="*/ 326 h 326"/>
                <a:gd name="T10" fmla="*/ 163 w 326"/>
                <a:gd name="T11" fmla="*/ 8 h 326"/>
                <a:gd name="T12" fmla="*/ 9 w 326"/>
                <a:gd name="T13" fmla="*/ 163 h 326"/>
                <a:gd name="T14" fmla="*/ 163 w 326"/>
                <a:gd name="T15" fmla="*/ 317 h 326"/>
                <a:gd name="T16" fmla="*/ 318 w 326"/>
                <a:gd name="T17" fmla="*/ 163 h 326"/>
                <a:gd name="T18" fmla="*/ 163 w 326"/>
                <a:gd name="T19" fmla="*/ 8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6" h="326">
                  <a:moveTo>
                    <a:pt x="163" y="326"/>
                  </a:moveTo>
                  <a:cubicBezTo>
                    <a:pt x="73" y="326"/>
                    <a:pt x="0" y="252"/>
                    <a:pt x="0" y="163"/>
                  </a:cubicBezTo>
                  <a:cubicBezTo>
                    <a:pt x="0" y="73"/>
                    <a:pt x="73" y="0"/>
                    <a:pt x="163" y="0"/>
                  </a:cubicBezTo>
                  <a:cubicBezTo>
                    <a:pt x="253" y="0"/>
                    <a:pt x="326" y="73"/>
                    <a:pt x="326" y="163"/>
                  </a:cubicBezTo>
                  <a:cubicBezTo>
                    <a:pt x="326" y="252"/>
                    <a:pt x="253" y="326"/>
                    <a:pt x="163" y="326"/>
                  </a:cubicBezTo>
                  <a:close/>
                  <a:moveTo>
                    <a:pt x="163" y="8"/>
                  </a:moveTo>
                  <a:cubicBezTo>
                    <a:pt x="78" y="8"/>
                    <a:pt x="9" y="77"/>
                    <a:pt x="9" y="163"/>
                  </a:cubicBezTo>
                  <a:cubicBezTo>
                    <a:pt x="9" y="248"/>
                    <a:pt x="78" y="317"/>
                    <a:pt x="163" y="317"/>
                  </a:cubicBezTo>
                  <a:cubicBezTo>
                    <a:pt x="249" y="317"/>
                    <a:pt x="318" y="248"/>
                    <a:pt x="318" y="163"/>
                  </a:cubicBezTo>
                  <a:cubicBezTo>
                    <a:pt x="318" y="77"/>
                    <a:pt x="249" y="8"/>
                    <a:pt x="163" y="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0" name="Freeform 137">
              <a:extLst>
                <a:ext uri="{FF2B5EF4-FFF2-40B4-BE49-F238E27FC236}">
                  <a16:creationId xmlns:a16="http://schemas.microsoft.com/office/drawing/2014/main" id="{9FF8609B-8C26-86DA-BBFF-438B9F6CC0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17365" y="1575294"/>
              <a:ext cx="187014" cy="181353"/>
            </a:xfrm>
            <a:custGeom>
              <a:avLst/>
              <a:gdLst>
                <a:gd name="T0" fmla="*/ 52 w 105"/>
                <a:gd name="T1" fmla="*/ 105 h 105"/>
                <a:gd name="T2" fmla="*/ 0 w 105"/>
                <a:gd name="T3" fmla="*/ 53 h 105"/>
                <a:gd name="T4" fmla="*/ 52 w 105"/>
                <a:gd name="T5" fmla="*/ 0 h 105"/>
                <a:gd name="T6" fmla="*/ 105 w 105"/>
                <a:gd name="T7" fmla="*/ 53 h 105"/>
                <a:gd name="T8" fmla="*/ 52 w 105"/>
                <a:gd name="T9" fmla="*/ 105 h 105"/>
                <a:gd name="T10" fmla="*/ 52 w 105"/>
                <a:gd name="T11" fmla="*/ 7 h 105"/>
                <a:gd name="T12" fmla="*/ 7 w 105"/>
                <a:gd name="T13" fmla="*/ 53 h 105"/>
                <a:gd name="T14" fmla="*/ 52 w 105"/>
                <a:gd name="T15" fmla="*/ 98 h 105"/>
                <a:gd name="T16" fmla="*/ 98 w 105"/>
                <a:gd name="T17" fmla="*/ 53 h 105"/>
                <a:gd name="T18" fmla="*/ 52 w 105"/>
                <a:gd name="T19" fmla="*/ 7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5" h="105">
                  <a:moveTo>
                    <a:pt x="52" y="105"/>
                  </a:moveTo>
                  <a:cubicBezTo>
                    <a:pt x="23" y="105"/>
                    <a:pt x="0" y="81"/>
                    <a:pt x="0" y="53"/>
                  </a:cubicBezTo>
                  <a:cubicBezTo>
                    <a:pt x="0" y="24"/>
                    <a:pt x="23" y="0"/>
                    <a:pt x="52" y="0"/>
                  </a:cubicBezTo>
                  <a:cubicBezTo>
                    <a:pt x="81" y="0"/>
                    <a:pt x="105" y="24"/>
                    <a:pt x="105" y="53"/>
                  </a:cubicBezTo>
                  <a:cubicBezTo>
                    <a:pt x="105" y="81"/>
                    <a:pt x="81" y="105"/>
                    <a:pt x="52" y="105"/>
                  </a:cubicBezTo>
                  <a:close/>
                  <a:moveTo>
                    <a:pt x="52" y="7"/>
                  </a:moveTo>
                  <a:cubicBezTo>
                    <a:pt x="27" y="7"/>
                    <a:pt x="7" y="27"/>
                    <a:pt x="7" y="53"/>
                  </a:cubicBezTo>
                  <a:cubicBezTo>
                    <a:pt x="7" y="78"/>
                    <a:pt x="27" y="98"/>
                    <a:pt x="52" y="98"/>
                  </a:cubicBezTo>
                  <a:cubicBezTo>
                    <a:pt x="77" y="98"/>
                    <a:pt x="98" y="78"/>
                    <a:pt x="98" y="53"/>
                  </a:cubicBezTo>
                  <a:cubicBezTo>
                    <a:pt x="98" y="27"/>
                    <a:pt x="77" y="7"/>
                    <a:pt x="52" y="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1" name="Freeform 138">
              <a:extLst>
                <a:ext uri="{FF2B5EF4-FFF2-40B4-BE49-F238E27FC236}">
                  <a16:creationId xmlns:a16="http://schemas.microsoft.com/office/drawing/2014/main" id="{8F0A9336-9BD3-0CC1-EE1B-AF779684A3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1051" y="1770508"/>
              <a:ext cx="358444" cy="103960"/>
            </a:xfrm>
            <a:custGeom>
              <a:avLst/>
              <a:gdLst>
                <a:gd name="T0" fmla="*/ 197 w 200"/>
                <a:gd name="T1" fmla="*/ 60 h 60"/>
                <a:gd name="T2" fmla="*/ 194 w 200"/>
                <a:gd name="T3" fmla="*/ 57 h 60"/>
                <a:gd name="T4" fmla="*/ 194 w 200"/>
                <a:gd name="T5" fmla="*/ 39 h 60"/>
                <a:gd name="T6" fmla="*/ 162 w 200"/>
                <a:gd name="T7" fmla="*/ 7 h 60"/>
                <a:gd name="T8" fmla="*/ 39 w 200"/>
                <a:gd name="T9" fmla="*/ 7 h 60"/>
                <a:gd name="T10" fmla="*/ 7 w 200"/>
                <a:gd name="T11" fmla="*/ 39 h 60"/>
                <a:gd name="T12" fmla="*/ 7 w 200"/>
                <a:gd name="T13" fmla="*/ 57 h 60"/>
                <a:gd name="T14" fmla="*/ 4 w 200"/>
                <a:gd name="T15" fmla="*/ 60 h 60"/>
                <a:gd name="T16" fmla="*/ 0 w 200"/>
                <a:gd name="T17" fmla="*/ 57 h 60"/>
                <a:gd name="T18" fmla="*/ 0 w 200"/>
                <a:gd name="T19" fmla="*/ 39 h 60"/>
                <a:gd name="T20" fmla="*/ 39 w 200"/>
                <a:gd name="T21" fmla="*/ 0 h 60"/>
                <a:gd name="T22" fmla="*/ 162 w 200"/>
                <a:gd name="T23" fmla="*/ 0 h 60"/>
                <a:gd name="T24" fmla="*/ 200 w 200"/>
                <a:gd name="T25" fmla="*/ 39 h 60"/>
                <a:gd name="T26" fmla="*/ 200 w 200"/>
                <a:gd name="T27" fmla="*/ 57 h 60"/>
                <a:gd name="T28" fmla="*/ 197 w 200"/>
                <a:gd name="T29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60">
                  <a:moveTo>
                    <a:pt x="197" y="60"/>
                  </a:moveTo>
                  <a:cubicBezTo>
                    <a:pt x="195" y="60"/>
                    <a:pt x="194" y="59"/>
                    <a:pt x="194" y="57"/>
                  </a:cubicBezTo>
                  <a:cubicBezTo>
                    <a:pt x="194" y="39"/>
                    <a:pt x="194" y="39"/>
                    <a:pt x="194" y="39"/>
                  </a:cubicBezTo>
                  <a:cubicBezTo>
                    <a:pt x="194" y="21"/>
                    <a:pt x="179" y="7"/>
                    <a:pt x="162" y="7"/>
                  </a:cubicBezTo>
                  <a:cubicBezTo>
                    <a:pt x="39" y="7"/>
                    <a:pt x="39" y="7"/>
                    <a:pt x="39" y="7"/>
                  </a:cubicBezTo>
                  <a:cubicBezTo>
                    <a:pt x="21" y="7"/>
                    <a:pt x="7" y="21"/>
                    <a:pt x="7" y="39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7" y="59"/>
                    <a:pt x="5" y="60"/>
                    <a:pt x="4" y="60"/>
                  </a:cubicBezTo>
                  <a:cubicBezTo>
                    <a:pt x="2" y="60"/>
                    <a:pt x="0" y="59"/>
                    <a:pt x="0" y="57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8"/>
                    <a:pt x="17" y="0"/>
                    <a:pt x="39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83" y="0"/>
                    <a:pt x="200" y="18"/>
                    <a:pt x="200" y="39"/>
                  </a:cubicBezTo>
                  <a:cubicBezTo>
                    <a:pt x="200" y="57"/>
                    <a:pt x="200" y="57"/>
                    <a:pt x="200" y="57"/>
                  </a:cubicBezTo>
                  <a:cubicBezTo>
                    <a:pt x="200" y="59"/>
                    <a:pt x="199" y="60"/>
                    <a:pt x="197" y="6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2" name="Rectangle 139">
              <a:extLst>
                <a:ext uri="{FF2B5EF4-FFF2-40B4-BE49-F238E27FC236}">
                  <a16:creationId xmlns:a16="http://schemas.microsoft.com/office/drawing/2014/main" id="{EB4D2B7A-5522-FE97-CD58-06691FE72B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02480" y="1806316"/>
              <a:ext cx="16783" cy="1617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3" name="Freeform 140">
              <a:extLst>
                <a:ext uri="{FF2B5EF4-FFF2-40B4-BE49-F238E27FC236}">
                  <a16:creationId xmlns:a16="http://schemas.microsoft.com/office/drawing/2014/main" id="{B5E3D895-C94A-5EE5-3524-946DFEA59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01282" y="1805161"/>
              <a:ext cx="19181" cy="18482"/>
            </a:xfrm>
            <a:custGeom>
              <a:avLst/>
              <a:gdLst>
                <a:gd name="T0" fmla="*/ 10 w 11"/>
                <a:gd name="T1" fmla="*/ 11 h 11"/>
                <a:gd name="T2" fmla="*/ 1 w 11"/>
                <a:gd name="T3" fmla="*/ 11 h 11"/>
                <a:gd name="T4" fmla="*/ 0 w 11"/>
                <a:gd name="T5" fmla="*/ 10 h 11"/>
                <a:gd name="T6" fmla="*/ 0 w 11"/>
                <a:gd name="T7" fmla="*/ 1 h 11"/>
                <a:gd name="T8" fmla="*/ 1 w 11"/>
                <a:gd name="T9" fmla="*/ 0 h 11"/>
                <a:gd name="T10" fmla="*/ 10 w 11"/>
                <a:gd name="T11" fmla="*/ 0 h 11"/>
                <a:gd name="T12" fmla="*/ 11 w 11"/>
                <a:gd name="T13" fmla="*/ 1 h 11"/>
                <a:gd name="T14" fmla="*/ 11 w 11"/>
                <a:gd name="T15" fmla="*/ 10 h 11"/>
                <a:gd name="T16" fmla="*/ 10 w 11"/>
                <a:gd name="T17" fmla="*/ 11 h 11"/>
                <a:gd name="T18" fmla="*/ 2 w 11"/>
                <a:gd name="T19" fmla="*/ 9 h 11"/>
                <a:gd name="T20" fmla="*/ 9 w 11"/>
                <a:gd name="T21" fmla="*/ 9 h 11"/>
                <a:gd name="T22" fmla="*/ 9 w 11"/>
                <a:gd name="T23" fmla="*/ 2 h 11"/>
                <a:gd name="T24" fmla="*/ 2 w 11"/>
                <a:gd name="T25" fmla="*/ 2 h 11"/>
                <a:gd name="T26" fmla="*/ 2 w 11"/>
                <a:gd name="T27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" h="11">
                  <a:moveTo>
                    <a:pt x="10" y="11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0" y="11"/>
                    <a:pt x="0" y="10"/>
                    <a:pt x="0" y="1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0" y="11"/>
                    <a:pt x="10" y="11"/>
                  </a:cubicBezTo>
                  <a:close/>
                  <a:moveTo>
                    <a:pt x="2" y="9"/>
                  </a:moveTo>
                  <a:cubicBezTo>
                    <a:pt x="9" y="9"/>
                    <a:pt x="9" y="9"/>
                    <a:pt x="9" y="9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2" y="2"/>
                    <a:pt x="2" y="2"/>
                    <a:pt x="2" y="2"/>
                  </a:cubicBezTo>
                  <a:lnTo>
                    <a:pt x="2" y="9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4" name="Freeform 141">
              <a:extLst>
                <a:ext uri="{FF2B5EF4-FFF2-40B4-BE49-F238E27FC236}">
                  <a16:creationId xmlns:a16="http://schemas.microsoft.com/office/drawing/2014/main" id="{2BFB98D2-4F01-04FE-990D-ED89FA92C0C6}"/>
                </a:ext>
              </a:extLst>
            </p:cNvPr>
            <p:cNvSpPr>
              <a:spLocks/>
            </p:cNvSpPr>
            <p:nvPr/>
          </p:nvSpPr>
          <p:spPr bwMode="auto">
            <a:xfrm>
              <a:off x="5584498" y="1832884"/>
              <a:ext cx="52748" cy="144389"/>
            </a:xfrm>
            <a:custGeom>
              <a:avLst/>
              <a:gdLst>
                <a:gd name="T0" fmla="*/ 10 w 29"/>
                <a:gd name="T1" fmla="*/ 0 h 84"/>
                <a:gd name="T2" fmla="*/ 19 w 29"/>
                <a:gd name="T3" fmla="*/ 0 h 84"/>
                <a:gd name="T4" fmla="*/ 29 w 29"/>
                <a:gd name="T5" fmla="*/ 69 h 84"/>
                <a:gd name="T6" fmla="*/ 17 w 29"/>
                <a:gd name="T7" fmla="*/ 82 h 84"/>
                <a:gd name="T8" fmla="*/ 11 w 29"/>
                <a:gd name="T9" fmla="*/ 82 h 84"/>
                <a:gd name="T10" fmla="*/ 0 w 29"/>
                <a:gd name="T11" fmla="*/ 69 h 84"/>
                <a:gd name="T12" fmla="*/ 10 w 29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84">
                  <a:moveTo>
                    <a:pt x="10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6" y="84"/>
                    <a:pt x="13" y="84"/>
                    <a:pt x="11" y="82"/>
                  </a:cubicBezTo>
                  <a:cubicBezTo>
                    <a:pt x="0" y="69"/>
                    <a:pt x="0" y="69"/>
                    <a:pt x="0" y="69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5" name="Freeform 142">
              <a:extLst>
                <a:ext uri="{FF2B5EF4-FFF2-40B4-BE49-F238E27FC236}">
                  <a16:creationId xmlns:a16="http://schemas.microsoft.com/office/drawing/2014/main" id="{6E03BD5D-752E-394F-810F-0BAADACBA4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583299" y="1830573"/>
              <a:ext cx="55145" cy="146699"/>
            </a:xfrm>
            <a:custGeom>
              <a:avLst/>
              <a:gdLst>
                <a:gd name="T0" fmla="*/ 15 w 31"/>
                <a:gd name="T1" fmla="*/ 85 h 85"/>
                <a:gd name="T2" fmla="*/ 15 w 31"/>
                <a:gd name="T3" fmla="*/ 85 h 85"/>
                <a:gd name="T4" fmla="*/ 11 w 31"/>
                <a:gd name="T5" fmla="*/ 83 h 85"/>
                <a:gd name="T6" fmla="*/ 0 w 31"/>
                <a:gd name="T7" fmla="*/ 71 h 85"/>
                <a:gd name="T8" fmla="*/ 0 w 31"/>
                <a:gd name="T9" fmla="*/ 70 h 85"/>
                <a:gd name="T10" fmla="*/ 10 w 31"/>
                <a:gd name="T11" fmla="*/ 1 h 85"/>
                <a:gd name="T12" fmla="*/ 11 w 31"/>
                <a:gd name="T13" fmla="*/ 0 h 85"/>
                <a:gd name="T14" fmla="*/ 20 w 31"/>
                <a:gd name="T15" fmla="*/ 0 h 85"/>
                <a:gd name="T16" fmla="*/ 21 w 31"/>
                <a:gd name="T17" fmla="*/ 1 h 85"/>
                <a:gd name="T18" fmla="*/ 31 w 31"/>
                <a:gd name="T19" fmla="*/ 70 h 85"/>
                <a:gd name="T20" fmla="*/ 31 w 31"/>
                <a:gd name="T21" fmla="*/ 71 h 85"/>
                <a:gd name="T22" fmla="*/ 19 w 31"/>
                <a:gd name="T23" fmla="*/ 83 h 85"/>
                <a:gd name="T24" fmla="*/ 15 w 31"/>
                <a:gd name="T25" fmla="*/ 85 h 85"/>
                <a:gd name="T26" fmla="*/ 2 w 31"/>
                <a:gd name="T27" fmla="*/ 70 h 85"/>
                <a:gd name="T28" fmla="*/ 13 w 31"/>
                <a:gd name="T29" fmla="*/ 82 h 85"/>
                <a:gd name="T30" fmla="*/ 15 w 31"/>
                <a:gd name="T31" fmla="*/ 83 h 85"/>
                <a:gd name="T32" fmla="*/ 15 w 31"/>
                <a:gd name="T33" fmla="*/ 83 h 85"/>
                <a:gd name="T34" fmla="*/ 18 w 31"/>
                <a:gd name="T35" fmla="*/ 82 h 85"/>
                <a:gd name="T36" fmla="*/ 29 w 31"/>
                <a:gd name="T37" fmla="*/ 70 h 85"/>
                <a:gd name="T38" fmla="*/ 19 w 31"/>
                <a:gd name="T39" fmla="*/ 2 h 85"/>
                <a:gd name="T40" fmla="*/ 12 w 31"/>
                <a:gd name="T41" fmla="*/ 2 h 85"/>
                <a:gd name="T42" fmla="*/ 2 w 31"/>
                <a:gd name="T43" fmla="*/ 7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1" h="85">
                  <a:moveTo>
                    <a:pt x="15" y="85"/>
                  </a:moveTo>
                  <a:cubicBezTo>
                    <a:pt x="15" y="85"/>
                    <a:pt x="15" y="85"/>
                    <a:pt x="15" y="85"/>
                  </a:cubicBezTo>
                  <a:cubicBezTo>
                    <a:pt x="14" y="85"/>
                    <a:pt x="12" y="84"/>
                    <a:pt x="11" y="83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0" y="71"/>
                    <a:pt x="0" y="71"/>
                    <a:pt x="0" y="70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0"/>
                    <a:pt x="10" y="0"/>
                    <a:pt x="11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1" y="0"/>
                    <a:pt x="21" y="1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8" y="84"/>
                    <a:pt x="17" y="85"/>
                    <a:pt x="15" y="85"/>
                  </a:cubicBezTo>
                  <a:close/>
                  <a:moveTo>
                    <a:pt x="2" y="70"/>
                  </a:moveTo>
                  <a:cubicBezTo>
                    <a:pt x="13" y="82"/>
                    <a:pt x="13" y="82"/>
                    <a:pt x="13" y="82"/>
                  </a:cubicBezTo>
                  <a:cubicBezTo>
                    <a:pt x="13" y="83"/>
                    <a:pt x="14" y="83"/>
                    <a:pt x="15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6" y="83"/>
                    <a:pt x="17" y="83"/>
                    <a:pt x="18" y="82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2" y="2"/>
                    <a:pt x="12" y="2"/>
                    <a:pt x="12" y="2"/>
                  </a:cubicBezTo>
                  <a:lnTo>
                    <a:pt x="2" y="7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6" name="Freeform 143">
              <a:extLst>
                <a:ext uri="{FF2B5EF4-FFF2-40B4-BE49-F238E27FC236}">
                  <a16:creationId xmlns:a16="http://schemas.microsoft.com/office/drawing/2014/main" id="{B8A79447-187E-3EFB-E4C1-C485A8BB8E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4409" y="1861762"/>
              <a:ext cx="58742" cy="12707"/>
            </a:xfrm>
            <a:custGeom>
              <a:avLst/>
              <a:gdLst>
                <a:gd name="T0" fmla="*/ 30 w 33"/>
                <a:gd name="T1" fmla="*/ 7 h 7"/>
                <a:gd name="T2" fmla="*/ 3 w 33"/>
                <a:gd name="T3" fmla="*/ 7 h 7"/>
                <a:gd name="T4" fmla="*/ 0 w 33"/>
                <a:gd name="T5" fmla="*/ 4 h 7"/>
                <a:gd name="T6" fmla="*/ 3 w 33"/>
                <a:gd name="T7" fmla="*/ 0 h 7"/>
                <a:gd name="T8" fmla="*/ 30 w 33"/>
                <a:gd name="T9" fmla="*/ 0 h 7"/>
                <a:gd name="T10" fmla="*/ 33 w 33"/>
                <a:gd name="T11" fmla="*/ 4 h 7"/>
                <a:gd name="T12" fmla="*/ 30 w 33"/>
                <a:gd name="T13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7">
                  <a:moveTo>
                    <a:pt x="30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1" y="7"/>
                    <a:pt x="0" y="6"/>
                    <a:pt x="0" y="4"/>
                  </a:cubicBezTo>
                  <a:cubicBezTo>
                    <a:pt x="0" y="2"/>
                    <a:pt x="1" y="0"/>
                    <a:pt x="3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2" y="0"/>
                    <a:pt x="33" y="2"/>
                    <a:pt x="33" y="4"/>
                  </a:cubicBezTo>
                  <a:cubicBezTo>
                    <a:pt x="33" y="6"/>
                    <a:pt x="32" y="7"/>
                    <a:pt x="30" y="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grpSp>
        <p:nvGrpSpPr>
          <p:cNvPr id="107" name="Gruppo 106">
            <a:extLst>
              <a:ext uri="{FF2B5EF4-FFF2-40B4-BE49-F238E27FC236}">
                <a16:creationId xmlns:a16="http://schemas.microsoft.com/office/drawing/2014/main" id="{7B8C616A-F5BF-BC89-2482-13A628988F21}"/>
              </a:ext>
            </a:extLst>
          </p:cNvPr>
          <p:cNvGrpSpPr/>
          <p:nvPr/>
        </p:nvGrpSpPr>
        <p:grpSpPr>
          <a:xfrm>
            <a:off x="8866825" y="2522906"/>
            <a:ext cx="720000" cy="720000"/>
            <a:chOff x="6316969" y="5301679"/>
            <a:chExt cx="583819" cy="563694"/>
          </a:xfrm>
        </p:grpSpPr>
        <p:sp>
          <p:nvSpPr>
            <p:cNvPr id="108" name="Freeform 161">
              <a:extLst>
                <a:ext uri="{FF2B5EF4-FFF2-40B4-BE49-F238E27FC236}">
                  <a16:creationId xmlns:a16="http://schemas.microsoft.com/office/drawing/2014/main" id="{53C392EE-9C1E-095E-7E34-3410569A1C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16969" y="5301679"/>
              <a:ext cx="583819" cy="563694"/>
            </a:xfrm>
            <a:custGeom>
              <a:avLst/>
              <a:gdLst>
                <a:gd name="T0" fmla="*/ 163 w 326"/>
                <a:gd name="T1" fmla="*/ 326 h 326"/>
                <a:gd name="T2" fmla="*/ 0 w 326"/>
                <a:gd name="T3" fmla="*/ 163 h 326"/>
                <a:gd name="T4" fmla="*/ 163 w 326"/>
                <a:gd name="T5" fmla="*/ 0 h 326"/>
                <a:gd name="T6" fmla="*/ 326 w 326"/>
                <a:gd name="T7" fmla="*/ 163 h 326"/>
                <a:gd name="T8" fmla="*/ 163 w 326"/>
                <a:gd name="T9" fmla="*/ 326 h 326"/>
                <a:gd name="T10" fmla="*/ 163 w 326"/>
                <a:gd name="T11" fmla="*/ 9 h 326"/>
                <a:gd name="T12" fmla="*/ 8 w 326"/>
                <a:gd name="T13" fmla="*/ 163 h 326"/>
                <a:gd name="T14" fmla="*/ 163 w 326"/>
                <a:gd name="T15" fmla="*/ 318 h 326"/>
                <a:gd name="T16" fmla="*/ 317 w 326"/>
                <a:gd name="T17" fmla="*/ 163 h 326"/>
                <a:gd name="T18" fmla="*/ 163 w 326"/>
                <a:gd name="T19" fmla="*/ 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6" h="326">
                  <a:moveTo>
                    <a:pt x="163" y="326"/>
                  </a:moveTo>
                  <a:cubicBezTo>
                    <a:pt x="73" y="326"/>
                    <a:pt x="0" y="253"/>
                    <a:pt x="0" y="163"/>
                  </a:cubicBezTo>
                  <a:cubicBezTo>
                    <a:pt x="0" y="73"/>
                    <a:pt x="73" y="0"/>
                    <a:pt x="163" y="0"/>
                  </a:cubicBezTo>
                  <a:cubicBezTo>
                    <a:pt x="252" y="0"/>
                    <a:pt x="326" y="73"/>
                    <a:pt x="326" y="163"/>
                  </a:cubicBezTo>
                  <a:cubicBezTo>
                    <a:pt x="326" y="253"/>
                    <a:pt x="252" y="326"/>
                    <a:pt x="163" y="326"/>
                  </a:cubicBezTo>
                  <a:close/>
                  <a:moveTo>
                    <a:pt x="163" y="9"/>
                  </a:moveTo>
                  <a:cubicBezTo>
                    <a:pt x="77" y="9"/>
                    <a:pt x="8" y="78"/>
                    <a:pt x="8" y="163"/>
                  </a:cubicBezTo>
                  <a:cubicBezTo>
                    <a:pt x="8" y="248"/>
                    <a:pt x="77" y="318"/>
                    <a:pt x="163" y="318"/>
                  </a:cubicBezTo>
                  <a:cubicBezTo>
                    <a:pt x="248" y="318"/>
                    <a:pt x="317" y="248"/>
                    <a:pt x="317" y="163"/>
                  </a:cubicBezTo>
                  <a:cubicBezTo>
                    <a:pt x="317" y="78"/>
                    <a:pt x="248" y="9"/>
                    <a:pt x="163" y="9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09" name="Oval 162">
              <a:extLst>
                <a:ext uri="{FF2B5EF4-FFF2-40B4-BE49-F238E27FC236}">
                  <a16:creationId xmlns:a16="http://schemas.microsoft.com/office/drawing/2014/main" id="{8E479413-BE99-EFD8-EC8D-D1F201E0C4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05182" y="5618179"/>
              <a:ext cx="16783" cy="1501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10" name="Oval 163">
              <a:extLst>
                <a:ext uri="{FF2B5EF4-FFF2-40B4-BE49-F238E27FC236}">
                  <a16:creationId xmlns:a16="http://schemas.microsoft.com/office/drawing/2014/main" id="{D27763E3-45E8-1B55-C0EB-654B2DA86E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29158" y="5618179"/>
              <a:ext cx="15585" cy="1501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11" name="Oval 164">
              <a:extLst>
                <a:ext uri="{FF2B5EF4-FFF2-40B4-BE49-F238E27FC236}">
                  <a16:creationId xmlns:a16="http://schemas.microsoft.com/office/drawing/2014/main" id="{095872C0-A67B-03A4-D0E3-BD75A12C1B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51935" y="5618179"/>
              <a:ext cx="15585" cy="1501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12" name="Freeform 165">
              <a:extLst>
                <a:ext uri="{FF2B5EF4-FFF2-40B4-BE49-F238E27FC236}">
                  <a16:creationId xmlns:a16="http://schemas.microsoft.com/office/drawing/2014/main" id="{9367D258-1AC6-D461-2F60-5C8C5F220B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33954" y="5513064"/>
              <a:ext cx="44356" cy="48515"/>
            </a:xfrm>
            <a:custGeom>
              <a:avLst/>
              <a:gdLst>
                <a:gd name="T0" fmla="*/ 1 w 25"/>
                <a:gd name="T1" fmla="*/ 28 h 28"/>
                <a:gd name="T2" fmla="*/ 1 w 25"/>
                <a:gd name="T3" fmla="*/ 28 h 28"/>
                <a:gd name="T4" fmla="*/ 0 w 25"/>
                <a:gd name="T5" fmla="*/ 26 h 28"/>
                <a:gd name="T6" fmla="*/ 0 w 25"/>
                <a:gd name="T7" fmla="*/ 2 h 28"/>
                <a:gd name="T8" fmla="*/ 1 w 25"/>
                <a:gd name="T9" fmla="*/ 1 h 28"/>
                <a:gd name="T10" fmla="*/ 2 w 25"/>
                <a:gd name="T11" fmla="*/ 0 h 28"/>
                <a:gd name="T12" fmla="*/ 24 w 25"/>
                <a:gd name="T13" fmla="*/ 14 h 28"/>
                <a:gd name="T14" fmla="*/ 24 w 25"/>
                <a:gd name="T15" fmla="*/ 15 h 28"/>
                <a:gd name="T16" fmla="*/ 24 w 25"/>
                <a:gd name="T17" fmla="*/ 16 h 28"/>
                <a:gd name="T18" fmla="*/ 2 w 25"/>
                <a:gd name="T19" fmla="*/ 28 h 28"/>
                <a:gd name="T20" fmla="*/ 1 w 25"/>
                <a:gd name="T21" fmla="*/ 28 h 28"/>
                <a:gd name="T22" fmla="*/ 3 w 25"/>
                <a:gd name="T23" fmla="*/ 3 h 28"/>
                <a:gd name="T24" fmla="*/ 3 w 25"/>
                <a:gd name="T25" fmla="*/ 24 h 28"/>
                <a:gd name="T26" fmla="*/ 21 w 25"/>
                <a:gd name="T27" fmla="*/ 14 h 28"/>
                <a:gd name="T28" fmla="*/ 3 w 25"/>
                <a:gd name="T29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5" h="28">
                  <a:moveTo>
                    <a:pt x="1" y="28"/>
                  </a:moveTo>
                  <a:cubicBezTo>
                    <a:pt x="1" y="28"/>
                    <a:pt x="1" y="28"/>
                    <a:pt x="1" y="28"/>
                  </a:cubicBezTo>
                  <a:cubicBezTo>
                    <a:pt x="0" y="27"/>
                    <a:pt x="0" y="27"/>
                    <a:pt x="0" y="26"/>
                  </a:cubicBezTo>
                  <a:cubicBezTo>
                    <a:pt x="0" y="26"/>
                    <a:pt x="1" y="10"/>
                    <a:pt x="0" y="2"/>
                  </a:cubicBezTo>
                  <a:cubicBezTo>
                    <a:pt x="0" y="1"/>
                    <a:pt x="1" y="1"/>
                    <a:pt x="1" y="1"/>
                  </a:cubicBezTo>
                  <a:cubicBezTo>
                    <a:pt x="1" y="0"/>
                    <a:pt x="1" y="0"/>
                    <a:pt x="2" y="0"/>
                  </a:cubicBezTo>
                  <a:cubicBezTo>
                    <a:pt x="11" y="0"/>
                    <a:pt x="20" y="6"/>
                    <a:pt x="24" y="14"/>
                  </a:cubicBezTo>
                  <a:cubicBezTo>
                    <a:pt x="25" y="14"/>
                    <a:pt x="25" y="14"/>
                    <a:pt x="24" y="15"/>
                  </a:cubicBezTo>
                  <a:cubicBezTo>
                    <a:pt x="24" y="15"/>
                    <a:pt x="24" y="15"/>
                    <a:pt x="24" y="16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1" y="28"/>
                  </a:cubicBezTo>
                  <a:close/>
                  <a:moveTo>
                    <a:pt x="3" y="3"/>
                  </a:moveTo>
                  <a:cubicBezTo>
                    <a:pt x="3" y="9"/>
                    <a:pt x="3" y="19"/>
                    <a:pt x="3" y="2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17" y="8"/>
                    <a:pt x="11" y="4"/>
                    <a:pt x="3" y="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13" name="Freeform 166">
              <a:extLst>
                <a:ext uri="{FF2B5EF4-FFF2-40B4-BE49-F238E27FC236}">
                  <a16:creationId xmlns:a16="http://schemas.microsoft.com/office/drawing/2014/main" id="{A77BE021-61EE-8C82-6FFD-82DEBEED281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1585" y="5524615"/>
              <a:ext cx="69531" cy="66996"/>
            </a:xfrm>
            <a:custGeom>
              <a:avLst/>
              <a:gdLst>
                <a:gd name="T0" fmla="*/ 19 w 39"/>
                <a:gd name="T1" fmla="*/ 19 h 39"/>
                <a:gd name="T2" fmla="*/ 20 w 39"/>
                <a:gd name="T3" fmla="*/ 0 h 39"/>
                <a:gd name="T4" fmla="*/ 19 w 39"/>
                <a:gd name="T5" fmla="*/ 0 h 39"/>
                <a:gd name="T6" fmla="*/ 0 w 39"/>
                <a:gd name="T7" fmla="*/ 19 h 39"/>
                <a:gd name="T8" fmla="*/ 19 w 39"/>
                <a:gd name="T9" fmla="*/ 39 h 39"/>
                <a:gd name="T10" fmla="*/ 39 w 39"/>
                <a:gd name="T11" fmla="*/ 19 h 39"/>
                <a:gd name="T12" fmla="*/ 36 w 39"/>
                <a:gd name="T13" fmla="*/ 10 h 39"/>
                <a:gd name="T14" fmla="*/ 19 w 39"/>
                <a:gd name="T15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9">
                  <a:moveTo>
                    <a:pt x="19" y="19"/>
                  </a:moveTo>
                  <a:cubicBezTo>
                    <a:pt x="19" y="19"/>
                    <a:pt x="20" y="6"/>
                    <a:pt x="20" y="0"/>
                  </a:cubicBezTo>
                  <a:cubicBezTo>
                    <a:pt x="20" y="0"/>
                    <a:pt x="19" y="0"/>
                    <a:pt x="19" y="0"/>
                  </a:cubicBezTo>
                  <a:cubicBezTo>
                    <a:pt x="9" y="0"/>
                    <a:pt x="0" y="9"/>
                    <a:pt x="0" y="19"/>
                  </a:cubicBezTo>
                  <a:cubicBezTo>
                    <a:pt x="0" y="30"/>
                    <a:pt x="9" y="39"/>
                    <a:pt x="19" y="39"/>
                  </a:cubicBezTo>
                  <a:cubicBezTo>
                    <a:pt x="30" y="39"/>
                    <a:pt x="39" y="30"/>
                    <a:pt x="39" y="19"/>
                  </a:cubicBezTo>
                  <a:cubicBezTo>
                    <a:pt x="39" y="16"/>
                    <a:pt x="38" y="13"/>
                    <a:pt x="36" y="10"/>
                  </a:cubicBezTo>
                  <a:lnTo>
                    <a:pt x="19" y="19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14" name="Freeform 167">
              <a:extLst>
                <a:ext uri="{FF2B5EF4-FFF2-40B4-BE49-F238E27FC236}">
                  <a16:creationId xmlns:a16="http://schemas.microsoft.com/office/drawing/2014/main" id="{703C555F-FDBB-395D-62D2-228736A2D2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97989" y="5523460"/>
              <a:ext cx="75525" cy="70462"/>
            </a:xfrm>
            <a:custGeom>
              <a:avLst/>
              <a:gdLst>
                <a:gd name="T0" fmla="*/ 21 w 42"/>
                <a:gd name="T1" fmla="*/ 41 h 41"/>
                <a:gd name="T2" fmla="*/ 0 w 42"/>
                <a:gd name="T3" fmla="*/ 20 h 41"/>
                <a:gd name="T4" fmla="*/ 21 w 42"/>
                <a:gd name="T5" fmla="*/ 0 h 41"/>
                <a:gd name="T6" fmla="*/ 22 w 42"/>
                <a:gd name="T7" fmla="*/ 0 h 41"/>
                <a:gd name="T8" fmla="*/ 23 w 42"/>
                <a:gd name="T9" fmla="*/ 1 h 41"/>
                <a:gd name="T10" fmla="*/ 23 w 42"/>
                <a:gd name="T11" fmla="*/ 18 h 41"/>
                <a:gd name="T12" fmla="*/ 38 w 42"/>
                <a:gd name="T13" fmla="*/ 10 h 41"/>
                <a:gd name="T14" fmla="*/ 40 w 42"/>
                <a:gd name="T15" fmla="*/ 10 h 41"/>
                <a:gd name="T16" fmla="*/ 42 w 42"/>
                <a:gd name="T17" fmla="*/ 20 h 41"/>
                <a:gd name="T18" fmla="*/ 21 w 42"/>
                <a:gd name="T19" fmla="*/ 41 h 41"/>
                <a:gd name="T20" fmla="*/ 20 w 42"/>
                <a:gd name="T21" fmla="*/ 2 h 41"/>
                <a:gd name="T22" fmla="*/ 3 w 42"/>
                <a:gd name="T23" fmla="*/ 20 h 41"/>
                <a:gd name="T24" fmla="*/ 21 w 42"/>
                <a:gd name="T25" fmla="*/ 38 h 41"/>
                <a:gd name="T26" fmla="*/ 39 w 42"/>
                <a:gd name="T27" fmla="*/ 20 h 41"/>
                <a:gd name="T28" fmla="*/ 38 w 42"/>
                <a:gd name="T29" fmla="*/ 13 h 41"/>
                <a:gd name="T30" fmla="*/ 22 w 42"/>
                <a:gd name="T31" fmla="*/ 22 h 41"/>
                <a:gd name="T32" fmla="*/ 21 w 42"/>
                <a:gd name="T33" fmla="*/ 22 h 41"/>
                <a:gd name="T34" fmla="*/ 20 w 42"/>
                <a:gd name="T35" fmla="*/ 20 h 41"/>
                <a:gd name="T36" fmla="*/ 20 w 42"/>
                <a:gd name="T37" fmla="*/ 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2" h="41">
                  <a:moveTo>
                    <a:pt x="21" y="41"/>
                  </a:moveTo>
                  <a:cubicBezTo>
                    <a:pt x="10" y="41"/>
                    <a:pt x="0" y="32"/>
                    <a:pt x="0" y="20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21" y="0"/>
                    <a:pt x="22" y="0"/>
                    <a:pt x="22" y="0"/>
                  </a:cubicBezTo>
                  <a:cubicBezTo>
                    <a:pt x="22" y="0"/>
                    <a:pt x="23" y="0"/>
                    <a:pt x="23" y="1"/>
                  </a:cubicBezTo>
                  <a:cubicBezTo>
                    <a:pt x="23" y="6"/>
                    <a:pt x="23" y="14"/>
                    <a:pt x="23" y="18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9"/>
                    <a:pt x="39" y="10"/>
                    <a:pt x="40" y="10"/>
                  </a:cubicBezTo>
                  <a:cubicBezTo>
                    <a:pt x="41" y="13"/>
                    <a:pt x="42" y="17"/>
                    <a:pt x="42" y="20"/>
                  </a:cubicBezTo>
                  <a:cubicBezTo>
                    <a:pt x="42" y="32"/>
                    <a:pt x="33" y="41"/>
                    <a:pt x="21" y="41"/>
                  </a:cubicBezTo>
                  <a:close/>
                  <a:moveTo>
                    <a:pt x="20" y="2"/>
                  </a:moveTo>
                  <a:cubicBezTo>
                    <a:pt x="11" y="3"/>
                    <a:pt x="3" y="11"/>
                    <a:pt x="3" y="20"/>
                  </a:cubicBezTo>
                  <a:cubicBezTo>
                    <a:pt x="3" y="30"/>
                    <a:pt x="11" y="38"/>
                    <a:pt x="21" y="38"/>
                  </a:cubicBezTo>
                  <a:cubicBezTo>
                    <a:pt x="31" y="38"/>
                    <a:pt x="39" y="30"/>
                    <a:pt x="39" y="20"/>
                  </a:cubicBezTo>
                  <a:cubicBezTo>
                    <a:pt x="39" y="18"/>
                    <a:pt x="39" y="15"/>
                    <a:pt x="38" y="13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22" y="22"/>
                    <a:pt x="21" y="22"/>
                    <a:pt x="21" y="22"/>
                  </a:cubicBezTo>
                  <a:cubicBezTo>
                    <a:pt x="20" y="21"/>
                    <a:pt x="20" y="21"/>
                    <a:pt x="20" y="20"/>
                  </a:cubicBezTo>
                  <a:cubicBezTo>
                    <a:pt x="20" y="20"/>
                    <a:pt x="20" y="9"/>
                    <a:pt x="20" y="2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15" name="Freeform 168">
              <a:extLst>
                <a:ext uri="{FF2B5EF4-FFF2-40B4-BE49-F238E27FC236}">
                  <a16:creationId xmlns:a16="http://schemas.microsoft.com/office/drawing/2014/main" id="{16E601DE-186F-06FB-162C-5C768511E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1846" y="5521150"/>
              <a:ext cx="77923" cy="6931"/>
            </a:xfrm>
            <a:custGeom>
              <a:avLst/>
              <a:gdLst>
                <a:gd name="T0" fmla="*/ 41 w 44"/>
                <a:gd name="T1" fmla="*/ 4 h 4"/>
                <a:gd name="T2" fmla="*/ 3 w 44"/>
                <a:gd name="T3" fmla="*/ 4 h 4"/>
                <a:gd name="T4" fmla="*/ 0 w 44"/>
                <a:gd name="T5" fmla="*/ 2 h 4"/>
                <a:gd name="T6" fmla="*/ 3 w 44"/>
                <a:gd name="T7" fmla="*/ 0 h 4"/>
                <a:gd name="T8" fmla="*/ 41 w 44"/>
                <a:gd name="T9" fmla="*/ 0 h 4"/>
                <a:gd name="T10" fmla="*/ 44 w 44"/>
                <a:gd name="T11" fmla="*/ 2 h 4"/>
                <a:gd name="T12" fmla="*/ 41 w 44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">
                  <a:moveTo>
                    <a:pt x="41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3" y="0"/>
                    <a:pt x="44" y="1"/>
                    <a:pt x="44" y="2"/>
                  </a:cubicBezTo>
                  <a:cubicBezTo>
                    <a:pt x="44" y="3"/>
                    <a:pt x="43" y="4"/>
                    <a:pt x="41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16" name="Freeform 169">
              <a:extLst>
                <a:ext uri="{FF2B5EF4-FFF2-40B4-BE49-F238E27FC236}">
                  <a16:creationId xmlns:a16="http://schemas.microsoft.com/office/drawing/2014/main" id="{4BC64D2C-4B27-F077-FE9F-DC92B996B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1846" y="5597387"/>
              <a:ext cx="77923" cy="6931"/>
            </a:xfrm>
            <a:custGeom>
              <a:avLst/>
              <a:gdLst>
                <a:gd name="T0" fmla="*/ 41 w 44"/>
                <a:gd name="T1" fmla="*/ 4 h 4"/>
                <a:gd name="T2" fmla="*/ 3 w 44"/>
                <a:gd name="T3" fmla="*/ 4 h 4"/>
                <a:gd name="T4" fmla="*/ 0 w 44"/>
                <a:gd name="T5" fmla="*/ 2 h 4"/>
                <a:gd name="T6" fmla="*/ 3 w 44"/>
                <a:gd name="T7" fmla="*/ 0 h 4"/>
                <a:gd name="T8" fmla="*/ 41 w 44"/>
                <a:gd name="T9" fmla="*/ 0 h 4"/>
                <a:gd name="T10" fmla="*/ 44 w 44"/>
                <a:gd name="T11" fmla="*/ 2 h 4"/>
                <a:gd name="T12" fmla="*/ 41 w 44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4">
                  <a:moveTo>
                    <a:pt x="41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43" y="0"/>
                    <a:pt x="44" y="1"/>
                    <a:pt x="44" y="2"/>
                  </a:cubicBezTo>
                  <a:cubicBezTo>
                    <a:pt x="44" y="3"/>
                    <a:pt x="43" y="4"/>
                    <a:pt x="41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17" name="Freeform 170">
              <a:extLst>
                <a:ext uri="{FF2B5EF4-FFF2-40B4-BE49-F238E27FC236}">
                  <a16:creationId xmlns:a16="http://schemas.microsoft.com/office/drawing/2014/main" id="{97F89729-90B0-BC32-3D8E-87FEB35BC98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16671" y="5571975"/>
              <a:ext cx="103097" cy="5776"/>
            </a:xfrm>
            <a:custGeom>
              <a:avLst/>
              <a:gdLst>
                <a:gd name="T0" fmla="*/ 55 w 58"/>
                <a:gd name="T1" fmla="*/ 4 h 4"/>
                <a:gd name="T2" fmla="*/ 3 w 58"/>
                <a:gd name="T3" fmla="*/ 4 h 4"/>
                <a:gd name="T4" fmla="*/ 0 w 58"/>
                <a:gd name="T5" fmla="*/ 2 h 4"/>
                <a:gd name="T6" fmla="*/ 3 w 58"/>
                <a:gd name="T7" fmla="*/ 0 h 4"/>
                <a:gd name="T8" fmla="*/ 55 w 58"/>
                <a:gd name="T9" fmla="*/ 0 h 4"/>
                <a:gd name="T10" fmla="*/ 58 w 58"/>
                <a:gd name="T11" fmla="*/ 2 h 4"/>
                <a:gd name="T12" fmla="*/ 55 w 58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4">
                  <a:moveTo>
                    <a:pt x="55" y="4"/>
                  </a:moveTo>
                  <a:cubicBezTo>
                    <a:pt x="3" y="4"/>
                    <a:pt x="3" y="4"/>
                    <a:pt x="3" y="4"/>
                  </a:cubicBezTo>
                  <a:cubicBezTo>
                    <a:pt x="1" y="4"/>
                    <a:pt x="0" y="3"/>
                    <a:pt x="0" y="2"/>
                  </a:cubicBezTo>
                  <a:cubicBezTo>
                    <a:pt x="0" y="1"/>
                    <a:pt x="1" y="0"/>
                    <a:pt x="3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7" y="0"/>
                    <a:pt x="58" y="1"/>
                    <a:pt x="58" y="2"/>
                  </a:cubicBezTo>
                  <a:cubicBezTo>
                    <a:pt x="58" y="3"/>
                    <a:pt x="57" y="4"/>
                    <a:pt x="55" y="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18" name="Freeform 171">
              <a:extLst>
                <a:ext uri="{FF2B5EF4-FFF2-40B4-BE49-F238E27FC236}">
                  <a16:creationId xmlns:a16="http://schemas.microsoft.com/office/drawing/2014/main" id="{AF122A8B-6D09-A24D-374E-92A219F7F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4623" y="5621644"/>
              <a:ext cx="55145" cy="8086"/>
            </a:xfrm>
            <a:custGeom>
              <a:avLst/>
              <a:gdLst>
                <a:gd name="T0" fmla="*/ 28 w 31"/>
                <a:gd name="T1" fmla="*/ 5 h 5"/>
                <a:gd name="T2" fmla="*/ 2 w 31"/>
                <a:gd name="T3" fmla="*/ 5 h 5"/>
                <a:gd name="T4" fmla="*/ 0 w 31"/>
                <a:gd name="T5" fmla="*/ 2 h 5"/>
                <a:gd name="T6" fmla="*/ 2 w 31"/>
                <a:gd name="T7" fmla="*/ 0 h 5"/>
                <a:gd name="T8" fmla="*/ 28 w 31"/>
                <a:gd name="T9" fmla="*/ 0 h 5"/>
                <a:gd name="T10" fmla="*/ 31 w 31"/>
                <a:gd name="T11" fmla="*/ 2 h 5"/>
                <a:gd name="T12" fmla="*/ 28 w 31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">
                  <a:moveTo>
                    <a:pt x="28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2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1" y="1"/>
                    <a:pt x="31" y="2"/>
                  </a:cubicBezTo>
                  <a:cubicBezTo>
                    <a:pt x="31" y="4"/>
                    <a:pt x="30" y="5"/>
                    <a:pt x="28" y="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19" name="Freeform 172">
              <a:extLst>
                <a:ext uri="{FF2B5EF4-FFF2-40B4-BE49-F238E27FC236}">
                  <a16:creationId xmlns:a16="http://schemas.microsoft.com/office/drawing/2014/main" id="{75D08ED4-B3A5-6A0A-010D-E02C37FA6DE8}"/>
                </a:ext>
              </a:extLst>
            </p:cNvPr>
            <p:cNvSpPr>
              <a:spLocks/>
            </p:cNvSpPr>
            <p:nvPr/>
          </p:nvSpPr>
          <p:spPr bwMode="auto">
            <a:xfrm>
              <a:off x="6664623" y="5545407"/>
              <a:ext cx="55145" cy="9241"/>
            </a:xfrm>
            <a:custGeom>
              <a:avLst/>
              <a:gdLst>
                <a:gd name="T0" fmla="*/ 28 w 31"/>
                <a:gd name="T1" fmla="*/ 5 h 5"/>
                <a:gd name="T2" fmla="*/ 2 w 31"/>
                <a:gd name="T3" fmla="*/ 5 h 5"/>
                <a:gd name="T4" fmla="*/ 0 w 31"/>
                <a:gd name="T5" fmla="*/ 3 h 5"/>
                <a:gd name="T6" fmla="*/ 2 w 31"/>
                <a:gd name="T7" fmla="*/ 0 h 5"/>
                <a:gd name="T8" fmla="*/ 28 w 31"/>
                <a:gd name="T9" fmla="*/ 0 h 5"/>
                <a:gd name="T10" fmla="*/ 31 w 31"/>
                <a:gd name="T11" fmla="*/ 3 h 5"/>
                <a:gd name="T12" fmla="*/ 28 w 31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5">
                  <a:moveTo>
                    <a:pt x="28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0" y="4"/>
                    <a:pt x="0" y="3"/>
                  </a:cubicBezTo>
                  <a:cubicBezTo>
                    <a:pt x="0" y="1"/>
                    <a:pt x="1" y="0"/>
                    <a:pt x="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30" y="0"/>
                    <a:pt x="31" y="1"/>
                    <a:pt x="31" y="3"/>
                  </a:cubicBezTo>
                  <a:cubicBezTo>
                    <a:pt x="31" y="4"/>
                    <a:pt x="30" y="5"/>
                    <a:pt x="28" y="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20" name="Freeform 173">
              <a:extLst>
                <a:ext uri="{FF2B5EF4-FFF2-40B4-BE49-F238E27FC236}">
                  <a16:creationId xmlns:a16="http://schemas.microsoft.com/office/drawing/2014/main" id="{8365C961-898B-387B-165A-2235C6B388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50037" y="5457619"/>
              <a:ext cx="316485" cy="233332"/>
            </a:xfrm>
            <a:custGeom>
              <a:avLst/>
              <a:gdLst>
                <a:gd name="T0" fmla="*/ 171 w 177"/>
                <a:gd name="T1" fmla="*/ 135 h 135"/>
                <a:gd name="T2" fmla="*/ 6 w 177"/>
                <a:gd name="T3" fmla="*/ 135 h 135"/>
                <a:gd name="T4" fmla="*/ 0 w 177"/>
                <a:gd name="T5" fmla="*/ 129 h 135"/>
                <a:gd name="T6" fmla="*/ 0 w 177"/>
                <a:gd name="T7" fmla="*/ 6 h 135"/>
                <a:gd name="T8" fmla="*/ 6 w 177"/>
                <a:gd name="T9" fmla="*/ 0 h 135"/>
                <a:gd name="T10" fmla="*/ 171 w 177"/>
                <a:gd name="T11" fmla="*/ 0 h 135"/>
                <a:gd name="T12" fmla="*/ 177 w 177"/>
                <a:gd name="T13" fmla="*/ 6 h 135"/>
                <a:gd name="T14" fmla="*/ 177 w 177"/>
                <a:gd name="T15" fmla="*/ 129 h 135"/>
                <a:gd name="T16" fmla="*/ 171 w 177"/>
                <a:gd name="T17" fmla="*/ 135 h 135"/>
                <a:gd name="T18" fmla="*/ 12 w 177"/>
                <a:gd name="T19" fmla="*/ 124 h 135"/>
                <a:gd name="T20" fmla="*/ 166 w 177"/>
                <a:gd name="T21" fmla="*/ 124 h 135"/>
                <a:gd name="T22" fmla="*/ 166 w 177"/>
                <a:gd name="T23" fmla="*/ 12 h 135"/>
                <a:gd name="T24" fmla="*/ 12 w 177"/>
                <a:gd name="T25" fmla="*/ 12 h 135"/>
                <a:gd name="T26" fmla="*/ 12 w 177"/>
                <a:gd name="T27" fmla="*/ 12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7" h="135">
                  <a:moveTo>
                    <a:pt x="171" y="135"/>
                  </a:moveTo>
                  <a:cubicBezTo>
                    <a:pt x="6" y="135"/>
                    <a:pt x="6" y="135"/>
                    <a:pt x="6" y="135"/>
                  </a:cubicBezTo>
                  <a:cubicBezTo>
                    <a:pt x="3" y="135"/>
                    <a:pt x="0" y="133"/>
                    <a:pt x="0" y="12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71" y="0"/>
                    <a:pt x="171" y="0"/>
                    <a:pt x="171" y="0"/>
                  </a:cubicBezTo>
                  <a:cubicBezTo>
                    <a:pt x="174" y="0"/>
                    <a:pt x="177" y="3"/>
                    <a:pt x="177" y="6"/>
                  </a:cubicBezTo>
                  <a:cubicBezTo>
                    <a:pt x="177" y="129"/>
                    <a:pt x="177" y="129"/>
                    <a:pt x="177" y="129"/>
                  </a:cubicBezTo>
                  <a:cubicBezTo>
                    <a:pt x="177" y="133"/>
                    <a:pt x="174" y="135"/>
                    <a:pt x="171" y="135"/>
                  </a:cubicBezTo>
                  <a:close/>
                  <a:moveTo>
                    <a:pt x="12" y="124"/>
                  </a:moveTo>
                  <a:cubicBezTo>
                    <a:pt x="166" y="124"/>
                    <a:pt x="166" y="124"/>
                    <a:pt x="166" y="124"/>
                  </a:cubicBezTo>
                  <a:cubicBezTo>
                    <a:pt x="166" y="12"/>
                    <a:pt x="166" y="12"/>
                    <a:pt x="16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24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21" name="Freeform 174">
              <a:extLst>
                <a:ext uri="{FF2B5EF4-FFF2-40B4-BE49-F238E27FC236}">
                  <a16:creationId xmlns:a16="http://schemas.microsoft.com/office/drawing/2014/main" id="{9E1F62EE-0475-D341-47E9-483F85282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5971" y="5730225"/>
              <a:ext cx="185815" cy="18482"/>
            </a:xfrm>
            <a:custGeom>
              <a:avLst/>
              <a:gdLst>
                <a:gd name="T0" fmla="*/ 98 w 104"/>
                <a:gd name="T1" fmla="*/ 11 h 11"/>
                <a:gd name="T2" fmla="*/ 5 w 104"/>
                <a:gd name="T3" fmla="*/ 11 h 11"/>
                <a:gd name="T4" fmla="*/ 0 w 104"/>
                <a:gd name="T5" fmla="*/ 6 h 11"/>
                <a:gd name="T6" fmla="*/ 5 w 104"/>
                <a:gd name="T7" fmla="*/ 0 h 11"/>
                <a:gd name="T8" fmla="*/ 98 w 104"/>
                <a:gd name="T9" fmla="*/ 0 h 11"/>
                <a:gd name="T10" fmla="*/ 104 w 104"/>
                <a:gd name="T11" fmla="*/ 6 h 11"/>
                <a:gd name="T12" fmla="*/ 98 w 104"/>
                <a:gd name="T1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4" h="11">
                  <a:moveTo>
                    <a:pt x="98" y="11"/>
                  </a:moveTo>
                  <a:cubicBezTo>
                    <a:pt x="5" y="11"/>
                    <a:pt x="5" y="11"/>
                    <a:pt x="5" y="11"/>
                  </a:cubicBezTo>
                  <a:cubicBezTo>
                    <a:pt x="2" y="11"/>
                    <a:pt x="0" y="9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01" y="0"/>
                    <a:pt x="104" y="3"/>
                    <a:pt x="104" y="6"/>
                  </a:cubicBezTo>
                  <a:cubicBezTo>
                    <a:pt x="104" y="9"/>
                    <a:pt x="101" y="11"/>
                    <a:pt x="98" y="11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22" name="Freeform 175">
              <a:extLst>
                <a:ext uri="{FF2B5EF4-FFF2-40B4-BE49-F238E27FC236}">
                  <a16:creationId xmlns:a16="http://schemas.microsoft.com/office/drawing/2014/main" id="{96ACCB31-7304-AEE9-B1A5-C8BCECBED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8689" y="5705968"/>
              <a:ext cx="19181" cy="42739"/>
            </a:xfrm>
            <a:custGeom>
              <a:avLst/>
              <a:gdLst>
                <a:gd name="T0" fmla="*/ 6 w 11"/>
                <a:gd name="T1" fmla="*/ 25 h 25"/>
                <a:gd name="T2" fmla="*/ 0 w 11"/>
                <a:gd name="T3" fmla="*/ 20 h 25"/>
                <a:gd name="T4" fmla="*/ 0 w 11"/>
                <a:gd name="T5" fmla="*/ 6 h 25"/>
                <a:gd name="T6" fmla="*/ 6 w 11"/>
                <a:gd name="T7" fmla="*/ 0 h 25"/>
                <a:gd name="T8" fmla="*/ 11 w 11"/>
                <a:gd name="T9" fmla="*/ 6 h 25"/>
                <a:gd name="T10" fmla="*/ 11 w 11"/>
                <a:gd name="T11" fmla="*/ 20 h 25"/>
                <a:gd name="T12" fmla="*/ 6 w 11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25">
                  <a:moveTo>
                    <a:pt x="6" y="25"/>
                  </a:moveTo>
                  <a:cubicBezTo>
                    <a:pt x="2" y="25"/>
                    <a:pt x="0" y="23"/>
                    <a:pt x="0" y="2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1" y="3"/>
                    <a:pt x="11" y="6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3"/>
                    <a:pt x="9" y="25"/>
                    <a:pt x="6" y="25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grpSp>
        <p:nvGrpSpPr>
          <p:cNvPr id="123" name="Gruppo 122">
            <a:extLst>
              <a:ext uri="{FF2B5EF4-FFF2-40B4-BE49-F238E27FC236}">
                <a16:creationId xmlns:a16="http://schemas.microsoft.com/office/drawing/2014/main" id="{6F9695E0-1AA0-CA7A-A20C-A7A097E2C857}"/>
              </a:ext>
            </a:extLst>
          </p:cNvPr>
          <p:cNvGrpSpPr/>
          <p:nvPr/>
        </p:nvGrpSpPr>
        <p:grpSpPr>
          <a:xfrm>
            <a:off x="6915240" y="2085693"/>
            <a:ext cx="720000" cy="720000"/>
            <a:chOff x="9409113" y="1644650"/>
            <a:chExt cx="757238" cy="760413"/>
          </a:xfrm>
          <a:solidFill>
            <a:schemeClr val="tx1"/>
          </a:solidFill>
        </p:grpSpPr>
        <p:sp>
          <p:nvSpPr>
            <p:cNvPr id="124" name="Freeform 134">
              <a:extLst>
                <a:ext uri="{FF2B5EF4-FFF2-40B4-BE49-F238E27FC236}">
                  <a16:creationId xmlns:a16="http://schemas.microsoft.com/office/drawing/2014/main" id="{1E10C831-1E37-8CAD-B2A5-CECAE53007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409113" y="1644650"/>
              <a:ext cx="757238" cy="760413"/>
            </a:xfrm>
            <a:custGeom>
              <a:avLst/>
              <a:gdLst>
                <a:gd name="T0" fmla="*/ 213 w 477"/>
                <a:gd name="T1" fmla="*/ 477 h 479"/>
                <a:gd name="T2" fmla="*/ 146 w 477"/>
                <a:gd name="T3" fmla="*/ 459 h 479"/>
                <a:gd name="T4" fmla="*/ 88 w 477"/>
                <a:gd name="T5" fmla="*/ 423 h 479"/>
                <a:gd name="T6" fmla="*/ 42 w 477"/>
                <a:gd name="T7" fmla="*/ 373 h 479"/>
                <a:gd name="T8" fmla="*/ 12 w 477"/>
                <a:gd name="T9" fmla="*/ 311 h 479"/>
                <a:gd name="T10" fmla="*/ 0 w 477"/>
                <a:gd name="T11" fmla="*/ 238 h 479"/>
                <a:gd name="T12" fmla="*/ 6 w 477"/>
                <a:gd name="T13" fmla="*/ 192 h 479"/>
                <a:gd name="T14" fmla="*/ 30 w 477"/>
                <a:gd name="T15" fmla="*/ 126 h 479"/>
                <a:gd name="T16" fmla="*/ 70 w 477"/>
                <a:gd name="T17" fmla="*/ 70 h 479"/>
                <a:gd name="T18" fmla="*/ 126 w 477"/>
                <a:gd name="T19" fmla="*/ 30 h 479"/>
                <a:gd name="T20" fmla="*/ 191 w 477"/>
                <a:gd name="T21" fmla="*/ 6 h 479"/>
                <a:gd name="T22" fmla="*/ 239 w 477"/>
                <a:gd name="T23" fmla="*/ 0 h 479"/>
                <a:gd name="T24" fmla="*/ 309 w 477"/>
                <a:gd name="T25" fmla="*/ 12 h 479"/>
                <a:gd name="T26" fmla="*/ 371 w 477"/>
                <a:gd name="T27" fmla="*/ 42 h 479"/>
                <a:gd name="T28" fmla="*/ 421 w 477"/>
                <a:gd name="T29" fmla="*/ 88 h 479"/>
                <a:gd name="T30" fmla="*/ 457 w 477"/>
                <a:gd name="T31" fmla="*/ 146 h 479"/>
                <a:gd name="T32" fmla="*/ 475 w 477"/>
                <a:gd name="T33" fmla="*/ 214 h 479"/>
                <a:gd name="T34" fmla="*/ 475 w 477"/>
                <a:gd name="T35" fmla="*/ 264 h 479"/>
                <a:gd name="T36" fmla="*/ 457 w 477"/>
                <a:gd name="T37" fmla="*/ 333 h 479"/>
                <a:gd name="T38" fmla="*/ 421 w 477"/>
                <a:gd name="T39" fmla="*/ 391 h 479"/>
                <a:gd name="T40" fmla="*/ 371 w 477"/>
                <a:gd name="T41" fmla="*/ 437 h 479"/>
                <a:gd name="T42" fmla="*/ 309 w 477"/>
                <a:gd name="T43" fmla="*/ 467 h 479"/>
                <a:gd name="T44" fmla="*/ 239 w 477"/>
                <a:gd name="T45" fmla="*/ 479 h 479"/>
                <a:gd name="T46" fmla="*/ 239 w 477"/>
                <a:gd name="T47" fmla="*/ 14 h 479"/>
                <a:gd name="T48" fmla="*/ 171 w 477"/>
                <a:gd name="T49" fmla="*/ 24 h 479"/>
                <a:gd name="T50" fmla="*/ 114 w 477"/>
                <a:gd name="T51" fmla="*/ 52 h 479"/>
                <a:gd name="T52" fmla="*/ 66 w 477"/>
                <a:gd name="T53" fmla="*/ 96 h 479"/>
                <a:gd name="T54" fmla="*/ 32 w 477"/>
                <a:gd name="T55" fmla="*/ 152 h 479"/>
                <a:gd name="T56" fmla="*/ 14 w 477"/>
                <a:gd name="T57" fmla="*/ 216 h 479"/>
                <a:gd name="T58" fmla="*/ 14 w 477"/>
                <a:gd name="T59" fmla="*/ 262 h 479"/>
                <a:gd name="T60" fmla="*/ 32 w 477"/>
                <a:gd name="T61" fmla="*/ 327 h 479"/>
                <a:gd name="T62" fmla="*/ 66 w 477"/>
                <a:gd name="T63" fmla="*/ 383 h 479"/>
                <a:gd name="T64" fmla="*/ 114 w 477"/>
                <a:gd name="T65" fmla="*/ 427 h 479"/>
                <a:gd name="T66" fmla="*/ 171 w 477"/>
                <a:gd name="T67" fmla="*/ 455 h 479"/>
                <a:gd name="T68" fmla="*/ 239 w 477"/>
                <a:gd name="T69" fmla="*/ 465 h 479"/>
                <a:gd name="T70" fmla="*/ 283 w 477"/>
                <a:gd name="T71" fmla="*/ 461 h 479"/>
                <a:gd name="T72" fmla="*/ 345 w 477"/>
                <a:gd name="T73" fmla="*/ 439 h 479"/>
                <a:gd name="T74" fmla="*/ 397 w 477"/>
                <a:gd name="T75" fmla="*/ 399 h 479"/>
                <a:gd name="T76" fmla="*/ 437 w 477"/>
                <a:gd name="T77" fmla="*/ 347 h 479"/>
                <a:gd name="T78" fmla="*/ 459 w 477"/>
                <a:gd name="T79" fmla="*/ 285 h 479"/>
                <a:gd name="T80" fmla="*/ 465 w 477"/>
                <a:gd name="T81" fmla="*/ 238 h 479"/>
                <a:gd name="T82" fmla="*/ 453 w 477"/>
                <a:gd name="T83" fmla="*/ 172 h 479"/>
                <a:gd name="T84" fmla="*/ 425 w 477"/>
                <a:gd name="T85" fmla="*/ 112 h 479"/>
                <a:gd name="T86" fmla="*/ 381 w 477"/>
                <a:gd name="T87" fmla="*/ 64 h 479"/>
                <a:gd name="T88" fmla="*/ 327 w 477"/>
                <a:gd name="T89" fmla="*/ 30 h 479"/>
                <a:gd name="T90" fmla="*/ 261 w 477"/>
                <a:gd name="T91" fmla="*/ 14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77" h="479">
                  <a:moveTo>
                    <a:pt x="239" y="479"/>
                  </a:moveTo>
                  <a:lnTo>
                    <a:pt x="239" y="479"/>
                  </a:lnTo>
                  <a:lnTo>
                    <a:pt x="213" y="477"/>
                  </a:lnTo>
                  <a:lnTo>
                    <a:pt x="191" y="473"/>
                  </a:lnTo>
                  <a:lnTo>
                    <a:pt x="167" y="467"/>
                  </a:lnTo>
                  <a:lnTo>
                    <a:pt x="146" y="459"/>
                  </a:lnTo>
                  <a:lnTo>
                    <a:pt x="126" y="449"/>
                  </a:lnTo>
                  <a:lnTo>
                    <a:pt x="106" y="437"/>
                  </a:lnTo>
                  <a:lnTo>
                    <a:pt x="88" y="423"/>
                  </a:lnTo>
                  <a:lnTo>
                    <a:pt x="70" y="409"/>
                  </a:lnTo>
                  <a:lnTo>
                    <a:pt x="56" y="391"/>
                  </a:lnTo>
                  <a:lnTo>
                    <a:pt x="42" y="373"/>
                  </a:lnTo>
                  <a:lnTo>
                    <a:pt x="30" y="353"/>
                  </a:lnTo>
                  <a:lnTo>
                    <a:pt x="20" y="333"/>
                  </a:lnTo>
                  <a:lnTo>
                    <a:pt x="12" y="311"/>
                  </a:lnTo>
                  <a:lnTo>
                    <a:pt x="6" y="287"/>
                  </a:lnTo>
                  <a:lnTo>
                    <a:pt x="2" y="264"/>
                  </a:lnTo>
                  <a:lnTo>
                    <a:pt x="0" y="238"/>
                  </a:lnTo>
                  <a:lnTo>
                    <a:pt x="0" y="238"/>
                  </a:lnTo>
                  <a:lnTo>
                    <a:pt x="2" y="214"/>
                  </a:lnTo>
                  <a:lnTo>
                    <a:pt x="6" y="192"/>
                  </a:lnTo>
                  <a:lnTo>
                    <a:pt x="12" y="168"/>
                  </a:lnTo>
                  <a:lnTo>
                    <a:pt x="20" y="146"/>
                  </a:lnTo>
                  <a:lnTo>
                    <a:pt x="30" y="126"/>
                  </a:lnTo>
                  <a:lnTo>
                    <a:pt x="42" y="106"/>
                  </a:lnTo>
                  <a:lnTo>
                    <a:pt x="56" y="88"/>
                  </a:lnTo>
                  <a:lnTo>
                    <a:pt x="70" y="70"/>
                  </a:lnTo>
                  <a:lnTo>
                    <a:pt x="88" y="56"/>
                  </a:lnTo>
                  <a:lnTo>
                    <a:pt x="106" y="42"/>
                  </a:lnTo>
                  <a:lnTo>
                    <a:pt x="126" y="30"/>
                  </a:lnTo>
                  <a:lnTo>
                    <a:pt x="146" y="20"/>
                  </a:lnTo>
                  <a:lnTo>
                    <a:pt x="167" y="12"/>
                  </a:lnTo>
                  <a:lnTo>
                    <a:pt x="191" y="6"/>
                  </a:lnTo>
                  <a:lnTo>
                    <a:pt x="213" y="2"/>
                  </a:lnTo>
                  <a:lnTo>
                    <a:pt x="239" y="0"/>
                  </a:lnTo>
                  <a:lnTo>
                    <a:pt x="239" y="0"/>
                  </a:lnTo>
                  <a:lnTo>
                    <a:pt x="263" y="2"/>
                  </a:lnTo>
                  <a:lnTo>
                    <a:pt x="287" y="6"/>
                  </a:lnTo>
                  <a:lnTo>
                    <a:pt x="309" y="12"/>
                  </a:lnTo>
                  <a:lnTo>
                    <a:pt x="331" y="20"/>
                  </a:lnTo>
                  <a:lnTo>
                    <a:pt x="351" y="30"/>
                  </a:lnTo>
                  <a:lnTo>
                    <a:pt x="371" y="42"/>
                  </a:lnTo>
                  <a:lnTo>
                    <a:pt x="389" y="56"/>
                  </a:lnTo>
                  <a:lnTo>
                    <a:pt x="407" y="70"/>
                  </a:lnTo>
                  <a:lnTo>
                    <a:pt x="421" y="88"/>
                  </a:lnTo>
                  <a:lnTo>
                    <a:pt x="435" y="106"/>
                  </a:lnTo>
                  <a:lnTo>
                    <a:pt x="447" y="126"/>
                  </a:lnTo>
                  <a:lnTo>
                    <a:pt x="457" y="146"/>
                  </a:lnTo>
                  <a:lnTo>
                    <a:pt x="465" y="168"/>
                  </a:lnTo>
                  <a:lnTo>
                    <a:pt x="471" y="192"/>
                  </a:lnTo>
                  <a:lnTo>
                    <a:pt x="475" y="214"/>
                  </a:lnTo>
                  <a:lnTo>
                    <a:pt x="477" y="238"/>
                  </a:lnTo>
                  <a:lnTo>
                    <a:pt x="477" y="238"/>
                  </a:lnTo>
                  <a:lnTo>
                    <a:pt x="475" y="264"/>
                  </a:lnTo>
                  <a:lnTo>
                    <a:pt x="471" y="287"/>
                  </a:lnTo>
                  <a:lnTo>
                    <a:pt x="465" y="311"/>
                  </a:lnTo>
                  <a:lnTo>
                    <a:pt x="457" y="333"/>
                  </a:lnTo>
                  <a:lnTo>
                    <a:pt x="447" y="353"/>
                  </a:lnTo>
                  <a:lnTo>
                    <a:pt x="435" y="373"/>
                  </a:lnTo>
                  <a:lnTo>
                    <a:pt x="421" y="391"/>
                  </a:lnTo>
                  <a:lnTo>
                    <a:pt x="407" y="409"/>
                  </a:lnTo>
                  <a:lnTo>
                    <a:pt x="389" y="423"/>
                  </a:lnTo>
                  <a:lnTo>
                    <a:pt x="371" y="437"/>
                  </a:lnTo>
                  <a:lnTo>
                    <a:pt x="351" y="449"/>
                  </a:lnTo>
                  <a:lnTo>
                    <a:pt x="331" y="459"/>
                  </a:lnTo>
                  <a:lnTo>
                    <a:pt x="309" y="467"/>
                  </a:lnTo>
                  <a:lnTo>
                    <a:pt x="287" y="473"/>
                  </a:lnTo>
                  <a:lnTo>
                    <a:pt x="263" y="477"/>
                  </a:lnTo>
                  <a:lnTo>
                    <a:pt x="239" y="479"/>
                  </a:lnTo>
                  <a:lnTo>
                    <a:pt x="239" y="479"/>
                  </a:lnTo>
                  <a:close/>
                  <a:moveTo>
                    <a:pt x="239" y="14"/>
                  </a:moveTo>
                  <a:lnTo>
                    <a:pt x="239" y="14"/>
                  </a:lnTo>
                  <a:lnTo>
                    <a:pt x="215" y="14"/>
                  </a:lnTo>
                  <a:lnTo>
                    <a:pt x="193" y="18"/>
                  </a:lnTo>
                  <a:lnTo>
                    <a:pt x="171" y="24"/>
                  </a:lnTo>
                  <a:lnTo>
                    <a:pt x="152" y="30"/>
                  </a:lnTo>
                  <a:lnTo>
                    <a:pt x="132" y="40"/>
                  </a:lnTo>
                  <a:lnTo>
                    <a:pt x="114" y="52"/>
                  </a:lnTo>
                  <a:lnTo>
                    <a:pt x="96" y="64"/>
                  </a:lnTo>
                  <a:lnTo>
                    <a:pt x="80" y="80"/>
                  </a:lnTo>
                  <a:lnTo>
                    <a:pt x="66" y="96"/>
                  </a:lnTo>
                  <a:lnTo>
                    <a:pt x="52" y="112"/>
                  </a:lnTo>
                  <a:lnTo>
                    <a:pt x="40" y="132"/>
                  </a:lnTo>
                  <a:lnTo>
                    <a:pt x="32" y="152"/>
                  </a:lnTo>
                  <a:lnTo>
                    <a:pt x="24" y="172"/>
                  </a:lnTo>
                  <a:lnTo>
                    <a:pt x="18" y="194"/>
                  </a:lnTo>
                  <a:lnTo>
                    <a:pt x="14" y="216"/>
                  </a:lnTo>
                  <a:lnTo>
                    <a:pt x="14" y="238"/>
                  </a:lnTo>
                  <a:lnTo>
                    <a:pt x="14" y="238"/>
                  </a:lnTo>
                  <a:lnTo>
                    <a:pt x="14" y="262"/>
                  </a:lnTo>
                  <a:lnTo>
                    <a:pt x="18" y="285"/>
                  </a:lnTo>
                  <a:lnTo>
                    <a:pt x="24" y="307"/>
                  </a:lnTo>
                  <a:lnTo>
                    <a:pt x="32" y="327"/>
                  </a:lnTo>
                  <a:lnTo>
                    <a:pt x="40" y="347"/>
                  </a:lnTo>
                  <a:lnTo>
                    <a:pt x="52" y="367"/>
                  </a:lnTo>
                  <a:lnTo>
                    <a:pt x="66" y="383"/>
                  </a:lnTo>
                  <a:lnTo>
                    <a:pt x="80" y="399"/>
                  </a:lnTo>
                  <a:lnTo>
                    <a:pt x="96" y="415"/>
                  </a:lnTo>
                  <a:lnTo>
                    <a:pt x="114" y="427"/>
                  </a:lnTo>
                  <a:lnTo>
                    <a:pt x="132" y="439"/>
                  </a:lnTo>
                  <a:lnTo>
                    <a:pt x="152" y="449"/>
                  </a:lnTo>
                  <a:lnTo>
                    <a:pt x="171" y="455"/>
                  </a:lnTo>
                  <a:lnTo>
                    <a:pt x="193" y="461"/>
                  </a:lnTo>
                  <a:lnTo>
                    <a:pt x="215" y="465"/>
                  </a:lnTo>
                  <a:lnTo>
                    <a:pt x="239" y="465"/>
                  </a:lnTo>
                  <a:lnTo>
                    <a:pt x="239" y="465"/>
                  </a:lnTo>
                  <a:lnTo>
                    <a:pt x="261" y="465"/>
                  </a:lnTo>
                  <a:lnTo>
                    <a:pt x="283" y="461"/>
                  </a:lnTo>
                  <a:lnTo>
                    <a:pt x="305" y="455"/>
                  </a:lnTo>
                  <a:lnTo>
                    <a:pt x="327" y="449"/>
                  </a:lnTo>
                  <a:lnTo>
                    <a:pt x="345" y="439"/>
                  </a:lnTo>
                  <a:lnTo>
                    <a:pt x="365" y="427"/>
                  </a:lnTo>
                  <a:lnTo>
                    <a:pt x="381" y="415"/>
                  </a:lnTo>
                  <a:lnTo>
                    <a:pt x="397" y="399"/>
                  </a:lnTo>
                  <a:lnTo>
                    <a:pt x="413" y="383"/>
                  </a:lnTo>
                  <a:lnTo>
                    <a:pt x="425" y="367"/>
                  </a:lnTo>
                  <a:lnTo>
                    <a:pt x="437" y="347"/>
                  </a:lnTo>
                  <a:lnTo>
                    <a:pt x="447" y="327"/>
                  </a:lnTo>
                  <a:lnTo>
                    <a:pt x="453" y="307"/>
                  </a:lnTo>
                  <a:lnTo>
                    <a:pt x="459" y="285"/>
                  </a:lnTo>
                  <a:lnTo>
                    <a:pt x="463" y="262"/>
                  </a:lnTo>
                  <a:lnTo>
                    <a:pt x="465" y="238"/>
                  </a:lnTo>
                  <a:lnTo>
                    <a:pt x="465" y="238"/>
                  </a:lnTo>
                  <a:lnTo>
                    <a:pt x="463" y="216"/>
                  </a:lnTo>
                  <a:lnTo>
                    <a:pt x="459" y="194"/>
                  </a:lnTo>
                  <a:lnTo>
                    <a:pt x="453" y="172"/>
                  </a:lnTo>
                  <a:lnTo>
                    <a:pt x="447" y="152"/>
                  </a:lnTo>
                  <a:lnTo>
                    <a:pt x="437" y="132"/>
                  </a:lnTo>
                  <a:lnTo>
                    <a:pt x="425" y="112"/>
                  </a:lnTo>
                  <a:lnTo>
                    <a:pt x="413" y="96"/>
                  </a:lnTo>
                  <a:lnTo>
                    <a:pt x="397" y="80"/>
                  </a:lnTo>
                  <a:lnTo>
                    <a:pt x="381" y="64"/>
                  </a:lnTo>
                  <a:lnTo>
                    <a:pt x="365" y="52"/>
                  </a:lnTo>
                  <a:lnTo>
                    <a:pt x="345" y="40"/>
                  </a:lnTo>
                  <a:lnTo>
                    <a:pt x="327" y="30"/>
                  </a:lnTo>
                  <a:lnTo>
                    <a:pt x="305" y="24"/>
                  </a:lnTo>
                  <a:lnTo>
                    <a:pt x="283" y="18"/>
                  </a:lnTo>
                  <a:lnTo>
                    <a:pt x="261" y="14"/>
                  </a:lnTo>
                  <a:lnTo>
                    <a:pt x="239" y="14"/>
                  </a:lnTo>
                  <a:lnTo>
                    <a:pt x="239" y="1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25" name="Freeform 135">
              <a:extLst>
                <a:ext uri="{FF2B5EF4-FFF2-40B4-BE49-F238E27FC236}">
                  <a16:creationId xmlns:a16="http://schemas.microsoft.com/office/drawing/2014/main" id="{08ED1FA2-4ED3-20A7-C1B1-2EF27D4B64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86913" y="1768475"/>
              <a:ext cx="401638" cy="512763"/>
            </a:xfrm>
            <a:custGeom>
              <a:avLst/>
              <a:gdLst>
                <a:gd name="T0" fmla="*/ 241 w 253"/>
                <a:gd name="T1" fmla="*/ 251 h 323"/>
                <a:gd name="T2" fmla="*/ 219 w 253"/>
                <a:gd name="T3" fmla="*/ 136 h 323"/>
                <a:gd name="T4" fmla="*/ 215 w 253"/>
                <a:gd name="T5" fmla="*/ 20 h 323"/>
                <a:gd name="T6" fmla="*/ 187 w 253"/>
                <a:gd name="T7" fmla="*/ 0 h 323"/>
                <a:gd name="T8" fmla="*/ 30 w 253"/>
                <a:gd name="T9" fmla="*/ 20 h 323"/>
                <a:gd name="T10" fmla="*/ 26 w 253"/>
                <a:gd name="T11" fmla="*/ 42 h 323"/>
                <a:gd name="T12" fmla="*/ 0 w 253"/>
                <a:gd name="T13" fmla="*/ 54 h 323"/>
                <a:gd name="T14" fmla="*/ 28 w 253"/>
                <a:gd name="T15" fmla="*/ 277 h 323"/>
                <a:gd name="T16" fmla="*/ 55 w 253"/>
                <a:gd name="T17" fmla="*/ 295 h 323"/>
                <a:gd name="T18" fmla="*/ 61 w 253"/>
                <a:gd name="T19" fmla="*/ 299 h 323"/>
                <a:gd name="T20" fmla="*/ 227 w 253"/>
                <a:gd name="T21" fmla="*/ 319 h 323"/>
                <a:gd name="T22" fmla="*/ 239 w 253"/>
                <a:gd name="T23" fmla="*/ 323 h 323"/>
                <a:gd name="T24" fmla="*/ 251 w 253"/>
                <a:gd name="T25" fmla="*/ 313 h 323"/>
                <a:gd name="T26" fmla="*/ 249 w 253"/>
                <a:gd name="T27" fmla="*/ 297 h 323"/>
                <a:gd name="T28" fmla="*/ 235 w 253"/>
                <a:gd name="T29" fmla="*/ 243 h 323"/>
                <a:gd name="T30" fmla="*/ 181 w 253"/>
                <a:gd name="T31" fmla="*/ 10 h 323"/>
                <a:gd name="T32" fmla="*/ 12 w 253"/>
                <a:gd name="T33" fmla="*/ 56 h 323"/>
                <a:gd name="T34" fmla="*/ 36 w 253"/>
                <a:gd name="T35" fmla="*/ 30 h 323"/>
                <a:gd name="T36" fmla="*/ 189 w 253"/>
                <a:gd name="T37" fmla="*/ 30 h 323"/>
                <a:gd name="T38" fmla="*/ 209 w 253"/>
                <a:gd name="T39" fmla="*/ 136 h 323"/>
                <a:gd name="T40" fmla="*/ 175 w 253"/>
                <a:gd name="T41" fmla="*/ 225 h 323"/>
                <a:gd name="T42" fmla="*/ 165 w 253"/>
                <a:gd name="T43" fmla="*/ 227 h 323"/>
                <a:gd name="T44" fmla="*/ 161 w 253"/>
                <a:gd name="T45" fmla="*/ 194 h 323"/>
                <a:gd name="T46" fmla="*/ 165 w 253"/>
                <a:gd name="T47" fmla="*/ 162 h 323"/>
                <a:gd name="T48" fmla="*/ 147 w 253"/>
                <a:gd name="T49" fmla="*/ 130 h 323"/>
                <a:gd name="T50" fmla="*/ 105 w 253"/>
                <a:gd name="T51" fmla="*/ 112 h 323"/>
                <a:gd name="T52" fmla="*/ 71 w 253"/>
                <a:gd name="T53" fmla="*/ 122 h 323"/>
                <a:gd name="T54" fmla="*/ 47 w 253"/>
                <a:gd name="T55" fmla="*/ 150 h 323"/>
                <a:gd name="T56" fmla="*/ 47 w 253"/>
                <a:gd name="T57" fmla="*/ 196 h 323"/>
                <a:gd name="T58" fmla="*/ 71 w 253"/>
                <a:gd name="T59" fmla="*/ 225 h 323"/>
                <a:gd name="T60" fmla="*/ 105 w 253"/>
                <a:gd name="T61" fmla="*/ 235 h 323"/>
                <a:gd name="T62" fmla="*/ 143 w 253"/>
                <a:gd name="T63" fmla="*/ 221 h 323"/>
                <a:gd name="T64" fmla="*/ 153 w 253"/>
                <a:gd name="T65" fmla="*/ 241 h 323"/>
                <a:gd name="T66" fmla="*/ 55 w 253"/>
                <a:gd name="T67" fmla="*/ 269 h 323"/>
                <a:gd name="T68" fmla="*/ 36 w 253"/>
                <a:gd name="T69" fmla="*/ 162 h 323"/>
                <a:gd name="T70" fmla="*/ 57 w 253"/>
                <a:gd name="T71" fmla="*/ 192 h 323"/>
                <a:gd name="T72" fmla="*/ 57 w 253"/>
                <a:gd name="T73" fmla="*/ 154 h 323"/>
                <a:gd name="T74" fmla="*/ 77 w 253"/>
                <a:gd name="T75" fmla="*/ 130 h 323"/>
                <a:gd name="T76" fmla="*/ 105 w 253"/>
                <a:gd name="T77" fmla="*/ 122 h 323"/>
                <a:gd name="T78" fmla="*/ 141 w 253"/>
                <a:gd name="T79" fmla="*/ 138 h 323"/>
                <a:gd name="T80" fmla="*/ 155 w 253"/>
                <a:gd name="T81" fmla="*/ 164 h 323"/>
                <a:gd name="T82" fmla="*/ 151 w 253"/>
                <a:gd name="T83" fmla="*/ 192 h 323"/>
                <a:gd name="T84" fmla="*/ 133 w 253"/>
                <a:gd name="T85" fmla="*/ 217 h 323"/>
                <a:gd name="T86" fmla="*/ 95 w 253"/>
                <a:gd name="T87" fmla="*/ 225 h 323"/>
                <a:gd name="T88" fmla="*/ 69 w 253"/>
                <a:gd name="T89" fmla="*/ 211 h 323"/>
                <a:gd name="T90" fmla="*/ 63 w 253"/>
                <a:gd name="T91" fmla="*/ 279 h 323"/>
                <a:gd name="T92" fmla="*/ 235 w 253"/>
                <a:gd name="T93" fmla="*/ 311 h 323"/>
                <a:gd name="T94" fmla="*/ 211 w 253"/>
                <a:gd name="T95" fmla="*/ 275 h 323"/>
                <a:gd name="T96" fmla="*/ 243 w 253"/>
                <a:gd name="T97" fmla="*/ 309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3" h="323">
                  <a:moveTo>
                    <a:pt x="249" y="297"/>
                  </a:moveTo>
                  <a:lnTo>
                    <a:pt x="219" y="269"/>
                  </a:lnTo>
                  <a:lnTo>
                    <a:pt x="219" y="257"/>
                  </a:lnTo>
                  <a:lnTo>
                    <a:pt x="241" y="251"/>
                  </a:lnTo>
                  <a:lnTo>
                    <a:pt x="241" y="251"/>
                  </a:lnTo>
                  <a:lnTo>
                    <a:pt x="245" y="249"/>
                  </a:lnTo>
                  <a:lnTo>
                    <a:pt x="245" y="245"/>
                  </a:lnTo>
                  <a:lnTo>
                    <a:pt x="219" y="136"/>
                  </a:lnTo>
                  <a:lnTo>
                    <a:pt x="219" y="26"/>
                  </a:lnTo>
                  <a:lnTo>
                    <a:pt x="219" y="26"/>
                  </a:lnTo>
                  <a:lnTo>
                    <a:pt x="219" y="22"/>
                  </a:lnTo>
                  <a:lnTo>
                    <a:pt x="215" y="20"/>
                  </a:lnTo>
                  <a:lnTo>
                    <a:pt x="193" y="20"/>
                  </a:lnTo>
                  <a:lnTo>
                    <a:pt x="189" y="4"/>
                  </a:lnTo>
                  <a:lnTo>
                    <a:pt x="189" y="4"/>
                  </a:lnTo>
                  <a:lnTo>
                    <a:pt x="187" y="0"/>
                  </a:lnTo>
                  <a:lnTo>
                    <a:pt x="187" y="0"/>
                  </a:lnTo>
                  <a:lnTo>
                    <a:pt x="183" y="0"/>
                  </a:lnTo>
                  <a:lnTo>
                    <a:pt x="107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28" y="22"/>
                  </a:lnTo>
                  <a:lnTo>
                    <a:pt x="26" y="26"/>
                  </a:lnTo>
                  <a:lnTo>
                    <a:pt x="26" y="4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2" y="50"/>
                  </a:lnTo>
                  <a:lnTo>
                    <a:pt x="0" y="54"/>
                  </a:lnTo>
                  <a:lnTo>
                    <a:pt x="26" y="162"/>
                  </a:lnTo>
                  <a:lnTo>
                    <a:pt x="26" y="275"/>
                  </a:lnTo>
                  <a:lnTo>
                    <a:pt x="26" y="275"/>
                  </a:lnTo>
                  <a:lnTo>
                    <a:pt x="28" y="277"/>
                  </a:lnTo>
                  <a:lnTo>
                    <a:pt x="30" y="279"/>
                  </a:lnTo>
                  <a:lnTo>
                    <a:pt x="51" y="279"/>
                  </a:lnTo>
                  <a:lnTo>
                    <a:pt x="55" y="295"/>
                  </a:lnTo>
                  <a:lnTo>
                    <a:pt x="55" y="295"/>
                  </a:lnTo>
                  <a:lnTo>
                    <a:pt x="59" y="299"/>
                  </a:lnTo>
                  <a:lnTo>
                    <a:pt x="59" y="299"/>
                  </a:lnTo>
                  <a:lnTo>
                    <a:pt x="61" y="299"/>
                  </a:lnTo>
                  <a:lnTo>
                    <a:pt x="61" y="299"/>
                  </a:lnTo>
                  <a:lnTo>
                    <a:pt x="61" y="299"/>
                  </a:lnTo>
                  <a:lnTo>
                    <a:pt x="137" y="279"/>
                  </a:lnTo>
                  <a:lnTo>
                    <a:pt x="189" y="279"/>
                  </a:lnTo>
                  <a:lnTo>
                    <a:pt x="227" y="319"/>
                  </a:lnTo>
                  <a:lnTo>
                    <a:pt x="227" y="319"/>
                  </a:lnTo>
                  <a:lnTo>
                    <a:pt x="233" y="323"/>
                  </a:lnTo>
                  <a:lnTo>
                    <a:pt x="239" y="323"/>
                  </a:lnTo>
                  <a:lnTo>
                    <a:pt x="239" y="323"/>
                  </a:lnTo>
                  <a:lnTo>
                    <a:pt x="243" y="323"/>
                  </a:lnTo>
                  <a:lnTo>
                    <a:pt x="249" y="319"/>
                  </a:lnTo>
                  <a:lnTo>
                    <a:pt x="249" y="319"/>
                  </a:lnTo>
                  <a:lnTo>
                    <a:pt x="251" y="313"/>
                  </a:lnTo>
                  <a:lnTo>
                    <a:pt x="253" y="309"/>
                  </a:lnTo>
                  <a:lnTo>
                    <a:pt x="253" y="309"/>
                  </a:lnTo>
                  <a:lnTo>
                    <a:pt x="251" y="303"/>
                  </a:lnTo>
                  <a:lnTo>
                    <a:pt x="249" y="297"/>
                  </a:lnTo>
                  <a:lnTo>
                    <a:pt x="249" y="297"/>
                  </a:lnTo>
                  <a:close/>
                  <a:moveTo>
                    <a:pt x="219" y="247"/>
                  </a:moveTo>
                  <a:lnTo>
                    <a:pt x="219" y="180"/>
                  </a:lnTo>
                  <a:lnTo>
                    <a:pt x="235" y="243"/>
                  </a:lnTo>
                  <a:lnTo>
                    <a:pt x="219" y="247"/>
                  </a:lnTo>
                  <a:close/>
                  <a:moveTo>
                    <a:pt x="183" y="20"/>
                  </a:moveTo>
                  <a:lnTo>
                    <a:pt x="145" y="20"/>
                  </a:lnTo>
                  <a:lnTo>
                    <a:pt x="181" y="10"/>
                  </a:lnTo>
                  <a:lnTo>
                    <a:pt x="183" y="20"/>
                  </a:lnTo>
                  <a:close/>
                  <a:moveTo>
                    <a:pt x="26" y="52"/>
                  </a:moveTo>
                  <a:lnTo>
                    <a:pt x="26" y="118"/>
                  </a:lnTo>
                  <a:lnTo>
                    <a:pt x="12" y="56"/>
                  </a:lnTo>
                  <a:lnTo>
                    <a:pt x="26" y="52"/>
                  </a:lnTo>
                  <a:close/>
                  <a:moveTo>
                    <a:pt x="36" y="162"/>
                  </a:moveTo>
                  <a:lnTo>
                    <a:pt x="36" y="46"/>
                  </a:lnTo>
                  <a:lnTo>
                    <a:pt x="36" y="30"/>
                  </a:lnTo>
                  <a:lnTo>
                    <a:pt x="107" y="30"/>
                  </a:lnTo>
                  <a:lnTo>
                    <a:pt x="189" y="30"/>
                  </a:lnTo>
                  <a:lnTo>
                    <a:pt x="189" y="30"/>
                  </a:lnTo>
                  <a:lnTo>
                    <a:pt x="189" y="30"/>
                  </a:lnTo>
                  <a:lnTo>
                    <a:pt x="189" y="30"/>
                  </a:lnTo>
                  <a:lnTo>
                    <a:pt x="189" y="30"/>
                  </a:lnTo>
                  <a:lnTo>
                    <a:pt x="209" y="30"/>
                  </a:lnTo>
                  <a:lnTo>
                    <a:pt x="209" y="136"/>
                  </a:lnTo>
                  <a:lnTo>
                    <a:pt x="209" y="253"/>
                  </a:lnTo>
                  <a:lnTo>
                    <a:pt x="209" y="253"/>
                  </a:lnTo>
                  <a:lnTo>
                    <a:pt x="209" y="259"/>
                  </a:lnTo>
                  <a:lnTo>
                    <a:pt x="175" y="225"/>
                  </a:lnTo>
                  <a:lnTo>
                    <a:pt x="175" y="225"/>
                  </a:lnTo>
                  <a:lnTo>
                    <a:pt x="171" y="223"/>
                  </a:lnTo>
                  <a:lnTo>
                    <a:pt x="169" y="225"/>
                  </a:lnTo>
                  <a:lnTo>
                    <a:pt x="165" y="227"/>
                  </a:lnTo>
                  <a:lnTo>
                    <a:pt x="151" y="213"/>
                  </a:lnTo>
                  <a:lnTo>
                    <a:pt x="151" y="213"/>
                  </a:lnTo>
                  <a:lnTo>
                    <a:pt x="157" y="205"/>
                  </a:lnTo>
                  <a:lnTo>
                    <a:pt x="161" y="194"/>
                  </a:lnTo>
                  <a:lnTo>
                    <a:pt x="165" y="184"/>
                  </a:lnTo>
                  <a:lnTo>
                    <a:pt x="165" y="174"/>
                  </a:lnTo>
                  <a:lnTo>
                    <a:pt x="165" y="174"/>
                  </a:lnTo>
                  <a:lnTo>
                    <a:pt x="165" y="162"/>
                  </a:lnTo>
                  <a:lnTo>
                    <a:pt x="161" y="150"/>
                  </a:lnTo>
                  <a:lnTo>
                    <a:pt x="155" y="140"/>
                  </a:lnTo>
                  <a:lnTo>
                    <a:pt x="147" y="130"/>
                  </a:lnTo>
                  <a:lnTo>
                    <a:pt x="147" y="130"/>
                  </a:lnTo>
                  <a:lnTo>
                    <a:pt x="139" y="122"/>
                  </a:lnTo>
                  <a:lnTo>
                    <a:pt x="127" y="118"/>
                  </a:lnTo>
                  <a:lnTo>
                    <a:pt x="117" y="114"/>
                  </a:lnTo>
                  <a:lnTo>
                    <a:pt x="105" y="112"/>
                  </a:lnTo>
                  <a:lnTo>
                    <a:pt x="105" y="112"/>
                  </a:lnTo>
                  <a:lnTo>
                    <a:pt x="93" y="114"/>
                  </a:lnTo>
                  <a:lnTo>
                    <a:pt x="81" y="118"/>
                  </a:lnTo>
                  <a:lnTo>
                    <a:pt x="71" y="122"/>
                  </a:lnTo>
                  <a:lnTo>
                    <a:pt x="61" y="130"/>
                  </a:lnTo>
                  <a:lnTo>
                    <a:pt x="61" y="130"/>
                  </a:lnTo>
                  <a:lnTo>
                    <a:pt x="53" y="140"/>
                  </a:lnTo>
                  <a:lnTo>
                    <a:pt x="47" y="150"/>
                  </a:lnTo>
                  <a:lnTo>
                    <a:pt x="45" y="162"/>
                  </a:lnTo>
                  <a:lnTo>
                    <a:pt x="44" y="174"/>
                  </a:lnTo>
                  <a:lnTo>
                    <a:pt x="45" y="186"/>
                  </a:lnTo>
                  <a:lnTo>
                    <a:pt x="47" y="196"/>
                  </a:lnTo>
                  <a:lnTo>
                    <a:pt x="53" y="207"/>
                  </a:lnTo>
                  <a:lnTo>
                    <a:pt x="61" y="217"/>
                  </a:lnTo>
                  <a:lnTo>
                    <a:pt x="61" y="217"/>
                  </a:lnTo>
                  <a:lnTo>
                    <a:pt x="71" y="225"/>
                  </a:lnTo>
                  <a:lnTo>
                    <a:pt x="81" y="231"/>
                  </a:lnTo>
                  <a:lnTo>
                    <a:pt x="93" y="235"/>
                  </a:lnTo>
                  <a:lnTo>
                    <a:pt x="105" y="235"/>
                  </a:lnTo>
                  <a:lnTo>
                    <a:pt x="105" y="235"/>
                  </a:lnTo>
                  <a:lnTo>
                    <a:pt x="115" y="235"/>
                  </a:lnTo>
                  <a:lnTo>
                    <a:pt x="125" y="231"/>
                  </a:lnTo>
                  <a:lnTo>
                    <a:pt x="135" y="227"/>
                  </a:lnTo>
                  <a:lnTo>
                    <a:pt x="143" y="221"/>
                  </a:lnTo>
                  <a:lnTo>
                    <a:pt x="157" y="235"/>
                  </a:lnTo>
                  <a:lnTo>
                    <a:pt x="155" y="239"/>
                  </a:lnTo>
                  <a:lnTo>
                    <a:pt x="155" y="239"/>
                  </a:lnTo>
                  <a:lnTo>
                    <a:pt x="153" y="241"/>
                  </a:lnTo>
                  <a:lnTo>
                    <a:pt x="155" y="245"/>
                  </a:lnTo>
                  <a:lnTo>
                    <a:pt x="179" y="269"/>
                  </a:lnTo>
                  <a:lnTo>
                    <a:pt x="137" y="269"/>
                  </a:lnTo>
                  <a:lnTo>
                    <a:pt x="55" y="269"/>
                  </a:lnTo>
                  <a:lnTo>
                    <a:pt x="55" y="269"/>
                  </a:lnTo>
                  <a:lnTo>
                    <a:pt x="55" y="269"/>
                  </a:lnTo>
                  <a:lnTo>
                    <a:pt x="36" y="269"/>
                  </a:lnTo>
                  <a:lnTo>
                    <a:pt x="36" y="162"/>
                  </a:lnTo>
                  <a:close/>
                  <a:moveTo>
                    <a:pt x="69" y="211"/>
                  </a:moveTo>
                  <a:lnTo>
                    <a:pt x="69" y="211"/>
                  </a:lnTo>
                  <a:lnTo>
                    <a:pt x="61" y="202"/>
                  </a:lnTo>
                  <a:lnTo>
                    <a:pt x="57" y="192"/>
                  </a:lnTo>
                  <a:lnTo>
                    <a:pt x="55" y="184"/>
                  </a:lnTo>
                  <a:lnTo>
                    <a:pt x="53" y="174"/>
                  </a:lnTo>
                  <a:lnTo>
                    <a:pt x="55" y="164"/>
                  </a:lnTo>
                  <a:lnTo>
                    <a:pt x="57" y="154"/>
                  </a:lnTo>
                  <a:lnTo>
                    <a:pt x="61" y="146"/>
                  </a:lnTo>
                  <a:lnTo>
                    <a:pt x="69" y="138"/>
                  </a:lnTo>
                  <a:lnTo>
                    <a:pt x="69" y="138"/>
                  </a:lnTo>
                  <a:lnTo>
                    <a:pt x="77" y="130"/>
                  </a:lnTo>
                  <a:lnTo>
                    <a:pt x="85" y="126"/>
                  </a:lnTo>
                  <a:lnTo>
                    <a:pt x="95" y="124"/>
                  </a:lnTo>
                  <a:lnTo>
                    <a:pt x="105" y="122"/>
                  </a:lnTo>
                  <a:lnTo>
                    <a:pt x="105" y="122"/>
                  </a:lnTo>
                  <a:lnTo>
                    <a:pt x="115" y="124"/>
                  </a:lnTo>
                  <a:lnTo>
                    <a:pt x="123" y="126"/>
                  </a:lnTo>
                  <a:lnTo>
                    <a:pt x="133" y="130"/>
                  </a:lnTo>
                  <a:lnTo>
                    <a:pt x="141" y="138"/>
                  </a:lnTo>
                  <a:lnTo>
                    <a:pt x="141" y="138"/>
                  </a:lnTo>
                  <a:lnTo>
                    <a:pt x="147" y="146"/>
                  </a:lnTo>
                  <a:lnTo>
                    <a:pt x="151" y="154"/>
                  </a:lnTo>
                  <a:lnTo>
                    <a:pt x="155" y="164"/>
                  </a:lnTo>
                  <a:lnTo>
                    <a:pt x="155" y="174"/>
                  </a:lnTo>
                  <a:lnTo>
                    <a:pt x="155" y="174"/>
                  </a:lnTo>
                  <a:lnTo>
                    <a:pt x="155" y="184"/>
                  </a:lnTo>
                  <a:lnTo>
                    <a:pt x="151" y="192"/>
                  </a:lnTo>
                  <a:lnTo>
                    <a:pt x="147" y="202"/>
                  </a:lnTo>
                  <a:lnTo>
                    <a:pt x="141" y="211"/>
                  </a:lnTo>
                  <a:lnTo>
                    <a:pt x="141" y="211"/>
                  </a:lnTo>
                  <a:lnTo>
                    <a:pt x="133" y="217"/>
                  </a:lnTo>
                  <a:lnTo>
                    <a:pt x="123" y="221"/>
                  </a:lnTo>
                  <a:lnTo>
                    <a:pt x="115" y="225"/>
                  </a:lnTo>
                  <a:lnTo>
                    <a:pt x="105" y="225"/>
                  </a:lnTo>
                  <a:lnTo>
                    <a:pt x="95" y="225"/>
                  </a:lnTo>
                  <a:lnTo>
                    <a:pt x="85" y="221"/>
                  </a:lnTo>
                  <a:lnTo>
                    <a:pt x="77" y="217"/>
                  </a:lnTo>
                  <a:lnTo>
                    <a:pt x="69" y="211"/>
                  </a:lnTo>
                  <a:lnTo>
                    <a:pt x="69" y="211"/>
                  </a:lnTo>
                  <a:close/>
                  <a:moveTo>
                    <a:pt x="63" y="279"/>
                  </a:moveTo>
                  <a:lnTo>
                    <a:pt x="99" y="279"/>
                  </a:lnTo>
                  <a:lnTo>
                    <a:pt x="65" y="289"/>
                  </a:lnTo>
                  <a:lnTo>
                    <a:pt x="63" y="279"/>
                  </a:lnTo>
                  <a:close/>
                  <a:moveTo>
                    <a:pt x="241" y="311"/>
                  </a:moveTo>
                  <a:lnTo>
                    <a:pt x="241" y="311"/>
                  </a:lnTo>
                  <a:lnTo>
                    <a:pt x="239" y="313"/>
                  </a:lnTo>
                  <a:lnTo>
                    <a:pt x="235" y="311"/>
                  </a:lnTo>
                  <a:lnTo>
                    <a:pt x="193" y="271"/>
                  </a:lnTo>
                  <a:lnTo>
                    <a:pt x="165" y="241"/>
                  </a:lnTo>
                  <a:lnTo>
                    <a:pt x="171" y="235"/>
                  </a:lnTo>
                  <a:lnTo>
                    <a:pt x="211" y="275"/>
                  </a:lnTo>
                  <a:lnTo>
                    <a:pt x="241" y="305"/>
                  </a:lnTo>
                  <a:lnTo>
                    <a:pt x="241" y="305"/>
                  </a:lnTo>
                  <a:lnTo>
                    <a:pt x="243" y="309"/>
                  </a:lnTo>
                  <a:lnTo>
                    <a:pt x="243" y="309"/>
                  </a:lnTo>
                  <a:lnTo>
                    <a:pt x="241" y="311"/>
                  </a:lnTo>
                  <a:lnTo>
                    <a:pt x="241" y="31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26" name="Freeform 136">
              <a:extLst>
                <a:ext uri="{FF2B5EF4-FFF2-40B4-BE49-F238E27FC236}">
                  <a16:creationId xmlns:a16="http://schemas.microsoft.com/office/drawing/2014/main" id="{0D52C323-F192-33FB-DBD0-F0C8D90F9E18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1050" y="1863725"/>
              <a:ext cx="219075" cy="15875"/>
            </a:xfrm>
            <a:custGeom>
              <a:avLst/>
              <a:gdLst>
                <a:gd name="T0" fmla="*/ 6 w 138"/>
                <a:gd name="T1" fmla="*/ 10 h 10"/>
                <a:gd name="T2" fmla="*/ 134 w 138"/>
                <a:gd name="T3" fmla="*/ 10 h 10"/>
                <a:gd name="T4" fmla="*/ 134 w 138"/>
                <a:gd name="T5" fmla="*/ 10 h 10"/>
                <a:gd name="T6" fmla="*/ 136 w 138"/>
                <a:gd name="T7" fmla="*/ 8 h 10"/>
                <a:gd name="T8" fmla="*/ 138 w 138"/>
                <a:gd name="T9" fmla="*/ 4 h 10"/>
                <a:gd name="T10" fmla="*/ 138 w 138"/>
                <a:gd name="T11" fmla="*/ 4 h 10"/>
                <a:gd name="T12" fmla="*/ 136 w 138"/>
                <a:gd name="T13" fmla="*/ 0 h 10"/>
                <a:gd name="T14" fmla="*/ 134 w 138"/>
                <a:gd name="T15" fmla="*/ 0 h 10"/>
                <a:gd name="T16" fmla="*/ 6 w 138"/>
                <a:gd name="T17" fmla="*/ 0 h 10"/>
                <a:gd name="T18" fmla="*/ 6 w 138"/>
                <a:gd name="T19" fmla="*/ 0 h 10"/>
                <a:gd name="T20" fmla="*/ 2 w 138"/>
                <a:gd name="T21" fmla="*/ 0 h 10"/>
                <a:gd name="T22" fmla="*/ 0 w 138"/>
                <a:gd name="T23" fmla="*/ 4 h 10"/>
                <a:gd name="T24" fmla="*/ 0 w 138"/>
                <a:gd name="T25" fmla="*/ 4 h 10"/>
                <a:gd name="T26" fmla="*/ 2 w 138"/>
                <a:gd name="T27" fmla="*/ 8 h 10"/>
                <a:gd name="T28" fmla="*/ 6 w 138"/>
                <a:gd name="T29" fmla="*/ 10 h 10"/>
                <a:gd name="T30" fmla="*/ 6 w 138"/>
                <a:gd name="T3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8" h="10">
                  <a:moveTo>
                    <a:pt x="6" y="10"/>
                  </a:moveTo>
                  <a:lnTo>
                    <a:pt x="134" y="10"/>
                  </a:lnTo>
                  <a:lnTo>
                    <a:pt x="134" y="10"/>
                  </a:lnTo>
                  <a:lnTo>
                    <a:pt x="136" y="8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6" y="0"/>
                  </a:lnTo>
                  <a:lnTo>
                    <a:pt x="134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6" y="10"/>
                  </a:lnTo>
                  <a:lnTo>
                    <a:pt x="6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27" name="Freeform 137">
              <a:extLst>
                <a:ext uri="{FF2B5EF4-FFF2-40B4-BE49-F238E27FC236}">
                  <a16:creationId xmlns:a16="http://schemas.microsoft.com/office/drawing/2014/main" id="{4002A027-BFFB-5679-6279-8C81009B0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9671050" y="1905000"/>
              <a:ext cx="219075" cy="15875"/>
            </a:xfrm>
            <a:custGeom>
              <a:avLst/>
              <a:gdLst>
                <a:gd name="T0" fmla="*/ 6 w 138"/>
                <a:gd name="T1" fmla="*/ 10 h 10"/>
                <a:gd name="T2" fmla="*/ 134 w 138"/>
                <a:gd name="T3" fmla="*/ 10 h 10"/>
                <a:gd name="T4" fmla="*/ 134 w 138"/>
                <a:gd name="T5" fmla="*/ 10 h 10"/>
                <a:gd name="T6" fmla="*/ 136 w 138"/>
                <a:gd name="T7" fmla="*/ 10 h 10"/>
                <a:gd name="T8" fmla="*/ 138 w 138"/>
                <a:gd name="T9" fmla="*/ 6 h 10"/>
                <a:gd name="T10" fmla="*/ 138 w 138"/>
                <a:gd name="T11" fmla="*/ 6 h 10"/>
                <a:gd name="T12" fmla="*/ 136 w 138"/>
                <a:gd name="T13" fmla="*/ 2 h 10"/>
                <a:gd name="T14" fmla="*/ 134 w 138"/>
                <a:gd name="T15" fmla="*/ 0 h 10"/>
                <a:gd name="T16" fmla="*/ 6 w 138"/>
                <a:gd name="T17" fmla="*/ 0 h 10"/>
                <a:gd name="T18" fmla="*/ 6 w 138"/>
                <a:gd name="T19" fmla="*/ 0 h 10"/>
                <a:gd name="T20" fmla="*/ 2 w 138"/>
                <a:gd name="T21" fmla="*/ 2 h 10"/>
                <a:gd name="T22" fmla="*/ 0 w 138"/>
                <a:gd name="T23" fmla="*/ 6 h 10"/>
                <a:gd name="T24" fmla="*/ 0 w 138"/>
                <a:gd name="T25" fmla="*/ 6 h 10"/>
                <a:gd name="T26" fmla="*/ 2 w 138"/>
                <a:gd name="T27" fmla="*/ 10 h 10"/>
                <a:gd name="T28" fmla="*/ 6 w 138"/>
                <a:gd name="T29" fmla="*/ 10 h 10"/>
                <a:gd name="T30" fmla="*/ 6 w 138"/>
                <a:gd name="T3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8" h="10">
                  <a:moveTo>
                    <a:pt x="6" y="10"/>
                  </a:moveTo>
                  <a:lnTo>
                    <a:pt x="134" y="10"/>
                  </a:lnTo>
                  <a:lnTo>
                    <a:pt x="134" y="10"/>
                  </a:lnTo>
                  <a:lnTo>
                    <a:pt x="136" y="10"/>
                  </a:lnTo>
                  <a:lnTo>
                    <a:pt x="138" y="6"/>
                  </a:lnTo>
                  <a:lnTo>
                    <a:pt x="138" y="6"/>
                  </a:lnTo>
                  <a:lnTo>
                    <a:pt x="136" y="2"/>
                  </a:lnTo>
                  <a:lnTo>
                    <a:pt x="134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6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28" name="Freeform 138">
              <a:extLst>
                <a:ext uri="{FF2B5EF4-FFF2-40B4-BE49-F238E27FC236}">
                  <a16:creationId xmlns:a16="http://schemas.microsoft.com/office/drawing/2014/main" id="{C5732F69-7174-6330-50C1-AEB0DE371019}"/>
                </a:ext>
              </a:extLst>
            </p:cNvPr>
            <p:cNvSpPr>
              <a:spLocks/>
            </p:cNvSpPr>
            <p:nvPr/>
          </p:nvSpPr>
          <p:spPr bwMode="auto">
            <a:xfrm>
              <a:off x="9820275" y="1949450"/>
              <a:ext cx="69850" cy="15875"/>
            </a:xfrm>
            <a:custGeom>
              <a:avLst/>
              <a:gdLst>
                <a:gd name="T0" fmla="*/ 44 w 44"/>
                <a:gd name="T1" fmla="*/ 4 h 10"/>
                <a:gd name="T2" fmla="*/ 44 w 44"/>
                <a:gd name="T3" fmla="*/ 4 h 10"/>
                <a:gd name="T4" fmla="*/ 42 w 44"/>
                <a:gd name="T5" fmla="*/ 2 h 10"/>
                <a:gd name="T6" fmla="*/ 40 w 44"/>
                <a:gd name="T7" fmla="*/ 0 h 10"/>
                <a:gd name="T8" fmla="*/ 4 w 44"/>
                <a:gd name="T9" fmla="*/ 0 h 10"/>
                <a:gd name="T10" fmla="*/ 4 w 44"/>
                <a:gd name="T11" fmla="*/ 0 h 10"/>
                <a:gd name="T12" fmla="*/ 2 w 44"/>
                <a:gd name="T13" fmla="*/ 2 h 10"/>
                <a:gd name="T14" fmla="*/ 0 w 44"/>
                <a:gd name="T15" fmla="*/ 4 h 10"/>
                <a:gd name="T16" fmla="*/ 0 w 44"/>
                <a:gd name="T17" fmla="*/ 4 h 10"/>
                <a:gd name="T18" fmla="*/ 2 w 44"/>
                <a:gd name="T19" fmla="*/ 8 h 10"/>
                <a:gd name="T20" fmla="*/ 4 w 44"/>
                <a:gd name="T21" fmla="*/ 10 h 10"/>
                <a:gd name="T22" fmla="*/ 40 w 44"/>
                <a:gd name="T23" fmla="*/ 10 h 10"/>
                <a:gd name="T24" fmla="*/ 40 w 44"/>
                <a:gd name="T25" fmla="*/ 10 h 10"/>
                <a:gd name="T26" fmla="*/ 42 w 44"/>
                <a:gd name="T27" fmla="*/ 8 h 10"/>
                <a:gd name="T28" fmla="*/ 44 w 44"/>
                <a:gd name="T29" fmla="*/ 4 h 10"/>
                <a:gd name="T30" fmla="*/ 44 w 44"/>
                <a:gd name="T31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" h="10">
                  <a:moveTo>
                    <a:pt x="44" y="4"/>
                  </a:moveTo>
                  <a:lnTo>
                    <a:pt x="44" y="4"/>
                  </a:lnTo>
                  <a:lnTo>
                    <a:pt x="42" y="2"/>
                  </a:lnTo>
                  <a:lnTo>
                    <a:pt x="4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2" y="8"/>
                  </a:lnTo>
                  <a:lnTo>
                    <a:pt x="4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2" y="8"/>
                  </a:lnTo>
                  <a:lnTo>
                    <a:pt x="44" y="4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29" name="Freeform 139">
              <a:extLst>
                <a:ext uri="{FF2B5EF4-FFF2-40B4-BE49-F238E27FC236}">
                  <a16:creationId xmlns:a16="http://schemas.microsoft.com/office/drawing/2014/main" id="{926A2D48-5C17-75A3-43B7-F0E6AD2D1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8850" y="1993900"/>
              <a:ext cx="41275" cy="15875"/>
            </a:xfrm>
            <a:custGeom>
              <a:avLst/>
              <a:gdLst>
                <a:gd name="T0" fmla="*/ 22 w 26"/>
                <a:gd name="T1" fmla="*/ 0 h 10"/>
                <a:gd name="T2" fmla="*/ 4 w 26"/>
                <a:gd name="T3" fmla="*/ 0 h 10"/>
                <a:gd name="T4" fmla="*/ 4 w 26"/>
                <a:gd name="T5" fmla="*/ 0 h 10"/>
                <a:gd name="T6" fmla="*/ 0 w 26"/>
                <a:gd name="T7" fmla="*/ 0 h 10"/>
                <a:gd name="T8" fmla="*/ 0 w 26"/>
                <a:gd name="T9" fmla="*/ 4 h 10"/>
                <a:gd name="T10" fmla="*/ 0 w 26"/>
                <a:gd name="T11" fmla="*/ 4 h 10"/>
                <a:gd name="T12" fmla="*/ 0 w 26"/>
                <a:gd name="T13" fmla="*/ 8 h 10"/>
                <a:gd name="T14" fmla="*/ 4 w 26"/>
                <a:gd name="T15" fmla="*/ 10 h 10"/>
                <a:gd name="T16" fmla="*/ 22 w 26"/>
                <a:gd name="T17" fmla="*/ 10 h 10"/>
                <a:gd name="T18" fmla="*/ 22 w 26"/>
                <a:gd name="T19" fmla="*/ 10 h 10"/>
                <a:gd name="T20" fmla="*/ 24 w 26"/>
                <a:gd name="T21" fmla="*/ 8 h 10"/>
                <a:gd name="T22" fmla="*/ 26 w 26"/>
                <a:gd name="T23" fmla="*/ 4 h 10"/>
                <a:gd name="T24" fmla="*/ 26 w 26"/>
                <a:gd name="T25" fmla="*/ 4 h 10"/>
                <a:gd name="T26" fmla="*/ 24 w 26"/>
                <a:gd name="T27" fmla="*/ 0 h 10"/>
                <a:gd name="T28" fmla="*/ 22 w 26"/>
                <a:gd name="T29" fmla="*/ 0 h 10"/>
                <a:gd name="T30" fmla="*/ 22 w 26"/>
                <a:gd name="T3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10">
                  <a:moveTo>
                    <a:pt x="22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4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4" y="8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4" y="0"/>
                  </a:lnTo>
                  <a:lnTo>
                    <a:pt x="22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0" name="Freeform 140">
              <a:extLst>
                <a:ext uri="{FF2B5EF4-FFF2-40B4-BE49-F238E27FC236}">
                  <a16:creationId xmlns:a16="http://schemas.microsoft.com/office/drawing/2014/main" id="{2274E70A-3570-D503-3DB5-8E07BA3F9CE4}"/>
                </a:ext>
              </a:extLst>
            </p:cNvPr>
            <p:cNvSpPr>
              <a:spLocks/>
            </p:cNvSpPr>
            <p:nvPr/>
          </p:nvSpPr>
          <p:spPr bwMode="auto">
            <a:xfrm>
              <a:off x="9852025" y="2035175"/>
              <a:ext cx="38100" cy="15875"/>
            </a:xfrm>
            <a:custGeom>
              <a:avLst/>
              <a:gdLst>
                <a:gd name="T0" fmla="*/ 6 w 24"/>
                <a:gd name="T1" fmla="*/ 10 h 10"/>
                <a:gd name="T2" fmla="*/ 20 w 24"/>
                <a:gd name="T3" fmla="*/ 10 h 10"/>
                <a:gd name="T4" fmla="*/ 20 w 24"/>
                <a:gd name="T5" fmla="*/ 10 h 10"/>
                <a:gd name="T6" fmla="*/ 22 w 24"/>
                <a:gd name="T7" fmla="*/ 8 h 10"/>
                <a:gd name="T8" fmla="*/ 24 w 24"/>
                <a:gd name="T9" fmla="*/ 6 h 10"/>
                <a:gd name="T10" fmla="*/ 24 w 24"/>
                <a:gd name="T11" fmla="*/ 6 h 10"/>
                <a:gd name="T12" fmla="*/ 22 w 24"/>
                <a:gd name="T13" fmla="*/ 2 h 10"/>
                <a:gd name="T14" fmla="*/ 20 w 24"/>
                <a:gd name="T15" fmla="*/ 0 h 10"/>
                <a:gd name="T16" fmla="*/ 6 w 24"/>
                <a:gd name="T17" fmla="*/ 0 h 10"/>
                <a:gd name="T18" fmla="*/ 6 w 24"/>
                <a:gd name="T19" fmla="*/ 0 h 10"/>
                <a:gd name="T20" fmla="*/ 2 w 24"/>
                <a:gd name="T21" fmla="*/ 2 h 10"/>
                <a:gd name="T22" fmla="*/ 0 w 24"/>
                <a:gd name="T23" fmla="*/ 6 h 10"/>
                <a:gd name="T24" fmla="*/ 0 w 24"/>
                <a:gd name="T25" fmla="*/ 6 h 10"/>
                <a:gd name="T26" fmla="*/ 2 w 24"/>
                <a:gd name="T27" fmla="*/ 8 h 10"/>
                <a:gd name="T28" fmla="*/ 6 w 24"/>
                <a:gd name="T29" fmla="*/ 10 h 10"/>
                <a:gd name="T30" fmla="*/ 6 w 24"/>
                <a:gd name="T31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10">
                  <a:moveTo>
                    <a:pt x="6" y="10"/>
                  </a:moveTo>
                  <a:lnTo>
                    <a:pt x="20" y="10"/>
                  </a:lnTo>
                  <a:lnTo>
                    <a:pt x="20" y="10"/>
                  </a:lnTo>
                  <a:lnTo>
                    <a:pt x="22" y="8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2" y="2"/>
                  </a:lnTo>
                  <a:lnTo>
                    <a:pt x="20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8"/>
                  </a:lnTo>
                  <a:lnTo>
                    <a:pt x="6" y="10"/>
                  </a:lnTo>
                  <a:lnTo>
                    <a:pt x="6" y="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1" name="Freeform 141">
              <a:extLst>
                <a:ext uri="{FF2B5EF4-FFF2-40B4-BE49-F238E27FC236}">
                  <a16:creationId xmlns:a16="http://schemas.microsoft.com/office/drawing/2014/main" id="{0D939982-7732-EEF4-9296-924394A1C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848850" y="2079625"/>
              <a:ext cx="41275" cy="17463"/>
            </a:xfrm>
            <a:custGeom>
              <a:avLst/>
              <a:gdLst>
                <a:gd name="T0" fmla="*/ 22 w 26"/>
                <a:gd name="T1" fmla="*/ 0 h 11"/>
                <a:gd name="T2" fmla="*/ 4 w 26"/>
                <a:gd name="T3" fmla="*/ 0 h 11"/>
                <a:gd name="T4" fmla="*/ 4 w 26"/>
                <a:gd name="T5" fmla="*/ 0 h 11"/>
                <a:gd name="T6" fmla="*/ 0 w 26"/>
                <a:gd name="T7" fmla="*/ 2 h 11"/>
                <a:gd name="T8" fmla="*/ 0 w 26"/>
                <a:gd name="T9" fmla="*/ 4 h 11"/>
                <a:gd name="T10" fmla="*/ 0 w 26"/>
                <a:gd name="T11" fmla="*/ 4 h 11"/>
                <a:gd name="T12" fmla="*/ 0 w 26"/>
                <a:gd name="T13" fmla="*/ 9 h 11"/>
                <a:gd name="T14" fmla="*/ 4 w 26"/>
                <a:gd name="T15" fmla="*/ 11 h 11"/>
                <a:gd name="T16" fmla="*/ 22 w 26"/>
                <a:gd name="T17" fmla="*/ 11 h 11"/>
                <a:gd name="T18" fmla="*/ 22 w 26"/>
                <a:gd name="T19" fmla="*/ 11 h 11"/>
                <a:gd name="T20" fmla="*/ 24 w 26"/>
                <a:gd name="T21" fmla="*/ 9 h 11"/>
                <a:gd name="T22" fmla="*/ 26 w 26"/>
                <a:gd name="T23" fmla="*/ 4 h 11"/>
                <a:gd name="T24" fmla="*/ 26 w 26"/>
                <a:gd name="T25" fmla="*/ 4 h 11"/>
                <a:gd name="T26" fmla="*/ 24 w 26"/>
                <a:gd name="T27" fmla="*/ 2 h 11"/>
                <a:gd name="T28" fmla="*/ 22 w 26"/>
                <a:gd name="T29" fmla="*/ 0 h 11"/>
                <a:gd name="T30" fmla="*/ 22 w 26"/>
                <a:gd name="T3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6" h="11">
                  <a:moveTo>
                    <a:pt x="22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9"/>
                  </a:lnTo>
                  <a:lnTo>
                    <a:pt x="4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4" y="9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4" y="2"/>
                  </a:lnTo>
                  <a:lnTo>
                    <a:pt x="22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180" name="CasellaDiTesto 179">
            <a:extLst>
              <a:ext uri="{FF2B5EF4-FFF2-40B4-BE49-F238E27FC236}">
                <a16:creationId xmlns:a16="http://schemas.microsoft.com/office/drawing/2014/main" id="{13283579-C36D-E219-E31C-966CECD6F2E2}"/>
              </a:ext>
            </a:extLst>
          </p:cNvPr>
          <p:cNvSpPr txBox="1"/>
          <p:nvPr/>
        </p:nvSpPr>
        <p:spPr>
          <a:xfrm>
            <a:off x="5359531" y="6501222"/>
            <a:ext cx="6489591" cy="1661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000" b="0">
                <a:latin typeface="+mj-lt"/>
                <a:ea typeface="+mj-ea"/>
                <a:cs typeface="+mj-cs"/>
              </a:defRPr>
            </a:lvl1pPr>
          </a:lstStyle>
          <a:p>
            <a:r>
              <a:rPr lang="it-IT" sz="1200" dirty="0"/>
              <a:t>https://www.fsitaliane.it/content/fsitaliane/en/fs-research-centre.html</a:t>
            </a:r>
          </a:p>
        </p:txBody>
      </p:sp>
      <p:pic>
        <p:nvPicPr>
          <p:cNvPr id="181" name="Elemento grafico 180" descr="Gesto doppio tocco con riempimento a tinta unita">
            <a:extLst>
              <a:ext uri="{FF2B5EF4-FFF2-40B4-BE49-F238E27FC236}">
                <a16:creationId xmlns:a16="http://schemas.microsoft.com/office/drawing/2014/main" id="{1482B8DE-8C92-8D43-58F8-93A404E653E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946416" y="6430227"/>
            <a:ext cx="439539" cy="439539"/>
          </a:xfrm>
          <a:prstGeom prst="rect">
            <a:avLst/>
          </a:prstGeom>
        </p:spPr>
      </p:pic>
      <p:sp>
        <p:nvSpPr>
          <p:cNvPr id="209" name="CasellaDiTesto 208">
            <a:extLst>
              <a:ext uri="{FF2B5EF4-FFF2-40B4-BE49-F238E27FC236}">
                <a16:creationId xmlns:a16="http://schemas.microsoft.com/office/drawing/2014/main" id="{60AE840C-4F70-9E2A-D654-FF135DEA9AFA}"/>
              </a:ext>
            </a:extLst>
          </p:cNvPr>
          <p:cNvSpPr txBox="1"/>
          <p:nvPr/>
        </p:nvSpPr>
        <p:spPr>
          <a:xfrm>
            <a:off x="8173433" y="5312627"/>
            <a:ext cx="202474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b="1" dirty="0"/>
              <a:t>STRATEGIC OBSERVATORY</a:t>
            </a:r>
          </a:p>
          <a:p>
            <a:pPr algn="ctr"/>
            <a:r>
              <a:rPr lang="it-IT" sz="1000" dirty="0"/>
              <a:t>Monitoring </a:t>
            </a:r>
            <a:r>
              <a:rPr lang="it-IT" sz="1000" dirty="0" err="1"/>
              <a:t>external</a:t>
            </a:r>
            <a:r>
              <a:rPr lang="it-IT" sz="1000" dirty="0"/>
              <a:t> </a:t>
            </a:r>
            <a:r>
              <a:rPr lang="it-IT" sz="1000" dirty="0" err="1"/>
              <a:t>KPIs</a:t>
            </a:r>
            <a:r>
              <a:rPr lang="it-IT" sz="1000" dirty="0"/>
              <a:t> and markets</a:t>
            </a:r>
          </a:p>
        </p:txBody>
      </p:sp>
      <p:sp>
        <p:nvSpPr>
          <p:cNvPr id="210" name="CasellaDiTesto 209">
            <a:extLst>
              <a:ext uri="{FF2B5EF4-FFF2-40B4-BE49-F238E27FC236}">
                <a16:creationId xmlns:a16="http://schemas.microsoft.com/office/drawing/2014/main" id="{B97ADF41-483E-1795-C32A-0667946BE8A5}"/>
              </a:ext>
            </a:extLst>
          </p:cNvPr>
          <p:cNvSpPr txBox="1"/>
          <p:nvPr/>
        </p:nvSpPr>
        <p:spPr>
          <a:xfrm>
            <a:off x="10215183" y="4855849"/>
            <a:ext cx="20247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000" b="1" dirty="0"/>
              <a:t>MOST SHAREHOLDING</a:t>
            </a:r>
          </a:p>
          <a:p>
            <a:pPr algn="ctr"/>
            <a:r>
              <a:rPr lang="it-IT" sz="1000" dirty="0" err="1"/>
              <a:t>Partecipating</a:t>
            </a:r>
            <a:r>
              <a:rPr lang="it-IT" sz="1000" dirty="0"/>
              <a:t> to The National Centres on </a:t>
            </a:r>
            <a:r>
              <a:rPr lang="it-IT" sz="1000" dirty="0" err="1"/>
              <a:t>Sustainable</a:t>
            </a:r>
            <a:r>
              <a:rPr lang="it-IT" sz="1000" dirty="0"/>
              <a:t> </a:t>
            </a:r>
            <a:r>
              <a:rPr lang="it-IT" sz="1000" dirty="0" err="1"/>
              <a:t>mobility</a:t>
            </a:r>
            <a:endParaRPr lang="it-IT" sz="1000" dirty="0"/>
          </a:p>
        </p:txBody>
      </p:sp>
      <p:cxnSp>
        <p:nvCxnSpPr>
          <p:cNvPr id="211" name="Connettore diritto 210">
            <a:extLst>
              <a:ext uri="{FF2B5EF4-FFF2-40B4-BE49-F238E27FC236}">
                <a16:creationId xmlns:a16="http://schemas.microsoft.com/office/drawing/2014/main" id="{8C5621BE-00D8-00F2-462E-DC360050544B}"/>
              </a:ext>
            </a:extLst>
          </p:cNvPr>
          <p:cNvCxnSpPr>
            <a:cxnSpLocks/>
          </p:cNvCxnSpPr>
          <p:nvPr/>
        </p:nvCxnSpPr>
        <p:spPr>
          <a:xfrm>
            <a:off x="11198508" y="2857079"/>
            <a:ext cx="0" cy="1951535"/>
          </a:xfrm>
          <a:prstGeom prst="line">
            <a:avLst/>
          </a:prstGeom>
          <a:ln w="1270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Ovale 211">
            <a:extLst>
              <a:ext uri="{FF2B5EF4-FFF2-40B4-BE49-F238E27FC236}">
                <a16:creationId xmlns:a16="http://schemas.microsoft.com/office/drawing/2014/main" id="{55688278-161D-C73E-C8E2-1C3C5B5687BD}"/>
              </a:ext>
            </a:extLst>
          </p:cNvPr>
          <p:cNvSpPr/>
          <p:nvPr/>
        </p:nvSpPr>
        <p:spPr>
          <a:xfrm>
            <a:off x="10995308" y="3617695"/>
            <a:ext cx="406400" cy="4064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3" name="Ovale 212">
            <a:extLst>
              <a:ext uri="{FF2B5EF4-FFF2-40B4-BE49-F238E27FC236}">
                <a16:creationId xmlns:a16="http://schemas.microsoft.com/office/drawing/2014/main" id="{62ECE7F7-8F81-BAAD-C20F-21D9C7017ACA}"/>
              </a:ext>
            </a:extLst>
          </p:cNvPr>
          <p:cNvSpPr/>
          <p:nvPr/>
        </p:nvSpPr>
        <p:spPr>
          <a:xfrm>
            <a:off x="11026096" y="3648483"/>
            <a:ext cx="344824" cy="344824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214" name="Connettore diritto 213">
            <a:extLst>
              <a:ext uri="{FF2B5EF4-FFF2-40B4-BE49-F238E27FC236}">
                <a16:creationId xmlns:a16="http://schemas.microsoft.com/office/drawing/2014/main" id="{0E948926-4ECA-1CE6-5196-ABE87E2972C6}"/>
              </a:ext>
            </a:extLst>
          </p:cNvPr>
          <p:cNvCxnSpPr>
            <a:cxnSpLocks/>
          </p:cNvCxnSpPr>
          <p:nvPr/>
        </p:nvCxnSpPr>
        <p:spPr>
          <a:xfrm>
            <a:off x="9223241" y="3338818"/>
            <a:ext cx="0" cy="1802877"/>
          </a:xfrm>
          <a:prstGeom prst="line">
            <a:avLst/>
          </a:prstGeom>
          <a:ln w="12700">
            <a:solidFill>
              <a:schemeClr val="tx1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5" name="Ovale 214">
            <a:extLst>
              <a:ext uri="{FF2B5EF4-FFF2-40B4-BE49-F238E27FC236}">
                <a16:creationId xmlns:a16="http://schemas.microsoft.com/office/drawing/2014/main" id="{B8B771C3-7FC2-94A0-F50F-8D9C5056A383}"/>
              </a:ext>
            </a:extLst>
          </p:cNvPr>
          <p:cNvSpPr/>
          <p:nvPr/>
        </p:nvSpPr>
        <p:spPr>
          <a:xfrm>
            <a:off x="9020041" y="3617695"/>
            <a:ext cx="406400" cy="406400"/>
          </a:xfrm>
          <a:prstGeom prst="ellipse">
            <a:avLst/>
          </a:pr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16" name="Ovale 215">
            <a:extLst>
              <a:ext uri="{FF2B5EF4-FFF2-40B4-BE49-F238E27FC236}">
                <a16:creationId xmlns:a16="http://schemas.microsoft.com/office/drawing/2014/main" id="{F50C3562-0FC9-FAC0-7E67-727E209D8C79}"/>
              </a:ext>
            </a:extLst>
          </p:cNvPr>
          <p:cNvSpPr/>
          <p:nvPr/>
        </p:nvSpPr>
        <p:spPr>
          <a:xfrm>
            <a:off x="9057336" y="3648483"/>
            <a:ext cx="344824" cy="344824"/>
          </a:xfrm>
          <a:prstGeom prst="ellipse">
            <a:avLst/>
          </a:prstGeom>
          <a:solidFill>
            <a:srgbClr val="192B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7" name="Titolo 236">
            <a:extLst>
              <a:ext uri="{FF2B5EF4-FFF2-40B4-BE49-F238E27FC236}">
                <a16:creationId xmlns:a16="http://schemas.microsoft.com/office/drawing/2014/main" id="{DB9C3473-DC53-CFA5-6785-21FF460556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FS </a:t>
            </a:r>
            <a:r>
              <a:rPr lang="it-IT" dirty="0" err="1"/>
              <a:t>Research</a:t>
            </a:r>
            <a:r>
              <a:rPr lang="it-IT" dirty="0"/>
              <a:t> Centre</a:t>
            </a:r>
          </a:p>
        </p:txBody>
      </p:sp>
      <p:pic>
        <p:nvPicPr>
          <p:cNvPr id="2" name="object 35">
            <a:extLst>
              <a:ext uri="{FF2B5EF4-FFF2-40B4-BE49-F238E27FC236}">
                <a16:creationId xmlns:a16="http://schemas.microsoft.com/office/drawing/2014/main" id="{D4FC0899-3919-946D-7278-D253919565D1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3793088" y="870858"/>
            <a:ext cx="1838325" cy="204003"/>
          </a:xfrm>
          <a:prstGeom prst="rect">
            <a:avLst/>
          </a:prstGeom>
        </p:spPr>
      </p:pic>
      <p:pic>
        <p:nvPicPr>
          <p:cNvPr id="4" name="object 35">
            <a:extLst>
              <a:ext uri="{FF2B5EF4-FFF2-40B4-BE49-F238E27FC236}">
                <a16:creationId xmlns:a16="http://schemas.microsoft.com/office/drawing/2014/main" id="{A1B9CEA4-7D7A-C9EC-C827-FE735BA5C0E2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4100625" y="468080"/>
            <a:ext cx="1223252" cy="352244"/>
          </a:xfrm>
          <a:prstGeom prst="rect">
            <a:avLst/>
          </a:prstGeom>
        </p:spPr>
      </p:pic>
      <p:sp>
        <p:nvSpPr>
          <p:cNvPr id="15" name="Rettangolo 14">
            <a:extLst>
              <a:ext uri="{FF2B5EF4-FFF2-40B4-BE49-F238E27FC236}">
                <a16:creationId xmlns:a16="http://schemas.microsoft.com/office/drawing/2014/main" id="{3298B911-97F2-30A8-BEF7-8D40B708F1AB}"/>
              </a:ext>
            </a:extLst>
          </p:cNvPr>
          <p:cNvSpPr/>
          <p:nvPr/>
        </p:nvSpPr>
        <p:spPr>
          <a:xfrm>
            <a:off x="6010020" y="646610"/>
            <a:ext cx="1253949" cy="448495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200" dirty="0"/>
              <a:t>Corporate Affairs</a:t>
            </a:r>
          </a:p>
        </p:txBody>
      </p:sp>
      <p:pic>
        <p:nvPicPr>
          <p:cNvPr id="18" name="Immagine 17">
            <a:extLst>
              <a:ext uri="{FF2B5EF4-FFF2-40B4-BE49-F238E27FC236}">
                <a16:creationId xmlns:a16="http://schemas.microsoft.com/office/drawing/2014/main" id="{6E4AF5C7-33AC-4711-CD0C-AA08C94FB78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9271" y="1089171"/>
            <a:ext cx="2045166" cy="342978"/>
          </a:xfrm>
          <a:prstGeom prst="rect">
            <a:avLst/>
          </a:prstGeom>
        </p:spPr>
      </p:pic>
      <p:cxnSp>
        <p:nvCxnSpPr>
          <p:cNvPr id="20" name="Connettore a gomito 19">
            <a:extLst>
              <a:ext uri="{FF2B5EF4-FFF2-40B4-BE49-F238E27FC236}">
                <a16:creationId xmlns:a16="http://schemas.microsoft.com/office/drawing/2014/main" id="{1328F727-259E-89F3-844F-3369042B89E9}"/>
              </a:ext>
            </a:extLst>
          </p:cNvPr>
          <p:cNvCxnSpPr>
            <a:stCxn id="15" idx="3"/>
            <a:endCxn id="18" idx="1"/>
          </p:cNvCxnSpPr>
          <p:nvPr/>
        </p:nvCxnSpPr>
        <p:spPr>
          <a:xfrm>
            <a:off x="7263969" y="870858"/>
            <a:ext cx="645302" cy="38980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" name="Connettore a gomito 21">
            <a:extLst>
              <a:ext uri="{FF2B5EF4-FFF2-40B4-BE49-F238E27FC236}">
                <a16:creationId xmlns:a16="http://schemas.microsoft.com/office/drawing/2014/main" id="{2F45B197-353C-3F53-876A-03D4F44F1CC7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5252806" y="717714"/>
            <a:ext cx="757214" cy="153144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Segnaposto testo 10">
            <a:extLst>
              <a:ext uri="{FF2B5EF4-FFF2-40B4-BE49-F238E27FC236}">
                <a16:creationId xmlns:a16="http://schemas.microsoft.com/office/drawing/2014/main" id="{B86F1E50-DFD4-D49A-CE2E-4342F3C6EEC6}"/>
              </a:ext>
            </a:extLst>
          </p:cNvPr>
          <p:cNvSpPr txBox="1">
            <a:spLocks/>
          </p:cNvSpPr>
          <p:nvPr/>
        </p:nvSpPr>
        <p:spPr>
          <a:xfrm>
            <a:off x="8173737" y="97289"/>
            <a:ext cx="3502025" cy="96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/>
              <a:t>19/06/2024</a:t>
            </a:r>
          </a:p>
        </p:txBody>
      </p:sp>
      <p:sp>
        <p:nvSpPr>
          <p:cNvPr id="12" name="Segnaposto testo 26">
            <a:extLst>
              <a:ext uri="{FF2B5EF4-FFF2-40B4-BE49-F238E27FC236}">
                <a16:creationId xmlns:a16="http://schemas.microsoft.com/office/drawing/2014/main" id="{647A711B-85C7-31A6-81F3-34AF8694691D}"/>
              </a:ext>
            </a:extLst>
          </p:cNvPr>
          <p:cNvSpPr txBox="1">
            <a:spLocks/>
          </p:cNvSpPr>
          <p:nvPr/>
        </p:nvSpPr>
        <p:spPr>
          <a:xfrm>
            <a:off x="8173737" y="194239"/>
            <a:ext cx="3502025" cy="96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/>
              <a:t>Data </a:t>
            </a:r>
            <a:r>
              <a:rPr lang="it-IT" sz="700" dirty="0" err="1"/>
              <a:t>quality</a:t>
            </a:r>
            <a:r>
              <a:rPr lang="it-IT" sz="700" dirty="0"/>
              <a:t> </a:t>
            </a:r>
            <a:r>
              <a:rPr lang="it-IT" sz="700" dirty="0" err="1"/>
              <a:t>process</a:t>
            </a:r>
            <a:r>
              <a:rPr lang="it-IT" sz="700" dirty="0"/>
              <a:t> </a:t>
            </a:r>
            <a:r>
              <a:rPr lang="it-IT" sz="700" dirty="0" err="1"/>
              <a:t>at</a:t>
            </a:r>
            <a:r>
              <a:rPr lang="it-IT" sz="700" dirty="0"/>
              <a:t> Ferrovie dello Stato Italiane | Lorenzo Vannacci</a:t>
            </a:r>
          </a:p>
        </p:txBody>
      </p:sp>
      <p:sp>
        <p:nvSpPr>
          <p:cNvPr id="19" name="Titolo 5">
            <a:extLst>
              <a:ext uri="{FF2B5EF4-FFF2-40B4-BE49-F238E27FC236}">
                <a16:creationId xmlns:a16="http://schemas.microsoft.com/office/drawing/2014/main" id="{13F2BC33-5A21-118A-8AE0-D413ABD9FE2E}"/>
              </a:ext>
            </a:extLst>
          </p:cNvPr>
          <p:cNvSpPr txBox="1">
            <a:spLocks/>
          </p:cNvSpPr>
          <p:nvPr/>
        </p:nvSpPr>
        <p:spPr>
          <a:xfrm>
            <a:off x="801386" y="1759772"/>
            <a:ext cx="10874376" cy="249299"/>
          </a:xfrm>
          <a:prstGeom prst="rect">
            <a:avLst/>
          </a:prstGeom>
        </p:spPr>
        <p:txBody>
          <a:bodyPr vert="horz" wrap="square" lIns="0" tIns="0" rIns="0" bIns="0" anchor="b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1800" dirty="0"/>
              <a:t>“ </a:t>
            </a:r>
            <a:r>
              <a:rPr lang="en-GB" sz="1800" i="1" dirty="0"/>
              <a:t>the in-house research service of the FS Group</a:t>
            </a:r>
            <a:r>
              <a:rPr lang="en-GB" sz="1800" dirty="0"/>
              <a:t>”</a:t>
            </a:r>
            <a:endParaRPr lang="en-GB" sz="1800" dirty="0">
              <a:solidFill>
                <a:srgbClr val="9A94B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580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9EB8FB3-8BD7-0817-5C33-E7D1F880D7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612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425" imgH="424" progId="TCLayout.ActiveDocument.1">
                  <p:embed/>
                </p:oleObj>
              </mc:Choice>
              <mc:Fallback>
                <p:oleObj name="Diapositiva think-cell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EB8FB3-8BD7-0817-5C33-E7D1F880D7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olo 5">
            <a:extLst>
              <a:ext uri="{FF2B5EF4-FFF2-40B4-BE49-F238E27FC236}">
                <a16:creationId xmlns:a16="http://schemas.microsoft.com/office/drawing/2014/main" id="{62A47140-963F-08B9-54D1-52BD0DCED6D8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/>
          <a:lstStyle/>
          <a:p>
            <a:r>
              <a:rPr lang="it-IT" dirty="0"/>
              <a:t>Data </a:t>
            </a:r>
            <a:r>
              <a:rPr lang="en-GB" dirty="0"/>
              <a:t>provision</a:t>
            </a:r>
            <a:endParaRPr lang="en-GB" dirty="0">
              <a:solidFill>
                <a:srgbClr val="9A94BC"/>
              </a:solidFill>
            </a:endParaRPr>
          </a:p>
        </p:txBody>
      </p:sp>
      <p:sp>
        <p:nvSpPr>
          <p:cNvPr id="7" name="Segnaposto testo 6">
            <a:extLst>
              <a:ext uri="{FF2B5EF4-FFF2-40B4-BE49-F238E27FC236}">
                <a16:creationId xmlns:a16="http://schemas.microsoft.com/office/drawing/2014/main" id="{46F317B5-B345-222A-BEA9-A8C6700A35C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US" dirty="0"/>
              <a:t>Official and certified data and quality control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582395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5FAC69B-9818-DE8F-E25A-C95020D79F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6346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52" imgH="321" progId="TCLayout.ActiveDocument.1">
                  <p:embed/>
                </p:oleObj>
              </mc:Choice>
              <mc:Fallback>
                <p:oleObj name="Diapositiva think-cell" r:id="rId3" imgW="352" imgH="321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5FAC69B-9818-DE8F-E25A-C95020D79F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egnaposto testo 1">
            <a:extLst>
              <a:ext uri="{FF2B5EF4-FFF2-40B4-BE49-F238E27FC236}">
                <a16:creationId xmlns:a16="http://schemas.microsoft.com/office/drawing/2014/main" id="{1C957380-0C12-2847-25EE-8EBA71FA29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sz="1800" dirty="0" err="1"/>
              <a:t>Ferrovie</a:t>
            </a:r>
            <a:r>
              <a:rPr lang="en-US" sz="1800" dirty="0"/>
              <a:t> </a:t>
            </a:r>
            <a:r>
              <a:rPr lang="en-US" sz="1800" dirty="0" err="1"/>
              <a:t>dello</a:t>
            </a:r>
            <a:r>
              <a:rPr lang="en-US" sz="1800" dirty="0"/>
              <a:t> </a:t>
            </a:r>
            <a:r>
              <a:rPr lang="en-US" sz="1800" dirty="0" err="1"/>
              <a:t>Stato</a:t>
            </a:r>
            <a:r>
              <a:rPr lang="en-US" sz="1800" dirty="0"/>
              <a:t> Italiane S.p.A. collects and manages the </a:t>
            </a:r>
            <a:r>
              <a:rPr lang="en-US" sz="1800" b="1" dirty="0"/>
              <a:t>official data of the FS Group </a:t>
            </a:r>
            <a:r>
              <a:rPr lang="en-US" sz="1800" dirty="0"/>
              <a:t>for the following purposes</a:t>
            </a:r>
            <a:r>
              <a:rPr lang="en-US" sz="1600" dirty="0"/>
              <a:t>:</a:t>
            </a:r>
          </a:p>
          <a:p>
            <a:pPr marL="738187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the completion of </a:t>
            </a:r>
            <a:r>
              <a:rPr lang="en-US" sz="1600" b="1" dirty="0"/>
              <a:t>official statistical surveys </a:t>
            </a:r>
            <a:r>
              <a:rPr lang="en-US" sz="1600" dirty="0"/>
              <a:t>and</a:t>
            </a:r>
            <a:r>
              <a:rPr lang="en-US" sz="1600" b="1" dirty="0"/>
              <a:t> affiliation provisions</a:t>
            </a:r>
          </a:p>
          <a:p>
            <a:pPr marL="738187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the development of </a:t>
            </a:r>
            <a:r>
              <a:rPr lang="en-US" sz="1600" b="1" dirty="0"/>
              <a:t>strategic studies and monitoring </a:t>
            </a:r>
          </a:p>
          <a:p>
            <a:pPr marL="738187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/>
              <a:t>the definition of the Group's </a:t>
            </a:r>
            <a:r>
              <a:rPr lang="en-US" sz="1600" b="1" dirty="0"/>
              <a:t>industrial policies and strategies </a:t>
            </a:r>
          </a:p>
          <a:p>
            <a:pPr marL="738187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b="1" dirty="0"/>
              <a:t>Management and coordination </a:t>
            </a:r>
            <a:r>
              <a:rPr lang="en-US" sz="1600" dirty="0"/>
              <a:t>activities of Group companies</a:t>
            </a:r>
            <a:endParaRPr lang="it-IT" sz="1600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F12F1986-53BF-19E0-C608-B6D6DB9748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it-IT" dirty="0"/>
              <a:t>Ratio</a:t>
            </a:r>
          </a:p>
        </p:txBody>
      </p:sp>
      <p:pic>
        <p:nvPicPr>
          <p:cNvPr id="10" name="Immagine 9" descr="Immagine che contiene schermata, cerchio, testo, diagramma&#10;&#10;Descrizione generata automaticamente">
            <a:extLst>
              <a:ext uri="{FF2B5EF4-FFF2-40B4-BE49-F238E27FC236}">
                <a16:creationId xmlns:a16="http://schemas.microsoft.com/office/drawing/2014/main" id="{5BFF85F3-639E-4FE1-625D-0DC807CF918E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4364" y="4240527"/>
            <a:ext cx="7943272" cy="2459093"/>
          </a:xfrm>
          <a:prstGeom prst="rect">
            <a:avLst/>
          </a:prstGeom>
        </p:spPr>
      </p:pic>
      <p:sp>
        <p:nvSpPr>
          <p:cNvPr id="7" name="Segnaposto testo 10">
            <a:extLst>
              <a:ext uri="{FF2B5EF4-FFF2-40B4-BE49-F238E27FC236}">
                <a16:creationId xmlns:a16="http://schemas.microsoft.com/office/drawing/2014/main" id="{5E5CC1D7-4590-6417-998B-CF12C760ADD4}"/>
              </a:ext>
            </a:extLst>
          </p:cNvPr>
          <p:cNvSpPr txBox="1">
            <a:spLocks/>
          </p:cNvSpPr>
          <p:nvPr/>
        </p:nvSpPr>
        <p:spPr>
          <a:xfrm>
            <a:off x="8173737" y="97289"/>
            <a:ext cx="3502025" cy="96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/>
              <a:t>19/06/2024</a:t>
            </a:r>
          </a:p>
        </p:txBody>
      </p:sp>
      <p:sp>
        <p:nvSpPr>
          <p:cNvPr id="8" name="Segnaposto testo 26">
            <a:extLst>
              <a:ext uri="{FF2B5EF4-FFF2-40B4-BE49-F238E27FC236}">
                <a16:creationId xmlns:a16="http://schemas.microsoft.com/office/drawing/2014/main" id="{CC1B2618-6A90-030B-12EE-60B572F445E6}"/>
              </a:ext>
            </a:extLst>
          </p:cNvPr>
          <p:cNvSpPr txBox="1">
            <a:spLocks/>
          </p:cNvSpPr>
          <p:nvPr/>
        </p:nvSpPr>
        <p:spPr>
          <a:xfrm>
            <a:off x="8173737" y="194239"/>
            <a:ext cx="3502025" cy="96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/>
              <a:t>Data </a:t>
            </a:r>
            <a:r>
              <a:rPr lang="it-IT" sz="700" dirty="0" err="1"/>
              <a:t>quality</a:t>
            </a:r>
            <a:r>
              <a:rPr lang="it-IT" sz="700" dirty="0"/>
              <a:t> </a:t>
            </a:r>
            <a:r>
              <a:rPr lang="it-IT" sz="700" dirty="0" err="1"/>
              <a:t>process</a:t>
            </a:r>
            <a:r>
              <a:rPr lang="it-IT" sz="700" dirty="0"/>
              <a:t> </a:t>
            </a:r>
            <a:r>
              <a:rPr lang="it-IT" sz="700" dirty="0" err="1"/>
              <a:t>at</a:t>
            </a:r>
            <a:r>
              <a:rPr lang="it-IT" sz="700" dirty="0"/>
              <a:t> Ferrovie dello Stato Italiane | Lorenzo Vannacci</a:t>
            </a:r>
          </a:p>
        </p:txBody>
      </p:sp>
    </p:spTree>
    <p:extLst>
      <p:ext uri="{BB962C8B-B14F-4D97-AF65-F5344CB8AC3E}">
        <p14:creationId xmlns:p14="http://schemas.microsoft.com/office/powerpoint/2010/main" val="39540571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D6856B9-FA91-0D84-5F38-1FED8DEB47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041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352" imgH="321" progId="TCLayout.ActiveDocument.1">
                  <p:embed/>
                </p:oleObj>
              </mc:Choice>
              <mc:Fallback>
                <p:oleObj name="Diapositiva think-cell" r:id="rId3" imgW="352" imgH="321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6856B9-FA91-0D84-5F38-1FED8DEB47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23F434FC-5FBD-4333-8A2A-18B1C126F07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8813" y="1370733"/>
            <a:ext cx="10909300" cy="3535566"/>
          </a:xfrm>
        </p:spPr>
        <p:txBody>
          <a:bodyPr anchor="ctr"/>
          <a:lstStyle/>
          <a:p>
            <a:pPr marL="457200" indent="-45720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GB" sz="1600" dirty="0"/>
              <a:t>The </a:t>
            </a:r>
            <a:r>
              <a:rPr lang="en-GB" sz="1600" b="1" dirty="0"/>
              <a:t>Group supervisor </a:t>
            </a:r>
            <a:r>
              <a:rPr lang="en-GB" sz="1600" dirty="0"/>
              <a:t>of</a:t>
            </a:r>
            <a:r>
              <a:rPr lang="en-GB" sz="1600" b="1" dirty="0"/>
              <a:t> </a:t>
            </a:r>
            <a:r>
              <a:rPr lang="en-GB" sz="1600" dirty="0"/>
              <a:t>the process of requesting, collecting and managing official data is </a:t>
            </a:r>
            <a:r>
              <a:rPr lang="en-GB" sz="1600" b="1" dirty="0"/>
              <a:t>FS Research Centre </a:t>
            </a:r>
            <a:r>
              <a:rPr lang="en-GB" sz="1600" dirty="0"/>
              <a:t>(/Official Statistics Bureau)</a:t>
            </a:r>
          </a:p>
          <a:p>
            <a:pPr marL="457200" indent="-45720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GB" sz="1600" dirty="0"/>
              <a:t>The </a:t>
            </a:r>
            <a:r>
              <a:rPr lang="en-GB" sz="1600" b="1" dirty="0">
                <a:solidFill>
                  <a:srgbClr val="3C3C3B"/>
                </a:solidFill>
              </a:rPr>
              <a:t>process of transmitting </a:t>
            </a:r>
            <a:r>
              <a:rPr lang="en-GB" sz="1600" dirty="0"/>
              <a:t>the</a:t>
            </a:r>
            <a:r>
              <a:rPr lang="en-GB" sz="1600" dirty="0">
                <a:solidFill>
                  <a:schemeClr val="accent1"/>
                </a:solidFill>
              </a:rPr>
              <a:t> </a:t>
            </a:r>
            <a:r>
              <a:rPr lang="en-GB" sz="1600" b="1" dirty="0">
                <a:solidFill>
                  <a:srgbClr val="3C3C3B"/>
                </a:solidFill>
              </a:rPr>
              <a:t>official and certified data from the FS Group Companies </a:t>
            </a:r>
            <a:r>
              <a:rPr lang="en-GB" sz="1600" dirty="0"/>
              <a:t>to the Holding Company </a:t>
            </a:r>
            <a:r>
              <a:rPr lang="en-GB" sz="1600" dirty="0" err="1"/>
              <a:t>Ferrovie</a:t>
            </a:r>
            <a:r>
              <a:rPr lang="en-GB" sz="1600" dirty="0"/>
              <a:t> </a:t>
            </a:r>
            <a:r>
              <a:rPr lang="en-GB" sz="1600" dirty="0" err="1"/>
              <a:t>dello</a:t>
            </a:r>
            <a:r>
              <a:rPr lang="en-GB" sz="1600" dirty="0"/>
              <a:t> </a:t>
            </a:r>
            <a:r>
              <a:rPr lang="en-GB" sz="1600" dirty="0" err="1"/>
              <a:t>Stato</a:t>
            </a:r>
            <a:r>
              <a:rPr lang="en-GB" sz="1600" dirty="0"/>
              <a:t> Italiane </a:t>
            </a:r>
            <a:r>
              <a:rPr lang="en-GB" sz="1600" dirty="0" err="1"/>
              <a:t>SpA</a:t>
            </a:r>
            <a:r>
              <a:rPr lang="en-GB" sz="1600" dirty="0"/>
              <a:t> and guarantee any other data communication.</a:t>
            </a:r>
          </a:p>
          <a:p>
            <a:pPr marL="457200" indent="-45720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GB" sz="1600" dirty="0"/>
              <a:t>The </a:t>
            </a:r>
            <a:r>
              <a:rPr lang="en-GB" sz="1600" b="1" dirty="0">
                <a:solidFill>
                  <a:srgbClr val="3C3C3B"/>
                </a:solidFill>
              </a:rPr>
              <a:t>management </a:t>
            </a:r>
            <a:r>
              <a:rPr lang="en-GB" sz="1600" dirty="0">
                <a:solidFill>
                  <a:srgbClr val="3C3C3B"/>
                </a:solidFill>
              </a:rPr>
              <a:t>of such </a:t>
            </a:r>
            <a:r>
              <a:rPr lang="en-GB" sz="1600" b="1" dirty="0">
                <a:solidFill>
                  <a:srgbClr val="3C3C3B"/>
                </a:solidFill>
              </a:rPr>
              <a:t>data </a:t>
            </a:r>
            <a:r>
              <a:rPr lang="en-GB" sz="1600" dirty="0">
                <a:solidFill>
                  <a:srgbClr val="3C3C3B"/>
                </a:solidFill>
              </a:rPr>
              <a:t>in the order to </a:t>
            </a:r>
            <a:r>
              <a:rPr lang="en-GB" sz="1600" dirty="0"/>
              <a:t>provide </a:t>
            </a:r>
            <a:r>
              <a:rPr lang="en-GB" sz="1600" b="1" dirty="0"/>
              <a:t>communication </a:t>
            </a:r>
            <a:r>
              <a:rPr lang="en-US" sz="1600" b="1" dirty="0"/>
              <a:t>to national and international institutions</a:t>
            </a:r>
            <a:r>
              <a:rPr lang="en-US" sz="1600" dirty="0"/>
              <a:t>, entities and associations for legal and other members’ obligations</a:t>
            </a:r>
            <a:r>
              <a:rPr lang="en-GB" sz="1600" dirty="0"/>
              <a:t>.</a:t>
            </a:r>
          </a:p>
          <a:p>
            <a:pPr marL="457200" indent="-457200"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it-IT" sz="1600" dirty="0" err="1"/>
              <a:t>Identify</a:t>
            </a:r>
            <a:r>
              <a:rPr lang="it-IT" sz="1600" dirty="0"/>
              <a:t> the </a:t>
            </a:r>
            <a:r>
              <a:rPr lang="it-IT" sz="1600" b="1" dirty="0" err="1"/>
              <a:t>roles</a:t>
            </a:r>
            <a:r>
              <a:rPr lang="it-IT" sz="1600" dirty="0"/>
              <a:t>.</a:t>
            </a:r>
            <a:endParaRPr lang="en-GB" sz="1600" dirty="0"/>
          </a:p>
        </p:txBody>
      </p:sp>
      <p:sp>
        <p:nvSpPr>
          <p:cNvPr id="4" name="Titolo 3">
            <a:extLst>
              <a:ext uri="{FF2B5EF4-FFF2-40B4-BE49-F238E27FC236}">
                <a16:creationId xmlns:a16="http://schemas.microsoft.com/office/drawing/2014/main" id="{95D595F9-40FC-4E02-8E1E-F31D51E5B4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Group Disposal n. 283/AD/2019 defines</a:t>
            </a:r>
            <a:r>
              <a:rPr lang="it-IT" dirty="0"/>
              <a:t>:</a:t>
            </a:r>
            <a:endParaRPr lang="en-GB" dirty="0"/>
          </a:p>
        </p:txBody>
      </p:sp>
      <p:pic>
        <p:nvPicPr>
          <p:cNvPr id="1028" name="Picture 4" descr="Risultato immagini per official data icon&quot;">
            <a:hlinkClick r:id="rId5"/>
            <a:extLst>
              <a:ext uri="{FF2B5EF4-FFF2-40B4-BE49-F238E27FC236}">
                <a16:creationId xmlns:a16="http://schemas.microsoft.com/office/drawing/2014/main" id="{661D6E74-A035-4EE1-A475-2412FFA63F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37387" y="7104364"/>
            <a:ext cx="1058613" cy="1105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Immagine 10" descr="Immagine che contiene computer&#10;&#10;Descrizione generata automaticamente">
            <a:extLst>
              <a:ext uri="{FF2B5EF4-FFF2-40B4-BE49-F238E27FC236}">
                <a16:creationId xmlns:a16="http://schemas.microsoft.com/office/drawing/2014/main" id="{7C8D522C-FC07-4FC8-A9E2-0E5018581E55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3093" y="7104364"/>
            <a:ext cx="1365196" cy="1365196"/>
          </a:xfrm>
          <a:prstGeom prst="rect">
            <a:avLst/>
          </a:prstGeom>
        </p:spPr>
      </p:pic>
      <p:pic>
        <p:nvPicPr>
          <p:cNvPr id="9" name="Immagine 8" descr="Immagine che contiene aria aperta, cielo, testo, edificio&#10;&#10;Descrizione generata automaticamente">
            <a:extLst>
              <a:ext uri="{FF2B5EF4-FFF2-40B4-BE49-F238E27FC236}">
                <a16:creationId xmlns:a16="http://schemas.microsoft.com/office/drawing/2014/main" id="{7C79CE8D-DDDA-B39E-CD19-92FA96559AE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8177" y="4450502"/>
            <a:ext cx="3335645" cy="2127564"/>
          </a:xfrm>
          <a:prstGeom prst="rect">
            <a:avLst/>
          </a:prstGeom>
        </p:spPr>
      </p:pic>
      <p:sp>
        <p:nvSpPr>
          <p:cNvPr id="13" name="Segnaposto testo 10">
            <a:extLst>
              <a:ext uri="{FF2B5EF4-FFF2-40B4-BE49-F238E27FC236}">
                <a16:creationId xmlns:a16="http://schemas.microsoft.com/office/drawing/2014/main" id="{D4CCB4D0-E50D-62C4-2167-E25C9606CC60}"/>
              </a:ext>
            </a:extLst>
          </p:cNvPr>
          <p:cNvSpPr txBox="1">
            <a:spLocks/>
          </p:cNvSpPr>
          <p:nvPr/>
        </p:nvSpPr>
        <p:spPr>
          <a:xfrm>
            <a:off x="8173737" y="97289"/>
            <a:ext cx="3502025" cy="96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/>
              <a:t>19/06/2024</a:t>
            </a:r>
          </a:p>
        </p:txBody>
      </p:sp>
      <p:sp>
        <p:nvSpPr>
          <p:cNvPr id="14" name="Segnaposto testo 26">
            <a:extLst>
              <a:ext uri="{FF2B5EF4-FFF2-40B4-BE49-F238E27FC236}">
                <a16:creationId xmlns:a16="http://schemas.microsoft.com/office/drawing/2014/main" id="{D7384B34-1234-798C-B3E2-C578D500C655}"/>
              </a:ext>
            </a:extLst>
          </p:cNvPr>
          <p:cNvSpPr txBox="1">
            <a:spLocks/>
          </p:cNvSpPr>
          <p:nvPr/>
        </p:nvSpPr>
        <p:spPr>
          <a:xfrm>
            <a:off x="8173737" y="194239"/>
            <a:ext cx="3502025" cy="969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sz="18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Montserrat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it-IT" sz="700" dirty="0"/>
              <a:t>Data </a:t>
            </a:r>
            <a:r>
              <a:rPr lang="it-IT" sz="700" dirty="0" err="1"/>
              <a:t>quality</a:t>
            </a:r>
            <a:r>
              <a:rPr lang="it-IT" sz="700" dirty="0"/>
              <a:t> </a:t>
            </a:r>
            <a:r>
              <a:rPr lang="it-IT" sz="700" dirty="0" err="1"/>
              <a:t>process</a:t>
            </a:r>
            <a:r>
              <a:rPr lang="it-IT" sz="700" dirty="0"/>
              <a:t> </a:t>
            </a:r>
            <a:r>
              <a:rPr lang="it-IT" sz="700" dirty="0" err="1"/>
              <a:t>at</a:t>
            </a:r>
            <a:r>
              <a:rPr lang="it-IT" sz="700" dirty="0"/>
              <a:t> Ferrovie dello Stato Italiane | Lorenzo Vannacci</a:t>
            </a:r>
          </a:p>
        </p:txBody>
      </p:sp>
    </p:spTree>
    <p:extLst>
      <p:ext uri="{BB962C8B-B14F-4D97-AF65-F5344CB8AC3E}">
        <p14:creationId xmlns:p14="http://schemas.microsoft.com/office/powerpoint/2010/main" val="169622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ondo chiaro">
  <a:themeElements>
    <a:clrScheme name="GFS">
      <a:dk1>
        <a:srgbClr val="3C3C3B"/>
      </a:dk1>
      <a:lt1>
        <a:srgbClr val="FFFFFF"/>
      </a:lt1>
      <a:dk2>
        <a:srgbClr val="004587"/>
      </a:dk2>
      <a:lt2>
        <a:srgbClr val="62A830"/>
      </a:lt2>
      <a:accent1>
        <a:srgbClr val="DD052B"/>
      </a:accent1>
      <a:accent2>
        <a:srgbClr val="F9B122"/>
      </a:accent2>
      <a:accent3>
        <a:srgbClr val="00665B"/>
      </a:accent3>
      <a:accent4>
        <a:srgbClr val="4A4E69"/>
      </a:accent4>
      <a:accent5>
        <a:srgbClr val="9A8C98"/>
      </a:accent5>
      <a:accent6>
        <a:srgbClr val="C9ADA7"/>
      </a:accent6>
      <a:hlink>
        <a:srgbClr val="EB5E28"/>
      </a:hlink>
      <a:folHlink>
        <a:srgbClr val="CCC5B9"/>
      </a:folHlink>
    </a:clrScheme>
    <a:fontScheme name="GFS">
      <a:majorFont>
        <a:latin typeface="Montserrat Medium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FS_PowerPoint_Template.potx" id="{720C31AE-1FDB-4220-AAA5-57D0F5F114AD}" vid="{08EA87E6-7767-4D26-A275-316863A6EA69}"/>
    </a:ext>
  </a:extLst>
</a:theme>
</file>

<file path=ppt/theme/theme2.xml><?xml version="1.0" encoding="utf-8"?>
<a:theme xmlns:a="http://schemas.openxmlformats.org/drawingml/2006/main" name="Fondo scuro">
  <a:themeElements>
    <a:clrScheme name="GFS">
      <a:dk1>
        <a:srgbClr val="3C3C3B"/>
      </a:dk1>
      <a:lt1>
        <a:srgbClr val="FFFFFF"/>
      </a:lt1>
      <a:dk2>
        <a:srgbClr val="004587"/>
      </a:dk2>
      <a:lt2>
        <a:srgbClr val="62A830"/>
      </a:lt2>
      <a:accent1>
        <a:srgbClr val="DD052B"/>
      </a:accent1>
      <a:accent2>
        <a:srgbClr val="F9B122"/>
      </a:accent2>
      <a:accent3>
        <a:srgbClr val="00665B"/>
      </a:accent3>
      <a:accent4>
        <a:srgbClr val="4A4E69"/>
      </a:accent4>
      <a:accent5>
        <a:srgbClr val="9A8C98"/>
      </a:accent5>
      <a:accent6>
        <a:srgbClr val="C9ADA7"/>
      </a:accent6>
      <a:hlink>
        <a:srgbClr val="EB5E28"/>
      </a:hlink>
      <a:folHlink>
        <a:srgbClr val="CCC5B9"/>
      </a:folHlink>
    </a:clrScheme>
    <a:fontScheme name="GFS">
      <a:majorFont>
        <a:latin typeface="Montserrat Medium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FS_PowerPoint_Template.potx" id="{720C31AE-1FDB-4220-AAA5-57D0F5F114AD}" vid="{08EA87E6-7767-4D26-A275-316863A6EA69}"/>
    </a:ext>
  </a:extLst>
</a:theme>
</file>

<file path=ppt/theme/theme3.xml><?xml version="1.0" encoding="utf-8"?>
<a:theme xmlns:a="http://schemas.openxmlformats.org/drawingml/2006/main" name="Mix nero bianco">
  <a:themeElements>
    <a:clrScheme name="GFS">
      <a:dk1>
        <a:srgbClr val="3C3C3B"/>
      </a:dk1>
      <a:lt1>
        <a:srgbClr val="FFFFFF"/>
      </a:lt1>
      <a:dk2>
        <a:srgbClr val="004587"/>
      </a:dk2>
      <a:lt2>
        <a:srgbClr val="62A830"/>
      </a:lt2>
      <a:accent1>
        <a:srgbClr val="DD052B"/>
      </a:accent1>
      <a:accent2>
        <a:srgbClr val="F9B122"/>
      </a:accent2>
      <a:accent3>
        <a:srgbClr val="00665B"/>
      </a:accent3>
      <a:accent4>
        <a:srgbClr val="4A4E69"/>
      </a:accent4>
      <a:accent5>
        <a:srgbClr val="9A8C98"/>
      </a:accent5>
      <a:accent6>
        <a:srgbClr val="C9ADA7"/>
      </a:accent6>
      <a:hlink>
        <a:srgbClr val="0070C0"/>
      </a:hlink>
      <a:folHlink>
        <a:srgbClr val="CCC5B9"/>
      </a:folHlink>
    </a:clrScheme>
    <a:fontScheme name="GFS">
      <a:majorFont>
        <a:latin typeface="Montserrat Medium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OVER">
  <a:themeElements>
    <a:clrScheme name="GFS">
      <a:dk1>
        <a:srgbClr val="3C3C3B"/>
      </a:dk1>
      <a:lt1>
        <a:srgbClr val="FFFFFF"/>
      </a:lt1>
      <a:dk2>
        <a:srgbClr val="7F7F7F"/>
      </a:dk2>
      <a:lt2>
        <a:srgbClr val="F2F2F2"/>
      </a:lt2>
      <a:accent1>
        <a:srgbClr val="DD052B"/>
      </a:accent1>
      <a:accent2>
        <a:srgbClr val="00665B"/>
      </a:accent2>
      <a:accent3>
        <a:srgbClr val="004587"/>
      </a:accent3>
      <a:accent4>
        <a:srgbClr val="62A830"/>
      </a:accent4>
      <a:accent5>
        <a:srgbClr val="22223B"/>
      </a:accent5>
      <a:accent6>
        <a:srgbClr val="4A4E69"/>
      </a:accent6>
      <a:hlink>
        <a:srgbClr val="9A8C98"/>
      </a:hlink>
      <a:folHlink>
        <a:srgbClr val="C9ADA7"/>
      </a:folHlink>
    </a:clrScheme>
    <a:fontScheme name="GFS">
      <a:majorFont>
        <a:latin typeface="Montserrat Medium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FS_PowerPoint_Template.potx" id="{720C31AE-1FDB-4220-AAA5-57D0F5F114AD}" vid="{4B239733-565B-4B22-BDDF-FEB65F01CC10}"/>
    </a:ext>
  </a:extLst>
</a:theme>
</file>

<file path=ppt/theme/theme5.xml><?xml version="1.0" encoding="utf-8"?>
<a:theme xmlns:a="http://schemas.openxmlformats.org/drawingml/2006/main" name="INDICI">
  <a:themeElements>
    <a:clrScheme name="GFS">
      <a:dk1>
        <a:srgbClr val="3C3C3B"/>
      </a:dk1>
      <a:lt1>
        <a:srgbClr val="FFFFFF"/>
      </a:lt1>
      <a:dk2>
        <a:srgbClr val="7F7F7F"/>
      </a:dk2>
      <a:lt2>
        <a:srgbClr val="F2F2F2"/>
      </a:lt2>
      <a:accent1>
        <a:srgbClr val="DD052B"/>
      </a:accent1>
      <a:accent2>
        <a:srgbClr val="00665B"/>
      </a:accent2>
      <a:accent3>
        <a:srgbClr val="004587"/>
      </a:accent3>
      <a:accent4>
        <a:srgbClr val="62A830"/>
      </a:accent4>
      <a:accent5>
        <a:srgbClr val="22223B"/>
      </a:accent5>
      <a:accent6>
        <a:srgbClr val="4A4E69"/>
      </a:accent6>
      <a:hlink>
        <a:srgbClr val="9A8C98"/>
      </a:hlink>
      <a:folHlink>
        <a:srgbClr val="C9ADA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FS_PowerPoint_Template.potx" id="{720C31AE-1FDB-4220-AAA5-57D0F5F114AD}" vid="{DE88A85B-E1A9-4567-9A2D-B0E7B317A06A}"/>
    </a:ext>
  </a:extLst>
</a:theme>
</file>

<file path=ppt/theme/theme6.xml><?xml version="1.0" encoding="utf-8"?>
<a:theme xmlns:a="http://schemas.openxmlformats.org/drawingml/2006/main" name="Intermezzi e Fine">
  <a:themeElements>
    <a:clrScheme name="GFS">
      <a:dk1>
        <a:srgbClr val="3C3C3B"/>
      </a:dk1>
      <a:lt1>
        <a:srgbClr val="FFFFFF"/>
      </a:lt1>
      <a:dk2>
        <a:srgbClr val="004587"/>
      </a:dk2>
      <a:lt2>
        <a:srgbClr val="62A830"/>
      </a:lt2>
      <a:accent1>
        <a:srgbClr val="DD052B"/>
      </a:accent1>
      <a:accent2>
        <a:srgbClr val="F9B122"/>
      </a:accent2>
      <a:accent3>
        <a:srgbClr val="00665B"/>
      </a:accent3>
      <a:accent4>
        <a:srgbClr val="4A4E69"/>
      </a:accent4>
      <a:accent5>
        <a:srgbClr val="9A8C98"/>
      </a:accent5>
      <a:accent6>
        <a:srgbClr val="C9ADA7"/>
      </a:accent6>
      <a:hlink>
        <a:srgbClr val="0070C0"/>
      </a:hlink>
      <a:folHlink>
        <a:srgbClr val="CCC5B9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FS_PowerPoint_Template.potx" id="{720C31AE-1FDB-4220-AAA5-57D0F5F114AD}" vid="{06115614-0033-40FF-99C6-850B4C7B79FE}"/>
    </a:ext>
  </a:extLst>
</a:theme>
</file>

<file path=ppt/theme/theme7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FS">
    <a:dk1>
      <a:srgbClr val="000000"/>
    </a:dk1>
    <a:lt1>
      <a:srgbClr val="FFFFFF"/>
    </a:lt1>
    <a:dk2>
      <a:srgbClr val="DC002E"/>
    </a:dk2>
    <a:lt2>
      <a:srgbClr val="717073"/>
    </a:lt2>
    <a:accent1>
      <a:srgbClr val="DC002E"/>
    </a:accent1>
    <a:accent2>
      <a:srgbClr val="006666"/>
    </a:accent2>
    <a:accent3>
      <a:srgbClr val="004687"/>
    </a:accent3>
    <a:accent4>
      <a:srgbClr val="F8B322"/>
    </a:accent4>
    <a:accent5>
      <a:srgbClr val="00BE7D"/>
    </a:accent5>
    <a:accent6>
      <a:srgbClr val="5A068C"/>
    </a:accent6>
    <a:hlink>
      <a:srgbClr val="E01F38"/>
    </a:hlink>
    <a:folHlink>
      <a:srgbClr val="E01F38"/>
    </a:folHlink>
  </a:clrScheme>
</a:themeOverride>
</file>

<file path=ppt/theme/themeOverride2.xml><?xml version="1.0" encoding="utf-8"?>
<a:themeOverride xmlns:a="http://schemas.openxmlformats.org/drawingml/2006/main">
  <a:clrScheme name="FS">
    <a:dk1>
      <a:srgbClr val="000000"/>
    </a:dk1>
    <a:lt1>
      <a:srgbClr val="FFFFFF"/>
    </a:lt1>
    <a:dk2>
      <a:srgbClr val="DC002E"/>
    </a:dk2>
    <a:lt2>
      <a:srgbClr val="717073"/>
    </a:lt2>
    <a:accent1>
      <a:srgbClr val="DC002E"/>
    </a:accent1>
    <a:accent2>
      <a:srgbClr val="006666"/>
    </a:accent2>
    <a:accent3>
      <a:srgbClr val="004687"/>
    </a:accent3>
    <a:accent4>
      <a:srgbClr val="F8B322"/>
    </a:accent4>
    <a:accent5>
      <a:srgbClr val="00BE7D"/>
    </a:accent5>
    <a:accent6>
      <a:srgbClr val="5A068C"/>
    </a:accent6>
    <a:hlink>
      <a:srgbClr val="E01F38"/>
    </a:hlink>
    <a:folHlink>
      <a:srgbClr val="E01F38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ERA_Document" ma:contentTypeID="0x010100ED194B9F7C15044CBD43C025EAD2ECAB00E262002F4960424E886F0995433F00AD" ma:contentTypeVersion="19" ma:contentTypeDescription="Create a new document." ma:contentTypeScope="" ma:versionID="4dc07dfbbc9b903d5087fd254dc84b5d">
  <xsd:schema xmlns:xsd="http://www.w3.org/2001/XMLSchema" xmlns:xs="http://www.w3.org/2001/XMLSchema" xmlns:p="http://schemas.microsoft.com/office/2006/metadata/properties" xmlns:ns2="49592fe1-76b3-425e-9982-488f19897f48" xmlns:ns3="f04c437b-b823-4a6f-a2da-2ecd6bc47ad6" targetNamespace="http://schemas.microsoft.com/office/2006/metadata/properties" ma:root="true" ma:fieldsID="7d38397674a4e40d7e04559a39f4fa58" ns2:_="" ns3:_="">
    <xsd:import namespace="49592fe1-76b3-425e-9982-488f19897f48"/>
    <xsd:import namespace="f04c437b-b823-4a6f-a2da-2ecd6bc47ad6"/>
    <xsd:element name="properties">
      <xsd:complexType>
        <xsd:sequence>
          <xsd:element name="documentManagement">
            <xsd:complexType>
              <xsd:all>
                <xsd:element ref="ns2:Project_x0020_Code" minOccurs="0"/>
                <xsd:element ref="ns2:TaxCatchAllLabel" minOccurs="0"/>
                <xsd:element ref="ns2:TaxCatchAll" minOccurs="0"/>
                <xsd:element ref="ns2:gf147c1d654543abacff4a31dfc45623" minOccurs="0"/>
                <xsd:element ref="ns2:g337828d867743cab065af36c4e1a31c" minOccurs="0"/>
                <xsd:element ref="ns2:h70713ed90ce4adeabe454f2aabfa4ef" minOccurs="0"/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592fe1-76b3-425e-9982-488f19897f48" elementFormDefault="qualified">
    <xsd:import namespace="http://schemas.microsoft.com/office/2006/documentManagement/types"/>
    <xsd:import namespace="http://schemas.microsoft.com/office/infopath/2007/PartnerControls"/>
    <xsd:element name="Project_x0020_Code" ma:index="4" nillable="true" ma:displayName="Project Code" ma:description="Only if the project code exists" ma:internalName="Project_x0020_Code" ma:readOnly="false">
      <xsd:simpleType>
        <xsd:restriction base="dms:Text">
          <xsd:maxLength value="255"/>
        </xsd:restriction>
      </xsd:simpleType>
    </xsd:element>
    <xsd:element name="TaxCatchAllLabel" ma:index="8" nillable="true" ma:displayName="Taxonomy Catch All Column1" ma:hidden="true" ma:list="{524ef3c8-4945-454c-aec1-761dab37019a}" ma:internalName="TaxCatchAllLabel" ma:readOnly="true" ma:showField="CatchAllDataLabel" ma:web="36a9c897-2d74-410f-8d77-1a54cee6f51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" ma:index="9" nillable="true" ma:displayName="Taxonomy Catch All Column" ma:hidden="true" ma:list="{524ef3c8-4945-454c-aec1-761dab37019a}" ma:internalName="TaxCatchAll" ma:readOnly="false" ma:showField="CatchAllData" ma:web="36a9c897-2d74-410f-8d77-1a54cee6f51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gf147c1d654543abacff4a31dfc45623" ma:index="10" ma:taxonomy="true" ma:internalName="gf147c1d654543abacff4a31dfc45623" ma:taxonomyFieldName="Origin_x002d_Author" ma:displayName="Origin-Author" ma:readOnly="false" ma:default="1;#ERA|8287c6ea-6f12-4bfd-9fc9-6825fce534f5" ma:fieldId="{0f147c1d-6545-43ab-acff-4a31dfc45623}" ma:sspId="ec698c8c-469b-4390-ad13-30cd69364034" ma:termSetId="3bd325ee-ad60-4d4f-86e3-57acc143124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337828d867743cab065af36c4e1a31c" ma:index="11" ma:taxonomy="true" ma:internalName="g337828d867743cab065af36c4e1a31c" ma:taxonomyFieldName="Process" ma:displayName="Process" ma:indexed="true" ma:readOnly="false" ma:fieldId="{0337828d-8677-43ca-b065-af36c4e1a31c}" ma:sspId="ec698c8c-469b-4390-ad13-30cd69364034" ma:termSetId="41c32b1e-eebd-43d7-92b4-2a0b44ea664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70713ed90ce4adeabe454f2aabfa4ef" ma:index="12" ma:taxonomy="true" ma:internalName="h70713ed90ce4adeabe454f2aabfa4ef" ma:taxonomyFieldName="Document_x0020_type" ma:displayName="Document type" ma:readOnly="false" ma:fieldId="{170713ed-90ce-4ade-abe4-54f2aabfa4ef}" ma:sspId="ec698c8c-469b-4390-ad13-30cd69364034" ma:termSetId="07ece8fb-22f7-4a45-9bd0-d78559e8cdd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_dlc_DocId" ma:index="17" nillable="true" ma:displayName="Document ID Value" ma:description="The value of the document ID assigned to this item." ma:indexed="true" ma:internalName="_dlc_DocId" ma:readOnly="true">
      <xsd:simpleType>
        <xsd:restriction base="dms:Text"/>
      </xsd:simpleType>
    </xsd:element>
    <xsd:element name="_dlc_DocIdUrl" ma:index="18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9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04c437b-b823-4a6f-a2da-2ecd6bc47ad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9592fe1-76b3-425e-9982-488f19897f48">
      <Value>1</Value>
    </TaxCatchAll>
    <gf147c1d654543abacff4a31dfc45623 xmlns="49592fe1-76b3-425e-9982-488f19897f48">
      <Terms xmlns="http://schemas.microsoft.com/office/infopath/2007/PartnerControls">
        <TermInfo xmlns="http://schemas.microsoft.com/office/infopath/2007/PartnerControls">
          <TermName xmlns="http://schemas.microsoft.com/office/infopath/2007/PartnerControls">ERA</TermName>
          <TermId xmlns="http://schemas.microsoft.com/office/infopath/2007/PartnerControls">8287c6ea-6f12-4bfd-9fc9-6825fce534f5</TermId>
        </TermInfo>
      </Terms>
    </gf147c1d654543abacff4a31dfc45623>
    <g337828d867743cab065af36c4e1a31c xmlns="49592fe1-76b3-425e-9982-488f19897f48">
      <Terms xmlns="http://schemas.microsoft.com/office/infopath/2007/PartnerControls"/>
    </g337828d867743cab065af36c4e1a31c>
    <Project_x0020_Code xmlns="49592fe1-76b3-425e-9982-488f19897f48" xsi:nil="true"/>
    <h70713ed90ce4adeabe454f2aabfa4ef xmlns="49592fe1-76b3-425e-9982-488f19897f48">
      <Terms xmlns="http://schemas.microsoft.com/office/infopath/2007/PartnerControls"/>
    </h70713ed90ce4adeabe454f2aabfa4ef>
    <_dlc_DocId xmlns="49592fe1-76b3-425e-9982-488f19897f48">INTID-2107188391-103</_dlc_DocId>
    <_dlc_DocIdUrl xmlns="49592fe1-76b3-425e-9982-488f19897f48">
      <Url>https://eraeuropaeu.sharepoint.com/sites/OPD/_layouts/15/DocIdRedir.aspx?ID=INTID-2107188391-103</Url>
      <Description>INTID-2107188391-103</Description>
    </_dlc_DocIdUrl>
  </documentManagement>
</p:properties>
</file>

<file path=customXml/item4.xml><?xml version="1.0" encoding="utf-8"?>
<?mso-contentType ?>
<SharedContentType xmlns="Microsoft.SharePoint.Taxonomy.ContentTypeSync" SourceId="ec698c8c-469b-4390-ad13-30cd69364034" ContentTypeId="0x010100ED194B9F7C15044CBD43C025EAD2ECAB" PreviousValue="true"/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3E49374C-B364-4E64-AB33-3409C4D5F462}"/>
</file>

<file path=customXml/itemProps2.xml><?xml version="1.0" encoding="utf-8"?>
<ds:datastoreItem xmlns:ds="http://schemas.openxmlformats.org/officeDocument/2006/customXml" ds:itemID="{C316F286-7A2B-4E47-ADD7-AE163144B31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B5C0E3A-B9D4-49CC-A52E-DBD9B558B03B}">
  <ds:schemaRefs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251BB29C-7F7E-4963-B24A-71F3297E1D2D}"/>
</file>

<file path=customXml/itemProps5.xml><?xml version="1.0" encoding="utf-8"?>
<ds:datastoreItem xmlns:ds="http://schemas.openxmlformats.org/officeDocument/2006/customXml" ds:itemID="{12832EE3-84DA-43F8-9489-27F7F708304F}"/>
</file>

<file path=docProps/app.xml><?xml version="1.0" encoding="utf-8"?>
<Properties xmlns="http://schemas.openxmlformats.org/officeDocument/2006/extended-properties" xmlns:vt="http://schemas.openxmlformats.org/officeDocument/2006/docPropsVTypes">
  <Template>GFS_PowerPoint_Template</Template>
  <TotalTime>6737</TotalTime>
  <Words>826</Words>
  <Application>Microsoft Office PowerPoint</Application>
  <PresentationFormat>Widescreen</PresentationFormat>
  <Paragraphs>158</Paragraphs>
  <Slides>15</Slides>
  <Notes>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7</vt:i4>
      </vt:variant>
      <vt:variant>
        <vt:lpstr>Tema</vt:lpstr>
      </vt:variant>
      <vt:variant>
        <vt:i4>6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5</vt:i4>
      </vt:variant>
    </vt:vector>
  </HeadingPairs>
  <TitlesOfParts>
    <vt:vector size="29" baseType="lpstr">
      <vt:lpstr>Arial</vt:lpstr>
      <vt:lpstr>Calibri</vt:lpstr>
      <vt:lpstr>Ink Free</vt:lpstr>
      <vt:lpstr>Montserrat</vt:lpstr>
      <vt:lpstr>Montserrat Black</vt:lpstr>
      <vt:lpstr>Montserrat Medium</vt:lpstr>
      <vt:lpstr>Wingdings</vt:lpstr>
      <vt:lpstr>Fondo chiaro</vt:lpstr>
      <vt:lpstr>Fondo scuro</vt:lpstr>
      <vt:lpstr>Mix nero bianco</vt:lpstr>
      <vt:lpstr>COVER</vt:lpstr>
      <vt:lpstr>INDICI</vt:lpstr>
      <vt:lpstr>Intermezzi e Fine</vt:lpstr>
      <vt:lpstr>Diapositiva think-cell</vt:lpstr>
      <vt:lpstr>Data quality process at Ferrovie dello Stato Italiane</vt:lpstr>
      <vt:lpstr>Presentazione standard di PowerPoint</vt:lpstr>
      <vt:lpstr>The FS Group</vt:lpstr>
      <vt:lpstr>FS Group Key numbers</vt:lpstr>
      <vt:lpstr>The Strategy and the four business Hubs</vt:lpstr>
      <vt:lpstr>FS Research Centre</vt:lpstr>
      <vt:lpstr>Data provision</vt:lpstr>
      <vt:lpstr>Ratio</vt:lpstr>
      <vt:lpstr>The Group Disposal n. 283/AD/2019 defines:</vt:lpstr>
      <vt:lpstr>The FS Group Companies</vt:lpstr>
      <vt:lpstr>Roles involved</vt:lpstr>
      <vt:lpstr>Official and certified data storage and external provision</vt:lpstr>
      <vt:lpstr>Confidentiality, autonomy and independence</vt:lpstr>
      <vt:lpstr>Data dissemination</vt:lpstr>
      <vt:lpstr>Data accuracy and dissemination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Template</dc:title>
  <dc:creator>CARDINALI ALESSANDRO</dc:creator>
  <cp:lastModifiedBy>VANNACCI LORENZO</cp:lastModifiedBy>
  <cp:revision>39</cp:revision>
  <dcterms:created xsi:type="dcterms:W3CDTF">2024-04-03T09:07:01Z</dcterms:created>
  <dcterms:modified xsi:type="dcterms:W3CDTF">2024-06-12T21:05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194B9F7C15044CBD43C025EAD2ECAB00E262002F4960424E886F0995433F00AD</vt:lpwstr>
  </property>
  <property fmtid="{D5CDD505-2E9C-101B-9397-08002B2CF9AE}" pid="3" name="MSIP_Label_8a44a90e-04f7-4d21-b494-cfe49b26ce55_Enabled">
    <vt:lpwstr>true</vt:lpwstr>
  </property>
  <property fmtid="{D5CDD505-2E9C-101B-9397-08002B2CF9AE}" pid="4" name="MSIP_Label_8a44a90e-04f7-4d21-b494-cfe49b26ce55_SetDate">
    <vt:lpwstr>2024-03-26T10:29:41Z</vt:lpwstr>
  </property>
  <property fmtid="{D5CDD505-2E9C-101B-9397-08002B2CF9AE}" pid="5" name="MSIP_Label_8a44a90e-04f7-4d21-b494-cfe49b26ce55_Method">
    <vt:lpwstr>Privileged</vt:lpwstr>
  </property>
  <property fmtid="{D5CDD505-2E9C-101B-9397-08002B2CF9AE}" pid="6" name="MSIP_Label_8a44a90e-04f7-4d21-b494-cfe49b26ce55_Name">
    <vt:lpwstr>Internal use without footer</vt:lpwstr>
  </property>
  <property fmtid="{D5CDD505-2E9C-101B-9397-08002B2CF9AE}" pid="7" name="MSIP_Label_8a44a90e-04f7-4d21-b494-cfe49b26ce55_SiteId">
    <vt:lpwstr>4c8a6547-459a-4b75-a3dc-f66efe3e9c4e</vt:lpwstr>
  </property>
  <property fmtid="{D5CDD505-2E9C-101B-9397-08002B2CF9AE}" pid="8" name="MSIP_Label_8a44a90e-04f7-4d21-b494-cfe49b26ce55_ActionId">
    <vt:lpwstr>4356af8e-2986-42a0-8306-831488a68a21</vt:lpwstr>
  </property>
  <property fmtid="{D5CDD505-2E9C-101B-9397-08002B2CF9AE}" pid="9" name="MSIP_Label_8a44a90e-04f7-4d21-b494-cfe49b26ce55_ContentBits">
    <vt:lpwstr>0</vt:lpwstr>
  </property>
  <property fmtid="{D5CDD505-2E9C-101B-9397-08002B2CF9AE}" pid="10" name="_dlc_DocIdItemGuid">
    <vt:lpwstr>b024776e-c483-421b-9598-4bf612d0f44a</vt:lpwstr>
  </property>
  <property fmtid="{D5CDD505-2E9C-101B-9397-08002B2CF9AE}" pid="11" name="Origin-Author">
    <vt:lpwstr>1;#ERA|8287c6ea-6f12-4bfd-9fc9-6825fce534f5</vt:lpwstr>
  </property>
  <property fmtid="{D5CDD505-2E9C-101B-9397-08002B2CF9AE}" pid="12" name="Document type">
    <vt:lpwstr/>
  </property>
  <property fmtid="{D5CDD505-2E9C-101B-9397-08002B2CF9AE}" pid="13" name="Process">
    <vt:lpwstr/>
  </property>
</Properties>
</file>